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notesSlides/notesSlide7.xml" ContentType="application/vnd.openxmlformats-officedocument.presentationml.notesSlide+xml"/>
  <Override PartName="/ppt/tags/tag13.xml" ContentType="application/vnd.openxmlformats-officedocument.presentationml.tags+xml"/>
  <Override PartName="/ppt/notesSlides/notesSlide8.xml" ContentType="application/vnd.openxmlformats-officedocument.presentationml.notesSlide+xml"/>
  <Override PartName="/ppt/tags/tag14.xml" ContentType="application/vnd.openxmlformats-officedocument.presentationml.tags+xml"/>
  <Override PartName="/ppt/notesSlides/notesSlide9.xml" ContentType="application/vnd.openxmlformats-officedocument.presentationml.notesSlide+xml"/>
  <Override PartName="/ppt/tags/tag15.xml" ContentType="application/vnd.openxmlformats-officedocument.presentationml.tags+xml"/>
  <Override PartName="/ppt/notesSlides/notesSlide10.xml" ContentType="application/vnd.openxmlformats-officedocument.presentationml.notesSlide+xml"/>
  <Override PartName="/ppt/tags/tag16.xml" ContentType="application/vnd.openxmlformats-officedocument.presentationml.tags+xml"/>
  <Override PartName="/ppt/notesSlides/notesSlide11.xml" ContentType="application/vnd.openxmlformats-officedocument.presentationml.notesSlide+xml"/>
  <Override PartName="/ppt/tags/tag17.xml" ContentType="application/vnd.openxmlformats-officedocument.presentationml.tags+xml"/>
  <Override PartName="/ppt/notesSlides/notesSlide12.xml" ContentType="application/vnd.openxmlformats-officedocument.presentationml.notesSlide+xml"/>
  <Override PartName="/ppt/tags/tag18.xml" ContentType="application/vnd.openxmlformats-officedocument.presentationml.tags+xml"/>
  <Override PartName="/ppt/notesSlides/notesSlide13.xml" ContentType="application/vnd.openxmlformats-officedocument.presentationml.notesSlide+xml"/>
  <Override PartName="/ppt/tags/tag19.xml" ContentType="application/vnd.openxmlformats-officedocument.presentationml.tags+xml"/>
  <Override PartName="/ppt/notesSlides/notesSlide14.xml" ContentType="application/vnd.openxmlformats-officedocument.presentationml.notesSlide+xml"/>
  <Override PartName="/ppt/tags/tag20.xml" ContentType="application/vnd.openxmlformats-officedocument.presentationml.tags+xml"/>
  <Override PartName="/ppt/notesSlides/notesSlide15.xml" ContentType="application/vnd.openxmlformats-officedocument.presentationml.notesSlide+xml"/>
  <Override PartName="/ppt/tags/tag21.xml" ContentType="application/vnd.openxmlformats-officedocument.presentationml.tags+xml"/>
  <Override PartName="/ppt/notesSlides/notesSlide16.xml" ContentType="application/vnd.openxmlformats-officedocument.presentationml.notesSlide+xml"/>
  <Override PartName="/ppt/tags/tag22.xml" ContentType="application/vnd.openxmlformats-officedocument.presentationml.tags+xml"/>
  <Override PartName="/ppt/notesSlides/notesSlide17.xml" ContentType="application/vnd.openxmlformats-officedocument.presentationml.notesSlide+xml"/>
  <Override PartName="/ppt/tags/tag23.xml" ContentType="application/vnd.openxmlformats-officedocument.presentationml.tags+xml"/>
  <Override PartName="/ppt/notesSlides/notesSlide18.xml" ContentType="application/vnd.openxmlformats-officedocument.presentationml.notesSlide+xml"/>
  <Override PartName="/ppt/tags/tag24.xml" ContentType="application/vnd.openxmlformats-officedocument.presentationml.tags+xml"/>
  <Override PartName="/ppt/notesSlides/notesSlide19.xml" ContentType="application/vnd.openxmlformats-officedocument.presentationml.notesSlide+xml"/>
  <Override PartName="/ppt/tags/tag25.xml" ContentType="application/vnd.openxmlformats-officedocument.presentationml.tags+xml"/>
  <Override PartName="/ppt/notesSlides/notesSlide20.xml" ContentType="application/vnd.openxmlformats-officedocument.presentationml.notesSlide+xml"/>
  <Override PartName="/ppt/tags/tag26.xml" ContentType="application/vnd.openxmlformats-officedocument.presentationml.tags+xml"/>
  <Override PartName="/ppt/notesSlides/notesSlide21.xml" ContentType="application/vnd.openxmlformats-officedocument.presentationml.notesSlide+xml"/>
  <Override PartName="/ppt/tags/tag27.xml" ContentType="application/vnd.openxmlformats-officedocument.presentationml.tags+xml"/>
  <Override PartName="/ppt/notesSlides/notesSlide22.xml" ContentType="application/vnd.openxmlformats-officedocument.presentationml.notesSlide+xml"/>
  <Override PartName="/ppt/tags/tag28.xml" ContentType="application/vnd.openxmlformats-officedocument.presentationml.tags+xml"/>
  <Override PartName="/ppt/notesSlides/notesSlide23.xml" ContentType="application/vnd.openxmlformats-officedocument.presentationml.notesSlide+xml"/>
  <Override PartName="/ppt/tags/tag29.xml" ContentType="application/vnd.openxmlformats-officedocument.presentationml.tags+xml"/>
  <Override PartName="/ppt/notesSlides/notesSlide24.xml" ContentType="application/vnd.openxmlformats-officedocument.presentationml.notesSlide+xml"/>
  <Override PartName="/ppt/tags/tag30.xml" ContentType="application/vnd.openxmlformats-officedocument.presentationml.tags+xml"/>
  <Override PartName="/ppt/notesSlides/notesSlide25.xml" ContentType="application/vnd.openxmlformats-officedocument.presentationml.notesSlide+xml"/>
  <Override PartName="/ppt/tags/tag31.xml" ContentType="application/vnd.openxmlformats-officedocument.presentationml.tags+xml"/>
  <Override PartName="/ppt/notesSlides/notesSlide26.xml" ContentType="application/vnd.openxmlformats-officedocument.presentationml.notesSlide+xml"/>
  <Override PartName="/ppt/tags/tag32.xml" ContentType="application/vnd.openxmlformats-officedocument.presentationml.tags+xml"/>
  <Override PartName="/ppt/notesSlides/notesSlide27.xml" ContentType="application/vnd.openxmlformats-officedocument.presentationml.notesSlide+xml"/>
  <Override PartName="/ppt/tags/tag33.xml" ContentType="application/vnd.openxmlformats-officedocument.presentationml.tags+xml"/>
  <Override PartName="/ppt/notesSlides/notesSlide28.xml" ContentType="application/vnd.openxmlformats-officedocument.presentationml.notesSlide+xml"/>
  <Override PartName="/ppt/tags/tag34.xml" ContentType="application/vnd.openxmlformats-officedocument.presentationml.tags+xml"/>
  <Override PartName="/ppt/notesSlides/notesSlide29.xml" ContentType="application/vnd.openxmlformats-officedocument.presentationml.notesSlide+xml"/>
  <Override PartName="/ppt/tags/tag35.xml" ContentType="application/vnd.openxmlformats-officedocument.presentationml.tags+xml"/>
  <Override PartName="/ppt/notesSlides/notesSlide30.xml" ContentType="application/vnd.openxmlformats-officedocument.presentationml.notesSlide+xml"/>
  <Override PartName="/ppt/tags/tag36.xml" ContentType="application/vnd.openxmlformats-officedocument.presentationml.tags+xml"/>
  <Override PartName="/ppt/notesSlides/notesSlide31.xml" ContentType="application/vnd.openxmlformats-officedocument.presentationml.notesSlide+xml"/>
  <Override PartName="/ppt/tags/tag37.xml" ContentType="application/vnd.openxmlformats-officedocument.presentationml.tags+xml"/>
  <Override PartName="/ppt/notesSlides/notesSlide3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1" r:id="rId5"/>
  </p:sldMasterIdLst>
  <p:notesMasterIdLst>
    <p:notesMasterId r:id="rId55"/>
  </p:notesMasterIdLst>
  <p:sldIdLst>
    <p:sldId id="256" r:id="rId6"/>
    <p:sldId id="2147470580" r:id="rId7"/>
    <p:sldId id="2147470581" r:id="rId8"/>
    <p:sldId id="2147470582" r:id="rId9"/>
    <p:sldId id="2147470583" r:id="rId10"/>
    <p:sldId id="2147470584" r:id="rId11"/>
    <p:sldId id="2147470585" r:id="rId12"/>
    <p:sldId id="2147470586" r:id="rId13"/>
    <p:sldId id="2147470587" r:id="rId14"/>
    <p:sldId id="4597" r:id="rId15"/>
    <p:sldId id="2147470496" r:id="rId16"/>
    <p:sldId id="2147470541" r:id="rId17"/>
    <p:sldId id="2147470534" r:id="rId18"/>
    <p:sldId id="2147470556" r:id="rId19"/>
    <p:sldId id="2147470525" r:id="rId20"/>
    <p:sldId id="2147470504" r:id="rId21"/>
    <p:sldId id="2147470597" r:id="rId22"/>
    <p:sldId id="2147470596" r:id="rId23"/>
    <p:sldId id="2147470602" r:id="rId24"/>
    <p:sldId id="2147470593" r:id="rId25"/>
    <p:sldId id="2147470594" r:id="rId26"/>
    <p:sldId id="2147470547" r:id="rId27"/>
    <p:sldId id="2147470549" r:id="rId28"/>
    <p:sldId id="2147470507" r:id="rId29"/>
    <p:sldId id="2147470545" r:id="rId30"/>
    <p:sldId id="2147470543" r:id="rId31"/>
    <p:sldId id="2147470599" r:id="rId32"/>
    <p:sldId id="2147470598" r:id="rId33"/>
    <p:sldId id="2147470557" r:id="rId34"/>
    <p:sldId id="2147470528" r:id="rId35"/>
    <p:sldId id="2147470604" r:id="rId36"/>
    <p:sldId id="2147470523" r:id="rId37"/>
    <p:sldId id="2147470553" r:id="rId38"/>
    <p:sldId id="2147470554" r:id="rId39"/>
    <p:sldId id="2147470563" r:id="rId40"/>
    <p:sldId id="2147470531" r:id="rId41"/>
    <p:sldId id="2147470600" r:id="rId42"/>
    <p:sldId id="2147470601" r:id="rId43"/>
    <p:sldId id="2147470565" r:id="rId44"/>
    <p:sldId id="2147470567" r:id="rId45"/>
    <p:sldId id="2147470564" r:id="rId46"/>
    <p:sldId id="2147470605" r:id="rId47"/>
    <p:sldId id="2147470595" r:id="rId48"/>
    <p:sldId id="2147470570" r:id="rId49"/>
    <p:sldId id="2147470606" r:id="rId50"/>
    <p:sldId id="2147470588" r:id="rId51"/>
    <p:sldId id="2147470589" r:id="rId52"/>
    <p:sldId id="2147470592" r:id="rId53"/>
    <p:sldId id="2147470590" r:id="rId54"/>
  </p:sldIdLst>
  <p:sldSz cx="12192000" cy="6858000"/>
  <p:notesSz cx="6858000" cy="9144000"/>
  <p:defaultTex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1F48D14-C9D9-4726-92B5-4BE7B99DEE22}" v="1558" dt="2026-03-26T18:43:54.401"/>
  </p1510:revLst>
</p1510:revInfo>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5" d="100"/>
          <a:sy n="65" d="100"/>
        </p:scale>
        <p:origin x="912" y="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notesMaster" Target="notesMasters/notesMaster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theme" Target="theme/theme1.xml"/><Relationship Id="rId5" Type="http://schemas.openxmlformats.org/officeDocument/2006/relationships/slideMaster" Target="slideMasters/slideMaster2.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tableStyles" Target="tableStyle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viewProps" Target="viewProps.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Espaço Reservado par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F3DB84B-64F8-4189-BB0A-1B1ECADC68C7}" type="datetimeFigureOut">
              <a:rPr lang="pt-BR" smtClean="0"/>
              <a:t>30/03/2026</a:t>
            </a:fld>
            <a:endParaRPr lang="pt-BR"/>
          </a:p>
        </p:txBody>
      </p:sp>
      <p:sp>
        <p:nvSpPr>
          <p:cNvPr id="4" name="Espaço Reservado para Imagem de Sli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Espaço Reservado para Anotaçõ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6" name="Espaço Reservado para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Espaço Reservado para Número de Slid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3194B8E-C2BB-43C4-A076-4486DFA3331A}" type="slidenum">
              <a:rPr lang="pt-BR" smtClean="0"/>
              <a:t>‹nº›</a:t>
            </a:fld>
            <a:endParaRPr lang="pt-BR"/>
          </a:p>
        </p:txBody>
      </p:sp>
    </p:spTree>
    <p:extLst>
      <p:ext uri="{BB962C8B-B14F-4D97-AF65-F5344CB8AC3E}">
        <p14:creationId xmlns:p14="http://schemas.microsoft.com/office/powerpoint/2010/main" val="3925210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DA4A6D-A7CA-1C57-67FB-F249FC3942E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0FA474-A83A-5585-486F-0E4556171E2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AFE15DE-4DE1-60EE-CD02-39CB600BBA23}"/>
              </a:ext>
            </a:extLst>
          </p:cNvPr>
          <p:cNvSpPr>
            <a:spLocks noGrp="1"/>
          </p:cNvSpPr>
          <p:nvPr>
            <p:ph type="body" idx="1"/>
          </p:nvPr>
        </p:nvSpPr>
        <p:spPr/>
        <p:txBody>
          <a:bodyPr/>
          <a:lstStyle/>
          <a:p>
            <a:endParaRPr lang="pt-BR"/>
          </a:p>
        </p:txBody>
      </p:sp>
      <p:sp>
        <p:nvSpPr>
          <p:cNvPr id="4" name="Slide Number Placeholder 3">
            <a:extLst>
              <a:ext uri="{FF2B5EF4-FFF2-40B4-BE49-F238E27FC236}">
                <a16:creationId xmlns:a16="http://schemas.microsoft.com/office/drawing/2014/main" id="{7928EE00-7FCE-2C7C-455F-35C07348EF90}"/>
              </a:ext>
            </a:extLst>
          </p:cNvPr>
          <p:cNvSpPr>
            <a:spLocks noGrp="1"/>
          </p:cNvSpPr>
          <p:nvPr>
            <p:ph type="sldNum" sz="quarter" idx="5"/>
          </p:nvPr>
        </p:nvSpPr>
        <p:spPr/>
        <p:txBody>
          <a:bodyPr/>
          <a:lstStyle/>
          <a:p>
            <a:fld id="{7131239D-2F14-4EE1-9743-D4563A36472A}" type="slidenum">
              <a:rPr lang="pt-BR" smtClean="0"/>
              <a:t>2</a:t>
            </a:fld>
            <a:endParaRPr lang="pt-BR"/>
          </a:p>
        </p:txBody>
      </p:sp>
    </p:spTree>
    <p:extLst>
      <p:ext uri="{BB962C8B-B14F-4D97-AF65-F5344CB8AC3E}">
        <p14:creationId xmlns:p14="http://schemas.microsoft.com/office/powerpoint/2010/main" val="25451168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EDFE13-ED47-045E-B6CA-3B562BA07E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24B46F-3093-6D80-10A7-877DC71E4C3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4352B00-DE85-A473-91E6-412C37C2FDA0}"/>
              </a:ext>
            </a:extLst>
          </p:cNvPr>
          <p:cNvSpPr>
            <a:spLocks noGrp="1"/>
          </p:cNvSpPr>
          <p:nvPr>
            <p:ph type="body" idx="1"/>
          </p:nvPr>
        </p:nvSpPr>
        <p:spPr/>
        <p:txBody>
          <a:bodyPr/>
          <a:lstStyle/>
          <a:p>
            <a:endParaRPr lang="pt-BR"/>
          </a:p>
        </p:txBody>
      </p:sp>
      <p:sp>
        <p:nvSpPr>
          <p:cNvPr id="4" name="Slide Number Placeholder 3">
            <a:extLst>
              <a:ext uri="{FF2B5EF4-FFF2-40B4-BE49-F238E27FC236}">
                <a16:creationId xmlns:a16="http://schemas.microsoft.com/office/drawing/2014/main" id="{A9102901-7014-BF26-A626-C24D49931FCD}"/>
              </a:ext>
            </a:extLst>
          </p:cNvPr>
          <p:cNvSpPr>
            <a:spLocks noGrp="1"/>
          </p:cNvSpPr>
          <p:nvPr>
            <p:ph type="sldNum" sz="quarter" idx="5"/>
          </p:nvPr>
        </p:nvSpPr>
        <p:spPr/>
        <p:txBody>
          <a:bodyPr/>
          <a:lstStyle/>
          <a:p>
            <a:fld id="{7131239D-2F14-4EE1-9743-D4563A36472A}" type="slidenum">
              <a:rPr lang="pt-BR" smtClean="0"/>
              <a:t>17</a:t>
            </a:fld>
            <a:endParaRPr lang="pt-BR"/>
          </a:p>
        </p:txBody>
      </p:sp>
    </p:spTree>
    <p:extLst>
      <p:ext uri="{BB962C8B-B14F-4D97-AF65-F5344CB8AC3E}">
        <p14:creationId xmlns:p14="http://schemas.microsoft.com/office/powerpoint/2010/main" val="36690659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DF8811-9E3F-A35D-119D-EA2B5B31CD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BC08ACB-CDB7-A515-514C-24DBC3C1338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88B4766-0C55-B557-6E8A-0E6F49C685FE}"/>
              </a:ext>
            </a:extLst>
          </p:cNvPr>
          <p:cNvSpPr>
            <a:spLocks noGrp="1"/>
          </p:cNvSpPr>
          <p:nvPr>
            <p:ph type="body" idx="1"/>
          </p:nvPr>
        </p:nvSpPr>
        <p:spPr/>
        <p:txBody>
          <a:bodyPr/>
          <a:lstStyle/>
          <a:p>
            <a:endParaRPr lang="pt-BR"/>
          </a:p>
        </p:txBody>
      </p:sp>
      <p:sp>
        <p:nvSpPr>
          <p:cNvPr id="4" name="Slide Number Placeholder 3">
            <a:extLst>
              <a:ext uri="{FF2B5EF4-FFF2-40B4-BE49-F238E27FC236}">
                <a16:creationId xmlns:a16="http://schemas.microsoft.com/office/drawing/2014/main" id="{8F4D62F7-5D4F-6012-3DB6-6991FAE2AD2C}"/>
              </a:ext>
            </a:extLst>
          </p:cNvPr>
          <p:cNvSpPr>
            <a:spLocks noGrp="1"/>
          </p:cNvSpPr>
          <p:nvPr>
            <p:ph type="sldNum" sz="quarter" idx="5"/>
          </p:nvPr>
        </p:nvSpPr>
        <p:spPr/>
        <p:txBody>
          <a:bodyPr/>
          <a:lstStyle/>
          <a:p>
            <a:fld id="{7131239D-2F14-4EE1-9743-D4563A36472A}" type="slidenum">
              <a:rPr lang="pt-BR" smtClean="0"/>
              <a:t>18</a:t>
            </a:fld>
            <a:endParaRPr lang="pt-BR"/>
          </a:p>
        </p:txBody>
      </p:sp>
    </p:spTree>
    <p:extLst>
      <p:ext uri="{BB962C8B-B14F-4D97-AF65-F5344CB8AC3E}">
        <p14:creationId xmlns:p14="http://schemas.microsoft.com/office/powerpoint/2010/main" val="40366314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12BA3B-A1A7-02B7-0AAB-BE6FC8BB92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F6CBFB-46A1-9573-9687-F84DAE14D02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D023B08-F91B-2C24-B53F-426F1145D53F}"/>
              </a:ext>
            </a:extLst>
          </p:cNvPr>
          <p:cNvSpPr>
            <a:spLocks noGrp="1"/>
          </p:cNvSpPr>
          <p:nvPr>
            <p:ph type="body" idx="1"/>
          </p:nvPr>
        </p:nvSpPr>
        <p:spPr/>
        <p:txBody>
          <a:bodyPr/>
          <a:lstStyle/>
          <a:p>
            <a:endParaRPr lang="pt-BR"/>
          </a:p>
        </p:txBody>
      </p:sp>
      <p:sp>
        <p:nvSpPr>
          <p:cNvPr id="4" name="Slide Number Placeholder 3">
            <a:extLst>
              <a:ext uri="{FF2B5EF4-FFF2-40B4-BE49-F238E27FC236}">
                <a16:creationId xmlns:a16="http://schemas.microsoft.com/office/drawing/2014/main" id="{9A425C20-8C3A-EEBD-B2BA-0FD4DDF92121}"/>
              </a:ext>
            </a:extLst>
          </p:cNvPr>
          <p:cNvSpPr>
            <a:spLocks noGrp="1"/>
          </p:cNvSpPr>
          <p:nvPr>
            <p:ph type="sldNum" sz="quarter" idx="5"/>
          </p:nvPr>
        </p:nvSpPr>
        <p:spPr/>
        <p:txBody>
          <a:bodyPr/>
          <a:lstStyle/>
          <a:p>
            <a:fld id="{7131239D-2F14-4EE1-9743-D4563A36472A}" type="slidenum">
              <a:rPr lang="pt-BR" smtClean="0"/>
              <a:t>19</a:t>
            </a:fld>
            <a:endParaRPr lang="pt-BR"/>
          </a:p>
        </p:txBody>
      </p:sp>
    </p:spTree>
    <p:extLst>
      <p:ext uri="{BB962C8B-B14F-4D97-AF65-F5344CB8AC3E}">
        <p14:creationId xmlns:p14="http://schemas.microsoft.com/office/powerpoint/2010/main" val="24300058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12BA3B-A1A7-02B7-0AAB-BE6FC8BB92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F6CBFB-46A1-9573-9687-F84DAE14D02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D023B08-F91B-2C24-B53F-426F1145D53F}"/>
              </a:ext>
            </a:extLst>
          </p:cNvPr>
          <p:cNvSpPr>
            <a:spLocks noGrp="1"/>
          </p:cNvSpPr>
          <p:nvPr>
            <p:ph type="body" idx="1"/>
          </p:nvPr>
        </p:nvSpPr>
        <p:spPr/>
        <p:txBody>
          <a:bodyPr/>
          <a:lstStyle/>
          <a:p>
            <a:endParaRPr lang="pt-BR"/>
          </a:p>
        </p:txBody>
      </p:sp>
      <p:sp>
        <p:nvSpPr>
          <p:cNvPr id="4" name="Slide Number Placeholder 3">
            <a:extLst>
              <a:ext uri="{FF2B5EF4-FFF2-40B4-BE49-F238E27FC236}">
                <a16:creationId xmlns:a16="http://schemas.microsoft.com/office/drawing/2014/main" id="{9A425C20-8C3A-EEBD-B2BA-0FD4DDF92121}"/>
              </a:ext>
            </a:extLst>
          </p:cNvPr>
          <p:cNvSpPr>
            <a:spLocks noGrp="1"/>
          </p:cNvSpPr>
          <p:nvPr>
            <p:ph type="sldNum" sz="quarter" idx="5"/>
          </p:nvPr>
        </p:nvSpPr>
        <p:spPr/>
        <p:txBody>
          <a:bodyPr/>
          <a:lstStyle/>
          <a:p>
            <a:fld id="{7131239D-2F14-4EE1-9743-D4563A36472A}" type="slidenum">
              <a:rPr lang="pt-BR" smtClean="0"/>
              <a:t>22</a:t>
            </a:fld>
            <a:endParaRPr lang="pt-BR"/>
          </a:p>
        </p:txBody>
      </p:sp>
    </p:spTree>
    <p:extLst>
      <p:ext uri="{BB962C8B-B14F-4D97-AF65-F5344CB8AC3E}">
        <p14:creationId xmlns:p14="http://schemas.microsoft.com/office/powerpoint/2010/main" val="19352301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B85781-0F5C-9582-2F71-9C8BD0EB56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8E89C6-B543-783A-35A3-074EFB5FF26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CB102CA-9F8E-143A-ECE0-375BB4B8D136}"/>
              </a:ext>
            </a:extLst>
          </p:cNvPr>
          <p:cNvSpPr>
            <a:spLocks noGrp="1"/>
          </p:cNvSpPr>
          <p:nvPr>
            <p:ph type="body" idx="1"/>
          </p:nvPr>
        </p:nvSpPr>
        <p:spPr/>
        <p:txBody>
          <a:bodyPr/>
          <a:lstStyle/>
          <a:p>
            <a:endParaRPr lang="pt-BR"/>
          </a:p>
        </p:txBody>
      </p:sp>
      <p:sp>
        <p:nvSpPr>
          <p:cNvPr id="4" name="Slide Number Placeholder 3">
            <a:extLst>
              <a:ext uri="{FF2B5EF4-FFF2-40B4-BE49-F238E27FC236}">
                <a16:creationId xmlns:a16="http://schemas.microsoft.com/office/drawing/2014/main" id="{A55421EB-8147-0541-B069-C964152384C3}"/>
              </a:ext>
            </a:extLst>
          </p:cNvPr>
          <p:cNvSpPr>
            <a:spLocks noGrp="1"/>
          </p:cNvSpPr>
          <p:nvPr>
            <p:ph type="sldNum" sz="quarter" idx="5"/>
          </p:nvPr>
        </p:nvSpPr>
        <p:spPr/>
        <p:txBody>
          <a:bodyPr/>
          <a:lstStyle/>
          <a:p>
            <a:fld id="{7131239D-2F14-4EE1-9743-D4563A36472A}" type="slidenum">
              <a:rPr lang="pt-BR" smtClean="0"/>
              <a:t>24</a:t>
            </a:fld>
            <a:endParaRPr lang="pt-BR"/>
          </a:p>
        </p:txBody>
      </p:sp>
    </p:spTree>
    <p:extLst>
      <p:ext uri="{BB962C8B-B14F-4D97-AF65-F5344CB8AC3E}">
        <p14:creationId xmlns:p14="http://schemas.microsoft.com/office/powerpoint/2010/main" val="9152348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EDFE13-ED47-045E-B6CA-3B562BA07E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24B46F-3093-6D80-10A7-877DC71E4C3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4352B00-DE85-A473-91E6-412C37C2FDA0}"/>
              </a:ext>
            </a:extLst>
          </p:cNvPr>
          <p:cNvSpPr>
            <a:spLocks noGrp="1"/>
          </p:cNvSpPr>
          <p:nvPr>
            <p:ph type="body" idx="1"/>
          </p:nvPr>
        </p:nvSpPr>
        <p:spPr/>
        <p:txBody>
          <a:bodyPr/>
          <a:lstStyle/>
          <a:p>
            <a:endParaRPr lang="pt-BR"/>
          </a:p>
        </p:txBody>
      </p:sp>
      <p:sp>
        <p:nvSpPr>
          <p:cNvPr id="4" name="Slide Number Placeholder 3">
            <a:extLst>
              <a:ext uri="{FF2B5EF4-FFF2-40B4-BE49-F238E27FC236}">
                <a16:creationId xmlns:a16="http://schemas.microsoft.com/office/drawing/2014/main" id="{A9102901-7014-BF26-A626-C24D49931FCD}"/>
              </a:ext>
            </a:extLst>
          </p:cNvPr>
          <p:cNvSpPr>
            <a:spLocks noGrp="1"/>
          </p:cNvSpPr>
          <p:nvPr>
            <p:ph type="sldNum" sz="quarter" idx="5"/>
          </p:nvPr>
        </p:nvSpPr>
        <p:spPr/>
        <p:txBody>
          <a:bodyPr/>
          <a:lstStyle/>
          <a:p>
            <a:fld id="{7131239D-2F14-4EE1-9743-D4563A36472A}" type="slidenum">
              <a:rPr lang="pt-BR" smtClean="0"/>
              <a:t>25</a:t>
            </a:fld>
            <a:endParaRPr lang="pt-BR"/>
          </a:p>
        </p:txBody>
      </p:sp>
    </p:spTree>
    <p:extLst>
      <p:ext uri="{BB962C8B-B14F-4D97-AF65-F5344CB8AC3E}">
        <p14:creationId xmlns:p14="http://schemas.microsoft.com/office/powerpoint/2010/main" val="10297898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AC45C6-9393-1CD5-AE06-6E27DA7CCA5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1742692-8A00-6A40-02BC-45F95E1A92E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A600E35-1B2F-F6D0-3E68-DD6128B5AAA9}"/>
              </a:ext>
            </a:extLst>
          </p:cNvPr>
          <p:cNvSpPr>
            <a:spLocks noGrp="1"/>
          </p:cNvSpPr>
          <p:nvPr>
            <p:ph type="body" idx="1"/>
          </p:nvPr>
        </p:nvSpPr>
        <p:spPr/>
        <p:txBody>
          <a:bodyPr/>
          <a:lstStyle/>
          <a:p>
            <a:endParaRPr lang="pt-BR"/>
          </a:p>
        </p:txBody>
      </p:sp>
      <p:sp>
        <p:nvSpPr>
          <p:cNvPr id="4" name="Slide Number Placeholder 3">
            <a:extLst>
              <a:ext uri="{FF2B5EF4-FFF2-40B4-BE49-F238E27FC236}">
                <a16:creationId xmlns:a16="http://schemas.microsoft.com/office/drawing/2014/main" id="{49582DB5-EDC4-0B92-59A0-4034C97AA39F}"/>
              </a:ext>
            </a:extLst>
          </p:cNvPr>
          <p:cNvSpPr>
            <a:spLocks noGrp="1"/>
          </p:cNvSpPr>
          <p:nvPr>
            <p:ph type="sldNum" sz="quarter" idx="5"/>
          </p:nvPr>
        </p:nvSpPr>
        <p:spPr/>
        <p:txBody>
          <a:bodyPr/>
          <a:lstStyle/>
          <a:p>
            <a:fld id="{7131239D-2F14-4EE1-9743-D4563A36472A}" type="slidenum">
              <a:rPr lang="pt-BR" smtClean="0"/>
              <a:t>26</a:t>
            </a:fld>
            <a:endParaRPr lang="pt-BR"/>
          </a:p>
        </p:txBody>
      </p:sp>
    </p:spTree>
    <p:extLst>
      <p:ext uri="{BB962C8B-B14F-4D97-AF65-F5344CB8AC3E}">
        <p14:creationId xmlns:p14="http://schemas.microsoft.com/office/powerpoint/2010/main" val="1404019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EDFE13-ED47-045E-B6CA-3B562BA07E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24B46F-3093-6D80-10A7-877DC71E4C3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4352B00-DE85-A473-91E6-412C37C2FDA0}"/>
              </a:ext>
            </a:extLst>
          </p:cNvPr>
          <p:cNvSpPr>
            <a:spLocks noGrp="1"/>
          </p:cNvSpPr>
          <p:nvPr>
            <p:ph type="body" idx="1"/>
          </p:nvPr>
        </p:nvSpPr>
        <p:spPr/>
        <p:txBody>
          <a:bodyPr/>
          <a:lstStyle/>
          <a:p>
            <a:endParaRPr lang="pt-BR"/>
          </a:p>
        </p:txBody>
      </p:sp>
      <p:sp>
        <p:nvSpPr>
          <p:cNvPr id="4" name="Slide Number Placeholder 3">
            <a:extLst>
              <a:ext uri="{FF2B5EF4-FFF2-40B4-BE49-F238E27FC236}">
                <a16:creationId xmlns:a16="http://schemas.microsoft.com/office/drawing/2014/main" id="{A9102901-7014-BF26-A626-C24D49931FCD}"/>
              </a:ext>
            </a:extLst>
          </p:cNvPr>
          <p:cNvSpPr>
            <a:spLocks noGrp="1"/>
          </p:cNvSpPr>
          <p:nvPr>
            <p:ph type="sldNum" sz="quarter" idx="5"/>
          </p:nvPr>
        </p:nvSpPr>
        <p:spPr/>
        <p:txBody>
          <a:bodyPr/>
          <a:lstStyle/>
          <a:p>
            <a:fld id="{7131239D-2F14-4EE1-9743-D4563A36472A}" type="slidenum">
              <a:rPr lang="pt-BR" smtClean="0"/>
              <a:t>27</a:t>
            </a:fld>
            <a:endParaRPr lang="pt-BR"/>
          </a:p>
        </p:txBody>
      </p:sp>
    </p:spTree>
    <p:extLst>
      <p:ext uri="{BB962C8B-B14F-4D97-AF65-F5344CB8AC3E}">
        <p14:creationId xmlns:p14="http://schemas.microsoft.com/office/powerpoint/2010/main" val="10751111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AC45C6-9393-1CD5-AE06-6E27DA7CCA5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1742692-8A00-6A40-02BC-45F95E1A92E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A600E35-1B2F-F6D0-3E68-DD6128B5AAA9}"/>
              </a:ext>
            </a:extLst>
          </p:cNvPr>
          <p:cNvSpPr>
            <a:spLocks noGrp="1"/>
          </p:cNvSpPr>
          <p:nvPr>
            <p:ph type="body" idx="1"/>
          </p:nvPr>
        </p:nvSpPr>
        <p:spPr/>
        <p:txBody>
          <a:bodyPr/>
          <a:lstStyle/>
          <a:p>
            <a:endParaRPr lang="pt-BR"/>
          </a:p>
        </p:txBody>
      </p:sp>
      <p:sp>
        <p:nvSpPr>
          <p:cNvPr id="4" name="Slide Number Placeholder 3">
            <a:extLst>
              <a:ext uri="{FF2B5EF4-FFF2-40B4-BE49-F238E27FC236}">
                <a16:creationId xmlns:a16="http://schemas.microsoft.com/office/drawing/2014/main" id="{49582DB5-EDC4-0B92-59A0-4034C97AA39F}"/>
              </a:ext>
            </a:extLst>
          </p:cNvPr>
          <p:cNvSpPr>
            <a:spLocks noGrp="1"/>
          </p:cNvSpPr>
          <p:nvPr>
            <p:ph type="sldNum" sz="quarter" idx="5"/>
          </p:nvPr>
        </p:nvSpPr>
        <p:spPr/>
        <p:txBody>
          <a:bodyPr/>
          <a:lstStyle/>
          <a:p>
            <a:fld id="{7131239D-2F14-4EE1-9743-D4563A36472A}" type="slidenum">
              <a:rPr lang="pt-BR" smtClean="0"/>
              <a:t>28</a:t>
            </a:fld>
            <a:endParaRPr lang="pt-BR"/>
          </a:p>
        </p:txBody>
      </p:sp>
    </p:spTree>
    <p:extLst>
      <p:ext uri="{BB962C8B-B14F-4D97-AF65-F5344CB8AC3E}">
        <p14:creationId xmlns:p14="http://schemas.microsoft.com/office/powerpoint/2010/main" val="38141796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EDFE13-ED47-045E-B6CA-3B562BA07E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24B46F-3093-6D80-10A7-877DC71E4C3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4352B00-DE85-A473-91E6-412C37C2FDA0}"/>
              </a:ext>
            </a:extLst>
          </p:cNvPr>
          <p:cNvSpPr>
            <a:spLocks noGrp="1"/>
          </p:cNvSpPr>
          <p:nvPr>
            <p:ph type="body" idx="1"/>
          </p:nvPr>
        </p:nvSpPr>
        <p:spPr/>
        <p:txBody>
          <a:bodyPr/>
          <a:lstStyle/>
          <a:p>
            <a:endParaRPr lang="pt-BR"/>
          </a:p>
        </p:txBody>
      </p:sp>
      <p:sp>
        <p:nvSpPr>
          <p:cNvPr id="4" name="Slide Number Placeholder 3">
            <a:extLst>
              <a:ext uri="{FF2B5EF4-FFF2-40B4-BE49-F238E27FC236}">
                <a16:creationId xmlns:a16="http://schemas.microsoft.com/office/drawing/2014/main" id="{A9102901-7014-BF26-A626-C24D49931FCD}"/>
              </a:ext>
            </a:extLst>
          </p:cNvPr>
          <p:cNvSpPr>
            <a:spLocks noGrp="1"/>
          </p:cNvSpPr>
          <p:nvPr>
            <p:ph type="sldNum" sz="quarter" idx="5"/>
          </p:nvPr>
        </p:nvSpPr>
        <p:spPr/>
        <p:txBody>
          <a:bodyPr/>
          <a:lstStyle/>
          <a:p>
            <a:fld id="{7131239D-2F14-4EE1-9743-D4563A36472A}" type="slidenum">
              <a:rPr lang="pt-BR" smtClean="0"/>
              <a:t>29</a:t>
            </a:fld>
            <a:endParaRPr lang="pt-BR"/>
          </a:p>
        </p:txBody>
      </p:sp>
    </p:spTree>
    <p:extLst>
      <p:ext uri="{BB962C8B-B14F-4D97-AF65-F5344CB8AC3E}">
        <p14:creationId xmlns:p14="http://schemas.microsoft.com/office/powerpoint/2010/main" val="34746101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D94763-4294-DC8F-13D5-4A441FE2C58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B9BFDFC-BB7A-7D3D-CAD9-C94D28E4B80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71D8C07-2A18-A4E6-C5D5-73CA32909B02}"/>
              </a:ext>
            </a:extLst>
          </p:cNvPr>
          <p:cNvSpPr>
            <a:spLocks noGrp="1"/>
          </p:cNvSpPr>
          <p:nvPr>
            <p:ph type="body" idx="1"/>
          </p:nvPr>
        </p:nvSpPr>
        <p:spPr/>
        <p:txBody>
          <a:bodyPr/>
          <a:lstStyle/>
          <a:p>
            <a:endParaRPr lang="pt-BR"/>
          </a:p>
        </p:txBody>
      </p:sp>
      <p:sp>
        <p:nvSpPr>
          <p:cNvPr id="4" name="Slide Number Placeholder 3">
            <a:extLst>
              <a:ext uri="{FF2B5EF4-FFF2-40B4-BE49-F238E27FC236}">
                <a16:creationId xmlns:a16="http://schemas.microsoft.com/office/drawing/2014/main" id="{AA73157A-F57B-603A-048C-049867A82EA0}"/>
              </a:ext>
            </a:extLst>
          </p:cNvPr>
          <p:cNvSpPr>
            <a:spLocks noGrp="1"/>
          </p:cNvSpPr>
          <p:nvPr>
            <p:ph type="sldNum" sz="quarter" idx="5"/>
          </p:nvPr>
        </p:nvSpPr>
        <p:spPr/>
        <p:txBody>
          <a:bodyPr/>
          <a:lstStyle/>
          <a:p>
            <a:fld id="{7131239D-2F14-4EE1-9743-D4563A36472A}" type="slidenum">
              <a:rPr lang="pt-BR" smtClean="0"/>
              <a:t>3</a:t>
            </a:fld>
            <a:endParaRPr lang="pt-BR"/>
          </a:p>
        </p:txBody>
      </p:sp>
    </p:spTree>
    <p:extLst>
      <p:ext uri="{BB962C8B-B14F-4D97-AF65-F5344CB8AC3E}">
        <p14:creationId xmlns:p14="http://schemas.microsoft.com/office/powerpoint/2010/main" val="361307642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213637-B2E7-DE9E-3F09-B4EA96C754F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5028834-1425-E530-31E0-E342CB8BA96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2BEB050-F2FE-67FA-4C3E-9E6C2F914B3E}"/>
              </a:ext>
            </a:extLst>
          </p:cNvPr>
          <p:cNvSpPr>
            <a:spLocks noGrp="1"/>
          </p:cNvSpPr>
          <p:nvPr>
            <p:ph type="body" idx="1"/>
          </p:nvPr>
        </p:nvSpPr>
        <p:spPr/>
        <p:txBody>
          <a:bodyPr/>
          <a:lstStyle/>
          <a:p>
            <a:endParaRPr lang="pt-BR"/>
          </a:p>
        </p:txBody>
      </p:sp>
      <p:sp>
        <p:nvSpPr>
          <p:cNvPr id="4" name="Slide Number Placeholder 3">
            <a:extLst>
              <a:ext uri="{FF2B5EF4-FFF2-40B4-BE49-F238E27FC236}">
                <a16:creationId xmlns:a16="http://schemas.microsoft.com/office/drawing/2014/main" id="{B5AEA93F-9F46-4270-F368-5EC526F554F9}"/>
              </a:ext>
            </a:extLst>
          </p:cNvPr>
          <p:cNvSpPr>
            <a:spLocks noGrp="1"/>
          </p:cNvSpPr>
          <p:nvPr>
            <p:ph type="sldNum" sz="quarter" idx="5"/>
          </p:nvPr>
        </p:nvSpPr>
        <p:spPr/>
        <p:txBody>
          <a:bodyPr/>
          <a:lstStyle/>
          <a:p>
            <a:fld id="{7131239D-2F14-4EE1-9743-D4563A36472A}" type="slidenum">
              <a:rPr lang="pt-BR" smtClean="0"/>
              <a:t>30</a:t>
            </a:fld>
            <a:endParaRPr lang="pt-BR"/>
          </a:p>
        </p:txBody>
      </p:sp>
    </p:spTree>
    <p:extLst>
      <p:ext uri="{BB962C8B-B14F-4D97-AF65-F5344CB8AC3E}">
        <p14:creationId xmlns:p14="http://schemas.microsoft.com/office/powerpoint/2010/main" val="7563081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12BA3B-A1A7-02B7-0AAB-BE6FC8BB92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F6CBFB-46A1-9573-9687-F84DAE14D02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D023B08-F91B-2C24-B53F-426F1145D53F}"/>
              </a:ext>
            </a:extLst>
          </p:cNvPr>
          <p:cNvSpPr>
            <a:spLocks noGrp="1"/>
          </p:cNvSpPr>
          <p:nvPr>
            <p:ph type="body" idx="1"/>
          </p:nvPr>
        </p:nvSpPr>
        <p:spPr/>
        <p:txBody>
          <a:bodyPr/>
          <a:lstStyle/>
          <a:p>
            <a:endParaRPr lang="pt-BR"/>
          </a:p>
        </p:txBody>
      </p:sp>
      <p:sp>
        <p:nvSpPr>
          <p:cNvPr id="4" name="Slide Number Placeholder 3">
            <a:extLst>
              <a:ext uri="{FF2B5EF4-FFF2-40B4-BE49-F238E27FC236}">
                <a16:creationId xmlns:a16="http://schemas.microsoft.com/office/drawing/2014/main" id="{9A425C20-8C3A-EEBD-B2BA-0FD4DDF92121}"/>
              </a:ext>
            </a:extLst>
          </p:cNvPr>
          <p:cNvSpPr>
            <a:spLocks noGrp="1"/>
          </p:cNvSpPr>
          <p:nvPr>
            <p:ph type="sldNum" sz="quarter" idx="5"/>
          </p:nvPr>
        </p:nvSpPr>
        <p:spPr/>
        <p:txBody>
          <a:bodyPr/>
          <a:lstStyle/>
          <a:p>
            <a:fld id="{7131239D-2F14-4EE1-9743-D4563A36472A}" type="slidenum">
              <a:rPr lang="pt-BR" smtClean="0"/>
              <a:t>31</a:t>
            </a:fld>
            <a:endParaRPr lang="pt-BR"/>
          </a:p>
        </p:txBody>
      </p:sp>
    </p:spTree>
    <p:extLst>
      <p:ext uri="{BB962C8B-B14F-4D97-AF65-F5344CB8AC3E}">
        <p14:creationId xmlns:p14="http://schemas.microsoft.com/office/powerpoint/2010/main" val="24300058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05EB31-02D9-883E-411A-81A9C1C2D9A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F437CA-C2A5-49EE-B459-749F3D3CBCF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EA451E8-6B2A-E3E5-1A97-BA9D73A217C7}"/>
              </a:ext>
            </a:extLst>
          </p:cNvPr>
          <p:cNvSpPr>
            <a:spLocks noGrp="1"/>
          </p:cNvSpPr>
          <p:nvPr>
            <p:ph type="body" idx="1"/>
          </p:nvPr>
        </p:nvSpPr>
        <p:spPr/>
        <p:txBody>
          <a:bodyPr/>
          <a:lstStyle/>
          <a:p>
            <a:endParaRPr lang="pt-BR"/>
          </a:p>
        </p:txBody>
      </p:sp>
      <p:sp>
        <p:nvSpPr>
          <p:cNvPr id="4" name="Slide Number Placeholder 3">
            <a:extLst>
              <a:ext uri="{FF2B5EF4-FFF2-40B4-BE49-F238E27FC236}">
                <a16:creationId xmlns:a16="http://schemas.microsoft.com/office/drawing/2014/main" id="{12B96445-54DC-2F57-35DE-404122E5A75D}"/>
              </a:ext>
            </a:extLst>
          </p:cNvPr>
          <p:cNvSpPr>
            <a:spLocks noGrp="1"/>
          </p:cNvSpPr>
          <p:nvPr>
            <p:ph type="sldNum" sz="quarter" idx="5"/>
          </p:nvPr>
        </p:nvSpPr>
        <p:spPr/>
        <p:txBody>
          <a:bodyPr/>
          <a:lstStyle/>
          <a:p>
            <a:fld id="{7131239D-2F14-4EE1-9743-D4563A36472A}" type="slidenum">
              <a:rPr lang="pt-BR" smtClean="0"/>
              <a:t>32</a:t>
            </a:fld>
            <a:endParaRPr lang="pt-BR"/>
          </a:p>
        </p:txBody>
      </p:sp>
    </p:spTree>
    <p:extLst>
      <p:ext uri="{BB962C8B-B14F-4D97-AF65-F5344CB8AC3E}">
        <p14:creationId xmlns:p14="http://schemas.microsoft.com/office/powerpoint/2010/main" val="13767989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12BA3B-A1A7-02B7-0AAB-BE6FC8BB92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F6CBFB-46A1-9573-9687-F84DAE14D02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D023B08-F91B-2C24-B53F-426F1145D53F}"/>
              </a:ext>
            </a:extLst>
          </p:cNvPr>
          <p:cNvSpPr>
            <a:spLocks noGrp="1"/>
          </p:cNvSpPr>
          <p:nvPr>
            <p:ph type="body" idx="1"/>
          </p:nvPr>
        </p:nvSpPr>
        <p:spPr/>
        <p:txBody>
          <a:bodyPr/>
          <a:lstStyle/>
          <a:p>
            <a:endParaRPr lang="pt-BR"/>
          </a:p>
        </p:txBody>
      </p:sp>
      <p:sp>
        <p:nvSpPr>
          <p:cNvPr id="4" name="Slide Number Placeholder 3">
            <a:extLst>
              <a:ext uri="{FF2B5EF4-FFF2-40B4-BE49-F238E27FC236}">
                <a16:creationId xmlns:a16="http://schemas.microsoft.com/office/drawing/2014/main" id="{9A425C20-8C3A-EEBD-B2BA-0FD4DDF92121}"/>
              </a:ext>
            </a:extLst>
          </p:cNvPr>
          <p:cNvSpPr>
            <a:spLocks noGrp="1"/>
          </p:cNvSpPr>
          <p:nvPr>
            <p:ph type="sldNum" sz="quarter" idx="5"/>
          </p:nvPr>
        </p:nvSpPr>
        <p:spPr/>
        <p:txBody>
          <a:bodyPr/>
          <a:lstStyle/>
          <a:p>
            <a:fld id="{7131239D-2F14-4EE1-9743-D4563A36472A}" type="slidenum">
              <a:rPr lang="pt-BR" smtClean="0"/>
              <a:t>33</a:t>
            </a:fld>
            <a:endParaRPr lang="pt-BR"/>
          </a:p>
        </p:txBody>
      </p:sp>
    </p:spTree>
    <p:extLst>
      <p:ext uri="{BB962C8B-B14F-4D97-AF65-F5344CB8AC3E}">
        <p14:creationId xmlns:p14="http://schemas.microsoft.com/office/powerpoint/2010/main" val="7177732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B85781-0F5C-9582-2F71-9C8BD0EB56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8E89C6-B543-783A-35A3-074EFB5FF26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CB102CA-9F8E-143A-ECE0-375BB4B8D136}"/>
              </a:ext>
            </a:extLst>
          </p:cNvPr>
          <p:cNvSpPr>
            <a:spLocks noGrp="1"/>
          </p:cNvSpPr>
          <p:nvPr>
            <p:ph type="body" idx="1"/>
          </p:nvPr>
        </p:nvSpPr>
        <p:spPr/>
        <p:txBody>
          <a:bodyPr/>
          <a:lstStyle/>
          <a:p>
            <a:endParaRPr lang="pt-BR"/>
          </a:p>
        </p:txBody>
      </p:sp>
      <p:sp>
        <p:nvSpPr>
          <p:cNvPr id="4" name="Slide Number Placeholder 3">
            <a:extLst>
              <a:ext uri="{FF2B5EF4-FFF2-40B4-BE49-F238E27FC236}">
                <a16:creationId xmlns:a16="http://schemas.microsoft.com/office/drawing/2014/main" id="{A55421EB-8147-0541-B069-C964152384C3}"/>
              </a:ext>
            </a:extLst>
          </p:cNvPr>
          <p:cNvSpPr>
            <a:spLocks noGrp="1"/>
          </p:cNvSpPr>
          <p:nvPr>
            <p:ph type="sldNum" sz="quarter" idx="5"/>
          </p:nvPr>
        </p:nvSpPr>
        <p:spPr/>
        <p:txBody>
          <a:bodyPr/>
          <a:lstStyle/>
          <a:p>
            <a:fld id="{7131239D-2F14-4EE1-9743-D4563A36472A}" type="slidenum">
              <a:rPr lang="pt-BR" smtClean="0"/>
              <a:t>35</a:t>
            </a:fld>
            <a:endParaRPr lang="pt-BR"/>
          </a:p>
        </p:txBody>
      </p:sp>
    </p:spTree>
    <p:extLst>
      <p:ext uri="{BB962C8B-B14F-4D97-AF65-F5344CB8AC3E}">
        <p14:creationId xmlns:p14="http://schemas.microsoft.com/office/powerpoint/2010/main" val="19708425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685A91-ADDB-115A-7AB0-062391B0DAF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D4487DA-9792-5521-4D94-FB5F17C4DA8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57DE1A2-3372-DAE2-FA71-8E7638A069BF}"/>
              </a:ext>
            </a:extLst>
          </p:cNvPr>
          <p:cNvSpPr>
            <a:spLocks noGrp="1"/>
          </p:cNvSpPr>
          <p:nvPr>
            <p:ph type="body" idx="1"/>
          </p:nvPr>
        </p:nvSpPr>
        <p:spPr/>
        <p:txBody>
          <a:bodyPr/>
          <a:lstStyle/>
          <a:p>
            <a:endParaRPr lang="pt-BR"/>
          </a:p>
        </p:txBody>
      </p:sp>
      <p:sp>
        <p:nvSpPr>
          <p:cNvPr id="4" name="Slide Number Placeholder 3">
            <a:extLst>
              <a:ext uri="{FF2B5EF4-FFF2-40B4-BE49-F238E27FC236}">
                <a16:creationId xmlns:a16="http://schemas.microsoft.com/office/drawing/2014/main" id="{0F8574B7-CD2D-D346-BA3D-51D59D2D87BB}"/>
              </a:ext>
            </a:extLst>
          </p:cNvPr>
          <p:cNvSpPr>
            <a:spLocks noGrp="1"/>
          </p:cNvSpPr>
          <p:nvPr>
            <p:ph type="sldNum" sz="quarter" idx="5"/>
          </p:nvPr>
        </p:nvSpPr>
        <p:spPr/>
        <p:txBody>
          <a:bodyPr/>
          <a:lstStyle/>
          <a:p>
            <a:fld id="{7131239D-2F14-4EE1-9743-D4563A36472A}" type="slidenum">
              <a:rPr lang="pt-BR" smtClean="0"/>
              <a:t>36</a:t>
            </a:fld>
            <a:endParaRPr lang="pt-BR"/>
          </a:p>
        </p:txBody>
      </p:sp>
    </p:spTree>
    <p:extLst>
      <p:ext uri="{BB962C8B-B14F-4D97-AF65-F5344CB8AC3E}">
        <p14:creationId xmlns:p14="http://schemas.microsoft.com/office/powerpoint/2010/main" val="113947521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B85781-0F5C-9582-2F71-9C8BD0EB56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8E89C6-B543-783A-35A3-074EFB5FF26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CB102CA-9F8E-143A-ECE0-375BB4B8D136}"/>
              </a:ext>
            </a:extLst>
          </p:cNvPr>
          <p:cNvSpPr>
            <a:spLocks noGrp="1"/>
          </p:cNvSpPr>
          <p:nvPr>
            <p:ph type="body" idx="1"/>
          </p:nvPr>
        </p:nvSpPr>
        <p:spPr/>
        <p:txBody>
          <a:bodyPr/>
          <a:lstStyle/>
          <a:p>
            <a:endParaRPr lang="pt-BR"/>
          </a:p>
        </p:txBody>
      </p:sp>
      <p:sp>
        <p:nvSpPr>
          <p:cNvPr id="4" name="Slide Number Placeholder 3">
            <a:extLst>
              <a:ext uri="{FF2B5EF4-FFF2-40B4-BE49-F238E27FC236}">
                <a16:creationId xmlns:a16="http://schemas.microsoft.com/office/drawing/2014/main" id="{A55421EB-8147-0541-B069-C964152384C3}"/>
              </a:ext>
            </a:extLst>
          </p:cNvPr>
          <p:cNvSpPr>
            <a:spLocks noGrp="1"/>
          </p:cNvSpPr>
          <p:nvPr>
            <p:ph type="sldNum" sz="quarter" idx="5"/>
          </p:nvPr>
        </p:nvSpPr>
        <p:spPr/>
        <p:txBody>
          <a:bodyPr/>
          <a:lstStyle/>
          <a:p>
            <a:fld id="{7131239D-2F14-4EE1-9743-D4563A36472A}" type="slidenum">
              <a:rPr lang="pt-BR" smtClean="0"/>
              <a:t>37</a:t>
            </a:fld>
            <a:endParaRPr lang="pt-BR"/>
          </a:p>
        </p:txBody>
      </p:sp>
    </p:spTree>
    <p:extLst>
      <p:ext uri="{BB962C8B-B14F-4D97-AF65-F5344CB8AC3E}">
        <p14:creationId xmlns:p14="http://schemas.microsoft.com/office/powerpoint/2010/main" val="45425252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685A91-ADDB-115A-7AB0-062391B0DAF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D4487DA-9792-5521-4D94-FB5F17C4DA8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57DE1A2-3372-DAE2-FA71-8E7638A069BF}"/>
              </a:ext>
            </a:extLst>
          </p:cNvPr>
          <p:cNvSpPr>
            <a:spLocks noGrp="1"/>
          </p:cNvSpPr>
          <p:nvPr>
            <p:ph type="body" idx="1"/>
          </p:nvPr>
        </p:nvSpPr>
        <p:spPr/>
        <p:txBody>
          <a:bodyPr/>
          <a:lstStyle/>
          <a:p>
            <a:endParaRPr lang="pt-BR"/>
          </a:p>
        </p:txBody>
      </p:sp>
      <p:sp>
        <p:nvSpPr>
          <p:cNvPr id="4" name="Slide Number Placeholder 3">
            <a:extLst>
              <a:ext uri="{FF2B5EF4-FFF2-40B4-BE49-F238E27FC236}">
                <a16:creationId xmlns:a16="http://schemas.microsoft.com/office/drawing/2014/main" id="{0F8574B7-CD2D-D346-BA3D-51D59D2D87BB}"/>
              </a:ext>
            </a:extLst>
          </p:cNvPr>
          <p:cNvSpPr>
            <a:spLocks noGrp="1"/>
          </p:cNvSpPr>
          <p:nvPr>
            <p:ph type="sldNum" sz="quarter" idx="5"/>
          </p:nvPr>
        </p:nvSpPr>
        <p:spPr/>
        <p:txBody>
          <a:bodyPr/>
          <a:lstStyle/>
          <a:p>
            <a:fld id="{7131239D-2F14-4EE1-9743-D4563A36472A}" type="slidenum">
              <a:rPr lang="pt-BR" smtClean="0"/>
              <a:t>38</a:t>
            </a:fld>
            <a:endParaRPr lang="pt-BR"/>
          </a:p>
        </p:txBody>
      </p:sp>
    </p:spTree>
    <p:extLst>
      <p:ext uri="{BB962C8B-B14F-4D97-AF65-F5344CB8AC3E}">
        <p14:creationId xmlns:p14="http://schemas.microsoft.com/office/powerpoint/2010/main" val="291614316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213637-B2E7-DE9E-3F09-B4EA96C754F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5028834-1425-E530-31E0-E342CB8BA96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2BEB050-F2FE-67FA-4C3E-9E6C2F914B3E}"/>
              </a:ext>
            </a:extLst>
          </p:cNvPr>
          <p:cNvSpPr>
            <a:spLocks noGrp="1"/>
          </p:cNvSpPr>
          <p:nvPr>
            <p:ph type="body" idx="1"/>
          </p:nvPr>
        </p:nvSpPr>
        <p:spPr/>
        <p:txBody>
          <a:bodyPr/>
          <a:lstStyle/>
          <a:p>
            <a:endParaRPr lang="pt-BR"/>
          </a:p>
        </p:txBody>
      </p:sp>
      <p:sp>
        <p:nvSpPr>
          <p:cNvPr id="4" name="Slide Number Placeholder 3">
            <a:extLst>
              <a:ext uri="{FF2B5EF4-FFF2-40B4-BE49-F238E27FC236}">
                <a16:creationId xmlns:a16="http://schemas.microsoft.com/office/drawing/2014/main" id="{B5AEA93F-9F46-4270-F368-5EC526F554F9}"/>
              </a:ext>
            </a:extLst>
          </p:cNvPr>
          <p:cNvSpPr>
            <a:spLocks noGrp="1"/>
          </p:cNvSpPr>
          <p:nvPr>
            <p:ph type="sldNum" sz="quarter" idx="5"/>
          </p:nvPr>
        </p:nvSpPr>
        <p:spPr/>
        <p:txBody>
          <a:bodyPr/>
          <a:lstStyle/>
          <a:p>
            <a:fld id="{7131239D-2F14-4EE1-9743-D4563A36472A}" type="slidenum">
              <a:rPr lang="pt-BR" smtClean="0"/>
              <a:t>39</a:t>
            </a:fld>
            <a:endParaRPr lang="pt-BR"/>
          </a:p>
        </p:txBody>
      </p:sp>
    </p:spTree>
    <p:extLst>
      <p:ext uri="{BB962C8B-B14F-4D97-AF65-F5344CB8AC3E}">
        <p14:creationId xmlns:p14="http://schemas.microsoft.com/office/powerpoint/2010/main" val="20061890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685A91-ADDB-115A-7AB0-062391B0DAF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D4487DA-9792-5521-4D94-FB5F17C4DA8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57DE1A2-3372-DAE2-FA71-8E7638A069BF}"/>
              </a:ext>
            </a:extLst>
          </p:cNvPr>
          <p:cNvSpPr>
            <a:spLocks noGrp="1"/>
          </p:cNvSpPr>
          <p:nvPr>
            <p:ph type="body" idx="1"/>
          </p:nvPr>
        </p:nvSpPr>
        <p:spPr/>
        <p:txBody>
          <a:bodyPr/>
          <a:lstStyle/>
          <a:p>
            <a:endParaRPr lang="pt-BR"/>
          </a:p>
        </p:txBody>
      </p:sp>
      <p:sp>
        <p:nvSpPr>
          <p:cNvPr id="4" name="Slide Number Placeholder 3">
            <a:extLst>
              <a:ext uri="{FF2B5EF4-FFF2-40B4-BE49-F238E27FC236}">
                <a16:creationId xmlns:a16="http://schemas.microsoft.com/office/drawing/2014/main" id="{0F8574B7-CD2D-D346-BA3D-51D59D2D87BB}"/>
              </a:ext>
            </a:extLst>
          </p:cNvPr>
          <p:cNvSpPr>
            <a:spLocks noGrp="1"/>
          </p:cNvSpPr>
          <p:nvPr>
            <p:ph type="sldNum" sz="quarter" idx="5"/>
          </p:nvPr>
        </p:nvSpPr>
        <p:spPr/>
        <p:txBody>
          <a:bodyPr/>
          <a:lstStyle/>
          <a:p>
            <a:fld id="{7131239D-2F14-4EE1-9743-D4563A36472A}" type="slidenum">
              <a:rPr lang="pt-BR" smtClean="0"/>
              <a:t>40</a:t>
            </a:fld>
            <a:endParaRPr lang="pt-BR"/>
          </a:p>
        </p:txBody>
      </p:sp>
    </p:spTree>
    <p:extLst>
      <p:ext uri="{BB962C8B-B14F-4D97-AF65-F5344CB8AC3E}">
        <p14:creationId xmlns:p14="http://schemas.microsoft.com/office/powerpoint/2010/main" val="17706293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8FD849-3514-442A-DB0B-D44BCC77BF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F000A94-83EE-0C7E-9705-CFE66EBC43F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1441F68-5A1C-6B78-3122-7362BC2AB61A}"/>
              </a:ext>
            </a:extLst>
          </p:cNvPr>
          <p:cNvSpPr>
            <a:spLocks noGrp="1"/>
          </p:cNvSpPr>
          <p:nvPr>
            <p:ph type="body" idx="1"/>
          </p:nvPr>
        </p:nvSpPr>
        <p:spPr/>
        <p:txBody>
          <a:bodyPr/>
          <a:lstStyle/>
          <a:p>
            <a:endParaRPr lang="pt-BR"/>
          </a:p>
        </p:txBody>
      </p:sp>
      <p:sp>
        <p:nvSpPr>
          <p:cNvPr id="4" name="Slide Number Placeholder 3">
            <a:extLst>
              <a:ext uri="{FF2B5EF4-FFF2-40B4-BE49-F238E27FC236}">
                <a16:creationId xmlns:a16="http://schemas.microsoft.com/office/drawing/2014/main" id="{ED1088B9-75F3-3FAE-14A7-3CB072471B45}"/>
              </a:ext>
            </a:extLst>
          </p:cNvPr>
          <p:cNvSpPr>
            <a:spLocks noGrp="1"/>
          </p:cNvSpPr>
          <p:nvPr>
            <p:ph type="sldNum" sz="quarter" idx="5"/>
          </p:nvPr>
        </p:nvSpPr>
        <p:spPr/>
        <p:txBody>
          <a:bodyPr/>
          <a:lstStyle/>
          <a:p>
            <a:fld id="{7131239D-2F14-4EE1-9743-D4563A36472A}" type="slidenum">
              <a:rPr lang="pt-BR" smtClean="0"/>
              <a:t>5</a:t>
            </a:fld>
            <a:endParaRPr lang="pt-BR"/>
          </a:p>
        </p:txBody>
      </p:sp>
    </p:spTree>
    <p:extLst>
      <p:ext uri="{BB962C8B-B14F-4D97-AF65-F5344CB8AC3E}">
        <p14:creationId xmlns:p14="http://schemas.microsoft.com/office/powerpoint/2010/main" val="32234922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213637-B2E7-DE9E-3F09-B4EA96C754F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5028834-1425-E530-31E0-E342CB8BA96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2BEB050-F2FE-67FA-4C3E-9E6C2F914B3E}"/>
              </a:ext>
            </a:extLst>
          </p:cNvPr>
          <p:cNvSpPr>
            <a:spLocks noGrp="1"/>
          </p:cNvSpPr>
          <p:nvPr>
            <p:ph type="body" idx="1"/>
          </p:nvPr>
        </p:nvSpPr>
        <p:spPr/>
        <p:txBody>
          <a:bodyPr/>
          <a:lstStyle/>
          <a:p>
            <a:endParaRPr lang="pt-BR"/>
          </a:p>
        </p:txBody>
      </p:sp>
      <p:sp>
        <p:nvSpPr>
          <p:cNvPr id="4" name="Slide Number Placeholder 3">
            <a:extLst>
              <a:ext uri="{FF2B5EF4-FFF2-40B4-BE49-F238E27FC236}">
                <a16:creationId xmlns:a16="http://schemas.microsoft.com/office/drawing/2014/main" id="{B5AEA93F-9F46-4270-F368-5EC526F554F9}"/>
              </a:ext>
            </a:extLst>
          </p:cNvPr>
          <p:cNvSpPr>
            <a:spLocks noGrp="1"/>
          </p:cNvSpPr>
          <p:nvPr>
            <p:ph type="sldNum" sz="quarter" idx="5"/>
          </p:nvPr>
        </p:nvSpPr>
        <p:spPr/>
        <p:txBody>
          <a:bodyPr/>
          <a:lstStyle/>
          <a:p>
            <a:fld id="{7131239D-2F14-4EE1-9743-D4563A36472A}" type="slidenum">
              <a:rPr lang="pt-BR" smtClean="0"/>
              <a:t>41</a:t>
            </a:fld>
            <a:endParaRPr lang="pt-BR"/>
          </a:p>
        </p:txBody>
      </p:sp>
    </p:spTree>
    <p:extLst>
      <p:ext uri="{BB962C8B-B14F-4D97-AF65-F5344CB8AC3E}">
        <p14:creationId xmlns:p14="http://schemas.microsoft.com/office/powerpoint/2010/main" val="334407431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12BA3B-A1A7-02B7-0AAB-BE6FC8BB92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F6CBFB-46A1-9573-9687-F84DAE14D02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D023B08-F91B-2C24-B53F-426F1145D53F}"/>
              </a:ext>
            </a:extLst>
          </p:cNvPr>
          <p:cNvSpPr>
            <a:spLocks noGrp="1"/>
          </p:cNvSpPr>
          <p:nvPr>
            <p:ph type="body" idx="1"/>
          </p:nvPr>
        </p:nvSpPr>
        <p:spPr/>
        <p:txBody>
          <a:bodyPr/>
          <a:lstStyle/>
          <a:p>
            <a:endParaRPr lang="pt-BR"/>
          </a:p>
        </p:txBody>
      </p:sp>
      <p:sp>
        <p:nvSpPr>
          <p:cNvPr id="4" name="Slide Number Placeholder 3">
            <a:extLst>
              <a:ext uri="{FF2B5EF4-FFF2-40B4-BE49-F238E27FC236}">
                <a16:creationId xmlns:a16="http://schemas.microsoft.com/office/drawing/2014/main" id="{9A425C20-8C3A-EEBD-B2BA-0FD4DDF92121}"/>
              </a:ext>
            </a:extLst>
          </p:cNvPr>
          <p:cNvSpPr>
            <a:spLocks noGrp="1"/>
          </p:cNvSpPr>
          <p:nvPr>
            <p:ph type="sldNum" sz="quarter" idx="5"/>
          </p:nvPr>
        </p:nvSpPr>
        <p:spPr/>
        <p:txBody>
          <a:bodyPr/>
          <a:lstStyle/>
          <a:p>
            <a:fld id="{7131239D-2F14-4EE1-9743-D4563A36472A}" type="slidenum">
              <a:rPr lang="pt-BR" smtClean="0"/>
              <a:t>42</a:t>
            </a:fld>
            <a:endParaRPr lang="pt-BR"/>
          </a:p>
        </p:txBody>
      </p:sp>
    </p:spTree>
    <p:extLst>
      <p:ext uri="{BB962C8B-B14F-4D97-AF65-F5344CB8AC3E}">
        <p14:creationId xmlns:p14="http://schemas.microsoft.com/office/powerpoint/2010/main" val="243000581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12BA3B-A1A7-02B7-0AAB-BE6FC8BB92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F6CBFB-46A1-9573-9687-F84DAE14D02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D023B08-F91B-2C24-B53F-426F1145D53F}"/>
              </a:ext>
            </a:extLst>
          </p:cNvPr>
          <p:cNvSpPr>
            <a:spLocks noGrp="1"/>
          </p:cNvSpPr>
          <p:nvPr>
            <p:ph type="body" idx="1"/>
          </p:nvPr>
        </p:nvSpPr>
        <p:spPr/>
        <p:txBody>
          <a:bodyPr/>
          <a:lstStyle/>
          <a:p>
            <a:endParaRPr lang="pt-BR"/>
          </a:p>
        </p:txBody>
      </p:sp>
      <p:sp>
        <p:nvSpPr>
          <p:cNvPr id="4" name="Slide Number Placeholder 3">
            <a:extLst>
              <a:ext uri="{FF2B5EF4-FFF2-40B4-BE49-F238E27FC236}">
                <a16:creationId xmlns:a16="http://schemas.microsoft.com/office/drawing/2014/main" id="{9A425C20-8C3A-EEBD-B2BA-0FD4DDF92121}"/>
              </a:ext>
            </a:extLst>
          </p:cNvPr>
          <p:cNvSpPr>
            <a:spLocks noGrp="1"/>
          </p:cNvSpPr>
          <p:nvPr>
            <p:ph type="sldNum" sz="quarter" idx="5"/>
          </p:nvPr>
        </p:nvSpPr>
        <p:spPr/>
        <p:txBody>
          <a:bodyPr/>
          <a:lstStyle/>
          <a:p>
            <a:fld id="{7131239D-2F14-4EE1-9743-D4563A36472A}" type="slidenum">
              <a:rPr lang="pt-BR" smtClean="0"/>
              <a:t>44</a:t>
            </a:fld>
            <a:endParaRPr lang="pt-BR"/>
          </a:p>
        </p:txBody>
      </p:sp>
    </p:spTree>
    <p:extLst>
      <p:ext uri="{BB962C8B-B14F-4D97-AF65-F5344CB8AC3E}">
        <p14:creationId xmlns:p14="http://schemas.microsoft.com/office/powerpoint/2010/main" val="12885119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13B3E4-0C33-BB2C-80D6-EFD0B3EC698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6C40EF-A211-1F7F-D834-AC17EAD73AF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B2791EE-2701-A22D-7A85-0DC197EACE67}"/>
              </a:ext>
            </a:extLst>
          </p:cNvPr>
          <p:cNvSpPr>
            <a:spLocks noGrp="1"/>
          </p:cNvSpPr>
          <p:nvPr>
            <p:ph type="body" idx="1"/>
          </p:nvPr>
        </p:nvSpPr>
        <p:spPr/>
        <p:txBody>
          <a:bodyPr/>
          <a:lstStyle/>
          <a:p>
            <a:endParaRPr lang="pt-BR"/>
          </a:p>
        </p:txBody>
      </p:sp>
      <p:sp>
        <p:nvSpPr>
          <p:cNvPr id="4" name="Slide Number Placeholder 3">
            <a:extLst>
              <a:ext uri="{FF2B5EF4-FFF2-40B4-BE49-F238E27FC236}">
                <a16:creationId xmlns:a16="http://schemas.microsoft.com/office/drawing/2014/main" id="{ADF6645C-AAFF-8279-31DD-0BC492573CBB}"/>
              </a:ext>
            </a:extLst>
          </p:cNvPr>
          <p:cNvSpPr>
            <a:spLocks noGrp="1"/>
          </p:cNvSpPr>
          <p:nvPr>
            <p:ph type="sldNum" sz="quarter" idx="5"/>
          </p:nvPr>
        </p:nvSpPr>
        <p:spPr/>
        <p:txBody>
          <a:bodyPr/>
          <a:lstStyle/>
          <a:p>
            <a:fld id="{7131239D-2F14-4EE1-9743-D4563A36472A}" type="slidenum">
              <a:rPr lang="pt-BR" smtClean="0"/>
              <a:t>11</a:t>
            </a:fld>
            <a:endParaRPr lang="pt-BR"/>
          </a:p>
        </p:txBody>
      </p:sp>
    </p:spTree>
    <p:extLst>
      <p:ext uri="{BB962C8B-B14F-4D97-AF65-F5344CB8AC3E}">
        <p14:creationId xmlns:p14="http://schemas.microsoft.com/office/powerpoint/2010/main" val="25766347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EDFE13-ED47-045E-B6CA-3B562BA07E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24B46F-3093-6D80-10A7-877DC71E4C3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4352B00-DE85-A473-91E6-412C37C2FDA0}"/>
              </a:ext>
            </a:extLst>
          </p:cNvPr>
          <p:cNvSpPr>
            <a:spLocks noGrp="1"/>
          </p:cNvSpPr>
          <p:nvPr>
            <p:ph type="body" idx="1"/>
          </p:nvPr>
        </p:nvSpPr>
        <p:spPr/>
        <p:txBody>
          <a:bodyPr/>
          <a:lstStyle/>
          <a:p>
            <a:endParaRPr lang="pt-BR"/>
          </a:p>
        </p:txBody>
      </p:sp>
      <p:sp>
        <p:nvSpPr>
          <p:cNvPr id="4" name="Slide Number Placeholder 3">
            <a:extLst>
              <a:ext uri="{FF2B5EF4-FFF2-40B4-BE49-F238E27FC236}">
                <a16:creationId xmlns:a16="http://schemas.microsoft.com/office/drawing/2014/main" id="{A9102901-7014-BF26-A626-C24D49931FCD}"/>
              </a:ext>
            </a:extLst>
          </p:cNvPr>
          <p:cNvSpPr>
            <a:spLocks noGrp="1"/>
          </p:cNvSpPr>
          <p:nvPr>
            <p:ph type="sldNum" sz="quarter" idx="5"/>
          </p:nvPr>
        </p:nvSpPr>
        <p:spPr/>
        <p:txBody>
          <a:bodyPr/>
          <a:lstStyle/>
          <a:p>
            <a:fld id="{7131239D-2F14-4EE1-9743-D4563A36472A}" type="slidenum">
              <a:rPr lang="pt-BR" smtClean="0"/>
              <a:t>12</a:t>
            </a:fld>
            <a:endParaRPr lang="pt-BR"/>
          </a:p>
        </p:txBody>
      </p:sp>
    </p:spTree>
    <p:extLst>
      <p:ext uri="{BB962C8B-B14F-4D97-AF65-F5344CB8AC3E}">
        <p14:creationId xmlns:p14="http://schemas.microsoft.com/office/powerpoint/2010/main" val="35338762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EDFE13-ED47-045E-B6CA-3B562BA07E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24B46F-3093-6D80-10A7-877DC71E4C3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4352B00-DE85-A473-91E6-412C37C2FDA0}"/>
              </a:ext>
            </a:extLst>
          </p:cNvPr>
          <p:cNvSpPr>
            <a:spLocks noGrp="1"/>
          </p:cNvSpPr>
          <p:nvPr>
            <p:ph type="body" idx="1"/>
          </p:nvPr>
        </p:nvSpPr>
        <p:spPr/>
        <p:txBody>
          <a:bodyPr/>
          <a:lstStyle/>
          <a:p>
            <a:endParaRPr lang="pt-BR"/>
          </a:p>
        </p:txBody>
      </p:sp>
      <p:sp>
        <p:nvSpPr>
          <p:cNvPr id="4" name="Slide Number Placeholder 3">
            <a:extLst>
              <a:ext uri="{FF2B5EF4-FFF2-40B4-BE49-F238E27FC236}">
                <a16:creationId xmlns:a16="http://schemas.microsoft.com/office/drawing/2014/main" id="{A9102901-7014-BF26-A626-C24D49931FCD}"/>
              </a:ext>
            </a:extLst>
          </p:cNvPr>
          <p:cNvSpPr>
            <a:spLocks noGrp="1"/>
          </p:cNvSpPr>
          <p:nvPr>
            <p:ph type="sldNum" sz="quarter" idx="5"/>
          </p:nvPr>
        </p:nvSpPr>
        <p:spPr/>
        <p:txBody>
          <a:bodyPr/>
          <a:lstStyle/>
          <a:p>
            <a:fld id="{7131239D-2F14-4EE1-9743-D4563A36472A}" type="slidenum">
              <a:rPr lang="pt-BR" smtClean="0"/>
              <a:t>13</a:t>
            </a:fld>
            <a:endParaRPr lang="pt-BR"/>
          </a:p>
        </p:txBody>
      </p:sp>
    </p:spTree>
    <p:extLst>
      <p:ext uri="{BB962C8B-B14F-4D97-AF65-F5344CB8AC3E}">
        <p14:creationId xmlns:p14="http://schemas.microsoft.com/office/powerpoint/2010/main" val="24911445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EDFE13-ED47-045E-B6CA-3B562BA07E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24B46F-3093-6D80-10A7-877DC71E4C3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4352B00-DE85-A473-91E6-412C37C2FDA0}"/>
              </a:ext>
            </a:extLst>
          </p:cNvPr>
          <p:cNvSpPr>
            <a:spLocks noGrp="1"/>
          </p:cNvSpPr>
          <p:nvPr>
            <p:ph type="body" idx="1"/>
          </p:nvPr>
        </p:nvSpPr>
        <p:spPr/>
        <p:txBody>
          <a:bodyPr/>
          <a:lstStyle/>
          <a:p>
            <a:endParaRPr lang="pt-BR"/>
          </a:p>
        </p:txBody>
      </p:sp>
      <p:sp>
        <p:nvSpPr>
          <p:cNvPr id="4" name="Slide Number Placeholder 3">
            <a:extLst>
              <a:ext uri="{FF2B5EF4-FFF2-40B4-BE49-F238E27FC236}">
                <a16:creationId xmlns:a16="http://schemas.microsoft.com/office/drawing/2014/main" id="{A9102901-7014-BF26-A626-C24D49931FCD}"/>
              </a:ext>
            </a:extLst>
          </p:cNvPr>
          <p:cNvSpPr>
            <a:spLocks noGrp="1"/>
          </p:cNvSpPr>
          <p:nvPr>
            <p:ph type="sldNum" sz="quarter" idx="5"/>
          </p:nvPr>
        </p:nvSpPr>
        <p:spPr/>
        <p:txBody>
          <a:bodyPr/>
          <a:lstStyle/>
          <a:p>
            <a:fld id="{7131239D-2F14-4EE1-9743-D4563A36472A}" type="slidenum">
              <a:rPr lang="pt-BR" smtClean="0"/>
              <a:t>14</a:t>
            </a:fld>
            <a:endParaRPr lang="pt-BR"/>
          </a:p>
        </p:txBody>
      </p:sp>
    </p:spTree>
    <p:extLst>
      <p:ext uri="{BB962C8B-B14F-4D97-AF65-F5344CB8AC3E}">
        <p14:creationId xmlns:p14="http://schemas.microsoft.com/office/powerpoint/2010/main" val="38765520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EEB0BD-28C2-8FA0-C0A3-73E0D3202C2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942C7A-4CB3-F7EE-B233-AA3764770A7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59F2721-18FD-230F-764A-E86C753F387F}"/>
              </a:ext>
            </a:extLst>
          </p:cNvPr>
          <p:cNvSpPr>
            <a:spLocks noGrp="1"/>
          </p:cNvSpPr>
          <p:nvPr>
            <p:ph type="body" idx="1"/>
          </p:nvPr>
        </p:nvSpPr>
        <p:spPr/>
        <p:txBody>
          <a:bodyPr/>
          <a:lstStyle/>
          <a:p>
            <a:endParaRPr lang="pt-BR"/>
          </a:p>
        </p:txBody>
      </p:sp>
      <p:sp>
        <p:nvSpPr>
          <p:cNvPr id="4" name="Slide Number Placeholder 3">
            <a:extLst>
              <a:ext uri="{FF2B5EF4-FFF2-40B4-BE49-F238E27FC236}">
                <a16:creationId xmlns:a16="http://schemas.microsoft.com/office/drawing/2014/main" id="{A8EC0B57-56A6-D595-901A-539E3C968E1D}"/>
              </a:ext>
            </a:extLst>
          </p:cNvPr>
          <p:cNvSpPr>
            <a:spLocks noGrp="1"/>
          </p:cNvSpPr>
          <p:nvPr>
            <p:ph type="sldNum" sz="quarter" idx="5"/>
          </p:nvPr>
        </p:nvSpPr>
        <p:spPr/>
        <p:txBody>
          <a:bodyPr/>
          <a:lstStyle/>
          <a:p>
            <a:fld id="{7131239D-2F14-4EE1-9743-D4563A36472A}" type="slidenum">
              <a:rPr lang="pt-BR" smtClean="0"/>
              <a:t>15</a:t>
            </a:fld>
            <a:endParaRPr lang="pt-BR"/>
          </a:p>
        </p:txBody>
      </p:sp>
    </p:spTree>
    <p:extLst>
      <p:ext uri="{BB962C8B-B14F-4D97-AF65-F5344CB8AC3E}">
        <p14:creationId xmlns:p14="http://schemas.microsoft.com/office/powerpoint/2010/main" val="3887287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DF8811-9E3F-A35D-119D-EA2B5B31CD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BC08ACB-CDB7-A515-514C-24DBC3C1338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88B4766-0C55-B557-6E8A-0E6F49C685FE}"/>
              </a:ext>
            </a:extLst>
          </p:cNvPr>
          <p:cNvSpPr>
            <a:spLocks noGrp="1"/>
          </p:cNvSpPr>
          <p:nvPr>
            <p:ph type="body" idx="1"/>
          </p:nvPr>
        </p:nvSpPr>
        <p:spPr/>
        <p:txBody>
          <a:bodyPr/>
          <a:lstStyle/>
          <a:p>
            <a:endParaRPr lang="pt-BR"/>
          </a:p>
        </p:txBody>
      </p:sp>
      <p:sp>
        <p:nvSpPr>
          <p:cNvPr id="4" name="Slide Number Placeholder 3">
            <a:extLst>
              <a:ext uri="{FF2B5EF4-FFF2-40B4-BE49-F238E27FC236}">
                <a16:creationId xmlns:a16="http://schemas.microsoft.com/office/drawing/2014/main" id="{8F4D62F7-5D4F-6012-3DB6-6991FAE2AD2C}"/>
              </a:ext>
            </a:extLst>
          </p:cNvPr>
          <p:cNvSpPr>
            <a:spLocks noGrp="1"/>
          </p:cNvSpPr>
          <p:nvPr>
            <p:ph type="sldNum" sz="quarter" idx="5"/>
          </p:nvPr>
        </p:nvSpPr>
        <p:spPr/>
        <p:txBody>
          <a:bodyPr/>
          <a:lstStyle/>
          <a:p>
            <a:fld id="{7131239D-2F14-4EE1-9743-D4563A36472A}" type="slidenum">
              <a:rPr lang="pt-BR" smtClean="0"/>
              <a:t>16</a:t>
            </a:fld>
            <a:endParaRPr lang="pt-BR"/>
          </a:p>
        </p:txBody>
      </p:sp>
    </p:spTree>
    <p:extLst>
      <p:ext uri="{BB962C8B-B14F-4D97-AF65-F5344CB8AC3E}">
        <p14:creationId xmlns:p14="http://schemas.microsoft.com/office/powerpoint/2010/main" val="3469853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2.xml"/><Relationship Id="rId1" Type="http://schemas.openxmlformats.org/officeDocument/2006/relationships/tags" Target="../tags/tag3.x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2.xml"/><Relationship Id="rId1" Type="http://schemas.openxmlformats.org/officeDocument/2006/relationships/tags" Target="../tags/tag5.x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D31BEC3-6BBC-3725-8A92-46BBBADDCC4B}"/>
              </a:ext>
            </a:extLst>
          </p:cNvPr>
          <p:cNvSpPr>
            <a:spLocks noGrp="1"/>
          </p:cNvSpPr>
          <p:nvPr>
            <p:ph type="ctrTitle"/>
          </p:nvPr>
        </p:nvSpPr>
        <p:spPr>
          <a:xfrm>
            <a:off x="1524000" y="1122363"/>
            <a:ext cx="9144000" cy="2387600"/>
          </a:xfrm>
        </p:spPr>
        <p:txBody>
          <a:bodyPr anchor="b"/>
          <a:lstStyle>
            <a:lvl1pPr algn="ctr">
              <a:defRPr sz="6000"/>
            </a:lvl1pPr>
          </a:lstStyle>
          <a:p>
            <a:r>
              <a:rPr lang="pt-BR"/>
              <a:t>Clique para editar o título Mestre</a:t>
            </a:r>
          </a:p>
        </p:txBody>
      </p:sp>
      <p:sp>
        <p:nvSpPr>
          <p:cNvPr id="3" name="Subtítulo 2">
            <a:extLst>
              <a:ext uri="{FF2B5EF4-FFF2-40B4-BE49-F238E27FC236}">
                <a16:creationId xmlns:a16="http://schemas.microsoft.com/office/drawing/2014/main" id="{3CD9B60C-4048-6437-4DE7-F6D830E7797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a:t>Clique para editar o estilo do subtítulo Mestre</a:t>
            </a:r>
          </a:p>
        </p:txBody>
      </p:sp>
      <p:sp>
        <p:nvSpPr>
          <p:cNvPr id="4" name="Espaço Reservado para Data 3">
            <a:extLst>
              <a:ext uri="{FF2B5EF4-FFF2-40B4-BE49-F238E27FC236}">
                <a16:creationId xmlns:a16="http://schemas.microsoft.com/office/drawing/2014/main" id="{C01973B9-3BD3-C1B9-F696-AD68E9B17C7C}"/>
              </a:ext>
            </a:extLst>
          </p:cNvPr>
          <p:cNvSpPr>
            <a:spLocks noGrp="1"/>
          </p:cNvSpPr>
          <p:nvPr>
            <p:ph type="dt" sz="half" idx="10"/>
          </p:nvPr>
        </p:nvSpPr>
        <p:spPr/>
        <p:txBody>
          <a:bodyPr/>
          <a:lstStyle/>
          <a:p>
            <a:fld id="{EF747A0D-BDC3-496D-9AF5-63BA2D0214E4}" type="datetimeFigureOut">
              <a:rPr lang="pt-BR" smtClean="0"/>
              <a:t>30/03/2026</a:t>
            </a:fld>
            <a:endParaRPr lang="pt-BR"/>
          </a:p>
        </p:txBody>
      </p:sp>
      <p:sp>
        <p:nvSpPr>
          <p:cNvPr id="5" name="Espaço Reservado para Rodapé 4">
            <a:extLst>
              <a:ext uri="{FF2B5EF4-FFF2-40B4-BE49-F238E27FC236}">
                <a16:creationId xmlns:a16="http://schemas.microsoft.com/office/drawing/2014/main" id="{BC238F5A-9ADD-87C6-B0BF-15923039B9F5}"/>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896A9346-2044-F730-E894-CB0DDB90678D}"/>
              </a:ext>
            </a:extLst>
          </p:cNvPr>
          <p:cNvSpPr>
            <a:spLocks noGrp="1"/>
          </p:cNvSpPr>
          <p:nvPr>
            <p:ph type="sldNum" sz="quarter" idx="12"/>
          </p:nvPr>
        </p:nvSpPr>
        <p:spPr/>
        <p:txBody>
          <a:bodyPr/>
          <a:lstStyle/>
          <a:p>
            <a:fld id="{8A02B6B6-580F-4049-BB09-062982DD5393}" type="slidenum">
              <a:rPr lang="pt-BR" smtClean="0"/>
              <a:t>‹nº›</a:t>
            </a:fld>
            <a:endParaRPr lang="pt-BR"/>
          </a:p>
        </p:txBody>
      </p:sp>
    </p:spTree>
    <p:extLst>
      <p:ext uri="{BB962C8B-B14F-4D97-AF65-F5344CB8AC3E}">
        <p14:creationId xmlns:p14="http://schemas.microsoft.com/office/powerpoint/2010/main" val="32250694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428C411-2108-CAAC-F2FC-B25841D6FDB1}"/>
              </a:ext>
            </a:extLst>
          </p:cNvPr>
          <p:cNvSpPr>
            <a:spLocks noGrp="1"/>
          </p:cNvSpPr>
          <p:nvPr>
            <p:ph type="title"/>
          </p:nvPr>
        </p:nvSpPr>
        <p:spPr/>
        <p:txBody>
          <a:bodyPr/>
          <a:lstStyle/>
          <a:p>
            <a:r>
              <a:rPr lang="pt-BR"/>
              <a:t>Clique para editar o título Mestre</a:t>
            </a:r>
          </a:p>
        </p:txBody>
      </p:sp>
      <p:sp>
        <p:nvSpPr>
          <p:cNvPr id="3" name="Espaço Reservado para Texto Vertical 2">
            <a:extLst>
              <a:ext uri="{FF2B5EF4-FFF2-40B4-BE49-F238E27FC236}">
                <a16:creationId xmlns:a16="http://schemas.microsoft.com/office/drawing/2014/main" id="{65179F93-CE7D-D72C-C61F-B7274F479A59}"/>
              </a:ext>
            </a:extLst>
          </p:cNvPr>
          <p:cNvSpPr>
            <a:spLocks noGrp="1"/>
          </p:cNvSpPr>
          <p:nvPr>
            <p:ph type="body" orient="vert" idx="1"/>
          </p:nvPr>
        </p:nvSpPr>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2500126B-5422-AFB2-4085-6253710C7500}"/>
              </a:ext>
            </a:extLst>
          </p:cNvPr>
          <p:cNvSpPr>
            <a:spLocks noGrp="1"/>
          </p:cNvSpPr>
          <p:nvPr>
            <p:ph type="dt" sz="half" idx="10"/>
          </p:nvPr>
        </p:nvSpPr>
        <p:spPr/>
        <p:txBody>
          <a:bodyPr/>
          <a:lstStyle/>
          <a:p>
            <a:fld id="{EF747A0D-BDC3-496D-9AF5-63BA2D0214E4}" type="datetimeFigureOut">
              <a:rPr lang="pt-BR" smtClean="0"/>
              <a:t>30/03/2026</a:t>
            </a:fld>
            <a:endParaRPr lang="pt-BR"/>
          </a:p>
        </p:txBody>
      </p:sp>
      <p:sp>
        <p:nvSpPr>
          <p:cNvPr id="5" name="Espaço Reservado para Rodapé 4">
            <a:extLst>
              <a:ext uri="{FF2B5EF4-FFF2-40B4-BE49-F238E27FC236}">
                <a16:creationId xmlns:a16="http://schemas.microsoft.com/office/drawing/2014/main" id="{C3750A8B-C268-D427-6591-49942B42BD4D}"/>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4AD5A385-38F7-2614-8840-52B491BAC7A0}"/>
              </a:ext>
            </a:extLst>
          </p:cNvPr>
          <p:cNvSpPr>
            <a:spLocks noGrp="1"/>
          </p:cNvSpPr>
          <p:nvPr>
            <p:ph type="sldNum" sz="quarter" idx="12"/>
          </p:nvPr>
        </p:nvSpPr>
        <p:spPr/>
        <p:txBody>
          <a:bodyPr/>
          <a:lstStyle/>
          <a:p>
            <a:fld id="{8A02B6B6-580F-4049-BB09-062982DD5393}" type="slidenum">
              <a:rPr lang="pt-BR" smtClean="0"/>
              <a:t>‹nº›</a:t>
            </a:fld>
            <a:endParaRPr lang="pt-BR"/>
          </a:p>
        </p:txBody>
      </p:sp>
    </p:spTree>
    <p:extLst>
      <p:ext uri="{BB962C8B-B14F-4D97-AF65-F5344CB8AC3E}">
        <p14:creationId xmlns:p14="http://schemas.microsoft.com/office/powerpoint/2010/main" val="33442270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exto e Título Vertical">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DD8CADDF-7EDA-9BF5-E5DF-F913C6524D3B}"/>
              </a:ext>
            </a:extLst>
          </p:cNvPr>
          <p:cNvSpPr>
            <a:spLocks noGrp="1"/>
          </p:cNvSpPr>
          <p:nvPr>
            <p:ph type="title" orient="vert"/>
          </p:nvPr>
        </p:nvSpPr>
        <p:spPr>
          <a:xfrm>
            <a:off x="8724900" y="365125"/>
            <a:ext cx="2628900" cy="5811838"/>
          </a:xfrm>
        </p:spPr>
        <p:txBody>
          <a:bodyPr vert="eaVert"/>
          <a:lstStyle/>
          <a:p>
            <a:r>
              <a:rPr lang="pt-BR"/>
              <a:t>Clique para editar o título Mestre</a:t>
            </a:r>
          </a:p>
        </p:txBody>
      </p:sp>
      <p:sp>
        <p:nvSpPr>
          <p:cNvPr id="3" name="Espaço Reservado para Texto Vertical 2">
            <a:extLst>
              <a:ext uri="{FF2B5EF4-FFF2-40B4-BE49-F238E27FC236}">
                <a16:creationId xmlns:a16="http://schemas.microsoft.com/office/drawing/2014/main" id="{0E7D9A2F-E369-0D6C-C1E4-A0E5FE3FD3F1}"/>
              </a:ext>
            </a:extLst>
          </p:cNvPr>
          <p:cNvSpPr>
            <a:spLocks noGrp="1"/>
          </p:cNvSpPr>
          <p:nvPr>
            <p:ph type="body" orient="vert" idx="1"/>
          </p:nvPr>
        </p:nvSpPr>
        <p:spPr>
          <a:xfrm>
            <a:off x="838200" y="365125"/>
            <a:ext cx="7734300" cy="5811838"/>
          </a:xfrm>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00F5650F-6CE9-5C3E-2422-4B01A587089D}"/>
              </a:ext>
            </a:extLst>
          </p:cNvPr>
          <p:cNvSpPr>
            <a:spLocks noGrp="1"/>
          </p:cNvSpPr>
          <p:nvPr>
            <p:ph type="dt" sz="half" idx="10"/>
          </p:nvPr>
        </p:nvSpPr>
        <p:spPr/>
        <p:txBody>
          <a:bodyPr/>
          <a:lstStyle/>
          <a:p>
            <a:fld id="{EF747A0D-BDC3-496D-9AF5-63BA2D0214E4}" type="datetimeFigureOut">
              <a:rPr lang="pt-BR" smtClean="0"/>
              <a:t>30/03/2026</a:t>
            </a:fld>
            <a:endParaRPr lang="pt-BR"/>
          </a:p>
        </p:txBody>
      </p:sp>
      <p:sp>
        <p:nvSpPr>
          <p:cNvPr id="5" name="Espaço Reservado para Rodapé 4">
            <a:extLst>
              <a:ext uri="{FF2B5EF4-FFF2-40B4-BE49-F238E27FC236}">
                <a16:creationId xmlns:a16="http://schemas.microsoft.com/office/drawing/2014/main" id="{411FB3ED-56AC-1BB4-49A6-86EBFEC3A985}"/>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6C04BACB-9A60-3D35-2927-46769D0FA6E4}"/>
              </a:ext>
            </a:extLst>
          </p:cNvPr>
          <p:cNvSpPr>
            <a:spLocks noGrp="1"/>
          </p:cNvSpPr>
          <p:nvPr>
            <p:ph type="sldNum" sz="quarter" idx="12"/>
          </p:nvPr>
        </p:nvSpPr>
        <p:spPr/>
        <p:txBody>
          <a:bodyPr/>
          <a:lstStyle/>
          <a:p>
            <a:fld id="{8A02B6B6-580F-4049-BB09-062982DD5393}" type="slidenum">
              <a:rPr lang="pt-BR" smtClean="0"/>
              <a:t>‹nº›</a:t>
            </a:fld>
            <a:endParaRPr lang="pt-BR"/>
          </a:p>
        </p:txBody>
      </p:sp>
    </p:spTree>
    <p:extLst>
      <p:ext uri="{BB962C8B-B14F-4D97-AF65-F5344CB8AC3E}">
        <p14:creationId xmlns:p14="http://schemas.microsoft.com/office/powerpoint/2010/main" val="6367639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Slide de Título">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C5CD3BB-5BCC-5F30-5EC7-595E38B16A7E}"/>
              </a:ext>
            </a:extLst>
          </p:cNvPr>
          <p:cNvGraphicFramePr>
            <a:graphicFrameLocks noChangeAspect="1"/>
          </p:cNvGraphicFramePr>
          <p:nvPr userDrawn="1">
            <p:custDataLst>
              <p:tags r:id="rId1"/>
            </p:custDataLst>
            <p:extLst>
              <p:ext uri="{D42A27DB-BD31-4B8C-83A1-F6EECF244321}">
                <p14:modId xmlns:p14="http://schemas.microsoft.com/office/powerpoint/2010/main" val="1834772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8" progId="TCLayout.ActiveDocument.1">
                  <p:embed/>
                </p:oleObj>
              </mc:Choice>
              <mc:Fallback>
                <p:oleObj name="think-cell Slide" r:id="rId4" imgW="306" imgH="308" progId="TCLayout.ActiveDocument.1">
                  <p:embed/>
                  <p:pic>
                    <p:nvPicPr>
                      <p:cNvPr id="7" name="think-cell data - do not delete" hidden="1">
                        <a:extLst>
                          <a:ext uri="{FF2B5EF4-FFF2-40B4-BE49-F238E27FC236}">
                            <a16:creationId xmlns:a16="http://schemas.microsoft.com/office/drawing/2014/main" id="{CC5CD3BB-5BCC-5F30-5EC7-595E38B16A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1544122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lide de Título">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C5CD3BB-5BCC-5F30-5EC7-595E38B16A7E}"/>
              </a:ext>
            </a:extLst>
          </p:cNvPr>
          <p:cNvGraphicFramePr>
            <a:graphicFrameLocks noChangeAspect="1"/>
          </p:cNvGraphicFramePr>
          <p:nvPr userDrawn="1">
            <p:custDataLst>
              <p:tags r:id="rId1"/>
            </p:custDataLst>
            <p:extLst>
              <p:ext uri="{D42A27DB-BD31-4B8C-83A1-F6EECF244321}">
                <p14:modId xmlns:p14="http://schemas.microsoft.com/office/powerpoint/2010/main" val="1834772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8" progId="TCLayout.ActiveDocument.1">
                  <p:embed/>
                </p:oleObj>
              </mc:Choice>
              <mc:Fallback>
                <p:oleObj name="think-cell Slide" r:id="rId4" imgW="306" imgH="308" progId="TCLayout.ActiveDocument.1">
                  <p:embed/>
                  <p:pic>
                    <p:nvPicPr>
                      <p:cNvPr id="7" name="think-cell data - do not delete" hidden="1">
                        <a:extLst>
                          <a:ext uri="{FF2B5EF4-FFF2-40B4-BE49-F238E27FC236}">
                            <a16:creationId xmlns:a16="http://schemas.microsoft.com/office/drawing/2014/main" id="{CC5CD3BB-5BCC-5F30-5EC7-595E38B16A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415341295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ítulo e Conteúdo">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68196CB-7F77-920A-E9F7-9AF2D9DA0F65}"/>
              </a:ext>
            </a:extLst>
          </p:cNvPr>
          <p:cNvGraphicFramePr>
            <a:graphicFrameLocks noChangeAspect="1"/>
          </p:cNvGraphicFramePr>
          <p:nvPr userDrawn="1">
            <p:custDataLst>
              <p:tags r:id="rId1"/>
            </p:custDataLst>
            <p:extLst>
              <p:ext uri="{D42A27DB-BD31-4B8C-83A1-F6EECF244321}">
                <p14:modId xmlns:p14="http://schemas.microsoft.com/office/powerpoint/2010/main" val="4164739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7" name="think-cell data - do not delete" hidden="1">
                        <a:extLst>
                          <a:ext uri="{FF2B5EF4-FFF2-40B4-BE49-F238E27FC236}">
                            <a16:creationId xmlns:a16="http://schemas.microsoft.com/office/drawing/2014/main" id="{368196CB-7F77-920A-E9F7-9AF2D9DA0F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25984216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omente Título">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EF3C9E7-E9A3-883E-CD78-03B926666E9D}"/>
              </a:ext>
            </a:extLst>
          </p:cNvPr>
          <p:cNvGraphicFramePr>
            <a:graphicFrameLocks noChangeAspect="1"/>
          </p:cNvGraphicFramePr>
          <p:nvPr userDrawn="1">
            <p:custDataLst>
              <p:tags r:id="rId1"/>
            </p:custDataLst>
            <p:extLst>
              <p:ext uri="{D42A27DB-BD31-4B8C-83A1-F6EECF244321}">
                <p14:modId xmlns:p14="http://schemas.microsoft.com/office/powerpoint/2010/main" val="4202550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8" progId="TCLayout.ActiveDocument.1">
                  <p:embed/>
                </p:oleObj>
              </mc:Choice>
              <mc:Fallback>
                <p:oleObj name="think-cell Slide" r:id="rId4" imgW="306" imgH="308" progId="TCLayout.ActiveDocument.1">
                  <p:embed/>
                  <p:pic>
                    <p:nvPicPr>
                      <p:cNvPr id="6" name="think-cell data - do not delete" hidden="1">
                        <a:extLst>
                          <a:ext uri="{FF2B5EF4-FFF2-40B4-BE49-F238E27FC236}">
                            <a16:creationId xmlns:a16="http://schemas.microsoft.com/office/drawing/2014/main" id="{1EF3C9E7-E9A3-883E-CD78-03B926666E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13687783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Em Branco">
    <p:bg>
      <p:bgPr>
        <a:solidFill>
          <a:srgbClr val="EEF6F9"/>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525973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1_Em Branc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848434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BE09C7-5160-4016-A243-841F464004F7}"/>
              </a:ext>
            </a:extLst>
          </p:cNvPr>
          <p:cNvSpPr>
            <a:spLocks noGrp="1"/>
          </p:cNvSpPr>
          <p:nvPr>
            <p:ph type="title"/>
          </p:nvPr>
        </p:nvSpPr>
        <p:spPr/>
        <p:txBody>
          <a:bodyPr/>
          <a:lstStyle/>
          <a:p>
            <a:r>
              <a:rPr lang="en-US"/>
              <a:t>Click to edit Master title style</a:t>
            </a:r>
            <a:endParaRPr lang="pt-BR"/>
          </a:p>
        </p:txBody>
      </p:sp>
      <p:sp>
        <p:nvSpPr>
          <p:cNvPr id="3" name="Date Placeholder 2">
            <a:extLst>
              <a:ext uri="{FF2B5EF4-FFF2-40B4-BE49-F238E27FC236}">
                <a16:creationId xmlns:a16="http://schemas.microsoft.com/office/drawing/2014/main" id="{C781CB73-E48D-4FC1-AF95-5963464CA41A}"/>
              </a:ext>
            </a:extLst>
          </p:cNvPr>
          <p:cNvSpPr>
            <a:spLocks noGrp="1"/>
          </p:cNvSpPr>
          <p:nvPr>
            <p:ph type="dt" sz="half" idx="10"/>
          </p:nvPr>
        </p:nvSpPr>
        <p:spPr/>
        <p:txBody>
          <a:bodyPr/>
          <a:lstStyle/>
          <a:p>
            <a:fld id="{E3A00574-28AB-45F2-BFC7-08F4B4F79089}" type="datetimeFigureOut">
              <a:rPr lang="pt-BR" smtClean="0"/>
              <a:t>30/03/2026</a:t>
            </a:fld>
            <a:endParaRPr lang="pt-BR"/>
          </a:p>
        </p:txBody>
      </p:sp>
      <p:sp>
        <p:nvSpPr>
          <p:cNvPr id="4" name="Footer Placeholder 3">
            <a:extLst>
              <a:ext uri="{FF2B5EF4-FFF2-40B4-BE49-F238E27FC236}">
                <a16:creationId xmlns:a16="http://schemas.microsoft.com/office/drawing/2014/main" id="{C950A29A-338C-4A50-883E-B8805C85D373}"/>
              </a:ext>
            </a:extLst>
          </p:cNvPr>
          <p:cNvSpPr>
            <a:spLocks noGrp="1"/>
          </p:cNvSpPr>
          <p:nvPr>
            <p:ph type="ftr" sz="quarter" idx="11"/>
          </p:nvPr>
        </p:nvSpPr>
        <p:spPr/>
        <p:txBody>
          <a:bodyPr/>
          <a:lstStyle/>
          <a:p>
            <a:endParaRPr lang="pt-BR"/>
          </a:p>
        </p:txBody>
      </p:sp>
      <p:sp>
        <p:nvSpPr>
          <p:cNvPr id="5" name="Slide Number Placeholder 4">
            <a:extLst>
              <a:ext uri="{FF2B5EF4-FFF2-40B4-BE49-F238E27FC236}">
                <a16:creationId xmlns:a16="http://schemas.microsoft.com/office/drawing/2014/main" id="{12EA9CF8-C652-44BA-A7EC-58FB9405141F}"/>
              </a:ext>
            </a:extLst>
          </p:cNvPr>
          <p:cNvSpPr>
            <a:spLocks noGrp="1"/>
          </p:cNvSpPr>
          <p:nvPr>
            <p:ph type="sldNum" sz="quarter" idx="12"/>
          </p:nvPr>
        </p:nvSpPr>
        <p:spPr/>
        <p:txBody>
          <a:bodyPr/>
          <a:lstStyle/>
          <a:p>
            <a:fld id="{8FAADFC5-D50B-4724-ADA9-8C6D27253143}" type="slidenum">
              <a:rPr lang="pt-BR" smtClean="0"/>
              <a:t>‹nº›</a:t>
            </a:fld>
            <a:endParaRPr lang="pt-BR"/>
          </a:p>
        </p:txBody>
      </p:sp>
    </p:spTree>
    <p:extLst>
      <p:ext uri="{BB962C8B-B14F-4D97-AF65-F5344CB8AC3E}">
        <p14:creationId xmlns:p14="http://schemas.microsoft.com/office/powerpoint/2010/main" val="34083255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419EE4A-8F28-8345-881F-4941327D5C48}"/>
              </a:ext>
            </a:extLst>
          </p:cNvPr>
          <p:cNvSpPr>
            <a:spLocks noGrp="1"/>
          </p:cNvSpPr>
          <p:nvPr>
            <p:ph type="title"/>
          </p:nvPr>
        </p:nvSpPr>
        <p:spPr/>
        <p:txBody>
          <a:bodyPr/>
          <a:lstStyle/>
          <a:p>
            <a:r>
              <a:rPr lang="pt-BR"/>
              <a:t>Clique para editar o título Mestre</a:t>
            </a:r>
          </a:p>
        </p:txBody>
      </p:sp>
      <p:sp>
        <p:nvSpPr>
          <p:cNvPr id="3" name="Espaço Reservado para Conteúdo 2">
            <a:extLst>
              <a:ext uri="{FF2B5EF4-FFF2-40B4-BE49-F238E27FC236}">
                <a16:creationId xmlns:a16="http://schemas.microsoft.com/office/drawing/2014/main" id="{A52BEA1C-8F85-5B5F-0257-6B36683F248E}"/>
              </a:ext>
            </a:extLst>
          </p:cNvPr>
          <p:cNvSpPr>
            <a:spLocks noGrp="1"/>
          </p:cNvSpPr>
          <p:nvPr>
            <p:ph idx="1"/>
          </p:nvPr>
        </p:nvSpPr>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04762139-9703-1D34-75E3-B29060AA27CF}"/>
              </a:ext>
            </a:extLst>
          </p:cNvPr>
          <p:cNvSpPr>
            <a:spLocks noGrp="1"/>
          </p:cNvSpPr>
          <p:nvPr>
            <p:ph type="dt" sz="half" idx="10"/>
          </p:nvPr>
        </p:nvSpPr>
        <p:spPr/>
        <p:txBody>
          <a:bodyPr/>
          <a:lstStyle/>
          <a:p>
            <a:fld id="{EF747A0D-BDC3-496D-9AF5-63BA2D0214E4}" type="datetimeFigureOut">
              <a:rPr lang="pt-BR" smtClean="0"/>
              <a:t>30/03/2026</a:t>
            </a:fld>
            <a:endParaRPr lang="pt-BR"/>
          </a:p>
        </p:txBody>
      </p:sp>
      <p:sp>
        <p:nvSpPr>
          <p:cNvPr id="5" name="Espaço Reservado para Rodapé 4">
            <a:extLst>
              <a:ext uri="{FF2B5EF4-FFF2-40B4-BE49-F238E27FC236}">
                <a16:creationId xmlns:a16="http://schemas.microsoft.com/office/drawing/2014/main" id="{CD3D06FF-6B2C-99EF-4960-1CFA62095A4F}"/>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9A7DF61F-ADF7-01AC-1E97-EB1DCDB3BB52}"/>
              </a:ext>
            </a:extLst>
          </p:cNvPr>
          <p:cNvSpPr>
            <a:spLocks noGrp="1"/>
          </p:cNvSpPr>
          <p:nvPr>
            <p:ph type="sldNum" sz="quarter" idx="12"/>
          </p:nvPr>
        </p:nvSpPr>
        <p:spPr/>
        <p:txBody>
          <a:bodyPr/>
          <a:lstStyle/>
          <a:p>
            <a:fld id="{8A02B6B6-580F-4049-BB09-062982DD5393}" type="slidenum">
              <a:rPr lang="pt-BR" smtClean="0"/>
              <a:t>‹nº›</a:t>
            </a:fld>
            <a:endParaRPr lang="pt-BR"/>
          </a:p>
        </p:txBody>
      </p:sp>
    </p:spTree>
    <p:extLst>
      <p:ext uri="{BB962C8B-B14F-4D97-AF65-F5344CB8AC3E}">
        <p14:creationId xmlns:p14="http://schemas.microsoft.com/office/powerpoint/2010/main" val="40670222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C580C04-3A9A-0DB1-07A8-B0FD174981B5}"/>
              </a:ext>
            </a:extLst>
          </p:cNvPr>
          <p:cNvSpPr>
            <a:spLocks noGrp="1"/>
          </p:cNvSpPr>
          <p:nvPr>
            <p:ph type="title"/>
          </p:nvPr>
        </p:nvSpPr>
        <p:spPr>
          <a:xfrm>
            <a:off x="831850" y="1709738"/>
            <a:ext cx="10515600" cy="2852737"/>
          </a:xfrm>
        </p:spPr>
        <p:txBody>
          <a:bodyPr anchor="b"/>
          <a:lstStyle>
            <a:lvl1pPr>
              <a:defRPr sz="6000"/>
            </a:lvl1pPr>
          </a:lstStyle>
          <a:p>
            <a:r>
              <a:rPr lang="pt-BR"/>
              <a:t>Clique para editar o título Mestre</a:t>
            </a:r>
          </a:p>
        </p:txBody>
      </p:sp>
      <p:sp>
        <p:nvSpPr>
          <p:cNvPr id="3" name="Espaço Reservado para Texto 2">
            <a:extLst>
              <a:ext uri="{FF2B5EF4-FFF2-40B4-BE49-F238E27FC236}">
                <a16:creationId xmlns:a16="http://schemas.microsoft.com/office/drawing/2014/main" id="{15676B93-9FEF-1830-50F5-00D65D95D8BA}"/>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pt-BR"/>
              <a:t>Clique para editar os estilos de texto Mestres</a:t>
            </a:r>
          </a:p>
        </p:txBody>
      </p:sp>
      <p:sp>
        <p:nvSpPr>
          <p:cNvPr id="4" name="Espaço Reservado para Data 3">
            <a:extLst>
              <a:ext uri="{FF2B5EF4-FFF2-40B4-BE49-F238E27FC236}">
                <a16:creationId xmlns:a16="http://schemas.microsoft.com/office/drawing/2014/main" id="{01213F95-13D2-E034-21A2-A94D840D3B6B}"/>
              </a:ext>
            </a:extLst>
          </p:cNvPr>
          <p:cNvSpPr>
            <a:spLocks noGrp="1"/>
          </p:cNvSpPr>
          <p:nvPr>
            <p:ph type="dt" sz="half" idx="10"/>
          </p:nvPr>
        </p:nvSpPr>
        <p:spPr/>
        <p:txBody>
          <a:bodyPr/>
          <a:lstStyle/>
          <a:p>
            <a:fld id="{EF747A0D-BDC3-496D-9AF5-63BA2D0214E4}" type="datetimeFigureOut">
              <a:rPr lang="pt-BR" smtClean="0"/>
              <a:t>30/03/2026</a:t>
            </a:fld>
            <a:endParaRPr lang="pt-BR"/>
          </a:p>
        </p:txBody>
      </p:sp>
      <p:sp>
        <p:nvSpPr>
          <p:cNvPr id="5" name="Espaço Reservado para Rodapé 4">
            <a:extLst>
              <a:ext uri="{FF2B5EF4-FFF2-40B4-BE49-F238E27FC236}">
                <a16:creationId xmlns:a16="http://schemas.microsoft.com/office/drawing/2014/main" id="{3AB69636-2A46-B8B5-3D64-90AE295114D3}"/>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6D9EA934-18BC-F817-C137-A008CCF98497}"/>
              </a:ext>
            </a:extLst>
          </p:cNvPr>
          <p:cNvSpPr>
            <a:spLocks noGrp="1"/>
          </p:cNvSpPr>
          <p:nvPr>
            <p:ph type="sldNum" sz="quarter" idx="12"/>
          </p:nvPr>
        </p:nvSpPr>
        <p:spPr/>
        <p:txBody>
          <a:bodyPr/>
          <a:lstStyle/>
          <a:p>
            <a:fld id="{8A02B6B6-580F-4049-BB09-062982DD5393}" type="slidenum">
              <a:rPr lang="pt-BR" smtClean="0"/>
              <a:t>‹nº›</a:t>
            </a:fld>
            <a:endParaRPr lang="pt-BR"/>
          </a:p>
        </p:txBody>
      </p:sp>
    </p:spTree>
    <p:extLst>
      <p:ext uri="{BB962C8B-B14F-4D97-AF65-F5344CB8AC3E}">
        <p14:creationId xmlns:p14="http://schemas.microsoft.com/office/powerpoint/2010/main" val="25177634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C7C372F-8382-CD74-3A1B-932E8E706FA5}"/>
              </a:ext>
            </a:extLst>
          </p:cNvPr>
          <p:cNvSpPr>
            <a:spLocks noGrp="1"/>
          </p:cNvSpPr>
          <p:nvPr>
            <p:ph type="title"/>
          </p:nvPr>
        </p:nvSpPr>
        <p:spPr/>
        <p:txBody>
          <a:bodyPr/>
          <a:lstStyle/>
          <a:p>
            <a:r>
              <a:rPr lang="pt-BR"/>
              <a:t>Clique para editar o título Mestre</a:t>
            </a:r>
          </a:p>
        </p:txBody>
      </p:sp>
      <p:sp>
        <p:nvSpPr>
          <p:cNvPr id="3" name="Espaço Reservado para Conteúdo 2">
            <a:extLst>
              <a:ext uri="{FF2B5EF4-FFF2-40B4-BE49-F238E27FC236}">
                <a16:creationId xmlns:a16="http://schemas.microsoft.com/office/drawing/2014/main" id="{2E2479EF-7F0C-9026-A1CF-CA4409DC6099}"/>
              </a:ext>
            </a:extLst>
          </p:cNvPr>
          <p:cNvSpPr>
            <a:spLocks noGrp="1"/>
          </p:cNvSpPr>
          <p:nvPr>
            <p:ph sz="half" idx="1"/>
          </p:nvPr>
        </p:nvSpPr>
        <p:spPr>
          <a:xfrm>
            <a:off x="838200" y="1825625"/>
            <a:ext cx="5181600" cy="435133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a:extLst>
              <a:ext uri="{FF2B5EF4-FFF2-40B4-BE49-F238E27FC236}">
                <a16:creationId xmlns:a16="http://schemas.microsoft.com/office/drawing/2014/main" id="{0C843E81-9178-8A6C-AE89-768F773F2CE0}"/>
              </a:ext>
            </a:extLst>
          </p:cNvPr>
          <p:cNvSpPr>
            <a:spLocks noGrp="1"/>
          </p:cNvSpPr>
          <p:nvPr>
            <p:ph sz="half" idx="2"/>
          </p:nvPr>
        </p:nvSpPr>
        <p:spPr>
          <a:xfrm>
            <a:off x="6172200" y="1825625"/>
            <a:ext cx="5181600" cy="435133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Data 4">
            <a:extLst>
              <a:ext uri="{FF2B5EF4-FFF2-40B4-BE49-F238E27FC236}">
                <a16:creationId xmlns:a16="http://schemas.microsoft.com/office/drawing/2014/main" id="{0B55313B-028E-03BD-DDC1-DF9DA0653F0E}"/>
              </a:ext>
            </a:extLst>
          </p:cNvPr>
          <p:cNvSpPr>
            <a:spLocks noGrp="1"/>
          </p:cNvSpPr>
          <p:nvPr>
            <p:ph type="dt" sz="half" idx="10"/>
          </p:nvPr>
        </p:nvSpPr>
        <p:spPr/>
        <p:txBody>
          <a:bodyPr/>
          <a:lstStyle/>
          <a:p>
            <a:fld id="{EF747A0D-BDC3-496D-9AF5-63BA2D0214E4}" type="datetimeFigureOut">
              <a:rPr lang="pt-BR" smtClean="0"/>
              <a:t>30/03/2026</a:t>
            </a:fld>
            <a:endParaRPr lang="pt-BR"/>
          </a:p>
        </p:txBody>
      </p:sp>
      <p:sp>
        <p:nvSpPr>
          <p:cNvPr id="6" name="Espaço Reservado para Rodapé 5">
            <a:extLst>
              <a:ext uri="{FF2B5EF4-FFF2-40B4-BE49-F238E27FC236}">
                <a16:creationId xmlns:a16="http://schemas.microsoft.com/office/drawing/2014/main" id="{EF1C4619-A95F-83EC-BB6D-A3F98F6D1F11}"/>
              </a:ext>
            </a:extLst>
          </p:cNvPr>
          <p:cNvSpPr>
            <a:spLocks noGrp="1"/>
          </p:cNvSpPr>
          <p:nvPr>
            <p:ph type="ftr" sz="quarter" idx="11"/>
          </p:nvPr>
        </p:nvSpPr>
        <p:spPr/>
        <p:txBody>
          <a:bodyPr/>
          <a:lstStyle/>
          <a:p>
            <a:endParaRPr lang="pt-BR"/>
          </a:p>
        </p:txBody>
      </p:sp>
      <p:sp>
        <p:nvSpPr>
          <p:cNvPr id="7" name="Espaço Reservado para Número de Slide 6">
            <a:extLst>
              <a:ext uri="{FF2B5EF4-FFF2-40B4-BE49-F238E27FC236}">
                <a16:creationId xmlns:a16="http://schemas.microsoft.com/office/drawing/2014/main" id="{187953CB-9136-612D-61B5-DD40BFDF89A1}"/>
              </a:ext>
            </a:extLst>
          </p:cNvPr>
          <p:cNvSpPr>
            <a:spLocks noGrp="1"/>
          </p:cNvSpPr>
          <p:nvPr>
            <p:ph type="sldNum" sz="quarter" idx="12"/>
          </p:nvPr>
        </p:nvSpPr>
        <p:spPr/>
        <p:txBody>
          <a:bodyPr/>
          <a:lstStyle/>
          <a:p>
            <a:fld id="{8A02B6B6-580F-4049-BB09-062982DD5393}" type="slidenum">
              <a:rPr lang="pt-BR" smtClean="0"/>
              <a:t>‹nº›</a:t>
            </a:fld>
            <a:endParaRPr lang="pt-BR"/>
          </a:p>
        </p:txBody>
      </p:sp>
    </p:spTree>
    <p:extLst>
      <p:ext uri="{BB962C8B-B14F-4D97-AF65-F5344CB8AC3E}">
        <p14:creationId xmlns:p14="http://schemas.microsoft.com/office/powerpoint/2010/main" val="6521529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1CF2583-83D3-A666-FFDD-5A402F524D92}"/>
              </a:ext>
            </a:extLst>
          </p:cNvPr>
          <p:cNvSpPr>
            <a:spLocks noGrp="1"/>
          </p:cNvSpPr>
          <p:nvPr>
            <p:ph type="title"/>
          </p:nvPr>
        </p:nvSpPr>
        <p:spPr>
          <a:xfrm>
            <a:off x="839788" y="365125"/>
            <a:ext cx="10515600" cy="1325563"/>
          </a:xfrm>
        </p:spPr>
        <p:txBody>
          <a:bodyPr/>
          <a:lstStyle/>
          <a:p>
            <a:r>
              <a:rPr lang="pt-BR"/>
              <a:t>Clique para editar o título Mestre</a:t>
            </a:r>
          </a:p>
        </p:txBody>
      </p:sp>
      <p:sp>
        <p:nvSpPr>
          <p:cNvPr id="3" name="Espaço Reservado para Texto 2">
            <a:extLst>
              <a:ext uri="{FF2B5EF4-FFF2-40B4-BE49-F238E27FC236}">
                <a16:creationId xmlns:a16="http://schemas.microsoft.com/office/drawing/2014/main" id="{FBFAEAA9-90DA-7F62-D5A3-05DAAFBB62D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e texto Mestres</a:t>
            </a:r>
          </a:p>
        </p:txBody>
      </p:sp>
      <p:sp>
        <p:nvSpPr>
          <p:cNvPr id="4" name="Espaço Reservado para Conteúdo 3">
            <a:extLst>
              <a:ext uri="{FF2B5EF4-FFF2-40B4-BE49-F238E27FC236}">
                <a16:creationId xmlns:a16="http://schemas.microsoft.com/office/drawing/2014/main" id="{375BE739-57E9-656E-7677-A275FB370AA0}"/>
              </a:ext>
            </a:extLst>
          </p:cNvPr>
          <p:cNvSpPr>
            <a:spLocks noGrp="1"/>
          </p:cNvSpPr>
          <p:nvPr>
            <p:ph sz="half" idx="2"/>
          </p:nvPr>
        </p:nvSpPr>
        <p:spPr>
          <a:xfrm>
            <a:off x="839788" y="2505075"/>
            <a:ext cx="5157787" cy="368458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Texto 4">
            <a:extLst>
              <a:ext uri="{FF2B5EF4-FFF2-40B4-BE49-F238E27FC236}">
                <a16:creationId xmlns:a16="http://schemas.microsoft.com/office/drawing/2014/main" id="{4611310E-DB36-00D5-9D04-E918B27BD47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e texto Mestres</a:t>
            </a:r>
          </a:p>
        </p:txBody>
      </p:sp>
      <p:sp>
        <p:nvSpPr>
          <p:cNvPr id="6" name="Espaço Reservado para Conteúdo 5">
            <a:extLst>
              <a:ext uri="{FF2B5EF4-FFF2-40B4-BE49-F238E27FC236}">
                <a16:creationId xmlns:a16="http://schemas.microsoft.com/office/drawing/2014/main" id="{8CE1FFFA-6669-9B69-F682-1EF8E51B673A}"/>
              </a:ext>
            </a:extLst>
          </p:cNvPr>
          <p:cNvSpPr>
            <a:spLocks noGrp="1"/>
          </p:cNvSpPr>
          <p:nvPr>
            <p:ph sz="quarter" idx="4"/>
          </p:nvPr>
        </p:nvSpPr>
        <p:spPr>
          <a:xfrm>
            <a:off x="6172200" y="2505075"/>
            <a:ext cx="5183188" cy="368458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7" name="Espaço Reservado para Data 6">
            <a:extLst>
              <a:ext uri="{FF2B5EF4-FFF2-40B4-BE49-F238E27FC236}">
                <a16:creationId xmlns:a16="http://schemas.microsoft.com/office/drawing/2014/main" id="{4ED036BD-2EF0-0709-3CD0-59A1D2F17DCA}"/>
              </a:ext>
            </a:extLst>
          </p:cNvPr>
          <p:cNvSpPr>
            <a:spLocks noGrp="1"/>
          </p:cNvSpPr>
          <p:nvPr>
            <p:ph type="dt" sz="half" idx="10"/>
          </p:nvPr>
        </p:nvSpPr>
        <p:spPr/>
        <p:txBody>
          <a:bodyPr/>
          <a:lstStyle/>
          <a:p>
            <a:fld id="{EF747A0D-BDC3-496D-9AF5-63BA2D0214E4}" type="datetimeFigureOut">
              <a:rPr lang="pt-BR" smtClean="0"/>
              <a:t>30/03/2026</a:t>
            </a:fld>
            <a:endParaRPr lang="pt-BR"/>
          </a:p>
        </p:txBody>
      </p:sp>
      <p:sp>
        <p:nvSpPr>
          <p:cNvPr id="8" name="Espaço Reservado para Rodapé 7">
            <a:extLst>
              <a:ext uri="{FF2B5EF4-FFF2-40B4-BE49-F238E27FC236}">
                <a16:creationId xmlns:a16="http://schemas.microsoft.com/office/drawing/2014/main" id="{D1E2DC52-8B8D-43B0-0A2D-D0615AD4FBF2}"/>
              </a:ext>
            </a:extLst>
          </p:cNvPr>
          <p:cNvSpPr>
            <a:spLocks noGrp="1"/>
          </p:cNvSpPr>
          <p:nvPr>
            <p:ph type="ftr" sz="quarter" idx="11"/>
          </p:nvPr>
        </p:nvSpPr>
        <p:spPr/>
        <p:txBody>
          <a:bodyPr/>
          <a:lstStyle/>
          <a:p>
            <a:endParaRPr lang="pt-BR"/>
          </a:p>
        </p:txBody>
      </p:sp>
      <p:sp>
        <p:nvSpPr>
          <p:cNvPr id="9" name="Espaço Reservado para Número de Slide 8">
            <a:extLst>
              <a:ext uri="{FF2B5EF4-FFF2-40B4-BE49-F238E27FC236}">
                <a16:creationId xmlns:a16="http://schemas.microsoft.com/office/drawing/2014/main" id="{813C91E0-F9D7-7614-0C73-0A825D3AD40E}"/>
              </a:ext>
            </a:extLst>
          </p:cNvPr>
          <p:cNvSpPr>
            <a:spLocks noGrp="1"/>
          </p:cNvSpPr>
          <p:nvPr>
            <p:ph type="sldNum" sz="quarter" idx="12"/>
          </p:nvPr>
        </p:nvSpPr>
        <p:spPr/>
        <p:txBody>
          <a:bodyPr/>
          <a:lstStyle/>
          <a:p>
            <a:fld id="{8A02B6B6-580F-4049-BB09-062982DD5393}" type="slidenum">
              <a:rPr lang="pt-BR" smtClean="0"/>
              <a:t>‹nº›</a:t>
            </a:fld>
            <a:endParaRPr lang="pt-BR"/>
          </a:p>
        </p:txBody>
      </p:sp>
    </p:spTree>
    <p:extLst>
      <p:ext uri="{BB962C8B-B14F-4D97-AF65-F5344CB8AC3E}">
        <p14:creationId xmlns:p14="http://schemas.microsoft.com/office/powerpoint/2010/main" val="34417048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32094B-5E89-59AD-1B53-BE1777A6577D}"/>
              </a:ext>
            </a:extLst>
          </p:cNvPr>
          <p:cNvSpPr>
            <a:spLocks noGrp="1"/>
          </p:cNvSpPr>
          <p:nvPr>
            <p:ph type="title"/>
          </p:nvPr>
        </p:nvSpPr>
        <p:spPr/>
        <p:txBody>
          <a:bodyPr/>
          <a:lstStyle/>
          <a:p>
            <a:r>
              <a:rPr lang="pt-BR"/>
              <a:t>Clique para editar o título Mestre</a:t>
            </a:r>
          </a:p>
        </p:txBody>
      </p:sp>
      <p:sp>
        <p:nvSpPr>
          <p:cNvPr id="3" name="Espaço Reservado para Data 2">
            <a:extLst>
              <a:ext uri="{FF2B5EF4-FFF2-40B4-BE49-F238E27FC236}">
                <a16:creationId xmlns:a16="http://schemas.microsoft.com/office/drawing/2014/main" id="{F182591A-99BD-3BE8-F1DF-EC19779CD4E6}"/>
              </a:ext>
            </a:extLst>
          </p:cNvPr>
          <p:cNvSpPr>
            <a:spLocks noGrp="1"/>
          </p:cNvSpPr>
          <p:nvPr>
            <p:ph type="dt" sz="half" idx="10"/>
          </p:nvPr>
        </p:nvSpPr>
        <p:spPr/>
        <p:txBody>
          <a:bodyPr/>
          <a:lstStyle/>
          <a:p>
            <a:fld id="{EF747A0D-BDC3-496D-9AF5-63BA2D0214E4}" type="datetimeFigureOut">
              <a:rPr lang="pt-BR" smtClean="0"/>
              <a:t>30/03/2026</a:t>
            </a:fld>
            <a:endParaRPr lang="pt-BR"/>
          </a:p>
        </p:txBody>
      </p:sp>
      <p:sp>
        <p:nvSpPr>
          <p:cNvPr id="4" name="Espaço Reservado para Rodapé 3">
            <a:extLst>
              <a:ext uri="{FF2B5EF4-FFF2-40B4-BE49-F238E27FC236}">
                <a16:creationId xmlns:a16="http://schemas.microsoft.com/office/drawing/2014/main" id="{3A83A9E6-8C2C-321A-7E2A-C4EA7EC4D03A}"/>
              </a:ext>
            </a:extLst>
          </p:cNvPr>
          <p:cNvSpPr>
            <a:spLocks noGrp="1"/>
          </p:cNvSpPr>
          <p:nvPr>
            <p:ph type="ftr" sz="quarter" idx="11"/>
          </p:nvPr>
        </p:nvSpPr>
        <p:spPr/>
        <p:txBody>
          <a:bodyPr/>
          <a:lstStyle/>
          <a:p>
            <a:endParaRPr lang="pt-BR"/>
          </a:p>
        </p:txBody>
      </p:sp>
      <p:sp>
        <p:nvSpPr>
          <p:cNvPr id="5" name="Espaço Reservado para Número de Slide 4">
            <a:extLst>
              <a:ext uri="{FF2B5EF4-FFF2-40B4-BE49-F238E27FC236}">
                <a16:creationId xmlns:a16="http://schemas.microsoft.com/office/drawing/2014/main" id="{8ED130FC-F821-9E12-7075-5B4FBA2AD729}"/>
              </a:ext>
            </a:extLst>
          </p:cNvPr>
          <p:cNvSpPr>
            <a:spLocks noGrp="1"/>
          </p:cNvSpPr>
          <p:nvPr>
            <p:ph type="sldNum" sz="quarter" idx="12"/>
          </p:nvPr>
        </p:nvSpPr>
        <p:spPr/>
        <p:txBody>
          <a:bodyPr/>
          <a:lstStyle/>
          <a:p>
            <a:fld id="{8A02B6B6-580F-4049-BB09-062982DD5393}" type="slidenum">
              <a:rPr lang="pt-BR" smtClean="0"/>
              <a:t>‹nº›</a:t>
            </a:fld>
            <a:endParaRPr lang="pt-BR"/>
          </a:p>
        </p:txBody>
      </p:sp>
    </p:spTree>
    <p:extLst>
      <p:ext uri="{BB962C8B-B14F-4D97-AF65-F5344CB8AC3E}">
        <p14:creationId xmlns:p14="http://schemas.microsoft.com/office/powerpoint/2010/main" val="19314459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a:extLst>
              <a:ext uri="{FF2B5EF4-FFF2-40B4-BE49-F238E27FC236}">
                <a16:creationId xmlns:a16="http://schemas.microsoft.com/office/drawing/2014/main" id="{D7B2A633-EC4A-34DD-A1AA-9D94F400446C}"/>
              </a:ext>
            </a:extLst>
          </p:cNvPr>
          <p:cNvSpPr>
            <a:spLocks noGrp="1"/>
          </p:cNvSpPr>
          <p:nvPr>
            <p:ph type="dt" sz="half" idx="10"/>
          </p:nvPr>
        </p:nvSpPr>
        <p:spPr/>
        <p:txBody>
          <a:bodyPr/>
          <a:lstStyle/>
          <a:p>
            <a:fld id="{EF747A0D-BDC3-496D-9AF5-63BA2D0214E4}" type="datetimeFigureOut">
              <a:rPr lang="pt-BR" smtClean="0"/>
              <a:t>30/03/2026</a:t>
            </a:fld>
            <a:endParaRPr lang="pt-BR"/>
          </a:p>
        </p:txBody>
      </p:sp>
      <p:sp>
        <p:nvSpPr>
          <p:cNvPr id="3" name="Espaço Reservado para Rodapé 2">
            <a:extLst>
              <a:ext uri="{FF2B5EF4-FFF2-40B4-BE49-F238E27FC236}">
                <a16:creationId xmlns:a16="http://schemas.microsoft.com/office/drawing/2014/main" id="{D283C027-4B00-C17F-CE9B-9076ABDFBCF6}"/>
              </a:ext>
            </a:extLst>
          </p:cNvPr>
          <p:cNvSpPr>
            <a:spLocks noGrp="1"/>
          </p:cNvSpPr>
          <p:nvPr>
            <p:ph type="ftr" sz="quarter" idx="11"/>
          </p:nvPr>
        </p:nvSpPr>
        <p:spPr/>
        <p:txBody>
          <a:bodyPr/>
          <a:lstStyle/>
          <a:p>
            <a:endParaRPr lang="pt-BR"/>
          </a:p>
        </p:txBody>
      </p:sp>
      <p:sp>
        <p:nvSpPr>
          <p:cNvPr id="4" name="Espaço Reservado para Número de Slide 3">
            <a:extLst>
              <a:ext uri="{FF2B5EF4-FFF2-40B4-BE49-F238E27FC236}">
                <a16:creationId xmlns:a16="http://schemas.microsoft.com/office/drawing/2014/main" id="{9EF66DB3-03AF-0DBA-C75A-8FA7DE07680E}"/>
              </a:ext>
            </a:extLst>
          </p:cNvPr>
          <p:cNvSpPr>
            <a:spLocks noGrp="1"/>
          </p:cNvSpPr>
          <p:nvPr>
            <p:ph type="sldNum" sz="quarter" idx="12"/>
          </p:nvPr>
        </p:nvSpPr>
        <p:spPr/>
        <p:txBody>
          <a:bodyPr/>
          <a:lstStyle/>
          <a:p>
            <a:fld id="{8A02B6B6-580F-4049-BB09-062982DD5393}" type="slidenum">
              <a:rPr lang="pt-BR" smtClean="0"/>
              <a:t>‹nº›</a:t>
            </a:fld>
            <a:endParaRPr lang="pt-BR"/>
          </a:p>
        </p:txBody>
      </p:sp>
    </p:spTree>
    <p:extLst>
      <p:ext uri="{BB962C8B-B14F-4D97-AF65-F5344CB8AC3E}">
        <p14:creationId xmlns:p14="http://schemas.microsoft.com/office/powerpoint/2010/main" val="38060290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1461A0F-9A22-AAD0-9110-D18C06A0C1F2}"/>
              </a:ext>
            </a:extLst>
          </p:cNvPr>
          <p:cNvSpPr>
            <a:spLocks noGrp="1"/>
          </p:cNvSpPr>
          <p:nvPr>
            <p:ph type="title"/>
          </p:nvPr>
        </p:nvSpPr>
        <p:spPr>
          <a:xfrm>
            <a:off x="839788" y="457200"/>
            <a:ext cx="3932237" cy="1600200"/>
          </a:xfrm>
        </p:spPr>
        <p:txBody>
          <a:bodyPr anchor="b"/>
          <a:lstStyle>
            <a:lvl1pPr>
              <a:defRPr sz="3200"/>
            </a:lvl1pPr>
          </a:lstStyle>
          <a:p>
            <a:r>
              <a:rPr lang="pt-BR"/>
              <a:t>Clique para editar o título Mestre</a:t>
            </a:r>
          </a:p>
        </p:txBody>
      </p:sp>
      <p:sp>
        <p:nvSpPr>
          <p:cNvPr id="3" name="Espaço Reservado para Conteúdo 2">
            <a:extLst>
              <a:ext uri="{FF2B5EF4-FFF2-40B4-BE49-F238E27FC236}">
                <a16:creationId xmlns:a16="http://schemas.microsoft.com/office/drawing/2014/main" id="{74E16D5C-479A-E05B-9FDD-65AB4BD49BC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Texto 3">
            <a:extLst>
              <a:ext uri="{FF2B5EF4-FFF2-40B4-BE49-F238E27FC236}">
                <a16:creationId xmlns:a16="http://schemas.microsoft.com/office/drawing/2014/main" id="{DB61CED8-FC48-7E14-581D-37924CED53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Clique para editar os estilos de texto Mestres</a:t>
            </a:r>
          </a:p>
        </p:txBody>
      </p:sp>
      <p:sp>
        <p:nvSpPr>
          <p:cNvPr id="5" name="Espaço Reservado para Data 4">
            <a:extLst>
              <a:ext uri="{FF2B5EF4-FFF2-40B4-BE49-F238E27FC236}">
                <a16:creationId xmlns:a16="http://schemas.microsoft.com/office/drawing/2014/main" id="{529A39F5-F004-E403-F5FA-1ECF11B0917C}"/>
              </a:ext>
            </a:extLst>
          </p:cNvPr>
          <p:cNvSpPr>
            <a:spLocks noGrp="1"/>
          </p:cNvSpPr>
          <p:nvPr>
            <p:ph type="dt" sz="half" idx="10"/>
          </p:nvPr>
        </p:nvSpPr>
        <p:spPr/>
        <p:txBody>
          <a:bodyPr/>
          <a:lstStyle/>
          <a:p>
            <a:fld id="{EF747A0D-BDC3-496D-9AF5-63BA2D0214E4}" type="datetimeFigureOut">
              <a:rPr lang="pt-BR" smtClean="0"/>
              <a:t>30/03/2026</a:t>
            </a:fld>
            <a:endParaRPr lang="pt-BR"/>
          </a:p>
        </p:txBody>
      </p:sp>
      <p:sp>
        <p:nvSpPr>
          <p:cNvPr id="6" name="Espaço Reservado para Rodapé 5">
            <a:extLst>
              <a:ext uri="{FF2B5EF4-FFF2-40B4-BE49-F238E27FC236}">
                <a16:creationId xmlns:a16="http://schemas.microsoft.com/office/drawing/2014/main" id="{4E1DB7F1-EAAD-385C-0816-989FAC010BDC}"/>
              </a:ext>
            </a:extLst>
          </p:cNvPr>
          <p:cNvSpPr>
            <a:spLocks noGrp="1"/>
          </p:cNvSpPr>
          <p:nvPr>
            <p:ph type="ftr" sz="quarter" idx="11"/>
          </p:nvPr>
        </p:nvSpPr>
        <p:spPr/>
        <p:txBody>
          <a:bodyPr/>
          <a:lstStyle/>
          <a:p>
            <a:endParaRPr lang="pt-BR"/>
          </a:p>
        </p:txBody>
      </p:sp>
      <p:sp>
        <p:nvSpPr>
          <p:cNvPr id="7" name="Espaço Reservado para Número de Slide 6">
            <a:extLst>
              <a:ext uri="{FF2B5EF4-FFF2-40B4-BE49-F238E27FC236}">
                <a16:creationId xmlns:a16="http://schemas.microsoft.com/office/drawing/2014/main" id="{DB718E07-BA12-7C20-1CBD-F0D01375E538}"/>
              </a:ext>
            </a:extLst>
          </p:cNvPr>
          <p:cNvSpPr>
            <a:spLocks noGrp="1"/>
          </p:cNvSpPr>
          <p:nvPr>
            <p:ph type="sldNum" sz="quarter" idx="12"/>
          </p:nvPr>
        </p:nvSpPr>
        <p:spPr/>
        <p:txBody>
          <a:bodyPr/>
          <a:lstStyle/>
          <a:p>
            <a:fld id="{8A02B6B6-580F-4049-BB09-062982DD5393}" type="slidenum">
              <a:rPr lang="pt-BR" smtClean="0"/>
              <a:t>‹nº›</a:t>
            </a:fld>
            <a:endParaRPr lang="pt-BR"/>
          </a:p>
        </p:txBody>
      </p:sp>
    </p:spTree>
    <p:extLst>
      <p:ext uri="{BB962C8B-B14F-4D97-AF65-F5344CB8AC3E}">
        <p14:creationId xmlns:p14="http://schemas.microsoft.com/office/powerpoint/2010/main" val="40495950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0606BC9-72B7-4FDB-6D0E-7D6C42297E2C}"/>
              </a:ext>
            </a:extLst>
          </p:cNvPr>
          <p:cNvSpPr>
            <a:spLocks noGrp="1"/>
          </p:cNvSpPr>
          <p:nvPr>
            <p:ph type="title"/>
          </p:nvPr>
        </p:nvSpPr>
        <p:spPr>
          <a:xfrm>
            <a:off x="839788" y="457200"/>
            <a:ext cx="3932237" cy="1600200"/>
          </a:xfrm>
        </p:spPr>
        <p:txBody>
          <a:bodyPr anchor="b"/>
          <a:lstStyle>
            <a:lvl1pPr>
              <a:defRPr sz="3200"/>
            </a:lvl1pPr>
          </a:lstStyle>
          <a:p>
            <a:r>
              <a:rPr lang="pt-BR"/>
              <a:t>Clique para editar o título Mestre</a:t>
            </a:r>
          </a:p>
        </p:txBody>
      </p:sp>
      <p:sp>
        <p:nvSpPr>
          <p:cNvPr id="3" name="Espaço Reservado para Imagem 2">
            <a:extLst>
              <a:ext uri="{FF2B5EF4-FFF2-40B4-BE49-F238E27FC236}">
                <a16:creationId xmlns:a16="http://schemas.microsoft.com/office/drawing/2014/main" id="{361A4B98-9517-11D7-4B75-EEF23E52AB8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BR"/>
          </a:p>
        </p:txBody>
      </p:sp>
      <p:sp>
        <p:nvSpPr>
          <p:cNvPr id="4" name="Espaço Reservado para Texto 3">
            <a:extLst>
              <a:ext uri="{FF2B5EF4-FFF2-40B4-BE49-F238E27FC236}">
                <a16:creationId xmlns:a16="http://schemas.microsoft.com/office/drawing/2014/main" id="{C113586E-2737-226A-BB66-06B36FC6164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Clique para editar os estilos de texto Mestres</a:t>
            </a:r>
          </a:p>
        </p:txBody>
      </p:sp>
      <p:sp>
        <p:nvSpPr>
          <p:cNvPr id="5" name="Espaço Reservado para Data 4">
            <a:extLst>
              <a:ext uri="{FF2B5EF4-FFF2-40B4-BE49-F238E27FC236}">
                <a16:creationId xmlns:a16="http://schemas.microsoft.com/office/drawing/2014/main" id="{503A3EBB-C5DE-2615-1AED-3BBACC872FF9}"/>
              </a:ext>
            </a:extLst>
          </p:cNvPr>
          <p:cNvSpPr>
            <a:spLocks noGrp="1"/>
          </p:cNvSpPr>
          <p:nvPr>
            <p:ph type="dt" sz="half" idx="10"/>
          </p:nvPr>
        </p:nvSpPr>
        <p:spPr/>
        <p:txBody>
          <a:bodyPr/>
          <a:lstStyle/>
          <a:p>
            <a:fld id="{EF747A0D-BDC3-496D-9AF5-63BA2D0214E4}" type="datetimeFigureOut">
              <a:rPr lang="pt-BR" smtClean="0"/>
              <a:t>30/03/2026</a:t>
            </a:fld>
            <a:endParaRPr lang="pt-BR"/>
          </a:p>
        </p:txBody>
      </p:sp>
      <p:sp>
        <p:nvSpPr>
          <p:cNvPr id="6" name="Espaço Reservado para Rodapé 5">
            <a:extLst>
              <a:ext uri="{FF2B5EF4-FFF2-40B4-BE49-F238E27FC236}">
                <a16:creationId xmlns:a16="http://schemas.microsoft.com/office/drawing/2014/main" id="{9DF80BA7-C496-04F6-9A3E-BD9FA75C25F1}"/>
              </a:ext>
            </a:extLst>
          </p:cNvPr>
          <p:cNvSpPr>
            <a:spLocks noGrp="1"/>
          </p:cNvSpPr>
          <p:nvPr>
            <p:ph type="ftr" sz="quarter" idx="11"/>
          </p:nvPr>
        </p:nvSpPr>
        <p:spPr/>
        <p:txBody>
          <a:bodyPr/>
          <a:lstStyle/>
          <a:p>
            <a:endParaRPr lang="pt-BR"/>
          </a:p>
        </p:txBody>
      </p:sp>
      <p:sp>
        <p:nvSpPr>
          <p:cNvPr id="7" name="Espaço Reservado para Número de Slide 6">
            <a:extLst>
              <a:ext uri="{FF2B5EF4-FFF2-40B4-BE49-F238E27FC236}">
                <a16:creationId xmlns:a16="http://schemas.microsoft.com/office/drawing/2014/main" id="{9212F6A9-503A-BB99-88D6-AA75A0A23A83}"/>
              </a:ext>
            </a:extLst>
          </p:cNvPr>
          <p:cNvSpPr>
            <a:spLocks noGrp="1"/>
          </p:cNvSpPr>
          <p:nvPr>
            <p:ph type="sldNum" sz="quarter" idx="12"/>
          </p:nvPr>
        </p:nvSpPr>
        <p:spPr/>
        <p:txBody>
          <a:bodyPr/>
          <a:lstStyle/>
          <a:p>
            <a:fld id="{8A02B6B6-580F-4049-BB09-062982DD5393}" type="slidenum">
              <a:rPr lang="pt-BR" smtClean="0"/>
              <a:t>‹nº›</a:t>
            </a:fld>
            <a:endParaRPr lang="pt-BR"/>
          </a:p>
        </p:txBody>
      </p:sp>
    </p:spTree>
    <p:extLst>
      <p:ext uri="{BB962C8B-B14F-4D97-AF65-F5344CB8AC3E}">
        <p14:creationId xmlns:p14="http://schemas.microsoft.com/office/powerpoint/2010/main" val="16691808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15.xml"/><Relationship Id="rId7"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10" Type="http://schemas.openxmlformats.org/officeDocument/2006/relationships/image" Target="../media/image2.emf"/><Relationship Id="rId4" Type="http://schemas.openxmlformats.org/officeDocument/2006/relationships/slideLayout" Target="../slideLayouts/slideLayout16.xml"/><Relationship Id="rId9"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Título 1">
            <a:extLst>
              <a:ext uri="{FF2B5EF4-FFF2-40B4-BE49-F238E27FC236}">
                <a16:creationId xmlns:a16="http://schemas.microsoft.com/office/drawing/2014/main" id="{CB862BBF-A83E-217D-6D8B-66CAA50ABCB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pt-BR"/>
              <a:t>Clique para editar o título Mestre</a:t>
            </a:r>
          </a:p>
        </p:txBody>
      </p:sp>
      <p:sp>
        <p:nvSpPr>
          <p:cNvPr id="3" name="Espaço Reservado para Texto 2">
            <a:extLst>
              <a:ext uri="{FF2B5EF4-FFF2-40B4-BE49-F238E27FC236}">
                <a16:creationId xmlns:a16="http://schemas.microsoft.com/office/drawing/2014/main" id="{EE4A1B52-FF3A-07AA-37BF-A33E205D5AE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A600AF74-CC0E-7782-5D2F-C72D647AB0F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EF747A0D-BDC3-496D-9AF5-63BA2D0214E4}" type="datetimeFigureOut">
              <a:rPr lang="pt-BR" smtClean="0"/>
              <a:t>30/03/2026</a:t>
            </a:fld>
            <a:endParaRPr lang="pt-BR"/>
          </a:p>
        </p:txBody>
      </p:sp>
      <p:sp>
        <p:nvSpPr>
          <p:cNvPr id="5" name="Espaço Reservado para Rodapé 4">
            <a:extLst>
              <a:ext uri="{FF2B5EF4-FFF2-40B4-BE49-F238E27FC236}">
                <a16:creationId xmlns:a16="http://schemas.microsoft.com/office/drawing/2014/main" id="{A705434B-EEC4-6548-28D1-7144A5EEAD2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pt-BR"/>
          </a:p>
        </p:txBody>
      </p:sp>
      <p:sp>
        <p:nvSpPr>
          <p:cNvPr id="6" name="Espaço Reservado para Número de Slide 5">
            <a:extLst>
              <a:ext uri="{FF2B5EF4-FFF2-40B4-BE49-F238E27FC236}">
                <a16:creationId xmlns:a16="http://schemas.microsoft.com/office/drawing/2014/main" id="{77A17730-C713-34A3-7A12-3A39152EBE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8A02B6B6-580F-4049-BB09-062982DD5393}" type="slidenum">
              <a:rPr lang="pt-BR" smtClean="0"/>
              <a:t>‹nº›</a:t>
            </a:fld>
            <a:endParaRPr lang="pt-BR"/>
          </a:p>
        </p:txBody>
      </p:sp>
    </p:spTree>
    <p:extLst>
      <p:ext uri="{BB962C8B-B14F-4D97-AF65-F5344CB8AC3E}">
        <p14:creationId xmlns:p14="http://schemas.microsoft.com/office/powerpoint/2010/main" val="128612004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EEF6F9"/>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7C2C864-45BD-A171-1E16-D27BE0787EAC}"/>
              </a:ext>
            </a:extLst>
          </p:cNvPr>
          <p:cNvGraphicFramePr>
            <a:graphicFrameLocks noChangeAspect="1"/>
          </p:cNvGraphicFramePr>
          <p:nvPr userDrawn="1">
            <p:custDataLst>
              <p:tags r:id="rId8"/>
            </p:custDataLst>
            <p:extLst>
              <p:ext uri="{D42A27DB-BD31-4B8C-83A1-F6EECF244321}">
                <p14:modId xmlns:p14="http://schemas.microsoft.com/office/powerpoint/2010/main" val="3080505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06" imgH="308" progId="TCLayout.ActiveDocument.1">
                  <p:embed/>
                </p:oleObj>
              </mc:Choice>
              <mc:Fallback>
                <p:oleObj name="think-cell Slide" r:id="rId9" imgW="306" imgH="308" progId="TCLayout.ActiveDocument.1">
                  <p:embed/>
                  <p:pic>
                    <p:nvPicPr>
                      <p:cNvPr id="8" name="think-cell data - do not delete" hidden="1">
                        <a:extLst>
                          <a:ext uri="{FF2B5EF4-FFF2-40B4-BE49-F238E27FC236}">
                            <a16:creationId xmlns:a16="http://schemas.microsoft.com/office/drawing/2014/main" id="{87C2C864-45BD-A171-1E16-D27BE0787EA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2" name="Rectangle 51">
            <a:extLst>
              <a:ext uri="{FF2B5EF4-FFF2-40B4-BE49-F238E27FC236}">
                <a16:creationId xmlns:a16="http://schemas.microsoft.com/office/drawing/2014/main" id="{6E640EE1-FBA4-E208-B239-6AC76EE079A8}"/>
              </a:ext>
            </a:extLst>
          </p:cNvPr>
          <p:cNvSpPr/>
          <p:nvPr userDrawn="1"/>
        </p:nvSpPr>
        <p:spPr>
          <a:xfrm>
            <a:off x="1168400" y="-787400"/>
            <a:ext cx="584200" cy="584200"/>
          </a:xfrm>
          <a:prstGeom prst="rect">
            <a:avLst/>
          </a:prstGeom>
          <a:solidFill>
            <a:srgbClr val="4450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53" name="Rectangle 52">
            <a:extLst>
              <a:ext uri="{FF2B5EF4-FFF2-40B4-BE49-F238E27FC236}">
                <a16:creationId xmlns:a16="http://schemas.microsoft.com/office/drawing/2014/main" id="{FFDF260D-C4B1-53D8-445B-5C2EB8C4E599}"/>
              </a:ext>
            </a:extLst>
          </p:cNvPr>
          <p:cNvSpPr/>
          <p:nvPr userDrawn="1"/>
        </p:nvSpPr>
        <p:spPr>
          <a:xfrm>
            <a:off x="1896533" y="-787400"/>
            <a:ext cx="584200" cy="584200"/>
          </a:xfrm>
          <a:prstGeom prst="rect">
            <a:avLst/>
          </a:prstGeom>
          <a:solidFill>
            <a:srgbClr val="4930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54" name="Rectangle 53">
            <a:extLst>
              <a:ext uri="{FF2B5EF4-FFF2-40B4-BE49-F238E27FC236}">
                <a16:creationId xmlns:a16="http://schemas.microsoft.com/office/drawing/2014/main" id="{B61050C1-BA69-C637-BE7C-584E73892D8A}"/>
              </a:ext>
            </a:extLst>
          </p:cNvPr>
          <p:cNvSpPr/>
          <p:nvPr userDrawn="1"/>
        </p:nvSpPr>
        <p:spPr>
          <a:xfrm>
            <a:off x="2624666" y="-787400"/>
            <a:ext cx="584200" cy="584200"/>
          </a:xfrm>
          <a:prstGeom prst="rect">
            <a:avLst/>
          </a:prstGeom>
          <a:solidFill>
            <a:srgbClr val="8FC6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55" name="Rectangle 54">
            <a:extLst>
              <a:ext uri="{FF2B5EF4-FFF2-40B4-BE49-F238E27FC236}">
                <a16:creationId xmlns:a16="http://schemas.microsoft.com/office/drawing/2014/main" id="{0A0FAE2A-6865-C93F-BF8F-0691D33F924D}"/>
              </a:ext>
            </a:extLst>
          </p:cNvPr>
          <p:cNvSpPr/>
          <p:nvPr userDrawn="1"/>
        </p:nvSpPr>
        <p:spPr>
          <a:xfrm>
            <a:off x="3352800" y="-787400"/>
            <a:ext cx="584200" cy="584200"/>
          </a:xfrm>
          <a:prstGeom prst="rect">
            <a:avLst/>
          </a:prstGeom>
          <a:solidFill>
            <a:srgbClr val="3698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4133048598"/>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2" Type="http://schemas.openxmlformats.org/officeDocument/2006/relationships/image" Target="../media/image9.gif"/><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9.xml"/><Relationship Id="rId6" Type="http://schemas.openxmlformats.org/officeDocument/2006/relationships/image" Target="../media/image10.png"/><Relationship Id="rId5" Type="http://schemas.openxmlformats.org/officeDocument/2006/relationships/image" Target="../media/image2.emf"/><Relationship Id="rId4" Type="http://schemas.openxmlformats.org/officeDocument/2006/relationships/oleObject" Target="../embeddings/oleObject3.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tags" Target="../tags/tag10.x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image" Target="../media/image11.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11.xml"/><Relationship Id="rId6" Type="http://schemas.openxmlformats.org/officeDocument/2006/relationships/image" Target="../media/image12.jpeg"/><Relationship Id="rId5" Type="http://schemas.openxmlformats.org/officeDocument/2006/relationships/image" Target="../media/image2.emf"/><Relationship Id="rId4" Type="http://schemas.openxmlformats.org/officeDocument/2006/relationships/oleObject" Target="../embeddings/oleObject3.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2.xml"/><Relationship Id="rId1" Type="http://schemas.openxmlformats.org/officeDocument/2006/relationships/tags" Target="../tags/tag12.x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image" Target="../media/image11.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2.xml"/><Relationship Id="rId1" Type="http://schemas.openxmlformats.org/officeDocument/2006/relationships/tags" Target="../tags/tag13.xml"/><Relationship Id="rId6" Type="http://schemas.openxmlformats.org/officeDocument/2006/relationships/image" Target="../media/image12.jpeg"/><Relationship Id="rId5" Type="http://schemas.openxmlformats.org/officeDocument/2006/relationships/image" Target="../media/image2.emf"/><Relationship Id="rId4" Type="http://schemas.openxmlformats.org/officeDocument/2006/relationships/oleObject" Target="../embeddings/oleObject3.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2.xml"/><Relationship Id="rId1" Type="http://schemas.openxmlformats.org/officeDocument/2006/relationships/tags" Target="../tags/tag14.xml"/><Relationship Id="rId5" Type="http://schemas.openxmlformats.org/officeDocument/2006/relationships/image" Target="../media/image2.emf"/><Relationship Id="rId4" Type="http://schemas.openxmlformats.org/officeDocument/2006/relationships/oleObject" Target="../embeddings/oleObject3.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2.xml"/><Relationship Id="rId1" Type="http://schemas.openxmlformats.org/officeDocument/2006/relationships/tags" Target="../tags/tag15.x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image" Target="../media/image11.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2.xml"/><Relationship Id="rId1" Type="http://schemas.openxmlformats.org/officeDocument/2006/relationships/tags" Target="../tags/tag16.xml"/><Relationship Id="rId6" Type="http://schemas.openxmlformats.org/officeDocument/2006/relationships/image" Target="../media/image12.jpeg"/><Relationship Id="rId5" Type="http://schemas.openxmlformats.org/officeDocument/2006/relationships/image" Target="../media/image2.emf"/><Relationship Id="rId4" Type="http://schemas.openxmlformats.org/officeDocument/2006/relationships/oleObject" Target="../embeddings/oleObject3.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2.xml"/><Relationship Id="rId1" Type="http://schemas.openxmlformats.org/officeDocument/2006/relationships/tags" Target="../tags/tag17.xml"/><Relationship Id="rId6" Type="http://schemas.openxmlformats.org/officeDocument/2006/relationships/image" Target="../media/image13.jpeg"/><Relationship Id="rId5" Type="http://schemas.openxmlformats.org/officeDocument/2006/relationships/image" Target="../media/image2.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2.xml"/><Relationship Id="rId1" Type="http://schemas.openxmlformats.org/officeDocument/2006/relationships/tags" Target="../tags/tag18.xml"/><Relationship Id="rId6" Type="http://schemas.openxmlformats.org/officeDocument/2006/relationships/image" Target="../media/image16.png"/><Relationship Id="rId5" Type="http://schemas.openxmlformats.org/officeDocument/2006/relationships/image" Target="../media/image2.emf"/><Relationship Id="rId4" Type="http://schemas.openxmlformats.org/officeDocument/2006/relationships/oleObject" Target="../embeddings/oleObject3.bin"/></Relationships>
</file>

<file path=ppt/slides/_rels/slide23.xml.rels><?xml version="1.0" encoding="UTF-8" standalone="yes"?>
<Relationships xmlns="http://schemas.openxmlformats.org/package/2006/relationships"><Relationship Id="rId2" Type="http://schemas.openxmlformats.org/officeDocument/2006/relationships/image" Target="../media/image9.gif"/><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2.xml"/><Relationship Id="rId1" Type="http://schemas.openxmlformats.org/officeDocument/2006/relationships/tags" Target="../tags/tag19.xml"/><Relationship Id="rId6" Type="http://schemas.openxmlformats.org/officeDocument/2006/relationships/image" Target="../media/image17.png"/><Relationship Id="rId5" Type="http://schemas.openxmlformats.org/officeDocument/2006/relationships/image" Target="../media/image2.emf"/><Relationship Id="rId4" Type="http://schemas.openxmlformats.org/officeDocument/2006/relationships/oleObject" Target="../embeddings/oleObject3.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2.emf"/><Relationship Id="rId2" Type="http://schemas.openxmlformats.org/officeDocument/2006/relationships/slideLayout" Target="../slideLayouts/slideLayout12.xml"/><Relationship Id="rId1" Type="http://schemas.openxmlformats.org/officeDocument/2006/relationships/tags" Target="../tags/tag20.xml"/><Relationship Id="rId6" Type="http://schemas.openxmlformats.org/officeDocument/2006/relationships/oleObject" Target="../embeddings/oleObject3.bin"/><Relationship Id="rId5" Type="http://schemas.openxmlformats.org/officeDocument/2006/relationships/hyperlink" Target="https://joaoemilianoneto.blogspot.com/" TargetMode="External"/><Relationship Id="rId4" Type="http://schemas.openxmlformats.org/officeDocument/2006/relationships/image" Target="../media/image18.jpe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2.xml"/><Relationship Id="rId1" Type="http://schemas.openxmlformats.org/officeDocument/2006/relationships/tags" Target="../tags/tag21.xml"/><Relationship Id="rId6" Type="http://schemas.openxmlformats.org/officeDocument/2006/relationships/image" Target="../media/image12.jpeg"/><Relationship Id="rId5" Type="http://schemas.openxmlformats.org/officeDocument/2006/relationships/image" Target="../media/image2.emf"/><Relationship Id="rId4" Type="http://schemas.openxmlformats.org/officeDocument/2006/relationships/oleObject" Target="../embeddings/oleObject3.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2.emf"/><Relationship Id="rId2" Type="http://schemas.openxmlformats.org/officeDocument/2006/relationships/slideLayout" Target="../slideLayouts/slideLayout12.xml"/><Relationship Id="rId1" Type="http://schemas.openxmlformats.org/officeDocument/2006/relationships/tags" Target="../tags/tag22.xml"/><Relationship Id="rId6" Type="http://schemas.openxmlformats.org/officeDocument/2006/relationships/oleObject" Target="../embeddings/oleObject3.bin"/><Relationship Id="rId5" Type="http://schemas.openxmlformats.org/officeDocument/2006/relationships/hyperlink" Target="https://joaoemilianoneto.blogspot.com/" TargetMode="External"/><Relationship Id="rId4" Type="http://schemas.openxmlformats.org/officeDocument/2006/relationships/image" Target="../media/image18.jpe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2.xml"/><Relationship Id="rId1" Type="http://schemas.openxmlformats.org/officeDocument/2006/relationships/tags" Target="../tags/tag23.xml"/><Relationship Id="rId6" Type="http://schemas.openxmlformats.org/officeDocument/2006/relationships/image" Target="../media/image12.jpeg"/><Relationship Id="rId5" Type="http://schemas.openxmlformats.org/officeDocument/2006/relationships/image" Target="../media/image2.emf"/><Relationship Id="rId4" Type="http://schemas.openxmlformats.org/officeDocument/2006/relationships/oleObject" Target="../embeddings/oleObject3.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2.emf"/><Relationship Id="rId2" Type="http://schemas.openxmlformats.org/officeDocument/2006/relationships/slideLayout" Target="../slideLayouts/slideLayout12.xml"/><Relationship Id="rId1" Type="http://schemas.openxmlformats.org/officeDocument/2006/relationships/tags" Target="../tags/tag24.xml"/><Relationship Id="rId6" Type="http://schemas.openxmlformats.org/officeDocument/2006/relationships/oleObject" Target="../embeddings/oleObject3.bin"/><Relationship Id="rId5" Type="http://schemas.openxmlformats.org/officeDocument/2006/relationships/hyperlink" Target="https://joaoemilianoneto.blogspot.com/" TargetMode="External"/><Relationship Id="rId4" Type="http://schemas.openxmlformats.org/officeDocument/2006/relationships/image" Target="../media/image18.jpe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3.xml"/><Relationship Id="rId1" Type="http://schemas.openxmlformats.org/officeDocument/2006/relationships/tags" Target="../tags/tag7.xml"/><Relationship Id="rId6" Type="http://schemas.openxmlformats.org/officeDocument/2006/relationships/image" Target="../media/image7.png"/><Relationship Id="rId5" Type="http://schemas.openxmlformats.org/officeDocument/2006/relationships/image" Target="../media/image2.emf"/><Relationship Id="rId4" Type="http://schemas.openxmlformats.org/officeDocument/2006/relationships/oleObject" Target="../embeddings/oleObject3.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2.xml"/><Relationship Id="rId1" Type="http://schemas.openxmlformats.org/officeDocument/2006/relationships/tags" Target="../tags/tag25.xml"/><Relationship Id="rId6" Type="http://schemas.openxmlformats.org/officeDocument/2006/relationships/image" Target="../media/image12.jpeg"/><Relationship Id="rId5" Type="http://schemas.openxmlformats.org/officeDocument/2006/relationships/image" Target="../media/image2.emf"/><Relationship Id="rId4" Type="http://schemas.openxmlformats.org/officeDocument/2006/relationships/oleObject" Target="../embeddings/oleObject3.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2.xml"/><Relationship Id="rId1" Type="http://schemas.openxmlformats.org/officeDocument/2006/relationships/tags" Target="../tags/tag26.xml"/><Relationship Id="rId6" Type="http://schemas.openxmlformats.org/officeDocument/2006/relationships/image" Target="../media/image13.jpeg"/><Relationship Id="rId5" Type="http://schemas.openxmlformats.org/officeDocument/2006/relationships/image" Target="../media/image2.emf"/><Relationship Id="rId4" Type="http://schemas.openxmlformats.org/officeDocument/2006/relationships/oleObject" Target="../embeddings/oleObject3.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2.xml"/><Relationship Id="rId1" Type="http://schemas.openxmlformats.org/officeDocument/2006/relationships/tags" Target="../tags/tag27.xml"/><Relationship Id="rId6" Type="http://schemas.openxmlformats.org/officeDocument/2006/relationships/image" Target="../media/image19.png"/><Relationship Id="rId5" Type="http://schemas.openxmlformats.org/officeDocument/2006/relationships/image" Target="../media/image2.emf"/><Relationship Id="rId4" Type="http://schemas.openxmlformats.org/officeDocument/2006/relationships/oleObject" Target="../embeddings/oleObject3.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2.xml"/><Relationship Id="rId1" Type="http://schemas.openxmlformats.org/officeDocument/2006/relationships/tags" Target="../tags/tag28.xml"/><Relationship Id="rId6" Type="http://schemas.openxmlformats.org/officeDocument/2006/relationships/image" Target="../media/image16.png"/><Relationship Id="rId5" Type="http://schemas.openxmlformats.org/officeDocument/2006/relationships/image" Target="../media/image2.emf"/><Relationship Id="rId4" Type="http://schemas.openxmlformats.org/officeDocument/2006/relationships/oleObject" Target="../embeddings/oleObject3.bin"/></Relationships>
</file>

<file path=ppt/slides/_rels/slide34.xml.rels><?xml version="1.0" encoding="UTF-8" standalone="yes"?>
<Relationships xmlns="http://schemas.openxmlformats.org/package/2006/relationships"><Relationship Id="rId2" Type="http://schemas.openxmlformats.org/officeDocument/2006/relationships/image" Target="../media/image9.gif"/><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3.xml"/><Relationship Id="rId1" Type="http://schemas.openxmlformats.org/officeDocument/2006/relationships/tags" Target="../tags/tag29.xml"/><Relationship Id="rId6" Type="http://schemas.openxmlformats.org/officeDocument/2006/relationships/image" Target="../media/image20.png"/><Relationship Id="rId5" Type="http://schemas.openxmlformats.org/officeDocument/2006/relationships/image" Target="../media/image2.emf"/><Relationship Id="rId4" Type="http://schemas.openxmlformats.org/officeDocument/2006/relationships/oleObject" Target="../embeddings/oleObject3.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3.xml"/><Relationship Id="rId1" Type="http://schemas.openxmlformats.org/officeDocument/2006/relationships/tags" Target="../tags/tag30.x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image" Target="../media/image21.pn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3.xml"/><Relationship Id="rId1" Type="http://schemas.openxmlformats.org/officeDocument/2006/relationships/tags" Target="../tags/tag31.xml"/><Relationship Id="rId6" Type="http://schemas.openxmlformats.org/officeDocument/2006/relationships/image" Target="../media/image12.jpeg"/><Relationship Id="rId5" Type="http://schemas.openxmlformats.org/officeDocument/2006/relationships/image" Target="../media/image2.emf"/><Relationship Id="rId4" Type="http://schemas.openxmlformats.org/officeDocument/2006/relationships/oleObject" Target="../embeddings/oleObject3.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3.xml"/><Relationship Id="rId1" Type="http://schemas.openxmlformats.org/officeDocument/2006/relationships/tags" Target="../tags/tag32.x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image" Target="../media/image21.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2.xml"/><Relationship Id="rId1" Type="http://schemas.openxmlformats.org/officeDocument/2006/relationships/tags" Target="../tags/tag33.xml"/><Relationship Id="rId6" Type="http://schemas.openxmlformats.org/officeDocument/2006/relationships/image" Target="../media/image12.jpeg"/><Relationship Id="rId5" Type="http://schemas.openxmlformats.org/officeDocument/2006/relationships/image" Target="../media/image2.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3.xml"/><Relationship Id="rId1" Type="http://schemas.openxmlformats.org/officeDocument/2006/relationships/tags" Target="../tags/tag34.x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image" Target="../media/image21.pn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2.xml"/><Relationship Id="rId1" Type="http://schemas.openxmlformats.org/officeDocument/2006/relationships/tags" Target="../tags/tag35.xml"/><Relationship Id="rId6" Type="http://schemas.openxmlformats.org/officeDocument/2006/relationships/image" Target="../media/image12.jpeg"/><Relationship Id="rId5" Type="http://schemas.openxmlformats.org/officeDocument/2006/relationships/image" Target="../media/image2.emf"/><Relationship Id="rId4" Type="http://schemas.openxmlformats.org/officeDocument/2006/relationships/oleObject" Target="../embeddings/oleObject3.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2.xml"/><Relationship Id="rId1" Type="http://schemas.openxmlformats.org/officeDocument/2006/relationships/tags" Target="../tags/tag36.xml"/><Relationship Id="rId6" Type="http://schemas.openxmlformats.org/officeDocument/2006/relationships/image" Target="../media/image13.jpeg"/><Relationship Id="rId5" Type="http://schemas.openxmlformats.org/officeDocument/2006/relationships/image" Target="../media/image2.emf"/><Relationship Id="rId4" Type="http://schemas.openxmlformats.org/officeDocument/2006/relationships/oleObject" Target="../embeddings/oleObject3.bin"/></Relationships>
</file>

<file path=ppt/slides/_rels/slide4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2.xml"/><Relationship Id="rId1" Type="http://schemas.openxmlformats.org/officeDocument/2006/relationships/tags" Target="../tags/tag37.xml"/><Relationship Id="rId6" Type="http://schemas.openxmlformats.org/officeDocument/2006/relationships/image" Target="../media/image16.png"/><Relationship Id="rId5" Type="http://schemas.openxmlformats.org/officeDocument/2006/relationships/image" Target="../media/image2.emf"/><Relationship Id="rId4" Type="http://schemas.openxmlformats.org/officeDocument/2006/relationships/oleObject" Target="../embeddings/oleObject3.bin"/></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3.xml"/><Relationship Id="rId1" Type="http://schemas.openxmlformats.org/officeDocument/2006/relationships/tags" Target="../tags/tag8.xml"/><Relationship Id="rId6" Type="http://schemas.openxmlformats.org/officeDocument/2006/relationships/image" Target="../media/image7.png"/><Relationship Id="rId5" Type="http://schemas.openxmlformats.org/officeDocument/2006/relationships/image" Target="../media/image2.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4" name="Título 1">
            <a:extLst>
              <a:ext uri="{FF2B5EF4-FFF2-40B4-BE49-F238E27FC236}">
                <a16:creationId xmlns:a16="http://schemas.microsoft.com/office/drawing/2014/main" id="{C932A6A2-490D-BDFB-385C-AD82FC517806}"/>
              </a:ext>
            </a:extLst>
          </p:cNvPr>
          <p:cNvSpPr txBox="1">
            <a:spLocks/>
          </p:cNvSpPr>
          <p:nvPr/>
        </p:nvSpPr>
        <p:spPr>
          <a:xfrm>
            <a:off x="5713112" y="4423387"/>
            <a:ext cx="4339677" cy="648661"/>
          </a:xfrm>
          <a:prstGeom prst="rect">
            <a:avLst/>
          </a:prstGeom>
          <a:effectLst/>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pt-BR" sz="3600" b="0" i="0" u="none" strike="noStrike" kern="1200" cap="none" spc="0" normalizeH="0" baseline="0" noProof="0">
              <a:ln>
                <a:noFill/>
              </a:ln>
              <a:solidFill>
                <a:prstClr val="white"/>
              </a:solidFill>
              <a:effectLst/>
              <a:uLnTx/>
              <a:uFillTx/>
              <a:latin typeface="Century Gothic" panose="020B0502020202020204" pitchFamily="34" charset="0"/>
              <a:ea typeface="Calibri"/>
              <a:cs typeface="Calibri"/>
            </a:endParaRPr>
          </a:p>
        </p:txBody>
      </p:sp>
      <p:grpSp>
        <p:nvGrpSpPr>
          <p:cNvPr id="102" name="Group 101">
            <a:extLst>
              <a:ext uri="{FF2B5EF4-FFF2-40B4-BE49-F238E27FC236}">
                <a16:creationId xmlns:a16="http://schemas.microsoft.com/office/drawing/2014/main" id="{8935E77D-9569-EA94-9832-4DC95AA538FA}"/>
              </a:ext>
            </a:extLst>
          </p:cNvPr>
          <p:cNvGrpSpPr/>
          <p:nvPr/>
        </p:nvGrpSpPr>
        <p:grpSpPr>
          <a:xfrm>
            <a:off x="892174" y="1370174"/>
            <a:ext cx="2943225" cy="3254052"/>
            <a:chOff x="930275" y="2289175"/>
            <a:chExt cx="2153792" cy="2381249"/>
          </a:xfrm>
        </p:grpSpPr>
        <p:sp>
          <p:nvSpPr>
            <p:cNvPr id="59" name="Freeform: Shape 58">
              <a:extLst>
                <a:ext uri="{FF2B5EF4-FFF2-40B4-BE49-F238E27FC236}">
                  <a16:creationId xmlns:a16="http://schemas.microsoft.com/office/drawing/2014/main" id="{8A990761-0099-39D5-B134-F1569F6C37F4}"/>
                </a:ext>
              </a:extLst>
            </p:cNvPr>
            <p:cNvSpPr/>
            <p:nvPr/>
          </p:nvSpPr>
          <p:spPr>
            <a:xfrm>
              <a:off x="930275" y="3651630"/>
              <a:ext cx="364521" cy="474630"/>
            </a:xfrm>
            <a:custGeom>
              <a:avLst/>
              <a:gdLst>
                <a:gd name="connsiteX0" fmla="*/ 195834 w 364521"/>
                <a:gd name="connsiteY0" fmla="*/ 474631 h 474630"/>
                <a:gd name="connsiteX1" fmla="*/ 92297 w 364521"/>
                <a:gd name="connsiteY1" fmla="*/ 456533 h 474630"/>
                <a:gd name="connsiteX2" fmla="*/ 0 w 364521"/>
                <a:gd name="connsiteY2" fmla="*/ 400812 h 474630"/>
                <a:gd name="connsiteX3" fmla="*/ 60008 w 364521"/>
                <a:gd name="connsiteY3" fmla="*/ 328994 h 474630"/>
                <a:gd name="connsiteX4" fmla="*/ 124968 w 364521"/>
                <a:gd name="connsiteY4" fmla="*/ 369856 h 474630"/>
                <a:gd name="connsiteX5" fmla="*/ 197834 w 364521"/>
                <a:gd name="connsiteY5" fmla="*/ 385001 h 474630"/>
                <a:gd name="connsiteX6" fmla="*/ 246983 w 364521"/>
                <a:gd name="connsiteY6" fmla="*/ 373475 h 474630"/>
                <a:gd name="connsiteX7" fmla="*/ 264414 w 364521"/>
                <a:gd name="connsiteY7" fmla="*/ 341471 h 474630"/>
                <a:gd name="connsiteX8" fmla="*/ 264414 w 364521"/>
                <a:gd name="connsiteY8" fmla="*/ 340138 h 474630"/>
                <a:gd name="connsiteX9" fmla="*/ 260794 w 364521"/>
                <a:gd name="connsiteY9" fmla="*/ 322707 h 474630"/>
                <a:gd name="connsiteX10" fmla="*/ 246888 w 364521"/>
                <a:gd name="connsiteY10" fmla="*/ 308515 h 474630"/>
                <a:gd name="connsiteX11" fmla="*/ 218504 w 364521"/>
                <a:gd name="connsiteY11" fmla="*/ 295370 h 474630"/>
                <a:gd name="connsiteX12" fmla="*/ 171260 w 364521"/>
                <a:gd name="connsiteY12" fmla="*/ 281559 h 474630"/>
                <a:gd name="connsiteX13" fmla="*/ 107823 w 364521"/>
                <a:gd name="connsiteY13" fmla="*/ 262414 h 474630"/>
                <a:gd name="connsiteX14" fmla="*/ 59531 w 364521"/>
                <a:gd name="connsiteY14" fmla="*/ 236411 h 474630"/>
                <a:gd name="connsiteX15" fmla="*/ 28766 w 364521"/>
                <a:gd name="connsiteY15" fmla="*/ 197834 h 474630"/>
                <a:gd name="connsiteX16" fmla="*/ 17812 w 364521"/>
                <a:gd name="connsiteY16" fmla="*/ 140494 h 474630"/>
                <a:gd name="connsiteX17" fmla="*/ 17812 w 364521"/>
                <a:gd name="connsiteY17" fmla="*/ 139160 h 474630"/>
                <a:gd name="connsiteX18" fmla="*/ 29623 w 364521"/>
                <a:gd name="connsiteY18" fmla="*/ 82106 h 474630"/>
                <a:gd name="connsiteX19" fmla="*/ 62675 w 364521"/>
                <a:gd name="connsiteY19" fmla="*/ 38291 h 474630"/>
                <a:gd name="connsiteX20" fmla="*/ 113538 w 364521"/>
                <a:gd name="connsiteY20" fmla="*/ 9906 h 474630"/>
                <a:gd name="connsiteX21" fmla="*/ 178689 w 364521"/>
                <a:gd name="connsiteY21" fmla="*/ 0 h 474630"/>
                <a:gd name="connsiteX22" fmla="*/ 271939 w 364521"/>
                <a:gd name="connsiteY22" fmla="*/ 15145 h 474630"/>
                <a:gd name="connsiteX23" fmla="*/ 350044 w 364521"/>
                <a:gd name="connsiteY23" fmla="*/ 58674 h 474630"/>
                <a:gd name="connsiteX24" fmla="*/ 297275 w 364521"/>
                <a:gd name="connsiteY24" fmla="*/ 135160 h 474630"/>
                <a:gd name="connsiteX25" fmla="*/ 236601 w 364521"/>
                <a:gd name="connsiteY25" fmla="*/ 101822 h 474630"/>
                <a:gd name="connsiteX26" fmla="*/ 177260 w 364521"/>
                <a:gd name="connsiteY26" fmla="*/ 89630 h 474630"/>
                <a:gd name="connsiteX27" fmla="*/ 132779 w 364521"/>
                <a:gd name="connsiteY27" fmla="*/ 101156 h 474630"/>
                <a:gd name="connsiteX28" fmla="*/ 117920 w 364521"/>
                <a:gd name="connsiteY28" fmla="*/ 129826 h 474630"/>
                <a:gd name="connsiteX29" fmla="*/ 117920 w 364521"/>
                <a:gd name="connsiteY29" fmla="*/ 131159 h 474630"/>
                <a:gd name="connsiteX30" fmla="*/ 122206 w 364521"/>
                <a:gd name="connsiteY30" fmla="*/ 150590 h 474630"/>
                <a:gd name="connsiteX31" fmla="*/ 137732 w 364521"/>
                <a:gd name="connsiteY31" fmla="*/ 165449 h 474630"/>
                <a:gd name="connsiteX32" fmla="*/ 168497 w 364521"/>
                <a:gd name="connsiteY32" fmla="*/ 177927 h 474630"/>
                <a:gd name="connsiteX33" fmla="*/ 217742 w 364521"/>
                <a:gd name="connsiteY33" fmla="*/ 191738 h 474630"/>
                <a:gd name="connsiteX34" fmla="*/ 280226 w 364521"/>
                <a:gd name="connsiteY34" fmla="*/ 212503 h 474630"/>
                <a:gd name="connsiteX35" fmla="*/ 326517 w 364521"/>
                <a:gd name="connsiteY35" fmla="*/ 240221 h 474630"/>
                <a:gd name="connsiteX36" fmla="*/ 354901 w 364521"/>
                <a:gd name="connsiteY36" fmla="*/ 278130 h 474630"/>
                <a:gd name="connsiteX37" fmla="*/ 364522 w 364521"/>
                <a:gd name="connsiteY37" fmla="*/ 330232 h 474630"/>
                <a:gd name="connsiteX38" fmla="*/ 364522 w 364521"/>
                <a:gd name="connsiteY38" fmla="*/ 331565 h 474630"/>
                <a:gd name="connsiteX39" fmla="*/ 352044 w 364521"/>
                <a:gd name="connsiteY39" fmla="*/ 392525 h 474630"/>
                <a:gd name="connsiteX40" fmla="*/ 317373 w 364521"/>
                <a:gd name="connsiteY40" fmla="*/ 437388 h 474630"/>
                <a:gd name="connsiteX41" fmla="*/ 264224 w 364521"/>
                <a:gd name="connsiteY41" fmla="*/ 465106 h 474630"/>
                <a:gd name="connsiteX42" fmla="*/ 195739 w 364521"/>
                <a:gd name="connsiteY42" fmla="*/ 474631 h 474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64521" h="474630">
                  <a:moveTo>
                    <a:pt x="195834" y="474631"/>
                  </a:moveTo>
                  <a:cubicBezTo>
                    <a:pt x="160687" y="474631"/>
                    <a:pt x="126206" y="468630"/>
                    <a:pt x="92297" y="456533"/>
                  </a:cubicBezTo>
                  <a:cubicBezTo>
                    <a:pt x="58484" y="444437"/>
                    <a:pt x="27718" y="425863"/>
                    <a:pt x="0" y="400812"/>
                  </a:cubicBezTo>
                  <a:lnTo>
                    <a:pt x="60008" y="328994"/>
                  </a:lnTo>
                  <a:cubicBezTo>
                    <a:pt x="81058" y="346139"/>
                    <a:pt x="102775" y="359759"/>
                    <a:pt x="124968" y="369856"/>
                  </a:cubicBezTo>
                  <a:cubicBezTo>
                    <a:pt x="147161" y="379952"/>
                    <a:pt x="171450" y="385001"/>
                    <a:pt x="197834" y="385001"/>
                  </a:cubicBezTo>
                  <a:cubicBezTo>
                    <a:pt x="218885" y="385001"/>
                    <a:pt x="235268" y="381191"/>
                    <a:pt x="246983" y="373475"/>
                  </a:cubicBezTo>
                  <a:cubicBezTo>
                    <a:pt x="258604" y="365760"/>
                    <a:pt x="264414" y="355092"/>
                    <a:pt x="264414" y="341471"/>
                  </a:cubicBezTo>
                  <a:lnTo>
                    <a:pt x="264414" y="340138"/>
                  </a:lnTo>
                  <a:cubicBezTo>
                    <a:pt x="264414" y="333566"/>
                    <a:pt x="263176" y="327755"/>
                    <a:pt x="260794" y="322707"/>
                  </a:cubicBezTo>
                  <a:cubicBezTo>
                    <a:pt x="258318" y="317659"/>
                    <a:pt x="253746" y="312896"/>
                    <a:pt x="246888" y="308515"/>
                  </a:cubicBezTo>
                  <a:cubicBezTo>
                    <a:pt x="240030" y="304133"/>
                    <a:pt x="230600" y="299752"/>
                    <a:pt x="218504" y="295370"/>
                  </a:cubicBezTo>
                  <a:cubicBezTo>
                    <a:pt x="206407" y="290989"/>
                    <a:pt x="190595" y="286322"/>
                    <a:pt x="171260" y="281559"/>
                  </a:cubicBezTo>
                  <a:cubicBezTo>
                    <a:pt x="147923" y="275844"/>
                    <a:pt x="126778" y="269462"/>
                    <a:pt x="107823" y="262414"/>
                  </a:cubicBezTo>
                  <a:cubicBezTo>
                    <a:pt x="88868" y="255365"/>
                    <a:pt x="72771" y="246698"/>
                    <a:pt x="59531" y="236411"/>
                  </a:cubicBezTo>
                  <a:cubicBezTo>
                    <a:pt x="46292" y="226124"/>
                    <a:pt x="36100" y="213265"/>
                    <a:pt x="28766" y="197834"/>
                  </a:cubicBezTo>
                  <a:cubicBezTo>
                    <a:pt x="21431" y="182404"/>
                    <a:pt x="17812" y="163354"/>
                    <a:pt x="17812" y="140494"/>
                  </a:cubicBezTo>
                  <a:lnTo>
                    <a:pt x="17812" y="139160"/>
                  </a:lnTo>
                  <a:cubicBezTo>
                    <a:pt x="17812" y="118110"/>
                    <a:pt x="21717" y="99060"/>
                    <a:pt x="29623" y="82106"/>
                  </a:cubicBezTo>
                  <a:cubicBezTo>
                    <a:pt x="37529" y="65151"/>
                    <a:pt x="48482" y="50578"/>
                    <a:pt x="62675" y="38291"/>
                  </a:cubicBezTo>
                  <a:cubicBezTo>
                    <a:pt x="76867" y="26003"/>
                    <a:pt x="93821" y="16574"/>
                    <a:pt x="113538" y="9906"/>
                  </a:cubicBezTo>
                  <a:cubicBezTo>
                    <a:pt x="133255" y="3334"/>
                    <a:pt x="154972" y="0"/>
                    <a:pt x="178689" y="0"/>
                  </a:cubicBezTo>
                  <a:cubicBezTo>
                    <a:pt x="212503" y="0"/>
                    <a:pt x="243650" y="5048"/>
                    <a:pt x="271939" y="15145"/>
                  </a:cubicBezTo>
                  <a:cubicBezTo>
                    <a:pt x="300323" y="25241"/>
                    <a:pt x="326326" y="39719"/>
                    <a:pt x="350044" y="58674"/>
                  </a:cubicBezTo>
                  <a:lnTo>
                    <a:pt x="297275" y="135160"/>
                  </a:lnTo>
                  <a:cubicBezTo>
                    <a:pt x="276606" y="121063"/>
                    <a:pt x="256413" y="110014"/>
                    <a:pt x="236601" y="101822"/>
                  </a:cubicBezTo>
                  <a:cubicBezTo>
                    <a:pt x="216789" y="93726"/>
                    <a:pt x="197072" y="89630"/>
                    <a:pt x="177260" y="89630"/>
                  </a:cubicBezTo>
                  <a:cubicBezTo>
                    <a:pt x="157448" y="89630"/>
                    <a:pt x="142685" y="93440"/>
                    <a:pt x="132779" y="101156"/>
                  </a:cubicBezTo>
                  <a:cubicBezTo>
                    <a:pt x="122873" y="108871"/>
                    <a:pt x="117920" y="118396"/>
                    <a:pt x="117920" y="129826"/>
                  </a:cubicBezTo>
                  <a:lnTo>
                    <a:pt x="117920" y="131159"/>
                  </a:lnTo>
                  <a:cubicBezTo>
                    <a:pt x="117920" y="138684"/>
                    <a:pt x="119348" y="145161"/>
                    <a:pt x="122206" y="150590"/>
                  </a:cubicBezTo>
                  <a:cubicBezTo>
                    <a:pt x="125063" y="156115"/>
                    <a:pt x="130207" y="161068"/>
                    <a:pt x="137732" y="165449"/>
                  </a:cubicBezTo>
                  <a:cubicBezTo>
                    <a:pt x="145256" y="169831"/>
                    <a:pt x="155448" y="174022"/>
                    <a:pt x="168497" y="177927"/>
                  </a:cubicBezTo>
                  <a:cubicBezTo>
                    <a:pt x="181547" y="181928"/>
                    <a:pt x="197930" y="186500"/>
                    <a:pt x="217742" y="191738"/>
                  </a:cubicBezTo>
                  <a:cubicBezTo>
                    <a:pt x="241078" y="197930"/>
                    <a:pt x="261938" y="204788"/>
                    <a:pt x="280226" y="212503"/>
                  </a:cubicBezTo>
                  <a:cubicBezTo>
                    <a:pt x="298514" y="220218"/>
                    <a:pt x="313944" y="229457"/>
                    <a:pt x="326517" y="240221"/>
                  </a:cubicBezTo>
                  <a:cubicBezTo>
                    <a:pt x="339090" y="250984"/>
                    <a:pt x="348520" y="263652"/>
                    <a:pt x="354901" y="278130"/>
                  </a:cubicBezTo>
                  <a:cubicBezTo>
                    <a:pt x="361283" y="292608"/>
                    <a:pt x="364522" y="310039"/>
                    <a:pt x="364522" y="330232"/>
                  </a:cubicBezTo>
                  <a:lnTo>
                    <a:pt x="364522" y="331565"/>
                  </a:lnTo>
                  <a:cubicBezTo>
                    <a:pt x="364522" y="354425"/>
                    <a:pt x="360331" y="374714"/>
                    <a:pt x="352044" y="392525"/>
                  </a:cubicBezTo>
                  <a:cubicBezTo>
                    <a:pt x="343757" y="410337"/>
                    <a:pt x="332137" y="425291"/>
                    <a:pt x="317373" y="437388"/>
                  </a:cubicBezTo>
                  <a:cubicBezTo>
                    <a:pt x="302514" y="449485"/>
                    <a:pt x="284798" y="458724"/>
                    <a:pt x="264224" y="465106"/>
                  </a:cubicBezTo>
                  <a:cubicBezTo>
                    <a:pt x="243650" y="471488"/>
                    <a:pt x="220790" y="474631"/>
                    <a:pt x="195739" y="474631"/>
                  </a:cubicBezTo>
                  <a:close/>
                </a:path>
              </a:pathLst>
            </a:custGeom>
            <a:solidFill>
              <a:srgbClr val="43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Shape 59">
              <a:extLst>
                <a:ext uri="{FF2B5EF4-FFF2-40B4-BE49-F238E27FC236}">
                  <a16:creationId xmlns:a16="http://schemas.microsoft.com/office/drawing/2014/main" id="{9FD6BADD-63BC-6AB2-16A0-67E8E3230EA9}"/>
                </a:ext>
              </a:extLst>
            </p:cNvPr>
            <p:cNvSpPr/>
            <p:nvPr/>
          </p:nvSpPr>
          <p:spPr>
            <a:xfrm>
              <a:off x="1293463" y="3654869"/>
              <a:ext cx="489203" cy="464819"/>
            </a:xfrm>
            <a:custGeom>
              <a:avLst/>
              <a:gdLst>
                <a:gd name="connsiteX0" fmla="*/ 197834 w 489203"/>
                <a:gd name="connsiteY0" fmla="*/ 0 h 464819"/>
                <a:gd name="connsiteX1" fmla="*/ 291465 w 489203"/>
                <a:gd name="connsiteY1" fmla="*/ 0 h 464819"/>
                <a:gd name="connsiteX2" fmla="*/ 489204 w 489203"/>
                <a:gd name="connsiteY2" fmla="*/ 464820 h 464819"/>
                <a:gd name="connsiteX3" fmla="*/ 383095 w 489203"/>
                <a:gd name="connsiteY3" fmla="*/ 464820 h 464819"/>
                <a:gd name="connsiteX4" fmla="*/ 340900 w 489203"/>
                <a:gd name="connsiteY4" fmla="*/ 361283 h 464819"/>
                <a:gd name="connsiteX5" fmla="*/ 145733 w 489203"/>
                <a:gd name="connsiteY5" fmla="*/ 361283 h 464819"/>
                <a:gd name="connsiteX6" fmla="*/ 103537 w 489203"/>
                <a:gd name="connsiteY6" fmla="*/ 464820 h 464819"/>
                <a:gd name="connsiteX7" fmla="*/ 0 w 489203"/>
                <a:gd name="connsiteY7" fmla="*/ 464820 h 464819"/>
                <a:gd name="connsiteX8" fmla="*/ 197834 w 489203"/>
                <a:gd name="connsiteY8" fmla="*/ 0 h 464819"/>
                <a:gd name="connsiteX9" fmla="*/ 304610 w 489203"/>
                <a:gd name="connsiteY9" fmla="*/ 271653 h 464819"/>
                <a:gd name="connsiteX10" fmla="*/ 243268 w 489203"/>
                <a:gd name="connsiteY10" fmla="*/ 122015 h 464819"/>
                <a:gd name="connsiteX11" fmla="*/ 181927 w 489203"/>
                <a:gd name="connsiteY11" fmla="*/ 271653 h 464819"/>
                <a:gd name="connsiteX12" fmla="*/ 304610 w 489203"/>
                <a:gd name="connsiteY12" fmla="*/ 271653 h 464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9203" h="464819">
                  <a:moveTo>
                    <a:pt x="197834" y="0"/>
                  </a:moveTo>
                  <a:lnTo>
                    <a:pt x="291465" y="0"/>
                  </a:lnTo>
                  <a:lnTo>
                    <a:pt x="489204" y="464820"/>
                  </a:lnTo>
                  <a:lnTo>
                    <a:pt x="383095" y="464820"/>
                  </a:lnTo>
                  <a:lnTo>
                    <a:pt x="340900" y="361283"/>
                  </a:lnTo>
                  <a:lnTo>
                    <a:pt x="145733" y="361283"/>
                  </a:lnTo>
                  <a:lnTo>
                    <a:pt x="103537" y="464820"/>
                  </a:lnTo>
                  <a:lnTo>
                    <a:pt x="0" y="464820"/>
                  </a:lnTo>
                  <a:lnTo>
                    <a:pt x="197834" y="0"/>
                  </a:lnTo>
                  <a:close/>
                  <a:moveTo>
                    <a:pt x="304610" y="271653"/>
                  </a:moveTo>
                  <a:lnTo>
                    <a:pt x="243268" y="122015"/>
                  </a:lnTo>
                  <a:lnTo>
                    <a:pt x="181927" y="271653"/>
                  </a:lnTo>
                  <a:lnTo>
                    <a:pt x="304610" y="271653"/>
                  </a:lnTo>
                  <a:close/>
                </a:path>
              </a:pathLst>
            </a:custGeom>
            <a:solidFill>
              <a:srgbClr val="43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Freeform: Shape 60">
              <a:extLst>
                <a:ext uri="{FF2B5EF4-FFF2-40B4-BE49-F238E27FC236}">
                  <a16:creationId xmlns:a16="http://schemas.microsoft.com/office/drawing/2014/main" id="{2380AE8D-C2F3-2EE9-16DE-D1F73AFBE93B}"/>
                </a:ext>
              </a:extLst>
            </p:cNvPr>
            <p:cNvSpPr/>
            <p:nvPr/>
          </p:nvSpPr>
          <p:spPr>
            <a:xfrm>
              <a:off x="1796478" y="3508565"/>
              <a:ext cx="402145" cy="618362"/>
            </a:xfrm>
            <a:custGeom>
              <a:avLst/>
              <a:gdLst>
                <a:gd name="connsiteX0" fmla="*/ 199834 w 402145"/>
                <a:gd name="connsiteY0" fmla="*/ 618363 h 618362"/>
                <a:gd name="connsiteX1" fmla="*/ 53435 w 402145"/>
                <a:gd name="connsiteY1" fmla="*/ 566928 h 618362"/>
                <a:gd name="connsiteX2" fmla="*/ 0 w 402145"/>
                <a:gd name="connsiteY2" fmla="*/ 413290 h 618362"/>
                <a:gd name="connsiteX3" fmla="*/ 0 w 402145"/>
                <a:gd name="connsiteY3" fmla="*/ 149542 h 618362"/>
                <a:gd name="connsiteX4" fmla="*/ 101536 w 402145"/>
                <a:gd name="connsiteY4" fmla="*/ 149542 h 618362"/>
                <a:gd name="connsiteX5" fmla="*/ 101536 w 402145"/>
                <a:gd name="connsiteY5" fmla="*/ 410623 h 618362"/>
                <a:gd name="connsiteX6" fmla="*/ 127921 w 402145"/>
                <a:gd name="connsiteY6" fmla="*/ 495967 h 618362"/>
                <a:gd name="connsiteX7" fmla="*/ 201073 w 402145"/>
                <a:gd name="connsiteY7" fmla="*/ 524637 h 618362"/>
                <a:gd name="connsiteX8" fmla="*/ 274225 w 402145"/>
                <a:gd name="connsiteY8" fmla="*/ 496919 h 618362"/>
                <a:gd name="connsiteX9" fmla="*/ 300609 w 402145"/>
                <a:gd name="connsiteY9" fmla="*/ 413861 h 618362"/>
                <a:gd name="connsiteX10" fmla="*/ 300609 w 402145"/>
                <a:gd name="connsiteY10" fmla="*/ 149447 h 618362"/>
                <a:gd name="connsiteX11" fmla="*/ 402146 w 402145"/>
                <a:gd name="connsiteY11" fmla="*/ 149447 h 618362"/>
                <a:gd name="connsiteX12" fmla="*/ 402146 w 402145"/>
                <a:gd name="connsiteY12" fmla="*/ 409861 h 618362"/>
                <a:gd name="connsiteX13" fmla="*/ 387953 w 402145"/>
                <a:gd name="connsiteY13" fmla="*/ 501491 h 618362"/>
                <a:gd name="connsiteX14" fmla="*/ 347377 w 402145"/>
                <a:gd name="connsiteY14" fmla="*/ 566452 h 618362"/>
                <a:gd name="connsiteX15" fmla="*/ 283464 w 402145"/>
                <a:gd name="connsiteY15" fmla="*/ 605314 h 618362"/>
                <a:gd name="connsiteX16" fmla="*/ 199739 w 402145"/>
                <a:gd name="connsiteY16" fmla="*/ 618172 h 618362"/>
                <a:gd name="connsiteX17" fmla="*/ 230124 w 402145"/>
                <a:gd name="connsiteY17" fmla="*/ 0 h 618362"/>
                <a:gd name="connsiteX18" fmla="*/ 316516 w 402145"/>
                <a:gd name="connsiteY18" fmla="*/ 37624 h 618362"/>
                <a:gd name="connsiteX19" fmla="*/ 232124 w 402145"/>
                <a:gd name="connsiteY19" fmla="*/ 116776 h 618362"/>
                <a:gd name="connsiteX20" fmla="*/ 155638 w 402145"/>
                <a:gd name="connsiteY20" fmla="*/ 116776 h 618362"/>
                <a:gd name="connsiteX21" fmla="*/ 230124 w 402145"/>
                <a:gd name="connsiteY21" fmla="*/ 95 h 618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2145" h="618362">
                  <a:moveTo>
                    <a:pt x="199834" y="618363"/>
                  </a:moveTo>
                  <a:cubicBezTo>
                    <a:pt x="137827" y="618363"/>
                    <a:pt x="89059" y="601218"/>
                    <a:pt x="53435" y="566928"/>
                  </a:cubicBezTo>
                  <a:cubicBezTo>
                    <a:pt x="17812" y="532638"/>
                    <a:pt x="0" y="481489"/>
                    <a:pt x="0" y="413290"/>
                  </a:cubicBezTo>
                  <a:lnTo>
                    <a:pt x="0" y="149542"/>
                  </a:lnTo>
                  <a:lnTo>
                    <a:pt x="101536" y="149542"/>
                  </a:lnTo>
                  <a:lnTo>
                    <a:pt x="101536" y="410623"/>
                  </a:lnTo>
                  <a:cubicBezTo>
                    <a:pt x="101536" y="448437"/>
                    <a:pt x="110299" y="476917"/>
                    <a:pt x="127921" y="495967"/>
                  </a:cubicBezTo>
                  <a:cubicBezTo>
                    <a:pt x="145447" y="515112"/>
                    <a:pt x="169926" y="524637"/>
                    <a:pt x="201073" y="524637"/>
                  </a:cubicBezTo>
                  <a:cubicBezTo>
                    <a:pt x="232219" y="524637"/>
                    <a:pt x="256699" y="515398"/>
                    <a:pt x="274225" y="496919"/>
                  </a:cubicBezTo>
                  <a:cubicBezTo>
                    <a:pt x="291751" y="478441"/>
                    <a:pt x="300609" y="450818"/>
                    <a:pt x="300609" y="413861"/>
                  </a:cubicBezTo>
                  <a:lnTo>
                    <a:pt x="300609" y="149447"/>
                  </a:lnTo>
                  <a:lnTo>
                    <a:pt x="402146" y="149447"/>
                  </a:lnTo>
                  <a:lnTo>
                    <a:pt x="402146" y="409861"/>
                  </a:lnTo>
                  <a:cubicBezTo>
                    <a:pt x="402146" y="445008"/>
                    <a:pt x="397383" y="475583"/>
                    <a:pt x="387953" y="501491"/>
                  </a:cubicBezTo>
                  <a:cubicBezTo>
                    <a:pt x="378523" y="527399"/>
                    <a:pt x="364998" y="549116"/>
                    <a:pt x="347377" y="566452"/>
                  </a:cubicBezTo>
                  <a:cubicBezTo>
                    <a:pt x="329755" y="583787"/>
                    <a:pt x="308515" y="596741"/>
                    <a:pt x="283464" y="605314"/>
                  </a:cubicBezTo>
                  <a:cubicBezTo>
                    <a:pt x="258413" y="613886"/>
                    <a:pt x="230505" y="618172"/>
                    <a:pt x="199739" y="618172"/>
                  </a:cubicBezTo>
                  <a:close/>
                  <a:moveTo>
                    <a:pt x="230124" y="0"/>
                  </a:moveTo>
                  <a:lnTo>
                    <a:pt x="316516" y="37624"/>
                  </a:lnTo>
                  <a:lnTo>
                    <a:pt x="232124" y="116776"/>
                  </a:lnTo>
                  <a:lnTo>
                    <a:pt x="155638" y="116776"/>
                  </a:lnTo>
                  <a:lnTo>
                    <a:pt x="230124" y="95"/>
                  </a:lnTo>
                  <a:close/>
                </a:path>
              </a:pathLst>
            </a:custGeom>
            <a:solidFill>
              <a:srgbClr val="43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Freeform: Shape 61">
              <a:extLst>
                <a:ext uri="{FF2B5EF4-FFF2-40B4-BE49-F238E27FC236}">
                  <a16:creationId xmlns:a16="http://schemas.microsoft.com/office/drawing/2014/main" id="{0087EB24-97AE-B724-C389-1BE38D5B0843}"/>
                </a:ext>
              </a:extLst>
            </p:cNvPr>
            <p:cNvSpPr/>
            <p:nvPr/>
          </p:nvSpPr>
          <p:spPr>
            <a:xfrm>
              <a:off x="2252154" y="3658203"/>
              <a:ext cx="425291" cy="461486"/>
            </a:xfrm>
            <a:custGeom>
              <a:avLst/>
              <a:gdLst>
                <a:gd name="connsiteX0" fmla="*/ 0 w 425291"/>
                <a:gd name="connsiteY0" fmla="*/ 0 h 461486"/>
                <a:gd name="connsiteX1" fmla="*/ 180022 w 425291"/>
                <a:gd name="connsiteY1" fmla="*/ 0 h 461486"/>
                <a:gd name="connsiteX2" fmla="*/ 279273 w 425291"/>
                <a:gd name="connsiteY2" fmla="*/ 17431 h 461486"/>
                <a:gd name="connsiteX3" fmla="*/ 357092 w 425291"/>
                <a:gd name="connsiteY3" fmla="*/ 65913 h 461486"/>
                <a:gd name="connsiteX4" fmla="*/ 407480 w 425291"/>
                <a:gd name="connsiteY4" fmla="*/ 138779 h 461486"/>
                <a:gd name="connsiteX5" fmla="*/ 425291 w 425291"/>
                <a:gd name="connsiteY5" fmla="*/ 229457 h 461486"/>
                <a:gd name="connsiteX6" fmla="*/ 425291 w 425291"/>
                <a:gd name="connsiteY6" fmla="*/ 230791 h 461486"/>
                <a:gd name="connsiteX7" fmla="*/ 407480 w 425291"/>
                <a:gd name="connsiteY7" fmla="*/ 321755 h 461486"/>
                <a:gd name="connsiteX8" fmla="*/ 357092 w 425291"/>
                <a:gd name="connsiteY8" fmla="*/ 394907 h 461486"/>
                <a:gd name="connsiteX9" fmla="*/ 279273 w 425291"/>
                <a:gd name="connsiteY9" fmla="*/ 443675 h 461486"/>
                <a:gd name="connsiteX10" fmla="*/ 180022 w 425291"/>
                <a:gd name="connsiteY10" fmla="*/ 461486 h 461486"/>
                <a:gd name="connsiteX11" fmla="*/ 0 w 425291"/>
                <a:gd name="connsiteY11" fmla="*/ 461486 h 461486"/>
                <a:gd name="connsiteX12" fmla="*/ 0 w 425291"/>
                <a:gd name="connsiteY12" fmla="*/ 0 h 461486"/>
                <a:gd name="connsiteX13" fmla="*/ 180022 w 425291"/>
                <a:gd name="connsiteY13" fmla="*/ 369856 h 461486"/>
                <a:gd name="connsiteX14" fmla="*/ 236696 w 425291"/>
                <a:gd name="connsiteY14" fmla="*/ 359950 h 461486"/>
                <a:gd name="connsiteX15" fmla="*/ 280511 w 425291"/>
                <a:gd name="connsiteY15" fmla="*/ 331565 h 461486"/>
                <a:gd name="connsiteX16" fmla="*/ 308896 w 425291"/>
                <a:gd name="connsiteY16" fmla="*/ 288036 h 461486"/>
                <a:gd name="connsiteX17" fmla="*/ 319088 w 425291"/>
                <a:gd name="connsiteY17" fmla="*/ 232029 h 461486"/>
                <a:gd name="connsiteX18" fmla="*/ 319088 w 425291"/>
                <a:gd name="connsiteY18" fmla="*/ 230696 h 461486"/>
                <a:gd name="connsiteX19" fmla="*/ 308896 w 425291"/>
                <a:gd name="connsiteY19" fmla="*/ 174689 h 461486"/>
                <a:gd name="connsiteX20" fmla="*/ 280511 w 425291"/>
                <a:gd name="connsiteY20" fmla="*/ 130492 h 461486"/>
                <a:gd name="connsiteX21" fmla="*/ 236696 w 425291"/>
                <a:gd name="connsiteY21" fmla="*/ 101822 h 461486"/>
                <a:gd name="connsiteX22" fmla="*/ 180022 w 425291"/>
                <a:gd name="connsiteY22" fmla="*/ 91631 h 461486"/>
                <a:gd name="connsiteX23" fmla="*/ 101537 w 425291"/>
                <a:gd name="connsiteY23" fmla="*/ 91631 h 461486"/>
                <a:gd name="connsiteX24" fmla="*/ 101537 w 425291"/>
                <a:gd name="connsiteY24" fmla="*/ 369856 h 461486"/>
                <a:gd name="connsiteX25" fmla="*/ 180022 w 425291"/>
                <a:gd name="connsiteY25" fmla="*/ 369856 h 461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25291" h="461486">
                  <a:moveTo>
                    <a:pt x="0" y="0"/>
                  </a:moveTo>
                  <a:lnTo>
                    <a:pt x="180022" y="0"/>
                  </a:lnTo>
                  <a:cubicBezTo>
                    <a:pt x="216027" y="0"/>
                    <a:pt x="249174" y="5810"/>
                    <a:pt x="279273" y="17431"/>
                  </a:cubicBezTo>
                  <a:cubicBezTo>
                    <a:pt x="309372" y="29051"/>
                    <a:pt x="335280" y="45244"/>
                    <a:pt x="357092" y="65913"/>
                  </a:cubicBezTo>
                  <a:cubicBezTo>
                    <a:pt x="378905" y="86582"/>
                    <a:pt x="395669" y="110871"/>
                    <a:pt x="407480" y="138779"/>
                  </a:cubicBezTo>
                  <a:cubicBezTo>
                    <a:pt x="419386" y="166688"/>
                    <a:pt x="425291" y="196882"/>
                    <a:pt x="425291" y="229457"/>
                  </a:cubicBezTo>
                  <a:lnTo>
                    <a:pt x="425291" y="230791"/>
                  </a:lnTo>
                  <a:cubicBezTo>
                    <a:pt x="425291" y="263366"/>
                    <a:pt x="419386" y="293656"/>
                    <a:pt x="407480" y="321755"/>
                  </a:cubicBezTo>
                  <a:cubicBezTo>
                    <a:pt x="395573" y="349853"/>
                    <a:pt x="378809" y="374237"/>
                    <a:pt x="357092" y="394907"/>
                  </a:cubicBezTo>
                  <a:cubicBezTo>
                    <a:pt x="335375" y="415576"/>
                    <a:pt x="309372" y="431864"/>
                    <a:pt x="279273" y="443675"/>
                  </a:cubicBezTo>
                  <a:cubicBezTo>
                    <a:pt x="249174" y="455581"/>
                    <a:pt x="216122" y="461486"/>
                    <a:pt x="180022" y="461486"/>
                  </a:cubicBezTo>
                  <a:lnTo>
                    <a:pt x="0" y="461486"/>
                  </a:lnTo>
                  <a:lnTo>
                    <a:pt x="0" y="0"/>
                  </a:lnTo>
                  <a:close/>
                  <a:moveTo>
                    <a:pt x="180022" y="369856"/>
                  </a:moveTo>
                  <a:cubicBezTo>
                    <a:pt x="200692" y="369856"/>
                    <a:pt x="219551" y="366522"/>
                    <a:pt x="236696" y="359950"/>
                  </a:cubicBezTo>
                  <a:cubicBezTo>
                    <a:pt x="253841" y="353378"/>
                    <a:pt x="268415" y="343948"/>
                    <a:pt x="280511" y="331565"/>
                  </a:cubicBezTo>
                  <a:cubicBezTo>
                    <a:pt x="292608" y="319278"/>
                    <a:pt x="302038" y="304800"/>
                    <a:pt x="308896" y="288036"/>
                  </a:cubicBezTo>
                  <a:cubicBezTo>
                    <a:pt x="315659" y="271367"/>
                    <a:pt x="319088" y="252698"/>
                    <a:pt x="319088" y="232029"/>
                  </a:cubicBezTo>
                  <a:lnTo>
                    <a:pt x="319088" y="230696"/>
                  </a:lnTo>
                  <a:cubicBezTo>
                    <a:pt x="319088" y="210503"/>
                    <a:pt x="315659" y="191834"/>
                    <a:pt x="308896" y="174689"/>
                  </a:cubicBezTo>
                  <a:cubicBezTo>
                    <a:pt x="302038" y="157544"/>
                    <a:pt x="292608" y="142780"/>
                    <a:pt x="280511" y="130492"/>
                  </a:cubicBezTo>
                  <a:cubicBezTo>
                    <a:pt x="268415" y="118205"/>
                    <a:pt x="253841" y="108680"/>
                    <a:pt x="236696" y="101822"/>
                  </a:cubicBezTo>
                  <a:cubicBezTo>
                    <a:pt x="219551" y="95060"/>
                    <a:pt x="200692" y="91631"/>
                    <a:pt x="180022" y="91631"/>
                  </a:cubicBezTo>
                  <a:lnTo>
                    <a:pt x="101537" y="91631"/>
                  </a:lnTo>
                  <a:lnTo>
                    <a:pt x="101537" y="369856"/>
                  </a:lnTo>
                  <a:lnTo>
                    <a:pt x="180022" y="369856"/>
                  </a:lnTo>
                  <a:close/>
                </a:path>
              </a:pathLst>
            </a:custGeom>
            <a:solidFill>
              <a:srgbClr val="43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Shape 62">
              <a:extLst>
                <a:ext uri="{FF2B5EF4-FFF2-40B4-BE49-F238E27FC236}">
                  <a16:creationId xmlns:a16="http://schemas.microsoft.com/office/drawing/2014/main" id="{B49DF0E8-69C2-D5BA-B27A-9DD77683CB29}"/>
                </a:ext>
              </a:extLst>
            </p:cNvPr>
            <p:cNvSpPr/>
            <p:nvPr/>
          </p:nvSpPr>
          <p:spPr>
            <a:xfrm>
              <a:off x="2717545" y="3658108"/>
              <a:ext cx="350710" cy="461486"/>
            </a:xfrm>
            <a:custGeom>
              <a:avLst/>
              <a:gdLst>
                <a:gd name="connsiteX0" fmla="*/ 0 w 350710"/>
                <a:gd name="connsiteY0" fmla="*/ 95 h 461486"/>
                <a:gd name="connsiteX1" fmla="*/ 347472 w 350710"/>
                <a:gd name="connsiteY1" fmla="*/ 95 h 461486"/>
                <a:gd name="connsiteX2" fmla="*/ 347472 w 350710"/>
                <a:gd name="connsiteY2" fmla="*/ 90392 h 461486"/>
                <a:gd name="connsiteX3" fmla="*/ 100203 w 350710"/>
                <a:gd name="connsiteY3" fmla="*/ 90392 h 461486"/>
                <a:gd name="connsiteX4" fmla="*/ 100203 w 350710"/>
                <a:gd name="connsiteY4" fmla="*/ 184023 h 461486"/>
                <a:gd name="connsiteX5" fmla="*/ 317754 w 350710"/>
                <a:gd name="connsiteY5" fmla="*/ 184023 h 461486"/>
                <a:gd name="connsiteX6" fmla="*/ 317754 w 350710"/>
                <a:gd name="connsiteY6" fmla="*/ 274320 h 461486"/>
                <a:gd name="connsiteX7" fmla="*/ 100203 w 350710"/>
                <a:gd name="connsiteY7" fmla="*/ 274320 h 461486"/>
                <a:gd name="connsiteX8" fmla="*/ 100203 w 350710"/>
                <a:gd name="connsiteY8" fmla="*/ 371189 h 461486"/>
                <a:gd name="connsiteX9" fmla="*/ 350711 w 350710"/>
                <a:gd name="connsiteY9" fmla="*/ 371189 h 461486"/>
                <a:gd name="connsiteX10" fmla="*/ 350711 w 350710"/>
                <a:gd name="connsiteY10" fmla="*/ 461486 h 461486"/>
                <a:gd name="connsiteX11" fmla="*/ 0 w 350710"/>
                <a:gd name="connsiteY11" fmla="*/ 461486 h 461486"/>
                <a:gd name="connsiteX12" fmla="*/ 0 w 350710"/>
                <a:gd name="connsiteY12" fmla="*/ 0 h 461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0710" h="461486">
                  <a:moveTo>
                    <a:pt x="0" y="95"/>
                  </a:moveTo>
                  <a:lnTo>
                    <a:pt x="347472" y="95"/>
                  </a:lnTo>
                  <a:lnTo>
                    <a:pt x="347472" y="90392"/>
                  </a:lnTo>
                  <a:lnTo>
                    <a:pt x="100203" y="90392"/>
                  </a:lnTo>
                  <a:lnTo>
                    <a:pt x="100203" y="184023"/>
                  </a:lnTo>
                  <a:lnTo>
                    <a:pt x="317754" y="184023"/>
                  </a:lnTo>
                  <a:lnTo>
                    <a:pt x="317754" y="274320"/>
                  </a:lnTo>
                  <a:lnTo>
                    <a:pt x="100203" y="274320"/>
                  </a:lnTo>
                  <a:lnTo>
                    <a:pt x="100203" y="371189"/>
                  </a:lnTo>
                  <a:lnTo>
                    <a:pt x="350711" y="371189"/>
                  </a:lnTo>
                  <a:lnTo>
                    <a:pt x="350711" y="461486"/>
                  </a:lnTo>
                  <a:lnTo>
                    <a:pt x="0" y="461486"/>
                  </a:lnTo>
                  <a:lnTo>
                    <a:pt x="0" y="0"/>
                  </a:lnTo>
                  <a:close/>
                </a:path>
              </a:pathLst>
            </a:custGeom>
            <a:solidFill>
              <a:srgbClr val="43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Freeform: Shape 63">
              <a:extLst>
                <a:ext uri="{FF2B5EF4-FFF2-40B4-BE49-F238E27FC236}">
                  <a16:creationId xmlns:a16="http://schemas.microsoft.com/office/drawing/2014/main" id="{F508CC40-4024-0B4D-2413-EEFD7A30F224}"/>
                </a:ext>
              </a:extLst>
            </p:cNvPr>
            <p:cNvSpPr/>
            <p:nvPr/>
          </p:nvSpPr>
          <p:spPr>
            <a:xfrm>
              <a:off x="942181" y="4227226"/>
              <a:ext cx="133540" cy="144017"/>
            </a:xfrm>
            <a:custGeom>
              <a:avLst/>
              <a:gdLst>
                <a:gd name="connsiteX0" fmla="*/ 70866 w 133540"/>
                <a:gd name="connsiteY0" fmla="*/ 144018 h 144017"/>
                <a:gd name="connsiteX1" fmla="*/ 43053 w 133540"/>
                <a:gd name="connsiteY1" fmla="*/ 138779 h 144017"/>
                <a:gd name="connsiteX2" fmla="*/ 20574 w 133540"/>
                <a:gd name="connsiteY2" fmla="*/ 124111 h 144017"/>
                <a:gd name="connsiteX3" fmla="*/ 5525 w 133540"/>
                <a:gd name="connsiteY3" fmla="*/ 101537 h 144017"/>
                <a:gd name="connsiteX4" fmla="*/ 0 w 133540"/>
                <a:gd name="connsiteY4" fmla="*/ 72390 h 144017"/>
                <a:gd name="connsiteX5" fmla="*/ 0 w 133540"/>
                <a:gd name="connsiteY5" fmla="*/ 71914 h 144017"/>
                <a:gd name="connsiteX6" fmla="*/ 4953 w 133540"/>
                <a:gd name="connsiteY6" fmla="*/ 43910 h 144017"/>
                <a:gd name="connsiteX7" fmla="*/ 18955 w 133540"/>
                <a:gd name="connsiteY7" fmla="*/ 21050 h 144017"/>
                <a:gd name="connsiteX8" fmla="*/ 40291 w 133540"/>
                <a:gd name="connsiteY8" fmla="*/ 5620 h 144017"/>
                <a:gd name="connsiteX9" fmla="*/ 67437 w 133540"/>
                <a:gd name="connsiteY9" fmla="*/ 0 h 144017"/>
                <a:gd name="connsiteX10" fmla="*/ 96298 w 133540"/>
                <a:gd name="connsiteY10" fmla="*/ 6001 h 144017"/>
                <a:gd name="connsiteX11" fmla="*/ 116967 w 133540"/>
                <a:gd name="connsiteY11" fmla="*/ 22193 h 144017"/>
                <a:gd name="connsiteX12" fmla="*/ 129350 w 133540"/>
                <a:gd name="connsiteY12" fmla="*/ 45815 h 144017"/>
                <a:gd name="connsiteX13" fmla="*/ 133541 w 133540"/>
                <a:gd name="connsiteY13" fmla="*/ 74200 h 144017"/>
                <a:gd name="connsiteX14" fmla="*/ 133445 w 133540"/>
                <a:gd name="connsiteY14" fmla="*/ 78486 h 144017"/>
                <a:gd name="connsiteX15" fmla="*/ 133064 w 133540"/>
                <a:gd name="connsiteY15" fmla="*/ 83058 h 144017"/>
                <a:gd name="connsiteX16" fmla="*/ 31623 w 133540"/>
                <a:gd name="connsiteY16" fmla="*/ 83058 h 144017"/>
                <a:gd name="connsiteX17" fmla="*/ 45053 w 133540"/>
                <a:gd name="connsiteY17" fmla="*/ 109061 h 144017"/>
                <a:gd name="connsiteX18" fmla="*/ 71342 w 133540"/>
                <a:gd name="connsiteY18" fmla="*/ 118110 h 144017"/>
                <a:gd name="connsiteX19" fmla="*/ 91726 w 133540"/>
                <a:gd name="connsiteY19" fmla="*/ 113919 h 144017"/>
                <a:gd name="connsiteX20" fmla="*/ 108680 w 133540"/>
                <a:gd name="connsiteY20" fmla="*/ 101632 h 144017"/>
                <a:gd name="connsiteX21" fmla="*/ 127254 w 133540"/>
                <a:gd name="connsiteY21" fmla="*/ 118110 h 144017"/>
                <a:gd name="connsiteX22" fmla="*/ 103632 w 133540"/>
                <a:gd name="connsiteY22" fmla="*/ 136970 h 144017"/>
                <a:gd name="connsiteX23" fmla="*/ 70866 w 133540"/>
                <a:gd name="connsiteY23" fmla="*/ 144018 h 144017"/>
                <a:gd name="connsiteX24" fmla="*/ 102203 w 133540"/>
                <a:gd name="connsiteY24" fmla="*/ 62198 h 144017"/>
                <a:gd name="connsiteX25" fmla="*/ 98774 w 133540"/>
                <a:gd name="connsiteY25" fmla="*/ 47911 h 144017"/>
                <a:gd name="connsiteX26" fmla="*/ 91726 w 133540"/>
                <a:gd name="connsiteY26" fmla="*/ 36385 h 144017"/>
                <a:gd name="connsiteX27" fmla="*/ 81153 w 133540"/>
                <a:gd name="connsiteY27" fmla="*/ 28670 h 144017"/>
                <a:gd name="connsiteX28" fmla="*/ 67151 w 133540"/>
                <a:gd name="connsiteY28" fmla="*/ 25813 h 144017"/>
                <a:gd name="connsiteX29" fmla="*/ 42958 w 133540"/>
                <a:gd name="connsiteY29" fmla="*/ 35909 h 144017"/>
                <a:gd name="connsiteX30" fmla="*/ 31337 w 133540"/>
                <a:gd name="connsiteY30" fmla="*/ 62198 h 144017"/>
                <a:gd name="connsiteX31" fmla="*/ 102108 w 133540"/>
                <a:gd name="connsiteY31" fmla="*/ 62198 h 144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3540" h="144017">
                  <a:moveTo>
                    <a:pt x="70866" y="144018"/>
                  </a:moveTo>
                  <a:cubicBezTo>
                    <a:pt x="60960" y="144018"/>
                    <a:pt x="51626" y="142304"/>
                    <a:pt x="43053" y="138779"/>
                  </a:cubicBezTo>
                  <a:cubicBezTo>
                    <a:pt x="34385" y="135255"/>
                    <a:pt x="26956" y="130397"/>
                    <a:pt x="20574" y="124111"/>
                  </a:cubicBezTo>
                  <a:cubicBezTo>
                    <a:pt x="14192" y="117824"/>
                    <a:pt x="9239" y="110300"/>
                    <a:pt x="5525" y="101537"/>
                  </a:cubicBezTo>
                  <a:cubicBezTo>
                    <a:pt x="1905" y="92774"/>
                    <a:pt x="0" y="83058"/>
                    <a:pt x="0" y="72390"/>
                  </a:cubicBezTo>
                  <a:lnTo>
                    <a:pt x="0" y="71914"/>
                  </a:lnTo>
                  <a:cubicBezTo>
                    <a:pt x="0" y="62008"/>
                    <a:pt x="1619" y="52673"/>
                    <a:pt x="4953" y="43910"/>
                  </a:cubicBezTo>
                  <a:cubicBezTo>
                    <a:pt x="8287" y="35242"/>
                    <a:pt x="12954" y="27622"/>
                    <a:pt x="18955" y="21050"/>
                  </a:cubicBezTo>
                  <a:cubicBezTo>
                    <a:pt x="24955" y="14478"/>
                    <a:pt x="32099" y="9430"/>
                    <a:pt x="40291" y="5620"/>
                  </a:cubicBezTo>
                  <a:cubicBezTo>
                    <a:pt x="48482" y="1905"/>
                    <a:pt x="57531" y="0"/>
                    <a:pt x="67437" y="0"/>
                  </a:cubicBezTo>
                  <a:cubicBezTo>
                    <a:pt x="78391" y="0"/>
                    <a:pt x="88011" y="2000"/>
                    <a:pt x="96298" y="6001"/>
                  </a:cubicBezTo>
                  <a:cubicBezTo>
                    <a:pt x="104584" y="10001"/>
                    <a:pt x="111443" y="15430"/>
                    <a:pt x="116967" y="22193"/>
                  </a:cubicBezTo>
                  <a:cubicBezTo>
                    <a:pt x="122492" y="28956"/>
                    <a:pt x="126587" y="36862"/>
                    <a:pt x="129350" y="45815"/>
                  </a:cubicBezTo>
                  <a:cubicBezTo>
                    <a:pt x="132112" y="54769"/>
                    <a:pt x="133541" y="64199"/>
                    <a:pt x="133541" y="74200"/>
                  </a:cubicBezTo>
                  <a:cubicBezTo>
                    <a:pt x="133541" y="75629"/>
                    <a:pt x="133541" y="77057"/>
                    <a:pt x="133445" y="78486"/>
                  </a:cubicBezTo>
                  <a:cubicBezTo>
                    <a:pt x="133445" y="80010"/>
                    <a:pt x="133255" y="81534"/>
                    <a:pt x="133064" y="83058"/>
                  </a:cubicBezTo>
                  <a:lnTo>
                    <a:pt x="31623" y="83058"/>
                  </a:lnTo>
                  <a:cubicBezTo>
                    <a:pt x="33338" y="94393"/>
                    <a:pt x="37814" y="103060"/>
                    <a:pt x="45053" y="109061"/>
                  </a:cubicBezTo>
                  <a:cubicBezTo>
                    <a:pt x="52292" y="115062"/>
                    <a:pt x="61055" y="118110"/>
                    <a:pt x="71342" y="118110"/>
                  </a:cubicBezTo>
                  <a:cubicBezTo>
                    <a:pt x="79153" y="118110"/>
                    <a:pt x="86011" y="116681"/>
                    <a:pt x="91726" y="113919"/>
                  </a:cubicBezTo>
                  <a:cubicBezTo>
                    <a:pt x="97441" y="111157"/>
                    <a:pt x="103156" y="107061"/>
                    <a:pt x="108680" y="101632"/>
                  </a:cubicBezTo>
                  <a:lnTo>
                    <a:pt x="127254" y="118110"/>
                  </a:lnTo>
                  <a:cubicBezTo>
                    <a:pt x="120587" y="125921"/>
                    <a:pt x="112776" y="132207"/>
                    <a:pt x="103632" y="136970"/>
                  </a:cubicBezTo>
                  <a:cubicBezTo>
                    <a:pt x="94488" y="141637"/>
                    <a:pt x="83534" y="144018"/>
                    <a:pt x="70866" y="144018"/>
                  </a:cubicBezTo>
                  <a:close/>
                  <a:moveTo>
                    <a:pt x="102203" y="62198"/>
                  </a:moveTo>
                  <a:cubicBezTo>
                    <a:pt x="101727" y="57150"/>
                    <a:pt x="100584" y="52388"/>
                    <a:pt x="98774" y="47911"/>
                  </a:cubicBezTo>
                  <a:cubicBezTo>
                    <a:pt x="97060" y="43434"/>
                    <a:pt x="94678" y="39624"/>
                    <a:pt x="91726" y="36385"/>
                  </a:cubicBezTo>
                  <a:cubicBezTo>
                    <a:pt x="88773" y="33147"/>
                    <a:pt x="85249" y="30575"/>
                    <a:pt x="81153" y="28670"/>
                  </a:cubicBezTo>
                  <a:cubicBezTo>
                    <a:pt x="77057" y="26765"/>
                    <a:pt x="72390" y="25813"/>
                    <a:pt x="67151" y="25813"/>
                  </a:cubicBezTo>
                  <a:cubicBezTo>
                    <a:pt x="57436" y="25813"/>
                    <a:pt x="49340" y="29146"/>
                    <a:pt x="42958" y="35909"/>
                  </a:cubicBezTo>
                  <a:cubicBezTo>
                    <a:pt x="36576" y="42577"/>
                    <a:pt x="32766" y="51340"/>
                    <a:pt x="31337" y="62198"/>
                  </a:cubicBezTo>
                  <a:lnTo>
                    <a:pt x="102108" y="62198"/>
                  </a:lnTo>
                  <a:close/>
                </a:path>
              </a:pathLst>
            </a:custGeom>
            <a:solidFill>
              <a:srgbClr val="43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Freeform: Shape 64">
              <a:extLst>
                <a:ext uri="{FF2B5EF4-FFF2-40B4-BE49-F238E27FC236}">
                  <a16:creationId xmlns:a16="http://schemas.microsoft.com/office/drawing/2014/main" id="{43EBAD35-BCD1-86A8-12A7-BFBBE92BE4D4}"/>
                </a:ext>
              </a:extLst>
            </p:cNvPr>
            <p:cNvSpPr/>
            <p:nvPr/>
          </p:nvSpPr>
          <p:spPr>
            <a:xfrm>
              <a:off x="1107630" y="4227226"/>
              <a:ext cx="210121" cy="140970"/>
            </a:xfrm>
            <a:custGeom>
              <a:avLst/>
              <a:gdLst>
                <a:gd name="connsiteX0" fmla="*/ 0 w 210121"/>
                <a:gd name="connsiteY0" fmla="*/ 2858 h 140970"/>
                <a:gd name="connsiteX1" fmla="*/ 31909 w 210121"/>
                <a:gd name="connsiteY1" fmla="*/ 2858 h 140970"/>
                <a:gd name="connsiteX2" fmla="*/ 31909 w 210121"/>
                <a:gd name="connsiteY2" fmla="*/ 24003 h 140970"/>
                <a:gd name="connsiteX3" fmla="*/ 39243 w 210121"/>
                <a:gd name="connsiteY3" fmla="*/ 15050 h 140970"/>
                <a:gd name="connsiteX4" fmla="*/ 48196 w 210121"/>
                <a:gd name="connsiteY4" fmla="*/ 7429 h 140970"/>
                <a:gd name="connsiteX5" fmla="*/ 59626 w 210121"/>
                <a:gd name="connsiteY5" fmla="*/ 2000 h 140970"/>
                <a:gd name="connsiteX6" fmla="*/ 73819 w 210121"/>
                <a:gd name="connsiteY6" fmla="*/ 0 h 140970"/>
                <a:gd name="connsiteX7" fmla="*/ 98965 w 210121"/>
                <a:gd name="connsiteY7" fmla="*/ 6763 h 140970"/>
                <a:gd name="connsiteX8" fmla="*/ 114681 w 210121"/>
                <a:gd name="connsiteY8" fmla="*/ 24575 h 140970"/>
                <a:gd name="connsiteX9" fmla="*/ 134493 w 210121"/>
                <a:gd name="connsiteY9" fmla="*/ 6763 h 140970"/>
                <a:gd name="connsiteX10" fmla="*/ 161639 w 210121"/>
                <a:gd name="connsiteY10" fmla="*/ 0 h 140970"/>
                <a:gd name="connsiteX11" fmla="*/ 197263 w 210121"/>
                <a:gd name="connsiteY11" fmla="*/ 13716 h 140970"/>
                <a:gd name="connsiteX12" fmla="*/ 210122 w 210121"/>
                <a:gd name="connsiteY12" fmla="*/ 52768 h 140970"/>
                <a:gd name="connsiteX13" fmla="*/ 210122 w 210121"/>
                <a:gd name="connsiteY13" fmla="*/ 140875 h 140970"/>
                <a:gd name="connsiteX14" fmla="*/ 178213 w 210121"/>
                <a:gd name="connsiteY14" fmla="*/ 140875 h 140970"/>
                <a:gd name="connsiteX15" fmla="*/ 178213 w 210121"/>
                <a:gd name="connsiteY15" fmla="*/ 62675 h 140970"/>
                <a:gd name="connsiteX16" fmla="*/ 170974 w 210121"/>
                <a:gd name="connsiteY16" fmla="*/ 37624 h 140970"/>
                <a:gd name="connsiteX17" fmla="*/ 150400 w 210121"/>
                <a:gd name="connsiteY17" fmla="*/ 29051 h 140970"/>
                <a:gd name="connsiteX18" fmla="*/ 129254 w 210121"/>
                <a:gd name="connsiteY18" fmla="*/ 37814 h 140970"/>
                <a:gd name="connsiteX19" fmla="*/ 121063 w 210121"/>
                <a:gd name="connsiteY19" fmla="*/ 63246 h 140970"/>
                <a:gd name="connsiteX20" fmla="*/ 121063 w 210121"/>
                <a:gd name="connsiteY20" fmla="*/ 140970 h 140970"/>
                <a:gd name="connsiteX21" fmla="*/ 89154 w 210121"/>
                <a:gd name="connsiteY21" fmla="*/ 140970 h 140970"/>
                <a:gd name="connsiteX22" fmla="*/ 89154 w 210121"/>
                <a:gd name="connsiteY22" fmla="*/ 62484 h 140970"/>
                <a:gd name="connsiteX23" fmla="*/ 81915 w 210121"/>
                <a:gd name="connsiteY23" fmla="*/ 37719 h 140970"/>
                <a:gd name="connsiteX24" fmla="*/ 61341 w 210121"/>
                <a:gd name="connsiteY24" fmla="*/ 29146 h 140970"/>
                <a:gd name="connsiteX25" fmla="*/ 40005 w 210121"/>
                <a:gd name="connsiteY25" fmla="*/ 38291 h 140970"/>
                <a:gd name="connsiteX26" fmla="*/ 31909 w 210121"/>
                <a:gd name="connsiteY26" fmla="*/ 63532 h 140970"/>
                <a:gd name="connsiteX27" fmla="*/ 31909 w 210121"/>
                <a:gd name="connsiteY27" fmla="*/ 140970 h 140970"/>
                <a:gd name="connsiteX28" fmla="*/ 0 w 210121"/>
                <a:gd name="connsiteY28" fmla="*/ 140970 h 140970"/>
                <a:gd name="connsiteX29" fmla="*/ 0 w 210121"/>
                <a:gd name="connsiteY29" fmla="*/ 3048 h 140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0121" h="140970">
                  <a:moveTo>
                    <a:pt x="0" y="2858"/>
                  </a:moveTo>
                  <a:lnTo>
                    <a:pt x="31909" y="2858"/>
                  </a:lnTo>
                  <a:lnTo>
                    <a:pt x="31909" y="24003"/>
                  </a:lnTo>
                  <a:cubicBezTo>
                    <a:pt x="34195" y="20860"/>
                    <a:pt x="36576" y="17812"/>
                    <a:pt x="39243" y="15050"/>
                  </a:cubicBezTo>
                  <a:cubicBezTo>
                    <a:pt x="41815" y="12287"/>
                    <a:pt x="44863" y="9716"/>
                    <a:pt x="48196" y="7429"/>
                  </a:cubicBezTo>
                  <a:cubicBezTo>
                    <a:pt x="51626" y="5143"/>
                    <a:pt x="55435" y="3334"/>
                    <a:pt x="59626" y="2000"/>
                  </a:cubicBezTo>
                  <a:cubicBezTo>
                    <a:pt x="63913" y="667"/>
                    <a:pt x="68580" y="0"/>
                    <a:pt x="73819" y="0"/>
                  </a:cubicBezTo>
                  <a:cubicBezTo>
                    <a:pt x="83725" y="0"/>
                    <a:pt x="92107" y="2286"/>
                    <a:pt x="98965" y="6763"/>
                  </a:cubicBezTo>
                  <a:cubicBezTo>
                    <a:pt x="105823" y="11239"/>
                    <a:pt x="111062" y="17145"/>
                    <a:pt x="114681" y="24575"/>
                  </a:cubicBezTo>
                  <a:cubicBezTo>
                    <a:pt x="120301" y="17240"/>
                    <a:pt x="126873" y="11239"/>
                    <a:pt x="134493" y="6763"/>
                  </a:cubicBezTo>
                  <a:cubicBezTo>
                    <a:pt x="142113" y="2286"/>
                    <a:pt x="151162" y="0"/>
                    <a:pt x="161639" y="0"/>
                  </a:cubicBezTo>
                  <a:cubicBezTo>
                    <a:pt x="176879" y="0"/>
                    <a:pt x="188690" y="4572"/>
                    <a:pt x="197263" y="13716"/>
                  </a:cubicBezTo>
                  <a:cubicBezTo>
                    <a:pt x="205835" y="22860"/>
                    <a:pt x="210122" y="35909"/>
                    <a:pt x="210122" y="52768"/>
                  </a:cubicBezTo>
                  <a:lnTo>
                    <a:pt x="210122" y="140875"/>
                  </a:lnTo>
                  <a:lnTo>
                    <a:pt x="178213" y="140875"/>
                  </a:lnTo>
                  <a:lnTo>
                    <a:pt x="178213" y="62675"/>
                  </a:lnTo>
                  <a:cubicBezTo>
                    <a:pt x="178213" y="51721"/>
                    <a:pt x="175832" y="43339"/>
                    <a:pt x="170974" y="37624"/>
                  </a:cubicBezTo>
                  <a:cubicBezTo>
                    <a:pt x="166116" y="31909"/>
                    <a:pt x="159258" y="29051"/>
                    <a:pt x="150400" y="29051"/>
                  </a:cubicBezTo>
                  <a:cubicBezTo>
                    <a:pt x="141541" y="29051"/>
                    <a:pt x="134683" y="32004"/>
                    <a:pt x="129254" y="37814"/>
                  </a:cubicBezTo>
                  <a:cubicBezTo>
                    <a:pt x="123825" y="43625"/>
                    <a:pt x="121063" y="52102"/>
                    <a:pt x="121063" y="63246"/>
                  </a:cubicBezTo>
                  <a:lnTo>
                    <a:pt x="121063" y="140970"/>
                  </a:lnTo>
                  <a:lnTo>
                    <a:pt x="89154" y="140970"/>
                  </a:lnTo>
                  <a:lnTo>
                    <a:pt x="89154" y="62484"/>
                  </a:lnTo>
                  <a:cubicBezTo>
                    <a:pt x="89154" y="51721"/>
                    <a:pt x="86677" y="43434"/>
                    <a:pt x="81915" y="37719"/>
                  </a:cubicBezTo>
                  <a:cubicBezTo>
                    <a:pt x="77057" y="32004"/>
                    <a:pt x="70199" y="29146"/>
                    <a:pt x="61341" y="29146"/>
                  </a:cubicBezTo>
                  <a:cubicBezTo>
                    <a:pt x="52483" y="29146"/>
                    <a:pt x="45434" y="32195"/>
                    <a:pt x="40005" y="38291"/>
                  </a:cubicBezTo>
                  <a:cubicBezTo>
                    <a:pt x="34671" y="44387"/>
                    <a:pt x="31909" y="52768"/>
                    <a:pt x="31909" y="63532"/>
                  </a:cubicBezTo>
                  <a:lnTo>
                    <a:pt x="31909" y="140970"/>
                  </a:lnTo>
                  <a:lnTo>
                    <a:pt x="0" y="140970"/>
                  </a:lnTo>
                  <a:lnTo>
                    <a:pt x="0" y="3048"/>
                  </a:lnTo>
                  <a:close/>
                </a:path>
              </a:pathLst>
            </a:custGeom>
            <a:solidFill>
              <a:srgbClr val="43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Freeform: Shape 65">
              <a:extLst>
                <a:ext uri="{FF2B5EF4-FFF2-40B4-BE49-F238E27FC236}">
                  <a16:creationId xmlns:a16="http://schemas.microsoft.com/office/drawing/2014/main" id="{64FC5502-733E-AED8-B543-3731E4FA93D1}"/>
                </a:ext>
              </a:extLst>
            </p:cNvPr>
            <p:cNvSpPr/>
            <p:nvPr/>
          </p:nvSpPr>
          <p:spPr>
            <a:xfrm>
              <a:off x="1434147" y="4227131"/>
              <a:ext cx="123920" cy="140874"/>
            </a:xfrm>
            <a:custGeom>
              <a:avLst/>
              <a:gdLst>
                <a:gd name="connsiteX0" fmla="*/ 95 w 123920"/>
                <a:gd name="connsiteY0" fmla="*/ 2953 h 140874"/>
                <a:gd name="connsiteX1" fmla="*/ 32004 w 123920"/>
                <a:gd name="connsiteY1" fmla="*/ 2953 h 140874"/>
                <a:gd name="connsiteX2" fmla="*/ 32004 w 123920"/>
                <a:gd name="connsiteY2" fmla="*/ 24574 h 140874"/>
                <a:gd name="connsiteX3" fmla="*/ 39433 w 123920"/>
                <a:gd name="connsiteY3" fmla="*/ 15240 h 140874"/>
                <a:gd name="connsiteX4" fmla="*/ 48768 w 123920"/>
                <a:gd name="connsiteY4" fmla="*/ 7429 h 140874"/>
                <a:gd name="connsiteX5" fmla="*/ 60484 w 123920"/>
                <a:gd name="connsiteY5" fmla="*/ 2000 h 140874"/>
                <a:gd name="connsiteX6" fmla="*/ 74962 w 123920"/>
                <a:gd name="connsiteY6" fmla="*/ 0 h 140874"/>
                <a:gd name="connsiteX7" fmla="*/ 111157 w 123920"/>
                <a:gd name="connsiteY7" fmla="*/ 14383 h 140874"/>
                <a:gd name="connsiteX8" fmla="*/ 123920 w 123920"/>
                <a:gd name="connsiteY8" fmla="*/ 53054 h 140874"/>
                <a:gd name="connsiteX9" fmla="*/ 123920 w 123920"/>
                <a:gd name="connsiteY9" fmla="*/ 140875 h 140874"/>
                <a:gd name="connsiteX10" fmla="*/ 92012 w 123920"/>
                <a:gd name="connsiteY10" fmla="*/ 140875 h 140874"/>
                <a:gd name="connsiteX11" fmla="*/ 92012 w 123920"/>
                <a:gd name="connsiteY11" fmla="*/ 62674 h 140874"/>
                <a:gd name="connsiteX12" fmla="*/ 84391 w 123920"/>
                <a:gd name="connsiteY12" fmla="*/ 37814 h 140874"/>
                <a:gd name="connsiteX13" fmla="*/ 62770 w 123920"/>
                <a:gd name="connsiteY13" fmla="*/ 29051 h 140874"/>
                <a:gd name="connsiteX14" fmla="*/ 40481 w 123920"/>
                <a:gd name="connsiteY14" fmla="*/ 38005 h 140874"/>
                <a:gd name="connsiteX15" fmla="*/ 31909 w 123920"/>
                <a:gd name="connsiteY15" fmla="*/ 63151 h 140874"/>
                <a:gd name="connsiteX16" fmla="*/ 31909 w 123920"/>
                <a:gd name="connsiteY16" fmla="*/ 140875 h 140874"/>
                <a:gd name="connsiteX17" fmla="*/ 0 w 123920"/>
                <a:gd name="connsiteY17" fmla="*/ 140875 h 140874"/>
                <a:gd name="connsiteX18" fmla="*/ 0 w 123920"/>
                <a:gd name="connsiteY18" fmla="*/ 2953 h 140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3920" h="140874">
                  <a:moveTo>
                    <a:pt x="95" y="2953"/>
                  </a:moveTo>
                  <a:lnTo>
                    <a:pt x="32004" y="2953"/>
                  </a:lnTo>
                  <a:lnTo>
                    <a:pt x="32004" y="24574"/>
                  </a:lnTo>
                  <a:cubicBezTo>
                    <a:pt x="34290" y="21241"/>
                    <a:pt x="36766" y="18097"/>
                    <a:pt x="39433" y="15240"/>
                  </a:cubicBezTo>
                  <a:cubicBezTo>
                    <a:pt x="42100" y="12382"/>
                    <a:pt x="45244" y="9715"/>
                    <a:pt x="48768" y="7429"/>
                  </a:cubicBezTo>
                  <a:cubicBezTo>
                    <a:pt x="52292" y="5143"/>
                    <a:pt x="56293" y="3334"/>
                    <a:pt x="60484" y="2000"/>
                  </a:cubicBezTo>
                  <a:cubicBezTo>
                    <a:pt x="64675" y="667"/>
                    <a:pt x="69532" y="0"/>
                    <a:pt x="74962" y="0"/>
                  </a:cubicBezTo>
                  <a:cubicBezTo>
                    <a:pt x="90583" y="0"/>
                    <a:pt x="102679" y="4763"/>
                    <a:pt x="111157" y="14383"/>
                  </a:cubicBezTo>
                  <a:cubicBezTo>
                    <a:pt x="119634" y="24003"/>
                    <a:pt x="123920" y="36862"/>
                    <a:pt x="123920" y="53054"/>
                  </a:cubicBezTo>
                  <a:lnTo>
                    <a:pt x="123920" y="140875"/>
                  </a:lnTo>
                  <a:lnTo>
                    <a:pt x="92012" y="140875"/>
                  </a:lnTo>
                  <a:lnTo>
                    <a:pt x="92012" y="62674"/>
                  </a:lnTo>
                  <a:cubicBezTo>
                    <a:pt x="92012" y="51911"/>
                    <a:pt x="89440" y="43624"/>
                    <a:pt x="84391" y="37814"/>
                  </a:cubicBezTo>
                  <a:cubicBezTo>
                    <a:pt x="79343" y="32004"/>
                    <a:pt x="72104" y="29051"/>
                    <a:pt x="62770" y="29051"/>
                  </a:cubicBezTo>
                  <a:cubicBezTo>
                    <a:pt x="53435" y="29051"/>
                    <a:pt x="46196" y="32099"/>
                    <a:pt x="40481" y="38005"/>
                  </a:cubicBezTo>
                  <a:cubicBezTo>
                    <a:pt x="34766" y="44005"/>
                    <a:pt x="31909" y="52388"/>
                    <a:pt x="31909" y="63151"/>
                  </a:cubicBezTo>
                  <a:lnTo>
                    <a:pt x="31909" y="140875"/>
                  </a:lnTo>
                  <a:lnTo>
                    <a:pt x="0" y="140875"/>
                  </a:lnTo>
                  <a:lnTo>
                    <a:pt x="0" y="2953"/>
                  </a:lnTo>
                  <a:close/>
                </a:path>
              </a:pathLst>
            </a:custGeom>
            <a:solidFill>
              <a:srgbClr val="43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Freeform: Shape 66">
              <a:extLst>
                <a:ext uri="{FF2B5EF4-FFF2-40B4-BE49-F238E27FC236}">
                  <a16:creationId xmlns:a16="http://schemas.microsoft.com/office/drawing/2014/main" id="{0F91486B-363F-3D0D-587D-1C3FA5F8F429}"/>
                </a:ext>
              </a:extLst>
            </p:cNvPr>
            <p:cNvSpPr/>
            <p:nvPr/>
          </p:nvSpPr>
          <p:spPr>
            <a:xfrm>
              <a:off x="1588643" y="4227321"/>
              <a:ext cx="147161" cy="143922"/>
            </a:xfrm>
            <a:custGeom>
              <a:avLst/>
              <a:gdLst>
                <a:gd name="connsiteX0" fmla="*/ 73152 w 147161"/>
                <a:gd name="connsiteY0" fmla="*/ 143923 h 143922"/>
                <a:gd name="connsiteX1" fmla="*/ 44005 w 147161"/>
                <a:gd name="connsiteY1" fmla="*/ 138303 h 143922"/>
                <a:gd name="connsiteX2" fmla="*/ 20765 w 147161"/>
                <a:gd name="connsiteY2" fmla="*/ 123063 h 143922"/>
                <a:gd name="connsiteX3" fmla="*/ 5524 w 147161"/>
                <a:gd name="connsiteY3" fmla="*/ 100298 h 143922"/>
                <a:gd name="connsiteX4" fmla="*/ 0 w 147161"/>
                <a:gd name="connsiteY4" fmla="*/ 72581 h 143922"/>
                <a:gd name="connsiteX5" fmla="*/ 0 w 147161"/>
                <a:gd name="connsiteY5" fmla="*/ 72104 h 143922"/>
                <a:gd name="connsiteX6" fmla="*/ 5620 w 147161"/>
                <a:gd name="connsiteY6" fmla="*/ 44101 h 143922"/>
                <a:gd name="connsiteX7" fmla="*/ 21050 w 147161"/>
                <a:gd name="connsiteY7" fmla="*/ 21241 h 143922"/>
                <a:gd name="connsiteX8" fmla="*/ 44291 w 147161"/>
                <a:gd name="connsiteY8" fmla="*/ 5715 h 143922"/>
                <a:gd name="connsiteX9" fmla="*/ 73723 w 147161"/>
                <a:gd name="connsiteY9" fmla="*/ 0 h 143922"/>
                <a:gd name="connsiteX10" fmla="*/ 103156 w 147161"/>
                <a:gd name="connsiteY10" fmla="*/ 5620 h 143922"/>
                <a:gd name="connsiteX11" fmla="*/ 126397 w 147161"/>
                <a:gd name="connsiteY11" fmla="*/ 21050 h 143922"/>
                <a:gd name="connsiteX12" fmla="*/ 141637 w 147161"/>
                <a:gd name="connsiteY12" fmla="*/ 43815 h 143922"/>
                <a:gd name="connsiteX13" fmla="*/ 147161 w 147161"/>
                <a:gd name="connsiteY13" fmla="*/ 71628 h 143922"/>
                <a:gd name="connsiteX14" fmla="*/ 147161 w 147161"/>
                <a:gd name="connsiteY14" fmla="*/ 72104 h 143922"/>
                <a:gd name="connsiteX15" fmla="*/ 141542 w 147161"/>
                <a:gd name="connsiteY15" fmla="*/ 99822 h 143922"/>
                <a:gd name="connsiteX16" fmla="*/ 126111 w 147161"/>
                <a:gd name="connsiteY16" fmla="*/ 122682 h 143922"/>
                <a:gd name="connsiteX17" fmla="*/ 102679 w 147161"/>
                <a:gd name="connsiteY17" fmla="*/ 138208 h 143922"/>
                <a:gd name="connsiteX18" fmla="*/ 73152 w 147161"/>
                <a:gd name="connsiteY18" fmla="*/ 143923 h 143922"/>
                <a:gd name="connsiteX19" fmla="*/ 73723 w 147161"/>
                <a:gd name="connsiteY19" fmla="*/ 116491 h 143922"/>
                <a:gd name="connsiteX20" fmla="*/ 90964 w 147161"/>
                <a:gd name="connsiteY20" fmla="*/ 112967 h 143922"/>
                <a:gd name="connsiteX21" fmla="*/ 104108 w 147161"/>
                <a:gd name="connsiteY21" fmla="*/ 103442 h 143922"/>
                <a:gd name="connsiteX22" fmla="*/ 112395 w 147161"/>
                <a:gd name="connsiteY22" fmla="*/ 89440 h 143922"/>
                <a:gd name="connsiteX23" fmla="*/ 115252 w 147161"/>
                <a:gd name="connsiteY23" fmla="*/ 72581 h 143922"/>
                <a:gd name="connsiteX24" fmla="*/ 115252 w 147161"/>
                <a:gd name="connsiteY24" fmla="*/ 72104 h 143922"/>
                <a:gd name="connsiteX25" fmla="*/ 112109 w 147161"/>
                <a:gd name="connsiteY25" fmla="*/ 54864 h 143922"/>
                <a:gd name="connsiteX26" fmla="*/ 103442 w 147161"/>
                <a:gd name="connsiteY26" fmla="*/ 40767 h 143922"/>
                <a:gd name="connsiteX27" fmla="*/ 90202 w 147161"/>
                <a:gd name="connsiteY27" fmla="*/ 31242 h 143922"/>
                <a:gd name="connsiteX28" fmla="*/ 73152 w 147161"/>
                <a:gd name="connsiteY28" fmla="*/ 27718 h 143922"/>
                <a:gd name="connsiteX29" fmla="*/ 56102 w 147161"/>
                <a:gd name="connsiteY29" fmla="*/ 31242 h 143922"/>
                <a:gd name="connsiteX30" fmla="*/ 42958 w 147161"/>
                <a:gd name="connsiteY30" fmla="*/ 40672 h 143922"/>
                <a:gd name="connsiteX31" fmla="*/ 34671 w 147161"/>
                <a:gd name="connsiteY31" fmla="*/ 54674 h 143922"/>
                <a:gd name="connsiteX32" fmla="*/ 31813 w 147161"/>
                <a:gd name="connsiteY32" fmla="*/ 71628 h 143922"/>
                <a:gd name="connsiteX33" fmla="*/ 31813 w 147161"/>
                <a:gd name="connsiteY33" fmla="*/ 72104 h 143922"/>
                <a:gd name="connsiteX34" fmla="*/ 34957 w 147161"/>
                <a:gd name="connsiteY34" fmla="*/ 89249 h 143922"/>
                <a:gd name="connsiteX35" fmla="*/ 43624 w 147161"/>
                <a:gd name="connsiteY35" fmla="*/ 103346 h 143922"/>
                <a:gd name="connsiteX36" fmla="*/ 56864 w 147161"/>
                <a:gd name="connsiteY36" fmla="*/ 112967 h 143922"/>
                <a:gd name="connsiteX37" fmla="*/ 73628 w 147161"/>
                <a:gd name="connsiteY37" fmla="*/ 116491 h 143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47161" h="143922">
                  <a:moveTo>
                    <a:pt x="73152" y="143923"/>
                  </a:moveTo>
                  <a:cubicBezTo>
                    <a:pt x="62674" y="143923"/>
                    <a:pt x="52959" y="142018"/>
                    <a:pt x="44005" y="138303"/>
                  </a:cubicBezTo>
                  <a:cubicBezTo>
                    <a:pt x="35052" y="134588"/>
                    <a:pt x="27242" y="129445"/>
                    <a:pt x="20765" y="123063"/>
                  </a:cubicBezTo>
                  <a:cubicBezTo>
                    <a:pt x="14288" y="116681"/>
                    <a:pt x="9144" y="109061"/>
                    <a:pt x="5524" y="100298"/>
                  </a:cubicBezTo>
                  <a:cubicBezTo>
                    <a:pt x="1905" y="91631"/>
                    <a:pt x="0" y="82391"/>
                    <a:pt x="0" y="72581"/>
                  </a:cubicBezTo>
                  <a:lnTo>
                    <a:pt x="0" y="72104"/>
                  </a:lnTo>
                  <a:cubicBezTo>
                    <a:pt x="0" y="62198"/>
                    <a:pt x="1905" y="52864"/>
                    <a:pt x="5620" y="44101"/>
                  </a:cubicBezTo>
                  <a:cubicBezTo>
                    <a:pt x="9334" y="35433"/>
                    <a:pt x="14478" y="27813"/>
                    <a:pt x="21050" y="21241"/>
                  </a:cubicBezTo>
                  <a:cubicBezTo>
                    <a:pt x="27622" y="14669"/>
                    <a:pt x="35338" y="9525"/>
                    <a:pt x="44291" y="5715"/>
                  </a:cubicBezTo>
                  <a:cubicBezTo>
                    <a:pt x="53245" y="1905"/>
                    <a:pt x="63055" y="0"/>
                    <a:pt x="73723" y="0"/>
                  </a:cubicBezTo>
                  <a:cubicBezTo>
                    <a:pt x="84392" y="0"/>
                    <a:pt x="94107" y="1905"/>
                    <a:pt x="103156" y="5620"/>
                  </a:cubicBezTo>
                  <a:cubicBezTo>
                    <a:pt x="112109" y="9335"/>
                    <a:pt x="119920" y="14478"/>
                    <a:pt x="126397" y="21050"/>
                  </a:cubicBezTo>
                  <a:cubicBezTo>
                    <a:pt x="132969" y="27623"/>
                    <a:pt x="138017" y="35147"/>
                    <a:pt x="141637" y="43815"/>
                  </a:cubicBezTo>
                  <a:cubicBezTo>
                    <a:pt x="145256" y="52483"/>
                    <a:pt x="147161" y="61722"/>
                    <a:pt x="147161" y="71628"/>
                  </a:cubicBezTo>
                  <a:lnTo>
                    <a:pt x="147161" y="72104"/>
                  </a:lnTo>
                  <a:cubicBezTo>
                    <a:pt x="147161" y="81820"/>
                    <a:pt x="145256" y="91059"/>
                    <a:pt x="141542" y="99822"/>
                  </a:cubicBezTo>
                  <a:cubicBezTo>
                    <a:pt x="137827" y="108585"/>
                    <a:pt x="132683" y="116110"/>
                    <a:pt x="126111" y="122682"/>
                  </a:cubicBezTo>
                  <a:cubicBezTo>
                    <a:pt x="119539" y="129254"/>
                    <a:pt x="111823" y="134398"/>
                    <a:pt x="102679" y="138208"/>
                  </a:cubicBezTo>
                  <a:cubicBezTo>
                    <a:pt x="93631" y="142018"/>
                    <a:pt x="83725" y="143923"/>
                    <a:pt x="73152" y="143923"/>
                  </a:cubicBezTo>
                  <a:close/>
                  <a:moveTo>
                    <a:pt x="73723" y="116491"/>
                  </a:moveTo>
                  <a:cubicBezTo>
                    <a:pt x="80105" y="116491"/>
                    <a:pt x="85915" y="115348"/>
                    <a:pt x="90964" y="112967"/>
                  </a:cubicBezTo>
                  <a:cubicBezTo>
                    <a:pt x="96107" y="110585"/>
                    <a:pt x="100489" y="107442"/>
                    <a:pt x="104108" y="103442"/>
                  </a:cubicBezTo>
                  <a:cubicBezTo>
                    <a:pt x="107728" y="99441"/>
                    <a:pt x="110490" y="94774"/>
                    <a:pt x="112395" y="89440"/>
                  </a:cubicBezTo>
                  <a:cubicBezTo>
                    <a:pt x="114300" y="84106"/>
                    <a:pt x="115252" y="78486"/>
                    <a:pt x="115252" y="72581"/>
                  </a:cubicBezTo>
                  <a:lnTo>
                    <a:pt x="115252" y="72104"/>
                  </a:lnTo>
                  <a:cubicBezTo>
                    <a:pt x="115252" y="66008"/>
                    <a:pt x="114205" y="60293"/>
                    <a:pt x="112109" y="54864"/>
                  </a:cubicBezTo>
                  <a:cubicBezTo>
                    <a:pt x="110014" y="49435"/>
                    <a:pt x="107156" y="44767"/>
                    <a:pt x="103442" y="40767"/>
                  </a:cubicBezTo>
                  <a:cubicBezTo>
                    <a:pt x="99727" y="36767"/>
                    <a:pt x="95345" y="33623"/>
                    <a:pt x="90202" y="31242"/>
                  </a:cubicBezTo>
                  <a:cubicBezTo>
                    <a:pt x="85058" y="28861"/>
                    <a:pt x="79438" y="27718"/>
                    <a:pt x="73152" y="27718"/>
                  </a:cubicBezTo>
                  <a:cubicBezTo>
                    <a:pt x="66865" y="27718"/>
                    <a:pt x="61246" y="28861"/>
                    <a:pt x="56102" y="31242"/>
                  </a:cubicBezTo>
                  <a:cubicBezTo>
                    <a:pt x="50959" y="33623"/>
                    <a:pt x="46577" y="36767"/>
                    <a:pt x="42958" y="40672"/>
                  </a:cubicBezTo>
                  <a:cubicBezTo>
                    <a:pt x="39338" y="44577"/>
                    <a:pt x="36576" y="49244"/>
                    <a:pt x="34671" y="54674"/>
                  </a:cubicBezTo>
                  <a:cubicBezTo>
                    <a:pt x="32766" y="60103"/>
                    <a:pt x="31813" y="65723"/>
                    <a:pt x="31813" y="71628"/>
                  </a:cubicBezTo>
                  <a:lnTo>
                    <a:pt x="31813" y="72104"/>
                  </a:lnTo>
                  <a:cubicBezTo>
                    <a:pt x="31813" y="78200"/>
                    <a:pt x="32861" y="83915"/>
                    <a:pt x="34957" y="89249"/>
                  </a:cubicBezTo>
                  <a:cubicBezTo>
                    <a:pt x="37052" y="94583"/>
                    <a:pt x="39910" y="99250"/>
                    <a:pt x="43624" y="103346"/>
                  </a:cubicBezTo>
                  <a:cubicBezTo>
                    <a:pt x="47339" y="107442"/>
                    <a:pt x="51721" y="110681"/>
                    <a:pt x="56864" y="112967"/>
                  </a:cubicBezTo>
                  <a:cubicBezTo>
                    <a:pt x="62008" y="115348"/>
                    <a:pt x="67532" y="116491"/>
                    <a:pt x="73628" y="116491"/>
                  </a:cubicBezTo>
                  <a:close/>
                </a:path>
              </a:pathLst>
            </a:custGeom>
            <a:solidFill>
              <a:srgbClr val="43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Freeform: Shape 67">
              <a:extLst>
                <a:ext uri="{FF2B5EF4-FFF2-40B4-BE49-F238E27FC236}">
                  <a16:creationId xmlns:a16="http://schemas.microsoft.com/office/drawing/2014/main" id="{FB9D595E-DB4B-EE13-4478-EB6738A9292E}"/>
                </a:ext>
              </a:extLst>
            </p:cNvPr>
            <p:cNvSpPr/>
            <p:nvPr/>
          </p:nvSpPr>
          <p:spPr>
            <a:xfrm>
              <a:off x="1756568" y="4227893"/>
              <a:ext cx="109823" cy="142970"/>
            </a:xfrm>
            <a:custGeom>
              <a:avLst/>
              <a:gdLst>
                <a:gd name="connsiteX0" fmla="*/ 58579 w 109823"/>
                <a:gd name="connsiteY0" fmla="*/ 142780 h 142970"/>
                <a:gd name="connsiteX1" fmla="*/ 28385 w 109823"/>
                <a:gd name="connsiteY1" fmla="*/ 137541 h 142970"/>
                <a:gd name="connsiteX2" fmla="*/ 0 w 109823"/>
                <a:gd name="connsiteY2" fmla="*/ 121920 h 142970"/>
                <a:gd name="connsiteX3" fmla="*/ 14097 w 109823"/>
                <a:gd name="connsiteY3" fmla="*/ 100489 h 142970"/>
                <a:gd name="connsiteX4" fmla="*/ 36957 w 109823"/>
                <a:gd name="connsiteY4" fmla="*/ 113157 h 142970"/>
                <a:gd name="connsiteX5" fmla="*/ 59341 w 109823"/>
                <a:gd name="connsiteY5" fmla="*/ 117443 h 142970"/>
                <a:gd name="connsiteX6" fmla="*/ 75152 w 109823"/>
                <a:gd name="connsiteY6" fmla="*/ 113443 h 142970"/>
                <a:gd name="connsiteX7" fmla="*/ 80772 w 109823"/>
                <a:gd name="connsiteY7" fmla="*/ 102584 h 142970"/>
                <a:gd name="connsiteX8" fmla="*/ 80772 w 109823"/>
                <a:gd name="connsiteY8" fmla="*/ 102108 h 142970"/>
                <a:gd name="connsiteX9" fmla="*/ 78296 w 109823"/>
                <a:gd name="connsiteY9" fmla="*/ 95345 h 142970"/>
                <a:gd name="connsiteX10" fmla="*/ 71533 w 109823"/>
                <a:gd name="connsiteY10" fmla="*/ 90392 h 142970"/>
                <a:gd name="connsiteX11" fmla="*/ 61627 w 109823"/>
                <a:gd name="connsiteY11" fmla="*/ 86487 h 142970"/>
                <a:gd name="connsiteX12" fmla="*/ 50006 w 109823"/>
                <a:gd name="connsiteY12" fmla="*/ 82868 h 142970"/>
                <a:gd name="connsiteX13" fmla="*/ 34671 w 109823"/>
                <a:gd name="connsiteY13" fmla="*/ 77915 h 142970"/>
                <a:gd name="connsiteX14" fmla="*/ 20860 w 109823"/>
                <a:gd name="connsiteY14" fmla="*/ 70485 h 142970"/>
                <a:gd name="connsiteX15" fmla="*/ 10763 w 109823"/>
                <a:gd name="connsiteY15" fmla="*/ 59150 h 142970"/>
                <a:gd name="connsiteX16" fmla="*/ 6858 w 109823"/>
                <a:gd name="connsiteY16" fmla="*/ 42482 h 142970"/>
                <a:gd name="connsiteX17" fmla="*/ 6858 w 109823"/>
                <a:gd name="connsiteY17" fmla="*/ 42005 h 142970"/>
                <a:gd name="connsiteX18" fmla="*/ 10668 w 109823"/>
                <a:gd name="connsiteY18" fmla="*/ 24575 h 142970"/>
                <a:gd name="connsiteX19" fmla="*/ 21146 w 109823"/>
                <a:gd name="connsiteY19" fmla="*/ 11240 h 142970"/>
                <a:gd name="connsiteX20" fmla="*/ 36862 w 109823"/>
                <a:gd name="connsiteY20" fmla="*/ 2858 h 142970"/>
                <a:gd name="connsiteX21" fmla="*/ 56102 w 109823"/>
                <a:gd name="connsiteY21" fmla="*/ 0 h 142970"/>
                <a:gd name="connsiteX22" fmla="*/ 82487 w 109823"/>
                <a:gd name="connsiteY22" fmla="*/ 4191 h 142970"/>
                <a:gd name="connsiteX23" fmla="*/ 106775 w 109823"/>
                <a:gd name="connsiteY23" fmla="*/ 15812 h 142970"/>
                <a:gd name="connsiteX24" fmla="*/ 94202 w 109823"/>
                <a:gd name="connsiteY24" fmla="*/ 38386 h 142970"/>
                <a:gd name="connsiteX25" fmla="*/ 74104 w 109823"/>
                <a:gd name="connsiteY25" fmla="*/ 28861 h 142970"/>
                <a:gd name="connsiteX26" fmla="*/ 55245 w 109823"/>
                <a:gd name="connsiteY26" fmla="*/ 25337 h 142970"/>
                <a:gd name="connsiteX27" fmla="*/ 40958 w 109823"/>
                <a:gd name="connsiteY27" fmla="*/ 29242 h 142970"/>
                <a:gd name="connsiteX28" fmla="*/ 35909 w 109823"/>
                <a:gd name="connsiteY28" fmla="*/ 39148 h 142970"/>
                <a:gd name="connsiteX29" fmla="*/ 35909 w 109823"/>
                <a:gd name="connsiteY29" fmla="*/ 39719 h 142970"/>
                <a:gd name="connsiteX30" fmla="*/ 38481 w 109823"/>
                <a:gd name="connsiteY30" fmla="*/ 46101 h 142970"/>
                <a:gd name="connsiteX31" fmla="*/ 45434 w 109823"/>
                <a:gd name="connsiteY31" fmla="*/ 51054 h 142970"/>
                <a:gd name="connsiteX32" fmla="*/ 55340 w 109823"/>
                <a:gd name="connsiteY32" fmla="*/ 55245 h 142970"/>
                <a:gd name="connsiteX33" fmla="*/ 66961 w 109823"/>
                <a:gd name="connsiteY33" fmla="*/ 59055 h 142970"/>
                <a:gd name="connsiteX34" fmla="*/ 82106 w 109823"/>
                <a:gd name="connsiteY34" fmla="*/ 64484 h 142970"/>
                <a:gd name="connsiteX35" fmla="*/ 95821 w 109823"/>
                <a:gd name="connsiteY35" fmla="*/ 72200 h 142970"/>
                <a:gd name="connsiteX36" fmla="*/ 105918 w 109823"/>
                <a:gd name="connsiteY36" fmla="*/ 83249 h 142970"/>
                <a:gd name="connsiteX37" fmla="*/ 109823 w 109823"/>
                <a:gd name="connsiteY37" fmla="*/ 99155 h 142970"/>
                <a:gd name="connsiteX38" fmla="*/ 109823 w 109823"/>
                <a:gd name="connsiteY38" fmla="*/ 99632 h 142970"/>
                <a:gd name="connsiteX39" fmla="*/ 105918 w 109823"/>
                <a:gd name="connsiteY39" fmla="*/ 118682 h 142970"/>
                <a:gd name="connsiteX40" fmla="*/ 95060 w 109823"/>
                <a:gd name="connsiteY40" fmla="*/ 132112 h 142970"/>
                <a:gd name="connsiteX41" fmla="*/ 78772 w 109823"/>
                <a:gd name="connsiteY41" fmla="*/ 140208 h 142970"/>
                <a:gd name="connsiteX42" fmla="*/ 58674 w 109823"/>
                <a:gd name="connsiteY42" fmla="*/ 142970 h 142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09823" h="142970">
                  <a:moveTo>
                    <a:pt x="58579" y="142780"/>
                  </a:moveTo>
                  <a:cubicBezTo>
                    <a:pt x="48673" y="142780"/>
                    <a:pt x="38576" y="140970"/>
                    <a:pt x="28385" y="137541"/>
                  </a:cubicBezTo>
                  <a:cubicBezTo>
                    <a:pt x="18193" y="134017"/>
                    <a:pt x="8763" y="128873"/>
                    <a:pt x="0" y="121920"/>
                  </a:cubicBezTo>
                  <a:lnTo>
                    <a:pt x="14097" y="100489"/>
                  </a:lnTo>
                  <a:cubicBezTo>
                    <a:pt x="21622" y="106108"/>
                    <a:pt x="29242" y="110300"/>
                    <a:pt x="36957" y="113157"/>
                  </a:cubicBezTo>
                  <a:cubicBezTo>
                    <a:pt x="44672" y="116015"/>
                    <a:pt x="52197" y="117443"/>
                    <a:pt x="59341" y="117443"/>
                  </a:cubicBezTo>
                  <a:cubicBezTo>
                    <a:pt x="66485" y="117443"/>
                    <a:pt x="71438" y="116110"/>
                    <a:pt x="75152" y="113443"/>
                  </a:cubicBezTo>
                  <a:cubicBezTo>
                    <a:pt x="78867" y="110776"/>
                    <a:pt x="80772" y="107156"/>
                    <a:pt x="80772" y="102584"/>
                  </a:cubicBezTo>
                  <a:lnTo>
                    <a:pt x="80772" y="102108"/>
                  </a:lnTo>
                  <a:cubicBezTo>
                    <a:pt x="80772" y="99536"/>
                    <a:pt x="79915" y="97250"/>
                    <a:pt x="78296" y="95345"/>
                  </a:cubicBezTo>
                  <a:cubicBezTo>
                    <a:pt x="76676" y="93440"/>
                    <a:pt x="74390" y="91821"/>
                    <a:pt x="71533" y="90392"/>
                  </a:cubicBezTo>
                  <a:cubicBezTo>
                    <a:pt x="68675" y="88964"/>
                    <a:pt x="65342" y="87725"/>
                    <a:pt x="61627" y="86487"/>
                  </a:cubicBezTo>
                  <a:cubicBezTo>
                    <a:pt x="57912" y="85249"/>
                    <a:pt x="54007" y="84011"/>
                    <a:pt x="50006" y="82868"/>
                  </a:cubicBezTo>
                  <a:cubicBezTo>
                    <a:pt x="44958" y="81439"/>
                    <a:pt x="39815" y="79820"/>
                    <a:pt x="34671" y="77915"/>
                  </a:cubicBezTo>
                  <a:cubicBezTo>
                    <a:pt x="29527" y="76010"/>
                    <a:pt x="24956" y="73533"/>
                    <a:pt x="20860" y="70485"/>
                  </a:cubicBezTo>
                  <a:cubicBezTo>
                    <a:pt x="16764" y="67437"/>
                    <a:pt x="13430" y="63627"/>
                    <a:pt x="10763" y="59150"/>
                  </a:cubicBezTo>
                  <a:cubicBezTo>
                    <a:pt x="8096" y="54674"/>
                    <a:pt x="6858" y="49054"/>
                    <a:pt x="6858" y="42482"/>
                  </a:cubicBezTo>
                  <a:lnTo>
                    <a:pt x="6858" y="42005"/>
                  </a:lnTo>
                  <a:cubicBezTo>
                    <a:pt x="6858" y="35624"/>
                    <a:pt x="8096" y="29718"/>
                    <a:pt x="10668" y="24575"/>
                  </a:cubicBezTo>
                  <a:cubicBezTo>
                    <a:pt x="13144" y="19336"/>
                    <a:pt x="16669" y="14954"/>
                    <a:pt x="21146" y="11240"/>
                  </a:cubicBezTo>
                  <a:cubicBezTo>
                    <a:pt x="25622" y="7620"/>
                    <a:pt x="30766" y="4763"/>
                    <a:pt x="36862" y="2858"/>
                  </a:cubicBezTo>
                  <a:cubicBezTo>
                    <a:pt x="42863" y="953"/>
                    <a:pt x="49244" y="0"/>
                    <a:pt x="56102" y="0"/>
                  </a:cubicBezTo>
                  <a:cubicBezTo>
                    <a:pt x="64770" y="0"/>
                    <a:pt x="73628" y="1429"/>
                    <a:pt x="82487" y="4191"/>
                  </a:cubicBezTo>
                  <a:cubicBezTo>
                    <a:pt x="91345" y="6953"/>
                    <a:pt x="99441" y="10858"/>
                    <a:pt x="106775" y="15812"/>
                  </a:cubicBezTo>
                  <a:lnTo>
                    <a:pt x="94202" y="38386"/>
                  </a:lnTo>
                  <a:cubicBezTo>
                    <a:pt x="87535" y="34385"/>
                    <a:pt x="80867" y="31242"/>
                    <a:pt x="74104" y="28861"/>
                  </a:cubicBezTo>
                  <a:cubicBezTo>
                    <a:pt x="67342" y="26480"/>
                    <a:pt x="61055" y="25337"/>
                    <a:pt x="55245" y="25337"/>
                  </a:cubicBezTo>
                  <a:cubicBezTo>
                    <a:pt x="49149" y="25337"/>
                    <a:pt x="44387" y="26670"/>
                    <a:pt x="40958" y="29242"/>
                  </a:cubicBezTo>
                  <a:cubicBezTo>
                    <a:pt x="37529" y="31814"/>
                    <a:pt x="35909" y="35147"/>
                    <a:pt x="35909" y="39148"/>
                  </a:cubicBezTo>
                  <a:lnTo>
                    <a:pt x="35909" y="39719"/>
                  </a:lnTo>
                  <a:cubicBezTo>
                    <a:pt x="35909" y="42101"/>
                    <a:pt x="36767" y="44291"/>
                    <a:pt x="38481" y="46101"/>
                  </a:cubicBezTo>
                  <a:cubicBezTo>
                    <a:pt x="40196" y="47911"/>
                    <a:pt x="42481" y="49625"/>
                    <a:pt x="45434" y="51054"/>
                  </a:cubicBezTo>
                  <a:cubicBezTo>
                    <a:pt x="48387" y="52483"/>
                    <a:pt x="51625" y="53912"/>
                    <a:pt x="55340" y="55245"/>
                  </a:cubicBezTo>
                  <a:cubicBezTo>
                    <a:pt x="59055" y="56579"/>
                    <a:pt x="62960" y="57817"/>
                    <a:pt x="66961" y="59055"/>
                  </a:cubicBezTo>
                  <a:cubicBezTo>
                    <a:pt x="72009" y="60579"/>
                    <a:pt x="77057" y="62484"/>
                    <a:pt x="82106" y="64484"/>
                  </a:cubicBezTo>
                  <a:cubicBezTo>
                    <a:pt x="87154" y="66580"/>
                    <a:pt x="91726" y="69152"/>
                    <a:pt x="95821" y="72200"/>
                  </a:cubicBezTo>
                  <a:cubicBezTo>
                    <a:pt x="99917" y="75248"/>
                    <a:pt x="103251" y="78962"/>
                    <a:pt x="105918" y="83249"/>
                  </a:cubicBezTo>
                  <a:cubicBezTo>
                    <a:pt x="108585" y="87535"/>
                    <a:pt x="109823" y="92869"/>
                    <a:pt x="109823" y="99155"/>
                  </a:cubicBezTo>
                  <a:lnTo>
                    <a:pt x="109823" y="99632"/>
                  </a:lnTo>
                  <a:cubicBezTo>
                    <a:pt x="109823" y="106966"/>
                    <a:pt x="108490" y="113252"/>
                    <a:pt x="105918" y="118682"/>
                  </a:cubicBezTo>
                  <a:cubicBezTo>
                    <a:pt x="103346" y="124111"/>
                    <a:pt x="99727" y="128588"/>
                    <a:pt x="95060" y="132112"/>
                  </a:cubicBezTo>
                  <a:cubicBezTo>
                    <a:pt x="90392" y="135636"/>
                    <a:pt x="84963" y="138398"/>
                    <a:pt x="78772" y="140208"/>
                  </a:cubicBezTo>
                  <a:cubicBezTo>
                    <a:pt x="72485" y="142018"/>
                    <a:pt x="65818" y="142970"/>
                    <a:pt x="58674" y="142970"/>
                  </a:cubicBezTo>
                  <a:close/>
                </a:path>
              </a:pathLst>
            </a:custGeom>
            <a:solidFill>
              <a:srgbClr val="43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Freeform: Shape 68">
              <a:extLst>
                <a:ext uri="{FF2B5EF4-FFF2-40B4-BE49-F238E27FC236}">
                  <a16:creationId xmlns:a16="http://schemas.microsoft.com/office/drawing/2014/main" id="{0D1ED81C-02E8-7556-D650-8D7AA7ADC56D}"/>
                </a:ext>
              </a:extLst>
            </p:cNvPr>
            <p:cNvSpPr/>
            <p:nvPr/>
          </p:nvSpPr>
          <p:spPr>
            <a:xfrm>
              <a:off x="1887251" y="4227893"/>
              <a:ext cx="109823" cy="142970"/>
            </a:xfrm>
            <a:custGeom>
              <a:avLst/>
              <a:gdLst>
                <a:gd name="connsiteX0" fmla="*/ 58579 w 109823"/>
                <a:gd name="connsiteY0" fmla="*/ 142780 h 142970"/>
                <a:gd name="connsiteX1" fmla="*/ 28384 w 109823"/>
                <a:gd name="connsiteY1" fmla="*/ 137541 h 142970"/>
                <a:gd name="connsiteX2" fmla="*/ 0 w 109823"/>
                <a:gd name="connsiteY2" fmla="*/ 121920 h 142970"/>
                <a:gd name="connsiteX3" fmla="*/ 14097 w 109823"/>
                <a:gd name="connsiteY3" fmla="*/ 100489 h 142970"/>
                <a:gd name="connsiteX4" fmla="*/ 36957 w 109823"/>
                <a:gd name="connsiteY4" fmla="*/ 113157 h 142970"/>
                <a:gd name="connsiteX5" fmla="*/ 59341 w 109823"/>
                <a:gd name="connsiteY5" fmla="*/ 117443 h 142970"/>
                <a:gd name="connsiteX6" fmla="*/ 75152 w 109823"/>
                <a:gd name="connsiteY6" fmla="*/ 113443 h 142970"/>
                <a:gd name="connsiteX7" fmla="*/ 80772 w 109823"/>
                <a:gd name="connsiteY7" fmla="*/ 102584 h 142970"/>
                <a:gd name="connsiteX8" fmla="*/ 80772 w 109823"/>
                <a:gd name="connsiteY8" fmla="*/ 102108 h 142970"/>
                <a:gd name="connsiteX9" fmla="*/ 78296 w 109823"/>
                <a:gd name="connsiteY9" fmla="*/ 95345 h 142970"/>
                <a:gd name="connsiteX10" fmla="*/ 71533 w 109823"/>
                <a:gd name="connsiteY10" fmla="*/ 90392 h 142970"/>
                <a:gd name="connsiteX11" fmla="*/ 61627 w 109823"/>
                <a:gd name="connsiteY11" fmla="*/ 86487 h 142970"/>
                <a:gd name="connsiteX12" fmla="*/ 50006 w 109823"/>
                <a:gd name="connsiteY12" fmla="*/ 82868 h 142970"/>
                <a:gd name="connsiteX13" fmla="*/ 34671 w 109823"/>
                <a:gd name="connsiteY13" fmla="*/ 77915 h 142970"/>
                <a:gd name="connsiteX14" fmla="*/ 20860 w 109823"/>
                <a:gd name="connsiteY14" fmla="*/ 70485 h 142970"/>
                <a:gd name="connsiteX15" fmla="*/ 10763 w 109823"/>
                <a:gd name="connsiteY15" fmla="*/ 59150 h 142970"/>
                <a:gd name="connsiteX16" fmla="*/ 6858 w 109823"/>
                <a:gd name="connsiteY16" fmla="*/ 42482 h 142970"/>
                <a:gd name="connsiteX17" fmla="*/ 6858 w 109823"/>
                <a:gd name="connsiteY17" fmla="*/ 42005 h 142970"/>
                <a:gd name="connsiteX18" fmla="*/ 10668 w 109823"/>
                <a:gd name="connsiteY18" fmla="*/ 24575 h 142970"/>
                <a:gd name="connsiteX19" fmla="*/ 21146 w 109823"/>
                <a:gd name="connsiteY19" fmla="*/ 11240 h 142970"/>
                <a:gd name="connsiteX20" fmla="*/ 36862 w 109823"/>
                <a:gd name="connsiteY20" fmla="*/ 2858 h 142970"/>
                <a:gd name="connsiteX21" fmla="*/ 56102 w 109823"/>
                <a:gd name="connsiteY21" fmla="*/ 0 h 142970"/>
                <a:gd name="connsiteX22" fmla="*/ 82486 w 109823"/>
                <a:gd name="connsiteY22" fmla="*/ 4191 h 142970"/>
                <a:gd name="connsiteX23" fmla="*/ 106775 w 109823"/>
                <a:gd name="connsiteY23" fmla="*/ 15812 h 142970"/>
                <a:gd name="connsiteX24" fmla="*/ 94202 w 109823"/>
                <a:gd name="connsiteY24" fmla="*/ 38386 h 142970"/>
                <a:gd name="connsiteX25" fmla="*/ 74104 w 109823"/>
                <a:gd name="connsiteY25" fmla="*/ 28861 h 142970"/>
                <a:gd name="connsiteX26" fmla="*/ 55245 w 109823"/>
                <a:gd name="connsiteY26" fmla="*/ 25337 h 142970"/>
                <a:gd name="connsiteX27" fmla="*/ 40957 w 109823"/>
                <a:gd name="connsiteY27" fmla="*/ 29242 h 142970"/>
                <a:gd name="connsiteX28" fmla="*/ 35909 w 109823"/>
                <a:gd name="connsiteY28" fmla="*/ 39148 h 142970"/>
                <a:gd name="connsiteX29" fmla="*/ 35909 w 109823"/>
                <a:gd name="connsiteY29" fmla="*/ 39719 h 142970"/>
                <a:gd name="connsiteX30" fmla="*/ 38481 w 109823"/>
                <a:gd name="connsiteY30" fmla="*/ 46101 h 142970"/>
                <a:gd name="connsiteX31" fmla="*/ 45434 w 109823"/>
                <a:gd name="connsiteY31" fmla="*/ 51054 h 142970"/>
                <a:gd name="connsiteX32" fmla="*/ 55340 w 109823"/>
                <a:gd name="connsiteY32" fmla="*/ 55245 h 142970"/>
                <a:gd name="connsiteX33" fmla="*/ 66961 w 109823"/>
                <a:gd name="connsiteY33" fmla="*/ 59055 h 142970"/>
                <a:gd name="connsiteX34" fmla="*/ 82105 w 109823"/>
                <a:gd name="connsiteY34" fmla="*/ 64484 h 142970"/>
                <a:gd name="connsiteX35" fmla="*/ 95821 w 109823"/>
                <a:gd name="connsiteY35" fmla="*/ 72200 h 142970"/>
                <a:gd name="connsiteX36" fmla="*/ 105918 w 109823"/>
                <a:gd name="connsiteY36" fmla="*/ 83249 h 142970"/>
                <a:gd name="connsiteX37" fmla="*/ 109823 w 109823"/>
                <a:gd name="connsiteY37" fmla="*/ 99155 h 142970"/>
                <a:gd name="connsiteX38" fmla="*/ 109823 w 109823"/>
                <a:gd name="connsiteY38" fmla="*/ 99632 h 142970"/>
                <a:gd name="connsiteX39" fmla="*/ 105918 w 109823"/>
                <a:gd name="connsiteY39" fmla="*/ 118682 h 142970"/>
                <a:gd name="connsiteX40" fmla="*/ 95059 w 109823"/>
                <a:gd name="connsiteY40" fmla="*/ 132112 h 142970"/>
                <a:gd name="connsiteX41" fmla="*/ 78772 w 109823"/>
                <a:gd name="connsiteY41" fmla="*/ 140208 h 142970"/>
                <a:gd name="connsiteX42" fmla="*/ 58674 w 109823"/>
                <a:gd name="connsiteY42" fmla="*/ 142970 h 142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09823" h="142970">
                  <a:moveTo>
                    <a:pt x="58579" y="142780"/>
                  </a:moveTo>
                  <a:cubicBezTo>
                    <a:pt x="48673" y="142780"/>
                    <a:pt x="38576" y="140970"/>
                    <a:pt x="28384" y="137541"/>
                  </a:cubicBezTo>
                  <a:cubicBezTo>
                    <a:pt x="18193" y="134017"/>
                    <a:pt x="8763" y="128873"/>
                    <a:pt x="0" y="121920"/>
                  </a:cubicBezTo>
                  <a:lnTo>
                    <a:pt x="14097" y="100489"/>
                  </a:lnTo>
                  <a:cubicBezTo>
                    <a:pt x="21622" y="106108"/>
                    <a:pt x="29242" y="110300"/>
                    <a:pt x="36957" y="113157"/>
                  </a:cubicBezTo>
                  <a:cubicBezTo>
                    <a:pt x="44672" y="116015"/>
                    <a:pt x="52197" y="117443"/>
                    <a:pt x="59341" y="117443"/>
                  </a:cubicBezTo>
                  <a:cubicBezTo>
                    <a:pt x="66484" y="117443"/>
                    <a:pt x="71438" y="116110"/>
                    <a:pt x="75152" y="113443"/>
                  </a:cubicBezTo>
                  <a:cubicBezTo>
                    <a:pt x="78867" y="110776"/>
                    <a:pt x="80772" y="107156"/>
                    <a:pt x="80772" y="102584"/>
                  </a:cubicBezTo>
                  <a:lnTo>
                    <a:pt x="80772" y="102108"/>
                  </a:lnTo>
                  <a:cubicBezTo>
                    <a:pt x="80772" y="99536"/>
                    <a:pt x="79915" y="97250"/>
                    <a:pt x="78296" y="95345"/>
                  </a:cubicBezTo>
                  <a:cubicBezTo>
                    <a:pt x="76676" y="93440"/>
                    <a:pt x="74390" y="91821"/>
                    <a:pt x="71533" y="90392"/>
                  </a:cubicBezTo>
                  <a:cubicBezTo>
                    <a:pt x="68675" y="88964"/>
                    <a:pt x="65342" y="87725"/>
                    <a:pt x="61627" y="86487"/>
                  </a:cubicBezTo>
                  <a:cubicBezTo>
                    <a:pt x="57912" y="85249"/>
                    <a:pt x="54007" y="84011"/>
                    <a:pt x="50006" y="82868"/>
                  </a:cubicBezTo>
                  <a:cubicBezTo>
                    <a:pt x="44958" y="81439"/>
                    <a:pt x="39815" y="79820"/>
                    <a:pt x="34671" y="77915"/>
                  </a:cubicBezTo>
                  <a:cubicBezTo>
                    <a:pt x="29527" y="76010"/>
                    <a:pt x="24955" y="73533"/>
                    <a:pt x="20860" y="70485"/>
                  </a:cubicBezTo>
                  <a:cubicBezTo>
                    <a:pt x="16764" y="67437"/>
                    <a:pt x="13430" y="63627"/>
                    <a:pt x="10763" y="59150"/>
                  </a:cubicBezTo>
                  <a:cubicBezTo>
                    <a:pt x="8096" y="54674"/>
                    <a:pt x="6858" y="49054"/>
                    <a:pt x="6858" y="42482"/>
                  </a:cubicBezTo>
                  <a:lnTo>
                    <a:pt x="6858" y="42005"/>
                  </a:lnTo>
                  <a:cubicBezTo>
                    <a:pt x="6858" y="35624"/>
                    <a:pt x="8096" y="29718"/>
                    <a:pt x="10668" y="24575"/>
                  </a:cubicBezTo>
                  <a:cubicBezTo>
                    <a:pt x="13144" y="19336"/>
                    <a:pt x="16669" y="14954"/>
                    <a:pt x="21146" y="11240"/>
                  </a:cubicBezTo>
                  <a:cubicBezTo>
                    <a:pt x="25622" y="7620"/>
                    <a:pt x="30766" y="4763"/>
                    <a:pt x="36862" y="2858"/>
                  </a:cubicBezTo>
                  <a:cubicBezTo>
                    <a:pt x="42863" y="953"/>
                    <a:pt x="49244" y="0"/>
                    <a:pt x="56102" y="0"/>
                  </a:cubicBezTo>
                  <a:cubicBezTo>
                    <a:pt x="64770" y="0"/>
                    <a:pt x="73628" y="1429"/>
                    <a:pt x="82486" y="4191"/>
                  </a:cubicBezTo>
                  <a:cubicBezTo>
                    <a:pt x="91345" y="6953"/>
                    <a:pt x="99441" y="10858"/>
                    <a:pt x="106775" y="15812"/>
                  </a:cubicBezTo>
                  <a:lnTo>
                    <a:pt x="94202" y="38386"/>
                  </a:lnTo>
                  <a:cubicBezTo>
                    <a:pt x="87535" y="34385"/>
                    <a:pt x="80867" y="31242"/>
                    <a:pt x="74104" y="28861"/>
                  </a:cubicBezTo>
                  <a:cubicBezTo>
                    <a:pt x="67342" y="26480"/>
                    <a:pt x="61055" y="25337"/>
                    <a:pt x="55245" y="25337"/>
                  </a:cubicBezTo>
                  <a:cubicBezTo>
                    <a:pt x="49149" y="25337"/>
                    <a:pt x="44386" y="26670"/>
                    <a:pt x="40957" y="29242"/>
                  </a:cubicBezTo>
                  <a:cubicBezTo>
                    <a:pt x="37529" y="31814"/>
                    <a:pt x="35909" y="35147"/>
                    <a:pt x="35909" y="39148"/>
                  </a:cubicBezTo>
                  <a:lnTo>
                    <a:pt x="35909" y="39719"/>
                  </a:lnTo>
                  <a:cubicBezTo>
                    <a:pt x="35909" y="42101"/>
                    <a:pt x="36767" y="44291"/>
                    <a:pt x="38481" y="46101"/>
                  </a:cubicBezTo>
                  <a:cubicBezTo>
                    <a:pt x="40196" y="47911"/>
                    <a:pt x="42481" y="49625"/>
                    <a:pt x="45434" y="51054"/>
                  </a:cubicBezTo>
                  <a:cubicBezTo>
                    <a:pt x="48387" y="52483"/>
                    <a:pt x="51625" y="53912"/>
                    <a:pt x="55340" y="55245"/>
                  </a:cubicBezTo>
                  <a:cubicBezTo>
                    <a:pt x="59055" y="56579"/>
                    <a:pt x="62960" y="57817"/>
                    <a:pt x="66961" y="59055"/>
                  </a:cubicBezTo>
                  <a:cubicBezTo>
                    <a:pt x="72009" y="60579"/>
                    <a:pt x="77057" y="62484"/>
                    <a:pt x="82105" y="64484"/>
                  </a:cubicBezTo>
                  <a:cubicBezTo>
                    <a:pt x="87154" y="66580"/>
                    <a:pt x="91726" y="69152"/>
                    <a:pt x="95821" y="72200"/>
                  </a:cubicBezTo>
                  <a:cubicBezTo>
                    <a:pt x="99917" y="75248"/>
                    <a:pt x="103251" y="78962"/>
                    <a:pt x="105918" y="83249"/>
                  </a:cubicBezTo>
                  <a:cubicBezTo>
                    <a:pt x="108585" y="87535"/>
                    <a:pt x="109823" y="92869"/>
                    <a:pt x="109823" y="99155"/>
                  </a:cubicBezTo>
                  <a:lnTo>
                    <a:pt x="109823" y="99632"/>
                  </a:lnTo>
                  <a:cubicBezTo>
                    <a:pt x="109823" y="106966"/>
                    <a:pt x="108490" y="113252"/>
                    <a:pt x="105918" y="118682"/>
                  </a:cubicBezTo>
                  <a:cubicBezTo>
                    <a:pt x="103346" y="124111"/>
                    <a:pt x="99727" y="128588"/>
                    <a:pt x="95059" y="132112"/>
                  </a:cubicBezTo>
                  <a:cubicBezTo>
                    <a:pt x="90392" y="135636"/>
                    <a:pt x="84963" y="138398"/>
                    <a:pt x="78772" y="140208"/>
                  </a:cubicBezTo>
                  <a:cubicBezTo>
                    <a:pt x="72485" y="142018"/>
                    <a:pt x="65818" y="142970"/>
                    <a:pt x="58674" y="142970"/>
                  </a:cubicBezTo>
                  <a:close/>
                </a:path>
              </a:pathLst>
            </a:custGeom>
            <a:solidFill>
              <a:srgbClr val="43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Freeform: Shape 69">
              <a:extLst>
                <a:ext uri="{FF2B5EF4-FFF2-40B4-BE49-F238E27FC236}">
                  <a16:creationId xmlns:a16="http://schemas.microsoft.com/office/drawing/2014/main" id="{05B52692-A211-ED96-105B-945707C1E166}"/>
                </a:ext>
              </a:extLst>
            </p:cNvPr>
            <p:cNvSpPr/>
            <p:nvPr/>
          </p:nvSpPr>
          <p:spPr>
            <a:xfrm>
              <a:off x="2019839" y="4228179"/>
              <a:ext cx="125158" cy="142779"/>
            </a:xfrm>
            <a:custGeom>
              <a:avLst/>
              <a:gdLst>
                <a:gd name="connsiteX0" fmla="*/ 93726 w 125158"/>
                <a:gd name="connsiteY0" fmla="*/ 139922 h 142779"/>
                <a:gd name="connsiteX1" fmla="*/ 93726 w 125158"/>
                <a:gd name="connsiteY1" fmla="*/ 122968 h 142779"/>
                <a:gd name="connsiteX2" fmla="*/ 75724 w 125158"/>
                <a:gd name="connsiteY2" fmla="*/ 137065 h 142779"/>
                <a:gd name="connsiteX3" fmla="*/ 49054 w 125158"/>
                <a:gd name="connsiteY3" fmla="*/ 142780 h 142779"/>
                <a:gd name="connsiteX4" fmla="*/ 30290 w 125158"/>
                <a:gd name="connsiteY4" fmla="*/ 140017 h 142779"/>
                <a:gd name="connsiteX5" fmla="*/ 14764 w 125158"/>
                <a:gd name="connsiteY5" fmla="*/ 131921 h 142779"/>
                <a:gd name="connsiteX6" fmla="*/ 4096 w 125158"/>
                <a:gd name="connsiteY6" fmla="*/ 118586 h 142779"/>
                <a:gd name="connsiteX7" fmla="*/ 0 w 125158"/>
                <a:gd name="connsiteY7" fmla="*/ 100203 h 142779"/>
                <a:gd name="connsiteX8" fmla="*/ 0 w 125158"/>
                <a:gd name="connsiteY8" fmla="*/ 99727 h 142779"/>
                <a:gd name="connsiteX9" fmla="*/ 4191 w 125158"/>
                <a:gd name="connsiteY9" fmla="*/ 79724 h 142779"/>
                <a:gd name="connsiteX10" fmla="*/ 15812 w 125158"/>
                <a:gd name="connsiteY10" fmla="*/ 65627 h 142779"/>
                <a:gd name="connsiteX11" fmla="*/ 33623 w 125158"/>
                <a:gd name="connsiteY11" fmla="*/ 57245 h 142779"/>
                <a:gd name="connsiteX12" fmla="*/ 56007 w 125158"/>
                <a:gd name="connsiteY12" fmla="*/ 54483 h 142779"/>
                <a:gd name="connsiteX13" fmla="*/ 77343 w 125158"/>
                <a:gd name="connsiteY13" fmla="*/ 56102 h 142779"/>
                <a:gd name="connsiteX14" fmla="*/ 94202 w 125158"/>
                <a:gd name="connsiteY14" fmla="*/ 60293 h 142779"/>
                <a:gd name="connsiteX15" fmla="*/ 94202 w 125158"/>
                <a:gd name="connsiteY15" fmla="*/ 57721 h 142779"/>
                <a:gd name="connsiteX16" fmla="*/ 85439 w 125158"/>
                <a:gd name="connsiteY16" fmla="*/ 35814 h 142779"/>
                <a:gd name="connsiteX17" fmla="*/ 60198 w 125158"/>
                <a:gd name="connsiteY17" fmla="*/ 28194 h 142779"/>
                <a:gd name="connsiteX18" fmla="*/ 39338 w 125158"/>
                <a:gd name="connsiteY18" fmla="*/ 30575 h 142779"/>
                <a:gd name="connsiteX19" fmla="*/ 20765 w 125158"/>
                <a:gd name="connsiteY19" fmla="*/ 36862 h 142779"/>
                <a:gd name="connsiteX20" fmla="*/ 12097 w 125158"/>
                <a:gd name="connsiteY20" fmla="*/ 11525 h 142779"/>
                <a:gd name="connsiteX21" fmla="*/ 35623 w 125158"/>
                <a:gd name="connsiteY21" fmla="*/ 3143 h 142779"/>
                <a:gd name="connsiteX22" fmla="*/ 64579 w 125158"/>
                <a:gd name="connsiteY22" fmla="*/ 0 h 142779"/>
                <a:gd name="connsiteX23" fmla="*/ 110300 w 125158"/>
                <a:gd name="connsiteY23" fmla="*/ 15335 h 142779"/>
                <a:gd name="connsiteX24" fmla="*/ 125158 w 125158"/>
                <a:gd name="connsiteY24" fmla="*/ 58293 h 142779"/>
                <a:gd name="connsiteX25" fmla="*/ 125158 w 125158"/>
                <a:gd name="connsiteY25" fmla="*/ 140113 h 142779"/>
                <a:gd name="connsiteX26" fmla="*/ 93821 w 125158"/>
                <a:gd name="connsiteY26" fmla="*/ 140113 h 142779"/>
                <a:gd name="connsiteX27" fmla="*/ 94488 w 125158"/>
                <a:gd name="connsiteY27" fmla="*/ 82201 h 142779"/>
                <a:gd name="connsiteX28" fmla="*/ 80200 w 125158"/>
                <a:gd name="connsiteY28" fmla="*/ 78295 h 142779"/>
                <a:gd name="connsiteX29" fmla="*/ 62865 w 125158"/>
                <a:gd name="connsiteY29" fmla="*/ 76676 h 142779"/>
                <a:gd name="connsiteX30" fmla="*/ 39624 w 125158"/>
                <a:gd name="connsiteY30" fmla="*/ 82391 h 142779"/>
                <a:gd name="connsiteX31" fmla="*/ 31242 w 125158"/>
                <a:gd name="connsiteY31" fmla="*/ 98107 h 142779"/>
                <a:gd name="connsiteX32" fmla="*/ 31242 w 125158"/>
                <a:gd name="connsiteY32" fmla="*/ 98679 h 142779"/>
                <a:gd name="connsiteX33" fmla="*/ 38957 w 125158"/>
                <a:gd name="connsiteY33" fmla="*/ 113824 h 142779"/>
                <a:gd name="connsiteX34" fmla="*/ 57912 w 125158"/>
                <a:gd name="connsiteY34" fmla="*/ 119063 h 142779"/>
                <a:gd name="connsiteX35" fmla="*/ 72390 w 125158"/>
                <a:gd name="connsiteY35" fmla="*/ 116967 h 142779"/>
                <a:gd name="connsiteX36" fmla="*/ 84011 w 125158"/>
                <a:gd name="connsiteY36" fmla="*/ 111061 h 142779"/>
                <a:gd name="connsiteX37" fmla="*/ 91726 w 125158"/>
                <a:gd name="connsiteY37" fmla="*/ 101917 h 142779"/>
                <a:gd name="connsiteX38" fmla="*/ 94488 w 125158"/>
                <a:gd name="connsiteY38" fmla="*/ 90011 h 142779"/>
                <a:gd name="connsiteX39" fmla="*/ 94488 w 125158"/>
                <a:gd name="connsiteY39" fmla="*/ 82201 h 14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25158" h="142779">
                  <a:moveTo>
                    <a:pt x="93726" y="139922"/>
                  </a:moveTo>
                  <a:lnTo>
                    <a:pt x="93726" y="122968"/>
                  </a:lnTo>
                  <a:cubicBezTo>
                    <a:pt x="89059" y="128588"/>
                    <a:pt x="83058" y="133255"/>
                    <a:pt x="75724" y="137065"/>
                  </a:cubicBezTo>
                  <a:cubicBezTo>
                    <a:pt x="68390" y="140875"/>
                    <a:pt x="59531" y="142780"/>
                    <a:pt x="49054" y="142780"/>
                  </a:cubicBezTo>
                  <a:cubicBezTo>
                    <a:pt x="42481" y="142780"/>
                    <a:pt x="36195" y="141827"/>
                    <a:pt x="30290" y="140017"/>
                  </a:cubicBezTo>
                  <a:cubicBezTo>
                    <a:pt x="24384" y="138208"/>
                    <a:pt x="19145" y="135445"/>
                    <a:pt x="14764" y="131921"/>
                  </a:cubicBezTo>
                  <a:cubicBezTo>
                    <a:pt x="10287" y="128397"/>
                    <a:pt x="6763" y="123920"/>
                    <a:pt x="4096" y="118586"/>
                  </a:cubicBezTo>
                  <a:cubicBezTo>
                    <a:pt x="1429" y="113252"/>
                    <a:pt x="0" y="107156"/>
                    <a:pt x="0" y="100203"/>
                  </a:cubicBezTo>
                  <a:lnTo>
                    <a:pt x="0" y="99727"/>
                  </a:lnTo>
                  <a:cubicBezTo>
                    <a:pt x="0" y="92107"/>
                    <a:pt x="1429" y="85439"/>
                    <a:pt x="4191" y="79724"/>
                  </a:cubicBezTo>
                  <a:cubicBezTo>
                    <a:pt x="6953" y="74104"/>
                    <a:pt x="10858" y="69342"/>
                    <a:pt x="15812" y="65627"/>
                  </a:cubicBezTo>
                  <a:cubicBezTo>
                    <a:pt x="20765" y="61913"/>
                    <a:pt x="26670" y="59055"/>
                    <a:pt x="33623" y="57245"/>
                  </a:cubicBezTo>
                  <a:cubicBezTo>
                    <a:pt x="40481" y="55435"/>
                    <a:pt x="47911" y="54483"/>
                    <a:pt x="56007" y="54483"/>
                  </a:cubicBezTo>
                  <a:cubicBezTo>
                    <a:pt x="64103" y="54483"/>
                    <a:pt x="71438" y="55054"/>
                    <a:pt x="77343" y="56102"/>
                  </a:cubicBezTo>
                  <a:cubicBezTo>
                    <a:pt x="83248" y="57150"/>
                    <a:pt x="88773" y="58579"/>
                    <a:pt x="94202" y="60293"/>
                  </a:cubicBezTo>
                  <a:lnTo>
                    <a:pt x="94202" y="57721"/>
                  </a:lnTo>
                  <a:cubicBezTo>
                    <a:pt x="94202" y="48196"/>
                    <a:pt x="91250" y="40862"/>
                    <a:pt x="85439" y="35814"/>
                  </a:cubicBezTo>
                  <a:cubicBezTo>
                    <a:pt x="79629" y="30766"/>
                    <a:pt x="71152" y="28194"/>
                    <a:pt x="60198" y="28194"/>
                  </a:cubicBezTo>
                  <a:cubicBezTo>
                    <a:pt x="52388" y="28194"/>
                    <a:pt x="45434" y="28956"/>
                    <a:pt x="39338" y="30575"/>
                  </a:cubicBezTo>
                  <a:cubicBezTo>
                    <a:pt x="33242" y="32194"/>
                    <a:pt x="27051" y="34195"/>
                    <a:pt x="20765" y="36862"/>
                  </a:cubicBezTo>
                  <a:lnTo>
                    <a:pt x="12097" y="11525"/>
                  </a:lnTo>
                  <a:cubicBezTo>
                    <a:pt x="19717" y="8001"/>
                    <a:pt x="27623" y="5239"/>
                    <a:pt x="35623" y="3143"/>
                  </a:cubicBezTo>
                  <a:cubicBezTo>
                    <a:pt x="43625" y="1048"/>
                    <a:pt x="53340" y="0"/>
                    <a:pt x="64579" y="0"/>
                  </a:cubicBezTo>
                  <a:cubicBezTo>
                    <a:pt x="85154" y="0"/>
                    <a:pt x="100394" y="5143"/>
                    <a:pt x="110300" y="15335"/>
                  </a:cubicBezTo>
                  <a:cubicBezTo>
                    <a:pt x="120206" y="25527"/>
                    <a:pt x="125158" y="39814"/>
                    <a:pt x="125158" y="58293"/>
                  </a:cubicBezTo>
                  <a:lnTo>
                    <a:pt x="125158" y="140113"/>
                  </a:lnTo>
                  <a:lnTo>
                    <a:pt x="93821" y="140113"/>
                  </a:lnTo>
                  <a:close/>
                  <a:moveTo>
                    <a:pt x="94488" y="82201"/>
                  </a:moveTo>
                  <a:cubicBezTo>
                    <a:pt x="90488" y="80581"/>
                    <a:pt x="85725" y="79343"/>
                    <a:pt x="80200" y="78295"/>
                  </a:cubicBezTo>
                  <a:cubicBezTo>
                    <a:pt x="74676" y="77248"/>
                    <a:pt x="68961" y="76676"/>
                    <a:pt x="62865" y="76676"/>
                  </a:cubicBezTo>
                  <a:cubicBezTo>
                    <a:pt x="52959" y="76676"/>
                    <a:pt x="45148" y="78581"/>
                    <a:pt x="39624" y="82391"/>
                  </a:cubicBezTo>
                  <a:cubicBezTo>
                    <a:pt x="34100" y="86201"/>
                    <a:pt x="31242" y="91440"/>
                    <a:pt x="31242" y="98107"/>
                  </a:cubicBezTo>
                  <a:lnTo>
                    <a:pt x="31242" y="98679"/>
                  </a:lnTo>
                  <a:cubicBezTo>
                    <a:pt x="31242" y="105346"/>
                    <a:pt x="33814" y="110395"/>
                    <a:pt x="38957" y="113824"/>
                  </a:cubicBezTo>
                  <a:cubicBezTo>
                    <a:pt x="44101" y="117348"/>
                    <a:pt x="50387" y="119063"/>
                    <a:pt x="57912" y="119063"/>
                  </a:cubicBezTo>
                  <a:cubicBezTo>
                    <a:pt x="63151" y="119063"/>
                    <a:pt x="68008" y="118396"/>
                    <a:pt x="72390" y="116967"/>
                  </a:cubicBezTo>
                  <a:cubicBezTo>
                    <a:pt x="76867" y="115538"/>
                    <a:pt x="80677" y="113633"/>
                    <a:pt x="84011" y="111061"/>
                  </a:cubicBezTo>
                  <a:cubicBezTo>
                    <a:pt x="87344" y="108585"/>
                    <a:pt x="89916" y="105537"/>
                    <a:pt x="91726" y="101917"/>
                  </a:cubicBezTo>
                  <a:cubicBezTo>
                    <a:pt x="93536" y="98298"/>
                    <a:pt x="94488" y="94393"/>
                    <a:pt x="94488" y="90011"/>
                  </a:cubicBezTo>
                  <a:lnTo>
                    <a:pt x="94488" y="82201"/>
                  </a:lnTo>
                  <a:close/>
                </a:path>
              </a:pathLst>
            </a:custGeom>
            <a:solidFill>
              <a:srgbClr val="43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Freeform: Shape 70">
              <a:extLst>
                <a:ext uri="{FF2B5EF4-FFF2-40B4-BE49-F238E27FC236}">
                  <a16:creationId xmlns:a16="http://schemas.microsoft.com/office/drawing/2014/main" id="{64A6B5D7-88A8-5F15-91CF-A1557C325822}"/>
                </a:ext>
              </a:extLst>
            </p:cNvPr>
            <p:cNvSpPr/>
            <p:nvPr/>
          </p:nvSpPr>
          <p:spPr>
            <a:xfrm>
              <a:off x="2171287" y="4227893"/>
              <a:ext cx="109823" cy="142970"/>
            </a:xfrm>
            <a:custGeom>
              <a:avLst/>
              <a:gdLst>
                <a:gd name="connsiteX0" fmla="*/ 58579 w 109823"/>
                <a:gd name="connsiteY0" fmla="*/ 142780 h 142970"/>
                <a:gd name="connsiteX1" fmla="*/ 28385 w 109823"/>
                <a:gd name="connsiteY1" fmla="*/ 137541 h 142970"/>
                <a:gd name="connsiteX2" fmla="*/ 0 w 109823"/>
                <a:gd name="connsiteY2" fmla="*/ 121920 h 142970"/>
                <a:gd name="connsiteX3" fmla="*/ 14097 w 109823"/>
                <a:gd name="connsiteY3" fmla="*/ 100489 h 142970"/>
                <a:gd name="connsiteX4" fmla="*/ 36957 w 109823"/>
                <a:gd name="connsiteY4" fmla="*/ 113157 h 142970"/>
                <a:gd name="connsiteX5" fmla="*/ 59246 w 109823"/>
                <a:gd name="connsiteY5" fmla="*/ 117443 h 142970"/>
                <a:gd name="connsiteX6" fmla="*/ 75057 w 109823"/>
                <a:gd name="connsiteY6" fmla="*/ 113443 h 142970"/>
                <a:gd name="connsiteX7" fmla="*/ 80677 w 109823"/>
                <a:gd name="connsiteY7" fmla="*/ 102584 h 142970"/>
                <a:gd name="connsiteX8" fmla="*/ 80677 w 109823"/>
                <a:gd name="connsiteY8" fmla="*/ 102108 h 142970"/>
                <a:gd name="connsiteX9" fmla="*/ 78200 w 109823"/>
                <a:gd name="connsiteY9" fmla="*/ 95345 h 142970"/>
                <a:gd name="connsiteX10" fmla="*/ 71438 w 109823"/>
                <a:gd name="connsiteY10" fmla="*/ 90392 h 142970"/>
                <a:gd name="connsiteX11" fmla="*/ 61532 w 109823"/>
                <a:gd name="connsiteY11" fmla="*/ 86487 h 142970"/>
                <a:gd name="connsiteX12" fmla="*/ 49911 w 109823"/>
                <a:gd name="connsiteY12" fmla="*/ 82868 h 142970"/>
                <a:gd name="connsiteX13" fmla="*/ 34671 w 109823"/>
                <a:gd name="connsiteY13" fmla="*/ 77915 h 142970"/>
                <a:gd name="connsiteX14" fmla="*/ 20860 w 109823"/>
                <a:gd name="connsiteY14" fmla="*/ 70485 h 142970"/>
                <a:gd name="connsiteX15" fmla="*/ 10763 w 109823"/>
                <a:gd name="connsiteY15" fmla="*/ 59150 h 142970"/>
                <a:gd name="connsiteX16" fmla="*/ 6858 w 109823"/>
                <a:gd name="connsiteY16" fmla="*/ 42482 h 142970"/>
                <a:gd name="connsiteX17" fmla="*/ 6858 w 109823"/>
                <a:gd name="connsiteY17" fmla="*/ 42005 h 142970"/>
                <a:gd name="connsiteX18" fmla="*/ 10668 w 109823"/>
                <a:gd name="connsiteY18" fmla="*/ 24575 h 142970"/>
                <a:gd name="connsiteX19" fmla="*/ 21146 w 109823"/>
                <a:gd name="connsiteY19" fmla="*/ 11240 h 142970"/>
                <a:gd name="connsiteX20" fmla="*/ 36862 w 109823"/>
                <a:gd name="connsiteY20" fmla="*/ 2858 h 142970"/>
                <a:gd name="connsiteX21" fmla="*/ 56102 w 109823"/>
                <a:gd name="connsiteY21" fmla="*/ 0 h 142970"/>
                <a:gd name="connsiteX22" fmla="*/ 82487 w 109823"/>
                <a:gd name="connsiteY22" fmla="*/ 4191 h 142970"/>
                <a:gd name="connsiteX23" fmla="*/ 106775 w 109823"/>
                <a:gd name="connsiteY23" fmla="*/ 15812 h 142970"/>
                <a:gd name="connsiteX24" fmla="*/ 94202 w 109823"/>
                <a:gd name="connsiteY24" fmla="*/ 38386 h 142970"/>
                <a:gd name="connsiteX25" fmla="*/ 74105 w 109823"/>
                <a:gd name="connsiteY25" fmla="*/ 28861 h 142970"/>
                <a:gd name="connsiteX26" fmla="*/ 55340 w 109823"/>
                <a:gd name="connsiteY26" fmla="*/ 25337 h 142970"/>
                <a:gd name="connsiteX27" fmla="*/ 41053 w 109823"/>
                <a:gd name="connsiteY27" fmla="*/ 29242 h 142970"/>
                <a:gd name="connsiteX28" fmla="*/ 35909 w 109823"/>
                <a:gd name="connsiteY28" fmla="*/ 39148 h 142970"/>
                <a:gd name="connsiteX29" fmla="*/ 35909 w 109823"/>
                <a:gd name="connsiteY29" fmla="*/ 39719 h 142970"/>
                <a:gd name="connsiteX30" fmla="*/ 38481 w 109823"/>
                <a:gd name="connsiteY30" fmla="*/ 46101 h 142970"/>
                <a:gd name="connsiteX31" fmla="*/ 45434 w 109823"/>
                <a:gd name="connsiteY31" fmla="*/ 51054 h 142970"/>
                <a:gd name="connsiteX32" fmla="*/ 55340 w 109823"/>
                <a:gd name="connsiteY32" fmla="*/ 55245 h 142970"/>
                <a:gd name="connsiteX33" fmla="*/ 66961 w 109823"/>
                <a:gd name="connsiteY33" fmla="*/ 59055 h 142970"/>
                <a:gd name="connsiteX34" fmla="*/ 82106 w 109823"/>
                <a:gd name="connsiteY34" fmla="*/ 64484 h 142970"/>
                <a:gd name="connsiteX35" fmla="*/ 95822 w 109823"/>
                <a:gd name="connsiteY35" fmla="*/ 72200 h 142970"/>
                <a:gd name="connsiteX36" fmla="*/ 105918 w 109823"/>
                <a:gd name="connsiteY36" fmla="*/ 83249 h 142970"/>
                <a:gd name="connsiteX37" fmla="*/ 109823 w 109823"/>
                <a:gd name="connsiteY37" fmla="*/ 99155 h 142970"/>
                <a:gd name="connsiteX38" fmla="*/ 109823 w 109823"/>
                <a:gd name="connsiteY38" fmla="*/ 99632 h 142970"/>
                <a:gd name="connsiteX39" fmla="*/ 105918 w 109823"/>
                <a:gd name="connsiteY39" fmla="*/ 118682 h 142970"/>
                <a:gd name="connsiteX40" fmla="*/ 95060 w 109823"/>
                <a:gd name="connsiteY40" fmla="*/ 132112 h 142970"/>
                <a:gd name="connsiteX41" fmla="*/ 78772 w 109823"/>
                <a:gd name="connsiteY41" fmla="*/ 140208 h 142970"/>
                <a:gd name="connsiteX42" fmla="*/ 58674 w 109823"/>
                <a:gd name="connsiteY42" fmla="*/ 142970 h 142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09823" h="142970">
                  <a:moveTo>
                    <a:pt x="58579" y="142780"/>
                  </a:moveTo>
                  <a:cubicBezTo>
                    <a:pt x="48673" y="142780"/>
                    <a:pt x="38576" y="140970"/>
                    <a:pt x="28385" y="137541"/>
                  </a:cubicBezTo>
                  <a:cubicBezTo>
                    <a:pt x="18193" y="134017"/>
                    <a:pt x="8763" y="128873"/>
                    <a:pt x="0" y="121920"/>
                  </a:cubicBezTo>
                  <a:lnTo>
                    <a:pt x="14097" y="100489"/>
                  </a:lnTo>
                  <a:cubicBezTo>
                    <a:pt x="21622" y="106108"/>
                    <a:pt x="29242" y="110300"/>
                    <a:pt x="36957" y="113157"/>
                  </a:cubicBezTo>
                  <a:cubicBezTo>
                    <a:pt x="44672" y="116015"/>
                    <a:pt x="52102" y="117443"/>
                    <a:pt x="59246" y="117443"/>
                  </a:cubicBezTo>
                  <a:cubicBezTo>
                    <a:pt x="66389" y="117443"/>
                    <a:pt x="71342" y="116110"/>
                    <a:pt x="75057" y="113443"/>
                  </a:cubicBezTo>
                  <a:cubicBezTo>
                    <a:pt x="78772" y="110776"/>
                    <a:pt x="80677" y="107156"/>
                    <a:pt x="80677" y="102584"/>
                  </a:cubicBezTo>
                  <a:lnTo>
                    <a:pt x="80677" y="102108"/>
                  </a:lnTo>
                  <a:cubicBezTo>
                    <a:pt x="80677" y="99536"/>
                    <a:pt x="79820" y="97250"/>
                    <a:pt x="78200" y="95345"/>
                  </a:cubicBezTo>
                  <a:cubicBezTo>
                    <a:pt x="76581" y="93440"/>
                    <a:pt x="74295" y="91821"/>
                    <a:pt x="71438" y="90392"/>
                  </a:cubicBezTo>
                  <a:cubicBezTo>
                    <a:pt x="68580" y="88964"/>
                    <a:pt x="65246" y="87725"/>
                    <a:pt x="61532" y="86487"/>
                  </a:cubicBezTo>
                  <a:cubicBezTo>
                    <a:pt x="57817" y="85249"/>
                    <a:pt x="53912" y="84011"/>
                    <a:pt x="49911" y="82868"/>
                  </a:cubicBezTo>
                  <a:cubicBezTo>
                    <a:pt x="44863" y="81439"/>
                    <a:pt x="39719" y="79820"/>
                    <a:pt x="34671" y="77915"/>
                  </a:cubicBezTo>
                  <a:cubicBezTo>
                    <a:pt x="29528" y="76010"/>
                    <a:pt x="24956" y="73533"/>
                    <a:pt x="20860" y="70485"/>
                  </a:cubicBezTo>
                  <a:cubicBezTo>
                    <a:pt x="16764" y="67437"/>
                    <a:pt x="13430" y="63627"/>
                    <a:pt x="10763" y="59150"/>
                  </a:cubicBezTo>
                  <a:cubicBezTo>
                    <a:pt x="8192" y="54674"/>
                    <a:pt x="6858" y="49054"/>
                    <a:pt x="6858" y="42482"/>
                  </a:cubicBezTo>
                  <a:lnTo>
                    <a:pt x="6858" y="42005"/>
                  </a:lnTo>
                  <a:cubicBezTo>
                    <a:pt x="6858" y="35624"/>
                    <a:pt x="8096" y="29718"/>
                    <a:pt x="10668" y="24575"/>
                  </a:cubicBezTo>
                  <a:cubicBezTo>
                    <a:pt x="13240" y="19336"/>
                    <a:pt x="16669" y="14954"/>
                    <a:pt x="21146" y="11240"/>
                  </a:cubicBezTo>
                  <a:cubicBezTo>
                    <a:pt x="25622" y="7620"/>
                    <a:pt x="30766" y="4763"/>
                    <a:pt x="36862" y="2858"/>
                  </a:cubicBezTo>
                  <a:cubicBezTo>
                    <a:pt x="42863" y="953"/>
                    <a:pt x="49244" y="0"/>
                    <a:pt x="56102" y="0"/>
                  </a:cubicBezTo>
                  <a:cubicBezTo>
                    <a:pt x="64770" y="0"/>
                    <a:pt x="73628" y="1429"/>
                    <a:pt x="82487" y="4191"/>
                  </a:cubicBezTo>
                  <a:cubicBezTo>
                    <a:pt x="91345" y="6953"/>
                    <a:pt x="99441" y="10858"/>
                    <a:pt x="106775" y="15812"/>
                  </a:cubicBezTo>
                  <a:lnTo>
                    <a:pt x="94202" y="38386"/>
                  </a:lnTo>
                  <a:cubicBezTo>
                    <a:pt x="87535" y="34385"/>
                    <a:pt x="80867" y="31242"/>
                    <a:pt x="74105" y="28861"/>
                  </a:cubicBezTo>
                  <a:cubicBezTo>
                    <a:pt x="67342" y="26480"/>
                    <a:pt x="61055" y="25337"/>
                    <a:pt x="55340" y="25337"/>
                  </a:cubicBezTo>
                  <a:cubicBezTo>
                    <a:pt x="49244" y="25337"/>
                    <a:pt x="44482" y="26670"/>
                    <a:pt x="41053" y="29242"/>
                  </a:cubicBezTo>
                  <a:cubicBezTo>
                    <a:pt x="37624" y="31814"/>
                    <a:pt x="35909" y="35147"/>
                    <a:pt x="35909" y="39148"/>
                  </a:cubicBezTo>
                  <a:lnTo>
                    <a:pt x="35909" y="39719"/>
                  </a:lnTo>
                  <a:cubicBezTo>
                    <a:pt x="35909" y="42101"/>
                    <a:pt x="36767" y="44291"/>
                    <a:pt x="38481" y="46101"/>
                  </a:cubicBezTo>
                  <a:cubicBezTo>
                    <a:pt x="40196" y="47911"/>
                    <a:pt x="42482" y="49625"/>
                    <a:pt x="45434" y="51054"/>
                  </a:cubicBezTo>
                  <a:cubicBezTo>
                    <a:pt x="48387" y="52483"/>
                    <a:pt x="51626" y="53912"/>
                    <a:pt x="55340" y="55245"/>
                  </a:cubicBezTo>
                  <a:cubicBezTo>
                    <a:pt x="59055" y="56579"/>
                    <a:pt x="62960" y="57817"/>
                    <a:pt x="66961" y="59055"/>
                  </a:cubicBezTo>
                  <a:cubicBezTo>
                    <a:pt x="72009" y="60579"/>
                    <a:pt x="77057" y="62484"/>
                    <a:pt x="82106" y="64484"/>
                  </a:cubicBezTo>
                  <a:cubicBezTo>
                    <a:pt x="87154" y="66580"/>
                    <a:pt x="91726" y="69152"/>
                    <a:pt x="95822" y="72200"/>
                  </a:cubicBezTo>
                  <a:cubicBezTo>
                    <a:pt x="99917" y="75248"/>
                    <a:pt x="103251" y="78962"/>
                    <a:pt x="105918" y="83249"/>
                  </a:cubicBezTo>
                  <a:cubicBezTo>
                    <a:pt x="108490" y="87630"/>
                    <a:pt x="109823" y="92869"/>
                    <a:pt x="109823" y="99155"/>
                  </a:cubicBezTo>
                  <a:lnTo>
                    <a:pt x="109823" y="99632"/>
                  </a:lnTo>
                  <a:cubicBezTo>
                    <a:pt x="109823" y="106966"/>
                    <a:pt x="108490" y="113252"/>
                    <a:pt x="105918" y="118682"/>
                  </a:cubicBezTo>
                  <a:cubicBezTo>
                    <a:pt x="103346" y="124111"/>
                    <a:pt x="99727" y="128588"/>
                    <a:pt x="95060" y="132112"/>
                  </a:cubicBezTo>
                  <a:cubicBezTo>
                    <a:pt x="90392" y="135636"/>
                    <a:pt x="84963" y="138398"/>
                    <a:pt x="78772" y="140208"/>
                  </a:cubicBezTo>
                  <a:cubicBezTo>
                    <a:pt x="72581" y="142018"/>
                    <a:pt x="65818" y="142970"/>
                    <a:pt x="58674" y="142970"/>
                  </a:cubicBezTo>
                  <a:close/>
                </a:path>
              </a:pathLst>
            </a:custGeom>
            <a:solidFill>
              <a:srgbClr val="43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Freeform: Shape 71">
              <a:extLst>
                <a:ext uri="{FF2B5EF4-FFF2-40B4-BE49-F238E27FC236}">
                  <a16:creationId xmlns:a16="http://schemas.microsoft.com/office/drawing/2014/main" id="{7BFD6A6E-3B61-4D04-729B-C75A69345F5E}"/>
                </a:ext>
              </a:extLst>
            </p:cNvPr>
            <p:cNvSpPr/>
            <p:nvPr/>
          </p:nvSpPr>
          <p:spPr>
            <a:xfrm>
              <a:off x="2391600" y="4227226"/>
              <a:ext cx="210121" cy="140970"/>
            </a:xfrm>
            <a:custGeom>
              <a:avLst/>
              <a:gdLst>
                <a:gd name="connsiteX0" fmla="*/ 0 w 210121"/>
                <a:gd name="connsiteY0" fmla="*/ 2858 h 140970"/>
                <a:gd name="connsiteX1" fmla="*/ 31909 w 210121"/>
                <a:gd name="connsiteY1" fmla="*/ 2858 h 140970"/>
                <a:gd name="connsiteX2" fmla="*/ 31909 w 210121"/>
                <a:gd name="connsiteY2" fmla="*/ 24003 h 140970"/>
                <a:gd name="connsiteX3" fmla="*/ 39243 w 210121"/>
                <a:gd name="connsiteY3" fmla="*/ 15050 h 140970"/>
                <a:gd name="connsiteX4" fmla="*/ 48196 w 210121"/>
                <a:gd name="connsiteY4" fmla="*/ 7429 h 140970"/>
                <a:gd name="connsiteX5" fmla="*/ 59626 w 210121"/>
                <a:gd name="connsiteY5" fmla="*/ 2000 h 140970"/>
                <a:gd name="connsiteX6" fmla="*/ 73819 w 210121"/>
                <a:gd name="connsiteY6" fmla="*/ 0 h 140970"/>
                <a:gd name="connsiteX7" fmla="*/ 98965 w 210121"/>
                <a:gd name="connsiteY7" fmla="*/ 6763 h 140970"/>
                <a:gd name="connsiteX8" fmla="*/ 114681 w 210121"/>
                <a:gd name="connsiteY8" fmla="*/ 24575 h 140970"/>
                <a:gd name="connsiteX9" fmla="*/ 134493 w 210121"/>
                <a:gd name="connsiteY9" fmla="*/ 6763 h 140970"/>
                <a:gd name="connsiteX10" fmla="*/ 161639 w 210121"/>
                <a:gd name="connsiteY10" fmla="*/ 0 h 140970"/>
                <a:gd name="connsiteX11" fmla="*/ 197263 w 210121"/>
                <a:gd name="connsiteY11" fmla="*/ 13716 h 140970"/>
                <a:gd name="connsiteX12" fmla="*/ 210121 w 210121"/>
                <a:gd name="connsiteY12" fmla="*/ 52768 h 140970"/>
                <a:gd name="connsiteX13" fmla="*/ 210121 w 210121"/>
                <a:gd name="connsiteY13" fmla="*/ 140875 h 140970"/>
                <a:gd name="connsiteX14" fmla="*/ 178213 w 210121"/>
                <a:gd name="connsiteY14" fmla="*/ 140875 h 140970"/>
                <a:gd name="connsiteX15" fmla="*/ 178213 w 210121"/>
                <a:gd name="connsiteY15" fmla="*/ 62675 h 140970"/>
                <a:gd name="connsiteX16" fmla="*/ 170974 w 210121"/>
                <a:gd name="connsiteY16" fmla="*/ 37624 h 140970"/>
                <a:gd name="connsiteX17" fmla="*/ 150400 w 210121"/>
                <a:gd name="connsiteY17" fmla="*/ 29051 h 140970"/>
                <a:gd name="connsiteX18" fmla="*/ 129254 w 210121"/>
                <a:gd name="connsiteY18" fmla="*/ 37814 h 140970"/>
                <a:gd name="connsiteX19" fmla="*/ 121063 w 210121"/>
                <a:gd name="connsiteY19" fmla="*/ 63246 h 140970"/>
                <a:gd name="connsiteX20" fmla="*/ 121063 w 210121"/>
                <a:gd name="connsiteY20" fmla="*/ 140970 h 140970"/>
                <a:gd name="connsiteX21" fmla="*/ 89154 w 210121"/>
                <a:gd name="connsiteY21" fmla="*/ 140970 h 140970"/>
                <a:gd name="connsiteX22" fmla="*/ 89154 w 210121"/>
                <a:gd name="connsiteY22" fmla="*/ 62484 h 140970"/>
                <a:gd name="connsiteX23" fmla="*/ 81915 w 210121"/>
                <a:gd name="connsiteY23" fmla="*/ 37719 h 140970"/>
                <a:gd name="connsiteX24" fmla="*/ 61341 w 210121"/>
                <a:gd name="connsiteY24" fmla="*/ 29146 h 140970"/>
                <a:gd name="connsiteX25" fmla="*/ 40005 w 210121"/>
                <a:gd name="connsiteY25" fmla="*/ 38291 h 140970"/>
                <a:gd name="connsiteX26" fmla="*/ 31909 w 210121"/>
                <a:gd name="connsiteY26" fmla="*/ 63532 h 140970"/>
                <a:gd name="connsiteX27" fmla="*/ 31909 w 210121"/>
                <a:gd name="connsiteY27" fmla="*/ 140970 h 140970"/>
                <a:gd name="connsiteX28" fmla="*/ 0 w 210121"/>
                <a:gd name="connsiteY28" fmla="*/ 140970 h 140970"/>
                <a:gd name="connsiteX29" fmla="*/ 0 w 210121"/>
                <a:gd name="connsiteY29" fmla="*/ 3048 h 140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0121" h="140970">
                  <a:moveTo>
                    <a:pt x="0" y="2858"/>
                  </a:moveTo>
                  <a:lnTo>
                    <a:pt x="31909" y="2858"/>
                  </a:lnTo>
                  <a:lnTo>
                    <a:pt x="31909" y="24003"/>
                  </a:lnTo>
                  <a:cubicBezTo>
                    <a:pt x="34195" y="20860"/>
                    <a:pt x="36576" y="17812"/>
                    <a:pt x="39243" y="15050"/>
                  </a:cubicBezTo>
                  <a:cubicBezTo>
                    <a:pt x="41815" y="12287"/>
                    <a:pt x="44863" y="9716"/>
                    <a:pt x="48196" y="7429"/>
                  </a:cubicBezTo>
                  <a:cubicBezTo>
                    <a:pt x="51625" y="5143"/>
                    <a:pt x="55436" y="3334"/>
                    <a:pt x="59626" y="2000"/>
                  </a:cubicBezTo>
                  <a:cubicBezTo>
                    <a:pt x="63913" y="667"/>
                    <a:pt x="68580" y="0"/>
                    <a:pt x="73819" y="0"/>
                  </a:cubicBezTo>
                  <a:cubicBezTo>
                    <a:pt x="83725" y="0"/>
                    <a:pt x="92107" y="2286"/>
                    <a:pt x="98965" y="6763"/>
                  </a:cubicBezTo>
                  <a:cubicBezTo>
                    <a:pt x="105823" y="11239"/>
                    <a:pt x="111062" y="17145"/>
                    <a:pt x="114681" y="24575"/>
                  </a:cubicBezTo>
                  <a:cubicBezTo>
                    <a:pt x="120301" y="17240"/>
                    <a:pt x="126873" y="11239"/>
                    <a:pt x="134493" y="6763"/>
                  </a:cubicBezTo>
                  <a:cubicBezTo>
                    <a:pt x="142113" y="2286"/>
                    <a:pt x="151162" y="0"/>
                    <a:pt x="161639" y="0"/>
                  </a:cubicBezTo>
                  <a:cubicBezTo>
                    <a:pt x="176879" y="0"/>
                    <a:pt x="188690" y="4572"/>
                    <a:pt x="197263" y="13716"/>
                  </a:cubicBezTo>
                  <a:cubicBezTo>
                    <a:pt x="205835" y="22860"/>
                    <a:pt x="210121" y="35909"/>
                    <a:pt x="210121" y="52768"/>
                  </a:cubicBezTo>
                  <a:lnTo>
                    <a:pt x="210121" y="140875"/>
                  </a:lnTo>
                  <a:lnTo>
                    <a:pt x="178213" y="140875"/>
                  </a:lnTo>
                  <a:lnTo>
                    <a:pt x="178213" y="62675"/>
                  </a:lnTo>
                  <a:cubicBezTo>
                    <a:pt x="178213" y="51721"/>
                    <a:pt x="175832" y="43339"/>
                    <a:pt x="170974" y="37624"/>
                  </a:cubicBezTo>
                  <a:cubicBezTo>
                    <a:pt x="166116" y="31909"/>
                    <a:pt x="159258" y="29051"/>
                    <a:pt x="150400" y="29051"/>
                  </a:cubicBezTo>
                  <a:cubicBezTo>
                    <a:pt x="141542" y="29051"/>
                    <a:pt x="134684" y="32004"/>
                    <a:pt x="129254" y="37814"/>
                  </a:cubicBezTo>
                  <a:cubicBezTo>
                    <a:pt x="123825" y="43625"/>
                    <a:pt x="121063" y="52102"/>
                    <a:pt x="121063" y="63246"/>
                  </a:cubicBezTo>
                  <a:lnTo>
                    <a:pt x="121063" y="140970"/>
                  </a:lnTo>
                  <a:lnTo>
                    <a:pt x="89154" y="140970"/>
                  </a:lnTo>
                  <a:lnTo>
                    <a:pt x="89154" y="62484"/>
                  </a:lnTo>
                  <a:cubicBezTo>
                    <a:pt x="89154" y="51721"/>
                    <a:pt x="86678" y="43434"/>
                    <a:pt x="81915" y="37719"/>
                  </a:cubicBezTo>
                  <a:cubicBezTo>
                    <a:pt x="77057" y="32004"/>
                    <a:pt x="70199" y="29146"/>
                    <a:pt x="61341" y="29146"/>
                  </a:cubicBezTo>
                  <a:cubicBezTo>
                    <a:pt x="52483" y="29146"/>
                    <a:pt x="45434" y="32195"/>
                    <a:pt x="40005" y="38291"/>
                  </a:cubicBezTo>
                  <a:cubicBezTo>
                    <a:pt x="34671" y="44387"/>
                    <a:pt x="31909" y="52768"/>
                    <a:pt x="31909" y="63532"/>
                  </a:cubicBezTo>
                  <a:lnTo>
                    <a:pt x="31909" y="140970"/>
                  </a:lnTo>
                  <a:lnTo>
                    <a:pt x="0" y="140970"/>
                  </a:lnTo>
                  <a:lnTo>
                    <a:pt x="0" y="3048"/>
                  </a:lnTo>
                  <a:close/>
                </a:path>
              </a:pathLst>
            </a:custGeom>
            <a:solidFill>
              <a:srgbClr val="43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Freeform: Shape 72">
              <a:extLst>
                <a:ext uri="{FF2B5EF4-FFF2-40B4-BE49-F238E27FC236}">
                  <a16:creationId xmlns:a16="http://schemas.microsoft.com/office/drawing/2014/main" id="{0EB0EB75-069A-3F12-F838-1C1EBAC11DBB}"/>
                </a:ext>
              </a:extLst>
            </p:cNvPr>
            <p:cNvSpPr/>
            <p:nvPr/>
          </p:nvSpPr>
          <p:spPr>
            <a:xfrm>
              <a:off x="2630487" y="4174648"/>
              <a:ext cx="125158" cy="196310"/>
            </a:xfrm>
            <a:custGeom>
              <a:avLst/>
              <a:gdLst>
                <a:gd name="connsiteX0" fmla="*/ 93726 w 125158"/>
                <a:gd name="connsiteY0" fmla="*/ 193453 h 196310"/>
                <a:gd name="connsiteX1" fmla="*/ 93726 w 125158"/>
                <a:gd name="connsiteY1" fmla="*/ 176498 h 196310"/>
                <a:gd name="connsiteX2" fmla="*/ 75724 w 125158"/>
                <a:gd name="connsiteY2" fmla="*/ 190595 h 196310"/>
                <a:gd name="connsiteX3" fmla="*/ 49054 w 125158"/>
                <a:gd name="connsiteY3" fmla="*/ 196310 h 196310"/>
                <a:gd name="connsiteX4" fmla="*/ 30289 w 125158"/>
                <a:gd name="connsiteY4" fmla="*/ 193548 h 196310"/>
                <a:gd name="connsiteX5" fmla="*/ 14764 w 125158"/>
                <a:gd name="connsiteY5" fmla="*/ 185452 h 196310"/>
                <a:gd name="connsiteX6" fmla="*/ 4096 w 125158"/>
                <a:gd name="connsiteY6" fmla="*/ 172117 h 196310"/>
                <a:gd name="connsiteX7" fmla="*/ 0 w 125158"/>
                <a:gd name="connsiteY7" fmla="*/ 153734 h 196310"/>
                <a:gd name="connsiteX8" fmla="*/ 0 w 125158"/>
                <a:gd name="connsiteY8" fmla="*/ 153257 h 196310"/>
                <a:gd name="connsiteX9" fmla="*/ 4191 w 125158"/>
                <a:gd name="connsiteY9" fmla="*/ 133255 h 196310"/>
                <a:gd name="connsiteX10" fmla="*/ 15812 w 125158"/>
                <a:gd name="connsiteY10" fmla="*/ 119158 h 196310"/>
                <a:gd name="connsiteX11" fmla="*/ 33623 w 125158"/>
                <a:gd name="connsiteY11" fmla="*/ 110776 h 196310"/>
                <a:gd name="connsiteX12" fmla="*/ 56007 w 125158"/>
                <a:gd name="connsiteY12" fmla="*/ 108013 h 196310"/>
                <a:gd name="connsiteX13" fmla="*/ 77343 w 125158"/>
                <a:gd name="connsiteY13" fmla="*/ 109633 h 196310"/>
                <a:gd name="connsiteX14" fmla="*/ 94202 w 125158"/>
                <a:gd name="connsiteY14" fmla="*/ 113824 h 196310"/>
                <a:gd name="connsiteX15" fmla="*/ 94202 w 125158"/>
                <a:gd name="connsiteY15" fmla="*/ 111252 h 196310"/>
                <a:gd name="connsiteX16" fmla="*/ 85439 w 125158"/>
                <a:gd name="connsiteY16" fmla="*/ 89345 h 196310"/>
                <a:gd name="connsiteX17" fmla="*/ 60198 w 125158"/>
                <a:gd name="connsiteY17" fmla="*/ 81725 h 196310"/>
                <a:gd name="connsiteX18" fmla="*/ 39338 w 125158"/>
                <a:gd name="connsiteY18" fmla="*/ 84106 h 196310"/>
                <a:gd name="connsiteX19" fmla="*/ 20764 w 125158"/>
                <a:gd name="connsiteY19" fmla="*/ 90392 h 196310"/>
                <a:gd name="connsiteX20" fmla="*/ 12097 w 125158"/>
                <a:gd name="connsiteY20" fmla="*/ 65056 h 196310"/>
                <a:gd name="connsiteX21" fmla="*/ 35624 w 125158"/>
                <a:gd name="connsiteY21" fmla="*/ 56674 h 196310"/>
                <a:gd name="connsiteX22" fmla="*/ 64579 w 125158"/>
                <a:gd name="connsiteY22" fmla="*/ 53531 h 196310"/>
                <a:gd name="connsiteX23" fmla="*/ 110300 w 125158"/>
                <a:gd name="connsiteY23" fmla="*/ 68866 h 196310"/>
                <a:gd name="connsiteX24" fmla="*/ 125158 w 125158"/>
                <a:gd name="connsiteY24" fmla="*/ 111824 h 196310"/>
                <a:gd name="connsiteX25" fmla="*/ 125158 w 125158"/>
                <a:gd name="connsiteY25" fmla="*/ 193643 h 196310"/>
                <a:gd name="connsiteX26" fmla="*/ 93821 w 125158"/>
                <a:gd name="connsiteY26" fmla="*/ 193643 h 196310"/>
                <a:gd name="connsiteX27" fmla="*/ 16859 w 125158"/>
                <a:gd name="connsiteY27" fmla="*/ 35338 h 196310"/>
                <a:gd name="connsiteX28" fmla="*/ 27718 w 125158"/>
                <a:gd name="connsiteY28" fmla="*/ 11049 h 196310"/>
                <a:gd name="connsiteX29" fmla="*/ 46101 w 125158"/>
                <a:gd name="connsiteY29" fmla="*/ 2667 h 196310"/>
                <a:gd name="connsiteX30" fmla="*/ 56769 w 125158"/>
                <a:gd name="connsiteY30" fmla="*/ 4382 h 196310"/>
                <a:gd name="connsiteX31" fmla="*/ 66866 w 125158"/>
                <a:gd name="connsiteY31" fmla="*/ 8001 h 196310"/>
                <a:gd name="connsiteX32" fmla="*/ 75914 w 125158"/>
                <a:gd name="connsiteY32" fmla="*/ 11525 h 196310"/>
                <a:gd name="connsiteX33" fmla="*/ 83725 w 125158"/>
                <a:gd name="connsiteY33" fmla="*/ 13049 h 196310"/>
                <a:gd name="connsiteX34" fmla="*/ 92392 w 125158"/>
                <a:gd name="connsiteY34" fmla="*/ 9906 h 196310"/>
                <a:gd name="connsiteX35" fmla="*/ 98108 w 125158"/>
                <a:gd name="connsiteY35" fmla="*/ 0 h 196310"/>
                <a:gd name="connsiteX36" fmla="*/ 115633 w 125158"/>
                <a:gd name="connsiteY36" fmla="*/ 5525 h 196310"/>
                <a:gd name="connsiteX37" fmla="*/ 104775 w 125158"/>
                <a:gd name="connsiteY37" fmla="*/ 29528 h 196310"/>
                <a:gd name="connsiteX38" fmla="*/ 86392 w 125158"/>
                <a:gd name="connsiteY38" fmla="*/ 37909 h 196310"/>
                <a:gd name="connsiteX39" fmla="*/ 75724 w 125158"/>
                <a:gd name="connsiteY39" fmla="*/ 36386 h 196310"/>
                <a:gd name="connsiteX40" fmla="*/ 65627 w 125158"/>
                <a:gd name="connsiteY40" fmla="*/ 32861 h 196310"/>
                <a:gd name="connsiteX41" fmla="*/ 56483 w 125158"/>
                <a:gd name="connsiteY41" fmla="*/ 29242 h 196310"/>
                <a:gd name="connsiteX42" fmla="*/ 48768 w 125158"/>
                <a:gd name="connsiteY42" fmla="*/ 27527 h 196310"/>
                <a:gd name="connsiteX43" fmla="*/ 40100 w 125158"/>
                <a:gd name="connsiteY43" fmla="*/ 30671 h 196310"/>
                <a:gd name="connsiteX44" fmla="*/ 34385 w 125158"/>
                <a:gd name="connsiteY44" fmla="*/ 40577 h 196310"/>
                <a:gd name="connsiteX45" fmla="*/ 16859 w 125158"/>
                <a:gd name="connsiteY45" fmla="*/ 35338 h 196310"/>
                <a:gd name="connsiteX46" fmla="*/ 94488 w 125158"/>
                <a:gd name="connsiteY46" fmla="*/ 135636 h 196310"/>
                <a:gd name="connsiteX47" fmla="*/ 80200 w 125158"/>
                <a:gd name="connsiteY47" fmla="*/ 131731 h 196310"/>
                <a:gd name="connsiteX48" fmla="*/ 62865 w 125158"/>
                <a:gd name="connsiteY48" fmla="*/ 130112 h 196310"/>
                <a:gd name="connsiteX49" fmla="*/ 39624 w 125158"/>
                <a:gd name="connsiteY49" fmla="*/ 135827 h 196310"/>
                <a:gd name="connsiteX50" fmla="*/ 31242 w 125158"/>
                <a:gd name="connsiteY50" fmla="*/ 151543 h 196310"/>
                <a:gd name="connsiteX51" fmla="*/ 31242 w 125158"/>
                <a:gd name="connsiteY51" fmla="*/ 152114 h 196310"/>
                <a:gd name="connsiteX52" fmla="*/ 38957 w 125158"/>
                <a:gd name="connsiteY52" fmla="*/ 167259 h 196310"/>
                <a:gd name="connsiteX53" fmla="*/ 57912 w 125158"/>
                <a:gd name="connsiteY53" fmla="*/ 172498 h 196310"/>
                <a:gd name="connsiteX54" fmla="*/ 72390 w 125158"/>
                <a:gd name="connsiteY54" fmla="*/ 170402 h 196310"/>
                <a:gd name="connsiteX55" fmla="*/ 84011 w 125158"/>
                <a:gd name="connsiteY55" fmla="*/ 164497 h 196310"/>
                <a:gd name="connsiteX56" fmla="*/ 91726 w 125158"/>
                <a:gd name="connsiteY56" fmla="*/ 155353 h 196310"/>
                <a:gd name="connsiteX57" fmla="*/ 94488 w 125158"/>
                <a:gd name="connsiteY57" fmla="*/ 143446 h 196310"/>
                <a:gd name="connsiteX58" fmla="*/ 94488 w 125158"/>
                <a:gd name="connsiteY58" fmla="*/ 135636 h 196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25158" h="196310">
                  <a:moveTo>
                    <a:pt x="93726" y="193453"/>
                  </a:moveTo>
                  <a:lnTo>
                    <a:pt x="93726" y="176498"/>
                  </a:lnTo>
                  <a:cubicBezTo>
                    <a:pt x="89059" y="182118"/>
                    <a:pt x="83058" y="186785"/>
                    <a:pt x="75724" y="190595"/>
                  </a:cubicBezTo>
                  <a:cubicBezTo>
                    <a:pt x="68389" y="194405"/>
                    <a:pt x="59531" y="196310"/>
                    <a:pt x="49054" y="196310"/>
                  </a:cubicBezTo>
                  <a:cubicBezTo>
                    <a:pt x="42482" y="196310"/>
                    <a:pt x="36195" y="195358"/>
                    <a:pt x="30289" y="193548"/>
                  </a:cubicBezTo>
                  <a:cubicBezTo>
                    <a:pt x="24384" y="191738"/>
                    <a:pt x="19145" y="188976"/>
                    <a:pt x="14764" y="185452"/>
                  </a:cubicBezTo>
                  <a:cubicBezTo>
                    <a:pt x="10287" y="181928"/>
                    <a:pt x="6763" y="177451"/>
                    <a:pt x="4096" y="172117"/>
                  </a:cubicBezTo>
                  <a:cubicBezTo>
                    <a:pt x="1429" y="166783"/>
                    <a:pt x="0" y="160687"/>
                    <a:pt x="0" y="153734"/>
                  </a:cubicBezTo>
                  <a:lnTo>
                    <a:pt x="0" y="153257"/>
                  </a:lnTo>
                  <a:cubicBezTo>
                    <a:pt x="0" y="145637"/>
                    <a:pt x="1429" y="138970"/>
                    <a:pt x="4191" y="133255"/>
                  </a:cubicBezTo>
                  <a:cubicBezTo>
                    <a:pt x="6953" y="127635"/>
                    <a:pt x="10858" y="122873"/>
                    <a:pt x="15812" y="119158"/>
                  </a:cubicBezTo>
                  <a:cubicBezTo>
                    <a:pt x="20764" y="115443"/>
                    <a:pt x="26670" y="112586"/>
                    <a:pt x="33623" y="110776"/>
                  </a:cubicBezTo>
                  <a:cubicBezTo>
                    <a:pt x="40481" y="108966"/>
                    <a:pt x="47911" y="108013"/>
                    <a:pt x="56007" y="108013"/>
                  </a:cubicBezTo>
                  <a:cubicBezTo>
                    <a:pt x="64103" y="108013"/>
                    <a:pt x="71438" y="108585"/>
                    <a:pt x="77343" y="109633"/>
                  </a:cubicBezTo>
                  <a:cubicBezTo>
                    <a:pt x="83249" y="110681"/>
                    <a:pt x="88773" y="112109"/>
                    <a:pt x="94202" y="113824"/>
                  </a:cubicBezTo>
                  <a:lnTo>
                    <a:pt x="94202" y="111252"/>
                  </a:lnTo>
                  <a:cubicBezTo>
                    <a:pt x="94202" y="101727"/>
                    <a:pt x="91250" y="94393"/>
                    <a:pt x="85439" y="89345"/>
                  </a:cubicBezTo>
                  <a:cubicBezTo>
                    <a:pt x="79629" y="84296"/>
                    <a:pt x="71152" y="81725"/>
                    <a:pt x="60198" y="81725"/>
                  </a:cubicBezTo>
                  <a:cubicBezTo>
                    <a:pt x="52388" y="81725"/>
                    <a:pt x="45434" y="82487"/>
                    <a:pt x="39338" y="84106"/>
                  </a:cubicBezTo>
                  <a:cubicBezTo>
                    <a:pt x="33242" y="85725"/>
                    <a:pt x="27051" y="87725"/>
                    <a:pt x="20764" y="90392"/>
                  </a:cubicBezTo>
                  <a:lnTo>
                    <a:pt x="12097" y="65056"/>
                  </a:lnTo>
                  <a:cubicBezTo>
                    <a:pt x="19717" y="61532"/>
                    <a:pt x="27622" y="58769"/>
                    <a:pt x="35624" y="56674"/>
                  </a:cubicBezTo>
                  <a:cubicBezTo>
                    <a:pt x="43625" y="54578"/>
                    <a:pt x="53340" y="53531"/>
                    <a:pt x="64579" y="53531"/>
                  </a:cubicBezTo>
                  <a:cubicBezTo>
                    <a:pt x="85154" y="53531"/>
                    <a:pt x="100393" y="58674"/>
                    <a:pt x="110300" y="68866"/>
                  </a:cubicBezTo>
                  <a:cubicBezTo>
                    <a:pt x="120205" y="79058"/>
                    <a:pt x="125158" y="93345"/>
                    <a:pt x="125158" y="111824"/>
                  </a:cubicBezTo>
                  <a:lnTo>
                    <a:pt x="125158" y="193643"/>
                  </a:lnTo>
                  <a:lnTo>
                    <a:pt x="93821" y="193643"/>
                  </a:lnTo>
                  <a:close/>
                  <a:moveTo>
                    <a:pt x="16859" y="35338"/>
                  </a:moveTo>
                  <a:cubicBezTo>
                    <a:pt x="19812" y="24670"/>
                    <a:pt x="23432" y="16574"/>
                    <a:pt x="27718" y="11049"/>
                  </a:cubicBezTo>
                  <a:cubicBezTo>
                    <a:pt x="32004" y="5525"/>
                    <a:pt x="38100" y="2667"/>
                    <a:pt x="46101" y="2667"/>
                  </a:cubicBezTo>
                  <a:cubicBezTo>
                    <a:pt x="49721" y="2667"/>
                    <a:pt x="53340" y="3238"/>
                    <a:pt x="56769" y="4382"/>
                  </a:cubicBezTo>
                  <a:cubicBezTo>
                    <a:pt x="60293" y="5525"/>
                    <a:pt x="63627" y="6763"/>
                    <a:pt x="66866" y="8001"/>
                  </a:cubicBezTo>
                  <a:cubicBezTo>
                    <a:pt x="70104" y="9334"/>
                    <a:pt x="73057" y="10478"/>
                    <a:pt x="75914" y="11525"/>
                  </a:cubicBezTo>
                  <a:cubicBezTo>
                    <a:pt x="78676" y="12573"/>
                    <a:pt x="81343" y="13049"/>
                    <a:pt x="83725" y="13049"/>
                  </a:cubicBezTo>
                  <a:cubicBezTo>
                    <a:pt x="87535" y="13049"/>
                    <a:pt x="90392" y="12002"/>
                    <a:pt x="92392" y="9906"/>
                  </a:cubicBezTo>
                  <a:cubicBezTo>
                    <a:pt x="94297" y="7811"/>
                    <a:pt x="96203" y="4477"/>
                    <a:pt x="98108" y="0"/>
                  </a:cubicBezTo>
                  <a:lnTo>
                    <a:pt x="115633" y="5525"/>
                  </a:lnTo>
                  <a:cubicBezTo>
                    <a:pt x="112681" y="16002"/>
                    <a:pt x="109061" y="24003"/>
                    <a:pt x="104775" y="29528"/>
                  </a:cubicBezTo>
                  <a:cubicBezTo>
                    <a:pt x="100489" y="35147"/>
                    <a:pt x="94393" y="37909"/>
                    <a:pt x="86392" y="37909"/>
                  </a:cubicBezTo>
                  <a:cubicBezTo>
                    <a:pt x="82772" y="37909"/>
                    <a:pt x="79153" y="37433"/>
                    <a:pt x="75724" y="36386"/>
                  </a:cubicBezTo>
                  <a:cubicBezTo>
                    <a:pt x="72200" y="35338"/>
                    <a:pt x="68866" y="34195"/>
                    <a:pt x="65627" y="32861"/>
                  </a:cubicBezTo>
                  <a:cubicBezTo>
                    <a:pt x="62389" y="31528"/>
                    <a:pt x="59341" y="30385"/>
                    <a:pt x="56483" y="29242"/>
                  </a:cubicBezTo>
                  <a:cubicBezTo>
                    <a:pt x="53626" y="28099"/>
                    <a:pt x="51054" y="27527"/>
                    <a:pt x="48768" y="27527"/>
                  </a:cubicBezTo>
                  <a:cubicBezTo>
                    <a:pt x="44958" y="27527"/>
                    <a:pt x="42100" y="28575"/>
                    <a:pt x="40100" y="30671"/>
                  </a:cubicBezTo>
                  <a:cubicBezTo>
                    <a:pt x="38195" y="32766"/>
                    <a:pt x="36290" y="36100"/>
                    <a:pt x="34385" y="40577"/>
                  </a:cubicBezTo>
                  <a:lnTo>
                    <a:pt x="16859" y="35338"/>
                  </a:lnTo>
                  <a:close/>
                  <a:moveTo>
                    <a:pt x="94488" y="135636"/>
                  </a:moveTo>
                  <a:cubicBezTo>
                    <a:pt x="90488" y="134017"/>
                    <a:pt x="85725" y="132779"/>
                    <a:pt x="80200" y="131731"/>
                  </a:cubicBezTo>
                  <a:cubicBezTo>
                    <a:pt x="74676" y="130683"/>
                    <a:pt x="68961" y="130112"/>
                    <a:pt x="62865" y="130112"/>
                  </a:cubicBezTo>
                  <a:cubicBezTo>
                    <a:pt x="52959" y="130112"/>
                    <a:pt x="45149" y="132017"/>
                    <a:pt x="39624" y="135827"/>
                  </a:cubicBezTo>
                  <a:cubicBezTo>
                    <a:pt x="34100" y="139637"/>
                    <a:pt x="31242" y="144875"/>
                    <a:pt x="31242" y="151543"/>
                  </a:cubicBezTo>
                  <a:lnTo>
                    <a:pt x="31242" y="152114"/>
                  </a:lnTo>
                  <a:cubicBezTo>
                    <a:pt x="31242" y="158782"/>
                    <a:pt x="33814" y="163830"/>
                    <a:pt x="38957" y="167259"/>
                  </a:cubicBezTo>
                  <a:cubicBezTo>
                    <a:pt x="44101" y="170783"/>
                    <a:pt x="50387" y="172498"/>
                    <a:pt x="57912" y="172498"/>
                  </a:cubicBezTo>
                  <a:cubicBezTo>
                    <a:pt x="63151" y="172498"/>
                    <a:pt x="68008" y="171831"/>
                    <a:pt x="72390" y="170402"/>
                  </a:cubicBezTo>
                  <a:cubicBezTo>
                    <a:pt x="76867" y="168974"/>
                    <a:pt x="80677" y="167069"/>
                    <a:pt x="84011" y="164497"/>
                  </a:cubicBezTo>
                  <a:cubicBezTo>
                    <a:pt x="87344" y="162020"/>
                    <a:pt x="89916" y="158972"/>
                    <a:pt x="91726" y="155353"/>
                  </a:cubicBezTo>
                  <a:cubicBezTo>
                    <a:pt x="93536" y="151733"/>
                    <a:pt x="94488" y="147828"/>
                    <a:pt x="94488" y="143446"/>
                  </a:cubicBezTo>
                  <a:lnTo>
                    <a:pt x="94488" y="135636"/>
                  </a:lnTo>
                  <a:close/>
                </a:path>
              </a:pathLst>
            </a:custGeom>
            <a:solidFill>
              <a:srgbClr val="43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Freeform: Shape 73">
              <a:extLst>
                <a:ext uri="{FF2B5EF4-FFF2-40B4-BE49-F238E27FC236}">
                  <a16:creationId xmlns:a16="http://schemas.microsoft.com/office/drawing/2014/main" id="{D5F62AB1-EFFD-942E-82BD-36A7859B4034}"/>
                </a:ext>
              </a:extLst>
            </p:cNvPr>
            <p:cNvSpPr/>
            <p:nvPr/>
          </p:nvSpPr>
          <p:spPr>
            <a:xfrm>
              <a:off x="2785554" y="4227321"/>
              <a:ext cx="147161" cy="143922"/>
            </a:xfrm>
            <a:custGeom>
              <a:avLst/>
              <a:gdLst>
                <a:gd name="connsiteX0" fmla="*/ 73152 w 147161"/>
                <a:gd name="connsiteY0" fmla="*/ 143923 h 143922"/>
                <a:gd name="connsiteX1" fmla="*/ 44005 w 147161"/>
                <a:gd name="connsiteY1" fmla="*/ 138303 h 143922"/>
                <a:gd name="connsiteX2" fmla="*/ 20765 w 147161"/>
                <a:gd name="connsiteY2" fmla="*/ 123063 h 143922"/>
                <a:gd name="connsiteX3" fmla="*/ 5525 w 147161"/>
                <a:gd name="connsiteY3" fmla="*/ 100298 h 143922"/>
                <a:gd name="connsiteX4" fmla="*/ 0 w 147161"/>
                <a:gd name="connsiteY4" fmla="*/ 72581 h 143922"/>
                <a:gd name="connsiteX5" fmla="*/ 0 w 147161"/>
                <a:gd name="connsiteY5" fmla="*/ 72104 h 143922"/>
                <a:gd name="connsiteX6" fmla="*/ 5620 w 147161"/>
                <a:gd name="connsiteY6" fmla="*/ 44101 h 143922"/>
                <a:gd name="connsiteX7" fmla="*/ 21050 w 147161"/>
                <a:gd name="connsiteY7" fmla="*/ 21241 h 143922"/>
                <a:gd name="connsiteX8" fmla="*/ 44291 w 147161"/>
                <a:gd name="connsiteY8" fmla="*/ 5715 h 143922"/>
                <a:gd name="connsiteX9" fmla="*/ 73724 w 147161"/>
                <a:gd name="connsiteY9" fmla="*/ 0 h 143922"/>
                <a:gd name="connsiteX10" fmla="*/ 103156 w 147161"/>
                <a:gd name="connsiteY10" fmla="*/ 5620 h 143922"/>
                <a:gd name="connsiteX11" fmla="*/ 126397 w 147161"/>
                <a:gd name="connsiteY11" fmla="*/ 21050 h 143922"/>
                <a:gd name="connsiteX12" fmla="*/ 141637 w 147161"/>
                <a:gd name="connsiteY12" fmla="*/ 43815 h 143922"/>
                <a:gd name="connsiteX13" fmla="*/ 147161 w 147161"/>
                <a:gd name="connsiteY13" fmla="*/ 71628 h 143922"/>
                <a:gd name="connsiteX14" fmla="*/ 147161 w 147161"/>
                <a:gd name="connsiteY14" fmla="*/ 72104 h 143922"/>
                <a:gd name="connsiteX15" fmla="*/ 141542 w 147161"/>
                <a:gd name="connsiteY15" fmla="*/ 99822 h 143922"/>
                <a:gd name="connsiteX16" fmla="*/ 126111 w 147161"/>
                <a:gd name="connsiteY16" fmla="*/ 122682 h 143922"/>
                <a:gd name="connsiteX17" fmla="*/ 102679 w 147161"/>
                <a:gd name="connsiteY17" fmla="*/ 138208 h 143922"/>
                <a:gd name="connsiteX18" fmla="*/ 73152 w 147161"/>
                <a:gd name="connsiteY18" fmla="*/ 143923 h 143922"/>
                <a:gd name="connsiteX19" fmla="*/ 73724 w 147161"/>
                <a:gd name="connsiteY19" fmla="*/ 116491 h 143922"/>
                <a:gd name="connsiteX20" fmla="*/ 90964 w 147161"/>
                <a:gd name="connsiteY20" fmla="*/ 112967 h 143922"/>
                <a:gd name="connsiteX21" fmla="*/ 104108 w 147161"/>
                <a:gd name="connsiteY21" fmla="*/ 103442 h 143922"/>
                <a:gd name="connsiteX22" fmla="*/ 112395 w 147161"/>
                <a:gd name="connsiteY22" fmla="*/ 89440 h 143922"/>
                <a:gd name="connsiteX23" fmla="*/ 115253 w 147161"/>
                <a:gd name="connsiteY23" fmla="*/ 72581 h 143922"/>
                <a:gd name="connsiteX24" fmla="*/ 115253 w 147161"/>
                <a:gd name="connsiteY24" fmla="*/ 72104 h 143922"/>
                <a:gd name="connsiteX25" fmla="*/ 112109 w 147161"/>
                <a:gd name="connsiteY25" fmla="*/ 54864 h 143922"/>
                <a:gd name="connsiteX26" fmla="*/ 103442 w 147161"/>
                <a:gd name="connsiteY26" fmla="*/ 40767 h 143922"/>
                <a:gd name="connsiteX27" fmla="*/ 90202 w 147161"/>
                <a:gd name="connsiteY27" fmla="*/ 31242 h 143922"/>
                <a:gd name="connsiteX28" fmla="*/ 73152 w 147161"/>
                <a:gd name="connsiteY28" fmla="*/ 27718 h 143922"/>
                <a:gd name="connsiteX29" fmla="*/ 56102 w 147161"/>
                <a:gd name="connsiteY29" fmla="*/ 31242 h 143922"/>
                <a:gd name="connsiteX30" fmla="*/ 42958 w 147161"/>
                <a:gd name="connsiteY30" fmla="*/ 40672 h 143922"/>
                <a:gd name="connsiteX31" fmla="*/ 34671 w 147161"/>
                <a:gd name="connsiteY31" fmla="*/ 54674 h 143922"/>
                <a:gd name="connsiteX32" fmla="*/ 31813 w 147161"/>
                <a:gd name="connsiteY32" fmla="*/ 71628 h 143922"/>
                <a:gd name="connsiteX33" fmla="*/ 31813 w 147161"/>
                <a:gd name="connsiteY33" fmla="*/ 72104 h 143922"/>
                <a:gd name="connsiteX34" fmla="*/ 34957 w 147161"/>
                <a:gd name="connsiteY34" fmla="*/ 89249 h 143922"/>
                <a:gd name="connsiteX35" fmla="*/ 43625 w 147161"/>
                <a:gd name="connsiteY35" fmla="*/ 103346 h 143922"/>
                <a:gd name="connsiteX36" fmla="*/ 56864 w 147161"/>
                <a:gd name="connsiteY36" fmla="*/ 112967 h 143922"/>
                <a:gd name="connsiteX37" fmla="*/ 73628 w 147161"/>
                <a:gd name="connsiteY37" fmla="*/ 116491 h 143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47161" h="143922">
                  <a:moveTo>
                    <a:pt x="73152" y="143923"/>
                  </a:moveTo>
                  <a:cubicBezTo>
                    <a:pt x="62675" y="143923"/>
                    <a:pt x="52959" y="142018"/>
                    <a:pt x="44005" y="138303"/>
                  </a:cubicBezTo>
                  <a:cubicBezTo>
                    <a:pt x="35052" y="134588"/>
                    <a:pt x="27242" y="129445"/>
                    <a:pt x="20765" y="123063"/>
                  </a:cubicBezTo>
                  <a:cubicBezTo>
                    <a:pt x="14288" y="116681"/>
                    <a:pt x="9144" y="109061"/>
                    <a:pt x="5525" y="100298"/>
                  </a:cubicBezTo>
                  <a:cubicBezTo>
                    <a:pt x="1905" y="91631"/>
                    <a:pt x="0" y="82391"/>
                    <a:pt x="0" y="72581"/>
                  </a:cubicBezTo>
                  <a:lnTo>
                    <a:pt x="0" y="72104"/>
                  </a:lnTo>
                  <a:cubicBezTo>
                    <a:pt x="0" y="62198"/>
                    <a:pt x="1905" y="52864"/>
                    <a:pt x="5620" y="44101"/>
                  </a:cubicBezTo>
                  <a:cubicBezTo>
                    <a:pt x="9334" y="35433"/>
                    <a:pt x="14478" y="27813"/>
                    <a:pt x="21050" y="21241"/>
                  </a:cubicBezTo>
                  <a:cubicBezTo>
                    <a:pt x="27622" y="14669"/>
                    <a:pt x="35338" y="9525"/>
                    <a:pt x="44291" y="5715"/>
                  </a:cubicBezTo>
                  <a:cubicBezTo>
                    <a:pt x="53245" y="1905"/>
                    <a:pt x="63055" y="0"/>
                    <a:pt x="73724" y="0"/>
                  </a:cubicBezTo>
                  <a:cubicBezTo>
                    <a:pt x="84392" y="0"/>
                    <a:pt x="94107" y="1905"/>
                    <a:pt x="103156" y="5620"/>
                  </a:cubicBezTo>
                  <a:cubicBezTo>
                    <a:pt x="112109" y="9335"/>
                    <a:pt x="119920" y="14478"/>
                    <a:pt x="126397" y="21050"/>
                  </a:cubicBezTo>
                  <a:cubicBezTo>
                    <a:pt x="132969" y="27623"/>
                    <a:pt x="138017" y="35147"/>
                    <a:pt x="141637" y="43815"/>
                  </a:cubicBezTo>
                  <a:cubicBezTo>
                    <a:pt x="145256" y="52483"/>
                    <a:pt x="147161" y="61722"/>
                    <a:pt x="147161" y="71628"/>
                  </a:cubicBezTo>
                  <a:lnTo>
                    <a:pt x="147161" y="72104"/>
                  </a:lnTo>
                  <a:cubicBezTo>
                    <a:pt x="147161" y="81820"/>
                    <a:pt x="145256" y="91059"/>
                    <a:pt x="141542" y="99822"/>
                  </a:cubicBezTo>
                  <a:cubicBezTo>
                    <a:pt x="137827" y="108585"/>
                    <a:pt x="132683" y="116110"/>
                    <a:pt x="126111" y="122682"/>
                  </a:cubicBezTo>
                  <a:cubicBezTo>
                    <a:pt x="119539" y="129254"/>
                    <a:pt x="111824" y="134398"/>
                    <a:pt x="102679" y="138208"/>
                  </a:cubicBezTo>
                  <a:cubicBezTo>
                    <a:pt x="93631" y="142018"/>
                    <a:pt x="83725" y="143923"/>
                    <a:pt x="73152" y="143923"/>
                  </a:cubicBezTo>
                  <a:close/>
                  <a:moveTo>
                    <a:pt x="73724" y="116491"/>
                  </a:moveTo>
                  <a:cubicBezTo>
                    <a:pt x="80105" y="116491"/>
                    <a:pt x="85916" y="115348"/>
                    <a:pt x="90964" y="112967"/>
                  </a:cubicBezTo>
                  <a:cubicBezTo>
                    <a:pt x="96107" y="110585"/>
                    <a:pt x="100489" y="107442"/>
                    <a:pt x="104108" y="103442"/>
                  </a:cubicBezTo>
                  <a:cubicBezTo>
                    <a:pt x="107728" y="99441"/>
                    <a:pt x="110490" y="94774"/>
                    <a:pt x="112395" y="89440"/>
                  </a:cubicBezTo>
                  <a:cubicBezTo>
                    <a:pt x="114300" y="84106"/>
                    <a:pt x="115253" y="78486"/>
                    <a:pt x="115253" y="72581"/>
                  </a:cubicBezTo>
                  <a:lnTo>
                    <a:pt x="115253" y="72104"/>
                  </a:lnTo>
                  <a:cubicBezTo>
                    <a:pt x="115253" y="66008"/>
                    <a:pt x="114205" y="60293"/>
                    <a:pt x="112109" y="54864"/>
                  </a:cubicBezTo>
                  <a:cubicBezTo>
                    <a:pt x="110014" y="49435"/>
                    <a:pt x="107156" y="44767"/>
                    <a:pt x="103442" y="40767"/>
                  </a:cubicBezTo>
                  <a:cubicBezTo>
                    <a:pt x="99727" y="36767"/>
                    <a:pt x="95345" y="33623"/>
                    <a:pt x="90202" y="31242"/>
                  </a:cubicBezTo>
                  <a:cubicBezTo>
                    <a:pt x="85058" y="28861"/>
                    <a:pt x="79438" y="27718"/>
                    <a:pt x="73152" y="27718"/>
                  </a:cubicBezTo>
                  <a:cubicBezTo>
                    <a:pt x="66866" y="27718"/>
                    <a:pt x="61246" y="28861"/>
                    <a:pt x="56102" y="31242"/>
                  </a:cubicBezTo>
                  <a:cubicBezTo>
                    <a:pt x="50959" y="33623"/>
                    <a:pt x="46577" y="36767"/>
                    <a:pt x="42958" y="40672"/>
                  </a:cubicBezTo>
                  <a:cubicBezTo>
                    <a:pt x="39338" y="44577"/>
                    <a:pt x="36576" y="49244"/>
                    <a:pt x="34671" y="54674"/>
                  </a:cubicBezTo>
                  <a:cubicBezTo>
                    <a:pt x="32766" y="60103"/>
                    <a:pt x="31813" y="65723"/>
                    <a:pt x="31813" y="71628"/>
                  </a:cubicBezTo>
                  <a:lnTo>
                    <a:pt x="31813" y="72104"/>
                  </a:lnTo>
                  <a:cubicBezTo>
                    <a:pt x="31813" y="78200"/>
                    <a:pt x="32861" y="83915"/>
                    <a:pt x="34957" y="89249"/>
                  </a:cubicBezTo>
                  <a:cubicBezTo>
                    <a:pt x="37052" y="94583"/>
                    <a:pt x="39910" y="99250"/>
                    <a:pt x="43625" y="103346"/>
                  </a:cubicBezTo>
                  <a:cubicBezTo>
                    <a:pt x="47339" y="107442"/>
                    <a:pt x="51721" y="110681"/>
                    <a:pt x="56864" y="112967"/>
                  </a:cubicBezTo>
                  <a:cubicBezTo>
                    <a:pt x="62008" y="115348"/>
                    <a:pt x="67532" y="116491"/>
                    <a:pt x="73628" y="116491"/>
                  </a:cubicBezTo>
                  <a:close/>
                </a:path>
              </a:pathLst>
            </a:custGeom>
            <a:solidFill>
              <a:srgbClr val="43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Shape 74">
              <a:extLst>
                <a:ext uri="{FF2B5EF4-FFF2-40B4-BE49-F238E27FC236}">
                  <a16:creationId xmlns:a16="http://schemas.microsoft.com/office/drawing/2014/main" id="{A48F31B5-A193-BAB0-97F9-594DBD25BBE8}"/>
                </a:ext>
              </a:extLst>
            </p:cNvPr>
            <p:cNvSpPr/>
            <p:nvPr/>
          </p:nvSpPr>
          <p:spPr>
            <a:xfrm>
              <a:off x="2953575" y="4227893"/>
              <a:ext cx="109823" cy="142970"/>
            </a:xfrm>
            <a:custGeom>
              <a:avLst/>
              <a:gdLst>
                <a:gd name="connsiteX0" fmla="*/ 58579 w 109823"/>
                <a:gd name="connsiteY0" fmla="*/ 142780 h 142970"/>
                <a:gd name="connsiteX1" fmla="*/ 28384 w 109823"/>
                <a:gd name="connsiteY1" fmla="*/ 137541 h 142970"/>
                <a:gd name="connsiteX2" fmla="*/ 0 w 109823"/>
                <a:gd name="connsiteY2" fmla="*/ 121920 h 142970"/>
                <a:gd name="connsiteX3" fmla="*/ 14097 w 109823"/>
                <a:gd name="connsiteY3" fmla="*/ 100489 h 142970"/>
                <a:gd name="connsiteX4" fmla="*/ 36957 w 109823"/>
                <a:gd name="connsiteY4" fmla="*/ 113157 h 142970"/>
                <a:gd name="connsiteX5" fmla="*/ 59341 w 109823"/>
                <a:gd name="connsiteY5" fmla="*/ 117443 h 142970"/>
                <a:gd name="connsiteX6" fmla="*/ 75152 w 109823"/>
                <a:gd name="connsiteY6" fmla="*/ 113443 h 142970"/>
                <a:gd name="connsiteX7" fmla="*/ 80772 w 109823"/>
                <a:gd name="connsiteY7" fmla="*/ 102584 h 142970"/>
                <a:gd name="connsiteX8" fmla="*/ 80772 w 109823"/>
                <a:gd name="connsiteY8" fmla="*/ 102108 h 142970"/>
                <a:gd name="connsiteX9" fmla="*/ 78296 w 109823"/>
                <a:gd name="connsiteY9" fmla="*/ 95345 h 142970"/>
                <a:gd name="connsiteX10" fmla="*/ 71533 w 109823"/>
                <a:gd name="connsiteY10" fmla="*/ 90392 h 142970"/>
                <a:gd name="connsiteX11" fmla="*/ 61627 w 109823"/>
                <a:gd name="connsiteY11" fmla="*/ 86487 h 142970"/>
                <a:gd name="connsiteX12" fmla="*/ 50006 w 109823"/>
                <a:gd name="connsiteY12" fmla="*/ 82868 h 142970"/>
                <a:gd name="connsiteX13" fmla="*/ 34671 w 109823"/>
                <a:gd name="connsiteY13" fmla="*/ 77915 h 142970"/>
                <a:gd name="connsiteX14" fmla="*/ 20860 w 109823"/>
                <a:gd name="connsiteY14" fmla="*/ 70485 h 142970"/>
                <a:gd name="connsiteX15" fmla="*/ 10763 w 109823"/>
                <a:gd name="connsiteY15" fmla="*/ 59150 h 142970"/>
                <a:gd name="connsiteX16" fmla="*/ 6858 w 109823"/>
                <a:gd name="connsiteY16" fmla="*/ 42482 h 142970"/>
                <a:gd name="connsiteX17" fmla="*/ 6858 w 109823"/>
                <a:gd name="connsiteY17" fmla="*/ 42005 h 142970"/>
                <a:gd name="connsiteX18" fmla="*/ 10668 w 109823"/>
                <a:gd name="connsiteY18" fmla="*/ 24575 h 142970"/>
                <a:gd name="connsiteX19" fmla="*/ 21146 w 109823"/>
                <a:gd name="connsiteY19" fmla="*/ 11240 h 142970"/>
                <a:gd name="connsiteX20" fmla="*/ 36862 w 109823"/>
                <a:gd name="connsiteY20" fmla="*/ 2858 h 142970"/>
                <a:gd name="connsiteX21" fmla="*/ 56102 w 109823"/>
                <a:gd name="connsiteY21" fmla="*/ 0 h 142970"/>
                <a:gd name="connsiteX22" fmla="*/ 82487 w 109823"/>
                <a:gd name="connsiteY22" fmla="*/ 4191 h 142970"/>
                <a:gd name="connsiteX23" fmla="*/ 106775 w 109823"/>
                <a:gd name="connsiteY23" fmla="*/ 15812 h 142970"/>
                <a:gd name="connsiteX24" fmla="*/ 94202 w 109823"/>
                <a:gd name="connsiteY24" fmla="*/ 38386 h 142970"/>
                <a:gd name="connsiteX25" fmla="*/ 74104 w 109823"/>
                <a:gd name="connsiteY25" fmla="*/ 28861 h 142970"/>
                <a:gd name="connsiteX26" fmla="*/ 55245 w 109823"/>
                <a:gd name="connsiteY26" fmla="*/ 25337 h 142970"/>
                <a:gd name="connsiteX27" fmla="*/ 40958 w 109823"/>
                <a:gd name="connsiteY27" fmla="*/ 29242 h 142970"/>
                <a:gd name="connsiteX28" fmla="*/ 35909 w 109823"/>
                <a:gd name="connsiteY28" fmla="*/ 39148 h 142970"/>
                <a:gd name="connsiteX29" fmla="*/ 35909 w 109823"/>
                <a:gd name="connsiteY29" fmla="*/ 39719 h 142970"/>
                <a:gd name="connsiteX30" fmla="*/ 38481 w 109823"/>
                <a:gd name="connsiteY30" fmla="*/ 46101 h 142970"/>
                <a:gd name="connsiteX31" fmla="*/ 45434 w 109823"/>
                <a:gd name="connsiteY31" fmla="*/ 51054 h 142970"/>
                <a:gd name="connsiteX32" fmla="*/ 55340 w 109823"/>
                <a:gd name="connsiteY32" fmla="*/ 55245 h 142970"/>
                <a:gd name="connsiteX33" fmla="*/ 66961 w 109823"/>
                <a:gd name="connsiteY33" fmla="*/ 59055 h 142970"/>
                <a:gd name="connsiteX34" fmla="*/ 82105 w 109823"/>
                <a:gd name="connsiteY34" fmla="*/ 64484 h 142970"/>
                <a:gd name="connsiteX35" fmla="*/ 95821 w 109823"/>
                <a:gd name="connsiteY35" fmla="*/ 72200 h 142970"/>
                <a:gd name="connsiteX36" fmla="*/ 105918 w 109823"/>
                <a:gd name="connsiteY36" fmla="*/ 83249 h 142970"/>
                <a:gd name="connsiteX37" fmla="*/ 109823 w 109823"/>
                <a:gd name="connsiteY37" fmla="*/ 99155 h 142970"/>
                <a:gd name="connsiteX38" fmla="*/ 109823 w 109823"/>
                <a:gd name="connsiteY38" fmla="*/ 99632 h 142970"/>
                <a:gd name="connsiteX39" fmla="*/ 105918 w 109823"/>
                <a:gd name="connsiteY39" fmla="*/ 118682 h 142970"/>
                <a:gd name="connsiteX40" fmla="*/ 95059 w 109823"/>
                <a:gd name="connsiteY40" fmla="*/ 132112 h 142970"/>
                <a:gd name="connsiteX41" fmla="*/ 78772 w 109823"/>
                <a:gd name="connsiteY41" fmla="*/ 140208 h 142970"/>
                <a:gd name="connsiteX42" fmla="*/ 58674 w 109823"/>
                <a:gd name="connsiteY42" fmla="*/ 142970 h 142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09823" h="142970">
                  <a:moveTo>
                    <a:pt x="58579" y="142780"/>
                  </a:moveTo>
                  <a:cubicBezTo>
                    <a:pt x="48673" y="142780"/>
                    <a:pt x="38576" y="140970"/>
                    <a:pt x="28384" y="137541"/>
                  </a:cubicBezTo>
                  <a:cubicBezTo>
                    <a:pt x="18193" y="134017"/>
                    <a:pt x="8763" y="128873"/>
                    <a:pt x="0" y="121920"/>
                  </a:cubicBezTo>
                  <a:lnTo>
                    <a:pt x="14097" y="100489"/>
                  </a:lnTo>
                  <a:cubicBezTo>
                    <a:pt x="21622" y="106108"/>
                    <a:pt x="29242" y="110300"/>
                    <a:pt x="36957" y="113157"/>
                  </a:cubicBezTo>
                  <a:cubicBezTo>
                    <a:pt x="44672" y="116015"/>
                    <a:pt x="52197" y="117443"/>
                    <a:pt x="59341" y="117443"/>
                  </a:cubicBezTo>
                  <a:cubicBezTo>
                    <a:pt x="66484" y="117443"/>
                    <a:pt x="71438" y="116110"/>
                    <a:pt x="75152" y="113443"/>
                  </a:cubicBezTo>
                  <a:cubicBezTo>
                    <a:pt x="78867" y="110776"/>
                    <a:pt x="80772" y="107156"/>
                    <a:pt x="80772" y="102584"/>
                  </a:cubicBezTo>
                  <a:lnTo>
                    <a:pt x="80772" y="102108"/>
                  </a:lnTo>
                  <a:cubicBezTo>
                    <a:pt x="80772" y="99536"/>
                    <a:pt x="79915" y="97250"/>
                    <a:pt x="78296" y="95345"/>
                  </a:cubicBezTo>
                  <a:cubicBezTo>
                    <a:pt x="76676" y="93440"/>
                    <a:pt x="74390" y="91821"/>
                    <a:pt x="71533" y="90392"/>
                  </a:cubicBezTo>
                  <a:cubicBezTo>
                    <a:pt x="68675" y="88964"/>
                    <a:pt x="65342" y="87725"/>
                    <a:pt x="61627" y="86487"/>
                  </a:cubicBezTo>
                  <a:cubicBezTo>
                    <a:pt x="57912" y="85249"/>
                    <a:pt x="54007" y="84011"/>
                    <a:pt x="50006" y="82868"/>
                  </a:cubicBezTo>
                  <a:cubicBezTo>
                    <a:pt x="44958" y="81439"/>
                    <a:pt x="39815" y="79820"/>
                    <a:pt x="34671" y="77915"/>
                  </a:cubicBezTo>
                  <a:cubicBezTo>
                    <a:pt x="29528" y="76010"/>
                    <a:pt x="24955" y="73533"/>
                    <a:pt x="20860" y="70485"/>
                  </a:cubicBezTo>
                  <a:cubicBezTo>
                    <a:pt x="16764" y="67437"/>
                    <a:pt x="13430" y="63627"/>
                    <a:pt x="10763" y="59150"/>
                  </a:cubicBezTo>
                  <a:cubicBezTo>
                    <a:pt x="8096" y="54674"/>
                    <a:pt x="6858" y="49054"/>
                    <a:pt x="6858" y="42482"/>
                  </a:cubicBezTo>
                  <a:lnTo>
                    <a:pt x="6858" y="42005"/>
                  </a:lnTo>
                  <a:cubicBezTo>
                    <a:pt x="6858" y="35624"/>
                    <a:pt x="8096" y="29718"/>
                    <a:pt x="10668" y="24575"/>
                  </a:cubicBezTo>
                  <a:cubicBezTo>
                    <a:pt x="13145" y="19336"/>
                    <a:pt x="16669" y="14954"/>
                    <a:pt x="21146" y="11240"/>
                  </a:cubicBezTo>
                  <a:cubicBezTo>
                    <a:pt x="25622" y="7620"/>
                    <a:pt x="30766" y="4763"/>
                    <a:pt x="36862" y="2858"/>
                  </a:cubicBezTo>
                  <a:cubicBezTo>
                    <a:pt x="42863" y="953"/>
                    <a:pt x="49244" y="0"/>
                    <a:pt x="56102" y="0"/>
                  </a:cubicBezTo>
                  <a:cubicBezTo>
                    <a:pt x="64770" y="0"/>
                    <a:pt x="73628" y="1429"/>
                    <a:pt x="82487" y="4191"/>
                  </a:cubicBezTo>
                  <a:cubicBezTo>
                    <a:pt x="91345" y="6953"/>
                    <a:pt x="99441" y="10858"/>
                    <a:pt x="106775" y="15812"/>
                  </a:cubicBezTo>
                  <a:lnTo>
                    <a:pt x="94202" y="38386"/>
                  </a:lnTo>
                  <a:cubicBezTo>
                    <a:pt x="87535" y="34385"/>
                    <a:pt x="80867" y="31242"/>
                    <a:pt x="74104" y="28861"/>
                  </a:cubicBezTo>
                  <a:cubicBezTo>
                    <a:pt x="67342" y="26480"/>
                    <a:pt x="61055" y="25337"/>
                    <a:pt x="55245" y="25337"/>
                  </a:cubicBezTo>
                  <a:cubicBezTo>
                    <a:pt x="49149" y="25337"/>
                    <a:pt x="44387" y="26670"/>
                    <a:pt x="40958" y="29242"/>
                  </a:cubicBezTo>
                  <a:cubicBezTo>
                    <a:pt x="37529" y="31814"/>
                    <a:pt x="35909" y="35147"/>
                    <a:pt x="35909" y="39148"/>
                  </a:cubicBezTo>
                  <a:lnTo>
                    <a:pt x="35909" y="39719"/>
                  </a:lnTo>
                  <a:cubicBezTo>
                    <a:pt x="35909" y="42101"/>
                    <a:pt x="36767" y="44291"/>
                    <a:pt x="38481" y="46101"/>
                  </a:cubicBezTo>
                  <a:cubicBezTo>
                    <a:pt x="40196" y="47911"/>
                    <a:pt x="42482" y="49625"/>
                    <a:pt x="45434" y="51054"/>
                  </a:cubicBezTo>
                  <a:cubicBezTo>
                    <a:pt x="48387" y="52483"/>
                    <a:pt x="51625" y="53912"/>
                    <a:pt x="55340" y="55245"/>
                  </a:cubicBezTo>
                  <a:cubicBezTo>
                    <a:pt x="59055" y="56579"/>
                    <a:pt x="62960" y="57817"/>
                    <a:pt x="66961" y="59055"/>
                  </a:cubicBezTo>
                  <a:cubicBezTo>
                    <a:pt x="72009" y="60579"/>
                    <a:pt x="77057" y="62484"/>
                    <a:pt x="82105" y="64484"/>
                  </a:cubicBezTo>
                  <a:cubicBezTo>
                    <a:pt x="87154" y="66580"/>
                    <a:pt x="91726" y="69152"/>
                    <a:pt x="95821" y="72200"/>
                  </a:cubicBezTo>
                  <a:cubicBezTo>
                    <a:pt x="99917" y="75248"/>
                    <a:pt x="103251" y="78962"/>
                    <a:pt x="105918" y="83249"/>
                  </a:cubicBezTo>
                  <a:cubicBezTo>
                    <a:pt x="108585" y="87535"/>
                    <a:pt x="109823" y="92869"/>
                    <a:pt x="109823" y="99155"/>
                  </a:cubicBezTo>
                  <a:lnTo>
                    <a:pt x="109823" y="99632"/>
                  </a:lnTo>
                  <a:cubicBezTo>
                    <a:pt x="109823" y="106966"/>
                    <a:pt x="108490" y="113252"/>
                    <a:pt x="105918" y="118682"/>
                  </a:cubicBezTo>
                  <a:cubicBezTo>
                    <a:pt x="103346" y="124111"/>
                    <a:pt x="99727" y="128588"/>
                    <a:pt x="95059" y="132112"/>
                  </a:cubicBezTo>
                  <a:cubicBezTo>
                    <a:pt x="90392" y="135636"/>
                    <a:pt x="84963" y="138398"/>
                    <a:pt x="78772" y="140208"/>
                  </a:cubicBezTo>
                  <a:cubicBezTo>
                    <a:pt x="72485" y="142018"/>
                    <a:pt x="65818" y="142970"/>
                    <a:pt x="58674" y="142970"/>
                  </a:cubicBezTo>
                  <a:close/>
                </a:path>
              </a:pathLst>
            </a:custGeom>
            <a:solidFill>
              <a:srgbClr val="43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Shape 75">
              <a:extLst>
                <a:ext uri="{FF2B5EF4-FFF2-40B4-BE49-F238E27FC236}">
                  <a16:creationId xmlns:a16="http://schemas.microsoft.com/office/drawing/2014/main" id="{4027A97A-CEF8-AFD0-FAEF-31A6FF9CEBE4}"/>
                </a:ext>
              </a:extLst>
            </p:cNvPr>
            <p:cNvSpPr/>
            <p:nvPr/>
          </p:nvSpPr>
          <p:spPr>
            <a:xfrm>
              <a:off x="962469" y="4557267"/>
              <a:ext cx="75152" cy="88582"/>
            </a:xfrm>
            <a:custGeom>
              <a:avLst/>
              <a:gdLst>
                <a:gd name="connsiteX0" fmla="*/ 31813 w 75152"/>
                <a:gd name="connsiteY0" fmla="*/ 88487 h 88582"/>
                <a:gd name="connsiteX1" fmla="*/ 20098 w 75152"/>
                <a:gd name="connsiteY1" fmla="*/ 86868 h 88582"/>
                <a:gd name="connsiteX2" fmla="*/ 9906 w 75152"/>
                <a:gd name="connsiteY2" fmla="*/ 81820 h 88582"/>
                <a:gd name="connsiteX3" fmla="*/ 2762 w 75152"/>
                <a:gd name="connsiteY3" fmla="*/ 73438 h 88582"/>
                <a:gd name="connsiteX4" fmla="*/ 0 w 75152"/>
                <a:gd name="connsiteY4" fmla="*/ 61913 h 88582"/>
                <a:gd name="connsiteX5" fmla="*/ 0 w 75152"/>
                <a:gd name="connsiteY5" fmla="*/ 61532 h 88582"/>
                <a:gd name="connsiteX6" fmla="*/ 2667 w 75152"/>
                <a:gd name="connsiteY6" fmla="*/ 49435 h 88582"/>
                <a:gd name="connsiteX7" fmla="*/ 10192 w 75152"/>
                <a:gd name="connsiteY7" fmla="*/ 40767 h 88582"/>
                <a:gd name="connsiteX8" fmla="*/ 21717 w 75152"/>
                <a:gd name="connsiteY8" fmla="*/ 35528 h 88582"/>
                <a:gd name="connsiteX9" fmla="*/ 36481 w 75152"/>
                <a:gd name="connsiteY9" fmla="*/ 33719 h 88582"/>
                <a:gd name="connsiteX10" fmla="*/ 50768 w 75152"/>
                <a:gd name="connsiteY10" fmla="*/ 34671 h 88582"/>
                <a:gd name="connsiteX11" fmla="*/ 62579 w 75152"/>
                <a:gd name="connsiteY11" fmla="*/ 37338 h 88582"/>
                <a:gd name="connsiteX12" fmla="*/ 62579 w 75152"/>
                <a:gd name="connsiteY12" fmla="*/ 34671 h 88582"/>
                <a:gd name="connsiteX13" fmla="*/ 56007 w 75152"/>
                <a:gd name="connsiteY13" fmla="*/ 17526 h 88582"/>
                <a:gd name="connsiteX14" fmla="*/ 37338 w 75152"/>
                <a:gd name="connsiteY14" fmla="*/ 11716 h 88582"/>
                <a:gd name="connsiteX15" fmla="*/ 23527 w 75152"/>
                <a:gd name="connsiteY15" fmla="*/ 13335 h 88582"/>
                <a:gd name="connsiteX16" fmla="*/ 11430 w 75152"/>
                <a:gd name="connsiteY16" fmla="*/ 17812 h 88582"/>
                <a:gd name="connsiteX17" fmla="*/ 7620 w 75152"/>
                <a:gd name="connsiteY17" fmla="*/ 7334 h 88582"/>
                <a:gd name="connsiteX18" fmla="*/ 22003 w 75152"/>
                <a:gd name="connsiteY18" fmla="*/ 2000 h 88582"/>
                <a:gd name="connsiteX19" fmla="*/ 38672 w 75152"/>
                <a:gd name="connsiteY19" fmla="*/ 0 h 88582"/>
                <a:gd name="connsiteX20" fmla="*/ 66199 w 75152"/>
                <a:gd name="connsiteY20" fmla="*/ 9430 h 88582"/>
                <a:gd name="connsiteX21" fmla="*/ 75152 w 75152"/>
                <a:gd name="connsiteY21" fmla="*/ 34481 h 88582"/>
                <a:gd name="connsiteX22" fmla="*/ 75152 w 75152"/>
                <a:gd name="connsiteY22" fmla="*/ 86678 h 88582"/>
                <a:gd name="connsiteX23" fmla="*/ 62579 w 75152"/>
                <a:gd name="connsiteY23" fmla="*/ 86678 h 88582"/>
                <a:gd name="connsiteX24" fmla="*/ 62579 w 75152"/>
                <a:gd name="connsiteY24" fmla="*/ 74009 h 88582"/>
                <a:gd name="connsiteX25" fmla="*/ 50578 w 75152"/>
                <a:gd name="connsiteY25" fmla="*/ 84201 h 88582"/>
                <a:gd name="connsiteX26" fmla="*/ 31813 w 75152"/>
                <a:gd name="connsiteY26" fmla="*/ 88583 h 88582"/>
                <a:gd name="connsiteX27" fmla="*/ 34385 w 75152"/>
                <a:gd name="connsiteY27" fmla="*/ 78105 h 88582"/>
                <a:gd name="connsiteX28" fmla="*/ 45434 w 75152"/>
                <a:gd name="connsiteY28" fmla="*/ 76486 h 88582"/>
                <a:gd name="connsiteX29" fmla="*/ 54388 w 75152"/>
                <a:gd name="connsiteY29" fmla="*/ 71819 h 88582"/>
                <a:gd name="connsiteX30" fmla="*/ 60484 w 75152"/>
                <a:gd name="connsiteY30" fmla="*/ 64579 h 88582"/>
                <a:gd name="connsiteX31" fmla="*/ 62675 w 75152"/>
                <a:gd name="connsiteY31" fmla="*/ 55340 h 88582"/>
                <a:gd name="connsiteX32" fmla="*/ 62675 w 75152"/>
                <a:gd name="connsiteY32" fmla="*/ 47435 h 88582"/>
                <a:gd name="connsiteX33" fmla="*/ 51816 w 75152"/>
                <a:gd name="connsiteY33" fmla="*/ 44958 h 88582"/>
                <a:gd name="connsiteX34" fmla="*/ 37814 w 75152"/>
                <a:gd name="connsiteY34" fmla="*/ 43815 h 88582"/>
                <a:gd name="connsiteX35" fmla="*/ 19431 w 75152"/>
                <a:gd name="connsiteY35" fmla="*/ 48482 h 88582"/>
                <a:gd name="connsiteX36" fmla="*/ 12954 w 75152"/>
                <a:gd name="connsiteY36" fmla="*/ 60865 h 88582"/>
                <a:gd name="connsiteX37" fmla="*/ 12954 w 75152"/>
                <a:gd name="connsiteY37" fmla="*/ 61246 h 88582"/>
                <a:gd name="connsiteX38" fmla="*/ 14669 w 75152"/>
                <a:gd name="connsiteY38" fmla="*/ 68390 h 88582"/>
                <a:gd name="connsiteX39" fmla="*/ 19336 w 75152"/>
                <a:gd name="connsiteY39" fmla="*/ 73724 h 88582"/>
                <a:gd name="connsiteX40" fmla="*/ 26194 w 75152"/>
                <a:gd name="connsiteY40" fmla="*/ 76962 h 88582"/>
                <a:gd name="connsiteX41" fmla="*/ 34385 w 75152"/>
                <a:gd name="connsiteY41" fmla="*/ 78105 h 8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5152" h="88582">
                  <a:moveTo>
                    <a:pt x="31813" y="88487"/>
                  </a:moveTo>
                  <a:cubicBezTo>
                    <a:pt x="27813" y="88487"/>
                    <a:pt x="23908" y="87916"/>
                    <a:pt x="20098" y="86868"/>
                  </a:cubicBezTo>
                  <a:cubicBezTo>
                    <a:pt x="16288" y="85820"/>
                    <a:pt x="12859" y="84106"/>
                    <a:pt x="9906" y="81820"/>
                  </a:cubicBezTo>
                  <a:cubicBezTo>
                    <a:pt x="6953" y="79534"/>
                    <a:pt x="4572" y="76771"/>
                    <a:pt x="2762" y="73438"/>
                  </a:cubicBezTo>
                  <a:cubicBezTo>
                    <a:pt x="952" y="70104"/>
                    <a:pt x="0" y="66294"/>
                    <a:pt x="0" y="61913"/>
                  </a:cubicBezTo>
                  <a:lnTo>
                    <a:pt x="0" y="61532"/>
                  </a:lnTo>
                  <a:cubicBezTo>
                    <a:pt x="0" y="56864"/>
                    <a:pt x="857" y="52864"/>
                    <a:pt x="2667" y="49435"/>
                  </a:cubicBezTo>
                  <a:cubicBezTo>
                    <a:pt x="4477" y="46006"/>
                    <a:pt x="6953" y="43053"/>
                    <a:pt x="10192" y="40767"/>
                  </a:cubicBezTo>
                  <a:cubicBezTo>
                    <a:pt x="13430" y="38481"/>
                    <a:pt x="17335" y="36671"/>
                    <a:pt x="21717" y="35528"/>
                  </a:cubicBezTo>
                  <a:cubicBezTo>
                    <a:pt x="26098" y="34385"/>
                    <a:pt x="31147" y="33719"/>
                    <a:pt x="36481" y="33719"/>
                  </a:cubicBezTo>
                  <a:cubicBezTo>
                    <a:pt x="41815" y="33719"/>
                    <a:pt x="46768" y="34004"/>
                    <a:pt x="50768" y="34671"/>
                  </a:cubicBezTo>
                  <a:cubicBezTo>
                    <a:pt x="54769" y="35338"/>
                    <a:pt x="58674" y="36195"/>
                    <a:pt x="62579" y="37338"/>
                  </a:cubicBezTo>
                  <a:lnTo>
                    <a:pt x="62579" y="34671"/>
                  </a:lnTo>
                  <a:cubicBezTo>
                    <a:pt x="62579" y="27146"/>
                    <a:pt x="60389" y="21431"/>
                    <a:pt x="56007" y="17526"/>
                  </a:cubicBezTo>
                  <a:cubicBezTo>
                    <a:pt x="51626" y="13621"/>
                    <a:pt x="45339" y="11716"/>
                    <a:pt x="37338" y="11716"/>
                  </a:cubicBezTo>
                  <a:cubicBezTo>
                    <a:pt x="32290" y="11716"/>
                    <a:pt x="27718" y="12287"/>
                    <a:pt x="23527" y="13335"/>
                  </a:cubicBezTo>
                  <a:cubicBezTo>
                    <a:pt x="19431" y="14478"/>
                    <a:pt x="15335" y="15907"/>
                    <a:pt x="11430" y="17812"/>
                  </a:cubicBezTo>
                  <a:lnTo>
                    <a:pt x="7620" y="7334"/>
                  </a:lnTo>
                  <a:cubicBezTo>
                    <a:pt x="12382" y="5144"/>
                    <a:pt x="17145" y="3334"/>
                    <a:pt x="22003" y="2000"/>
                  </a:cubicBezTo>
                  <a:cubicBezTo>
                    <a:pt x="26860" y="667"/>
                    <a:pt x="32385" y="0"/>
                    <a:pt x="38672" y="0"/>
                  </a:cubicBezTo>
                  <a:cubicBezTo>
                    <a:pt x="50768" y="0"/>
                    <a:pt x="60008" y="3143"/>
                    <a:pt x="66199" y="9430"/>
                  </a:cubicBezTo>
                  <a:cubicBezTo>
                    <a:pt x="72104" y="15335"/>
                    <a:pt x="75152" y="23717"/>
                    <a:pt x="75152" y="34481"/>
                  </a:cubicBezTo>
                  <a:lnTo>
                    <a:pt x="75152" y="86678"/>
                  </a:lnTo>
                  <a:lnTo>
                    <a:pt x="62579" y="86678"/>
                  </a:lnTo>
                  <a:lnTo>
                    <a:pt x="62579" y="74009"/>
                  </a:lnTo>
                  <a:cubicBezTo>
                    <a:pt x="59627" y="77819"/>
                    <a:pt x="55626" y="81248"/>
                    <a:pt x="50578" y="84201"/>
                  </a:cubicBezTo>
                  <a:cubicBezTo>
                    <a:pt x="45529" y="87154"/>
                    <a:pt x="39338" y="88583"/>
                    <a:pt x="31813" y="88583"/>
                  </a:cubicBezTo>
                  <a:close/>
                  <a:moveTo>
                    <a:pt x="34385" y="78105"/>
                  </a:moveTo>
                  <a:cubicBezTo>
                    <a:pt x="38291" y="78105"/>
                    <a:pt x="42005" y="77533"/>
                    <a:pt x="45434" y="76486"/>
                  </a:cubicBezTo>
                  <a:cubicBezTo>
                    <a:pt x="48863" y="75343"/>
                    <a:pt x="51816" y="73819"/>
                    <a:pt x="54388" y="71819"/>
                  </a:cubicBezTo>
                  <a:cubicBezTo>
                    <a:pt x="56959" y="69818"/>
                    <a:pt x="58960" y="67342"/>
                    <a:pt x="60484" y="64579"/>
                  </a:cubicBezTo>
                  <a:cubicBezTo>
                    <a:pt x="62008" y="61817"/>
                    <a:pt x="62675" y="58674"/>
                    <a:pt x="62675" y="55340"/>
                  </a:cubicBezTo>
                  <a:lnTo>
                    <a:pt x="62675" y="47435"/>
                  </a:lnTo>
                  <a:cubicBezTo>
                    <a:pt x="59531" y="46577"/>
                    <a:pt x="55912" y="45720"/>
                    <a:pt x="51816" y="44958"/>
                  </a:cubicBezTo>
                  <a:cubicBezTo>
                    <a:pt x="47720" y="44196"/>
                    <a:pt x="43053" y="43815"/>
                    <a:pt x="37814" y="43815"/>
                  </a:cubicBezTo>
                  <a:cubicBezTo>
                    <a:pt x="29908" y="43815"/>
                    <a:pt x="23813" y="45339"/>
                    <a:pt x="19431" y="48482"/>
                  </a:cubicBezTo>
                  <a:cubicBezTo>
                    <a:pt x="15049" y="51625"/>
                    <a:pt x="12954" y="55721"/>
                    <a:pt x="12954" y="60865"/>
                  </a:cubicBezTo>
                  <a:lnTo>
                    <a:pt x="12954" y="61246"/>
                  </a:lnTo>
                  <a:cubicBezTo>
                    <a:pt x="12954" y="63913"/>
                    <a:pt x="13526" y="66294"/>
                    <a:pt x="14669" y="68390"/>
                  </a:cubicBezTo>
                  <a:cubicBezTo>
                    <a:pt x="15811" y="70485"/>
                    <a:pt x="17335" y="72295"/>
                    <a:pt x="19336" y="73724"/>
                  </a:cubicBezTo>
                  <a:cubicBezTo>
                    <a:pt x="21336" y="75152"/>
                    <a:pt x="23622" y="76200"/>
                    <a:pt x="26194" y="76962"/>
                  </a:cubicBezTo>
                  <a:cubicBezTo>
                    <a:pt x="28766" y="77724"/>
                    <a:pt x="31528" y="78105"/>
                    <a:pt x="34385" y="78105"/>
                  </a:cubicBezTo>
                  <a:close/>
                </a:path>
              </a:pathLst>
            </a:custGeom>
            <a:solidFill>
              <a:srgbClr val="43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Shape 76">
              <a:extLst>
                <a:ext uri="{FF2B5EF4-FFF2-40B4-BE49-F238E27FC236}">
                  <a16:creationId xmlns:a16="http://schemas.microsoft.com/office/drawing/2014/main" id="{6DC29014-DF8C-90DD-1F4B-7AFC058EB75B}"/>
                </a:ext>
              </a:extLst>
            </p:cNvPr>
            <p:cNvSpPr/>
            <p:nvPr/>
          </p:nvSpPr>
          <p:spPr>
            <a:xfrm>
              <a:off x="1056862" y="4532883"/>
              <a:ext cx="51625" cy="112585"/>
            </a:xfrm>
            <a:custGeom>
              <a:avLst/>
              <a:gdLst>
                <a:gd name="connsiteX0" fmla="*/ 36100 w 51625"/>
                <a:gd name="connsiteY0" fmla="*/ 112586 h 112585"/>
                <a:gd name="connsiteX1" fmla="*/ 26479 w 51625"/>
                <a:gd name="connsiteY1" fmla="*/ 111252 h 112585"/>
                <a:gd name="connsiteX2" fmla="*/ 18764 w 51625"/>
                <a:gd name="connsiteY2" fmla="*/ 107061 h 112585"/>
                <a:gd name="connsiteX3" fmla="*/ 13716 w 51625"/>
                <a:gd name="connsiteY3" fmla="*/ 99536 h 112585"/>
                <a:gd name="connsiteX4" fmla="*/ 11906 w 51625"/>
                <a:gd name="connsiteY4" fmla="*/ 88487 h 112585"/>
                <a:gd name="connsiteX5" fmla="*/ 11906 w 51625"/>
                <a:gd name="connsiteY5" fmla="*/ 36957 h 112585"/>
                <a:gd name="connsiteX6" fmla="*/ 0 w 51625"/>
                <a:gd name="connsiteY6" fmla="*/ 36957 h 112585"/>
                <a:gd name="connsiteX7" fmla="*/ 0 w 51625"/>
                <a:gd name="connsiteY7" fmla="*/ 25717 h 112585"/>
                <a:gd name="connsiteX8" fmla="*/ 11906 w 51625"/>
                <a:gd name="connsiteY8" fmla="*/ 25717 h 112585"/>
                <a:gd name="connsiteX9" fmla="*/ 11906 w 51625"/>
                <a:gd name="connsiteY9" fmla="*/ 0 h 112585"/>
                <a:gd name="connsiteX10" fmla="*/ 24575 w 51625"/>
                <a:gd name="connsiteY10" fmla="*/ 0 h 112585"/>
                <a:gd name="connsiteX11" fmla="*/ 24575 w 51625"/>
                <a:gd name="connsiteY11" fmla="*/ 25717 h 112585"/>
                <a:gd name="connsiteX12" fmla="*/ 51625 w 51625"/>
                <a:gd name="connsiteY12" fmla="*/ 25717 h 112585"/>
                <a:gd name="connsiteX13" fmla="*/ 51625 w 51625"/>
                <a:gd name="connsiteY13" fmla="*/ 36957 h 112585"/>
                <a:gd name="connsiteX14" fmla="*/ 24575 w 51625"/>
                <a:gd name="connsiteY14" fmla="*/ 36957 h 112585"/>
                <a:gd name="connsiteX15" fmla="*/ 24575 w 51625"/>
                <a:gd name="connsiteY15" fmla="*/ 86678 h 112585"/>
                <a:gd name="connsiteX16" fmla="*/ 28575 w 51625"/>
                <a:gd name="connsiteY16" fmla="*/ 97727 h 112585"/>
                <a:gd name="connsiteX17" fmla="*/ 38957 w 51625"/>
                <a:gd name="connsiteY17" fmla="*/ 100870 h 112585"/>
                <a:gd name="connsiteX18" fmla="*/ 45149 w 51625"/>
                <a:gd name="connsiteY18" fmla="*/ 100203 h 112585"/>
                <a:gd name="connsiteX19" fmla="*/ 51340 w 51625"/>
                <a:gd name="connsiteY19" fmla="*/ 98012 h 112585"/>
                <a:gd name="connsiteX20" fmla="*/ 51340 w 51625"/>
                <a:gd name="connsiteY20" fmla="*/ 108871 h 112585"/>
                <a:gd name="connsiteX21" fmla="*/ 44291 w 51625"/>
                <a:gd name="connsiteY21" fmla="*/ 111633 h 112585"/>
                <a:gd name="connsiteX22" fmla="*/ 35909 w 51625"/>
                <a:gd name="connsiteY22" fmla="*/ 112586 h 112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1625" h="112585">
                  <a:moveTo>
                    <a:pt x="36100" y="112586"/>
                  </a:moveTo>
                  <a:cubicBezTo>
                    <a:pt x="32671" y="112586"/>
                    <a:pt x="29527" y="112109"/>
                    <a:pt x="26479" y="111252"/>
                  </a:cubicBezTo>
                  <a:cubicBezTo>
                    <a:pt x="23527" y="110395"/>
                    <a:pt x="20955" y="108966"/>
                    <a:pt x="18764" y="107061"/>
                  </a:cubicBezTo>
                  <a:cubicBezTo>
                    <a:pt x="16669" y="105156"/>
                    <a:pt x="14954" y="102679"/>
                    <a:pt x="13716" y="99536"/>
                  </a:cubicBezTo>
                  <a:cubicBezTo>
                    <a:pt x="12478" y="96393"/>
                    <a:pt x="11906" y="92774"/>
                    <a:pt x="11906" y="88487"/>
                  </a:cubicBezTo>
                  <a:lnTo>
                    <a:pt x="11906" y="36957"/>
                  </a:lnTo>
                  <a:lnTo>
                    <a:pt x="0" y="36957"/>
                  </a:lnTo>
                  <a:lnTo>
                    <a:pt x="0" y="25717"/>
                  </a:lnTo>
                  <a:lnTo>
                    <a:pt x="11906" y="25717"/>
                  </a:lnTo>
                  <a:lnTo>
                    <a:pt x="11906" y="0"/>
                  </a:lnTo>
                  <a:lnTo>
                    <a:pt x="24575" y="0"/>
                  </a:lnTo>
                  <a:lnTo>
                    <a:pt x="24575" y="25717"/>
                  </a:lnTo>
                  <a:lnTo>
                    <a:pt x="51625" y="25717"/>
                  </a:lnTo>
                  <a:lnTo>
                    <a:pt x="51625" y="36957"/>
                  </a:lnTo>
                  <a:lnTo>
                    <a:pt x="24575" y="36957"/>
                  </a:lnTo>
                  <a:lnTo>
                    <a:pt x="24575" y="86678"/>
                  </a:lnTo>
                  <a:cubicBezTo>
                    <a:pt x="24575" y="91916"/>
                    <a:pt x="25908" y="95631"/>
                    <a:pt x="28575" y="97727"/>
                  </a:cubicBezTo>
                  <a:cubicBezTo>
                    <a:pt x="31242" y="99822"/>
                    <a:pt x="34671" y="100870"/>
                    <a:pt x="38957" y="100870"/>
                  </a:cubicBezTo>
                  <a:cubicBezTo>
                    <a:pt x="41148" y="100870"/>
                    <a:pt x="43244" y="100679"/>
                    <a:pt x="45149" y="100203"/>
                  </a:cubicBezTo>
                  <a:cubicBezTo>
                    <a:pt x="47053" y="99727"/>
                    <a:pt x="49149" y="99060"/>
                    <a:pt x="51340" y="98012"/>
                  </a:cubicBezTo>
                  <a:lnTo>
                    <a:pt x="51340" y="108871"/>
                  </a:lnTo>
                  <a:cubicBezTo>
                    <a:pt x="49149" y="110109"/>
                    <a:pt x="46768" y="110966"/>
                    <a:pt x="44291" y="111633"/>
                  </a:cubicBezTo>
                  <a:cubicBezTo>
                    <a:pt x="41815" y="112204"/>
                    <a:pt x="39052" y="112586"/>
                    <a:pt x="35909" y="112586"/>
                  </a:cubicBezTo>
                  <a:close/>
                </a:path>
              </a:pathLst>
            </a:custGeom>
            <a:solidFill>
              <a:srgbClr val="43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Shape 77">
              <a:extLst>
                <a:ext uri="{FF2B5EF4-FFF2-40B4-BE49-F238E27FC236}">
                  <a16:creationId xmlns:a16="http://schemas.microsoft.com/office/drawing/2014/main" id="{425AE284-1D37-890D-0080-77B703F86988}"/>
                </a:ext>
              </a:extLst>
            </p:cNvPr>
            <p:cNvSpPr/>
            <p:nvPr/>
          </p:nvSpPr>
          <p:spPr>
            <a:xfrm>
              <a:off x="1131443" y="4525930"/>
              <a:ext cx="14477" cy="118014"/>
            </a:xfrm>
            <a:custGeom>
              <a:avLst/>
              <a:gdLst>
                <a:gd name="connsiteX0" fmla="*/ 0 w 14477"/>
                <a:gd name="connsiteY0" fmla="*/ 0 h 118014"/>
                <a:gd name="connsiteX1" fmla="*/ 14478 w 14477"/>
                <a:gd name="connsiteY1" fmla="*/ 0 h 118014"/>
                <a:gd name="connsiteX2" fmla="*/ 14478 w 14477"/>
                <a:gd name="connsiteY2" fmla="*/ 14002 h 118014"/>
                <a:gd name="connsiteX3" fmla="*/ 0 w 14477"/>
                <a:gd name="connsiteY3" fmla="*/ 14002 h 118014"/>
                <a:gd name="connsiteX4" fmla="*/ 0 w 14477"/>
                <a:gd name="connsiteY4" fmla="*/ 0 h 118014"/>
                <a:gd name="connsiteX5" fmla="*/ 857 w 14477"/>
                <a:gd name="connsiteY5" fmla="*/ 32671 h 118014"/>
                <a:gd name="connsiteX6" fmla="*/ 13526 w 14477"/>
                <a:gd name="connsiteY6" fmla="*/ 32671 h 118014"/>
                <a:gd name="connsiteX7" fmla="*/ 13526 w 14477"/>
                <a:gd name="connsiteY7" fmla="*/ 118015 h 118014"/>
                <a:gd name="connsiteX8" fmla="*/ 857 w 14477"/>
                <a:gd name="connsiteY8" fmla="*/ 118015 h 118014"/>
                <a:gd name="connsiteX9" fmla="*/ 857 w 14477"/>
                <a:gd name="connsiteY9" fmla="*/ 32671 h 118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77" h="118014">
                  <a:moveTo>
                    <a:pt x="0" y="0"/>
                  </a:moveTo>
                  <a:lnTo>
                    <a:pt x="14478" y="0"/>
                  </a:lnTo>
                  <a:lnTo>
                    <a:pt x="14478" y="14002"/>
                  </a:lnTo>
                  <a:lnTo>
                    <a:pt x="0" y="14002"/>
                  </a:lnTo>
                  <a:lnTo>
                    <a:pt x="0" y="0"/>
                  </a:lnTo>
                  <a:close/>
                  <a:moveTo>
                    <a:pt x="857" y="32671"/>
                  </a:moveTo>
                  <a:lnTo>
                    <a:pt x="13526" y="32671"/>
                  </a:lnTo>
                  <a:lnTo>
                    <a:pt x="13526" y="118015"/>
                  </a:lnTo>
                  <a:lnTo>
                    <a:pt x="857" y="118015"/>
                  </a:lnTo>
                  <a:lnTo>
                    <a:pt x="857" y="32671"/>
                  </a:lnTo>
                  <a:close/>
                </a:path>
              </a:pathLst>
            </a:custGeom>
            <a:solidFill>
              <a:srgbClr val="43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Shape 78">
              <a:extLst>
                <a:ext uri="{FF2B5EF4-FFF2-40B4-BE49-F238E27FC236}">
                  <a16:creationId xmlns:a16="http://schemas.microsoft.com/office/drawing/2014/main" id="{06E86E8E-263C-1AA7-F6B1-38B6E4AAFED8}"/>
                </a:ext>
              </a:extLst>
            </p:cNvPr>
            <p:cNvSpPr/>
            <p:nvPr/>
          </p:nvSpPr>
          <p:spPr>
            <a:xfrm>
              <a:off x="1166971" y="4532883"/>
              <a:ext cx="51625" cy="112585"/>
            </a:xfrm>
            <a:custGeom>
              <a:avLst/>
              <a:gdLst>
                <a:gd name="connsiteX0" fmla="*/ 36004 w 51625"/>
                <a:gd name="connsiteY0" fmla="*/ 112586 h 112585"/>
                <a:gd name="connsiteX1" fmla="*/ 26479 w 51625"/>
                <a:gd name="connsiteY1" fmla="*/ 111252 h 112585"/>
                <a:gd name="connsiteX2" fmla="*/ 18764 w 51625"/>
                <a:gd name="connsiteY2" fmla="*/ 107061 h 112585"/>
                <a:gd name="connsiteX3" fmla="*/ 13716 w 51625"/>
                <a:gd name="connsiteY3" fmla="*/ 99536 h 112585"/>
                <a:gd name="connsiteX4" fmla="*/ 11906 w 51625"/>
                <a:gd name="connsiteY4" fmla="*/ 88487 h 112585"/>
                <a:gd name="connsiteX5" fmla="*/ 11906 w 51625"/>
                <a:gd name="connsiteY5" fmla="*/ 36957 h 112585"/>
                <a:gd name="connsiteX6" fmla="*/ 0 w 51625"/>
                <a:gd name="connsiteY6" fmla="*/ 36957 h 112585"/>
                <a:gd name="connsiteX7" fmla="*/ 0 w 51625"/>
                <a:gd name="connsiteY7" fmla="*/ 25717 h 112585"/>
                <a:gd name="connsiteX8" fmla="*/ 11906 w 51625"/>
                <a:gd name="connsiteY8" fmla="*/ 25717 h 112585"/>
                <a:gd name="connsiteX9" fmla="*/ 11906 w 51625"/>
                <a:gd name="connsiteY9" fmla="*/ 0 h 112585"/>
                <a:gd name="connsiteX10" fmla="*/ 24575 w 51625"/>
                <a:gd name="connsiteY10" fmla="*/ 0 h 112585"/>
                <a:gd name="connsiteX11" fmla="*/ 24575 w 51625"/>
                <a:gd name="connsiteY11" fmla="*/ 25717 h 112585"/>
                <a:gd name="connsiteX12" fmla="*/ 51626 w 51625"/>
                <a:gd name="connsiteY12" fmla="*/ 25717 h 112585"/>
                <a:gd name="connsiteX13" fmla="*/ 51626 w 51625"/>
                <a:gd name="connsiteY13" fmla="*/ 36957 h 112585"/>
                <a:gd name="connsiteX14" fmla="*/ 24575 w 51625"/>
                <a:gd name="connsiteY14" fmla="*/ 36957 h 112585"/>
                <a:gd name="connsiteX15" fmla="*/ 24575 w 51625"/>
                <a:gd name="connsiteY15" fmla="*/ 86678 h 112585"/>
                <a:gd name="connsiteX16" fmla="*/ 28575 w 51625"/>
                <a:gd name="connsiteY16" fmla="*/ 97727 h 112585"/>
                <a:gd name="connsiteX17" fmla="*/ 38957 w 51625"/>
                <a:gd name="connsiteY17" fmla="*/ 100870 h 112585"/>
                <a:gd name="connsiteX18" fmla="*/ 45148 w 51625"/>
                <a:gd name="connsiteY18" fmla="*/ 100203 h 112585"/>
                <a:gd name="connsiteX19" fmla="*/ 51340 w 51625"/>
                <a:gd name="connsiteY19" fmla="*/ 98012 h 112585"/>
                <a:gd name="connsiteX20" fmla="*/ 51340 w 51625"/>
                <a:gd name="connsiteY20" fmla="*/ 108871 h 112585"/>
                <a:gd name="connsiteX21" fmla="*/ 44291 w 51625"/>
                <a:gd name="connsiteY21" fmla="*/ 111633 h 112585"/>
                <a:gd name="connsiteX22" fmla="*/ 35909 w 51625"/>
                <a:gd name="connsiteY22" fmla="*/ 112586 h 112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1625" h="112585">
                  <a:moveTo>
                    <a:pt x="36004" y="112586"/>
                  </a:moveTo>
                  <a:cubicBezTo>
                    <a:pt x="32576" y="112586"/>
                    <a:pt x="29432" y="112109"/>
                    <a:pt x="26479" y="111252"/>
                  </a:cubicBezTo>
                  <a:cubicBezTo>
                    <a:pt x="23527" y="110395"/>
                    <a:pt x="20955" y="108966"/>
                    <a:pt x="18764" y="107061"/>
                  </a:cubicBezTo>
                  <a:cubicBezTo>
                    <a:pt x="16573" y="105156"/>
                    <a:pt x="14954" y="102679"/>
                    <a:pt x="13716" y="99536"/>
                  </a:cubicBezTo>
                  <a:cubicBezTo>
                    <a:pt x="12478" y="96393"/>
                    <a:pt x="11906" y="92774"/>
                    <a:pt x="11906" y="88487"/>
                  </a:cubicBezTo>
                  <a:lnTo>
                    <a:pt x="11906" y="36957"/>
                  </a:lnTo>
                  <a:lnTo>
                    <a:pt x="0" y="36957"/>
                  </a:lnTo>
                  <a:lnTo>
                    <a:pt x="0" y="25717"/>
                  </a:lnTo>
                  <a:lnTo>
                    <a:pt x="11906" y="25717"/>
                  </a:lnTo>
                  <a:lnTo>
                    <a:pt x="11906" y="0"/>
                  </a:lnTo>
                  <a:lnTo>
                    <a:pt x="24575" y="0"/>
                  </a:lnTo>
                  <a:lnTo>
                    <a:pt x="24575" y="25717"/>
                  </a:lnTo>
                  <a:lnTo>
                    <a:pt x="51626" y="25717"/>
                  </a:lnTo>
                  <a:lnTo>
                    <a:pt x="51626" y="36957"/>
                  </a:lnTo>
                  <a:lnTo>
                    <a:pt x="24575" y="36957"/>
                  </a:lnTo>
                  <a:lnTo>
                    <a:pt x="24575" y="86678"/>
                  </a:lnTo>
                  <a:cubicBezTo>
                    <a:pt x="24575" y="91916"/>
                    <a:pt x="25908" y="95631"/>
                    <a:pt x="28575" y="97727"/>
                  </a:cubicBezTo>
                  <a:cubicBezTo>
                    <a:pt x="31242" y="99822"/>
                    <a:pt x="34671" y="100870"/>
                    <a:pt x="38957" y="100870"/>
                  </a:cubicBezTo>
                  <a:cubicBezTo>
                    <a:pt x="41148" y="100870"/>
                    <a:pt x="43243" y="100679"/>
                    <a:pt x="45148" y="100203"/>
                  </a:cubicBezTo>
                  <a:cubicBezTo>
                    <a:pt x="47054" y="99727"/>
                    <a:pt x="49149" y="99060"/>
                    <a:pt x="51340" y="98012"/>
                  </a:cubicBezTo>
                  <a:lnTo>
                    <a:pt x="51340" y="108871"/>
                  </a:lnTo>
                  <a:cubicBezTo>
                    <a:pt x="49149" y="110109"/>
                    <a:pt x="46768" y="110966"/>
                    <a:pt x="44291" y="111633"/>
                  </a:cubicBezTo>
                  <a:cubicBezTo>
                    <a:pt x="41815" y="112300"/>
                    <a:pt x="39053" y="112586"/>
                    <a:pt x="35909" y="112586"/>
                  </a:cubicBezTo>
                  <a:close/>
                </a:path>
              </a:pathLst>
            </a:custGeom>
            <a:solidFill>
              <a:srgbClr val="43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 name="Freeform: Shape 79">
              <a:extLst>
                <a:ext uri="{FF2B5EF4-FFF2-40B4-BE49-F238E27FC236}">
                  <a16:creationId xmlns:a16="http://schemas.microsoft.com/office/drawing/2014/main" id="{01BBEAD9-8FF5-9564-8A93-0207E2BCFA59}"/>
                </a:ext>
              </a:extLst>
            </p:cNvPr>
            <p:cNvSpPr/>
            <p:nvPr/>
          </p:nvSpPr>
          <p:spPr>
            <a:xfrm>
              <a:off x="1239837" y="4558601"/>
              <a:ext cx="74485" cy="87153"/>
            </a:xfrm>
            <a:custGeom>
              <a:avLst/>
              <a:gdLst>
                <a:gd name="connsiteX0" fmla="*/ 32671 w 74485"/>
                <a:gd name="connsiteY0" fmla="*/ 87154 h 87153"/>
                <a:gd name="connsiteX1" fmla="*/ 18859 w 74485"/>
                <a:gd name="connsiteY1" fmla="*/ 84677 h 87153"/>
                <a:gd name="connsiteX2" fmla="*/ 8668 w 74485"/>
                <a:gd name="connsiteY2" fmla="*/ 77629 h 87153"/>
                <a:gd name="connsiteX3" fmla="*/ 2191 w 74485"/>
                <a:gd name="connsiteY3" fmla="*/ 66866 h 87153"/>
                <a:gd name="connsiteX4" fmla="*/ 0 w 74485"/>
                <a:gd name="connsiteY4" fmla="*/ 52959 h 87153"/>
                <a:gd name="connsiteX5" fmla="*/ 0 w 74485"/>
                <a:gd name="connsiteY5" fmla="*/ 0 h 87153"/>
                <a:gd name="connsiteX6" fmla="*/ 12668 w 74485"/>
                <a:gd name="connsiteY6" fmla="*/ 0 h 87153"/>
                <a:gd name="connsiteX7" fmla="*/ 12668 w 74485"/>
                <a:gd name="connsiteY7" fmla="*/ 49721 h 87153"/>
                <a:gd name="connsiteX8" fmla="*/ 18764 w 74485"/>
                <a:gd name="connsiteY8" fmla="*/ 68485 h 87153"/>
                <a:gd name="connsiteX9" fmla="*/ 36290 w 74485"/>
                <a:gd name="connsiteY9" fmla="*/ 75438 h 87153"/>
                <a:gd name="connsiteX10" fmla="*/ 46482 w 74485"/>
                <a:gd name="connsiteY10" fmla="*/ 73533 h 87153"/>
                <a:gd name="connsiteX11" fmla="*/ 54578 w 74485"/>
                <a:gd name="connsiteY11" fmla="*/ 68104 h 87153"/>
                <a:gd name="connsiteX12" fmla="*/ 59912 w 74485"/>
                <a:gd name="connsiteY12" fmla="*/ 59627 h 87153"/>
                <a:gd name="connsiteX13" fmla="*/ 61913 w 74485"/>
                <a:gd name="connsiteY13" fmla="*/ 48768 h 87153"/>
                <a:gd name="connsiteX14" fmla="*/ 61913 w 74485"/>
                <a:gd name="connsiteY14" fmla="*/ 0 h 87153"/>
                <a:gd name="connsiteX15" fmla="*/ 74486 w 74485"/>
                <a:gd name="connsiteY15" fmla="*/ 0 h 87153"/>
                <a:gd name="connsiteX16" fmla="*/ 74486 w 74485"/>
                <a:gd name="connsiteY16" fmla="*/ 85344 h 87153"/>
                <a:gd name="connsiteX17" fmla="*/ 61913 w 74485"/>
                <a:gd name="connsiteY17" fmla="*/ 85344 h 87153"/>
                <a:gd name="connsiteX18" fmla="*/ 61913 w 74485"/>
                <a:gd name="connsiteY18" fmla="*/ 70485 h 87153"/>
                <a:gd name="connsiteX19" fmla="*/ 50673 w 74485"/>
                <a:gd name="connsiteY19" fmla="*/ 82296 h 87153"/>
                <a:gd name="connsiteX20" fmla="*/ 32671 w 74485"/>
                <a:gd name="connsiteY20" fmla="*/ 87154 h 87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4485" h="87153">
                  <a:moveTo>
                    <a:pt x="32671" y="87154"/>
                  </a:moveTo>
                  <a:cubicBezTo>
                    <a:pt x="27527" y="87154"/>
                    <a:pt x="22860" y="86297"/>
                    <a:pt x="18859" y="84677"/>
                  </a:cubicBezTo>
                  <a:cubicBezTo>
                    <a:pt x="14859" y="83058"/>
                    <a:pt x="11430" y="80677"/>
                    <a:pt x="8668" y="77629"/>
                  </a:cubicBezTo>
                  <a:cubicBezTo>
                    <a:pt x="5905" y="74581"/>
                    <a:pt x="3715" y="70961"/>
                    <a:pt x="2191" y="66866"/>
                  </a:cubicBezTo>
                  <a:cubicBezTo>
                    <a:pt x="667" y="62675"/>
                    <a:pt x="0" y="58103"/>
                    <a:pt x="0" y="52959"/>
                  </a:cubicBezTo>
                  <a:lnTo>
                    <a:pt x="0" y="0"/>
                  </a:lnTo>
                  <a:lnTo>
                    <a:pt x="12668" y="0"/>
                  </a:lnTo>
                  <a:lnTo>
                    <a:pt x="12668" y="49721"/>
                  </a:lnTo>
                  <a:cubicBezTo>
                    <a:pt x="12668" y="57626"/>
                    <a:pt x="14669" y="63913"/>
                    <a:pt x="18764" y="68485"/>
                  </a:cubicBezTo>
                  <a:cubicBezTo>
                    <a:pt x="22860" y="73057"/>
                    <a:pt x="28670" y="75438"/>
                    <a:pt x="36290" y="75438"/>
                  </a:cubicBezTo>
                  <a:cubicBezTo>
                    <a:pt x="39910" y="75438"/>
                    <a:pt x="43339" y="74771"/>
                    <a:pt x="46482" y="73533"/>
                  </a:cubicBezTo>
                  <a:cubicBezTo>
                    <a:pt x="49625" y="72295"/>
                    <a:pt x="52292" y="70485"/>
                    <a:pt x="54578" y="68104"/>
                  </a:cubicBezTo>
                  <a:cubicBezTo>
                    <a:pt x="56864" y="65723"/>
                    <a:pt x="58579" y="62960"/>
                    <a:pt x="59912" y="59627"/>
                  </a:cubicBezTo>
                  <a:cubicBezTo>
                    <a:pt x="61246" y="56293"/>
                    <a:pt x="61913" y="52673"/>
                    <a:pt x="61913" y="48768"/>
                  </a:cubicBezTo>
                  <a:lnTo>
                    <a:pt x="61913" y="0"/>
                  </a:lnTo>
                  <a:lnTo>
                    <a:pt x="74486" y="0"/>
                  </a:lnTo>
                  <a:lnTo>
                    <a:pt x="74486" y="85344"/>
                  </a:lnTo>
                  <a:lnTo>
                    <a:pt x="61913" y="85344"/>
                  </a:lnTo>
                  <a:lnTo>
                    <a:pt x="61913" y="70485"/>
                  </a:lnTo>
                  <a:cubicBezTo>
                    <a:pt x="59055" y="75152"/>
                    <a:pt x="55340" y="79058"/>
                    <a:pt x="50673" y="82296"/>
                  </a:cubicBezTo>
                  <a:cubicBezTo>
                    <a:pt x="46006" y="85535"/>
                    <a:pt x="40005" y="87154"/>
                    <a:pt x="32671" y="87154"/>
                  </a:cubicBezTo>
                  <a:close/>
                </a:path>
              </a:pathLst>
            </a:custGeom>
            <a:solidFill>
              <a:srgbClr val="43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 name="Freeform: Shape 80">
              <a:extLst>
                <a:ext uri="{FF2B5EF4-FFF2-40B4-BE49-F238E27FC236}">
                  <a16:creationId xmlns:a16="http://schemas.microsoft.com/office/drawing/2014/main" id="{F7FC00DF-09CD-A8E6-D067-CB4999CB48EB}"/>
                </a:ext>
              </a:extLst>
            </p:cNvPr>
            <p:cNvSpPr/>
            <p:nvPr/>
          </p:nvSpPr>
          <p:spPr>
            <a:xfrm>
              <a:off x="1337849" y="4523549"/>
              <a:ext cx="86106" cy="122300"/>
            </a:xfrm>
            <a:custGeom>
              <a:avLst/>
              <a:gdLst>
                <a:gd name="connsiteX0" fmla="*/ 40767 w 86106"/>
                <a:gd name="connsiteY0" fmla="*/ 122206 h 122300"/>
                <a:gd name="connsiteX1" fmla="*/ 25718 w 86106"/>
                <a:gd name="connsiteY1" fmla="*/ 119253 h 122300"/>
                <a:gd name="connsiteX2" fmla="*/ 12668 w 86106"/>
                <a:gd name="connsiteY2" fmla="*/ 110585 h 122300"/>
                <a:gd name="connsiteX3" fmla="*/ 3429 w 86106"/>
                <a:gd name="connsiteY3" fmla="*/ 96679 h 122300"/>
                <a:gd name="connsiteX4" fmla="*/ 0 w 86106"/>
                <a:gd name="connsiteY4" fmla="*/ 77914 h 122300"/>
                <a:gd name="connsiteX5" fmla="*/ 0 w 86106"/>
                <a:gd name="connsiteY5" fmla="*/ 77629 h 122300"/>
                <a:gd name="connsiteX6" fmla="*/ 3429 w 86106"/>
                <a:gd name="connsiteY6" fmla="*/ 58960 h 122300"/>
                <a:gd name="connsiteX7" fmla="*/ 12668 w 86106"/>
                <a:gd name="connsiteY7" fmla="*/ 45053 h 122300"/>
                <a:gd name="connsiteX8" fmla="*/ 25718 w 86106"/>
                <a:gd name="connsiteY8" fmla="*/ 36290 h 122300"/>
                <a:gd name="connsiteX9" fmla="*/ 40767 w 86106"/>
                <a:gd name="connsiteY9" fmla="*/ 33242 h 122300"/>
                <a:gd name="connsiteX10" fmla="*/ 51625 w 86106"/>
                <a:gd name="connsiteY10" fmla="*/ 34766 h 122300"/>
                <a:gd name="connsiteX11" fmla="*/ 60579 w 86106"/>
                <a:gd name="connsiteY11" fmla="*/ 38767 h 122300"/>
                <a:gd name="connsiteX12" fmla="*/ 67723 w 86106"/>
                <a:gd name="connsiteY12" fmla="*/ 44577 h 122300"/>
                <a:gd name="connsiteX13" fmla="*/ 73438 w 86106"/>
                <a:gd name="connsiteY13" fmla="*/ 51530 h 122300"/>
                <a:gd name="connsiteX14" fmla="*/ 73438 w 86106"/>
                <a:gd name="connsiteY14" fmla="*/ 0 h 122300"/>
                <a:gd name="connsiteX15" fmla="*/ 86106 w 86106"/>
                <a:gd name="connsiteY15" fmla="*/ 0 h 122300"/>
                <a:gd name="connsiteX16" fmla="*/ 86106 w 86106"/>
                <a:gd name="connsiteY16" fmla="*/ 120491 h 122300"/>
                <a:gd name="connsiteX17" fmla="*/ 73438 w 86106"/>
                <a:gd name="connsiteY17" fmla="*/ 120491 h 122300"/>
                <a:gd name="connsiteX18" fmla="*/ 73438 w 86106"/>
                <a:gd name="connsiteY18" fmla="*/ 103346 h 122300"/>
                <a:gd name="connsiteX19" fmla="*/ 67532 w 86106"/>
                <a:gd name="connsiteY19" fmla="*/ 110585 h 122300"/>
                <a:gd name="connsiteX20" fmla="*/ 60389 w 86106"/>
                <a:gd name="connsiteY20" fmla="*/ 116681 h 122300"/>
                <a:gd name="connsiteX21" fmla="*/ 51530 w 86106"/>
                <a:gd name="connsiteY21" fmla="*/ 120777 h 122300"/>
                <a:gd name="connsiteX22" fmla="*/ 40767 w 86106"/>
                <a:gd name="connsiteY22" fmla="*/ 122301 h 122300"/>
                <a:gd name="connsiteX23" fmla="*/ 43053 w 86106"/>
                <a:gd name="connsiteY23" fmla="*/ 110776 h 122300"/>
                <a:gd name="connsiteX24" fmla="*/ 54483 w 86106"/>
                <a:gd name="connsiteY24" fmla="*/ 108395 h 122300"/>
                <a:gd name="connsiteX25" fmla="*/ 64389 w 86106"/>
                <a:gd name="connsiteY25" fmla="*/ 101632 h 122300"/>
                <a:gd name="connsiteX26" fmla="*/ 71342 w 86106"/>
                <a:gd name="connsiteY26" fmla="*/ 91250 h 122300"/>
                <a:gd name="connsiteX27" fmla="*/ 73914 w 86106"/>
                <a:gd name="connsiteY27" fmla="*/ 77819 h 122300"/>
                <a:gd name="connsiteX28" fmla="*/ 73914 w 86106"/>
                <a:gd name="connsiteY28" fmla="*/ 77533 h 122300"/>
                <a:gd name="connsiteX29" fmla="*/ 71342 w 86106"/>
                <a:gd name="connsiteY29" fmla="*/ 64103 h 122300"/>
                <a:gd name="connsiteX30" fmla="*/ 64389 w 86106"/>
                <a:gd name="connsiteY30" fmla="*/ 53816 h 122300"/>
                <a:gd name="connsiteX31" fmla="*/ 54483 w 86106"/>
                <a:gd name="connsiteY31" fmla="*/ 47149 h 122300"/>
                <a:gd name="connsiteX32" fmla="*/ 43053 w 86106"/>
                <a:gd name="connsiteY32" fmla="*/ 44767 h 122300"/>
                <a:gd name="connsiteX33" fmla="*/ 31337 w 86106"/>
                <a:gd name="connsiteY33" fmla="*/ 46958 h 122300"/>
                <a:gd name="connsiteX34" fmla="*/ 21812 w 86106"/>
                <a:gd name="connsiteY34" fmla="*/ 53435 h 122300"/>
                <a:gd name="connsiteX35" fmla="*/ 15335 w 86106"/>
                <a:gd name="connsiteY35" fmla="*/ 63722 h 122300"/>
                <a:gd name="connsiteX36" fmla="*/ 12954 w 86106"/>
                <a:gd name="connsiteY36" fmla="*/ 77629 h 122300"/>
                <a:gd name="connsiteX37" fmla="*/ 12954 w 86106"/>
                <a:gd name="connsiteY37" fmla="*/ 77914 h 122300"/>
                <a:gd name="connsiteX38" fmla="*/ 15335 w 86106"/>
                <a:gd name="connsiteY38" fmla="*/ 91630 h 122300"/>
                <a:gd name="connsiteX39" fmla="*/ 21812 w 86106"/>
                <a:gd name="connsiteY39" fmla="*/ 102013 h 122300"/>
                <a:gd name="connsiteX40" fmla="*/ 31337 w 86106"/>
                <a:gd name="connsiteY40" fmla="*/ 108585 h 122300"/>
                <a:gd name="connsiteX41" fmla="*/ 42863 w 86106"/>
                <a:gd name="connsiteY41" fmla="*/ 110871 h 12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86106" h="122300">
                  <a:moveTo>
                    <a:pt x="40767" y="122206"/>
                  </a:moveTo>
                  <a:cubicBezTo>
                    <a:pt x="35623" y="122206"/>
                    <a:pt x="30575" y="121253"/>
                    <a:pt x="25718" y="119253"/>
                  </a:cubicBezTo>
                  <a:cubicBezTo>
                    <a:pt x="20860" y="117253"/>
                    <a:pt x="16573" y="114395"/>
                    <a:pt x="12668" y="110585"/>
                  </a:cubicBezTo>
                  <a:cubicBezTo>
                    <a:pt x="8763" y="106775"/>
                    <a:pt x="5715" y="102203"/>
                    <a:pt x="3429" y="96679"/>
                  </a:cubicBezTo>
                  <a:cubicBezTo>
                    <a:pt x="1143" y="91250"/>
                    <a:pt x="0" y="84963"/>
                    <a:pt x="0" y="77914"/>
                  </a:cubicBezTo>
                  <a:lnTo>
                    <a:pt x="0" y="77629"/>
                  </a:lnTo>
                  <a:cubicBezTo>
                    <a:pt x="0" y="70675"/>
                    <a:pt x="1143" y="64484"/>
                    <a:pt x="3429" y="58960"/>
                  </a:cubicBezTo>
                  <a:cubicBezTo>
                    <a:pt x="5715" y="53435"/>
                    <a:pt x="8858" y="48768"/>
                    <a:pt x="12668" y="45053"/>
                  </a:cubicBezTo>
                  <a:cubicBezTo>
                    <a:pt x="16478" y="41243"/>
                    <a:pt x="20860" y="38291"/>
                    <a:pt x="25718" y="36290"/>
                  </a:cubicBezTo>
                  <a:cubicBezTo>
                    <a:pt x="30575" y="34290"/>
                    <a:pt x="35528" y="33242"/>
                    <a:pt x="40767" y="33242"/>
                  </a:cubicBezTo>
                  <a:cubicBezTo>
                    <a:pt x="44768" y="33242"/>
                    <a:pt x="48387" y="33718"/>
                    <a:pt x="51625" y="34766"/>
                  </a:cubicBezTo>
                  <a:cubicBezTo>
                    <a:pt x="54959" y="35719"/>
                    <a:pt x="57912" y="37052"/>
                    <a:pt x="60579" y="38767"/>
                  </a:cubicBezTo>
                  <a:cubicBezTo>
                    <a:pt x="63246" y="40386"/>
                    <a:pt x="65627" y="42386"/>
                    <a:pt x="67723" y="44577"/>
                  </a:cubicBezTo>
                  <a:cubicBezTo>
                    <a:pt x="69914" y="46768"/>
                    <a:pt x="71723" y="49054"/>
                    <a:pt x="73438" y="51530"/>
                  </a:cubicBezTo>
                  <a:lnTo>
                    <a:pt x="73438" y="0"/>
                  </a:lnTo>
                  <a:lnTo>
                    <a:pt x="86106" y="0"/>
                  </a:lnTo>
                  <a:lnTo>
                    <a:pt x="86106" y="120491"/>
                  </a:lnTo>
                  <a:lnTo>
                    <a:pt x="73438" y="120491"/>
                  </a:lnTo>
                  <a:lnTo>
                    <a:pt x="73438" y="103346"/>
                  </a:lnTo>
                  <a:cubicBezTo>
                    <a:pt x="71723" y="105918"/>
                    <a:pt x="69723" y="108299"/>
                    <a:pt x="67532" y="110585"/>
                  </a:cubicBezTo>
                  <a:cubicBezTo>
                    <a:pt x="65437" y="112871"/>
                    <a:pt x="62960" y="114967"/>
                    <a:pt x="60389" y="116681"/>
                  </a:cubicBezTo>
                  <a:cubicBezTo>
                    <a:pt x="57721" y="118396"/>
                    <a:pt x="54769" y="119825"/>
                    <a:pt x="51530" y="120777"/>
                  </a:cubicBezTo>
                  <a:cubicBezTo>
                    <a:pt x="48292" y="121729"/>
                    <a:pt x="44672" y="122301"/>
                    <a:pt x="40767" y="122301"/>
                  </a:cubicBezTo>
                  <a:close/>
                  <a:moveTo>
                    <a:pt x="43053" y="110776"/>
                  </a:moveTo>
                  <a:cubicBezTo>
                    <a:pt x="47053" y="110776"/>
                    <a:pt x="50864" y="110014"/>
                    <a:pt x="54483" y="108395"/>
                  </a:cubicBezTo>
                  <a:cubicBezTo>
                    <a:pt x="58198" y="106775"/>
                    <a:pt x="61436" y="104584"/>
                    <a:pt x="64389" y="101632"/>
                  </a:cubicBezTo>
                  <a:cubicBezTo>
                    <a:pt x="67342" y="98679"/>
                    <a:pt x="69628" y="95250"/>
                    <a:pt x="71342" y="91250"/>
                  </a:cubicBezTo>
                  <a:cubicBezTo>
                    <a:pt x="73057" y="87249"/>
                    <a:pt x="73914" y="82772"/>
                    <a:pt x="73914" y="77819"/>
                  </a:cubicBezTo>
                  <a:lnTo>
                    <a:pt x="73914" y="77533"/>
                  </a:lnTo>
                  <a:cubicBezTo>
                    <a:pt x="73914" y="72580"/>
                    <a:pt x="73057" y="68104"/>
                    <a:pt x="71342" y="64103"/>
                  </a:cubicBezTo>
                  <a:cubicBezTo>
                    <a:pt x="69628" y="60103"/>
                    <a:pt x="67342" y="56674"/>
                    <a:pt x="64389" y="53816"/>
                  </a:cubicBezTo>
                  <a:cubicBezTo>
                    <a:pt x="61436" y="50959"/>
                    <a:pt x="58198" y="48768"/>
                    <a:pt x="54483" y="47149"/>
                  </a:cubicBezTo>
                  <a:cubicBezTo>
                    <a:pt x="50768" y="45529"/>
                    <a:pt x="46958" y="44767"/>
                    <a:pt x="43053" y="44767"/>
                  </a:cubicBezTo>
                  <a:cubicBezTo>
                    <a:pt x="38862" y="44767"/>
                    <a:pt x="34957" y="45529"/>
                    <a:pt x="31337" y="46958"/>
                  </a:cubicBezTo>
                  <a:cubicBezTo>
                    <a:pt x="27718" y="48482"/>
                    <a:pt x="24574" y="50578"/>
                    <a:pt x="21812" y="53435"/>
                  </a:cubicBezTo>
                  <a:cubicBezTo>
                    <a:pt x="19145" y="56197"/>
                    <a:pt x="16954" y="59722"/>
                    <a:pt x="15335" y="63722"/>
                  </a:cubicBezTo>
                  <a:cubicBezTo>
                    <a:pt x="13716" y="67818"/>
                    <a:pt x="12954" y="72390"/>
                    <a:pt x="12954" y="77629"/>
                  </a:cubicBezTo>
                  <a:lnTo>
                    <a:pt x="12954" y="77914"/>
                  </a:lnTo>
                  <a:cubicBezTo>
                    <a:pt x="12954" y="82963"/>
                    <a:pt x="13716" y="87535"/>
                    <a:pt x="15335" y="91630"/>
                  </a:cubicBezTo>
                  <a:cubicBezTo>
                    <a:pt x="16954" y="95726"/>
                    <a:pt x="19145" y="99155"/>
                    <a:pt x="21812" y="102013"/>
                  </a:cubicBezTo>
                  <a:cubicBezTo>
                    <a:pt x="24574" y="104870"/>
                    <a:pt x="27718" y="107061"/>
                    <a:pt x="31337" y="108585"/>
                  </a:cubicBezTo>
                  <a:cubicBezTo>
                    <a:pt x="34957" y="110109"/>
                    <a:pt x="38862" y="110871"/>
                    <a:pt x="42863" y="110871"/>
                  </a:cubicBezTo>
                  <a:close/>
                </a:path>
              </a:pathLst>
            </a:custGeom>
            <a:solidFill>
              <a:srgbClr val="43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 name="Freeform: Shape 81">
              <a:extLst>
                <a:ext uri="{FF2B5EF4-FFF2-40B4-BE49-F238E27FC236}">
                  <a16:creationId xmlns:a16="http://schemas.microsoft.com/office/drawing/2014/main" id="{1F15E550-F50D-CDD9-CB14-F8E2AFFE69B5}"/>
                </a:ext>
              </a:extLst>
            </p:cNvPr>
            <p:cNvSpPr/>
            <p:nvPr/>
          </p:nvSpPr>
          <p:spPr>
            <a:xfrm>
              <a:off x="1447101" y="4556887"/>
              <a:ext cx="80676" cy="89154"/>
            </a:xfrm>
            <a:custGeom>
              <a:avLst/>
              <a:gdLst>
                <a:gd name="connsiteX0" fmla="*/ 12859 w 80676"/>
                <a:gd name="connsiteY0" fmla="*/ 49625 h 89154"/>
                <a:gd name="connsiteX1" fmla="*/ 16193 w 80676"/>
                <a:gd name="connsiteY1" fmla="*/ 61722 h 89154"/>
                <a:gd name="connsiteX2" fmla="*/ 22955 w 80676"/>
                <a:gd name="connsiteY2" fmla="*/ 70675 h 89154"/>
                <a:gd name="connsiteX3" fmla="*/ 32195 w 80676"/>
                <a:gd name="connsiteY3" fmla="*/ 76200 h 89154"/>
                <a:gd name="connsiteX4" fmla="*/ 42958 w 80676"/>
                <a:gd name="connsiteY4" fmla="*/ 78105 h 89154"/>
                <a:gd name="connsiteX5" fmla="*/ 58198 w 80676"/>
                <a:gd name="connsiteY5" fmla="*/ 74771 h 89154"/>
                <a:gd name="connsiteX6" fmla="*/ 69818 w 80676"/>
                <a:gd name="connsiteY6" fmla="*/ 66008 h 89154"/>
                <a:gd name="connsiteX7" fmla="*/ 77724 w 80676"/>
                <a:gd name="connsiteY7" fmla="*/ 73152 h 89154"/>
                <a:gd name="connsiteX8" fmla="*/ 63056 w 80676"/>
                <a:gd name="connsiteY8" fmla="*/ 84772 h 89154"/>
                <a:gd name="connsiteX9" fmla="*/ 42577 w 80676"/>
                <a:gd name="connsiteY9" fmla="*/ 89154 h 89154"/>
                <a:gd name="connsiteX10" fmla="*/ 26099 w 80676"/>
                <a:gd name="connsiteY10" fmla="*/ 85916 h 89154"/>
                <a:gd name="connsiteX11" fmla="*/ 12573 w 80676"/>
                <a:gd name="connsiteY11" fmla="*/ 76867 h 89154"/>
                <a:gd name="connsiteX12" fmla="*/ 3429 w 80676"/>
                <a:gd name="connsiteY12" fmla="*/ 62770 h 89154"/>
                <a:gd name="connsiteX13" fmla="*/ 0 w 80676"/>
                <a:gd name="connsiteY13" fmla="*/ 44577 h 89154"/>
                <a:gd name="connsiteX14" fmla="*/ 3048 w 80676"/>
                <a:gd name="connsiteY14" fmla="*/ 27146 h 89154"/>
                <a:gd name="connsiteX15" fmla="*/ 11525 w 80676"/>
                <a:gd name="connsiteY15" fmla="*/ 12954 h 89154"/>
                <a:gd name="connsiteX16" fmla="*/ 24479 w 80676"/>
                <a:gd name="connsiteY16" fmla="*/ 3429 h 89154"/>
                <a:gd name="connsiteX17" fmla="*/ 40862 w 80676"/>
                <a:gd name="connsiteY17" fmla="*/ 0 h 89154"/>
                <a:gd name="connsiteX18" fmla="*/ 57722 w 80676"/>
                <a:gd name="connsiteY18" fmla="*/ 3524 h 89154"/>
                <a:gd name="connsiteX19" fmla="*/ 70295 w 80676"/>
                <a:gd name="connsiteY19" fmla="*/ 13145 h 89154"/>
                <a:gd name="connsiteX20" fmla="*/ 78010 w 80676"/>
                <a:gd name="connsiteY20" fmla="*/ 27527 h 89154"/>
                <a:gd name="connsiteX21" fmla="*/ 80677 w 80676"/>
                <a:gd name="connsiteY21" fmla="*/ 45149 h 89154"/>
                <a:gd name="connsiteX22" fmla="*/ 80677 w 80676"/>
                <a:gd name="connsiteY22" fmla="*/ 47054 h 89154"/>
                <a:gd name="connsiteX23" fmla="*/ 80486 w 80676"/>
                <a:gd name="connsiteY23" fmla="*/ 49625 h 89154"/>
                <a:gd name="connsiteX24" fmla="*/ 12859 w 80676"/>
                <a:gd name="connsiteY24" fmla="*/ 49625 h 89154"/>
                <a:gd name="connsiteX25" fmla="*/ 67818 w 80676"/>
                <a:gd name="connsiteY25" fmla="*/ 39243 h 89154"/>
                <a:gd name="connsiteX26" fmla="*/ 65342 w 80676"/>
                <a:gd name="connsiteY26" fmla="*/ 28289 h 89154"/>
                <a:gd name="connsiteX27" fmla="*/ 60008 w 80676"/>
                <a:gd name="connsiteY27" fmla="*/ 19145 h 89154"/>
                <a:gd name="connsiteX28" fmla="*/ 51721 w 80676"/>
                <a:gd name="connsiteY28" fmla="*/ 12859 h 89154"/>
                <a:gd name="connsiteX29" fmla="*/ 40577 w 80676"/>
                <a:gd name="connsiteY29" fmla="*/ 10573 h 89154"/>
                <a:gd name="connsiteX30" fmla="*/ 30290 w 80676"/>
                <a:gd name="connsiteY30" fmla="*/ 12668 h 89154"/>
                <a:gd name="connsiteX31" fmla="*/ 21908 w 80676"/>
                <a:gd name="connsiteY31" fmla="*/ 18669 h 89154"/>
                <a:gd name="connsiteX32" fmla="*/ 15907 w 80676"/>
                <a:gd name="connsiteY32" fmla="*/ 27813 h 89154"/>
                <a:gd name="connsiteX33" fmla="*/ 12859 w 80676"/>
                <a:gd name="connsiteY33" fmla="*/ 39148 h 89154"/>
                <a:gd name="connsiteX34" fmla="*/ 67818 w 80676"/>
                <a:gd name="connsiteY34" fmla="*/ 39148 h 89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0676" h="89154">
                  <a:moveTo>
                    <a:pt x="12859" y="49625"/>
                  </a:moveTo>
                  <a:cubicBezTo>
                    <a:pt x="13335" y="54102"/>
                    <a:pt x="14383" y="58198"/>
                    <a:pt x="16193" y="61722"/>
                  </a:cubicBezTo>
                  <a:cubicBezTo>
                    <a:pt x="17907" y="65246"/>
                    <a:pt x="20193" y="68199"/>
                    <a:pt x="22955" y="70675"/>
                  </a:cubicBezTo>
                  <a:cubicBezTo>
                    <a:pt x="25718" y="73152"/>
                    <a:pt x="28766" y="74962"/>
                    <a:pt x="32195" y="76200"/>
                  </a:cubicBezTo>
                  <a:cubicBezTo>
                    <a:pt x="35624" y="77438"/>
                    <a:pt x="39148" y="78105"/>
                    <a:pt x="42958" y="78105"/>
                  </a:cubicBezTo>
                  <a:cubicBezTo>
                    <a:pt x="48863" y="78105"/>
                    <a:pt x="54007" y="76962"/>
                    <a:pt x="58198" y="74771"/>
                  </a:cubicBezTo>
                  <a:cubicBezTo>
                    <a:pt x="62389" y="72580"/>
                    <a:pt x="66294" y="69628"/>
                    <a:pt x="69818" y="66008"/>
                  </a:cubicBezTo>
                  <a:lnTo>
                    <a:pt x="77724" y="73152"/>
                  </a:lnTo>
                  <a:cubicBezTo>
                    <a:pt x="73438" y="78010"/>
                    <a:pt x="68580" y="81915"/>
                    <a:pt x="63056" y="84772"/>
                  </a:cubicBezTo>
                  <a:cubicBezTo>
                    <a:pt x="57531" y="87725"/>
                    <a:pt x="50768" y="89154"/>
                    <a:pt x="42577" y="89154"/>
                  </a:cubicBezTo>
                  <a:cubicBezTo>
                    <a:pt x="36767" y="89154"/>
                    <a:pt x="31242" y="88106"/>
                    <a:pt x="26099" y="85916"/>
                  </a:cubicBezTo>
                  <a:cubicBezTo>
                    <a:pt x="20955" y="83725"/>
                    <a:pt x="16383" y="80772"/>
                    <a:pt x="12573" y="76867"/>
                  </a:cubicBezTo>
                  <a:cubicBezTo>
                    <a:pt x="8763" y="72962"/>
                    <a:pt x="5715" y="68294"/>
                    <a:pt x="3429" y="62770"/>
                  </a:cubicBezTo>
                  <a:cubicBezTo>
                    <a:pt x="1143" y="57245"/>
                    <a:pt x="0" y="51245"/>
                    <a:pt x="0" y="44577"/>
                  </a:cubicBezTo>
                  <a:cubicBezTo>
                    <a:pt x="0" y="38386"/>
                    <a:pt x="1048" y="32575"/>
                    <a:pt x="3048" y="27146"/>
                  </a:cubicBezTo>
                  <a:cubicBezTo>
                    <a:pt x="5048" y="21717"/>
                    <a:pt x="7906" y="16954"/>
                    <a:pt x="11525" y="12954"/>
                  </a:cubicBezTo>
                  <a:cubicBezTo>
                    <a:pt x="15145" y="8954"/>
                    <a:pt x="19431" y="5810"/>
                    <a:pt x="24479" y="3429"/>
                  </a:cubicBezTo>
                  <a:cubicBezTo>
                    <a:pt x="29528" y="1143"/>
                    <a:pt x="34957" y="0"/>
                    <a:pt x="40862" y="0"/>
                  </a:cubicBezTo>
                  <a:cubicBezTo>
                    <a:pt x="47149" y="0"/>
                    <a:pt x="52769" y="1143"/>
                    <a:pt x="57722" y="3524"/>
                  </a:cubicBezTo>
                  <a:cubicBezTo>
                    <a:pt x="62675" y="5905"/>
                    <a:pt x="66866" y="9144"/>
                    <a:pt x="70295" y="13145"/>
                  </a:cubicBezTo>
                  <a:cubicBezTo>
                    <a:pt x="73724" y="17240"/>
                    <a:pt x="76295" y="22003"/>
                    <a:pt x="78010" y="27527"/>
                  </a:cubicBezTo>
                  <a:cubicBezTo>
                    <a:pt x="79724" y="33052"/>
                    <a:pt x="80677" y="38957"/>
                    <a:pt x="80677" y="45149"/>
                  </a:cubicBezTo>
                  <a:lnTo>
                    <a:pt x="80677" y="47054"/>
                  </a:lnTo>
                  <a:cubicBezTo>
                    <a:pt x="80677" y="47816"/>
                    <a:pt x="80677" y="48673"/>
                    <a:pt x="80486" y="49625"/>
                  </a:cubicBezTo>
                  <a:lnTo>
                    <a:pt x="12859" y="49625"/>
                  </a:lnTo>
                  <a:close/>
                  <a:moveTo>
                    <a:pt x="67818" y="39243"/>
                  </a:moveTo>
                  <a:cubicBezTo>
                    <a:pt x="67532" y="35433"/>
                    <a:pt x="66675" y="31813"/>
                    <a:pt x="65342" y="28289"/>
                  </a:cubicBezTo>
                  <a:cubicBezTo>
                    <a:pt x="64008" y="24860"/>
                    <a:pt x="62198" y="21812"/>
                    <a:pt x="60008" y="19145"/>
                  </a:cubicBezTo>
                  <a:cubicBezTo>
                    <a:pt x="57722" y="16478"/>
                    <a:pt x="54959" y="14478"/>
                    <a:pt x="51721" y="12859"/>
                  </a:cubicBezTo>
                  <a:cubicBezTo>
                    <a:pt x="48482" y="11335"/>
                    <a:pt x="44768" y="10573"/>
                    <a:pt x="40577" y="10573"/>
                  </a:cubicBezTo>
                  <a:cubicBezTo>
                    <a:pt x="36957" y="10573"/>
                    <a:pt x="33528" y="11335"/>
                    <a:pt x="30290" y="12668"/>
                  </a:cubicBezTo>
                  <a:cubicBezTo>
                    <a:pt x="27146" y="14097"/>
                    <a:pt x="24289" y="16097"/>
                    <a:pt x="21908" y="18669"/>
                  </a:cubicBezTo>
                  <a:cubicBezTo>
                    <a:pt x="19526" y="21241"/>
                    <a:pt x="17431" y="24289"/>
                    <a:pt x="15907" y="27813"/>
                  </a:cubicBezTo>
                  <a:cubicBezTo>
                    <a:pt x="14288" y="31337"/>
                    <a:pt x="13335" y="35052"/>
                    <a:pt x="12859" y="39148"/>
                  </a:cubicBezTo>
                  <a:lnTo>
                    <a:pt x="67818" y="39148"/>
                  </a:lnTo>
                  <a:close/>
                </a:path>
              </a:pathLst>
            </a:custGeom>
            <a:solidFill>
              <a:srgbClr val="43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Freeform: Shape 82">
              <a:extLst>
                <a:ext uri="{FF2B5EF4-FFF2-40B4-BE49-F238E27FC236}">
                  <a16:creationId xmlns:a16="http://schemas.microsoft.com/office/drawing/2014/main" id="{8E03D157-997D-AD71-C79D-F236ABA34D8D}"/>
                </a:ext>
              </a:extLst>
            </p:cNvPr>
            <p:cNvSpPr/>
            <p:nvPr/>
          </p:nvSpPr>
          <p:spPr>
            <a:xfrm>
              <a:off x="1543018" y="4557267"/>
              <a:ext cx="65722" cy="88582"/>
            </a:xfrm>
            <a:custGeom>
              <a:avLst/>
              <a:gdLst>
                <a:gd name="connsiteX0" fmla="*/ 35338 w 65722"/>
                <a:gd name="connsiteY0" fmla="*/ 88297 h 88582"/>
                <a:gd name="connsiteX1" fmla="*/ 16669 w 65722"/>
                <a:gd name="connsiteY1" fmla="*/ 84963 h 88582"/>
                <a:gd name="connsiteX2" fmla="*/ 0 w 65722"/>
                <a:gd name="connsiteY2" fmla="*/ 75819 h 88582"/>
                <a:gd name="connsiteX3" fmla="*/ 6477 w 65722"/>
                <a:gd name="connsiteY3" fmla="*/ 66770 h 88582"/>
                <a:gd name="connsiteX4" fmla="*/ 20955 w 65722"/>
                <a:gd name="connsiteY4" fmla="*/ 74867 h 88582"/>
                <a:gd name="connsiteX5" fmla="*/ 36004 w 65722"/>
                <a:gd name="connsiteY5" fmla="*/ 77629 h 88582"/>
                <a:gd name="connsiteX6" fmla="*/ 48673 w 65722"/>
                <a:gd name="connsiteY6" fmla="*/ 74009 h 88582"/>
                <a:gd name="connsiteX7" fmla="*/ 53626 w 65722"/>
                <a:gd name="connsiteY7" fmla="*/ 64103 h 88582"/>
                <a:gd name="connsiteX8" fmla="*/ 53626 w 65722"/>
                <a:gd name="connsiteY8" fmla="*/ 63818 h 88582"/>
                <a:gd name="connsiteX9" fmla="*/ 51911 w 65722"/>
                <a:gd name="connsiteY9" fmla="*/ 58388 h 88582"/>
                <a:gd name="connsiteX10" fmla="*/ 47244 w 65722"/>
                <a:gd name="connsiteY10" fmla="*/ 54388 h 88582"/>
                <a:gd name="connsiteX11" fmla="*/ 40386 w 65722"/>
                <a:gd name="connsiteY11" fmla="*/ 51340 h 88582"/>
                <a:gd name="connsiteX12" fmla="*/ 32385 w 65722"/>
                <a:gd name="connsiteY12" fmla="*/ 48863 h 88582"/>
                <a:gd name="connsiteX13" fmla="*/ 22384 w 65722"/>
                <a:gd name="connsiteY13" fmla="*/ 45625 h 88582"/>
                <a:gd name="connsiteX14" fmla="*/ 13335 w 65722"/>
                <a:gd name="connsiteY14" fmla="*/ 41243 h 88582"/>
                <a:gd name="connsiteX15" fmla="*/ 6763 w 65722"/>
                <a:gd name="connsiteY15" fmla="*/ 34671 h 88582"/>
                <a:gd name="connsiteX16" fmla="*/ 4191 w 65722"/>
                <a:gd name="connsiteY16" fmla="*/ 24765 h 88582"/>
                <a:gd name="connsiteX17" fmla="*/ 4191 w 65722"/>
                <a:gd name="connsiteY17" fmla="*/ 24384 h 88582"/>
                <a:gd name="connsiteX18" fmla="*/ 6286 w 65722"/>
                <a:gd name="connsiteY18" fmla="*/ 14383 h 88582"/>
                <a:gd name="connsiteX19" fmla="*/ 12287 w 65722"/>
                <a:gd name="connsiteY19" fmla="*/ 6668 h 88582"/>
                <a:gd name="connsiteX20" fmla="*/ 21526 w 65722"/>
                <a:gd name="connsiteY20" fmla="*/ 1715 h 88582"/>
                <a:gd name="connsiteX21" fmla="*/ 33147 w 65722"/>
                <a:gd name="connsiteY21" fmla="*/ 0 h 88582"/>
                <a:gd name="connsiteX22" fmla="*/ 49149 w 65722"/>
                <a:gd name="connsiteY22" fmla="*/ 2572 h 88582"/>
                <a:gd name="connsiteX23" fmla="*/ 63817 w 65722"/>
                <a:gd name="connsiteY23" fmla="*/ 9430 h 88582"/>
                <a:gd name="connsiteX24" fmla="*/ 58007 w 65722"/>
                <a:gd name="connsiteY24" fmla="*/ 18955 h 88582"/>
                <a:gd name="connsiteX25" fmla="*/ 45529 w 65722"/>
                <a:gd name="connsiteY25" fmla="*/ 12954 h 88582"/>
                <a:gd name="connsiteX26" fmla="*/ 32766 w 65722"/>
                <a:gd name="connsiteY26" fmla="*/ 10763 h 88582"/>
                <a:gd name="connsiteX27" fmla="*/ 20765 w 65722"/>
                <a:gd name="connsiteY27" fmla="*/ 14288 h 88582"/>
                <a:gd name="connsiteX28" fmla="*/ 16288 w 65722"/>
                <a:gd name="connsiteY28" fmla="*/ 23146 h 88582"/>
                <a:gd name="connsiteX29" fmla="*/ 16288 w 65722"/>
                <a:gd name="connsiteY29" fmla="*/ 23527 h 88582"/>
                <a:gd name="connsiteX30" fmla="*/ 18098 w 65722"/>
                <a:gd name="connsiteY30" fmla="*/ 28766 h 88582"/>
                <a:gd name="connsiteX31" fmla="*/ 22955 w 65722"/>
                <a:gd name="connsiteY31" fmla="*/ 32671 h 88582"/>
                <a:gd name="connsiteX32" fmla="*/ 30004 w 65722"/>
                <a:gd name="connsiteY32" fmla="*/ 35624 h 88582"/>
                <a:gd name="connsiteX33" fmla="*/ 38290 w 65722"/>
                <a:gd name="connsiteY33" fmla="*/ 38291 h 88582"/>
                <a:gd name="connsiteX34" fmla="*/ 48101 w 65722"/>
                <a:gd name="connsiteY34" fmla="*/ 41624 h 88582"/>
                <a:gd name="connsiteX35" fmla="*/ 56959 w 65722"/>
                <a:gd name="connsiteY35" fmla="*/ 46292 h 88582"/>
                <a:gd name="connsiteX36" fmla="*/ 63341 w 65722"/>
                <a:gd name="connsiteY36" fmla="*/ 53054 h 88582"/>
                <a:gd name="connsiteX37" fmla="*/ 65723 w 65722"/>
                <a:gd name="connsiteY37" fmla="*/ 62770 h 88582"/>
                <a:gd name="connsiteX38" fmla="*/ 65723 w 65722"/>
                <a:gd name="connsiteY38" fmla="*/ 63056 h 88582"/>
                <a:gd name="connsiteX39" fmla="*/ 63341 w 65722"/>
                <a:gd name="connsiteY39" fmla="*/ 73819 h 88582"/>
                <a:gd name="connsiteX40" fmla="*/ 56864 w 65722"/>
                <a:gd name="connsiteY40" fmla="*/ 81820 h 88582"/>
                <a:gd name="connsiteX41" fmla="*/ 47339 w 65722"/>
                <a:gd name="connsiteY41" fmla="*/ 86868 h 88582"/>
                <a:gd name="connsiteX42" fmla="*/ 35338 w 65722"/>
                <a:gd name="connsiteY42" fmla="*/ 88583 h 8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722" h="88582">
                  <a:moveTo>
                    <a:pt x="35338" y="88297"/>
                  </a:moveTo>
                  <a:cubicBezTo>
                    <a:pt x="29146" y="88297"/>
                    <a:pt x="22955" y="87154"/>
                    <a:pt x="16669" y="84963"/>
                  </a:cubicBezTo>
                  <a:cubicBezTo>
                    <a:pt x="10382" y="82677"/>
                    <a:pt x="4858" y="79629"/>
                    <a:pt x="0" y="75819"/>
                  </a:cubicBezTo>
                  <a:lnTo>
                    <a:pt x="6477" y="66770"/>
                  </a:lnTo>
                  <a:cubicBezTo>
                    <a:pt x="11144" y="70295"/>
                    <a:pt x="15907" y="72962"/>
                    <a:pt x="20955" y="74867"/>
                  </a:cubicBezTo>
                  <a:cubicBezTo>
                    <a:pt x="26003" y="76771"/>
                    <a:pt x="30956" y="77629"/>
                    <a:pt x="36004" y="77629"/>
                  </a:cubicBezTo>
                  <a:cubicBezTo>
                    <a:pt x="41053" y="77629"/>
                    <a:pt x="45434" y="76391"/>
                    <a:pt x="48673" y="74009"/>
                  </a:cubicBezTo>
                  <a:cubicBezTo>
                    <a:pt x="51911" y="71628"/>
                    <a:pt x="53626" y="68294"/>
                    <a:pt x="53626" y="64103"/>
                  </a:cubicBezTo>
                  <a:lnTo>
                    <a:pt x="53626" y="63818"/>
                  </a:lnTo>
                  <a:cubicBezTo>
                    <a:pt x="53626" y="61722"/>
                    <a:pt x="53054" y="59912"/>
                    <a:pt x="51911" y="58388"/>
                  </a:cubicBezTo>
                  <a:cubicBezTo>
                    <a:pt x="50768" y="56864"/>
                    <a:pt x="49149" y="55531"/>
                    <a:pt x="47244" y="54388"/>
                  </a:cubicBezTo>
                  <a:cubicBezTo>
                    <a:pt x="45244" y="53245"/>
                    <a:pt x="42958" y="52197"/>
                    <a:pt x="40386" y="51340"/>
                  </a:cubicBezTo>
                  <a:cubicBezTo>
                    <a:pt x="37814" y="50483"/>
                    <a:pt x="35147" y="49625"/>
                    <a:pt x="32385" y="48863"/>
                  </a:cubicBezTo>
                  <a:cubicBezTo>
                    <a:pt x="29051" y="47911"/>
                    <a:pt x="25717" y="46768"/>
                    <a:pt x="22384" y="45625"/>
                  </a:cubicBezTo>
                  <a:cubicBezTo>
                    <a:pt x="19050" y="44482"/>
                    <a:pt x="16002" y="43053"/>
                    <a:pt x="13335" y="41243"/>
                  </a:cubicBezTo>
                  <a:cubicBezTo>
                    <a:pt x="10668" y="39433"/>
                    <a:pt x="8477" y="37243"/>
                    <a:pt x="6763" y="34671"/>
                  </a:cubicBezTo>
                  <a:cubicBezTo>
                    <a:pt x="5048" y="32004"/>
                    <a:pt x="4191" y="28766"/>
                    <a:pt x="4191" y="24765"/>
                  </a:cubicBezTo>
                  <a:lnTo>
                    <a:pt x="4191" y="24384"/>
                  </a:lnTo>
                  <a:cubicBezTo>
                    <a:pt x="4191" y="20765"/>
                    <a:pt x="4953" y="17431"/>
                    <a:pt x="6286" y="14383"/>
                  </a:cubicBezTo>
                  <a:cubicBezTo>
                    <a:pt x="7715" y="11335"/>
                    <a:pt x="9715" y="8763"/>
                    <a:pt x="12287" y="6668"/>
                  </a:cubicBezTo>
                  <a:cubicBezTo>
                    <a:pt x="14859" y="4572"/>
                    <a:pt x="17907" y="2858"/>
                    <a:pt x="21526" y="1715"/>
                  </a:cubicBezTo>
                  <a:cubicBezTo>
                    <a:pt x="25146" y="571"/>
                    <a:pt x="28956" y="0"/>
                    <a:pt x="33147" y="0"/>
                  </a:cubicBezTo>
                  <a:cubicBezTo>
                    <a:pt x="38386" y="0"/>
                    <a:pt x="43815" y="857"/>
                    <a:pt x="49149" y="2572"/>
                  </a:cubicBezTo>
                  <a:cubicBezTo>
                    <a:pt x="54578" y="4286"/>
                    <a:pt x="59436" y="6572"/>
                    <a:pt x="63817" y="9430"/>
                  </a:cubicBezTo>
                  <a:lnTo>
                    <a:pt x="58007" y="18955"/>
                  </a:lnTo>
                  <a:cubicBezTo>
                    <a:pt x="54007" y="16383"/>
                    <a:pt x="49911" y="14383"/>
                    <a:pt x="45529" y="12954"/>
                  </a:cubicBezTo>
                  <a:cubicBezTo>
                    <a:pt x="41148" y="11430"/>
                    <a:pt x="36957" y="10763"/>
                    <a:pt x="32766" y="10763"/>
                  </a:cubicBezTo>
                  <a:cubicBezTo>
                    <a:pt x="27718" y="10763"/>
                    <a:pt x="23717" y="11906"/>
                    <a:pt x="20765" y="14288"/>
                  </a:cubicBezTo>
                  <a:cubicBezTo>
                    <a:pt x="17812" y="16669"/>
                    <a:pt x="16288" y="19621"/>
                    <a:pt x="16288" y="23146"/>
                  </a:cubicBezTo>
                  <a:lnTo>
                    <a:pt x="16288" y="23527"/>
                  </a:lnTo>
                  <a:cubicBezTo>
                    <a:pt x="16288" y="25527"/>
                    <a:pt x="16859" y="27242"/>
                    <a:pt x="18098" y="28766"/>
                  </a:cubicBezTo>
                  <a:cubicBezTo>
                    <a:pt x="19336" y="30290"/>
                    <a:pt x="20955" y="31528"/>
                    <a:pt x="22955" y="32671"/>
                  </a:cubicBezTo>
                  <a:cubicBezTo>
                    <a:pt x="24955" y="33814"/>
                    <a:pt x="27337" y="34766"/>
                    <a:pt x="30004" y="35624"/>
                  </a:cubicBezTo>
                  <a:cubicBezTo>
                    <a:pt x="32671" y="36481"/>
                    <a:pt x="35433" y="37338"/>
                    <a:pt x="38290" y="38291"/>
                  </a:cubicBezTo>
                  <a:cubicBezTo>
                    <a:pt x="41624" y="39243"/>
                    <a:pt x="44863" y="40386"/>
                    <a:pt x="48101" y="41624"/>
                  </a:cubicBezTo>
                  <a:cubicBezTo>
                    <a:pt x="51340" y="42863"/>
                    <a:pt x="54292" y="44387"/>
                    <a:pt x="56959" y="46292"/>
                  </a:cubicBezTo>
                  <a:cubicBezTo>
                    <a:pt x="59626" y="48196"/>
                    <a:pt x="61722" y="50387"/>
                    <a:pt x="63341" y="53054"/>
                  </a:cubicBezTo>
                  <a:cubicBezTo>
                    <a:pt x="64960" y="55721"/>
                    <a:pt x="65723" y="58960"/>
                    <a:pt x="65723" y="62770"/>
                  </a:cubicBezTo>
                  <a:lnTo>
                    <a:pt x="65723" y="63056"/>
                  </a:lnTo>
                  <a:cubicBezTo>
                    <a:pt x="65723" y="67151"/>
                    <a:pt x="64960" y="70771"/>
                    <a:pt x="63341" y="73819"/>
                  </a:cubicBezTo>
                  <a:cubicBezTo>
                    <a:pt x="61722" y="76962"/>
                    <a:pt x="59626" y="79629"/>
                    <a:pt x="56864" y="81820"/>
                  </a:cubicBezTo>
                  <a:cubicBezTo>
                    <a:pt x="54197" y="84011"/>
                    <a:pt x="50959" y="85725"/>
                    <a:pt x="47339" y="86868"/>
                  </a:cubicBezTo>
                  <a:cubicBezTo>
                    <a:pt x="43625" y="88011"/>
                    <a:pt x="39624" y="88583"/>
                    <a:pt x="35338" y="88583"/>
                  </a:cubicBezTo>
                  <a:close/>
                </a:path>
              </a:pathLst>
            </a:custGeom>
            <a:solidFill>
              <a:srgbClr val="43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Shape 83">
              <a:extLst>
                <a:ext uri="{FF2B5EF4-FFF2-40B4-BE49-F238E27FC236}">
                  <a16:creationId xmlns:a16="http://schemas.microsoft.com/office/drawing/2014/main" id="{72B2C8F5-6D5B-BF21-E0AE-64B6BA111745}"/>
                </a:ext>
              </a:extLst>
            </p:cNvPr>
            <p:cNvSpPr/>
            <p:nvPr/>
          </p:nvSpPr>
          <p:spPr>
            <a:xfrm>
              <a:off x="1676844" y="4556791"/>
              <a:ext cx="86106" cy="113633"/>
            </a:xfrm>
            <a:custGeom>
              <a:avLst/>
              <a:gdLst>
                <a:gd name="connsiteX0" fmla="*/ 73438 w 86106"/>
                <a:gd name="connsiteY0" fmla="*/ 70009 h 113633"/>
                <a:gd name="connsiteX1" fmla="*/ 67532 w 86106"/>
                <a:gd name="connsiteY1" fmla="*/ 77248 h 113633"/>
                <a:gd name="connsiteX2" fmla="*/ 60389 w 86106"/>
                <a:gd name="connsiteY2" fmla="*/ 83344 h 113633"/>
                <a:gd name="connsiteX3" fmla="*/ 51530 w 86106"/>
                <a:gd name="connsiteY3" fmla="*/ 87439 h 113633"/>
                <a:gd name="connsiteX4" fmla="*/ 40767 w 86106"/>
                <a:gd name="connsiteY4" fmla="*/ 88963 h 113633"/>
                <a:gd name="connsiteX5" fmla="*/ 25718 w 86106"/>
                <a:gd name="connsiteY5" fmla="*/ 86011 h 113633"/>
                <a:gd name="connsiteX6" fmla="*/ 12668 w 86106"/>
                <a:gd name="connsiteY6" fmla="*/ 77343 h 113633"/>
                <a:gd name="connsiteX7" fmla="*/ 3429 w 86106"/>
                <a:gd name="connsiteY7" fmla="*/ 63436 h 113633"/>
                <a:gd name="connsiteX8" fmla="*/ 0 w 86106"/>
                <a:gd name="connsiteY8" fmla="*/ 44672 h 113633"/>
                <a:gd name="connsiteX9" fmla="*/ 0 w 86106"/>
                <a:gd name="connsiteY9" fmla="*/ 44386 h 113633"/>
                <a:gd name="connsiteX10" fmla="*/ 3429 w 86106"/>
                <a:gd name="connsiteY10" fmla="*/ 25717 h 113633"/>
                <a:gd name="connsiteX11" fmla="*/ 12668 w 86106"/>
                <a:gd name="connsiteY11" fmla="*/ 11811 h 113633"/>
                <a:gd name="connsiteX12" fmla="*/ 25718 w 86106"/>
                <a:gd name="connsiteY12" fmla="*/ 3048 h 113633"/>
                <a:gd name="connsiteX13" fmla="*/ 40767 w 86106"/>
                <a:gd name="connsiteY13" fmla="*/ 0 h 113633"/>
                <a:gd name="connsiteX14" fmla="*/ 51626 w 86106"/>
                <a:gd name="connsiteY14" fmla="*/ 1524 h 113633"/>
                <a:gd name="connsiteX15" fmla="*/ 60579 w 86106"/>
                <a:gd name="connsiteY15" fmla="*/ 5524 h 113633"/>
                <a:gd name="connsiteX16" fmla="*/ 67723 w 86106"/>
                <a:gd name="connsiteY16" fmla="*/ 11335 h 113633"/>
                <a:gd name="connsiteX17" fmla="*/ 73438 w 86106"/>
                <a:gd name="connsiteY17" fmla="*/ 18288 h 113633"/>
                <a:gd name="connsiteX18" fmla="*/ 73438 w 86106"/>
                <a:gd name="connsiteY18" fmla="*/ 1905 h 113633"/>
                <a:gd name="connsiteX19" fmla="*/ 86106 w 86106"/>
                <a:gd name="connsiteY19" fmla="*/ 1905 h 113633"/>
                <a:gd name="connsiteX20" fmla="*/ 86106 w 86106"/>
                <a:gd name="connsiteY20" fmla="*/ 113633 h 113633"/>
                <a:gd name="connsiteX21" fmla="*/ 73438 w 86106"/>
                <a:gd name="connsiteY21" fmla="*/ 113633 h 113633"/>
                <a:gd name="connsiteX22" fmla="*/ 73438 w 86106"/>
                <a:gd name="connsiteY22" fmla="*/ 70104 h 113633"/>
                <a:gd name="connsiteX23" fmla="*/ 43053 w 86106"/>
                <a:gd name="connsiteY23" fmla="*/ 77629 h 113633"/>
                <a:gd name="connsiteX24" fmla="*/ 54483 w 86106"/>
                <a:gd name="connsiteY24" fmla="*/ 75247 h 113633"/>
                <a:gd name="connsiteX25" fmla="*/ 64389 w 86106"/>
                <a:gd name="connsiteY25" fmla="*/ 68485 h 113633"/>
                <a:gd name="connsiteX26" fmla="*/ 71342 w 86106"/>
                <a:gd name="connsiteY26" fmla="*/ 58102 h 113633"/>
                <a:gd name="connsiteX27" fmla="*/ 73914 w 86106"/>
                <a:gd name="connsiteY27" fmla="*/ 44672 h 113633"/>
                <a:gd name="connsiteX28" fmla="*/ 73914 w 86106"/>
                <a:gd name="connsiteY28" fmla="*/ 44386 h 113633"/>
                <a:gd name="connsiteX29" fmla="*/ 71342 w 86106"/>
                <a:gd name="connsiteY29" fmla="*/ 30956 h 113633"/>
                <a:gd name="connsiteX30" fmla="*/ 64389 w 86106"/>
                <a:gd name="connsiteY30" fmla="*/ 20669 h 113633"/>
                <a:gd name="connsiteX31" fmla="*/ 54483 w 86106"/>
                <a:gd name="connsiteY31" fmla="*/ 14002 h 113633"/>
                <a:gd name="connsiteX32" fmla="*/ 43053 w 86106"/>
                <a:gd name="connsiteY32" fmla="*/ 11620 h 113633"/>
                <a:gd name="connsiteX33" fmla="*/ 31337 w 86106"/>
                <a:gd name="connsiteY33" fmla="*/ 13811 h 113633"/>
                <a:gd name="connsiteX34" fmla="*/ 21812 w 86106"/>
                <a:gd name="connsiteY34" fmla="*/ 20288 h 113633"/>
                <a:gd name="connsiteX35" fmla="*/ 15335 w 86106"/>
                <a:gd name="connsiteY35" fmla="*/ 30575 h 113633"/>
                <a:gd name="connsiteX36" fmla="*/ 12954 w 86106"/>
                <a:gd name="connsiteY36" fmla="*/ 44482 h 113633"/>
                <a:gd name="connsiteX37" fmla="*/ 12954 w 86106"/>
                <a:gd name="connsiteY37" fmla="*/ 44767 h 113633"/>
                <a:gd name="connsiteX38" fmla="*/ 15335 w 86106"/>
                <a:gd name="connsiteY38" fmla="*/ 58483 h 113633"/>
                <a:gd name="connsiteX39" fmla="*/ 21812 w 86106"/>
                <a:gd name="connsiteY39" fmla="*/ 68866 h 113633"/>
                <a:gd name="connsiteX40" fmla="*/ 31337 w 86106"/>
                <a:gd name="connsiteY40" fmla="*/ 75438 h 113633"/>
                <a:gd name="connsiteX41" fmla="*/ 42863 w 86106"/>
                <a:gd name="connsiteY41" fmla="*/ 77724 h 113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86106" h="113633">
                  <a:moveTo>
                    <a:pt x="73438" y="70009"/>
                  </a:moveTo>
                  <a:cubicBezTo>
                    <a:pt x="71723" y="72580"/>
                    <a:pt x="69723" y="74962"/>
                    <a:pt x="67532" y="77248"/>
                  </a:cubicBezTo>
                  <a:cubicBezTo>
                    <a:pt x="65437" y="79534"/>
                    <a:pt x="62960" y="81629"/>
                    <a:pt x="60389" y="83344"/>
                  </a:cubicBezTo>
                  <a:cubicBezTo>
                    <a:pt x="57722" y="85058"/>
                    <a:pt x="54769" y="86487"/>
                    <a:pt x="51530" y="87439"/>
                  </a:cubicBezTo>
                  <a:cubicBezTo>
                    <a:pt x="48292" y="88392"/>
                    <a:pt x="44672" y="88963"/>
                    <a:pt x="40767" y="88963"/>
                  </a:cubicBezTo>
                  <a:cubicBezTo>
                    <a:pt x="35624" y="88963"/>
                    <a:pt x="30575" y="88011"/>
                    <a:pt x="25718" y="86011"/>
                  </a:cubicBezTo>
                  <a:cubicBezTo>
                    <a:pt x="20860" y="84010"/>
                    <a:pt x="16574" y="81153"/>
                    <a:pt x="12668" y="77343"/>
                  </a:cubicBezTo>
                  <a:cubicBezTo>
                    <a:pt x="8763" y="73533"/>
                    <a:pt x="5715" y="68961"/>
                    <a:pt x="3429" y="63436"/>
                  </a:cubicBezTo>
                  <a:cubicBezTo>
                    <a:pt x="1143" y="58007"/>
                    <a:pt x="0" y="51721"/>
                    <a:pt x="0" y="44672"/>
                  </a:cubicBezTo>
                  <a:lnTo>
                    <a:pt x="0" y="44386"/>
                  </a:lnTo>
                  <a:cubicBezTo>
                    <a:pt x="0" y="37433"/>
                    <a:pt x="1143" y="31242"/>
                    <a:pt x="3429" y="25717"/>
                  </a:cubicBezTo>
                  <a:cubicBezTo>
                    <a:pt x="5715" y="20193"/>
                    <a:pt x="8858" y="15526"/>
                    <a:pt x="12668" y="11811"/>
                  </a:cubicBezTo>
                  <a:cubicBezTo>
                    <a:pt x="16478" y="8001"/>
                    <a:pt x="20860" y="5048"/>
                    <a:pt x="25718" y="3048"/>
                  </a:cubicBezTo>
                  <a:cubicBezTo>
                    <a:pt x="30575" y="1048"/>
                    <a:pt x="35528" y="0"/>
                    <a:pt x="40767" y="0"/>
                  </a:cubicBezTo>
                  <a:cubicBezTo>
                    <a:pt x="44768" y="0"/>
                    <a:pt x="48387" y="476"/>
                    <a:pt x="51626" y="1524"/>
                  </a:cubicBezTo>
                  <a:cubicBezTo>
                    <a:pt x="54959" y="2476"/>
                    <a:pt x="57912" y="3810"/>
                    <a:pt x="60579" y="5524"/>
                  </a:cubicBezTo>
                  <a:cubicBezTo>
                    <a:pt x="63246" y="7144"/>
                    <a:pt x="65627" y="9144"/>
                    <a:pt x="67723" y="11335"/>
                  </a:cubicBezTo>
                  <a:cubicBezTo>
                    <a:pt x="69914" y="13525"/>
                    <a:pt x="71723" y="15811"/>
                    <a:pt x="73438" y="18288"/>
                  </a:cubicBezTo>
                  <a:lnTo>
                    <a:pt x="73438" y="1905"/>
                  </a:lnTo>
                  <a:lnTo>
                    <a:pt x="86106" y="1905"/>
                  </a:lnTo>
                  <a:lnTo>
                    <a:pt x="86106" y="113633"/>
                  </a:lnTo>
                  <a:lnTo>
                    <a:pt x="73438" y="113633"/>
                  </a:lnTo>
                  <a:lnTo>
                    <a:pt x="73438" y="70104"/>
                  </a:lnTo>
                  <a:close/>
                  <a:moveTo>
                    <a:pt x="43053" y="77629"/>
                  </a:moveTo>
                  <a:cubicBezTo>
                    <a:pt x="47054" y="77629"/>
                    <a:pt x="50864" y="76867"/>
                    <a:pt x="54483" y="75247"/>
                  </a:cubicBezTo>
                  <a:cubicBezTo>
                    <a:pt x="58198" y="73628"/>
                    <a:pt x="61436" y="71438"/>
                    <a:pt x="64389" y="68485"/>
                  </a:cubicBezTo>
                  <a:cubicBezTo>
                    <a:pt x="67342" y="65532"/>
                    <a:pt x="69628" y="62103"/>
                    <a:pt x="71342" y="58102"/>
                  </a:cubicBezTo>
                  <a:cubicBezTo>
                    <a:pt x="73057" y="54102"/>
                    <a:pt x="73914" y="49625"/>
                    <a:pt x="73914" y="44672"/>
                  </a:cubicBezTo>
                  <a:lnTo>
                    <a:pt x="73914" y="44386"/>
                  </a:lnTo>
                  <a:cubicBezTo>
                    <a:pt x="73914" y="39433"/>
                    <a:pt x="73057" y="34957"/>
                    <a:pt x="71342" y="30956"/>
                  </a:cubicBezTo>
                  <a:cubicBezTo>
                    <a:pt x="69628" y="26956"/>
                    <a:pt x="67342" y="23527"/>
                    <a:pt x="64389" y="20669"/>
                  </a:cubicBezTo>
                  <a:cubicBezTo>
                    <a:pt x="61436" y="17812"/>
                    <a:pt x="58198" y="15621"/>
                    <a:pt x="54483" y="14002"/>
                  </a:cubicBezTo>
                  <a:cubicBezTo>
                    <a:pt x="50768" y="12382"/>
                    <a:pt x="46958" y="11620"/>
                    <a:pt x="43053" y="11620"/>
                  </a:cubicBezTo>
                  <a:cubicBezTo>
                    <a:pt x="38862" y="11620"/>
                    <a:pt x="34957" y="12382"/>
                    <a:pt x="31337" y="13811"/>
                  </a:cubicBezTo>
                  <a:cubicBezTo>
                    <a:pt x="27718" y="15335"/>
                    <a:pt x="24575" y="17431"/>
                    <a:pt x="21812" y="20288"/>
                  </a:cubicBezTo>
                  <a:cubicBezTo>
                    <a:pt x="19145" y="23050"/>
                    <a:pt x="16955" y="26575"/>
                    <a:pt x="15335" y="30575"/>
                  </a:cubicBezTo>
                  <a:cubicBezTo>
                    <a:pt x="13716" y="34671"/>
                    <a:pt x="12954" y="39243"/>
                    <a:pt x="12954" y="44482"/>
                  </a:cubicBezTo>
                  <a:lnTo>
                    <a:pt x="12954" y="44767"/>
                  </a:lnTo>
                  <a:cubicBezTo>
                    <a:pt x="12954" y="49816"/>
                    <a:pt x="13716" y="54388"/>
                    <a:pt x="15335" y="58483"/>
                  </a:cubicBezTo>
                  <a:cubicBezTo>
                    <a:pt x="16955" y="62579"/>
                    <a:pt x="19145" y="66008"/>
                    <a:pt x="21812" y="68866"/>
                  </a:cubicBezTo>
                  <a:cubicBezTo>
                    <a:pt x="24575" y="71723"/>
                    <a:pt x="27718" y="73914"/>
                    <a:pt x="31337" y="75438"/>
                  </a:cubicBezTo>
                  <a:cubicBezTo>
                    <a:pt x="34957" y="76962"/>
                    <a:pt x="38862" y="77724"/>
                    <a:pt x="42863" y="77724"/>
                  </a:cubicBezTo>
                  <a:close/>
                </a:path>
              </a:pathLst>
            </a:custGeom>
            <a:solidFill>
              <a:srgbClr val="43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Freeform: Shape 84">
              <a:extLst>
                <a:ext uri="{FF2B5EF4-FFF2-40B4-BE49-F238E27FC236}">
                  <a16:creationId xmlns:a16="http://schemas.microsoft.com/office/drawing/2014/main" id="{80A21F73-DFE9-1574-3015-2F9E02E171DB}"/>
                </a:ext>
              </a:extLst>
            </p:cNvPr>
            <p:cNvSpPr/>
            <p:nvPr/>
          </p:nvSpPr>
          <p:spPr>
            <a:xfrm>
              <a:off x="1790096" y="4558601"/>
              <a:ext cx="74485" cy="87153"/>
            </a:xfrm>
            <a:custGeom>
              <a:avLst/>
              <a:gdLst>
                <a:gd name="connsiteX0" fmla="*/ 32671 w 74485"/>
                <a:gd name="connsiteY0" fmla="*/ 87154 h 87153"/>
                <a:gd name="connsiteX1" fmla="*/ 18860 w 74485"/>
                <a:gd name="connsiteY1" fmla="*/ 84677 h 87153"/>
                <a:gd name="connsiteX2" fmla="*/ 8668 w 74485"/>
                <a:gd name="connsiteY2" fmla="*/ 77629 h 87153"/>
                <a:gd name="connsiteX3" fmla="*/ 2191 w 74485"/>
                <a:gd name="connsiteY3" fmla="*/ 66866 h 87153"/>
                <a:gd name="connsiteX4" fmla="*/ 0 w 74485"/>
                <a:gd name="connsiteY4" fmla="*/ 52959 h 87153"/>
                <a:gd name="connsiteX5" fmla="*/ 0 w 74485"/>
                <a:gd name="connsiteY5" fmla="*/ 0 h 87153"/>
                <a:gd name="connsiteX6" fmla="*/ 12668 w 74485"/>
                <a:gd name="connsiteY6" fmla="*/ 0 h 87153"/>
                <a:gd name="connsiteX7" fmla="*/ 12668 w 74485"/>
                <a:gd name="connsiteY7" fmla="*/ 49721 h 87153"/>
                <a:gd name="connsiteX8" fmla="*/ 18764 w 74485"/>
                <a:gd name="connsiteY8" fmla="*/ 68485 h 87153"/>
                <a:gd name="connsiteX9" fmla="*/ 36290 w 74485"/>
                <a:gd name="connsiteY9" fmla="*/ 75438 h 87153"/>
                <a:gd name="connsiteX10" fmla="*/ 46482 w 74485"/>
                <a:gd name="connsiteY10" fmla="*/ 73533 h 87153"/>
                <a:gd name="connsiteX11" fmla="*/ 54578 w 74485"/>
                <a:gd name="connsiteY11" fmla="*/ 68104 h 87153"/>
                <a:gd name="connsiteX12" fmla="*/ 59912 w 74485"/>
                <a:gd name="connsiteY12" fmla="*/ 59627 h 87153"/>
                <a:gd name="connsiteX13" fmla="*/ 61913 w 74485"/>
                <a:gd name="connsiteY13" fmla="*/ 48768 h 87153"/>
                <a:gd name="connsiteX14" fmla="*/ 61913 w 74485"/>
                <a:gd name="connsiteY14" fmla="*/ 0 h 87153"/>
                <a:gd name="connsiteX15" fmla="*/ 74486 w 74485"/>
                <a:gd name="connsiteY15" fmla="*/ 0 h 87153"/>
                <a:gd name="connsiteX16" fmla="*/ 74486 w 74485"/>
                <a:gd name="connsiteY16" fmla="*/ 85344 h 87153"/>
                <a:gd name="connsiteX17" fmla="*/ 61913 w 74485"/>
                <a:gd name="connsiteY17" fmla="*/ 85344 h 87153"/>
                <a:gd name="connsiteX18" fmla="*/ 61913 w 74485"/>
                <a:gd name="connsiteY18" fmla="*/ 70485 h 87153"/>
                <a:gd name="connsiteX19" fmla="*/ 50673 w 74485"/>
                <a:gd name="connsiteY19" fmla="*/ 82296 h 87153"/>
                <a:gd name="connsiteX20" fmla="*/ 32671 w 74485"/>
                <a:gd name="connsiteY20" fmla="*/ 87154 h 87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4485" h="87153">
                  <a:moveTo>
                    <a:pt x="32671" y="87154"/>
                  </a:moveTo>
                  <a:cubicBezTo>
                    <a:pt x="27527" y="87154"/>
                    <a:pt x="22860" y="86297"/>
                    <a:pt x="18860" y="84677"/>
                  </a:cubicBezTo>
                  <a:cubicBezTo>
                    <a:pt x="14859" y="83058"/>
                    <a:pt x="11430" y="80677"/>
                    <a:pt x="8668" y="77629"/>
                  </a:cubicBezTo>
                  <a:cubicBezTo>
                    <a:pt x="5906" y="74581"/>
                    <a:pt x="3715" y="70961"/>
                    <a:pt x="2191" y="66866"/>
                  </a:cubicBezTo>
                  <a:cubicBezTo>
                    <a:pt x="667" y="62675"/>
                    <a:pt x="0" y="58103"/>
                    <a:pt x="0" y="52959"/>
                  </a:cubicBezTo>
                  <a:lnTo>
                    <a:pt x="0" y="0"/>
                  </a:lnTo>
                  <a:lnTo>
                    <a:pt x="12668" y="0"/>
                  </a:lnTo>
                  <a:lnTo>
                    <a:pt x="12668" y="49721"/>
                  </a:lnTo>
                  <a:cubicBezTo>
                    <a:pt x="12668" y="57626"/>
                    <a:pt x="14669" y="63913"/>
                    <a:pt x="18764" y="68485"/>
                  </a:cubicBezTo>
                  <a:cubicBezTo>
                    <a:pt x="22860" y="73057"/>
                    <a:pt x="28670" y="75438"/>
                    <a:pt x="36290" y="75438"/>
                  </a:cubicBezTo>
                  <a:cubicBezTo>
                    <a:pt x="39910" y="75438"/>
                    <a:pt x="43339" y="74771"/>
                    <a:pt x="46482" y="73533"/>
                  </a:cubicBezTo>
                  <a:cubicBezTo>
                    <a:pt x="49625" y="72295"/>
                    <a:pt x="52292" y="70485"/>
                    <a:pt x="54578" y="68104"/>
                  </a:cubicBezTo>
                  <a:cubicBezTo>
                    <a:pt x="56864" y="65723"/>
                    <a:pt x="58579" y="62960"/>
                    <a:pt x="59912" y="59627"/>
                  </a:cubicBezTo>
                  <a:cubicBezTo>
                    <a:pt x="61246" y="56293"/>
                    <a:pt x="61913" y="52673"/>
                    <a:pt x="61913" y="48768"/>
                  </a:cubicBezTo>
                  <a:lnTo>
                    <a:pt x="61913" y="0"/>
                  </a:lnTo>
                  <a:lnTo>
                    <a:pt x="74486" y="0"/>
                  </a:lnTo>
                  <a:lnTo>
                    <a:pt x="74486" y="85344"/>
                  </a:lnTo>
                  <a:lnTo>
                    <a:pt x="61913" y="85344"/>
                  </a:lnTo>
                  <a:lnTo>
                    <a:pt x="61913" y="70485"/>
                  </a:lnTo>
                  <a:cubicBezTo>
                    <a:pt x="59055" y="75152"/>
                    <a:pt x="55340" y="79058"/>
                    <a:pt x="50673" y="82296"/>
                  </a:cubicBezTo>
                  <a:cubicBezTo>
                    <a:pt x="46006" y="85535"/>
                    <a:pt x="40100" y="87154"/>
                    <a:pt x="32671" y="87154"/>
                  </a:cubicBezTo>
                  <a:close/>
                </a:path>
              </a:pathLst>
            </a:custGeom>
            <a:solidFill>
              <a:srgbClr val="43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Freeform: Shape 85">
              <a:extLst>
                <a:ext uri="{FF2B5EF4-FFF2-40B4-BE49-F238E27FC236}">
                  <a16:creationId xmlns:a16="http://schemas.microsoft.com/office/drawing/2014/main" id="{70BF5A03-B12E-52EA-0CF9-131EFCFF3AC2}"/>
                </a:ext>
              </a:extLst>
            </p:cNvPr>
            <p:cNvSpPr/>
            <p:nvPr/>
          </p:nvSpPr>
          <p:spPr>
            <a:xfrm>
              <a:off x="1887727" y="4556887"/>
              <a:ext cx="80676" cy="89154"/>
            </a:xfrm>
            <a:custGeom>
              <a:avLst/>
              <a:gdLst>
                <a:gd name="connsiteX0" fmla="*/ 12859 w 80676"/>
                <a:gd name="connsiteY0" fmla="*/ 49625 h 89154"/>
                <a:gd name="connsiteX1" fmla="*/ 16193 w 80676"/>
                <a:gd name="connsiteY1" fmla="*/ 61722 h 89154"/>
                <a:gd name="connsiteX2" fmla="*/ 22955 w 80676"/>
                <a:gd name="connsiteY2" fmla="*/ 70675 h 89154"/>
                <a:gd name="connsiteX3" fmla="*/ 32195 w 80676"/>
                <a:gd name="connsiteY3" fmla="*/ 76200 h 89154"/>
                <a:gd name="connsiteX4" fmla="*/ 42958 w 80676"/>
                <a:gd name="connsiteY4" fmla="*/ 78105 h 89154"/>
                <a:gd name="connsiteX5" fmla="*/ 58198 w 80676"/>
                <a:gd name="connsiteY5" fmla="*/ 74771 h 89154"/>
                <a:gd name="connsiteX6" fmla="*/ 69818 w 80676"/>
                <a:gd name="connsiteY6" fmla="*/ 66008 h 89154"/>
                <a:gd name="connsiteX7" fmla="*/ 77724 w 80676"/>
                <a:gd name="connsiteY7" fmla="*/ 73152 h 89154"/>
                <a:gd name="connsiteX8" fmla="*/ 63056 w 80676"/>
                <a:gd name="connsiteY8" fmla="*/ 84772 h 89154"/>
                <a:gd name="connsiteX9" fmla="*/ 42577 w 80676"/>
                <a:gd name="connsiteY9" fmla="*/ 89154 h 89154"/>
                <a:gd name="connsiteX10" fmla="*/ 26099 w 80676"/>
                <a:gd name="connsiteY10" fmla="*/ 85916 h 89154"/>
                <a:gd name="connsiteX11" fmla="*/ 12573 w 80676"/>
                <a:gd name="connsiteY11" fmla="*/ 76867 h 89154"/>
                <a:gd name="connsiteX12" fmla="*/ 3429 w 80676"/>
                <a:gd name="connsiteY12" fmla="*/ 62770 h 89154"/>
                <a:gd name="connsiteX13" fmla="*/ 0 w 80676"/>
                <a:gd name="connsiteY13" fmla="*/ 44577 h 89154"/>
                <a:gd name="connsiteX14" fmla="*/ 3048 w 80676"/>
                <a:gd name="connsiteY14" fmla="*/ 27146 h 89154"/>
                <a:gd name="connsiteX15" fmla="*/ 11525 w 80676"/>
                <a:gd name="connsiteY15" fmla="*/ 12954 h 89154"/>
                <a:gd name="connsiteX16" fmla="*/ 24479 w 80676"/>
                <a:gd name="connsiteY16" fmla="*/ 3429 h 89154"/>
                <a:gd name="connsiteX17" fmla="*/ 40862 w 80676"/>
                <a:gd name="connsiteY17" fmla="*/ 0 h 89154"/>
                <a:gd name="connsiteX18" fmla="*/ 57722 w 80676"/>
                <a:gd name="connsiteY18" fmla="*/ 3524 h 89154"/>
                <a:gd name="connsiteX19" fmla="*/ 70295 w 80676"/>
                <a:gd name="connsiteY19" fmla="*/ 13145 h 89154"/>
                <a:gd name="connsiteX20" fmla="*/ 78010 w 80676"/>
                <a:gd name="connsiteY20" fmla="*/ 27527 h 89154"/>
                <a:gd name="connsiteX21" fmla="*/ 80677 w 80676"/>
                <a:gd name="connsiteY21" fmla="*/ 45149 h 89154"/>
                <a:gd name="connsiteX22" fmla="*/ 80677 w 80676"/>
                <a:gd name="connsiteY22" fmla="*/ 47054 h 89154"/>
                <a:gd name="connsiteX23" fmla="*/ 80486 w 80676"/>
                <a:gd name="connsiteY23" fmla="*/ 49625 h 89154"/>
                <a:gd name="connsiteX24" fmla="*/ 12859 w 80676"/>
                <a:gd name="connsiteY24" fmla="*/ 49625 h 89154"/>
                <a:gd name="connsiteX25" fmla="*/ 67818 w 80676"/>
                <a:gd name="connsiteY25" fmla="*/ 39243 h 89154"/>
                <a:gd name="connsiteX26" fmla="*/ 65342 w 80676"/>
                <a:gd name="connsiteY26" fmla="*/ 28289 h 89154"/>
                <a:gd name="connsiteX27" fmla="*/ 60008 w 80676"/>
                <a:gd name="connsiteY27" fmla="*/ 19145 h 89154"/>
                <a:gd name="connsiteX28" fmla="*/ 51721 w 80676"/>
                <a:gd name="connsiteY28" fmla="*/ 12859 h 89154"/>
                <a:gd name="connsiteX29" fmla="*/ 40577 w 80676"/>
                <a:gd name="connsiteY29" fmla="*/ 10573 h 89154"/>
                <a:gd name="connsiteX30" fmla="*/ 30290 w 80676"/>
                <a:gd name="connsiteY30" fmla="*/ 12668 h 89154"/>
                <a:gd name="connsiteX31" fmla="*/ 21908 w 80676"/>
                <a:gd name="connsiteY31" fmla="*/ 18669 h 89154"/>
                <a:gd name="connsiteX32" fmla="*/ 15907 w 80676"/>
                <a:gd name="connsiteY32" fmla="*/ 27813 h 89154"/>
                <a:gd name="connsiteX33" fmla="*/ 12859 w 80676"/>
                <a:gd name="connsiteY33" fmla="*/ 39148 h 89154"/>
                <a:gd name="connsiteX34" fmla="*/ 67818 w 80676"/>
                <a:gd name="connsiteY34" fmla="*/ 39148 h 89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0676" h="89154">
                  <a:moveTo>
                    <a:pt x="12859" y="49625"/>
                  </a:moveTo>
                  <a:cubicBezTo>
                    <a:pt x="13335" y="54102"/>
                    <a:pt x="14383" y="58198"/>
                    <a:pt x="16193" y="61722"/>
                  </a:cubicBezTo>
                  <a:cubicBezTo>
                    <a:pt x="17907" y="65246"/>
                    <a:pt x="20193" y="68199"/>
                    <a:pt x="22955" y="70675"/>
                  </a:cubicBezTo>
                  <a:cubicBezTo>
                    <a:pt x="25718" y="73152"/>
                    <a:pt x="28766" y="74962"/>
                    <a:pt x="32195" y="76200"/>
                  </a:cubicBezTo>
                  <a:cubicBezTo>
                    <a:pt x="35624" y="77438"/>
                    <a:pt x="39148" y="78105"/>
                    <a:pt x="42958" y="78105"/>
                  </a:cubicBezTo>
                  <a:cubicBezTo>
                    <a:pt x="48863" y="78105"/>
                    <a:pt x="54007" y="76962"/>
                    <a:pt x="58198" y="74771"/>
                  </a:cubicBezTo>
                  <a:cubicBezTo>
                    <a:pt x="62389" y="72580"/>
                    <a:pt x="66294" y="69628"/>
                    <a:pt x="69818" y="66008"/>
                  </a:cubicBezTo>
                  <a:lnTo>
                    <a:pt x="77724" y="73152"/>
                  </a:lnTo>
                  <a:cubicBezTo>
                    <a:pt x="73438" y="78010"/>
                    <a:pt x="68580" y="81915"/>
                    <a:pt x="63056" y="84772"/>
                  </a:cubicBezTo>
                  <a:cubicBezTo>
                    <a:pt x="57531" y="87725"/>
                    <a:pt x="50768" y="89154"/>
                    <a:pt x="42577" y="89154"/>
                  </a:cubicBezTo>
                  <a:cubicBezTo>
                    <a:pt x="36767" y="89154"/>
                    <a:pt x="31242" y="88106"/>
                    <a:pt x="26099" y="85916"/>
                  </a:cubicBezTo>
                  <a:cubicBezTo>
                    <a:pt x="20955" y="83725"/>
                    <a:pt x="16383" y="80772"/>
                    <a:pt x="12573" y="76867"/>
                  </a:cubicBezTo>
                  <a:cubicBezTo>
                    <a:pt x="8763" y="72962"/>
                    <a:pt x="5715" y="68294"/>
                    <a:pt x="3429" y="62770"/>
                  </a:cubicBezTo>
                  <a:cubicBezTo>
                    <a:pt x="1143" y="57245"/>
                    <a:pt x="0" y="51245"/>
                    <a:pt x="0" y="44577"/>
                  </a:cubicBezTo>
                  <a:cubicBezTo>
                    <a:pt x="0" y="38386"/>
                    <a:pt x="1048" y="32575"/>
                    <a:pt x="3048" y="27146"/>
                  </a:cubicBezTo>
                  <a:cubicBezTo>
                    <a:pt x="5048" y="21717"/>
                    <a:pt x="7906" y="16954"/>
                    <a:pt x="11525" y="12954"/>
                  </a:cubicBezTo>
                  <a:cubicBezTo>
                    <a:pt x="15145" y="8954"/>
                    <a:pt x="19431" y="5810"/>
                    <a:pt x="24479" y="3429"/>
                  </a:cubicBezTo>
                  <a:cubicBezTo>
                    <a:pt x="29528" y="1143"/>
                    <a:pt x="34957" y="0"/>
                    <a:pt x="40862" y="0"/>
                  </a:cubicBezTo>
                  <a:cubicBezTo>
                    <a:pt x="47149" y="0"/>
                    <a:pt x="52769" y="1143"/>
                    <a:pt x="57722" y="3524"/>
                  </a:cubicBezTo>
                  <a:cubicBezTo>
                    <a:pt x="62675" y="5905"/>
                    <a:pt x="66866" y="9144"/>
                    <a:pt x="70295" y="13145"/>
                  </a:cubicBezTo>
                  <a:cubicBezTo>
                    <a:pt x="73724" y="17240"/>
                    <a:pt x="76295" y="22003"/>
                    <a:pt x="78010" y="27527"/>
                  </a:cubicBezTo>
                  <a:cubicBezTo>
                    <a:pt x="79724" y="33052"/>
                    <a:pt x="80677" y="38957"/>
                    <a:pt x="80677" y="45149"/>
                  </a:cubicBezTo>
                  <a:lnTo>
                    <a:pt x="80677" y="47054"/>
                  </a:lnTo>
                  <a:cubicBezTo>
                    <a:pt x="80677" y="47816"/>
                    <a:pt x="80677" y="48673"/>
                    <a:pt x="80486" y="49625"/>
                  </a:cubicBezTo>
                  <a:lnTo>
                    <a:pt x="12859" y="49625"/>
                  </a:lnTo>
                  <a:close/>
                  <a:moveTo>
                    <a:pt x="67818" y="39243"/>
                  </a:moveTo>
                  <a:cubicBezTo>
                    <a:pt x="67532" y="35433"/>
                    <a:pt x="66675" y="31813"/>
                    <a:pt x="65342" y="28289"/>
                  </a:cubicBezTo>
                  <a:cubicBezTo>
                    <a:pt x="64008" y="24860"/>
                    <a:pt x="62198" y="21812"/>
                    <a:pt x="60008" y="19145"/>
                  </a:cubicBezTo>
                  <a:cubicBezTo>
                    <a:pt x="57722" y="16478"/>
                    <a:pt x="54959" y="14478"/>
                    <a:pt x="51721" y="12859"/>
                  </a:cubicBezTo>
                  <a:cubicBezTo>
                    <a:pt x="48482" y="11335"/>
                    <a:pt x="44768" y="10573"/>
                    <a:pt x="40577" y="10573"/>
                  </a:cubicBezTo>
                  <a:cubicBezTo>
                    <a:pt x="36957" y="10573"/>
                    <a:pt x="33528" y="11335"/>
                    <a:pt x="30290" y="12668"/>
                  </a:cubicBezTo>
                  <a:cubicBezTo>
                    <a:pt x="27146" y="14097"/>
                    <a:pt x="24289" y="16097"/>
                    <a:pt x="21908" y="18669"/>
                  </a:cubicBezTo>
                  <a:cubicBezTo>
                    <a:pt x="19526" y="21241"/>
                    <a:pt x="17431" y="24289"/>
                    <a:pt x="15907" y="27813"/>
                  </a:cubicBezTo>
                  <a:cubicBezTo>
                    <a:pt x="14288" y="31337"/>
                    <a:pt x="13335" y="35052"/>
                    <a:pt x="12859" y="39148"/>
                  </a:cubicBezTo>
                  <a:lnTo>
                    <a:pt x="67818" y="39148"/>
                  </a:lnTo>
                  <a:close/>
                </a:path>
              </a:pathLst>
            </a:custGeom>
            <a:solidFill>
              <a:srgbClr val="43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 name="Freeform: Shape 86">
              <a:extLst>
                <a:ext uri="{FF2B5EF4-FFF2-40B4-BE49-F238E27FC236}">
                  <a16:creationId xmlns:a16="http://schemas.microsoft.com/office/drawing/2014/main" id="{12431CA7-9A7A-6944-300F-E31B2071FE34}"/>
                </a:ext>
              </a:extLst>
            </p:cNvPr>
            <p:cNvSpPr/>
            <p:nvPr/>
          </p:nvSpPr>
          <p:spPr>
            <a:xfrm>
              <a:off x="2033174" y="4557267"/>
              <a:ext cx="65912" cy="88582"/>
            </a:xfrm>
            <a:custGeom>
              <a:avLst/>
              <a:gdLst>
                <a:gd name="connsiteX0" fmla="*/ 35338 w 65912"/>
                <a:gd name="connsiteY0" fmla="*/ 88297 h 88582"/>
                <a:gd name="connsiteX1" fmla="*/ 16669 w 65912"/>
                <a:gd name="connsiteY1" fmla="*/ 84963 h 88582"/>
                <a:gd name="connsiteX2" fmla="*/ 0 w 65912"/>
                <a:gd name="connsiteY2" fmla="*/ 75819 h 88582"/>
                <a:gd name="connsiteX3" fmla="*/ 6477 w 65912"/>
                <a:gd name="connsiteY3" fmla="*/ 66770 h 88582"/>
                <a:gd name="connsiteX4" fmla="*/ 20955 w 65912"/>
                <a:gd name="connsiteY4" fmla="*/ 74867 h 88582"/>
                <a:gd name="connsiteX5" fmla="*/ 36100 w 65912"/>
                <a:gd name="connsiteY5" fmla="*/ 77629 h 88582"/>
                <a:gd name="connsiteX6" fmla="*/ 48768 w 65912"/>
                <a:gd name="connsiteY6" fmla="*/ 74009 h 88582"/>
                <a:gd name="connsiteX7" fmla="*/ 53721 w 65912"/>
                <a:gd name="connsiteY7" fmla="*/ 64103 h 88582"/>
                <a:gd name="connsiteX8" fmla="*/ 53721 w 65912"/>
                <a:gd name="connsiteY8" fmla="*/ 63818 h 88582"/>
                <a:gd name="connsiteX9" fmla="*/ 52006 w 65912"/>
                <a:gd name="connsiteY9" fmla="*/ 58388 h 88582"/>
                <a:gd name="connsiteX10" fmla="*/ 47339 w 65912"/>
                <a:gd name="connsiteY10" fmla="*/ 54388 h 88582"/>
                <a:gd name="connsiteX11" fmla="*/ 40481 w 65912"/>
                <a:gd name="connsiteY11" fmla="*/ 51340 h 88582"/>
                <a:gd name="connsiteX12" fmla="*/ 32480 w 65912"/>
                <a:gd name="connsiteY12" fmla="*/ 48863 h 88582"/>
                <a:gd name="connsiteX13" fmla="*/ 22479 w 65912"/>
                <a:gd name="connsiteY13" fmla="*/ 45625 h 88582"/>
                <a:gd name="connsiteX14" fmla="*/ 13430 w 65912"/>
                <a:gd name="connsiteY14" fmla="*/ 41243 h 88582"/>
                <a:gd name="connsiteX15" fmla="*/ 6858 w 65912"/>
                <a:gd name="connsiteY15" fmla="*/ 34671 h 88582"/>
                <a:gd name="connsiteX16" fmla="*/ 4286 w 65912"/>
                <a:gd name="connsiteY16" fmla="*/ 24765 h 88582"/>
                <a:gd name="connsiteX17" fmla="*/ 4286 w 65912"/>
                <a:gd name="connsiteY17" fmla="*/ 24384 h 88582"/>
                <a:gd name="connsiteX18" fmla="*/ 6477 w 65912"/>
                <a:gd name="connsiteY18" fmla="*/ 14383 h 88582"/>
                <a:gd name="connsiteX19" fmla="*/ 12478 w 65912"/>
                <a:gd name="connsiteY19" fmla="*/ 6668 h 88582"/>
                <a:gd name="connsiteX20" fmla="*/ 21717 w 65912"/>
                <a:gd name="connsiteY20" fmla="*/ 1715 h 88582"/>
                <a:gd name="connsiteX21" fmla="*/ 33338 w 65912"/>
                <a:gd name="connsiteY21" fmla="*/ 0 h 88582"/>
                <a:gd name="connsiteX22" fmla="*/ 49340 w 65912"/>
                <a:gd name="connsiteY22" fmla="*/ 2572 h 88582"/>
                <a:gd name="connsiteX23" fmla="*/ 64008 w 65912"/>
                <a:gd name="connsiteY23" fmla="*/ 9430 h 88582"/>
                <a:gd name="connsiteX24" fmla="*/ 58198 w 65912"/>
                <a:gd name="connsiteY24" fmla="*/ 18955 h 88582"/>
                <a:gd name="connsiteX25" fmla="*/ 45720 w 65912"/>
                <a:gd name="connsiteY25" fmla="*/ 12954 h 88582"/>
                <a:gd name="connsiteX26" fmla="*/ 32956 w 65912"/>
                <a:gd name="connsiteY26" fmla="*/ 10763 h 88582"/>
                <a:gd name="connsiteX27" fmla="*/ 20955 w 65912"/>
                <a:gd name="connsiteY27" fmla="*/ 14288 h 88582"/>
                <a:gd name="connsiteX28" fmla="*/ 16478 w 65912"/>
                <a:gd name="connsiteY28" fmla="*/ 23146 h 88582"/>
                <a:gd name="connsiteX29" fmla="*/ 16478 w 65912"/>
                <a:gd name="connsiteY29" fmla="*/ 23527 h 88582"/>
                <a:gd name="connsiteX30" fmla="*/ 18288 w 65912"/>
                <a:gd name="connsiteY30" fmla="*/ 28766 h 88582"/>
                <a:gd name="connsiteX31" fmla="*/ 23146 w 65912"/>
                <a:gd name="connsiteY31" fmla="*/ 32671 h 88582"/>
                <a:gd name="connsiteX32" fmla="*/ 30194 w 65912"/>
                <a:gd name="connsiteY32" fmla="*/ 35624 h 88582"/>
                <a:gd name="connsiteX33" fmla="*/ 38481 w 65912"/>
                <a:gd name="connsiteY33" fmla="*/ 38291 h 88582"/>
                <a:gd name="connsiteX34" fmla="*/ 48292 w 65912"/>
                <a:gd name="connsiteY34" fmla="*/ 41624 h 88582"/>
                <a:gd name="connsiteX35" fmla="*/ 57150 w 65912"/>
                <a:gd name="connsiteY35" fmla="*/ 46292 h 88582"/>
                <a:gd name="connsiteX36" fmla="*/ 63532 w 65912"/>
                <a:gd name="connsiteY36" fmla="*/ 53054 h 88582"/>
                <a:gd name="connsiteX37" fmla="*/ 65913 w 65912"/>
                <a:gd name="connsiteY37" fmla="*/ 62770 h 88582"/>
                <a:gd name="connsiteX38" fmla="*/ 65913 w 65912"/>
                <a:gd name="connsiteY38" fmla="*/ 63056 h 88582"/>
                <a:gd name="connsiteX39" fmla="*/ 63532 w 65912"/>
                <a:gd name="connsiteY39" fmla="*/ 73819 h 88582"/>
                <a:gd name="connsiteX40" fmla="*/ 57055 w 65912"/>
                <a:gd name="connsiteY40" fmla="*/ 81820 h 88582"/>
                <a:gd name="connsiteX41" fmla="*/ 47530 w 65912"/>
                <a:gd name="connsiteY41" fmla="*/ 86868 h 88582"/>
                <a:gd name="connsiteX42" fmla="*/ 35528 w 65912"/>
                <a:gd name="connsiteY42" fmla="*/ 88583 h 8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912" h="88582">
                  <a:moveTo>
                    <a:pt x="35338" y="88297"/>
                  </a:moveTo>
                  <a:cubicBezTo>
                    <a:pt x="29146" y="88297"/>
                    <a:pt x="22955" y="87154"/>
                    <a:pt x="16669" y="84963"/>
                  </a:cubicBezTo>
                  <a:cubicBezTo>
                    <a:pt x="10382" y="82677"/>
                    <a:pt x="4858" y="79629"/>
                    <a:pt x="0" y="75819"/>
                  </a:cubicBezTo>
                  <a:lnTo>
                    <a:pt x="6477" y="66770"/>
                  </a:lnTo>
                  <a:cubicBezTo>
                    <a:pt x="11049" y="70295"/>
                    <a:pt x="15907" y="72962"/>
                    <a:pt x="20955" y="74867"/>
                  </a:cubicBezTo>
                  <a:cubicBezTo>
                    <a:pt x="26003" y="76771"/>
                    <a:pt x="30956" y="77629"/>
                    <a:pt x="36100" y="77629"/>
                  </a:cubicBezTo>
                  <a:cubicBezTo>
                    <a:pt x="41243" y="77629"/>
                    <a:pt x="45529" y="76391"/>
                    <a:pt x="48768" y="74009"/>
                  </a:cubicBezTo>
                  <a:cubicBezTo>
                    <a:pt x="52006" y="71628"/>
                    <a:pt x="53721" y="68294"/>
                    <a:pt x="53721" y="64103"/>
                  </a:cubicBezTo>
                  <a:lnTo>
                    <a:pt x="53721" y="63818"/>
                  </a:lnTo>
                  <a:cubicBezTo>
                    <a:pt x="53721" y="61722"/>
                    <a:pt x="53150" y="59912"/>
                    <a:pt x="52006" y="58388"/>
                  </a:cubicBezTo>
                  <a:cubicBezTo>
                    <a:pt x="50863" y="56864"/>
                    <a:pt x="49244" y="55531"/>
                    <a:pt x="47339" y="54388"/>
                  </a:cubicBezTo>
                  <a:cubicBezTo>
                    <a:pt x="45339" y="53245"/>
                    <a:pt x="43053" y="52197"/>
                    <a:pt x="40481" y="51340"/>
                  </a:cubicBezTo>
                  <a:cubicBezTo>
                    <a:pt x="37909" y="50483"/>
                    <a:pt x="35242" y="49625"/>
                    <a:pt x="32480" y="48863"/>
                  </a:cubicBezTo>
                  <a:cubicBezTo>
                    <a:pt x="29146" y="47911"/>
                    <a:pt x="25813" y="46768"/>
                    <a:pt x="22479" y="45625"/>
                  </a:cubicBezTo>
                  <a:cubicBezTo>
                    <a:pt x="19145" y="44482"/>
                    <a:pt x="16097" y="43053"/>
                    <a:pt x="13430" y="41243"/>
                  </a:cubicBezTo>
                  <a:cubicBezTo>
                    <a:pt x="10763" y="39433"/>
                    <a:pt x="8573" y="37243"/>
                    <a:pt x="6858" y="34671"/>
                  </a:cubicBezTo>
                  <a:cubicBezTo>
                    <a:pt x="5144" y="32004"/>
                    <a:pt x="4286" y="28766"/>
                    <a:pt x="4286" y="24765"/>
                  </a:cubicBezTo>
                  <a:lnTo>
                    <a:pt x="4286" y="24384"/>
                  </a:lnTo>
                  <a:cubicBezTo>
                    <a:pt x="4286" y="20765"/>
                    <a:pt x="5048" y="17431"/>
                    <a:pt x="6477" y="14383"/>
                  </a:cubicBezTo>
                  <a:cubicBezTo>
                    <a:pt x="7906" y="11335"/>
                    <a:pt x="9906" y="8763"/>
                    <a:pt x="12478" y="6668"/>
                  </a:cubicBezTo>
                  <a:cubicBezTo>
                    <a:pt x="15050" y="4572"/>
                    <a:pt x="18193" y="2858"/>
                    <a:pt x="21717" y="1715"/>
                  </a:cubicBezTo>
                  <a:cubicBezTo>
                    <a:pt x="25241" y="571"/>
                    <a:pt x="29146" y="0"/>
                    <a:pt x="33338" y="0"/>
                  </a:cubicBezTo>
                  <a:cubicBezTo>
                    <a:pt x="38576" y="0"/>
                    <a:pt x="43910" y="857"/>
                    <a:pt x="49340" y="2572"/>
                  </a:cubicBezTo>
                  <a:cubicBezTo>
                    <a:pt x="54769" y="4286"/>
                    <a:pt x="59627" y="6572"/>
                    <a:pt x="64008" y="9430"/>
                  </a:cubicBezTo>
                  <a:lnTo>
                    <a:pt x="58198" y="18955"/>
                  </a:lnTo>
                  <a:cubicBezTo>
                    <a:pt x="54197" y="16383"/>
                    <a:pt x="50102" y="14383"/>
                    <a:pt x="45720" y="12954"/>
                  </a:cubicBezTo>
                  <a:cubicBezTo>
                    <a:pt x="41338" y="11430"/>
                    <a:pt x="37148" y="10763"/>
                    <a:pt x="32956" y="10763"/>
                  </a:cubicBezTo>
                  <a:cubicBezTo>
                    <a:pt x="27908" y="10763"/>
                    <a:pt x="23908" y="11906"/>
                    <a:pt x="20955" y="14288"/>
                  </a:cubicBezTo>
                  <a:cubicBezTo>
                    <a:pt x="18002" y="16669"/>
                    <a:pt x="16478" y="19621"/>
                    <a:pt x="16478" y="23146"/>
                  </a:cubicBezTo>
                  <a:lnTo>
                    <a:pt x="16478" y="23527"/>
                  </a:lnTo>
                  <a:cubicBezTo>
                    <a:pt x="16478" y="25527"/>
                    <a:pt x="17050" y="27242"/>
                    <a:pt x="18288" y="28766"/>
                  </a:cubicBezTo>
                  <a:cubicBezTo>
                    <a:pt x="19526" y="30290"/>
                    <a:pt x="21146" y="31528"/>
                    <a:pt x="23146" y="32671"/>
                  </a:cubicBezTo>
                  <a:cubicBezTo>
                    <a:pt x="25146" y="33814"/>
                    <a:pt x="27527" y="34766"/>
                    <a:pt x="30194" y="35624"/>
                  </a:cubicBezTo>
                  <a:cubicBezTo>
                    <a:pt x="32861" y="36481"/>
                    <a:pt x="35623" y="37338"/>
                    <a:pt x="38481" y="38291"/>
                  </a:cubicBezTo>
                  <a:cubicBezTo>
                    <a:pt x="41815" y="39243"/>
                    <a:pt x="45053" y="40386"/>
                    <a:pt x="48292" y="41624"/>
                  </a:cubicBezTo>
                  <a:cubicBezTo>
                    <a:pt x="51530" y="42863"/>
                    <a:pt x="54483" y="44387"/>
                    <a:pt x="57150" y="46292"/>
                  </a:cubicBezTo>
                  <a:cubicBezTo>
                    <a:pt x="59817" y="48196"/>
                    <a:pt x="61913" y="50387"/>
                    <a:pt x="63532" y="53054"/>
                  </a:cubicBezTo>
                  <a:cubicBezTo>
                    <a:pt x="65151" y="55721"/>
                    <a:pt x="65913" y="58960"/>
                    <a:pt x="65913" y="62770"/>
                  </a:cubicBezTo>
                  <a:lnTo>
                    <a:pt x="65913" y="63056"/>
                  </a:lnTo>
                  <a:cubicBezTo>
                    <a:pt x="65913" y="67151"/>
                    <a:pt x="65151" y="70771"/>
                    <a:pt x="63532" y="73819"/>
                  </a:cubicBezTo>
                  <a:cubicBezTo>
                    <a:pt x="61913" y="76962"/>
                    <a:pt x="59817" y="79629"/>
                    <a:pt x="57055" y="81820"/>
                  </a:cubicBezTo>
                  <a:cubicBezTo>
                    <a:pt x="54388" y="84011"/>
                    <a:pt x="51149" y="85725"/>
                    <a:pt x="47530" y="86868"/>
                  </a:cubicBezTo>
                  <a:cubicBezTo>
                    <a:pt x="43815" y="88011"/>
                    <a:pt x="39815" y="88583"/>
                    <a:pt x="35528" y="88583"/>
                  </a:cubicBezTo>
                  <a:close/>
                </a:path>
              </a:pathLst>
            </a:custGeom>
            <a:solidFill>
              <a:srgbClr val="43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 name="Freeform: Shape 87">
              <a:extLst>
                <a:ext uri="{FF2B5EF4-FFF2-40B4-BE49-F238E27FC236}">
                  <a16:creationId xmlns:a16="http://schemas.microsoft.com/office/drawing/2014/main" id="{CCF230D1-1A49-5CDA-0234-109A873C350D}"/>
                </a:ext>
              </a:extLst>
            </p:cNvPr>
            <p:cNvSpPr/>
            <p:nvPr/>
          </p:nvSpPr>
          <p:spPr>
            <a:xfrm>
              <a:off x="2116042" y="4557267"/>
              <a:ext cx="75152" cy="88582"/>
            </a:xfrm>
            <a:custGeom>
              <a:avLst/>
              <a:gdLst>
                <a:gd name="connsiteX0" fmla="*/ 31814 w 75152"/>
                <a:gd name="connsiteY0" fmla="*/ 88487 h 88582"/>
                <a:gd name="connsiteX1" fmla="*/ 20098 w 75152"/>
                <a:gd name="connsiteY1" fmla="*/ 86868 h 88582"/>
                <a:gd name="connsiteX2" fmla="*/ 9906 w 75152"/>
                <a:gd name="connsiteY2" fmla="*/ 81820 h 88582"/>
                <a:gd name="connsiteX3" fmla="*/ 2762 w 75152"/>
                <a:gd name="connsiteY3" fmla="*/ 73438 h 88582"/>
                <a:gd name="connsiteX4" fmla="*/ 0 w 75152"/>
                <a:gd name="connsiteY4" fmla="*/ 61913 h 88582"/>
                <a:gd name="connsiteX5" fmla="*/ 0 w 75152"/>
                <a:gd name="connsiteY5" fmla="*/ 61532 h 88582"/>
                <a:gd name="connsiteX6" fmla="*/ 2667 w 75152"/>
                <a:gd name="connsiteY6" fmla="*/ 49435 h 88582"/>
                <a:gd name="connsiteX7" fmla="*/ 10192 w 75152"/>
                <a:gd name="connsiteY7" fmla="*/ 40767 h 88582"/>
                <a:gd name="connsiteX8" fmla="*/ 21717 w 75152"/>
                <a:gd name="connsiteY8" fmla="*/ 35528 h 88582"/>
                <a:gd name="connsiteX9" fmla="*/ 36481 w 75152"/>
                <a:gd name="connsiteY9" fmla="*/ 33719 h 88582"/>
                <a:gd name="connsiteX10" fmla="*/ 50768 w 75152"/>
                <a:gd name="connsiteY10" fmla="*/ 34671 h 88582"/>
                <a:gd name="connsiteX11" fmla="*/ 62579 w 75152"/>
                <a:gd name="connsiteY11" fmla="*/ 37338 h 88582"/>
                <a:gd name="connsiteX12" fmla="*/ 62579 w 75152"/>
                <a:gd name="connsiteY12" fmla="*/ 34671 h 88582"/>
                <a:gd name="connsiteX13" fmla="*/ 56007 w 75152"/>
                <a:gd name="connsiteY13" fmla="*/ 17526 h 88582"/>
                <a:gd name="connsiteX14" fmla="*/ 37338 w 75152"/>
                <a:gd name="connsiteY14" fmla="*/ 11716 h 88582"/>
                <a:gd name="connsiteX15" fmla="*/ 23527 w 75152"/>
                <a:gd name="connsiteY15" fmla="*/ 13335 h 88582"/>
                <a:gd name="connsiteX16" fmla="*/ 11430 w 75152"/>
                <a:gd name="connsiteY16" fmla="*/ 17812 h 88582"/>
                <a:gd name="connsiteX17" fmla="*/ 7620 w 75152"/>
                <a:gd name="connsiteY17" fmla="*/ 7334 h 88582"/>
                <a:gd name="connsiteX18" fmla="*/ 22003 w 75152"/>
                <a:gd name="connsiteY18" fmla="*/ 2000 h 88582"/>
                <a:gd name="connsiteX19" fmla="*/ 38672 w 75152"/>
                <a:gd name="connsiteY19" fmla="*/ 0 h 88582"/>
                <a:gd name="connsiteX20" fmla="*/ 66199 w 75152"/>
                <a:gd name="connsiteY20" fmla="*/ 9430 h 88582"/>
                <a:gd name="connsiteX21" fmla="*/ 75152 w 75152"/>
                <a:gd name="connsiteY21" fmla="*/ 34481 h 88582"/>
                <a:gd name="connsiteX22" fmla="*/ 75152 w 75152"/>
                <a:gd name="connsiteY22" fmla="*/ 86678 h 88582"/>
                <a:gd name="connsiteX23" fmla="*/ 62579 w 75152"/>
                <a:gd name="connsiteY23" fmla="*/ 86678 h 88582"/>
                <a:gd name="connsiteX24" fmla="*/ 62579 w 75152"/>
                <a:gd name="connsiteY24" fmla="*/ 74009 h 88582"/>
                <a:gd name="connsiteX25" fmla="*/ 50578 w 75152"/>
                <a:gd name="connsiteY25" fmla="*/ 84201 h 88582"/>
                <a:gd name="connsiteX26" fmla="*/ 31814 w 75152"/>
                <a:gd name="connsiteY26" fmla="*/ 88583 h 88582"/>
                <a:gd name="connsiteX27" fmla="*/ 34385 w 75152"/>
                <a:gd name="connsiteY27" fmla="*/ 78105 h 88582"/>
                <a:gd name="connsiteX28" fmla="*/ 45434 w 75152"/>
                <a:gd name="connsiteY28" fmla="*/ 76486 h 88582"/>
                <a:gd name="connsiteX29" fmla="*/ 54388 w 75152"/>
                <a:gd name="connsiteY29" fmla="*/ 71819 h 88582"/>
                <a:gd name="connsiteX30" fmla="*/ 60484 w 75152"/>
                <a:gd name="connsiteY30" fmla="*/ 64579 h 88582"/>
                <a:gd name="connsiteX31" fmla="*/ 62675 w 75152"/>
                <a:gd name="connsiteY31" fmla="*/ 55340 h 88582"/>
                <a:gd name="connsiteX32" fmla="*/ 62675 w 75152"/>
                <a:gd name="connsiteY32" fmla="*/ 47435 h 88582"/>
                <a:gd name="connsiteX33" fmla="*/ 51816 w 75152"/>
                <a:gd name="connsiteY33" fmla="*/ 44958 h 88582"/>
                <a:gd name="connsiteX34" fmla="*/ 37814 w 75152"/>
                <a:gd name="connsiteY34" fmla="*/ 43815 h 88582"/>
                <a:gd name="connsiteX35" fmla="*/ 19431 w 75152"/>
                <a:gd name="connsiteY35" fmla="*/ 48482 h 88582"/>
                <a:gd name="connsiteX36" fmla="*/ 12954 w 75152"/>
                <a:gd name="connsiteY36" fmla="*/ 60865 h 88582"/>
                <a:gd name="connsiteX37" fmla="*/ 12954 w 75152"/>
                <a:gd name="connsiteY37" fmla="*/ 61246 h 88582"/>
                <a:gd name="connsiteX38" fmla="*/ 14669 w 75152"/>
                <a:gd name="connsiteY38" fmla="*/ 68390 h 88582"/>
                <a:gd name="connsiteX39" fmla="*/ 19336 w 75152"/>
                <a:gd name="connsiteY39" fmla="*/ 73724 h 88582"/>
                <a:gd name="connsiteX40" fmla="*/ 26194 w 75152"/>
                <a:gd name="connsiteY40" fmla="*/ 76962 h 88582"/>
                <a:gd name="connsiteX41" fmla="*/ 34385 w 75152"/>
                <a:gd name="connsiteY41" fmla="*/ 78105 h 8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5152" h="88582">
                  <a:moveTo>
                    <a:pt x="31814" y="88487"/>
                  </a:moveTo>
                  <a:cubicBezTo>
                    <a:pt x="27813" y="88487"/>
                    <a:pt x="23908" y="87916"/>
                    <a:pt x="20098" y="86868"/>
                  </a:cubicBezTo>
                  <a:cubicBezTo>
                    <a:pt x="16288" y="85820"/>
                    <a:pt x="12859" y="84106"/>
                    <a:pt x="9906" y="81820"/>
                  </a:cubicBezTo>
                  <a:cubicBezTo>
                    <a:pt x="6953" y="79534"/>
                    <a:pt x="4572" y="76771"/>
                    <a:pt x="2762" y="73438"/>
                  </a:cubicBezTo>
                  <a:cubicBezTo>
                    <a:pt x="952" y="70104"/>
                    <a:pt x="0" y="66294"/>
                    <a:pt x="0" y="61913"/>
                  </a:cubicBezTo>
                  <a:lnTo>
                    <a:pt x="0" y="61532"/>
                  </a:lnTo>
                  <a:cubicBezTo>
                    <a:pt x="0" y="56864"/>
                    <a:pt x="857" y="52864"/>
                    <a:pt x="2667" y="49435"/>
                  </a:cubicBezTo>
                  <a:cubicBezTo>
                    <a:pt x="4477" y="46006"/>
                    <a:pt x="6953" y="43053"/>
                    <a:pt x="10192" y="40767"/>
                  </a:cubicBezTo>
                  <a:cubicBezTo>
                    <a:pt x="13430" y="38481"/>
                    <a:pt x="17335" y="36671"/>
                    <a:pt x="21717" y="35528"/>
                  </a:cubicBezTo>
                  <a:cubicBezTo>
                    <a:pt x="26099" y="34385"/>
                    <a:pt x="31147" y="33719"/>
                    <a:pt x="36481" y="33719"/>
                  </a:cubicBezTo>
                  <a:cubicBezTo>
                    <a:pt x="41815" y="33719"/>
                    <a:pt x="46768" y="34004"/>
                    <a:pt x="50768" y="34671"/>
                  </a:cubicBezTo>
                  <a:cubicBezTo>
                    <a:pt x="54769" y="35338"/>
                    <a:pt x="58674" y="36195"/>
                    <a:pt x="62579" y="37338"/>
                  </a:cubicBezTo>
                  <a:lnTo>
                    <a:pt x="62579" y="34671"/>
                  </a:lnTo>
                  <a:cubicBezTo>
                    <a:pt x="62579" y="27146"/>
                    <a:pt x="60389" y="21431"/>
                    <a:pt x="56007" y="17526"/>
                  </a:cubicBezTo>
                  <a:cubicBezTo>
                    <a:pt x="51626" y="13621"/>
                    <a:pt x="45339" y="11716"/>
                    <a:pt x="37338" y="11716"/>
                  </a:cubicBezTo>
                  <a:cubicBezTo>
                    <a:pt x="32290" y="11716"/>
                    <a:pt x="27718" y="12287"/>
                    <a:pt x="23527" y="13335"/>
                  </a:cubicBezTo>
                  <a:cubicBezTo>
                    <a:pt x="19431" y="14478"/>
                    <a:pt x="15335" y="15907"/>
                    <a:pt x="11430" y="17812"/>
                  </a:cubicBezTo>
                  <a:lnTo>
                    <a:pt x="7620" y="7334"/>
                  </a:lnTo>
                  <a:cubicBezTo>
                    <a:pt x="12383" y="5144"/>
                    <a:pt x="17145" y="3334"/>
                    <a:pt x="22003" y="2000"/>
                  </a:cubicBezTo>
                  <a:cubicBezTo>
                    <a:pt x="26860" y="667"/>
                    <a:pt x="32385" y="0"/>
                    <a:pt x="38672" y="0"/>
                  </a:cubicBezTo>
                  <a:cubicBezTo>
                    <a:pt x="50768" y="0"/>
                    <a:pt x="60007" y="3143"/>
                    <a:pt x="66199" y="9430"/>
                  </a:cubicBezTo>
                  <a:cubicBezTo>
                    <a:pt x="72104" y="15335"/>
                    <a:pt x="75152" y="23717"/>
                    <a:pt x="75152" y="34481"/>
                  </a:cubicBezTo>
                  <a:lnTo>
                    <a:pt x="75152" y="86678"/>
                  </a:lnTo>
                  <a:lnTo>
                    <a:pt x="62579" y="86678"/>
                  </a:lnTo>
                  <a:lnTo>
                    <a:pt x="62579" y="74009"/>
                  </a:lnTo>
                  <a:cubicBezTo>
                    <a:pt x="59627" y="77819"/>
                    <a:pt x="55626" y="81248"/>
                    <a:pt x="50578" y="84201"/>
                  </a:cubicBezTo>
                  <a:cubicBezTo>
                    <a:pt x="45530" y="87154"/>
                    <a:pt x="39338" y="88583"/>
                    <a:pt x="31814" y="88583"/>
                  </a:cubicBezTo>
                  <a:close/>
                  <a:moveTo>
                    <a:pt x="34385" y="78105"/>
                  </a:moveTo>
                  <a:cubicBezTo>
                    <a:pt x="38290" y="78105"/>
                    <a:pt x="42005" y="77533"/>
                    <a:pt x="45434" y="76486"/>
                  </a:cubicBezTo>
                  <a:cubicBezTo>
                    <a:pt x="48863" y="75343"/>
                    <a:pt x="51816" y="73819"/>
                    <a:pt x="54388" y="71819"/>
                  </a:cubicBezTo>
                  <a:cubicBezTo>
                    <a:pt x="56960" y="69818"/>
                    <a:pt x="58960" y="67342"/>
                    <a:pt x="60484" y="64579"/>
                  </a:cubicBezTo>
                  <a:cubicBezTo>
                    <a:pt x="62008" y="61817"/>
                    <a:pt x="62675" y="58674"/>
                    <a:pt x="62675" y="55340"/>
                  </a:cubicBezTo>
                  <a:lnTo>
                    <a:pt x="62675" y="47435"/>
                  </a:lnTo>
                  <a:cubicBezTo>
                    <a:pt x="59531" y="46577"/>
                    <a:pt x="55912" y="45720"/>
                    <a:pt x="51816" y="44958"/>
                  </a:cubicBezTo>
                  <a:cubicBezTo>
                    <a:pt x="47720" y="44196"/>
                    <a:pt x="43053" y="43815"/>
                    <a:pt x="37814" y="43815"/>
                  </a:cubicBezTo>
                  <a:cubicBezTo>
                    <a:pt x="29908" y="43815"/>
                    <a:pt x="23813" y="45339"/>
                    <a:pt x="19431" y="48482"/>
                  </a:cubicBezTo>
                  <a:cubicBezTo>
                    <a:pt x="15050" y="51625"/>
                    <a:pt x="12954" y="55721"/>
                    <a:pt x="12954" y="60865"/>
                  </a:cubicBezTo>
                  <a:lnTo>
                    <a:pt x="12954" y="61246"/>
                  </a:lnTo>
                  <a:cubicBezTo>
                    <a:pt x="12954" y="63913"/>
                    <a:pt x="13526" y="66294"/>
                    <a:pt x="14669" y="68390"/>
                  </a:cubicBezTo>
                  <a:cubicBezTo>
                    <a:pt x="15812" y="70485"/>
                    <a:pt x="17335" y="72295"/>
                    <a:pt x="19336" y="73724"/>
                  </a:cubicBezTo>
                  <a:cubicBezTo>
                    <a:pt x="21336" y="75152"/>
                    <a:pt x="23622" y="76200"/>
                    <a:pt x="26194" y="76962"/>
                  </a:cubicBezTo>
                  <a:cubicBezTo>
                    <a:pt x="28766" y="77724"/>
                    <a:pt x="31528" y="78105"/>
                    <a:pt x="34385" y="78105"/>
                  </a:cubicBezTo>
                  <a:close/>
                </a:path>
              </a:pathLst>
            </a:custGeom>
            <a:solidFill>
              <a:srgbClr val="43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 name="Freeform: Shape 88">
              <a:extLst>
                <a:ext uri="{FF2B5EF4-FFF2-40B4-BE49-F238E27FC236}">
                  <a16:creationId xmlns:a16="http://schemas.microsoft.com/office/drawing/2014/main" id="{E6564B19-B5F3-CC73-1FB0-EFE0B73D1FAC}"/>
                </a:ext>
              </a:extLst>
            </p:cNvPr>
            <p:cNvSpPr/>
            <p:nvPr/>
          </p:nvSpPr>
          <p:spPr>
            <a:xfrm>
              <a:off x="2219102" y="4523454"/>
              <a:ext cx="12668" cy="120491"/>
            </a:xfrm>
            <a:custGeom>
              <a:avLst/>
              <a:gdLst>
                <a:gd name="connsiteX0" fmla="*/ 0 w 12668"/>
                <a:gd name="connsiteY0" fmla="*/ 0 h 120491"/>
                <a:gd name="connsiteX1" fmla="*/ 12668 w 12668"/>
                <a:gd name="connsiteY1" fmla="*/ 0 h 120491"/>
                <a:gd name="connsiteX2" fmla="*/ 12668 w 12668"/>
                <a:gd name="connsiteY2" fmla="*/ 120491 h 120491"/>
                <a:gd name="connsiteX3" fmla="*/ 0 w 12668"/>
                <a:gd name="connsiteY3" fmla="*/ 120491 h 120491"/>
                <a:gd name="connsiteX4" fmla="*/ 0 w 12668"/>
                <a:gd name="connsiteY4" fmla="*/ 0 h 120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68" h="120491">
                  <a:moveTo>
                    <a:pt x="0" y="0"/>
                  </a:moveTo>
                  <a:lnTo>
                    <a:pt x="12668" y="0"/>
                  </a:lnTo>
                  <a:lnTo>
                    <a:pt x="12668" y="120491"/>
                  </a:lnTo>
                  <a:lnTo>
                    <a:pt x="0" y="120491"/>
                  </a:lnTo>
                  <a:lnTo>
                    <a:pt x="0" y="0"/>
                  </a:lnTo>
                  <a:close/>
                </a:path>
              </a:pathLst>
            </a:custGeom>
            <a:solidFill>
              <a:srgbClr val="43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Freeform: Shape 89">
              <a:extLst>
                <a:ext uri="{FF2B5EF4-FFF2-40B4-BE49-F238E27FC236}">
                  <a16:creationId xmlns:a16="http://schemas.microsoft.com/office/drawing/2014/main" id="{D53810C7-0814-53AB-78E8-F29294033546}"/>
                </a:ext>
              </a:extLst>
            </p:cNvPr>
            <p:cNvSpPr/>
            <p:nvPr/>
          </p:nvSpPr>
          <p:spPr>
            <a:xfrm>
              <a:off x="2252916" y="4558601"/>
              <a:ext cx="85344" cy="86010"/>
            </a:xfrm>
            <a:custGeom>
              <a:avLst/>
              <a:gdLst>
                <a:gd name="connsiteX0" fmla="*/ 95 w 85344"/>
                <a:gd name="connsiteY0" fmla="*/ 0 h 86010"/>
                <a:gd name="connsiteX1" fmla="*/ 14097 w 85344"/>
                <a:gd name="connsiteY1" fmla="*/ 0 h 86010"/>
                <a:gd name="connsiteX2" fmla="*/ 42767 w 85344"/>
                <a:gd name="connsiteY2" fmla="*/ 70771 h 86010"/>
                <a:gd name="connsiteX3" fmla="*/ 71628 w 85344"/>
                <a:gd name="connsiteY3" fmla="*/ 0 h 86010"/>
                <a:gd name="connsiteX4" fmla="*/ 85344 w 85344"/>
                <a:gd name="connsiteY4" fmla="*/ 0 h 86010"/>
                <a:gd name="connsiteX5" fmla="*/ 48196 w 85344"/>
                <a:gd name="connsiteY5" fmla="*/ 86011 h 86010"/>
                <a:gd name="connsiteX6" fmla="*/ 36957 w 85344"/>
                <a:gd name="connsiteY6" fmla="*/ 86011 h 86010"/>
                <a:gd name="connsiteX7" fmla="*/ 0 w 85344"/>
                <a:gd name="connsiteY7" fmla="*/ 0 h 86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344" h="86010">
                  <a:moveTo>
                    <a:pt x="95" y="0"/>
                  </a:moveTo>
                  <a:lnTo>
                    <a:pt x="14097" y="0"/>
                  </a:lnTo>
                  <a:lnTo>
                    <a:pt x="42767" y="70771"/>
                  </a:lnTo>
                  <a:lnTo>
                    <a:pt x="71628" y="0"/>
                  </a:lnTo>
                  <a:lnTo>
                    <a:pt x="85344" y="0"/>
                  </a:lnTo>
                  <a:lnTo>
                    <a:pt x="48196" y="86011"/>
                  </a:lnTo>
                  <a:lnTo>
                    <a:pt x="36957" y="86011"/>
                  </a:lnTo>
                  <a:lnTo>
                    <a:pt x="0" y="0"/>
                  </a:lnTo>
                  <a:close/>
                </a:path>
              </a:pathLst>
            </a:custGeom>
            <a:solidFill>
              <a:srgbClr val="43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 name="Freeform: Shape 90">
              <a:extLst>
                <a:ext uri="{FF2B5EF4-FFF2-40B4-BE49-F238E27FC236}">
                  <a16:creationId xmlns:a16="http://schemas.microsoft.com/office/drawing/2014/main" id="{A7050336-C985-4531-8C82-BEED677D0543}"/>
                </a:ext>
              </a:extLst>
            </p:cNvPr>
            <p:cNvSpPr/>
            <p:nvPr/>
          </p:nvSpPr>
          <p:spPr>
            <a:xfrm>
              <a:off x="2351881" y="4557267"/>
              <a:ext cx="75152" cy="88582"/>
            </a:xfrm>
            <a:custGeom>
              <a:avLst/>
              <a:gdLst>
                <a:gd name="connsiteX0" fmla="*/ 31813 w 75152"/>
                <a:gd name="connsiteY0" fmla="*/ 88487 h 88582"/>
                <a:gd name="connsiteX1" fmla="*/ 20098 w 75152"/>
                <a:gd name="connsiteY1" fmla="*/ 86868 h 88582"/>
                <a:gd name="connsiteX2" fmla="*/ 9906 w 75152"/>
                <a:gd name="connsiteY2" fmla="*/ 81820 h 88582"/>
                <a:gd name="connsiteX3" fmla="*/ 2762 w 75152"/>
                <a:gd name="connsiteY3" fmla="*/ 73438 h 88582"/>
                <a:gd name="connsiteX4" fmla="*/ 0 w 75152"/>
                <a:gd name="connsiteY4" fmla="*/ 61913 h 88582"/>
                <a:gd name="connsiteX5" fmla="*/ 0 w 75152"/>
                <a:gd name="connsiteY5" fmla="*/ 61532 h 88582"/>
                <a:gd name="connsiteX6" fmla="*/ 2667 w 75152"/>
                <a:gd name="connsiteY6" fmla="*/ 49435 h 88582"/>
                <a:gd name="connsiteX7" fmla="*/ 10192 w 75152"/>
                <a:gd name="connsiteY7" fmla="*/ 40767 h 88582"/>
                <a:gd name="connsiteX8" fmla="*/ 21717 w 75152"/>
                <a:gd name="connsiteY8" fmla="*/ 35528 h 88582"/>
                <a:gd name="connsiteX9" fmla="*/ 36481 w 75152"/>
                <a:gd name="connsiteY9" fmla="*/ 33719 h 88582"/>
                <a:gd name="connsiteX10" fmla="*/ 50768 w 75152"/>
                <a:gd name="connsiteY10" fmla="*/ 34671 h 88582"/>
                <a:gd name="connsiteX11" fmla="*/ 62579 w 75152"/>
                <a:gd name="connsiteY11" fmla="*/ 37338 h 88582"/>
                <a:gd name="connsiteX12" fmla="*/ 62579 w 75152"/>
                <a:gd name="connsiteY12" fmla="*/ 34671 h 88582"/>
                <a:gd name="connsiteX13" fmla="*/ 56007 w 75152"/>
                <a:gd name="connsiteY13" fmla="*/ 17526 h 88582"/>
                <a:gd name="connsiteX14" fmla="*/ 37338 w 75152"/>
                <a:gd name="connsiteY14" fmla="*/ 11716 h 88582"/>
                <a:gd name="connsiteX15" fmla="*/ 23527 w 75152"/>
                <a:gd name="connsiteY15" fmla="*/ 13335 h 88582"/>
                <a:gd name="connsiteX16" fmla="*/ 11430 w 75152"/>
                <a:gd name="connsiteY16" fmla="*/ 17812 h 88582"/>
                <a:gd name="connsiteX17" fmla="*/ 7620 w 75152"/>
                <a:gd name="connsiteY17" fmla="*/ 7334 h 88582"/>
                <a:gd name="connsiteX18" fmla="*/ 22003 w 75152"/>
                <a:gd name="connsiteY18" fmla="*/ 2000 h 88582"/>
                <a:gd name="connsiteX19" fmla="*/ 38671 w 75152"/>
                <a:gd name="connsiteY19" fmla="*/ 0 h 88582"/>
                <a:gd name="connsiteX20" fmla="*/ 66199 w 75152"/>
                <a:gd name="connsiteY20" fmla="*/ 9430 h 88582"/>
                <a:gd name="connsiteX21" fmla="*/ 75152 w 75152"/>
                <a:gd name="connsiteY21" fmla="*/ 34481 h 88582"/>
                <a:gd name="connsiteX22" fmla="*/ 75152 w 75152"/>
                <a:gd name="connsiteY22" fmla="*/ 86678 h 88582"/>
                <a:gd name="connsiteX23" fmla="*/ 62579 w 75152"/>
                <a:gd name="connsiteY23" fmla="*/ 86678 h 88582"/>
                <a:gd name="connsiteX24" fmla="*/ 62579 w 75152"/>
                <a:gd name="connsiteY24" fmla="*/ 74009 h 88582"/>
                <a:gd name="connsiteX25" fmla="*/ 50578 w 75152"/>
                <a:gd name="connsiteY25" fmla="*/ 84201 h 88582"/>
                <a:gd name="connsiteX26" fmla="*/ 31813 w 75152"/>
                <a:gd name="connsiteY26" fmla="*/ 88583 h 88582"/>
                <a:gd name="connsiteX27" fmla="*/ 34385 w 75152"/>
                <a:gd name="connsiteY27" fmla="*/ 78105 h 88582"/>
                <a:gd name="connsiteX28" fmla="*/ 45434 w 75152"/>
                <a:gd name="connsiteY28" fmla="*/ 76486 h 88582"/>
                <a:gd name="connsiteX29" fmla="*/ 54388 w 75152"/>
                <a:gd name="connsiteY29" fmla="*/ 71819 h 88582"/>
                <a:gd name="connsiteX30" fmla="*/ 60484 w 75152"/>
                <a:gd name="connsiteY30" fmla="*/ 64579 h 88582"/>
                <a:gd name="connsiteX31" fmla="*/ 62675 w 75152"/>
                <a:gd name="connsiteY31" fmla="*/ 55340 h 88582"/>
                <a:gd name="connsiteX32" fmla="*/ 62675 w 75152"/>
                <a:gd name="connsiteY32" fmla="*/ 47435 h 88582"/>
                <a:gd name="connsiteX33" fmla="*/ 51816 w 75152"/>
                <a:gd name="connsiteY33" fmla="*/ 44958 h 88582"/>
                <a:gd name="connsiteX34" fmla="*/ 37814 w 75152"/>
                <a:gd name="connsiteY34" fmla="*/ 43815 h 88582"/>
                <a:gd name="connsiteX35" fmla="*/ 19431 w 75152"/>
                <a:gd name="connsiteY35" fmla="*/ 48482 h 88582"/>
                <a:gd name="connsiteX36" fmla="*/ 12954 w 75152"/>
                <a:gd name="connsiteY36" fmla="*/ 60865 h 88582"/>
                <a:gd name="connsiteX37" fmla="*/ 12954 w 75152"/>
                <a:gd name="connsiteY37" fmla="*/ 61246 h 88582"/>
                <a:gd name="connsiteX38" fmla="*/ 14668 w 75152"/>
                <a:gd name="connsiteY38" fmla="*/ 68390 h 88582"/>
                <a:gd name="connsiteX39" fmla="*/ 19336 w 75152"/>
                <a:gd name="connsiteY39" fmla="*/ 73724 h 88582"/>
                <a:gd name="connsiteX40" fmla="*/ 26194 w 75152"/>
                <a:gd name="connsiteY40" fmla="*/ 76962 h 88582"/>
                <a:gd name="connsiteX41" fmla="*/ 34290 w 75152"/>
                <a:gd name="connsiteY41" fmla="*/ 78105 h 8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5152" h="88582">
                  <a:moveTo>
                    <a:pt x="31813" y="88487"/>
                  </a:moveTo>
                  <a:cubicBezTo>
                    <a:pt x="27813" y="88487"/>
                    <a:pt x="23908" y="87916"/>
                    <a:pt x="20098" y="86868"/>
                  </a:cubicBezTo>
                  <a:cubicBezTo>
                    <a:pt x="16288" y="85820"/>
                    <a:pt x="12859" y="84106"/>
                    <a:pt x="9906" y="81820"/>
                  </a:cubicBezTo>
                  <a:cubicBezTo>
                    <a:pt x="6953" y="79534"/>
                    <a:pt x="4572" y="76771"/>
                    <a:pt x="2762" y="73438"/>
                  </a:cubicBezTo>
                  <a:cubicBezTo>
                    <a:pt x="953" y="70104"/>
                    <a:pt x="0" y="66294"/>
                    <a:pt x="0" y="61913"/>
                  </a:cubicBezTo>
                  <a:lnTo>
                    <a:pt x="0" y="61532"/>
                  </a:lnTo>
                  <a:cubicBezTo>
                    <a:pt x="0" y="56864"/>
                    <a:pt x="857" y="52864"/>
                    <a:pt x="2667" y="49435"/>
                  </a:cubicBezTo>
                  <a:cubicBezTo>
                    <a:pt x="4382" y="46006"/>
                    <a:pt x="6953" y="43053"/>
                    <a:pt x="10192" y="40767"/>
                  </a:cubicBezTo>
                  <a:cubicBezTo>
                    <a:pt x="13430" y="38481"/>
                    <a:pt x="17336" y="36671"/>
                    <a:pt x="21717" y="35528"/>
                  </a:cubicBezTo>
                  <a:cubicBezTo>
                    <a:pt x="26099" y="34385"/>
                    <a:pt x="31051" y="33719"/>
                    <a:pt x="36481" y="33719"/>
                  </a:cubicBezTo>
                  <a:cubicBezTo>
                    <a:pt x="41910" y="33719"/>
                    <a:pt x="46768" y="34004"/>
                    <a:pt x="50768" y="34671"/>
                  </a:cubicBezTo>
                  <a:cubicBezTo>
                    <a:pt x="54769" y="35338"/>
                    <a:pt x="58674" y="36195"/>
                    <a:pt x="62579" y="37338"/>
                  </a:cubicBezTo>
                  <a:lnTo>
                    <a:pt x="62579" y="34671"/>
                  </a:lnTo>
                  <a:cubicBezTo>
                    <a:pt x="62579" y="27146"/>
                    <a:pt x="60388" y="21431"/>
                    <a:pt x="56007" y="17526"/>
                  </a:cubicBezTo>
                  <a:cubicBezTo>
                    <a:pt x="51625" y="13621"/>
                    <a:pt x="45434" y="11716"/>
                    <a:pt x="37338" y="11716"/>
                  </a:cubicBezTo>
                  <a:cubicBezTo>
                    <a:pt x="32290" y="11716"/>
                    <a:pt x="27718" y="12287"/>
                    <a:pt x="23527" y="13335"/>
                  </a:cubicBezTo>
                  <a:cubicBezTo>
                    <a:pt x="19431" y="14478"/>
                    <a:pt x="15335" y="15907"/>
                    <a:pt x="11430" y="17812"/>
                  </a:cubicBezTo>
                  <a:lnTo>
                    <a:pt x="7620" y="7334"/>
                  </a:lnTo>
                  <a:cubicBezTo>
                    <a:pt x="12383" y="5144"/>
                    <a:pt x="17145" y="3334"/>
                    <a:pt x="22003" y="2000"/>
                  </a:cubicBezTo>
                  <a:cubicBezTo>
                    <a:pt x="26861" y="667"/>
                    <a:pt x="32385" y="0"/>
                    <a:pt x="38671" y="0"/>
                  </a:cubicBezTo>
                  <a:cubicBezTo>
                    <a:pt x="50768" y="0"/>
                    <a:pt x="60008" y="3143"/>
                    <a:pt x="66199" y="9430"/>
                  </a:cubicBezTo>
                  <a:cubicBezTo>
                    <a:pt x="72104" y="15335"/>
                    <a:pt x="75152" y="23717"/>
                    <a:pt x="75152" y="34481"/>
                  </a:cubicBezTo>
                  <a:lnTo>
                    <a:pt x="75152" y="86678"/>
                  </a:lnTo>
                  <a:lnTo>
                    <a:pt x="62579" y="86678"/>
                  </a:lnTo>
                  <a:lnTo>
                    <a:pt x="62579" y="74009"/>
                  </a:lnTo>
                  <a:cubicBezTo>
                    <a:pt x="59626" y="77819"/>
                    <a:pt x="55626" y="81248"/>
                    <a:pt x="50578" y="84201"/>
                  </a:cubicBezTo>
                  <a:cubicBezTo>
                    <a:pt x="45529" y="87154"/>
                    <a:pt x="39338" y="88583"/>
                    <a:pt x="31813" y="88583"/>
                  </a:cubicBezTo>
                  <a:close/>
                  <a:moveTo>
                    <a:pt x="34385" y="78105"/>
                  </a:moveTo>
                  <a:cubicBezTo>
                    <a:pt x="38386" y="78105"/>
                    <a:pt x="42005" y="77533"/>
                    <a:pt x="45434" y="76486"/>
                  </a:cubicBezTo>
                  <a:cubicBezTo>
                    <a:pt x="48863" y="75438"/>
                    <a:pt x="51816" y="73819"/>
                    <a:pt x="54388" y="71819"/>
                  </a:cubicBezTo>
                  <a:cubicBezTo>
                    <a:pt x="56959" y="69818"/>
                    <a:pt x="58960" y="67342"/>
                    <a:pt x="60484" y="64579"/>
                  </a:cubicBezTo>
                  <a:cubicBezTo>
                    <a:pt x="62008" y="61817"/>
                    <a:pt x="62675" y="58674"/>
                    <a:pt x="62675" y="55340"/>
                  </a:cubicBezTo>
                  <a:lnTo>
                    <a:pt x="62675" y="47435"/>
                  </a:lnTo>
                  <a:cubicBezTo>
                    <a:pt x="59531" y="46577"/>
                    <a:pt x="55912" y="45720"/>
                    <a:pt x="51816" y="44958"/>
                  </a:cubicBezTo>
                  <a:cubicBezTo>
                    <a:pt x="47720" y="44196"/>
                    <a:pt x="43053" y="43815"/>
                    <a:pt x="37814" y="43815"/>
                  </a:cubicBezTo>
                  <a:cubicBezTo>
                    <a:pt x="29908" y="43815"/>
                    <a:pt x="23813" y="45339"/>
                    <a:pt x="19431" y="48482"/>
                  </a:cubicBezTo>
                  <a:cubicBezTo>
                    <a:pt x="15050" y="51625"/>
                    <a:pt x="12954" y="55721"/>
                    <a:pt x="12954" y="60865"/>
                  </a:cubicBezTo>
                  <a:lnTo>
                    <a:pt x="12954" y="61246"/>
                  </a:lnTo>
                  <a:cubicBezTo>
                    <a:pt x="12954" y="63913"/>
                    <a:pt x="13525" y="66294"/>
                    <a:pt x="14668" y="68390"/>
                  </a:cubicBezTo>
                  <a:cubicBezTo>
                    <a:pt x="15812" y="70485"/>
                    <a:pt x="17431" y="72295"/>
                    <a:pt x="19336" y="73724"/>
                  </a:cubicBezTo>
                  <a:cubicBezTo>
                    <a:pt x="21241" y="75152"/>
                    <a:pt x="23622" y="76200"/>
                    <a:pt x="26194" y="76962"/>
                  </a:cubicBezTo>
                  <a:cubicBezTo>
                    <a:pt x="28766" y="77724"/>
                    <a:pt x="31433" y="78105"/>
                    <a:pt x="34290" y="78105"/>
                  </a:cubicBezTo>
                  <a:close/>
                </a:path>
              </a:pathLst>
            </a:custGeom>
            <a:solidFill>
              <a:srgbClr val="43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 name="Freeform: Shape 91">
              <a:extLst>
                <a:ext uri="{FF2B5EF4-FFF2-40B4-BE49-F238E27FC236}">
                  <a16:creationId xmlns:a16="http://schemas.microsoft.com/office/drawing/2014/main" id="{23724DDC-C748-3F8E-F244-EBAAC100B9E8}"/>
                </a:ext>
              </a:extLst>
            </p:cNvPr>
            <p:cNvSpPr/>
            <p:nvPr/>
          </p:nvSpPr>
          <p:spPr>
            <a:xfrm>
              <a:off x="2453417" y="4556791"/>
              <a:ext cx="129539" cy="87058"/>
            </a:xfrm>
            <a:custGeom>
              <a:avLst/>
              <a:gdLst>
                <a:gd name="connsiteX0" fmla="*/ 381 w 129539"/>
                <a:gd name="connsiteY0" fmla="*/ 1810 h 87058"/>
                <a:gd name="connsiteX1" fmla="*/ 13049 w 129539"/>
                <a:gd name="connsiteY1" fmla="*/ 1810 h 87058"/>
                <a:gd name="connsiteX2" fmla="*/ 13049 w 129539"/>
                <a:gd name="connsiteY2" fmla="*/ 16192 h 87058"/>
                <a:gd name="connsiteX3" fmla="*/ 17717 w 129539"/>
                <a:gd name="connsiteY3" fmla="*/ 10096 h 87058"/>
                <a:gd name="connsiteX4" fmla="*/ 23622 w 129539"/>
                <a:gd name="connsiteY4" fmla="*/ 4858 h 87058"/>
                <a:gd name="connsiteX5" fmla="*/ 31051 w 129539"/>
                <a:gd name="connsiteY5" fmla="*/ 1333 h 87058"/>
                <a:gd name="connsiteX6" fmla="*/ 40576 w 129539"/>
                <a:gd name="connsiteY6" fmla="*/ 0 h 87058"/>
                <a:gd name="connsiteX7" fmla="*/ 57721 w 129539"/>
                <a:gd name="connsiteY7" fmla="*/ 4858 h 87058"/>
                <a:gd name="connsiteX8" fmla="*/ 67913 w 129539"/>
                <a:gd name="connsiteY8" fmla="*/ 16954 h 87058"/>
                <a:gd name="connsiteX9" fmla="*/ 73057 w 129539"/>
                <a:gd name="connsiteY9" fmla="*/ 10382 h 87058"/>
                <a:gd name="connsiteX10" fmla="*/ 79534 w 129539"/>
                <a:gd name="connsiteY10" fmla="*/ 4953 h 87058"/>
                <a:gd name="connsiteX11" fmla="*/ 87725 w 129539"/>
                <a:gd name="connsiteY11" fmla="*/ 1333 h 87058"/>
                <a:gd name="connsiteX12" fmla="*/ 97917 w 129539"/>
                <a:gd name="connsiteY12" fmla="*/ 0 h 87058"/>
                <a:gd name="connsiteX13" fmla="*/ 121158 w 129539"/>
                <a:gd name="connsiteY13" fmla="*/ 9144 h 87058"/>
                <a:gd name="connsiteX14" fmla="*/ 129540 w 129539"/>
                <a:gd name="connsiteY14" fmla="*/ 34290 h 87058"/>
                <a:gd name="connsiteX15" fmla="*/ 129540 w 129539"/>
                <a:gd name="connsiteY15" fmla="*/ 87058 h 87058"/>
                <a:gd name="connsiteX16" fmla="*/ 116872 w 129539"/>
                <a:gd name="connsiteY16" fmla="*/ 87058 h 87058"/>
                <a:gd name="connsiteX17" fmla="*/ 116872 w 129539"/>
                <a:gd name="connsiteY17" fmla="*/ 37338 h 87058"/>
                <a:gd name="connsiteX18" fmla="*/ 110966 w 129539"/>
                <a:gd name="connsiteY18" fmla="*/ 18288 h 87058"/>
                <a:gd name="connsiteX19" fmla="*/ 94679 w 129539"/>
                <a:gd name="connsiteY19" fmla="*/ 11620 h 87058"/>
                <a:gd name="connsiteX20" fmla="*/ 85630 w 129539"/>
                <a:gd name="connsiteY20" fmla="*/ 13335 h 87058"/>
                <a:gd name="connsiteX21" fmla="*/ 78105 w 129539"/>
                <a:gd name="connsiteY21" fmla="*/ 18478 h 87058"/>
                <a:gd name="connsiteX22" fmla="*/ 72962 w 129539"/>
                <a:gd name="connsiteY22" fmla="*/ 26765 h 87058"/>
                <a:gd name="connsiteX23" fmla="*/ 71056 w 129539"/>
                <a:gd name="connsiteY23" fmla="*/ 38005 h 87058"/>
                <a:gd name="connsiteX24" fmla="*/ 71056 w 129539"/>
                <a:gd name="connsiteY24" fmla="*/ 87058 h 87058"/>
                <a:gd name="connsiteX25" fmla="*/ 58483 w 129539"/>
                <a:gd name="connsiteY25" fmla="*/ 87058 h 87058"/>
                <a:gd name="connsiteX26" fmla="*/ 58483 w 129539"/>
                <a:gd name="connsiteY26" fmla="*/ 36957 h 87058"/>
                <a:gd name="connsiteX27" fmla="*/ 52578 w 129539"/>
                <a:gd name="connsiteY27" fmla="*/ 18288 h 87058"/>
                <a:gd name="connsiteX28" fmla="*/ 36481 w 129539"/>
                <a:gd name="connsiteY28" fmla="*/ 11620 h 87058"/>
                <a:gd name="connsiteX29" fmla="*/ 27051 w 129539"/>
                <a:gd name="connsiteY29" fmla="*/ 13621 h 87058"/>
                <a:gd name="connsiteX30" fmla="*/ 19526 w 129539"/>
                <a:gd name="connsiteY30" fmla="*/ 19240 h 87058"/>
                <a:gd name="connsiteX31" fmla="*/ 14478 w 129539"/>
                <a:gd name="connsiteY31" fmla="*/ 27718 h 87058"/>
                <a:gd name="connsiteX32" fmla="*/ 12668 w 129539"/>
                <a:gd name="connsiteY32" fmla="*/ 38481 h 87058"/>
                <a:gd name="connsiteX33" fmla="*/ 12668 w 129539"/>
                <a:gd name="connsiteY33" fmla="*/ 87058 h 87058"/>
                <a:gd name="connsiteX34" fmla="*/ 0 w 129539"/>
                <a:gd name="connsiteY34" fmla="*/ 87058 h 87058"/>
                <a:gd name="connsiteX35" fmla="*/ 0 w 129539"/>
                <a:gd name="connsiteY35" fmla="*/ 1714 h 87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9539" h="87058">
                  <a:moveTo>
                    <a:pt x="381" y="1810"/>
                  </a:moveTo>
                  <a:lnTo>
                    <a:pt x="13049" y="1810"/>
                  </a:lnTo>
                  <a:lnTo>
                    <a:pt x="13049" y="16192"/>
                  </a:lnTo>
                  <a:cubicBezTo>
                    <a:pt x="14478" y="14097"/>
                    <a:pt x="16002" y="12097"/>
                    <a:pt x="17717" y="10096"/>
                  </a:cubicBezTo>
                  <a:cubicBezTo>
                    <a:pt x="19431" y="8096"/>
                    <a:pt x="21336" y="6382"/>
                    <a:pt x="23622" y="4858"/>
                  </a:cubicBezTo>
                  <a:cubicBezTo>
                    <a:pt x="25813" y="3334"/>
                    <a:pt x="28289" y="2191"/>
                    <a:pt x="31051" y="1333"/>
                  </a:cubicBezTo>
                  <a:cubicBezTo>
                    <a:pt x="33814" y="476"/>
                    <a:pt x="36957" y="0"/>
                    <a:pt x="40576" y="0"/>
                  </a:cubicBezTo>
                  <a:cubicBezTo>
                    <a:pt x="47530" y="0"/>
                    <a:pt x="53245" y="1619"/>
                    <a:pt x="57721" y="4858"/>
                  </a:cubicBezTo>
                  <a:cubicBezTo>
                    <a:pt x="62198" y="8096"/>
                    <a:pt x="65627" y="12192"/>
                    <a:pt x="67913" y="16954"/>
                  </a:cubicBezTo>
                  <a:cubicBezTo>
                    <a:pt x="69437" y="14668"/>
                    <a:pt x="71152" y="12478"/>
                    <a:pt x="73057" y="10382"/>
                  </a:cubicBezTo>
                  <a:cubicBezTo>
                    <a:pt x="74962" y="8287"/>
                    <a:pt x="77152" y="6477"/>
                    <a:pt x="79534" y="4953"/>
                  </a:cubicBezTo>
                  <a:cubicBezTo>
                    <a:pt x="81915" y="3429"/>
                    <a:pt x="84677" y="2191"/>
                    <a:pt x="87725" y="1333"/>
                  </a:cubicBezTo>
                  <a:cubicBezTo>
                    <a:pt x="90773" y="476"/>
                    <a:pt x="94107" y="0"/>
                    <a:pt x="97917" y="0"/>
                  </a:cubicBezTo>
                  <a:cubicBezTo>
                    <a:pt x="107823" y="0"/>
                    <a:pt x="115538" y="3048"/>
                    <a:pt x="121158" y="9144"/>
                  </a:cubicBezTo>
                  <a:cubicBezTo>
                    <a:pt x="126778" y="15240"/>
                    <a:pt x="129540" y="23622"/>
                    <a:pt x="129540" y="34290"/>
                  </a:cubicBezTo>
                  <a:lnTo>
                    <a:pt x="129540" y="87058"/>
                  </a:lnTo>
                  <a:lnTo>
                    <a:pt x="116872" y="87058"/>
                  </a:lnTo>
                  <a:lnTo>
                    <a:pt x="116872" y="37338"/>
                  </a:lnTo>
                  <a:cubicBezTo>
                    <a:pt x="116872" y="29146"/>
                    <a:pt x="114871" y="22765"/>
                    <a:pt x="110966" y="18288"/>
                  </a:cubicBezTo>
                  <a:cubicBezTo>
                    <a:pt x="107061" y="13811"/>
                    <a:pt x="101632" y="11620"/>
                    <a:pt x="94679" y="11620"/>
                  </a:cubicBezTo>
                  <a:cubicBezTo>
                    <a:pt x="91440" y="11620"/>
                    <a:pt x="88487" y="12192"/>
                    <a:pt x="85630" y="13335"/>
                  </a:cubicBezTo>
                  <a:cubicBezTo>
                    <a:pt x="82772" y="14478"/>
                    <a:pt x="80296" y="16192"/>
                    <a:pt x="78105" y="18478"/>
                  </a:cubicBezTo>
                  <a:cubicBezTo>
                    <a:pt x="76009" y="20764"/>
                    <a:pt x="74295" y="23527"/>
                    <a:pt x="72962" y="26765"/>
                  </a:cubicBezTo>
                  <a:cubicBezTo>
                    <a:pt x="71723" y="30099"/>
                    <a:pt x="71056" y="33814"/>
                    <a:pt x="71056" y="38005"/>
                  </a:cubicBezTo>
                  <a:lnTo>
                    <a:pt x="71056" y="87058"/>
                  </a:lnTo>
                  <a:lnTo>
                    <a:pt x="58483" y="87058"/>
                  </a:lnTo>
                  <a:lnTo>
                    <a:pt x="58483" y="36957"/>
                  </a:lnTo>
                  <a:cubicBezTo>
                    <a:pt x="58483" y="28956"/>
                    <a:pt x="56483" y="22669"/>
                    <a:pt x="52578" y="18288"/>
                  </a:cubicBezTo>
                  <a:cubicBezTo>
                    <a:pt x="48673" y="13811"/>
                    <a:pt x="43339" y="11620"/>
                    <a:pt x="36481" y="11620"/>
                  </a:cubicBezTo>
                  <a:cubicBezTo>
                    <a:pt x="33052" y="11620"/>
                    <a:pt x="29908" y="12287"/>
                    <a:pt x="27051" y="13621"/>
                  </a:cubicBezTo>
                  <a:cubicBezTo>
                    <a:pt x="24193" y="14954"/>
                    <a:pt x="21717" y="16764"/>
                    <a:pt x="19526" y="19240"/>
                  </a:cubicBezTo>
                  <a:cubicBezTo>
                    <a:pt x="17335" y="21622"/>
                    <a:pt x="15716" y="24479"/>
                    <a:pt x="14478" y="27718"/>
                  </a:cubicBezTo>
                  <a:cubicBezTo>
                    <a:pt x="13240" y="30956"/>
                    <a:pt x="12668" y="34576"/>
                    <a:pt x="12668" y="38481"/>
                  </a:cubicBezTo>
                  <a:lnTo>
                    <a:pt x="12668" y="87058"/>
                  </a:lnTo>
                  <a:lnTo>
                    <a:pt x="0" y="87058"/>
                  </a:lnTo>
                  <a:lnTo>
                    <a:pt x="0" y="1714"/>
                  </a:lnTo>
                  <a:close/>
                </a:path>
              </a:pathLst>
            </a:custGeom>
            <a:solidFill>
              <a:srgbClr val="43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 name="Freeform: Shape 92">
              <a:extLst>
                <a:ext uri="{FF2B5EF4-FFF2-40B4-BE49-F238E27FC236}">
                  <a16:creationId xmlns:a16="http://schemas.microsoft.com/office/drawing/2014/main" id="{F69D66C4-C9B9-0BB3-759E-D3E8911221C2}"/>
                </a:ext>
              </a:extLst>
            </p:cNvPr>
            <p:cNvSpPr/>
            <p:nvPr/>
          </p:nvSpPr>
          <p:spPr>
            <a:xfrm>
              <a:off x="2651728" y="4558601"/>
              <a:ext cx="85344" cy="86010"/>
            </a:xfrm>
            <a:custGeom>
              <a:avLst/>
              <a:gdLst>
                <a:gd name="connsiteX0" fmla="*/ 95 w 85344"/>
                <a:gd name="connsiteY0" fmla="*/ 0 h 86010"/>
                <a:gd name="connsiteX1" fmla="*/ 14097 w 85344"/>
                <a:gd name="connsiteY1" fmla="*/ 0 h 86010"/>
                <a:gd name="connsiteX2" fmla="*/ 42767 w 85344"/>
                <a:gd name="connsiteY2" fmla="*/ 70771 h 86010"/>
                <a:gd name="connsiteX3" fmla="*/ 71628 w 85344"/>
                <a:gd name="connsiteY3" fmla="*/ 0 h 86010"/>
                <a:gd name="connsiteX4" fmla="*/ 85344 w 85344"/>
                <a:gd name="connsiteY4" fmla="*/ 0 h 86010"/>
                <a:gd name="connsiteX5" fmla="*/ 48196 w 85344"/>
                <a:gd name="connsiteY5" fmla="*/ 86011 h 86010"/>
                <a:gd name="connsiteX6" fmla="*/ 36957 w 85344"/>
                <a:gd name="connsiteY6" fmla="*/ 86011 h 86010"/>
                <a:gd name="connsiteX7" fmla="*/ 0 w 85344"/>
                <a:gd name="connsiteY7" fmla="*/ 0 h 86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344" h="86010">
                  <a:moveTo>
                    <a:pt x="95" y="0"/>
                  </a:moveTo>
                  <a:lnTo>
                    <a:pt x="14097" y="0"/>
                  </a:lnTo>
                  <a:lnTo>
                    <a:pt x="42767" y="70771"/>
                  </a:lnTo>
                  <a:lnTo>
                    <a:pt x="71628" y="0"/>
                  </a:lnTo>
                  <a:lnTo>
                    <a:pt x="85344" y="0"/>
                  </a:lnTo>
                  <a:lnTo>
                    <a:pt x="48196" y="86011"/>
                  </a:lnTo>
                  <a:lnTo>
                    <a:pt x="36957" y="86011"/>
                  </a:lnTo>
                  <a:lnTo>
                    <a:pt x="0" y="0"/>
                  </a:lnTo>
                  <a:close/>
                </a:path>
              </a:pathLst>
            </a:custGeom>
            <a:solidFill>
              <a:srgbClr val="43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 name="Freeform: Shape 93">
              <a:extLst>
                <a:ext uri="{FF2B5EF4-FFF2-40B4-BE49-F238E27FC236}">
                  <a16:creationId xmlns:a16="http://schemas.microsoft.com/office/drawing/2014/main" id="{F70CECBF-7E8C-EAD4-F127-95DC8808E365}"/>
                </a:ext>
              </a:extLst>
            </p:cNvPr>
            <p:cNvSpPr/>
            <p:nvPr/>
          </p:nvSpPr>
          <p:spPr>
            <a:xfrm>
              <a:off x="2757455" y="4525930"/>
              <a:ext cx="14478" cy="118014"/>
            </a:xfrm>
            <a:custGeom>
              <a:avLst/>
              <a:gdLst>
                <a:gd name="connsiteX0" fmla="*/ 0 w 14478"/>
                <a:gd name="connsiteY0" fmla="*/ 0 h 118014"/>
                <a:gd name="connsiteX1" fmla="*/ 14478 w 14478"/>
                <a:gd name="connsiteY1" fmla="*/ 0 h 118014"/>
                <a:gd name="connsiteX2" fmla="*/ 14478 w 14478"/>
                <a:gd name="connsiteY2" fmla="*/ 14002 h 118014"/>
                <a:gd name="connsiteX3" fmla="*/ 0 w 14478"/>
                <a:gd name="connsiteY3" fmla="*/ 14002 h 118014"/>
                <a:gd name="connsiteX4" fmla="*/ 0 w 14478"/>
                <a:gd name="connsiteY4" fmla="*/ 0 h 118014"/>
                <a:gd name="connsiteX5" fmla="*/ 857 w 14478"/>
                <a:gd name="connsiteY5" fmla="*/ 32671 h 118014"/>
                <a:gd name="connsiteX6" fmla="*/ 13525 w 14478"/>
                <a:gd name="connsiteY6" fmla="*/ 32671 h 118014"/>
                <a:gd name="connsiteX7" fmla="*/ 13525 w 14478"/>
                <a:gd name="connsiteY7" fmla="*/ 118015 h 118014"/>
                <a:gd name="connsiteX8" fmla="*/ 857 w 14478"/>
                <a:gd name="connsiteY8" fmla="*/ 118015 h 118014"/>
                <a:gd name="connsiteX9" fmla="*/ 857 w 14478"/>
                <a:gd name="connsiteY9" fmla="*/ 32671 h 118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78" h="118014">
                  <a:moveTo>
                    <a:pt x="0" y="0"/>
                  </a:moveTo>
                  <a:lnTo>
                    <a:pt x="14478" y="0"/>
                  </a:lnTo>
                  <a:lnTo>
                    <a:pt x="14478" y="14002"/>
                  </a:lnTo>
                  <a:lnTo>
                    <a:pt x="0" y="14002"/>
                  </a:lnTo>
                  <a:lnTo>
                    <a:pt x="0" y="0"/>
                  </a:lnTo>
                  <a:close/>
                  <a:moveTo>
                    <a:pt x="857" y="32671"/>
                  </a:moveTo>
                  <a:lnTo>
                    <a:pt x="13525" y="32671"/>
                  </a:lnTo>
                  <a:lnTo>
                    <a:pt x="13525" y="118015"/>
                  </a:lnTo>
                  <a:lnTo>
                    <a:pt x="857" y="118015"/>
                  </a:lnTo>
                  <a:lnTo>
                    <a:pt x="857" y="32671"/>
                  </a:lnTo>
                  <a:close/>
                </a:path>
              </a:pathLst>
            </a:custGeom>
            <a:solidFill>
              <a:srgbClr val="43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 name="Freeform: Shape 94">
              <a:extLst>
                <a:ext uri="{FF2B5EF4-FFF2-40B4-BE49-F238E27FC236}">
                  <a16:creationId xmlns:a16="http://schemas.microsoft.com/office/drawing/2014/main" id="{E247EBF0-2F93-0EC9-E240-C1D6C7FFA523}"/>
                </a:ext>
              </a:extLst>
            </p:cNvPr>
            <p:cNvSpPr/>
            <p:nvPr/>
          </p:nvSpPr>
          <p:spPr>
            <a:xfrm>
              <a:off x="2795555" y="4523549"/>
              <a:ext cx="86105" cy="122300"/>
            </a:xfrm>
            <a:custGeom>
              <a:avLst/>
              <a:gdLst>
                <a:gd name="connsiteX0" fmla="*/ 40767 w 86105"/>
                <a:gd name="connsiteY0" fmla="*/ 122206 h 122300"/>
                <a:gd name="connsiteX1" fmla="*/ 25717 w 86105"/>
                <a:gd name="connsiteY1" fmla="*/ 119253 h 122300"/>
                <a:gd name="connsiteX2" fmla="*/ 12668 w 86105"/>
                <a:gd name="connsiteY2" fmla="*/ 110585 h 122300"/>
                <a:gd name="connsiteX3" fmla="*/ 3429 w 86105"/>
                <a:gd name="connsiteY3" fmla="*/ 96679 h 122300"/>
                <a:gd name="connsiteX4" fmla="*/ 0 w 86105"/>
                <a:gd name="connsiteY4" fmla="*/ 77914 h 122300"/>
                <a:gd name="connsiteX5" fmla="*/ 0 w 86105"/>
                <a:gd name="connsiteY5" fmla="*/ 77629 h 122300"/>
                <a:gd name="connsiteX6" fmla="*/ 3429 w 86105"/>
                <a:gd name="connsiteY6" fmla="*/ 58960 h 122300"/>
                <a:gd name="connsiteX7" fmla="*/ 12668 w 86105"/>
                <a:gd name="connsiteY7" fmla="*/ 45053 h 122300"/>
                <a:gd name="connsiteX8" fmla="*/ 25717 w 86105"/>
                <a:gd name="connsiteY8" fmla="*/ 36290 h 122300"/>
                <a:gd name="connsiteX9" fmla="*/ 40767 w 86105"/>
                <a:gd name="connsiteY9" fmla="*/ 33242 h 122300"/>
                <a:gd name="connsiteX10" fmla="*/ 51625 w 86105"/>
                <a:gd name="connsiteY10" fmla="*/ 34766 h 122300"/>
                <a:gd name="connsiteX11" fmla="*/ 60579 w 86105"/>
                <a:gd name="connsiteY11" fmla="*/ 38767 h 122300"/>
                <a:gd name="connsiteX12" fmla="*/ 67723 w 86105"/>
                <a:gd name="connsiteY12" fmla="*/ 44577 h 122300"/>
                <a:gd name="connsiteX13" fmla="*/ 73438 w 86105"/>
                <a:gd name="connsiteY13" fmla="*/ 51530 h 122300"/>
                <a:gd name="connsiteX14" fmla="*/ 73438 w 86105"/>
                <a:gd name="connsiteY14" fmla="*/ 0 h 122300"/>
                <a:gd name="connsiteX15" fmla="*/ 86106 w 86105"/>
                <a:gd name="connsiteY15" fmla="*/ 0 h 122300"/>
                <a:gd name="connsiteX16" fmla="*/ 86106 w 86105"/>
                <a:gd name="connsiteY16" fmla="*/ 120491 h 122300"/>
                <a:gd name="connsiteX17" fmla="*/ 73438 w 86105"/>
                <a:gd name="connsiteY17" fmla="*/ 120491 h 122300"/>
                <a:gd name="connsiteX18" fmla="*/ 73438 w 86105"/>
                <a:gd name="connsiteY18" fmla="*/ 103346 h 122300"/>
                <a:gd name="connsiteX19" fmla="*/ 67532 w 86105"/>
                <a:gd name="connsiteY19" fmla="*/ 110585 h 122300"/>
                <a:gd name="connsiteX20" fmla="*/ 60388 w 86105"/>
                <a:gd name="connsiteY20" fmla="*/ 116681 h 122300"/>
                <a:gd name="connsiteX21" fmla="*/ 51530 w 86105"/>
                <a:gd name="connsiteY21" fmla="*/ 120777 h 122300"/>
                <a:gd name="connsiteX22" fmla="*/ 40767 w 86105"/>
                <a:gd name="connsiteY22" fmla="*/ 122301 h 122300"/>
                <a:gd name="connsiteX23" fmla="*/ 43053 w 86105"/>
                <a:gd name="connsiteY23" fmla="*/ 110776 h 122300"/>
                <a:gd name="connsiteX24" fmla="*/ 54483 w 86105"/>
                <a:gd name="connsiteY24" fmla="*/ 108395 h 122300"/>
                <a:gd name="connsiteX25" fmla="*/ 64389 w 86105"/>
                <a:gd name="connsiteY25" fmla="*/ 101632 h 122300"/>
                <a:gd name="connsiteX26" fmla="*/ 71342 w 86105"/>
                <a:gd name="connsiteY26" fmla="*/ 91250 h 122300"/>
                <a:gd name="connsiteX27" fmla="*/ 73914 w 86105"/>
                <a:gd name="connsiteY27" fmla="*/ 77819 h 122300"/>
                <a:gd name="connsiteX28" fmla="*/ 73914 w 86105"/>
                <a:gd name="connsiteY28" fmla="*/ 77533 h 122300"/>
                <a:gd name="connsiteX29" fmla="*/ 71342 w 86105"/>
                <a:gd name="connsiteY29" fmla="*/ 64103 h 122300"/>
                <a:gd name="connsiteX30" fmla="*/ 64389 w 86105"/>
                <a:gd name="connsiteY30" fmla="*/ 53816 h 122300"/>
                <a:gd name="connsiteX31" fmla="*/ 54483 w 86105"/>
                <a:gd name="connsiteY31" fmla="*/ 47149 h 122300"/>
                <a:gd name="connsiteX32" fmla="*/ 43053 w 86105"/>
                <a:gd name="connsiteY32" fmla="*/ 44767 h 122300"/>
                <a:gd name="connsiteX33" fmla="*/ 31337 w 86105"/>
                <a:gd name="connsiteY33" fmla="*/ 46958 h 122300"/>
                <a:gd name="connsiteX34" fmla="*/ 21812 w 86105"/>
                <a:gd name="connsiteY34" fmla="*/ 53435 h 122300"/>
                <a:gd name="connsiteX35" fmla="*/ 15335 w 86105"/>
                <a:gd name="connsiteY35" fmla="*/ 63722 h 122300"/>
                <a:gd name="connsiteX36" fmla="*/ 12954 w 86105"/>
                <a:gd name="connsiteY36" fmla="*/ 77629 h 122300"/>
                <a:gd name="connsiteX37" fmla="*/ 12954 w 86105"/>
                <a:gd name="connsiteY37" fmla="*/ 77914 h 122300"/>
                <a:gd name="connsiteX38" fmla="*/ 15335 w 86105"/>
                <a:gd name="connsiteY38" fmla="*/ 91630 h 122300"/>
                <a:gd name="connsiteX39" fmla="*/ 21812 w 86105"/>
                <a:gd name="connsiteY39" fmla="*/ 102013 h 122300"/>
                <a:gd name="connsiteX40" fmla="*/ 31337 w 86105"/>
                <a:gd name="connsiteY40" fmla="*/ 108585 h 122300"/>
                <a:gd name="connsiteX41" fmla="*/ 42863 w 86105"/>
                <a:gd name="connsiteY41" fmla="*/ 110871 h 12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86105" h="122300">
                  <a:moveTo>
                    <a:pt x="40767" y="122206"/>
                  </a:moveTo>
                  <a:cubicBezTo>
                    <a:pt x="35624" y="122206"/>
                    <a:pt x="30575" y="121253"/>
                    <a:pt x="25717" y="119253"/>
                  </a:cubicBezTo>
                  <a:cubicBezTo>
                    <a:pt x="20860" y="117253"/>
                    <a:pt x="16574" y="114395"/>
                    <a:pt x="12668" y="110585"/>
                  </a:cubicBezTo>
                  <a:cubicBezTo>
                    <a:pt x="8763" y="106775"/>
                    <a:pt x="5715" y="102203"/>
                    <a:pt x="3429" y="96679"/>
                  </a:cubicBezTo>
                  <a:cubicBezTo>
                    <a:pt x="1143" y="91250"/>
                    <a:pt x="0" y="84963"/>
                    <a:pt x="0" y="77914"/>
                  </a:cubicBezTo>
                  <a:lnTo>
                    <a:pt x="0" y="77629"/>
                  </a:lnTo>
                  <a:cubicBezTo>
                    <a:pt x="0" y="70675"/>
                    <a:pt x="1143" y="64484"/>
                    <a:pt x="3429" y="58960"/>
                  </a:cubicBezTo>
                  <a:cubicBezTo>
                    <a:pt x="5715" y="53435"/>
                    <a:pt x="8858" y="48768"/>
                    <a:pt x="12668" y="45053"/>
                  </a:cubicBezTo>
                  <a:cubicBezTo>
                    <a:pt x="16478" y="41243"/>
                    <a:pt x="20860" y="38291"/>
                    <a:pt x="25717" y="36290"/>
                  </a:cubicBezTo>
                  <a:cubicBezTo>
                    <a:pt x="30575" y="34290"/>
                    <a:pt x="35528" y="33242"/>
                    <a:pt x="40767" y="33242"/>
                  </a:cubicBezTo>
                  <a:cubicBezTo>
                    <a:pt x="44767" y="33242"/>
                    <a:pt x="48387" y="33718"/>
                    <a:pt x="51625" y="34766"/>
                  </a:cubicBezTo>
                  <a:cubicBezTo>
                    <a:pt x="54959" y="35719"/>
                    <a:pt x="57912" y="37052"/>
                    <a:pt x="60579" y="38767"/>
                  </a:cubicBezTo>
                  <a:cubicBezTo>
                    <a:pt x="63246" y="40386"/>
                    <a:pt x="65627" y="42386"/>
                    <a:pt x="67723" y="44577"/>
                  </a:cubicBezTo>
                  <a:cubicBezTo>
                    <a:pt x="69818" y="46768"/>
                    <a:pt x="71723" y="49054"/>
                    <a:pt x="73438" y="51530"/>
                  </a:cubicBezTo>
                  <a:lnTo>
                    <a:pt x="73438" y="0"/>
                  </a:lnTo>
                  <a:lnTo>
                    <a:pt x="86106" y="0"/>
                  </a:lnTo>
                  <a:lnTo>
                    <a:pt x="86106" y="120491"/>
                  </a:lnTo>
                  <a:lnTo>
                    <a:pt x="73438" y="120491"/>
                  </a:lnTo>
                  <a:lnTo>
                    <a:pt x="73438" y="103346"/>
                  </a:lnTo>
                  <a:cubicBezTo>
                    <a:pt x="71628" y="105918"/>
                    <a:pt x="69723" y="108299"/>
                    <a:pt x="67532" y="110585"/>
                  </a:cubicBezTo>
                  <a:cubicBezTo>
                    <a:pt x="65342" y="112871"/>
                    <a:pt x="62960" y="114967"/>
                    <a:pt x="60388" y="116681"/>
                  </a:cubicBezTo>
                  <a:cubicBezTo>
                    <a:pt x="57817" y="118396"/>
                    <a:pt x="54769" y="119825"/>
                    <a:pt x="51530" y="120777"/>
                  </a:cubicBezTo>
                  <a:cubicBezTo>
                    <a:pt x="48292" y="121729"/>
                    <a:pt x="44672" y="122301"/>
                    <a:pt x="40767" y="122301"/>
                  </a:cubicBezTo>
                  <a:close/>
                  <a:moveTo>
                    <a:pt x="43053" y="110776"/>
                  </a:moveTo>
                  <a:cubicBezTo>
                    <a:pt x="47054" y="110776"/>
                    <a:pt x="50863" y="110014"/>
                    <a:pt x="54483" y="108395"/>
                  </a:cubicBezTo>
                  <a:cubicBezTo>
                    <a:pt x="58198" y="106775"/>
                    <a:pt x="61436" y="104584"/>
                    <a:pt x="64389" y="101632"/>
                  </a:cubicBezTo>
                  <a:cubicBezTo>
                    <a:pt x="67342" y="98679"/>
                    <a:pt x="69628" y="95250"/>
                    <a:pt x="71342" y="91250"/>
                  </a:cubicBezTo>
                  <a:cubicBezTo>
                    <a:pt x="73057" y="87249"/>
                    <a:pt x="73914" y="82772"/>
                    <a:pt x="73914" y="77819"/>
                  </a:cubicBezTo>
                  <a:lnTo>
                    <a:pt x="73914" y="77533"/>
                  </a:lnTo>
                  <a:cubicBezTo>
                    <a:pt x="73914" y="72580"/>
                    <a:pt x="73057" y="68104"/>
                    <a:pt x="71342" y="64103"/>
                  </a:cubicBezTo>
                  <a:cubicBezTo>
                    <a:pt x="69628" y="60103"/>
                    <a:pt x="67342" y="56674"/>
                    <a:pt x="64389" y="53816"/>
                  </a:cubicBezTo>
                  <a:cubicBezTo>
                    <a:pt x="61436" y="50959"/>
                    <a:pt x="58198" y="48768"/>
                    <a:pt x="54483" y="47149"/>
                  </a:cubicBezTo>
                  <a:cubicBezTo>
                    <a:pt x="50768" y="45529"/>
                    <a:pt x="46958" y="44767"/>
                    <a:pt x="43053" y="44767"/>
                  </a:cubicBezTo>
                  <a:cubicBezTo>
                    <a:pt x="38862" y="44767"/>
                    <a:pt x="34957" y="45529"/>
                    <a:pt x="31337" y="46958"/>
                  </a:cubicBezTo>
                  <a:cubicBezTo>
                    <a:pt x="27718" y="48482"/>
                    <a:pt x="24575" y="50578"/>
                    <a:pt x="21812" y="53435"/>
                  </a:cubicBezTo>
                  <a:cubicBezTo>
                    <a:pt x="19145" y="56197"/>
                    <a:pt x="16954" y="59722"/>
                    <a:pt x="15335" y="63722"/>
                  </a:cubicBezTo>
                  <a:cubicBezTo>
                    <a:pt x="13716" y="67818"/>
                    <a:pt x="12954" y="72390"/>
                    <a:pt x="12954" y="77629"/>
                  </a:cubicBezTo>
                  <a:lnTo>
                    <a:pt x="12954" y="77914"/>
                  </a:lnTo>
                  <a:cubicBezTo>
                    <a:pt x="12954" y="82963"/>
                    <a:pt x="13716" y="87535"/>
                    <a:pt x="15335" y="91630"/>
                  </a:cubicBezTo>
                  <a:cubicBezTo>
                    <a:pt x="16954" y="95726"/>
                    <a:pt x="19145" y="99155"/>
                    <a:pt x="21812" y="102013"/>
                  </a:cubicBezTo>
                  <a:cubicBezTo>
                    <a:pt x="24479" y="104870"/>
                    <a:pt x="27718" y="107061"/>
                    <a:pt x="31337" y="108585"/>
                  </a:cubicBezTo>
                  <a:cubicBezTo>
                    <a:pt x="34957" y="110109"/>
                    <a:pt x="38862" y="110871"/>
                    <a:pt x="42863" y="110871"/>
                  </a:cubicBezTo>
                  <a:close/>
                </a:path>
              </a:pathLst>
            </a:custGeom>
            <a:solidFill>
              <a:srgbClr val="43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 name="Freeform: Shape 95">
              <a:extLst>
                <a:ext uri="{FF2B5EF4-FFF2-40B4-BE49-F238E27FC236}">
                  <a16:creationId xmlns:a16="http://schemas.microsoft.com/office/drawing/2014/main" id="{D11BDE59-D83D-D02C-4D1D-7E5B032014E3}"/>
                </a:ext>
              </a:extLst>
            </p:cNvPr>
            <p:cNvSpPr/>
            <p:nvPr/>
          </p:nvSpPr>
          <p:spPr>
            <a:xfrm>
              <a:off x="2903759" y="4557267"/>
              <a:ext cx="75152" cy="88582"/>
            </a:xfrm>
            <a:custGeom>
              <a:avLst/>
              <a:gdLst>
                <a:gd name="connsiteX0" fmla="*/ 31813 w 75152"/>
                <a:gd name="connsiteY0" fmla="*/ 88487 h 88582"/>
                <a:gd name="connsiteX1" fmla="*/ 20098 w 75152"/>
                <a:gd name="connsiteY1" fmla="*/ 86868 h 88582"/>
                <a:gd name="connsiteX2" fmla="*/ 9906 w 75152"/>
                <a:gd name="connsiteY2" fmla="*/ 81820 h 88582"/>
                <a:gd name="connsiteX3" fmla="*/ 2762 w 75152"/>
                <a:gd name="connsiteY3" fmla="*/ 73438 h 88582"/>
                <a:gd name="connsiteX4" fmla="*/ 0 w 75152"/>
                <a:gd name="connsiteY4" fmla="*/ 61913 h 88582"/>
                <a:gd name="connsiteX5" fmla="*/ 0 w 75152"/>
                <a:gd name="connsiteY5" fmla="*/ 61532 h 88582"/>
                <a:gd name="connsiteX6" fmla="*/ 2667 w 75152"/>
                <a:gd name="connsiteY6" fmla="*/ 49435 h 88582"/>
                <a:gd name="connsiteX7" fmla="*/ 10192 w 75152"/>
                <a:gd name="connsiteY7" fmla="*/ 40767 h 88582"/>
                <a:gd name="connsiteX8" fmla="*/ 21717 w 75152"/>
                <a:gd name="connsiteY8" fmla="*/ 35528 h 88582"/>
                <a:gd name="connsiteX9" fmla="*/ 36481 w 75152"/>
                <a:gd name="connsiteY9" fmla="*/ 33719 h 88582"/>
                <a:gd name="connsiteX10" fmla="*/ 50768 w 75152"/>
                <a:gd name="connsiteY10" fmla="*/ 34671 h 88582"/>
                <a:gd name="connsiteX11" fmla="*/ 62579 w 75152"/>
                <a:gd name="connsiteY11" fmla="*/ 37338 h 88582"/>
                <a:gd name="connsiteX12" fmla="*/ 62579 w 75152"/>
                <a:gd name="connsiteY12" fmla="*/ 34671 h 88582"/>
                <a:gd name="connsiteX13" fmla="*/ 56007 w 75152"/>
                <a:gd name="connsiteY13" fmla="*/ 17526 h 88582"/>
                <a:gd name="connsiteX14" fmla="*/ 37338 w 75152"/>
                <a:gd name="connsiteY14" fmla="*/ 11716 h 88582"/>
                <a:gd name="connsiteX15" fmla="*/ 23527 w 75152"/>
                <a:gd name="connsiteY15" fmla="*/ 13335 h 88582"/>
                <a:gd name="connsiteX16" fmla="*/ 11430 w 75152"/>
                <a:gd name="connsiteY16" fmla="*/ 17812 h 88582"/>
                <a:gd name="connsiteX17" fmla="*/ 7620 w 75152"/>
                <a:gd name="connsiteY17" fmla="*/ 7334 h 88582"/>
                <a:gd name="connsiteX18" fmla="*/ 22003 w 75152"/>
                <a:gd name="connsiteY18" fmla="*/ 2000 h 88582"/>
                <a:gd name="connsiteX19" fmla="*/ 38671 w 75152"/>
                <a:gd name="connsiteY19" fmla="*/ 0 h 88582"/>
                <a:gd name="connsiteX20" fmla="*/ 66199 w 75152"/>
                <a:gd name="connsiteY20" fmla="*/ 9430 h 88582"/>
                <a:gd name="connsiteX21" fmla="*/ 75152 w 75152"/>
                <a:gd name="connsiteY21" fmla="*/ 34481 h 88582"/>
                <a:gd name="connsiteX22" fmla="*/ 75152 w 75152"/>
                <a:gd name="connsiteY22" fmla="*/ 86678 h 88582"/>
                <a:gd name="connsiteX23" fmla="*/ 62579 w 75152"/>
                <a:gd name="connsiteY23" fmla="*/ 86678 h 88582"/>
                <a:gd name="connsiteX24" fmla="*/ 62579 w 75152"/>
                <a:gd name="connsiteY24" fmla="*/ 74009 h 88582"/>
                <a:gd name="connsiteX25" fmla="*/ 50578 w 75152"/>
                <a:gd name="connsiteY25" fmla="*/ 84201 h 88582"/>
                <a:gd name="connsiteX26" fmla="*/ 31813 w 75152"/>
                <a:gd name="connsiteY26" fmla="*/ 88583 h 88582"/>
                <a:gd name="connsiteX27" fmla="*/ 34385 w 75152"/>
                <a:gd name="connsiteY27" fmla="*/ 78105 h 88582"/>
                <a:gd name="connsiteX28" fmla="*/ 45434 w 75152"/>
                <a:gd name="connsiteY28" fmla="*/ 76486 h 88582"/>
                <a:gd name="connsiteX29" fmla="*/ 54388 w 75152"/>
                <a:gd name="connsiteY29" fmla="*/ 71819 h 88582"/>
                <a:gd name="connsiteX30" fmla="*/ 60484 w 75152"/>
                <a:gd name="connsiteY30" fmla="*/ 64579 h 88582"/>
                <a:gd name="connsiteX31" fmla="*/ 62675 w 75152"/>
                <a:gd name="connsiteY31" fmla="*/ 55340 h 88582"/>
                <a:gd name="connsiteX32" fmla="*/ 62675 w 75152"/>
                <a:gd name="connsiteY32" fmla="*/ 47435 h 88582"/>
                <a:gd name="connsiteX33" fmla="*/ 51816 w 75152"/>
                <a:gd name="connsiteY33" fmla="*/ 44958 h 88582"/>
                <a:gd name="connsiteX34" fmla="*/ 37814 w 75152"/>
                <a:gd name="connsiteY34" fmla="*/ 43815 h 88582"/>
                <a:gd name="connsiteX35" fmla="*/ 19431 w 75152"/>
                <a:gd name="connsiteY35" fmla="*/ 48482 h 88582"/>
                <a:gd name="connsiteX36" fmla="*/ 12954 w 75152"/>
                <a:gd name="connsiteY36" fmla="*/ 60865 h 88582"/>
                <a:gd name="connsiteX37" fmla="*/ 12954 w 75152"/>
                <a:gd name="connsiteY37" fmla="*/ 61246 h 88582"/>
                <a:gd name="connsiteX38" fmla="*/ 14668 w 75152"/>
                <a:gd name="connsiteY38" fmla="*/ 68390 h 88582"/>
                <a:gd name="connsiteX39" fmla="*/ 19336 w 75152"/>
                <a:gd name="connsiteY39" fmla="*/ 73724 h 88582"/>
                <a:gd name="connsiteX40" fmla="*/ 26194 w 75152"/>
                <a:gd name="connsiteY40" fmla="*/ 76962 h 88582"/>
                <a:gd name="connsiteX41" fmla="*/ 34385 w 75152"/>
                <a:gd name="connsiteY41" fmla="*/ 78105 h 8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5152" h="88582">
                  <a:moveTo>
                    <a:pt x="31813" y="88487"/>
                  </a:moveTo>
                  <a:cubicBezTo>
                    <a:pt x="27813" y="88487"/>
                    <a:pt x="23908" y="87916"/>
                    <a:pt x="20098" y="86868"/>
                  </a:cubicBezTo>
                  <a:cubicBezTo>
                    <a:pt x="16288" y="85820"/>
                    <a:pt x="12859" y="84106"/>
                    <a:pt x="9906" y="81820"/>
                  </a:cubicBezTo>
                  <a:cubicBezTo>
                    <a:pt x="6953" y="79534"/>
                    <a:pt x="4572" y="76771"/>
                    <a:pt x="2762" y="73438"/>
                  </a:cubicBezTo>
                  <a:cubicBezTo>
                    <a:pt x="952" y="70104"/>
                    <a:pt x="0" y="66294"/>
                    <a:pt x="0" y="61913"/>
                  </a:cubicBezTo>
                  <a:lnTo>
                    <a:pt x="0" y="61532"/>
                  </a:lnTo>
                  <a:cubicBezTo>
                    <a:pt x="0" y="56864"/>
                    <a:pt x="857" y="52864"/>
                    <a:pt x="2667" y="49435"/>
                  </a:cubicBezTo>
                  <a:cubicBezTo>
                    <a:pt x="4477" y="46006"/>
                    <a:pt x="6953" y="43053"/>
                    <a:pt x="10192" y="40767"/>
                  </a:cubicBezTo>
                  <a:cubicBezTo>
                    <a:pt x="13430" y="38481"/>
                    <a:pt x="17335" y="36671"/>
                    <a:pt x="21717" y="35528"/>
                  </a:cubicBezTo>
                  <a:cubicBezTo>
                    <a:pt x="26098" y="34385"/>
                    <a:pt x="31147" y="33719"/>
                    <a:pt x="36481" y="33719"/>
                  </a:cubicBezTo>
                  <a:cubicBezTo>
                    <a:pt x="41815" y="33719"/>
                    <a:pt x="46768" y="34004"/>
                    <a:pt x="50768" y="34671"/>
                  </a:cubicBezTo>
                  <a:cubicBezTo>
                    <a:pt x="54769" y="35338"/>
                    <a:pt x="58674" y="36195"/>
                    <a:pt x="62579" y="37338"/>
                  </a:cubicBezTo>
                  <a:lnTo>
                    <a:pt x="62579" y="34671"/>
                  </a:lnTo>
                  <a:cubicBezTo>
                    <a:pt x="62579" y="27146"/>
                    <a:pt x="60388" y="21431"/>
                    <a:pt x="56007" y="17526"/>
                  </a:cubicBezTo>
                  <a:cubicBezTo>
                    <a:pt x="51625" y="13621"/>
                    <a:pt x="45339" y="11716"/>
                    <a:pt x="37338" y="11716"/>
                  </a:cubicBezTo>
                  <a:cubicBezTo>
                    <a:pt x="32290" y="11716"/>
                    <a:pt x="27718" y="12287"/>
                    <a:pt x="23527" y="13335"/>
                  </a:cubicBezTo>
                  <a:cubicBezTo>
                    <a:pt x="19431" y="14478"/>
                    <a:pt x="15335" y="15907"/>
                    <a:pt x="11430" y="17812"/>
                  </a:cubicBezTo>
                  <a:lnTo>
                    <a:pt x="7620" y="7334"/>
                  </a:lnTo>
                  <a:cubicBezTo>
                    <a:pt x="12383" y="5144"/>
                    <a:pt x="17145" y="3334"/>
                    <a:pt x="22003" y="2000"/>
                  </a:cubicBezTo>
                  <a:cubicBezTo>
                    <a:pt x="26860" y="667"/>
                    <a:pt x="32385" y="0"/>
                    <a:pt x="38671" y="0"/>
                  </a:cubicBezTo>
                  <a:cubicBezTo>
                    <a:pt x="50768" y="0"/>
                    <a:pt x="60008" y="3143"/>
                    <a:pt x="66199" y="9430"/>
                  </a:cubicBezTo>
                  <a:cubicBezTo>
                    <a:pt x="72104" y="15335"/>
                    <a:pt x="75152" y="23717"/>
                    <a:pt x="75152" y="34481"/>
                  </a:cubicBezTo>
                  <a:lnTo>
                    <a:pt x="75152" y="86678"/>
                  </a:lnTo>
                  <a:lnTo>
                    <a:pt x="62579" y="86678"/>
                  </a:lnTo>
                  <a:lnTo>
                    <a:pt x="62579" y="74009"/>
                  </a:lnTo>
                  <a:cubicBezTo>
                    <a:pt x="59626" y="77819"/>
                    <a:pt x="55626" y="81248"/>
                    <a:pt x="50578" y="84201"/>
                  </a:cubicBezTo>
                  <a:cubicBezTo>
                    <a:pt x="45529" y="87154"/>
                    <a:pt x="39338" y="88583"/>
                    <a:pt x="31813" y="88583"/>
                  </a:cubicBezTo>
                  <a:close/>
                  <a:moveTo>
                    <a:pt x="34385" y="78105"/>
                  </a:moveTo>
                  <a:cubicBezTo>
                    <a:pt x="38291" y="78105"/>
                    <a:pt x="42005" y="77533"/>
                    <a:pt x="45434" y="76486"/>
                  </a:cubicBezTo>
                  <a:cubicBezTo>
                    <a:pt x="48863" y="75343"/>
                    <a:pt x="51816" y="73819"/>
                    <a:pt x="54388" y="71819"/>
                  </a:cubicBezTo>
                  <a:cubicBezTo>
                    <a:pt x="56959" y="69818"/>
                    <a:pt x="58960" y="67342"/>
                    <a:pt x="60484" y="64579"/>
                  </a:cubicBezTo>
                  <a:cubicBezTo>
                    <a:pt x="62008" y="61817"/>
                    <a:pt x="62675" y="58674"/>
                    <a:pt x="62675" y="55340"/>
                  </a:cubicBezTo>
                  <a:lnTo>
                    <a:pt x="62675" y="47435"/>
                  </a:lnTo>
                  <a:cubicBezTo>
                    <a:pt x="59531" y="46577"/>
                    <a:pt x="55912" y="45720"/>
                    <a:pt x="51816" y="44958"/>
                  </a:cubicBezTo>
                  <a:cubicBezTo>
                    <a:pt x="47720" y="44196"/>
                    <a:pt x="43053" y="43815"/>
                    <a:pt x="37814" y="43815"/>
                  </a:cubicBezTo>
                  <a:cubicBezTo>
                    <a:pt x="29908" y="43815"/>
                    <a:pt x="23813" y="45339"/>
                    <a:pt x="19431" y="48482"/>
                  </a:cubicBezTo>
                  <a:cubicBezTo>
                    <a:pt x="15050" y="51625"/>
                    <a:pt x="12954" y="55721"/>
                    <a:pt x="12954" y="60865"/>
                  </a:cubicBezTo>
                  <a:lnTo>
                    <a:pt x="12954" y="61246"/>
                  </a:lnTo>
                  <a:cubicBezTo>
                    <a:pt x="12954" y="63913"/>
                    <a:pt x="13525" y="66294"/>
                    <a:pt x="14668" y="68390"/>
                  </a:cubicBezTo>
                  <a:cubicBezTo>
                    <a:pt x="15812" y="70485"/>
                    <a:pt x="17335" y="72295"/>
                    <a:pt x="19336" y="73724"/>
                  </a:cubicBezTo>
                  <a:cubicBezTo>
                    <a:pt x="21336" y="75152"/>
                    <a:pt x="23622" y="76200"/>
                    <a:pt x="26194" y="76962"/>
                  </a:cubicBezTo>
                  <a:cubicBezTo>
                    <a:pt x="28766" y="77724"/>
                    <a:pt x="31528" y="78105"/>
                    <a:pt x="34385" y="78105"/>
                  </a:cubicBezTo>
                  <a:close/>
                </a:path>
              </a:pathLst>
            </a:custGeom>
            <a:solidFill>
              <a:srgbClr val="43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 name="Freeform: Shape 96">
              <a:extLst>
                <a:ext uri="{FF2B5EF4-FFF2-40B4-BE49-F238E27FC236}">
                  <a16:creationId xmlns:a16="http://schemas.microsoft.com/office/drawing/2014/main" id="{5FC16007-564D-9630-971F-15A8DB5F6B5F}"/>
                </a:ext>
              </a:extLst>
            </p:cNvPr>
            <p:cNvSpPr/>
            <p:nvPr/>
          </p:nvSpPr>
          <p:spPr>
            <a:xfrm>
              <a:off x="2998533" y="4557267"/>
              <a:ext cx="65722" cy="88582"/>
            </a:xfrm>
            <a:custGeom>
              <a:avLst/>
              <a:gdLst>
                <a:gd name="connsiteX0" fmla="*/ 35338 w 65722"/>
                <a:gd name="connsiteY0" fmla="*/ 88297 h 88582"/>
                <a:gd name="connsiteX1" fmla="*/ 16669 w 65722"/>
                <a:gd name="connsiteY1" fmla="*/ 84963 h 88582"/>
                <a:gd name="connsiteX2" fmla="*/ 0 w 65722"/>
                <a:gd name="connsiteY2" fmla="*/ 75819 h 88582"/>
                <a:gd name="connsiteX3" fmla="*/ 6477 w 65722"/>
                <a:gd name="connsiteY3" fmla="*/ 66770 h 88582"/>
                <a:gd name="connsiteX4" fmla="*/ 20955 w 65722"/>
                <a:gd name="connsiteY4" fmla="*/ 74867 h 88582"/>
                <a:gd name="connsiteX5" fmla="*/ 36004 w 65722"/>
                <a:gd name="connsiteY5" fmla="*/ 77629 h 88582"/>
                <a:gd name="connsiteX6" fmla="*/ 48673 w 65722"/>
                <a:gd name="connsiteY6" fmla="*/ 74009 h 88582"/>
                <a:gd name="connsiteX7" fmla="*/ 53626 w 65722"/>
                <a:gd name="connsiteY7" fmla="*/ 64103 h 88582"/>
                <a:gd name="connsiteX8" fmla="*/ 53626 w 65722"/>
                <a:gd name="connsiteY8" fmla="*/ 63818 h 88582"/>
                <a:gd name="connsiteX9" fmla="*/ 51911 w 65722"/>
                <a:gd name="connsiteY9" fmla="*/ 58388 h 88582"/>
                <a:gd name="connsiteX10" fmla="*/ 47244 w 65722"/>
                <a:gd name="connsiteY10" fmla="*/ 54388 h 88582"/>
                <a:gd name="connsiteX11" fmla="*/ 40386 w 65722"/>
                <a:gd name="connsiteY11" fmla="*/ 51340 h 88582"/>
                <a:gd name="connsiteX12" fmla="*/ 32385 w 65722"/>
                <a:gd name="connsiteY12" fmla="*/ 48863 h 88582"/>
                <a:gd name="connsiteX13" fmla="*/ 22384 w 65722"/>
                <a:gd name="connsiteY13" fmla="*/ 45625 h 88582"/>
                <a:gd name="connsiteX14" fmla="*/ 13335 w 65722"/>
                <a:gd name="connsiteY14" fmla="*/ 41243 h 88582"/>
                <a:gd name="connsiteX15" fmla="*/ 6763 w 65722"/>
                <a:gd name="connsiteY15" fmla="*/ 34671 h 88582"/>
                <a:gd name="connsiteX16" fmla="*/ 4191 w 65722"/>
                <a:gd name="connsiteY16" fmla="*/ 24765 h 88582"/>
                <a:gd name="connsiteX17" fmla="*/ 4191 w 65722"/>
                <a:gd name="connsiteY17" fmla="*/ 24384 h 88582"/>
                <a:gd name="connsiteX18" fmla="*/ 6287 w 65722"/>
                <a:gd name="connsiteY18" fmla="*/ 14383 h 88582"/>
                <a:gd name="connsiteX19" fmla="*/ 12287 w 65722"/>
                <a:gd name="connsiteY19" fmla="*/ 6668 h 88582"/>
                <a:gd name="connsiteX20" fmla="*/ 21526 w 65722"/>
                <a:gd name="connsiteY20" fmla="*/ 1715 h 88582"/>
                <a:gd name="connsiteX21" fmla="*/ 33147 w 65722"/>
                <a:gd name="connsiteY21" fmla="*/ 0 h 88582"/>
                <a:gd name="connsiteX22" fmla="*/ 49149 w 65722"/>
                <a:gd name="connsiteY22" fmla="*/ 2572 h 88582"/>
                <a:gd name="connsiteX23" fmla="*/ 63817 w 65722"/>
                <a:gd name="connsiteY23" fmla="*/ 9430 h 88582"/>
                <a:gd name="connsiteX24" fmla="*/ 58007 w 65722"/>
                <a:gd name="connsiteY24" fmla="*/ 18955 h 88582"/>
                <a:gd name="connsiteX25" fmla="*/ 45529 w 65722"/>
                <a:gd name="connsiteY25" fmla="*/ 12954 h 88582"/>
                <a:gd name="connsiteX26" fmla="*/ 32766 w 65722"/>
                <a:gd name="connsiteY26" fmla="*/ 10763 h 88582"/>
                <a:gd name="connsiteX27" fmla="*/ 20765 w 65722"/>
                <a:gd name="connsiteY27" fmla="*/ 14288 h 88582"/>
                <a:gd name="connsiteX28" fmla="*/ 16288 w 65722"/>
                <a:gd name="connsiteY28" fmla="*/ 23146 h 88582"/>
                <a:gd name="connsiteX29" fmla="*/ 16288 w 65722"/>
                <a:gd name="connsiteY29" fmla="*/ 23527 h 88582"/>
                <a:gd name="connsiteX30" fmla="*/ 18097 w 65722"/>
                <a:gd name="connsiteY30" fmla="*/ 28766 h 88582"/>
                <a:gd name="connsiteX31" fmla="*/ 22955 w 65722"/>
                <a:gd name="connsiteY31" fmla="*/ 32671 h 88582"/>
                <a:gd name="connsiteX32" fmla="*/ 30004 w 65722"/>
                <a:gd name="connsiteY32" fmla="*/ 35624 h 88582"/>
                <a:gd name="connsiteX33" fmla="*/ 38291 w 65722"/>
                <a:gd name="connsiteY33" fmla="*/ 38291 h 88582"/>
                <a:gd name="connsiteX34" fmla="*/ 48101 w 65722"/>
                <a:gd name="connsiteY34" fmla="*/ 41624 h 88582"/>
                <a:gd name="connsiteX35" fmla="*/ 56959 w 65722"/>
                <a:gd name="connsiteY35" fmla="*/ 46292 h 88582"/>
                <a:gd name="connsiteX36" fmla="*/ 63341 w 65722"/>
                <a:gd name="connsiteY36" fmla="*/ 53054 h 88582"/>
                <a:gd name="connsiteX37" fmla="*/ 65722 w 65722"/>
                <a:gd name="connsiteY37" fmla="*/ 62770 h 88582"/>
                <a:gd name="connsiteX38" fmla="*/ 65722 w 65722"/>
                <a:gd name="connsiteY38" fmla="*/ 63056 h 88582"/>
                <a:gd name="connsiteX39" fmla="*/ 63341 w 65722"/>
                <a:gd name="connsiteY39" fmla="*/ 73819 h 88582"/>
                <a:gd name="connsiteX40" fmla="*/ 56864 w 65722"/>
                <a:gd name="connsiteY40" fmla="*/ 81820 h 88582"/>
                <a:gd name="connsiteX41" fmla="*/ 47339 w 65722"/>
                <a:gd name="connsiteY41" fmla="*/ 86868 h 88582"/>
                <a:gd name="connsiteX42" fmla="*/ 35338 w 65722"/>
                <a:gd name="connsiteY42" fmla="*/ 88583 h 8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722" h="88582">
                  <a:moveTo>
                    <a:pt x="35338" y="88297"/>
                  </a:moveTo>
                  <a:cubicBezTo>
                    <a:pt x="29146" y="88297"/>
                    <a:pt x="22955" y="87154"/>
                    <a:pt x="16669" y="84963"/>
                  </a:cubicBezTo>
                  <a:cubicBezTo>
                    <a:pt x="10382" y="82677"/>
                    <a:pt x="4858" y="79629"/>
                    <a:pt x="0" y="75819"/>
                  </a:cubicBezTo>
                  <a:lnTo>
                    <a:pt x="6477" y="66770"/>
                  </a:lnTo>
                  <a:cubicBezTo>
                    <a:pt x="11144" y="70295"/>
                    <a:pt x="15907" y="72962"/>
                    <a:pt x="20955" y="74867"/>
                  </a:cubicBezTo>
                  <a:cubicBezTo>
                    <a:pt x="26003" y="76771"/>
                    <a:pt x="30956" y="77629"/>
                    <a:pt x="36004" y="77629"/>
                  </a:cubicBezTo>
                  <a:cubicBezTo>
                    <a:pt x="41053" y="77629"/>
                    <a:pt x="45434" y="76391"/>
                    <a:pt x="48673" y="74009"/>
                  </a:cubicBezTo>
                  <a:cubicBezTo>
                    <a:pt x="51911" y="71628"/>
                    <a:pt x="53626" y="68294"/>
                    <a:pt x="53626" y="64103"/>
                  </a:cubicBezTo>
                  <a:lnTo>
                    <a:pt x="53626" y="63818"/>
                  </a:lnTo>
                  <a:cubicBezTo>
                    <a:pt x="53626" y="61722"/>
                    <a:pt x="53054" y="59912"/>
                    <a:pt x="51911" y="58388"/>
                  </a:cubicBezTo>
                  <a:cubicBezTo>
                    <a:pt x="50768" y="56864"/>
                    <a:pt x="49149" y="55531"/>
                    <a:pt x="47244" y="54388"/>
                  </a:cubicBezTo>
                  <a:cubicBezTo>
                    <a:pt x="45244" y="53245"/>
                    <a:pt x="42958" y="52197"/>
                    <a:pt x="40386" y="51340"/>
                  </a:cubicBezTo>
                  <a:cubicBezTo>
                    <a:pt x="37814" y="50483"/>
                    <a:pt x="35147" y="49625"/>
                    <a:pt x="32385" y="48863"/>
                  </a:cubicBezTo>
                  <a:cubicBezTo>
                    <a:pt x="29051" y="47911"/>
                    <a:pt x="25717" y="46768"/>
                    <a:pt x="22384" y="45625"/>
                  </a:cubicBezTo>
                  <a:cubicBezTo>
                    <a:pt x="19050" y="44482"/>
                    <a:pt x="16002" y="43053"/>
                    <a:pt x="13335" y="41243"/>
                  </a:cubicBezTo>
                  <a:cubicBezTo>
                    <a:pt x="10668" y="39433"/>
                    <a:pt x="8477" y="37243"/>
                    <a:pt x="6763" y="34671"/>
                  </a:cubicBezTo>
                  <a:cubicBezTo>
                    <a:pt x="5048" y="32004"/>
                    <a:pt x="4191" y="28766"/>
                    <a:pt x="4191" y="24765"/>
                  </a:cubicBezTo>
                  <a:lnTo>
                    <a:pt x="4191" y="24384"/>
                  </a:lnTo>
                  <a:cubicBezTo>
                    <a:pt x="4191" y="20765"/>
                    <a:pt x="4953" y="17431"/>
                    <a:pt x="6287" y="14383"/>
                  </a:cubicBezTo>
                  <a:cubicBezTo>
                    <a:pt x="7715" y="11335"/>
                    <a:pt x="9716" y="8763"/>
                    <a:pt x="12287" y="6668"/>
                  </a:cubicBezTo>
                  <a:cubicBezTo>
                    <a:pt x="14859" y="4572"/>
                    <a:pt x="17907" y="2858"/>
                    <a:pt x="21526" y="1715"/>
                  </a:cubicBezTo>
                  <a:cubicBezTo>
                    <a:pt x="25146" y="571"/>
                    <a:pt x="28956" y="0"/>
                    <a:pt x="33147" y="0"/>
                  </a:cubicBezTo>
                  <a:cubicBezTo>
                    <a:pt x="38386" y="0"/>
                    <a:pt x="43815" y="857"/>
                    <a:pt x="49149" y="2572"/>
                  </a:cubicBezTo>
                  <a:cubicBezTo>
                    <a:pt x="54578" y="4286"/>
                    <a:pt x="59436" y="6572"/>
                    <a:pt x="63817" y="9430"/>
                  </a:cubicBezTo>
                  <a:lnTo>
                    <a:pt x="58007" y="18955"/>
                  </a:lnTo>
                  <a:cubicBezTo>
                    <a:pt x="54007" y="16383"/>
                    <a:pt x="49911" y="14383"/>
                    <a:pt x="45529" y="12954"/>
                  </a:cubicBezTo>
                  <a:cubicBezTo>
                    <a:pt x="41148" y="11430"/>
                    <a:pt x="36957" y="10763"/>
                    <a:pt x="32766" y="10763"/>
                  </a:cubicBezTo>
                  <a:cubicBezTo>
                    <a:pt x="27718" y="10763"/>
                    <a:pt x="23717" y="11906"/>
                    <a:pt x="20765" y="14288"/>
                  </a:cubicBezTo>
                  <a:cubicBezTo>
                    <a:pt x="17812" y="16669"/>
                    <a:pt x="16288" y="19621"/>
                    <a:pt x="16288" y="23146"/>
                  </a:cubicBezTo>
                  <a:lnTo>
                    <a:pt x="16288" y="23527"/>
                  </a:lnTo>
                  <a:cubicBezTo>
                    <a:pt x="16288" y="25527"/>
                    <a:pt x="16859" y="27242"/>
                    <a:pt x="18097" y="28766"/>
                  </a:cubicBezTo>
                  <a:cubicBezTo>
                    <a:pt x="19336" y="30290"/>
                    <a:pt x="20955" y="31528"/>
                    <a:pt x="22955" y="32671"/>
                  </a:cubicBezTo>
                  <a:cubicBezTo>
                    <a:pt x="24955" y="33814"/>
                    <a:pt x="27337" y="34766"/>
                    <a:pt x="30004" y="35624"/>
                  </a:cubicBezTo>
                  <a:cubicBezTo>
                    <a:pt x="32671" y="36481"/>
                    <a:pt x="35433" y="37338"/>
                    <a:pt x="38291" y="38291"/>
                  </a:cubicBezTo>
                  <a:cubicBezTo>
                    <a:pt x="41624" y="39243"/>
                    <a:pt x="44863" y="40386"/>
                    <a:pt x="48101" y="41624"/>
                  </a:cubicBezTo>
                  <a:cubicBezTo>
                    <a:pt x="51340" y="42863"/>
                    <a:pt x="54292" y="44387"/>
                    <a:pt x="56959" y="46292"/>
                  </a:cubicBezTo>
                  <a:cubicBezTo>
                    <a:pt x="59626" y="48196"/>
                    <a:pt x="61722" y="50387"/>
                    <a:pt x="63341" y="53054"/>
                  </a:cubicBezTo>
                  <a:cubicBezTo>
                    <a:pt x="64961" y="55721"/>
                    <a:pt x="65722" y="58960"/>
                    <a:pt x="65722" y="62770"/>
                  </a:cubicBezTo>
                  <a:lnTo>
                    <a:pt x="65722" y="63056"/>
                  </a:lnTo>
                  <a:cubicBezTo>
                    <a:pt x="65722" y="67151"/>
                    <a:pt x="64961" y="70771"/>
                    <a:pt x="63341" y="73819"/>
                  </a:cubicBezTo>
                  <a:cubicBezTo>
                    <a:pt x="61722" y="76962"/>
                    <a:pt x="59626" y="79629"/>
                    <a:pt x="56864" y="81820"/>
                  </a:cubicBezTo>
                  <a:cubicBezTo>
                    <a:pt x="54197" y="84011"/>
                    <a:pt x="50959" y="85725"/>
                    <a:pt x="47339" y="86868"/>
                  </a:cubicBezTo>
                  <a:cubicBezTo>
                    <a:pt x="43625" y="88011"/>
                    <a:pt x="39624" y="88583"/>
                    <a:pt x="35338" y="88583"/>
                  </a:cubicBezTo>
                  <a:close/>
                </a:path>
              </a:pathLst>
            </a:custGeom>
            <a:solidFill>
              <a:srgbClr val="43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 name="Freeform: Shape 97">
              <a:extLst>
                <a:ext uri="{FF2B5EF4-FFF2-40B4-BE49-F238E27FC236}">
                  <a16:creationId xmlns:a16="http://schemas.microsoft.com/office/drawing/2014/main" id="{9C504175-A159-852D-6A1A-9BFA56032072}"/>
                </a:ext>
              </a:extLst>
            </p:cNvPr>
            <p:cNvSpPr/>
            <p:nvPr/>
          </p:nvSpPr>
          <p:spPr>
            <a:xfrm>
              <a:off x="937990" y="4443444"/>
              <a:ext cx="2146077" cy="23812"/>
            </a:xfrm>
            <a:custGeom>
              <a:avLst/>
              <a:gdLst>
                <a:gd name="connsiteX0" fmla="*/ 0 w 2146077"/>
                <a:gd name="connsiteY0" fmla="*/ 0 h 23812"/>
                <a:gd name="connsiteX1" fmla="*/ 2146078 w 2146077"/>
                <a:gd name="connsiteY1" fmla="*/ 0 h 23812"/>
                <a:gd name="connsiteX2" fmla="*/ 2146078 w 2146077"/>
                <a:gd name="connsiteY2" fmla="*/ 23812 h 23812"/>
                <a:gd name="connsiteX3" fmla="*/ 0 w 2146077"/>
                <a:gd name="connsiteY3" fmla="*/ 23812 h 23812"/>
              </a:gdLst>
              <a:ahLst/>
              <a:cxnLst>
                <a:cxn ang="0">
                  <a:pos x="connsiteX0" y="connsiteY0"/>
                </a:cxn>
                <a:cxn ang="0">
                  <a:pos x="connsiteX1" y="connsiteY1"/>
                </a:cxn>
                <a:cxn ang="0">
                  <a:pos x="connsiteX2" y="connsiteY2"/>
                </a:cxn>
                <a:cxn ang="0">
                  <a:pos x="connsiteX3" y="connsiteY3"/>
                </a:cxn>
              </a:cxnLst>
              <a:rect l="l" t="t" r="r" b="b"/>
              <a:pathLst>
                <a:path w="2146077" h="23812">
                  <a:moveTo>
                    <a:pt x="0" y="0"/>
                  </a:moveTo>
                  <a:lnTo>
                    <a:pt x="2146078" y="0"/>
                  </a:lnTo>
                  <a:lnTo>
                    <a:pt x="2146078" y="23812"/>
                  </a:lnTo>
                  <a:lnTo>
                    <a:pt x="0" y="23812"/>
                  </a:lnTo>
                  <a:close/>
                </a:path>
              </a:pathLst>
            </a:custGeom>
            <a:solidFill>
              <a:srgbClr val="43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 name="Freeform: Shape 98">
              <a:extLst>
                <a:ext uri="{FF2B5EF4-FFF2-40B4-BE49-F238E27FC236}">
                  <a16:creationId xmlns:a16="http://schemas.microsoft.com/office/drawing/2014/main" id="{DC6135EE-D831-7D24-4530-FE50A19209D9}"/>
                </a:ext>
              </a:extLst>
            </p:cNvPr>
            <p:cNvSpPr/>
            <p:nvPr/>
          </p:nvSpPr>
          <p:spPr>
            <a:xfrm>
              <a:off x="1851723" y="2368803"/>
              <a:ext cx="396906" cy="872299"/>
            </a:xfrm>
            <a:custGeom>
              <a:avLst/>
              <a:gdLst>
                <a:gd name="connsiteX0" fmla="*/ 0 w 396906"/>
                <a:gd name="connsiteY0" fmla="*/ 76962 h 872299"/>
                <a:gd name="connsiteX1" fmla="*/ 45625 w 396906"/>
                <a:gd name="connsiteY1" fmla="*/ 37719 h 872299"/>
                <a:gd name="connsiteX2" fmla="*/ 91250 w 396906"/>
                <a:gd name="connsiteY2" fmla="*/ 76962 h 872299"/>
                <a:gd name="connsiteX3" fmla="*/ 91250 w 396906"/>
                <a:gd name="connsiteY3" fmla="*/ 701421 h 872299"/>
                <a:gd name="connsiteX4" fmla="*/ 91250 w 396906"/>
                <a:gd name="connsiteY4" fmla="*/ 701421 h 872299"/>
                <a:gd name="connsiteX5" fmla="*/ 91250 w 396906"/>
                <a:gd name="connsiteY5" fmla="*/ 702564 h 872299"/>
                <a:gd name="connsiteX6" fmla="*/ 121825 w 396906"/>
                <a:gd name="connsiteY6" fmla="*/ 766096 h 872299"/>
                <a:gd name="connsiteX7" fmla="*/ 122492 w 396906"/>
                <a:gd name="connsiteY7" fmla="*/ 766667 h 872299"/>
                <a:gd name="connsiteX8" fmla="*/ 122682 w 396906"/>
                <a:gd name="connsiteY8" fmla="*/ 766858 h 872299"/>
                <a:gd name="connsiteX9" fmla="*/ 198501 w 396906"/>
                <a:gd name="connsiteY9" fmla="*/ 793718 h 872299"/>
                <a:gd name="connsiteX10" fmla="*/ 273653 w 396906"/>
                <a:gd name="connsiteY10" fmla="*/ 767429 h 872299"/>
                <a:gd name="connsiteX11" fmla="*/ 274320 w 396906"/>
                <a:gd name="connsiteY11" fmla="*/ 766858 h 872299"/>
                <a:gd name="connsiteX12" fmla="*/ 274511 w 396906"/>
                <a:gd name="connsiteY12" fmla="*/ 766667 h 872299"/>
                <a:gd name="connsiteX13" fmla="*/ 305753 w 396906"/>
                <a:gd name="connsiteY13" fmla="*/ 701326 h 872299"/>
                <a:gd name="connsiteX14" fmla="*/ 305753 w 396906"/>
                <a:gd name="connsiteY14" fmla="*/ 39243 h 872299"/>
                <a:gd name="connsiteX15" fmla="*/ 351377 w 396906"/>
                <a:gd name="connsiteY15" fmla="*/ 0 h 872299"/>
                <a:gd name="connsiteX16" fmla="*/ 396907 w 396906"/>
                <a:gd name="connsiteY16" fmla="*/ 39243 h 872299"/>
                <a:gd name="connsiteX17" fmla="*/ 396907 w 396906"/>
                <a:gd name="connsiteY17" fmla="*/ 701421 h 872299"/>
                <a:gd name="connsiteX18" fmla="*/ 338804 w 396906"/>
                <a:gd name="connsiteY18" fmla="*/ 822008 h 872299"/>
                <a:gd name="connsiteX19" fmla="*/ 338804 w 396906"/>
                <a:gd name="connsiteY19" fmla="*/ 822008 h 872299"/>
                <a:gd name="connsiteX20" fmla="*/ 338709 w 396906"/>
                <a:gd name="connsiteY20" fmla="*/ 822198 h 872299"/>
                <a:gd name="connsiteX21" fmla="*/ 338519 w 396906"/>
                <a:gd name="connsiteY21" fmla="*/ 822389 h 872299"/>
                <a:gd name="connsiteX22" fmla="*/ 198596 w 396906"/>
                <a:gd name="connsiteY22" fmla="*/ 872300 h 872299"/>
                <a:gd name="connsiteX23" fmla="*/ 58483 w 396906"/>
                <a:gd name="connsiteY23" fmla="*/ 822198 h 872299"/>
                <a:gd name="connsiteX24" fmla="*/ 58483 w 396906"/>
                <a:gd name="connsiteY24" fmla="*/ 822198 h 872299"/>
                <a:gd name="connsiteX25" fmla="*/ 58388 w 396906"/>
                <a:gd name="connsiteY25" fmla="*/ 822008 h 872299"/>
                <a:gd name="connsiteX26" fmla="*/ 58198 w 396906"/>
                <a:gd name="connsiteY26" fmla="*/ 822008 h 872299"/>
                <a:gd name="connsiteX27" fmla="*/ 286 w 396906"/>
                <a:gd name="connsiteY27" fmla="*/ 701421 h 872299"/>
                <a:gd name="connsiteX28" fmla="*/ 286 w 396906"/>
                <a:gd name="connsiteY28" fmla="*/ 701421 h 872299"/>
                <a:gd name="connsiteX29" fmla="*/ 286 w 396906"/>
                <a:gd name="connsiteY29" fmla="*/ 76962 h 872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96906" h="872299">
                  <a:moveTo>
                    <a:pt x="0" y="76962"/>
                  </a:moveTo>
                  <a:cubicBezTo>
                    <a:pt x="0" y="55340"/>
                    <a:pt x="20479" y="37719"/>
                    <a:pt x="45625" y="37719"/>
                  </a:cubicBezTo>
                  <a:cubicBezTo>
                    <a:pt x="70771" y="37719"/>
                    <a:pt x="91250" y="55340"/>
                    <a:pt x="91250" y="76962"/>
                  </a:cubicBezTo>
                  <a:lnTo>
                    <a:pt x="91250" y="701421"/>
                  </a:lnTo>
                  <a:lnTo>
                    <a:pt x="91250" y="701421"/>
                  </a:lnTo>
                  <a:lnTo>
                    <a:pt x="91250" y="702564"/>
                  </a:lnTo>
                  <a:cubicBezTo>
                    <a:pt x="91631" y="727424"/>
                    <a:pt x="103251" y="749808"/>
                    <a:pt x="121825" y="766096"/>
                  </a:cubicBezTo>
                  <a:lnTo>
                    <a:pt x="122492" y="766667"/>
                  </a:lnTo>
                  <a:lnTo>
                    <a:pt x="122682" y="766858"/>
                  </a:lnTo>
                  <a:cubicBezTo>
                    <a:pt x="142018" y="783431"/>
                    <a:pt x="168783" y="793718"/>
                    <a:pt x="198501" y="793718"/>
                  </a:cubicBezTo>
                  <a:cubicBezTo>
                    <a:pt x="228219" y="793718"/>
                    <a:pt x="254508" y="783622"/>
                    <a:pt x="273653" y="767429"/>
                  </a:cubicBezTo>
                  <a:lnTo>
                    <a:pt x="274320" y="766858"/>
                  </a:lnTo>
                  <a:lnTo>
                    <a:pt x="274511" y="766667"/>
                  </a:lnTo>
                  <a:cubicBezTo>
                    <a:pt x="293846" y="750094"/>
                    <a:pt x="305753" y="726948"/>
                    <a:pt x="305753" y="701326"/>
                  </a:cubicBezTo>
                  <a:lnTo>
                    <a:pt x="305753" y="39243"/>
                  </a:lnTo>
                  <a:cubicBezTo>
                    <a:pt x="305753" y="17621"/>
                    <a:pt x="326136" y="0"/>
                    <a:pt x="351377" y="0"/>
                  </a:cubicBezTo>
                  <a:cubicBezTo>
                    <a:pt x="376619" y="0"/>
                    <a:pt x="396907" y="17526"/>
                    <a:pt x="396907" y="39243"/>
                  </a:cubicBezTo>
                  <a:lnTo>
                    <a:pt x="396907" y="701421"/>
                  </a:lnTo>
                  <a:cubicBezTo>
                    <a:pt x="396907" y="748379"/>
                    <a:pt x="374714" y="791051"/>
                    <a:pt x="338804" y="822008"/>
                  </a:cubicBezTo>
                  <a:lnTo>
                    <a:pt x="338804" y="822008"/>
                  </a:lnTo>
                  <a:cubicBezTo>
                    <a:pt x="338804" y="822008"/>
                    <a:pt x="338709" y="822198"/>
                    <a:pt x="338709" y="822198"/>
                  </a:cubicBezTo>
                  <a:lnTo>
                    <a:pt x="338519" y="822389"/>
                  </a:lnTo>
                  <a:cubicBezTo>
                    <a:pt x="302609" y="853250"/>
                    <a:pt x="253079" y="872300"/>
                    <a:pt x="198596" y="872300"/>
                  </a:cubicBezTo>
                  <a:cubicBezTo>
                    <a:pt x="144113" y="872300"/>
                    <a:pt x="94488" y="853154"/>
                    <a:pt x="58483" y="822198"/>
                  </a:cubicBezTo>
                  <a:lnTo>
                    <a:pt x="58483" y="822198"/>
                  </a:lnTo>
                  <a:cubicBezTo>
                    <a:pt x="58483" y="822198"/>
                    <a:pt x="58388" y="822008"/>
                    <a:pt x="58388" y="822008"/>
                  </a:cubicBezTo>
                  <a:lnTo>
                    <a:pt x="58198" y="822008"/>
                  </a:lnTo>
                  <a:cubicBezTo>
                    <a:pt x="22384" y="790861"/>
                    <a:pt x="286" y="748284"/>
                    <a:pt x="286" y="701421"/>
                  </a:cubicBezTo>
                  <a:lnTo>
                    <a:pt x="286" y="701421"/>
                  </a:lnTo>
                  <a:lnTo>
                    <a:pt x="286" y="76962"/>
                  </a:lnTo>
                  <a:close/>
                </a:path>
              </a:pathLst>
            </a:custGeom>
            <a:solidFill>
              <a:srgbClr val="8DC63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 name="Freeform: Shape 99">
              <a:extLst>
                <a:ext uri="{FF2B5EF4-FFF2-40B4-BE49-F238E27FC236}">
                  <a16:creationId xmlns:a16="http://schemas.microsoft.com/office/drawing/2014/main" id="{AF7E4F5F-8D9C-3438-851C-17811806AB64}"/>
                </a:ext>
              </a:extLst>
            </p:cNvPr>
            <p:cNvSpPr/>
            <p:nvPr/>
          </p:nvSpPr>
          <p:spPr>
            <a:xfrm>
              <a:off x="2012791" y="2289175"/>
              <a:ext cx="78390" cy="816006"/>
            </a:xfrm>
            <a:custGeom>
              <a:avLst/>
              <a:gdLst>
                <a:gd name="connsiteX0" fmla="*/ 0 w 78390"/>
                <a:gd name="connsiteY0" fmla="*/ 39243 h 816006"/>
                <a:gd name="connsiteX1" fmla="*/ 39243 w 78390"/>
                <a:gd name="connsiteY1" fmla="*/ 0 h 816006"/>
                <a:gd name="connsiteX2" fmla="*/ 78391 w 78390"/>
                <a:gd name="connsiteY2" fmla="*/ 39243 h 816006"/>
                <a:gd name="connsiteX3" fmla="*/ 78391 w 78390"/>
                <a:gd name="connsiteY3" fmla="*/ 776764 h 816006"/>
                <a:gd name="connsiteX4" fmla="*/ 39243 w 78390"/>
                <a:gd name="connsiteY4" fmla="*/ 816007 h 816006"/>
                <a:gd name="connsiteX5" fmla="*/ 0 w 78390"/>
                <a:gd name="connsiteY5" fmla="*/ 776764 h 816006"/>
                <a:gd name="connsiteX6" fmla="*/ 0 w 78390"/>
                <a:gd name="connsiteY6" fmla="*/ 39243 h 816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390" h="816006">
                  <a:moveTo>
                    <a:pt x="0" y="39243"/>
                  </a:moveTo>
                  <a:cubicBezTo>
                    <a:pt x="0" y="17621"/>
                    <a:pt x="17526" y="0"/>
                    <a:pt x="39243" y="0"/>
                  </a:cubicBezTo>
                  <a:cubicBezTo>
                    <a:pt x="60960" y="0"/>
                    <a:pt x="78391" y="17621"/>
                    <a:pt x="78391" y="39243"/>
                  </a:cubicBezTo>
                  <a:lnTo>
                    <a:pt x="78391" y="776764"/>
                  </a:lnTo>
                  <a:cubicBezTo>
                    <a:pt x="78391" y="798386"/>
                    <a:pt x="60865" y="816007"/>
                    <a:pt x="39243" y="816007"/>
                  </a:cubicBezTo>
                  <a:cubicBezTo>
                    <a:pt x="17621" y="816007"/>
                    <a:pt x="0" y="798386"/>
                    <a:pt x="0" y="776764"/>
                  </a:cubicBezTo>
                  <a:lnTo>
                    <a:pt x="0" y="39243"/>
                  </a:lnTo>
                  <a:close/>
                </a:path>
              </a:pathLst>
            </a:custGeom>
            <a:solidFill>
              <a:srgbClr val="3698B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 name="Freeform: Shape 100">
              <a:extLst>
                <a:ext uri="{FF2B5EF4-FFF2-40B4-BE49-F238E27FC236}">
                  <a16:creationId xmlns:a16="http://schemas.microsoft.com/office/drawing/2014/main" id="{13659A66-D281-4025-2B61-BE233EFE683A}"/>
                </a:ext>
              </a:extLst>
            </p:cNvPr>
            <p:cNvSpPr/>
            <p:nvPr/>
          </p:nvSpPr>
          <p:spPr>
            <a:xfrm>
              <a:off x="1696751" y="2461863"/>
              <a:ext cx="705230" cy="942498"/>
            </a:xfrm>
            <a:custGeom>
              <a:avLst/>
              <a:gdLst>
                <a:gd name="connsiteX0" fmla="*/ 705231 w 705230"/>
                <a:gd name="connsiteY0" fmla="*/ 50387 h 942498"/>
                <a:gd name="connsiteX1" fmla="*/ 705231 w 705230"/>
                <a:gd name="connsiteY1" fmla="*/ 632651 h 942498"/>
                <a:gd name="connsiteX2" fmla="*/ 655415 w 705230"/>
                <a:gd name="connsiteY2" fmla="*/ 813245 h 942498"/>
                <a:gd name="connsiteX3" fmla="*/ 356711 w 705230"/>
                <a:gd name="connsiteY3" fmla="*/ 942499 h 942498"/>
                <a:gd name="connsiteX4" fmla="*/ 348520 w 705230"/>
                <a:gd name="connsiteY4" fmla="*/ 942499 h 942498"/>
                <a:gd name="connsiteX5" fmla="*/ 49816 w 705230"/>
                <a:gd name="connsiteY5" fmla="*/ 813245 h 942498"/>
                <a:gd name="connsiteX6" fmla="*/ 0 w 705230"/>
                <a:gd name="connsiteY6" fmla="*/ 632651 h 942498"/>
                <a:gd name="connsiteX7" fmla="*/ 0 w 705230"/>
                <a:gd name="connsiteY7" fmla="*/ 289751 h 942498"/>
                <a:gd name="connsiteX8" fmla="*/ 50292 w 705230"/>
                <a:gd name="connsiteY8" fmla="*/ 239459 h 942498"/>
                <a:gd name="connsiteX9" fmla="*/ 100489 w 705230"/>
                <a:gd name="connsiteY9" fmla="*/ 289751 h 942498"/>
                <a:gd name="connsiteX10" fmla="*/ 100489 w 705230"/>
                <a:gd name="connsiteY10" fmla="*/ 632651 h 942498"/>
                <a:gd name="connsiteX11" fmla="*/ 129254 w 705230"/>
                <a:gd name="connsiteY11" fmla="*/ 751427 h 942498"/>
                <a:gd name="connsiteX12" fmla="*/ 349567 w 705230"/>
                <a:gd name="connsiteY12" fmla="*/ 841820 h 942498"/>
                <a:gd name="connsiteX13" fmla="*/ 355568 w 705230"/>
                <a:gd name="connsiteY13" fmla="*/ 841820 h 942498"/>
                <a:gd name="connsiteX14" fmla="*/ 575977 w 705230"/>
                <a:gd name="connsiteY14" fmla="*/ 751427 h 942498"/>
                <a:gd name="connsiteX15" fmla="*/ 604647 w 705230"/>
                <a:gd name="connsiteY15" fmla="*/ 632651 h 942498"/>
                <a:gd name="connsiteX16" fmla="*/ 604647 w 705230"/>
                <a:gd name="connsiteY16" fmla="*/ 50387 h 942498"/>
                <a:gd name="connsiteX17" fmla="*/ 654939 w 705230"/>
                <a:gd name="connsiteY17" fmla="*/ 0 h 942498"/>
                <a:gd name="connsiteX18" fmla="*/ 705231 w 705230"/>
                <a:gd name="connsiteY18" fmla="*/ 50387 h 942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05230" h="942498">
                  <a:moveTo>
                    <a:pt x="705231" y="50387"/>
                  </a:moveTo>
                  <a:lnTo>
                    <a:pt x="705231" y="632651"/>
                  </a:lnTo>
                  <a:cubicBezTo>
                    <a:pt x="705231" y="682562"/>
                    <a:pt x="699992" y="755618"/>
                    <a:pt x="655415" y="813245"/>
                  </a:cubicBezTo>
                  <a:cubicBezTo>
                    <a:pt x="596265" y="889540"/>
                    <a:pt x="522446" y="940784"/>
                    <a:pt x="356711" y="942499"/>
                  </a:cubicBezTo>
                  <a:lnTo>
                    <a:pt x="348520" y="942499"/>
                  </a:lnTo>
                  <a:cubicBezTo>
                    <a:pt x="182785" y="940784"/>
                    <a:pt x="108966" y="889540"/>
                    <a:pt x="49816" y="813245"/>
                  </a:cubicBezTo>
                  <a:cubicBezTo>
                    <a:pt x="5144" y="755618"/>
                    <a:pt x="0" y="682562"/>
                    <a:pt x="0" y="632651"/>
                  </a:cubicBezTo>
                  <a:lnTo>
                    <a:pt x="0" y="289751"/>
                  </a:lnTo>
                  <a:cubicBezTo>
                    <a:pt x="0" y="262033"/>
                    <a:pt x="22384" y="239459"/>
                    <a:pt x="50292" y="239459"/>
                  </a:cubicBezTo>
                  <a:cubicBezTo>
                    <a:pt x="78200" y="239459"/>
                    <a:pt x="100489" y="262033"/>
                    <a:pt x="100489" y="289751"/>
                  </a:cubicBezTo>
                  <a:lnTo>
                    <a:pt x="100489" y="632651"/>
                  </a:lnTo>
                  <a:cubicBezTo>
                    <a:pt x="100489" y="688467"/>
                    <a:pt x="109538" y="726281"/>
                    <a:pt x="129254" y="751427"/>
                  </a:cubicBezTo>
                  <a:cubicBezTo>
                    <a:pt x="173736" y="809054"/>
                    <a:pt x="222504" y="840677"/>
                    <a:pt x="349567" y="841820"/>
                  </a:cubicBezTo>
                  <a:lnTo>
                    <a:pt x="355568" y="841820"/>
                  </a:lnTo>
                  <a:cubicBezTo>
                    <a:pt x="482822" y="840677"/>
                    <a:pt x="531305" y="809054"/>
                    <a:pt x="575977" y="751427"/>
                  </a:cubicBezTo>
                  <a:cubicBezTo>
                    <a:pt x="595503" y="726281"/>
                    <a:pt x="604647" y="688467"/>
                    <a:pt x="604647" y="632651"/>
                  </a:cubicBezTo>
                  <a:lnTo>
                    <a:pt x="604647" y="50387"/>
                  </a:lnTo>
                  <a:cubicBezTo>
                    <a:pt x="604647" y="22479"/>
                    <a:pt x="627221" y="0"/>
                    <a:pt x="654939" y="0"/>
                  </a:cubicBezTo>
                  <a:cubicBezTo>
                    <a:pt x="682657" y="0"/>
                    <a:pt x="705231" y="22479"/>
                    <a:pt x="705231" y="50387"/>
                  </a:cubicBezTo>
                </a:path>
              </a:pathLst>
            </a:custGeom>
            <a:solidFill>
              <a:srgbClr val="482F6D"/>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 name="CaixaDeTexto 2">
            <a:extLst>
              <a:ext uri="{FF2B5EF4-FFF2-40B4-BE49-F238E27FC236}">
                <a16:creationId xmlns:a16="http://schemas.microsoft.com/office/drawing/2014/main" id="{C38B048E-E2EE-5B40-8804-5C60114710DD}"/>
              </a:ext>
            </a:extLst>
          </p:cNvPr>
          <p:cNvSpPr txBox="1"/>
          <p:nvPr/>
        </p:nvSpPr>
        <p:spPr>
          <a:xfrm>
            <a:off x="882325" y="4994947"/>
            <a:ext cx="3542143" cy="830997"/>
          </a:xfrm>
          <a:prstGeom prst="rect">
            <a:avLst/>
          </a:prstGeom>
          <a:noFill/>
        </p:spPr>
        <p:txBody>
          <a:bodyPr wrap="square" rtlCol="0">
            <a:spAutoFit/>
          </a:bodyPr>
          <a:lstStyle/>
          <a:p>
            <a:r>
              <a:rPr lang="pt-BR" sz="2400" b="1" noProof="0"/>
              <a:t>Oficina Critérios Diagnósticos ADULTO</a:t>
            </a:r>
          </a:p>
        </p:txBody>
      </p:sp>
    </p:spTree>
    <p:extLst>
      <p:ext uri="{BB962C8B-B14F-4D97-AF65-F5344CB8AC3E}">
        <p14:creationId xmlns:p14="http://schemas.microsoft.com/office/powerpoint/2010/main" val="30608817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5111575" y="687608"/>
            <a:ext cx="10058400" cy="631231"/>
          </a:xfrm>
        </p:spPr>
        <p:txBody>
          <a:bodyPr>
            <a:normAutofit/>
          </a:bodyPr>
          <a:lstStyle/>
          <a:p>
            <a:r>
              <a:rPr lang="pt-BR" sz="3600" b="1">
                <a:solidFill>
                  <a:srgbClr val="3299B1"/>
                </a:solidFill>
                <a:latin typeface="Agency FB" panose="020B0503020202020204" pitchFamily="34" charset="0"/>
              </a:rPr>
              <a:t>Caso 1 - ADULTO</a:t>
            </a:r>
          </a:p>
        </p:txBody>
      </p:sp>
      <p:sp>
        <p:nvSpPr>
          <p:cNvPr id="3" name="CaixaDeTexto 2">
            <a:extLst>
              <a:ext uri="{FF2B5EF4-FFF2-40B4-BE49-F238E27FC236}">
                <a16:creationId xmlns:a16="http://schemas.microsoft.com/office/drawing/2014/main" id="{0636A108-B6A8-4241-8AF2-269D22F75D8B}"/>
              </a:ext>
            </a:extLst>
          </p:cNvPr>
          <p:cNvSpPr txBox="1"/>
          <p:nvPr/>
        </p:nvSpPr>
        <p:spPr>
          <a:xfrm>
            <a:off x="641554" y="1597839"/>
            <a:ext cx="11380840" cy="2708434"/>
          </a:xfrm>
          <a:prstGeom prst="rect">
            <a:avLst/>
          </a:prstGeom>
          <a:noFill/>
        </p:spPr>
        <p:txBody>
          <a:bodyPr wrap="square" lIns="91440" tIns="45720" rIns="91440" bIns="45720" numCol="1" anchor="t">
            <a:spAutoFit/>
          </a:bodyPr>
          <a:lstStyle/>
          <a:p>
            <a:pPr algn="just">
              <a:spcAft>
                <a:spcPts val="1200"/>
              </a:spcAft>
              <a:defRPr/>
            </a:pPr>
            <a:endParaRPr lang="pt-BR" sz="2000">
              <a:solidFill>
                <a:schemeClr val="tx2"/>
              </a:solidFill>
            </a:endParaRPr>
          </a:p>
          <a:p>
            <a:pPr marL="285750" marR="0" lvl="0" indent="-285750" algn="l" defTabSz="914400" rtl="0" eaLnBrk="1" fontAlgn="auto" latinLnBrk="0" hangingPunct="1">
              <a:lnSpc>
                <a:spcPct val="100000"/>
              </a:lnSpc>
              <a:spcBef>
                <a:spcPts val="0"/>
              </a:spcBef>
              <a:spcAft>
                <a:spcPts val="1200"/>
              </a:spcAft>
              <a:buClrTx/>
              <a:buSzTx/>
              <a:buFontTx/>
              <a:buChar char="-"/>
              <a:tabLst/>
              <a:defRPr/>
            </a:pPr>
            <a:endParaRPr kumimoji="0" lang="pt-BR" sz="2000" b="1" i="0" u="none" strike="noStrike" kern="1200" cap="none" spc="0" normalizeH="0" baseline="0" noProof="0">
              <a:ln>
                <a:noFill/>
              </a:ln>
              <a:solidFill>
                <a:srgbClr val="455560">
                  <a:lumMod val="50000"/>
                </a:srgbClr>
              </a:solidFill>
              <a:effectLst/>
              <a:uLnTx/>
              <a:uFillTx/>
              <a:latin typeface="Calibri"/>
            </a:endParaRPr>
          </a:p>
          <a:p>
            <a:pPr marL="285750" marR="0" lvl="0" indent="-285750" algn="l" defTabSz="914400" rtl="0" eaLnBrk="1" fontAlgn="auto" latinLnBrk="0" hangingPunct="1">
              <a:lnSpc>
                <a:spcPct val="100000"/>
              </a:lnSpc>
              <a:spcBef>
                <a:spcPts val="0"/>
              </a:spcBef>
              <a:spcAft>
                <a:spcPts val="1200"/>
              </a:spcAft>
              <a:buClrTx/>
              <a:buSzTx/>
              <a:buFontTx/>
              <a:buChar char="-"/>
              <a:tabLst/>
              <a:defRPr/>
            </a:pPr>
            <a:endParaRPr kumimoji="0" lang="pt-BR" sz="2000" b="1" i="0" u="none" strike="noStrike" kern="1200" cap="none" spc="0" normalizeH="0" baseline="0" noProof="0">
              <a:ln>
                <a:noFill/>
              </a:ln>
              <a:solidFill>
                <a:srgbClr val="455560">
                  <a:lumMod val="50000"/>
                </a:srgbClr>
              </a:solidFill>
              <a:effectLst/>
              <a:uLnTx/>
              <a:uFillTx/>
              <a:latin typeface="Calibri"/>
            </a:endParaRPr>
          </a:p>
          <a:p>
            <a:pPr marL="285750" marR="0" lvl="0" indent="-285750" algn="l" defTabSz="914400" rtl="0" eaLnBrk="1" fontAlgn="auto" latinLnBrk="0" hangingPunct="1">
              <a:lnSpc>
                <a:spcPct val="100000"/>
              </a:lnSpc>
              <a:spcBef>
                <a:spcPts val="0"/>
              </a:spcBef>
              <a:spcAft>
                <a:spcPts val="1200"/>
              </a:spcAft>
              <a:buClrTx/>
              <a:buSzTx/>
              <a:buFontTx/>
              <a:buChar char="-"/>
              <a:tabLst/>
              <a:defRPr/>
            </a:pPr>
            <a:endParaRPr kumimoji="0" lang="pt-BR" sz="2000" b="1" i="0" u="none" strike="noStrike" kern="1200" cap="none" spc="0" normalizeH="0" baseline="0" noProof="0">
              <a:ln>
                <a:noFill/>
              </a:ln>
              <a:solidFill>
                <a:srgbClr val="455560">
                  <a:lumMod val="50000"/>
                </a:srgbClr>
              </a:solidFill>
              <a:effectLst/>
              <a:uLnTx/>
              <a:uFillTx/>
              <a:latin typeface="Calibri"/>
            </a:endParaRPr>
          </a:p>
          <a:p>
            <a:pPr marL="285750" marR="0" lvl="0" indent="-285750" algn="l" defTabSz="914400" rtl="0" eaLnBrk="1" fontAlgn="auto" latinLnBrk="0" hangingPunct="1">
              <a:lnSpc>
                <a:spcPct val="100000"/>
              </a:lnSpc>
              <a:spcBef>
                <a:spcPts val="0"/>
              </a:spcBef>
              <a:spcAft>
                <a:spcPts val="1200"/>
              </a:spcAft>
              <a:buClrTx/>
              <a:buSzTx/>
              <a:buFontTx/>
              <a:buChar char="-"/>
              <a:tabLst/>
              <a:defRPr/>
            </a:pPr>
            <a:endParaRPr kumimoji="0" lang="pt-BR" sz="2000" b="1" i="0" u="none" strike="noStrike" kern="1200" cap="none" spc="0" normalizeH="0" baseline="0" noProof="0">
              <a:ln>
                <a:noFill/>
              </a:ln>
              <a:solidFill>
                <a:srgbClr val="455560">
                  <a:lumMod val="50000"/>
                </a:srgbClr>
              </a:solidFill>
              <a:effectLst/>
              <a:uLnTx/>
              <a:uFillTx/>
              <a:latin typeface="Calibri"/>
            </a:endParaRPr>
          </a:p>
          <a:p>
            <a:pPr marL="285750" marR="0" lvl="0" indent="-285750" algn="l" defTabSz="914400" rtl="0" eaLnBrk="1" fontAlgn="auto" latinLnBrk="0" hangingPunct="1">
              <a:lnSpc>
                <a:spcPct val="100000"/>
              </a:lnSpc>
              <a:spcBef>
                <a:spcPts val="0"/>
              </a:spcBef>
              <a:spcAft>
                <a:spcPts val="1200"/>
              </a:spcAft>
              <a:buClrTx/>
              <a:buSzTx/>
              <a:buFontTx/>
              <a:buChar char="-"/>
              <a:tabLst/>
              <a:defRPr/>
            </a:pPr>
            <a:endParaRPr kumimoji="0" lang="pt-BR" sz="2000" b="1" i="0" u="none" strike="noStrike" kern="1200" cap="none" spc="0" normalizeH="0" baseline="0" noProof="0">
              <a:ln>
                <a:noFill/>
              </a:ln>
              <a:solidFill>
                <a:srgbClr val="455560">
                  <a:lumMod val="50000"/>
                </a:srgbClr>
              </a:solidFill>
              <a:effectLst/>
              <a:uLnTx/>
              <a:uFillTx/>
              <a:latin typeface="Calibri"/>
            </a:endParaRPr>
          </a:p>
        </p:txBody>
      </p:sp>
      <p:pic>
        <p:nvPicPr>
          <p:cNvPr id="3076" name="Picture 4" descr="Gifs de alerta - Gifs e Imagens Animadas"/>
          <p:cNvPicPr>
            <a:picLocks noChangeAspect="1" noChangeArrowheads="1" noCrop="1"/>
          </p:cNvPicPr>
          <p:nvPr/>
        </p:nvPicPr>
        <p:blipFill>
          <a:blip r:embed="rId2">
            <a:extLst>
              <a:ext uri="{28A0092B-C50C-407E-A947-70E740481C1C}">
                <a14:useLocalDpi xmlns:a14="http://schemas.microsoft.com/office/drawing/2010/main" val="0"/>
              </a:ext>
            </a:extLst>
          </a:blip>
          <a:srcRect/>
          <a:stretch>
            <a:fillRect/>
          </a:stretch>
        </p:blipFill>
        <p:spPr bwMode="auto">
          <a:xfrm>
            <a:off x="3394589" y="2352128"/>
            <a:ext cx="5665837" cy="31870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08217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269E6F-AAB8-B6E3-7DDD-8E2FA98C2167}"/>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710F0886-F0BB-F9F6-3BA8-BD53A25861E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8" progId="TCLayout.ActiveDocument.1">
                  <p:embed/>
                </p:oleObj>
              </mc:Choice>
              <mc:Fallback>
                <p:oleObj name="think-cell Slide" r:id="rId4" imgW="306" imgH="308" progId="TCLayout.ActiveDocument.1">
                  <p:embed/>
                  <p:pic>
                    <p:nvPicPr>
                      <p:cNvPr id="12" name="think-cell data - do not delete" hidden="1">
                        <a:extLst>
                          <a:ext uri="{FF2B5EF4-FFF2-40B4-BE49-F238E27FC236}">
                            <a16:creationId xmlns:a16="http://schemas.microsoft.com/office/drawing/2014/main" id="{710F0886-F0BB-F9F6-3BA8-BD53A25861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3" name="Group 12">
            <a:extLst>
              <a:ext uri="{FF2B5EF4-FFF2-40B4-BE49-F238E27FC236}">
                <a16:creationId xmlns:a16="http://schemas.microsoft.com/office/drawing/2014/main" id="{9854F7BA-1496-DE4B-B5B9-60D3ED58C1E3}"/>
              </a:ext>
            </a:extLst>
          </p:cNvPr>
          <p:cNvGrpSpPr/>
          <p:nvPr/>
        </p:nvGrpSpPr>
        <p:grpSpPr>
          <a:xfrm>
            <a:off x="304800" y="249455"/>
            <a:ext cx="1193800" cy="462985"/>
            <a:chOff x="5245100" y="211355"/>
            <a:chExt cx="2036664" cy="789869"/>
          </a:xfrm>
        </p:grpSpPr>
        <p:sp>
          <p:nvSpPr>
            <p:cNvPr id="14" name="Freeform: Shape 13">
              <a:extLst>
                <a:ext uri="{FF2B5EF4-FFF2-40B4-BE49-F238E27FC236}">
                  <a16:creationId xmlns:a16="http://schemas.microsoft.com/office/drawing/2014/main" id="{ED588096-F806-C0B9-8AE8-69D0DE787A4D}"/>
                </a:ext>
              </a:extLst>
            </p:cNvPr>
            <p:cNvSpPr/>
            <p:nvPr/>
          </p:nvSpPr>
          <p:spPr>
            <a:xfrm>
              <a:off x="5245100" y="308520"/>
              <a:ext cx="247894" cy="322815"/>
            </a:xfrm>
            <a:custGeom>
              <a:avLst/>
              <a:gdLst>
                <a:gd name="connsiteX0" fmla="*/ 529590 w 986123"/>
                <a:gd name="connsiteY0" fmla="*/ 1284160 h 1284160"/>
                <a:gd name="connsiteX1" fmla="*/ 249650 w 986123"/>
                <a:gd name="connsiteY1" fmla="*/ 1235107 h 1284160"/>
                <a:gd name="connsiteX2" fmla="*/ 0 w 986123"/>
                <a:gd name="connsiteY2" fmla="*/ 1084421 h 1284160"/>
                <a:gd name="connsiteX3" fmla="*/ 162306 w 986123"/>
                <a:gd name="connsiteY3" fmla="*/ 890016 h 1284160"/>
                <a:gd name="connsiteX4" fmla="*/ 337947 w 986123"/>
                <a:gd name="connsiteY4" fmla="*/ 1000601 h 1284160"/>
                <a:gd name="connsiteX5" fmla="*/ 535019 w 986123"/>
                <a:gd name="connsiteY5" fmla="*/ 1041654 h 1284160"/>
                <a:gd name="connsiteX6" fmla="*/ 667893 w 986123"/>
                <a:gd name="connsiteY6" fmla="*/ 1010412 h 1284160"/>
                <a:gd name="connsiteX7" fmla="*/ 715137 w 986123"/>
                <a:gd name="connsiteY7" fmla="*/ 923925 h 1284160"/>
                <a:gd name="connsiteX8" fmla="*/ 715137 w 986123"/>
                <a:gd name="connsiteY8" fmla="*/ 920305 h 1284160"/>
                <a:gd name="connsiteX9" fmla="*/ 705326 w 986123"/>
                <a:gd name="connsiteY9" fmla="*/ 873062 h 1284160"/>
                <a:gd name="connsiteX10" fmla="*/ 667798 w 986123"/>
                <a:gd name="connsiteY10" fmla="*/ 834676 h 1284160"/>
                <a:gd name="connsiteX11" fmla="*/ 590931 w 986123"/>
                <a:gd name="connsiteY11" fmla="*/ 798957 h 1284160"/>
                <a:gd name="connsiteX12" fmla="*/ 463106 w 986123"/>
                <a:gd name="connsiteY12" fmla="*/ 761524 h 1284160"/>
                <a:gd name="connsiteX13" fmla="*/ 291465 w 986123"/>
                <a:gd name="connsiteY13" fmla="*/ 709803 h 1284160"/>
                <a:gd name="connsiteX14" fmla="*/ 160973 w 986123"/>
                <a:gd name="connsiteY14" fmla="*/ 639318 h 1284160"/>
                <a:gd name="connsiteX15" fmla="*/ 77819 w 986123"/>
                <a:gd name="connsiteY15" fmla="*/ 535019 h 1284160"/>
                <a:gd name="connsiteX16" fmla="*/ 48292 w 986123"/>
                <a:gd name="connsiteY16" fmla="*/ 379857 h 1284160"/>
                <a:gd name="connsiteX17" fmla="*/ 48292 w 986123"/>
                <a:gd name="connsiteY17" fmla="*/ 376238 h 1284160"/>
                <a:gd name="connsiteX18" fmla="*/ 80201 w 986123"/>
                <a:gd name="connsiteY18" fmla="*/ 222028 h 1284160"/>
                <a:gd name="connsiteX19" fmla="*/ 169640 w 986123"/>
                <a:gd name="connsiteY19" fmla="*/ 103441 h 1284160"/>
                <a:gd name="connsiteX20" fmla="*/ 307181 w 986123"/>
                <a:gd name="connsiteY20" fmla="*/ 26765 h 1284160"/>
                <a:gd name="connsiteX21" fmla="*/ 483394 w 986123"/>
                <a:gd name="connsiteY21" fmla="*/ 0 h 1284160"/>
                <a:gd name="connsiteX22" fmla="*/ 735711 w 986123"/>
                <a:gd name="connsiteY22" fmla="*/ 41053 h 1284160"/>
                <a:gd name="connsiteX23" fmla="*/ 946976 w 986123"/>
                <a:gd name="connsiteY23" fmla="*/ 158687 h 1284160"/>
                <a:gd name="connsiteX24" fmla="*/ 804291 w 986123"/>
                <a:gd name="connsiteY24" fmla="*/ 365569 h 1284160"/>
                <a:gd name="connsiteX25" fmla="*/ 640271 w 986123"/>
                <a:gd name="connsiteY25" fmla="*/ 275558 h 1284160"/>
                <a:gd name="connsiteX26" fmla="*/ 479774 w 986123"/>
                <a:gd name="connsiteY26" fmla="*/ 242602 h 1284160"/>
                <a:gd name="connsiteX27" fmla="*/ 359378 w 986123"/>
                <a:gd name="connsiteY27" fmla="*/ 273844 h 1284160"/>
                <a:gd name="connsiteX28" fmla="*/ 319278 w 986123"/>
                <a:gd name="connsiteY28" fmla="*/ 351377 h 1284160"/>
                <a:gd name="connsiteX29" fmla="*/ 319278 w 986123"/>
                <a:gd name="connsiteY29" fmla="*/ 354997 h 1284160"/>
                <a:gd name="connsiteX30" fmla="*/ 330899 w 986123"/>
                <a:gd name="connsiteY30" fmla="*/ 407575 h 1284160"/>
                <a:gd name="connsiteX31" fmla="*/ 372904 w 986123"/>
                <a:gd name="connsiteY31" fmla="*/ 447675 h 1284160"/>
                <a:gd name="connsiteX32" fmla="*/ 456057 w 986123"/>
                <a:gd name="connsiteY32" fmla="*/ 481489 h 1284160"/>
                <a:gd name="connsiteX33" fmla="*/ 589217 w 986123"/>
                <a:gd name="connsiteY33" fmla="*/ 518922 h 1284160"/>
                <a:gd name="connsiteX34" fmla="*/ 758190 w 986123"/>
                <a:gd name="connsiteY34" fmla="*/ 575120 h 1284160"/>
                <a:gd name="connsiteX35" fmla="*/ 883349 w 986123"/>
                <a:gd name="connsiteY35" fmla="*/ 649986 h 1284160"/>
                <a:gd name="connsiteX36" fmla="*/ 960215 w 986123"/>
                <a:gd name="connsiteY36" fmla="*/ 752570 h 1284160"/>
                <a:gd name="connsiteX37" fmla="*/ 986123 w 986123"/>
                <a:gd name="connsiteY37" fmla="*/ 893445 h 1284160"/>
                <a:gd name="connsiteX38" fmla="*/ 986123 w 986123"/>
                <a:gd name="connsiteY38" fmla="*/ 897064 h 1284160"/>
                <a:gd name="connsiteX39" fmla="*/ 952500 w 986123"/>
                <a:gd name="connsiteY39" fmla="*/ 1062038 h 1284160"/>
                <a:gd name="connsiteX40" fmla="*/ 858584 w 986123"/>
                <a:gd name="connsiteY40" fmla="*/ 1183291 h 1284160"/>
                <a:gd name="connsiteX41" fmla="*/ 714851 w 986123"/>
                <a:gd name="connsiteY41" fmla="*/ 1258157 h 1284160"/>
                <a:gd name="connsiteX42" fmla="*/ 529685 w 986123"/>
                <a:gd name="connsiteY42" fmla="*/ 1284065 h 128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6123" h="1284160">
                  <a:moveTo>
                    <a:pt x="529590" y="1284160"/>
                  </a:moveTo>
                  <a:cubicBezTo>
                    <a:pt x="434435" y="1284160"/>
                    <a:pt x="341186" y="1267777"/>
                    <a:pt x="249650" y="1235107"/>
                  </a:cubicBezTo>
                  <a:cubicBezTo>
                    <a:pt x="158115" y="1202436"/>
                    <a:pt x="74867" y="1152239"/>
                    <a:pt x="0" y="1084421"/>
                  </a:cubicBezTo>
                  <a:lnTo>
                    <a:pt x="162306" y="890016"/>
                  </a:lnTo>
                  <a:cubicBezTo>
                    <a:pt x="219361" y="936403"/>
                    <a:pt x="277844" y="973264"/>
                    <a:pt x="337947" y="1000601"/>
                  </a:cubicBezTo>
                  <a:cubicBezTo>
                    <a:pt x="397955" y="1027938"/>
                    <a:pt x="463677" y="1041654"/>
                    <a:pt x="535019" y="1041654"/>
                  </a:cubicBezTo>
                  <a:cubicBezTo>
                    <a:pt x="592074" y="1041654"/>
                    <a:pt x="636365" y="1031272"/>
                    <a:pt x="667893" y="1010412"/>
                  </a:cubicBezTo>
                  <a:cubicBezTo>
                    <a:pt x="699421" y="989647"/>
                    <a:pt x="715137" y="960787"/>
                    <a:pt x="715137" y="923925"/>
                  </a:cubicBezTo>
                  <a:lnTo>
                    <a:pt x="715137" y="920305"/>
                  </a:lnTo>
                  <a:cubicBezTo>
                    <a:pt x="715137" y="902494"/>
                    <a:pt x="711803" y="886777"/>
                    <a:pt x="705326" y="873062"/>
                  </a:cubicBezTo>
                  <a:cubicBezTo>
                    <a:pt x="698754" y="859441"/>
                    <a:pt x="686276" y="846582"/>
                    <a:pt x="667798" y="834676"/>
                  </a:cubicBezTo>
                  <a:cubicBezTo>
                    <a:pt x="649319" y="822770"/>
                    <a:pt x="623697" y="810863"/>
                    <a:pt x="590931" y="798957"/>
                  </a:cubicBezTo>
                  <a:cubicBezTo>
                    <a:pt x="558165" y="787146"/>
                    <a:pt x="515493" y="774573"/>
                    <a:pt x="463106" y="761524"/>
                  </a:cubicBezTo>
                  <a:cubicBezTo>
                    <a:pt x="399955" y="746093"/>
                    <a:pt x="342710" y="728853"/>
                    <a:pt x="291465" y="709803"/>
                  </a:cubicBezTo>
                  <a:cubicBezTo>
                    <a:pt x="240221" y="690753"/>
                    <a:pt x="196691" y="667322"/>
                    <a:pt x="160973" y="639318"/>
                  </a:cubicBezTo>
                  <a:cubicBezTo>
                    <a:pt x="125159" y="611410"/>
                    <a:pt x="97536" y="576644"/>
                    <a:pt x="77819" y="535019"/>
                  </a:cubicBezTo>
                  <a:cubicBezTo>
                    <a:pt x="58103" y="493395"/>
                    <a:pt x="48292" y="441674"/>
                    <a:pt x="48292" y="379857"/>
                  </a:cubicBezTo>
                  <a:lnTo>
                    <a:pt x="48292" y="376238"/>
                  </a:lnTo>
                  <a:cubicBezTo>
                    <a:pt x="48292" y="319183"/>
                    <a:pt x="58865" y="267748"/>
                    <a:pt x="80201" y="222028"/>
                  </a:cubicBezTo>
                  <a:cubicBezTo>
                    <a:pt x="101441" y="176308"/>
                    <a:pt x="131255" y="136779"/>
                    <a:pt x="169640" y="103441"/>
                  </a:cubicBezTo>
                  <a:cubicBezTo>
                    <a:pt x="208026" y="70199"/>
                    <a:pt x="253841" y="44577"/>
                    <a:pt x="307181" y="26765"/>
                  </a:cubicBezTo>
                  <a:cubicBezTo>
                    <a:pt x="360426" y="8953"/>
                    <a:pt x="419195" y="0"/>
                    <a:pt x="483394" y="0"/>
                  </a:cubicBezTo>
                  <a:cubicBezTo>
                    <a:pt x="574929" y="0"/>
                    <a:pt x="659035" y="13716"/>
                    <a:pt x="735711" y="41053"/>
                  </a:cubicBezTo>
                  <a:cubicBezTo>
                    <a:pt x="812387" y="68389"/>
                    <a:pt x="882777" y="107632"/>
                    <a:pt x="946976" y="158687"/>
                  </a:cubicBezTo>
                  <a:lnTo>
                    <a:pt x="804291" y="365569"/>
                  </a:lnTo>
                  <a:cubicBezTo>
                    <a:pt x="748379" y="327565"/>
                    <a:pt x="693706" y="297561"/>
                    <a:pt x="640271" y="275558"/>
                  </a:cubicBezTo>
                  <a:cubicBezTo>
                    <a:pt x="586740" y="253555"/>
                    <a:pt x="533305" y="242602"/>
                    <a:pt x="479774" y="242602"/>
                  </a:cubicBezTo>
                  <a:cubicBezTo>
                    <a:pt x="426244" y="242602"/>
                    <a:pt x="386144" y="252984"/>
                    <a:pt x="359378" y="273844"/>
                  </a:cubicBezTo>
                  <a:cubicBezTo>
                    <a:pt x="332613" y="294608"/>
                    <a:pt x="319278" y="320516"/>
                    <a:pt x="319278" y="351377"/>
                  </a:cubicBezTo>
                  <a:lnTo>
                    <a:pt x="319278" y="354997"/>
                  </a:lnTo>
                  <a:cubicBezTo>
                    <a:pt x="319278" y="375190"/>
                    <a:pt x="323183" y="392716"/>
                    <a:pt x="330899" y="407575"/>
                  </a:cubicBezTo>
                  <a:cubicBezTo>
                    <a:pt x="338614" y="422434"/>
                    <a:pt x="352616" y="435864"/>
                    <a:pt x="372904" y="447675"/>
                  </a:cubicBezTo>
                  <a:cubicBezTo>
                    <a:pt x="393192" y="459581"/>
                    <a:pt x="420910" y="470821"/>
                    <a:pt x="456057" y="481489"/>
                  </a:cubicBezTo>
                  <a:cubicBezTo>
                    <a:pt x="491204" y="492157"/>
                    <a:pt x="535591" y="504730"/>
                    <a:pt x="589217" y="518922"/>
                  </a:cubicBezTo>
                  <a:cubicBezTo>
                    <a:pt x="652367" y="535591"/>
                    <a:pt x="708660" y="554260"/>
                    <a:pt x="758190" y="575120"/>
                  </a:cubicBezTo>
                  <a:cubicBezTo>
                    <a:pt x="807625" y="595979"/>
                    <a:pt x="849344" y="620935"/>
                    <a:pt x="883349" y="649986"/>
                  </a:cubicBezTo>
                  <a:cubicBezTo>
                    <a:pt x="917353" y="679132"/>
                    <a:pt x="942975" y="713327"/>
                    <a:pt x="960215" y="752570"/>
                  </a:cubicBezTo>
                  <a:cubicBezTo>
                    <a:pt x="977456" y="791813"/>
                    <a:pt x="986123" y="838772"/>
                    <a:pt x="986123" y="893445"/>
                  </a:cubicBezTo>
                  <a:lnTo>
                    <a:pt x="986123" y="897064"/>
                  </a:lnTo>
                  <a:cubicBezTo>
                    <a:pt x="986123" y="958882"/>
                    <a:pt x="974884" y="1013841"/>
                    <a:pt x="952500" y="1062038"/>
                  </a:cubicBezTo>
                  <a:cubicBezTo>
                    <a:pt x="930021" y="1110139"/>
                    <a:pt x="898779" y="1150620"/>
                    <a:pt x="858584" y="1183291"/>
                  </a:cubicBezTo>
                  <a:cubicBezTo>
                    <a:pt x="818388" y="1216057"/>
                    <a:pt x="770477" y="1241012"/>
                    <a:pt x="714851" y="1258157"/>
                  </a:cubicBezTo>
                  <a:cubicBezTo>
                    <a:pt x="659130" y="1275398"/>
                    <a:pt x="597503" y="1284065"/>
                    <a:pt x="529685" y="1284065"/>
                  </a:cubicBezTo>
                  <a:close/>
                </a:path>
              </a:pathLst>
            </a:custGeom>
            <a:solidFill>
              <a:srgbClr val="44505E"/>
            </a:solidFill>
            <a:ln w="9525" cap="flat">
              <a:noFill/>
              <a:prstDash val="solid"/>
              <a:miter/>
            </a:ln>
          </p:spPr>
          <p:txBody>
            <a:bodyPr rtlCol="0" anchor="ctr"/>
            <a:lstStyle/>
            <a:p>
              <a:endParaRPr lang="pt-BR" noProof="0"/>
            </a:p>
          </p:txBody>
        </p:sp>
        <p:sp>
          <p:nvSpPr>
            <p:cNvPr id="17" name="Freeform: Shape 16">
              <a:extLst>
                <a:ext uri="{FF2B5EF4-FFF2-40B4-BE49-F238E27FC236}">
                  <a16:creationId xmlns:a16="http://schemas.microsoft.com/office/drawing/2014/main" id="{17B96E22-BA56-C09D-A056-E28EA004FD17}"/>
                </a:ext>
              </a:extLst>
            </p:cNvPr>
            <p:cNvSpPr/>
            <p:nvPr/>
          </p:nvSpPr>
          <p:spPr>
            <a:xfrm>
              <a:off x="5492084" y="310867"/>
              <a:ext cx="332584" cy="315991"/>
            </a:xfrm>
            <a:custGeom>
              <a:avLst/>
              <a:gdLst>
                <a:gd name="connsiteX0" fmla="*/ 534924 w 1323022"/>
                <a:gd name="connsiteY0" fmla="*/ 0 h 1257014"/>
                <a:gd name="connsiteX1" fmla="*/ 788099 w 1323022"/>
                <a:gd name="connsiteY1" fmla="*/ 0 h 1257014"/>
                <a:gd name="connsiteX2" fmla="*/ 1323023 w 1323022"/>
                <a:gd name="connsiteY2" fmla="*/ 1257014 h 1257014"/>
                <a:gd name="connsiteX3" fmla="*/ 1035939 w 1323022"/>
                <a:gd name="connsiteY3" fmla="*/ 1257014 h 1257014"/>
                <a:gd name="connsiteX4" fmla="*/ 921829 w 1323022"/>
                <a:gd name="connsiteY4" fmla="*/ 977075 h 1257014"/>
                <a:gd name="connsiteX5" fmla="*/ 394049 w 1323022"/>
                <a:gd name="connsiteY5" fmla="*/ 977075 h 1257014"/>
                <a:gd name="connsiteX6" fmla="*/ 279940 w 1323022"/>
                <a:gd name="connsiteY6" fmla="*/ 1257014 h 1257014"/>
                <a:gd name="connsiteX7" fmla="*/ 0 w 1323022"/>
                <a:gd name="connsiteY7" fmla="*/ 1257014 h 1257014"/>
                <a:gd name="connsiteX8" fmla="*/ 534924 w 1323022"/>
                <a:gd name="connsiteY8" fmla="*/ 0 h 1257014"/>
                <a:gd name="connsiteX9" fmla="*/ 823817 w 1323022"/>
                <a:gd name="connsiteY9" fmla="*/ 734568 h 1257014"/>
                <a:gd name="connsiteX10" fmla="*/ 657987 w 1323022"/>
                <a:gd name="connsiteY10" fmla="*/ 329851 h 1257014"/>
                <a:gd name="connsiteX11" fmla="*/ 492157 w 1323022"/>
                <a:gd name="connsiteY11" fmla="*/ 734568 h 1257014"/>
                <a:gd name="connsiteX12" fmla="*/ 823817 w 1323022"/>
                <a:gd name="connsiteY12" fmla="*/ 734568 h 125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022" h="1257014">
                  <a:moveTo>
                    <a:pt x="534924" y="0"/>
                  </a:moveTo>
                  <a:lnTo>
                    <a:pt x="788099" y="0"/>
                  </a:lnTo>
                  <a:lnTo>
                    <a:pt x="1323023" y="1257014"/>
                  </a:lnTo>
                  <a:lnTo>
                    <a:pt x="1035939" y="1257014"/>
                  </a:lnTo>
                  <a:lnTo>
                    <a:pt x="921829" y="977075"/>
                  </a:lnTo>
                  <a:lnTo>
                    <a:pt x="394049" y="977075"/>
                  </a:lnTo>
                  <a:lnTo>
                    <a:pt x="279940" y="1257014"/>
                  </a:lnTo>
                  <a:lnTo>
                    <a:pt x="0" y="1257014"/>
                  </a:lnTo>
                  <a:lnTo>
                    <a:pt x="534924" y="0"/>
                  </a:lnTo>
                  <a:close/>
                  <a:moveTo>
                    <a:pt x="823817" y="734568"/>
                  </a:moveTo>
                  <a:lnTo>
                    <a:pt x="657987" y="329851"/>
                  </a:lnTo>
                  <a:lnTo>
                    <a:pt x="492157" y="734568"/>
                  </a:lnTo>
                  <a:lnTo>
                    <a:pt x="823817" y="734568"/>
                  </a:lnTo>
                  <a:close/>
                </a:path>
              </a:pathLst>
            </a:custGeom>
            <a:solidFill>
              <a:srgbClr val="44505E"/>
            </a:solidFill>
            <a:ln w="9525" cap="flat">
              <a:noFill/>
              <a:prstDash val="solid"/>
              <a:miter/>
            </a:ln>
          </p:spPr>
          <p:txBody>
            <a:bodyPr rtlCol="0" anchor="ctr"/>
            <a:lstStyle/>
            <a:p>
              <a:endParaRPr lang="pt-BR" noProof="0"/>
            </a:p>
          </p:txBody>
        </p:sp>
        <p:sp>
          <p:nvSpPr>
            <p:cNvPr id="18" name="Freeform: Shape 17">
              <a:extLst>
                <a:ext uri="{FF2B5EF4-FFF2-40B4-BE49-F238E27FC236}">
                  <a16:creationId xmlns:a16="http://schemas.microsoft.com/office/drawing/2014/main" id="{8E82A373-FE8C-74F7-6096-3A52B9AD3A1A}"/>
                </a:ext>
              </a:extLst>
            </p:cNvPr>
            <p:cNvSpPr/>
            <p:nvPr/>
          </p:nvSpPr>
          <p:spPr>
            <a:xfrm>
              <a:off x="5834078" y="211355"/>
              <a:ext cx="273442" cy="420435"/>
            </a:xfrm>
            <a:custGeom>
              <a:avLst/>
              <a:gdLst>
                <a:gd name="connsiteX0" fmla="*/ 540258 w 1087754"/>
                <a:gd name="connsiteY0" fmla="*/ 1672495 h 1672494"/>
                <a:gd name="connsiteX1" fmla="*/ 144399 w 1087754"/>
                <a:gd name="connsiteY1" fmla="*/ 1533430 h 1672494"/>
                <a:gd name="connsiteX2" fmla="*/ 0 w 1087754"/>
                <a:gd name="connsiteY2" fmla="*/ 1117949 h 1672494"/>
                <a:gd name="connsiteX3" fmla="*/ 0 w 1087754"/>
                <a:gd name="connsiteY3" fmla="*/ 404717 h 1672494"/>
                <a:gd name="connsiteX4" fmla="*/ 274606 w 1087754"/>
                <a:gd name="connsiteY4" fmla="*/ 404717 h 1672494"/>
                <a:gd name="connsiteX5" fmla="*/ 274606 w 1087754"/>
                <a:gd name="connsiteY5" fmla="*/ 1110806 h 1672494"/>
                <a:gd name="connsiteX6" fmla="*/ 345948 w 1087754"/>
                <a:gd name="connsiteY6" fmla="*/ 1341692 h 1672494"/>
                <a:gd name="connsiteX7" fmla="*/ 543877 w 1087754"/>
                <a:gd name="connsiteY7" fmla="*/ 1419225 h 1672494"/>
                <a:gd name="connsiteX8" fmla="*/ 741807 w 1087754"/>
                <a:gd name="connsiteY8" fmla="*/ 1344359 h 1672494"/>
                <a:gd name="connsiteX9" fmla="*/ 813149 w 1087754"/>
                <a:gd name="connsiteY9" fmla="*/ 1119664 h 1672494"/>
                <a:gd name="connsiteX10" fmla="*/ 813149 w 1087754"/>
                <a:gd name="connsiteY10" fmla="*/ 404717 h 1672494"/>
                <a:gd name="connsiteX11" fmla="*/ 1087755 w 1087754"/>
                <a:gd name="connsiteY11" fmla="*/ 404717 h 1672494"/>
                <a:gd name="connsiteX12" fmla="*/ 1087755 w 1087754"/>
                <a:gd name="connsiteY12" fmla="*/ 1108996 h 1672494"/>
                <a:gd name="connsiteX13" fmla="*/ 1049369 w 1087754"/>
                <a:gd name="connsiteY13" fmla="*/ 1356836 h 1672494"/>
                <a:gd name="connsiteX14" fmla="*/ 939737 w 1087754"/>
                <a:gd name="connsiteY14" fmla="*/ 1532477 h 1672494"/>
                <a:gd name="connsiteX15" fmla="*/ 766763 w 1087754"/>
                <a:gd name="connsiteY15" fmla="*/ 1637729 h 1672494"/>
                <a:gd name="connsiteX16" fmla="*/ 540353 w 1087754"/>
                <a:gd name="connsiteY16" fmla="*/ 1672495 h 1672494"/>
                <a:gd name="connsiteX17" fmla="*/ 622268 w 1087754"/>
                <a:gd name="connsiteY17" fmla="*/ 0 h 1672494"/>
                <a:gd name="connsiteX18" fmla="*/ 855821 w 1087754"/>
                <a:gd name="connsiteY18" fmla="*/ 101632 h 1672494"/>
                <a:gd name="connsiteX19" fmla="*/ 627602 w 1087754"/>
                <a:gd name="connsiteY19" fmla="*/ 315563 h 1672494"/>
                <a:gd name="connsiteX20" fmla="*/ 420719 w 1087754"/>
                <a:gd name="connsiteY20" fmla="*/ 315563 h 1672494"/>
                <a:gd name="connsiteX21" fmla="*/ 622268 w 1087754"/>
                <a:gd name="connsiteY21" fmla="*/ 0 h 16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754" h="1672494">
                  <a:moveTo>
                    <a:pt x="540258" y="1672495"/>
                  </a:moveTo>
                  <a:cubicBezTo>
                    <a:pt x="372618" y="1672495"/>
                    <a:pt x="240697" y="1626108"/>
                    <a:pt x="144399" y="1533430"/>
                  </a:cubicBezTo>
                  <a:cubicBezTo>
                    <a:pt x="48101" y="1440752"/>
                    <a:pt x="0" y="1302258"/>
                    <a:pt x="0" y="1117949"/>
                  </a:cubicBezTo>
                  <a:lnTo>
                    <a:pt x="0" y="404717"/>
                  </a:lnTo>
                  <a:lnTo>
                    <a:pt x="274606" y="404717"/>
                  </a:lnTo>
                  <a:lnTo>
                    <a:pt x="274606" y="1110806"/>
                  </a:lnTo>
                  <a:cubicBezTo>
                    <a:pt x="274606" y="1213009"/>
                    <a:pt x="298418" y="1289971"/>
                    <a:pt x="345948" y="1341692"/>
                  </a:cubicBezTo>
                  <a:cubicBezTo>
                    <a:pt x="393478" y="1393412"/>
                    <a:pt x="459486" y="1419225"/>
                    <a:pt x="543877" y="1419225"/>
                  </a:cubicBezTo>
                  <a:cubicBezTo>
                    <a:pt x="628269" y="1419225"/>
                    <a:pt x="694277" y="1394270"/>
                    <a:pt x="741807" y="1344359"/>
                  </a:cubicBezTo>
                  <a:cubicBezTo>
                    <a:pt x="789337" y="1294448"/>
                    <a:pt x="813149" y="1219581"/>
                    <a:pt x="813149" y="1119664"/>
                  </a:cubicBezTo>
                  <a:lnTo>
                    <a:pt x="813149" y="404717"/>
                  </a:lnTo>
                  <a:lnTo>
                    <a:pt x="1087755" y="404717"/>
                  </a:lnTo>
                  <a:lnTo>
                    <a:pt x="1087755" y="1108996"/>
                  </a:lnTo>
                  <a:cubicBezTo>
                    <a:pt x="1087755" y="1204151"/>
                    <a:pt x="1074992" y="1286732"/>
                    <a:pt x="1049369" y="1356836"/>
                  </a:cubicBezTo>
                  <a:cubicBezTo>
                    <a:pt x="1023747" y="1426940"/>
                    <a:pt x="987266" y="1485519"/>
                    <a:pt x="939737" y="1532477"/>
                  </a:cubicBezTo>
                  <a:cubicBezTo>
                    <a:pt x="892207" y="1579436"/>
                    <a:pt x="834485" y="1614488"/>
                    <a:pt x="766763" y="1637729"/>
                  </a:cubicBezTo>
                  <a:cubicBezTo>
                    <a:pt x="699040" y="1660874"/>
                    <a:pt x="623507" y="1672495"/>
                    <a:pt x="540353" y="1672495"/>
                  </a:cubicBezTo>
                  <a:close/>
                  <a:moveTo>
                    <a:pt x="622268" y="0"/>
                  </a:moveTo>
                  <a:lnTo>
                    <a:pt x="855821" y="101632"/>
                  </a:lnTo>
                  <a:lnTo>
                    <a:pt x="627602" y="315563"/>
                  </a:lnTo>
                  <a:lnTo>
                    <a:pt x="420719" y="315563"/>
                  </a:lnTo>
                  <a:lnTo>
                    <a:pt x="622268" y="0"/>
                  </a:lnTo>
                  <a:close/>
                </a:path>
              </a:pathLst>
            </a:custGeom>
            <a:solidFill>
              <a:srgbClr val="44505E"/>
            </a:solidFill>
            <a:ln w="9525" cap="flat">
              <a:noFill/>
              <a:prstDash val="solid"/>
              <a:miter/>
            </a:ln>
          </p:spPr>
          <p:txBody>
            <a:bodyPr rtlCol="0" anchor="ctr"/>
            <a:lstStyle/>
            <a:p>
              <a:endParaRPr lang="pt-BR" noProof="0"/>
            </a:p>
          </p:txBody>
        </p:sp>
        <p:sp>
          <p:nvSpPr>
            <p:cNvPr id="19" name="Freeform: Shape 18">
              <a:extLst>
                <a:ext uri="{FF2B5EF4-FFF2-40B4-BE49-F238E27FC236}">
                  <a16:creationId xmlns:a16="http://schemas.microsoft.com/office/drawing/2014/main" id="{D3882C23-70CE-2143-C8B6-D1B288EAE979}"/>
                </a:ext>
              </a:extLst>
            </p:cNvPr>
            <p:cNvSpPr/>
            <p:nvPr/>
          </p:nvSpPr>
          <p:spPr>
            <a:xfrm>
              <a:off x="6143795" y="313094"/>
              <a:ext cx="289101" cy="313764"/>
            </a:xfrm>
            <a:custGeom>
              <a:avLst/>
              <a:gdLst>
                <a:gd name="connsiteX0" fmla="*/ 0 w 1150048"/>
                <a:gd name="connsiteY0" fmla="*/ 0 h 1248155"/>
                <a:gd name="connsiteX1" fmla="*/ 486728 w 1150048"/>
                <a:gd name="connsiteY1" fmla="*/ 0 h 1248155"/>
                <a:gd name="connsiteX2" fmla="*/ 755047 w 1150048"/>
                <a:gd name="connsiteY2" fmla="*/ 47244 h 1248155"/>
                <a:gd name="connsiteX3" fmla="*/ 965454 w 1150048"/>
                <a:gd name="connsiteY3" fmla="*/ 178308 h 1248155"/>
                <a:gd name="connsiteX4" fmla="*/ 1101852 w 1150048"/>
                <a:gd name="connsiteY4" fmla="*/ 375380 h 1248155"/>
                <a:gd name="connsiteX5" fmla="*/ 1150049 w 1150048"/>
                <a:gd name="connsiteY5" fmla="*/ 620554 h 1248155"/>
                <a:gd name="connsiteX6" fmla="*/ 1150049 w 1150048"/>
                <a:gd name="connsiteY6" fmla="*/ 624173 h 1248155"/>
                <a:gd name="connsiteX7" fmla="*/ 1101852 w 1150048"/>
                <a:gd name="connsiteY7" fmla="*/ 870204 h 1248155"/>
                <a:gd name="connsiteX8" fmla="*/ 965454 w 1150048"/>
                <a:gd name="connsiteY8" fmla="*/ 1068134 h 1248155"/>
                <a:gd name="connsiteX9" fmla="*/ 755047 w 1150048"/>
                <a:gd name="connsiteY9" fmla="*/ 1200055 h 1248155"/>
                <a:gd name="connsiteX10" fmla="*/ 486728 w 1150048"/>
                <a:gd name="connsiteY10" fmla="*/ 1248156 h 1248155"/>
                <a:gd name="connsiteX11" fmla="*/ 0 w 1150048"/>
                <a:gd name="connsiteY11" fmla="*/ 1248156 h 1248155"/>
                <a:gd name="connsiteX12" fmla="*/ 0 w 1150048"/>
                <a:gd name="connsiteY12" fmla="*/ 0 h 1248155"/>
                <a:gd name="connsiteX13" fmla="*/ 486728 w 1150048"/>
                <a:gd name="connsiteY13" fmla="*/ 1000315 h 1248155"/>
                <a:gd name="connsiteX14" fmla="*/ 640080 w 1150048"/>
                <a:gd name="connsiteY14" fmla="*/ 973550 h 1248155"/>
                <a:gd name="connsiteX15" fmla="*/ 758667 w 1150048"/>
                <a:gd name="connsiteY15" fmla="*/ 896874 h 1248155"/>
                <a:gd name="connsiteX16" fmla="*/ 835343 w 1150048"/>
                <a:gd name="connsiteY16" fmla="*/ 779240 h 1248155"/>
                <a:gd name="connsiteX17" fmla="*/ 862965 w 1150048"/>
                <a:gd name="connsiteY17" fmla="*/ 627698 h 1248155"/>
                <a:gd name="connsiteX18" fmla="*/ 862965 w 1150048"/>
                <a:gd name="connsiteY18" fmla="*/ 624078 h 1248155"/>
                <a:gd name="connsiteX19" fmla="*/ 835343 w 1150048"/>
                <a:gd name="connsiteY19" fmla="*/ 472535 h 1248155"/>
                <a:gd name="connsiteX20" fmla="*/ 758667 w 1150048"/>
                <a:gd name="connsiteY20" fmla="*/ 353092 h 1248155"/>
                <a:gd name="connsiteX21" fmla="*/ 640080 w 1150048"/>
                <a:gd name="connsiteY21" fmla="*/ 275558 h 1248155"/>
                <a:gd name="connsiteX22" fmla="*/ 486728 w 1150048"/>
                <a:gd name="connsiteY22" fmla="*/ 247936 h 1248155"/>
                <a:gd name="connsiteX23" fmla="*/ 274511 w 1150048"/>
                <a:gd name="connsiteY23" fmla="*/ 247936 h 1248155"/>
                <a:gd name="connsiteX24" fmla="*/ 274511 w 1150048"/>
                <a:gd name="connsiteY24" fmla="*/ 1000411 h 1248155"/>
                <a:gd name="connsiteX25" fmla="*/ 486728 w 1150048"/>
                <a:gd name="connsiteY25" fmla="*/ 1000411 h 124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50048" h="1248155">
                  <a:moveTo>
                    <a:pt x="0" y="0"/>
                  </a:moveTo>
                  <a:lnTo>
                    <a:pt x="486728" y="0"/>
                  </a:lnTo>
                  <a:cubicBezTo>
                    <a:pt x="584168" y="0"/>
                    <a:pt x="673608" y="15811"/>
                    <a:pt x="755047" y="47244"/>
                  </a:cubicBezTo>
                  <a:cubicBezTo>
                    <a:pt x="836486" y="78772"/>
                    <a:pt x="906590" y="122396"/>
                    <a:pt x="965454" y="178308"/>
                  </a:cubicBezTo>
                  <a:cubicBezTo>
                    <a:pt x="1024319" y="234220"/>
                    <a:pt x="1069753" y="299847"/>
                    <a:pt x="1101852" y="375380"/>
                  </a:cubicBezTo>
                  <a:cubicBezTo>
                    <a:pt x="1133951" y="450914"/>
                    <a:pt x="1150049" y="532543"/>
                    <a:pt x="1150049" y="620554"/>
                  </a:cubicBezTo>
                  <a:lnTo>
                    <a:pt x="1150049" y="624173"/>
                  </a:lnTo>
                  <a:cubicBezTo>
                    <a:pt x="1150049" y="712184"/>
                    <a:pt x="1133951" y="794195"/>
                    <a:pt x="1101852" y="870204"/>
                  </a:cubicBezTo>
                  <a:cubicBezTo>
                    <a:pt x="1069753" y="946309"/>
                    <a:pt x="1024319" y="1012222"/>
                    <a:pt x="965454" y="1068134"/>
                  </a:cubicBezTo>
                  <a:cubicBezTo>
                    <a:pt x="906590" y="1124045"/>
                    <a:pt x="836486" y="1167956"/>
                    <a:pt x="755047" y="1200055"/>
                  </a:cubicBezTo>
                  <a:cubicBezTo>
                    <a:pt x="673608" y="1232154"/>
                    <a:pt x="584168" y="1248156"/>
                    <a:pt x="486728" y="1248156"/>
                  </a:cubicBezTo>
                  <a:lnTo>
                    <a:pt x="0" y="1248156"/>
                  </a:lnTo>
                  <a:lnTo>
                    <a:pt x="0" y="0"/>
                  </a:lnTo>
                  <a:close/>
                  <a:moveTo>
                    <a:pt x="486728" y="1000315"/>
                  </a:moveTo>
                  <a:cubicBezTo>
                    <a:pt x="542639" y="1000315"/>
                    <a:pt x="593693" y="991457"/>
                    <a:pt x="640080" y="973550"/>
                  </a:cubicBezTo>
                  <a:cubicBezTo>
                    <a:pt x="686467" y="955739"/>
                    <a:pt x="725900" y="930211"/>
                    <a:pt x="758667" y="896874"/>
                  </a:cubicBezTo>
                  <a:cubicBezTo>
                    <a:pt x="791337" y="863632"/>
                    <a:pt x="816864" y="824389"/>
                    <a:pt x="835343" y="779240"/>
                  </a:cubicBezTo>
                  <a:cubicBezTo>
                    <a:pt x="853726" y="734092"/>
                    <a:pt x="862965" y="683609"/>
                    <a:pt x="862965" y="627698"/>
                  </a:cubicBezTo>
                  <a:lnTo>
                    <a:pt x="862965" y="624078"/>
                  </a:lnTo>
                  <a:cubicBezTo>
                    <a:pt x="862965" y="569404"/>
                    <a:pt x="853726" y="518827"/>
                    <a:pt x="835343" y="472535"/>
                  </a:cubicBezTo>
                  <a:cubicBezTo>
                    <a:pt x="816864" y="426149"/>
                    <a:pt x="791337" y="386334"/>
                    <a:pt x="758667" y="353092"/>
                  </a:cubicBezTo>
                  <a:cubicBezTo>
                    <a:pt x="725996" y="319849"/>
                    <a:pt x="686467" y="293941"/>
                    <a:pt x="640080" y="275558"/>
                  </a:cubicBezTo>
                  <a:cubicBezTo>
                    <a:pt x="593693" y="257175"/>
                    <a:pt x="542639" y="247936"/>
                    <a:pt x="486728" y="247936"/>
                  </a:cubicBezTo>
                  <a:lnTo>
                    <a:pt x="274511" y="247936"/>
                  </a:lnTo>
                  <a:lnTo>
                    <a:pt x="274511" y="1000411"/>
                  </a:lnTo>
                  <a:lnTo>
                    <a:pt x="486728" y="1000411"/>
                  </a:lnTo>
                  <a:close/>
                </a:path>
              </a:pathLst>
            </a:custGeom>
            <a:solidFill>
              <a:srgbClr val="44505E"/>
            </a:solidFill>
            <a:ln w="9525" cap="flat">
              <a:noFill/>
              <a:prstDash val="solid"/>
              <a:miter/>
            </a:ln>
          </p:spPr>
          <p:txBody>
            <a:bodyPr rtlCol="0" anchor="ctr"/>
            <a:lstStyle/>
            <a:p>
              <a:endParaRPr lang="pt-BR" noProof="0"/>
            </a:p>
          </p:txBody>
        </p:sp>
        <p:sp>
          <p:nvSpPr>
            <p:cNvPr id="20" name="Freeform: Shape 19">
              <a:extLst>
                <a:ext uri="{FF2B5EF4-FFF2-40B4-BE49-F238E27FC236}">
                  <a16:creationId xmlns:a16="http://schemas.microsoft.com/office/drawing/2014/main" id="{6D25F420-D1E2-8D10-B8CA-CB412980780A}"/>
                </a:ext>
              </a:extLst>
            </p:cNvPr>
            <p:cNvSpPr/>
            <p:nvPr/>
          </p:nvSpPr>
          <p:spPr>
            <a:xfrm>
              <a:off x="6460217" y="313094"/>
              <a:ext cx="238459" cy="313788"/>
            </a:xfrm>
            <a:custGeom>
              <a:avLst/>
              <a:gdLst>
                <a:gd name="connsiteX0" fmla="*/ 95 w 948594"/>
                <a:gd name="connsiteY0" fmla="*/ 0 h 1248251"/>
                <a:gd name="connsiteX1" fmla="*/ 939737 w 948594"/>
                <a:gd name="connsiteY1" fmla="*/ 0 h 1248251"/>
                <a:gd name="connsiteX2" fmla="*/ 939737 w 948594"/>
                <a:gd name="connsiteY2" fmla="*/ 244316 h 1248251"/>
                <a:gd name="connsiteX3" fmla="*/ 271081 w 948594"/>
                <a:gd name="connsiteY3" fmla="*/ 244316 h 1248251"/>
                <a:gd name="connsiteX4" fmla="*/ 271081 w 948594"/>
                <a:gd name="connsiteY4" fmla="*/ 497491 h 1248251"/>
                <a:gd name="connsiteX5" fmla="*/ 859441 w 948594"/>
                <a:gd name="connsiteY5" fmla="*/ 497491 h 1248251"/>
                <a:gd name="connsiteX6" fmla="*/ 859441 w 948594"/>
                <a:gd name="connsiteY6" fmla="*/ 741807 h 1248251"/>
                <a:gd name="connsiteX7" fmla="*/ 271081 w 948594"/>
                <a:gd name="connsiteY7" fmla="*/ 741807 h 1248251"/>
                <a:gd name="connsiteX8" fmla="*/ 271081 w 948594"/>
                <a:gd name="connsiteY8" fmla="*/ 1003935 h 1248251"/>
                <a:gd name="connsiteX9" fmla="*/ 948595 w 948594"/>
                <a:gd name="connsiteY9" fmla="*/ 1003935 h 1248251"/>
                <a:gd name="connsiteX10" fmla="*/ 948595 w 948594"/>
                <a:gd name="connsiteY10" fmla="*/ 1248251 h 1248251"/>
                <a:gd name="connsiteX11" fmla="*/ 0 w 948594"/>
                <a:gd name="connsiteY11" fmla="*/ 1248251 h 1248251"/>
                <a:gd name="connsiteX12" fmla="*/ 0 w 948594"/>
                <a:gd name="connsiteY12" fmla="*/ 0 h 124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594" h="1248251">
                  <a:moveTo>
                    <a:pt x="95" y="0"/>
                  </a:moveTo>
                  <a:lnTo>
                    <a:pt x="939737" y="0"/>
                  </a:lnTo>
                  <a:lnTo>
                    <a:pt x="939737" y="244316"/>
                  </a:lnTo>
                  <a:lnTo>
                    <a:pt x="271081" y="244316"/>
                  </a:lnTo>
                  <a:lnTo>
                    <a:pt x="271081" y="497491"/>
                  </a:lnTo>
                  <a:lnTo>
                    <a:pt x="859441" y="497491"/>
                  </a:lnTo>
                  <a:lnTo>
                    <a:pt x="859441" y="741807"/>
                  </a:lnTo>
                  <a:lnTo>
                    <a:pt x="271081" y="741807"/>
                  </a:lnTo>
                  <a:lnTo>
                    <a:pt x="271081" y="1003935"/>
                  </a:lnTo>
                  <a:lnTo>
                    <a:pt x="948595" y="1003935"/>
                  </a:lnTo>
                  <a:lnTo>
                    <a:pt x="948595" y="1248251"/>
                  </a:lnTo>
                  <a:lnTo>
                    <a:pt x="0" y="1248251"/>
                  </a:lnTo>
                  <a:lnTo>
                    <a:pt x="0" y="0"/>
                  </a:lnTo>
                  <a:close/>
                </a:path>
              </a:pathLst>
            </a:custGeom>
            <a:solidFill>
              <a:srgbClr val="44505E"/>
            </a:solidFill>
            <a:ln w="9525" cap="flat">
              <a:noFill/>
              <a:prstDash val="solid"/>
              <a:miter/>
            </a:ln>
          </p:spPr>
          <p:txBody>
            <a:bodyPr rtlCol="0" anchor="ctr"/>
            <a:lstStyle/>
            <a:p>
              <a:endParaRPr lang="pt-BR" noProof="0"/>
            </a:p>
          </p:txBody>
        </p:sp>
        <p:sp>
          <p:nvSpPr>
            <p:cNvPr id="21" name="Freeform: Shape 20">
              <a:extLst>
                <a:ext uri="{FF2B5EF4-FFF2-40B4-BE49-F238E27FC236}">
                  <a16:creationId xmlns:a16="http://schemas.microsoft.com/office/drawing/2014/main" id="{B3CFF368-BEE5-B120-222F-6BFB62DCC53C}"/>
                </a:ext>
              </a:extLst>
            </p:cNvPr>
            <p:cNvSpPr/>
            <p:nvPr/>
          </p:nvSpPr>
          <p:spPr>
            <a:xfrm>
              <a:off x="5253193" y="699983"/>
              <a:ext cx="90796" cy="97883"/>
            </a:xfrm>
            <a:custGeom>
              <a:avLst/>
              <a:gdLst>
                <a:gd name="connsiteX0" fmla="*/ 191548 w 361187"/>
                <a:gd name="connsiteY0" fmla="*/ 389382 h 389381"/>
                <a:gd name="connsiteX1" fmla="*/ 116300 w 361187"/>
                <a:gd name="connsiteY1" fmla="*/ 375285 h 389381"/>
                <a:gd name="connsiteX2" fmla="*/ 55531 w 361187"/>
                <a:gd name="connsiteY2" fmla="*/ 335756 h 389381"/>
                <a:gd name="connsiteX3" fmla="*/ 14859 w 361187"/>
                <a:gd name="connsiteY3" fmla="*/ 274606 h 389381"/>
                <a:gd name="connsiteX4" fmla="*/ 0 w 361187"/>
                <a:gd name="connsiteY4" fmla="*/ 195834 h 389381"/>
                <a:gd name="connsiteX5" fmla="*/ 0 w 361187"/>
                <a:gd name="connsiteY5" fmla="*/ 194405 h 389381"/>
                <a:gd name="connsiteX6" fmla="*/ 13430 w 361187"/>
                <a:gd name="connsiteY6" fmla="*/ 118777 h 389381"/>
                <a:gd name="connsiteX7" fmla="*/ 51245 w 361187"/>
                <a:gd name="connsiteY7" fmla="*/ 56959 h 389381"/>
                <a:gd name="connsiteX8" fmla="*/ 108871 w 361187"/>
                <a:gd name="connsiteY8" fmla="*/ 15240 h 389381"/>
                <a:gd name="connsiteX9" fmla="*/ 182404 w 361187"/>
                <a:gd name="connsiteY9" fmla="*/ 0 h 389381"/>
                <a:gd name="connsiteX10" fmla="*/ 260509 w 361187"/>
                <a:gd name="connsiteY10" fmla="*/ 16288 h 389381"/>
                <a:gd name="connsiteX11" fmla="*/ 316325 w 361187"/>
                <a:gd name="connsiteY11" fmla="*/ 60103 h 389381"/>
                <a:gd name="connsiteX12" fmla="*/ 349853 w 361187"/>
                <a:gd name="connsiteY12" fmla="*/ 124015 h 389381"/>
                <a:gd name="connsiteX13" fmla="*/ 361188 w 361187"/>
                <a:gd name="connsiteY13" fmla="*/ 200692 h 389381"/>
                <a:gd name="connsiteX14" fmla="*/ 360807 w 361187"/>
                <a:gd name="connsiteY14" fmla="*/ 212312 h 389381"/>
                <a:gd name="connsiteX15" fmla="*/ 359759 w 361187"/>
                <a:gd name="connsiteY15" fmla="*/ 224695 h 389381"/>
                <a:gd name="connsiteX16" fmla="*/ 85534 w 361187"/>
                <a:gd name="connsiteY16" fmla="*/ 224695 h 389381"/>
                <a:gd name="connsiteX17" fmla="*/ 121920 w 361187"/>
                <a:gd name="connsiteY17" fmla="*/ 294989 h 389381"/>
                <a:gd name="connsiteX18" fmla="*/ 192977 w 361187"/>
                <a:gd name="connsiteY18" fmla="*/ 319373 h 389381"/>
                <a:gd name="connsiteX19" fmla="*/ 248126 w 361187"/>
                <a:gd name="connsiteY19" fmla="*/ 308038 h 389381"/>
                <a:gd name="connsiteX20" fmla="*/ 294037 w 361187"/>
                <a:gd name="connsiteY20" fmla="*/ 274796 h 389381"/>
                <a:gd name="connsiteX21" fmla="*/ 344234 w 361187"/>
                <a:gd name="connsiteY21" fmla="*/ 319278 h 389381"/>
                <a:gd name="connsiteX22" fmla="*/ 280226 w 361187"/>
                <a:gd name="connsiteY22" fmla="*/ 370141 h 389381"/>
                <a:gd name="connsiteX23" fmla="*/ 191548 w 361187"/>
                <a:gd name="connsiteY23" fmla="*/ 389191 h 389381"/>
                <a:gd name="connsiteX24" fmla="*/ 276320 w 361187"/>
                <a:gd name="connsiteY24" fmla="*/ 168211 h 389381"/>
                <a:gd name="connsiteX25" fmla="*/ 267176 w 361187"/>
                <a:gd name="connsiteY25" fmla="*/ 129730 h 389381"/>
                <a:gd name="connsiteX26" fmla="*/ 248126 w 361187"/>
                <a:gd name="connsiteY26" fmla="*/ 98679 h 389381"/>
                <a:gd name="connsiteX27" fmla="*/ 219551 w 361187"/>
                <a:gd name="connsiteY27" fmla="*/ 77819 h 389381"/>
                <a:gd name="connsiteX28" fmla="*/ 181737 w 361187"/>
                <a:gd name="connsiteY28" fmla="*/ 70009 h 389381"/>
                <a:gd name="connsiteX29" fmla="*/ 116396 w 361187"/>
                <a:gd name="connsiteY29" fmla="*/ 97250 h 389381"/>
                <a:gd name="connsiteX30" fmla="*/ 84963 w 361187"/>
                <a:gd name="connsiteY30" fmla="*/ 168307 h 389381"/>
                <a:gd name="connsiteX31" fmla="*/ 276511 w 361187"/>
                <a:gd name="connsiteY31" fmla="*/ 168307 h 38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187" h="389381">
                  <a:moveTo>
                    <a:pt x="191548" y="389382"/>
                  </a:moveTo>
                  <a:cubicBezTo>
                    <a:pt x="164687" y="389382"/>
                    <a:pt x="139637" y="384715"/>
                    <a:pt x="116300" y="375285"/>
                  </a:cubicBezTo>
                  <a:cubicBezTo>
                    <a:pt x="92964" y="365855"/>
                    <a:pt x="72771" y="352711"/>
                    <a:pt x="55531" y="335756"/>
                  </a:cubicBezTo>
                  <a:cubicBezTo>
                    <a:pt x="38291" y="318802"/>
                    <a:pt x="24765" y="298418"/>
                    <a:pt x="14859" y="274606"/>
                  </a:cubicBezTo>
                  <a:cubicBezTo>
                    <a:pt x="4953" y="250793"/>
                    <a:pt x="0" y="224599"/>
                    <a:pt x="0" y="195834"/>
                  </a:cubicBezTo>
                  <a:lnTo>
                    <a:pt x="0" y="194405"/>
                  </a:lnTo>
                  <a:cubicBezTo>
                    <a:pt x="0" y="167545"/>
                    <a:pt x="4477" y="142399"/>
                    <a:pt x="13430" y="118777"/>
                  </a:cubicBezTo>
                  <a:cubicBezTo>
                    <a:pt x="22384" y="95250"/>
                    <a:pt x="34957" y="74581"/>
                    <a:pt x="51245" y="56959"/>
                  </a:cubicBezTo>
                  <a:cubicBezTo>
                    <a:pt x="67532" y="39338"/>
                    <a:pt x="86677" y="25432"/>
                    <a:pt x="108871" y="15240"/>
                  </a:cubicBezTo>
                  <a:cubicBezTo>
                    <a:pt x="131064" y="5143"/>
                    <a:pt x="155543" y="0"/>
                    <a:pt x="182404" y="0"/>
                  </a:cubicBezTo>
                  <a:cubicBezTo>
                    <a:pt x="212122" y="0"/>
                    <a:pt x="238125" y="5429"/>
                    <a:pt x="260509" y="16288"/>
                  </a:cubicBezTo>
                  <a:cubicBezTo>
                    <a:pt x="282893" y="27146"/>
                    <a:pt x="301466" y="41719"/>
                    <a:pt x="316325" y="60103"/>
                  </a:cubicBezTo>
                  <a:cubicBezTo>
                    <a:pt x="331184" y="78486"/>
                    <a:pt x="342329" y="99822"/>
                    <a:pt x="349853" y="124015"/>
                  </a:cubicBezTo>
                  <a:cubicBezTo>
                    <a:pt x="357378" y="148304"/>
                    <a:pt x="361188" y="173831"/>
                    <a:pt x="361188" y="200692"/>
                  </a:cubicBezTo>
                  <a:cubicBezTo>
                    <a:pt x="361188" y="204502"/>
                    <a:pt x="361093" y="208312"/>
                    <a:pt x="360807" y="212312"/>
                  </a:cubicBezTo>
                  <a:cubicBezTo>
                    <a:pt x="360521" y="216313"/>
                    <a:pt x="360236" y="220409"/>
                    <a:pt x="359759" y="224695"/>
                  </a:cubicBezTo>
                  <a:lnTo>
                    <a:pt x="85534" y="224695"/>
                  </a:lnTo>
                  <a:cubicBezTo>
                    <a:pt x="90202" y="255365"/>
                    <a:pt x="102394" y="278797"/>
                    <a:pt x="121920" y="294989"/>
                  </a:cubicBezTo>
                  <a:cubicBezTo>
                    <a:pt x="141446" y="311277"/>
                    <a:pt x="165164" y="319373"/>
                    <a:pt x="192977" y="319373"/>
                  </a:cubicBezTo>
                  <a:cubicBezTo>
                    <a:pt x="214217" y="319373"/>
                    <a:pt x="232505" y="315563"/>
                    <a:pt x="248126" y="308038"/>
                  </a:cubicBezTo>
                  <a:cubicBezTo>
                    <a:pt x="263652" y="300514"/>
                    <a:pt x="278987" y="289465"/>
                    <a:pt x="294037" y="274796"/>
                  </a:cubicBezTo>
                  <a:lnTo>
                    <a:pt x="344234" y="319278"/>
                  </a:lnTo>
                  <a:cubicBezTo>
                    <a:pt x="326327" y="340519"/>
                    <a:pt x="304991" y="357473"/>
                    <a:pt x="280226" y="370141"/>
                  </a:cubicBezTo>
                  <a:cubicBezTo>
                    <a:pt x="255461" y="382810"/>
                    <a:pt x="225933" y="389191"/>
                    <a:pt x="191548" y="389191"/>
                  </a:cubicBezTo>
                  <a:close/>
                  <a:moveTo>
                    <a:pt x="276320" y="168211"/>
                  </a:moveTo>
                  <a:cubicBezTo>
                    <a:pt x="274892" y="154591"/>
                    <a:pt x="271844" y="141732"/>
                    <a:pt x="267176" y="129730"/>
                  </a:cubicBezTo>
                  <a:cubicBezTo>
                    <a:pt x="262414" y="117729"/>
                    <a:pt x="256127" y="107347"/>
                    <a:pt x="248126" y="98679"/>
                  </a:cubicBezTo>
                  <a:cubicBezTo>
                    <a:pt x="240125" y="89916"/>
                    <a:pt x="230600" y="82963"/>
                    <a:pt x="219551" y="77819"/>
                  </a:cubicBezTo>
                  <a:cubicBezTo>
                    <a:pt x="208502" y="72676"/>
                    <a:pt x="195834" y="70009"/>
                    <a:pt x="181737" y="70009"/>
                  </a:cubicBezTo>
                  <a:cubicBezTo>
                    <a:pt x="155353" y="70009"/>
                    <a:pt x="133541" y="79057"/>
                    <a:pt x="116396" y="97250"/>
                  </a:cubicBezTo>
                  <a:cubicBezTo>
                    <a:pt x="99155" y="115348"/>
                    <a:pt x="88678" y="139065"/>
                    <a:pt x="84963" y="168307"/>
                  </a:cubicBezTo>
                  <a:lnTo>
                    <a:pt x="276511" y="168307"/>
                  </a:lnTo>
                  <a:close/>
                </a:path>
              </a:pathLst>
            </a:custGeom>
            <a:solidFill>
              <a:srgbClr val="44505E"/>
            </a:solidFill>
            <a:ln w="9525" cap="flat">
              <a:noFill/>
              <a:prstDash val="solid"/>
              <a:miter/>
            </a:ln>
          </p:spPr>
          <p:txBody>
            <a:bodyPr rtlCol="0" anchor="ctr"/>
            <a:lstStyle/>
            <a:p>
              <a:endParaRPr lang="pt-BR" noProof="0"/>
            </a:p>
          </p:txBody>
        </p:sp>
        <p:sp>
          <p:nvSpPr>
            <p:cNvPr id="22" name="Freeform: Shape 21">
              <a:extLst>
                <a:ext uri="{FF2B5EF4-FFF2-40B4-BE49-F238E27FC236}">
                  <a16:creationId xmlns:a16="http://schemas.microsoft.com/office/drawing/2014/main" id="{BA9609D0-A425-FBDB-0F58-5784B141E7C1}"/>
                </a:ext>
              </a:extLst>
            </p:cNvPr>
            <p:cNvSpPr/>
            <p:nvPr/>
          </p:nvSpPr>
          <p:spPr>
            <a:xfrm>
              <a:off x="5365659"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5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8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3 w 568166"/>
                <a:gd name="connsiteY21" fmla="*/ 381000 h 381000"/>
                <a:gd name="connsiteX22" fmla="*/ 240983 w 568166"/>
                <a:gd name="connsiteY22" fmla="*/ 168783 h 381000"/>
                <a:gd name="connsiteX23" fmla="*/ 221266 w 568166"/>
                <a:gd name="connsiteY23" fmla="*/ 101822 h 381000"/>
                <a:gd name="connsiteX24" fmla="*/ 165640 w 568166"/>
                <a:gd name="connsiteY24" fmla="*/ 78581 h 381000"/>
                <a:gd name="connsiteX25" fmla="*/ 108014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70" y="48196"/>
                    <a:pt x="105918" y="40576"/>
                  </a:cubicBezTo>
                  <a:cubicBezTo>
                    <a:pt x="112967" y="32956"/>
                    <a:pt x="121063" y="26099"/>
                    <a:pt x="130207" y="19907"/>
                  </a:cubicBezTo>
                  <a:cubicBezTo>
                    <a:pt x="139351" y="13716"/>
                    <a:pt x="149733" y="8858"/>
                    <a:pt x="161163" y="5334"/>
                  </a:cubicBezTo>
                  <a:cubicBezTo>
                    <a:pt x="172688" y="1714"/>
                    <a:pt x="185452" y="0"/>
                    <a:pt x="199549" y="0"/>
                  </a:cubicBezTo>
                  <a:cubicBezTo>
                    <a:pt x="226314" y="0"/>
                    <a:pt x="248984" y="6096"/>
                    <a:pt x="267557" y="18193"/>
                  </a:cubicBezTo>
                  <a:cubicBezTo>
                    <a:pt x="286131" y="30289"/>
                    <a:pt x="300323" y="46387"/>
                    <a:pt x="310134" y="66294"/>
                  </a:cubicBezTo>
                  <a:cubicBezTo>
                    <a:pt x="325279" y="46387"/>
                    <a:pt x="343091" y="30289"/>
                    <a:pt x="363665" y="18193"/>
                  </a:cubicBezTo>
                  <a:cubicBezTo>
                    <a:pt x="384239" y="6096"/>
                    <a:pt x="408718" y="0"/>
                    <a:pt x="437007" y="0"/>
                  </a:cubicBezTo>
                  <a:cubicBezTo>
                    <a:pt x="478060"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8" y="78486"/>
                  </a:cubicBezTo>
                  <a:cubicBezTo>
                    <a:pt x="382810" y="78486"/>
                    <a:pt x="364141" y="86392"/>
                    <a:pt x="349377" y="102108"/>
                  </a:cubicBezTo>
                  <a:cubicBezTo>
                    <a:pt x="334613" y="117824"/>
                    <a:pt x="327184" y="140779"/>
                    <a:pt x="327184" y="170879"/>
                  </a:cubicBezTo>
                  <a:lnTo>
                    <a:pt x="327184" y="381000"/>
                  </a:lnTo>
                  <a:lnTo>
                    <a:pt x="240983" y="381000"/>
                  </a:lnTo>
                  <a:lnTo>
                    <a:pt x="240983" y="168783"/>
                  </a:lnTo>
                  <a:cubicBezTo>
                    <a:pt x="240983" y="139637"/>
                    <a:pt x="234410" y="117348"/>
                    <a:pt x="221266" y="101822"/>
                  </a:cubicBezTo>
                  <a:cubicBezTo>
                    <a:pt x="208121" y="86296"/>
                    <a:pt x="189643" y="78581"/>
                    <a:pt x="165640" y="78581"/>
                  </a:cubicBezTo>
                  <a:cubicBezTo>
                    <a:pt x="141637" y="78581"/>
                    <a:pt x="122492" y="86773"/>
                    <a:pt x="108014"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23" name="Freeform: Shape 22">
              <a:extLst>
                <a:ext uri="{FF2B5EF4-FFF2-40B4-BE49-F238E27FC236}">
                  <a16:creationId xmlns:a16="http://schemas.microsoft.com/office/drawing/2014/main" id="{71A4C7A2-6823-0881-8A5A-CF8E4C6AC954}"/>
                </a:ext>
              </a:extLst>
            </p:cNvPr>
            <p:cNvSpPr/>
            <p:nvPr/>
          </p:nvSpPr>
          <p:spPr>
            <a:xfrm>
              <a:off x="5587693" y="700007"/>
              <a:ext cx="84211" cy="95752"/>
            </a:xfrm>
            <a:custGeom>
              <a:avLst/>
              <a:gdLst>
                <a:gd name="connsiteX0" fmla="*/ 95 w 334994"/>
                <a:gd name="connsiteY0" fmla="*/ 7715 h 380904"/>
                <a:gd name="connsiteX1" fmla="*/ 86296 w 334994"/>
                <a:gd name="connsiteY1" fmla="*/ 7715 h 380904"/>
                <a:gd name="connsiteX2" fmla="*/ 86296 w 334994"/>
                <a:gd name="connsiteY2" fmla="*/ 66294 h 380904"/>
                <a:gd name="connsiteX3" fmla="*/ 106394 w 334994"/>
                <a:gd name="connsiteY3" fmla="*/ 40958 h 380904"/>
                <a:gd name="connsiteX4" fmla="*/ 131731 w 334994"/>
                <a:gd name="connsiteY4" fmla="*/ 19907 h 380904"/>
                <a:gd name="connsiteX5" fmla="*/ 163449 w 334994"/>
                <a:gd name="connsiteY5" fmla="*/ 5334 h 380904"/>
                <a:gd name="connsiteX6" fmla="*/ 202597 w 334994"/>
                <a:gd name="connsiteY6" fmla="*/ 0 h 380904"/>
                <a:gd name="connsiteX7" fmla="*/ 300514 w 334994"/>
                <a:gd name="connsiteY7" fmla="*/ 38862 h 380904"/>
                <a:gd name="connsiteX8" fmla="*/ 334994 w 334994"/>
                <a:gd name="connsiteY8" fmla="*/ 143446 h 380904"/>
                <a:gd name="connsiteX9" fmla="*/ 334994 w 334994"/>
                <a:gd name="connsiteY9" fmla="*/ 380905 h 380904"/>
                <a:gd name="connsiteX10" fmla="*/ 248793 w 334994"/>
                <a:gd name="connsiteY10" fmla="*/ 380905 h 380904"/>
                <a:gd name="connsiteX11" fmla="*/ 248793 w 334994"/>
                <a:gd name="connsiteY11" fmla="*/ 169450 h 380904"/>
                <a:gd name="connsiteX12" fmla="*/ 228124 w 334994"/>
                <a:gd name="connsiteY12" fmla="*/ 102108 h 380904"/>
                <a:gd name="connsiteX13" fmla="*/ 169640 w 334994"/>
                <a:gd name="connsiteY13" fmla="*/ 78486 h 380904"/>
                <a:gd name="connsiteX14" fmla="*/ 109347 w 334994"/>
                <a:gd name="connsiteY14" fmla="*/ 102775 h 380904"/>
                <a:gd name="connsiteX15" fmla="*/ 86201 w 334994"/>
                <a:gd name="connsiteY15" fmla="*/ 170783 h 380904"/>
                <a:gd name="connsiteX16" fmla="*/ 86201 w 334994"/>
                <a:gd name="connsiteY16" fmla="*/ 380905 h 380904"/>
                <a:gd name="connsiteX17" fmla="*/ 0 w 334994"/>
                <a:gd name="connsiteY17" fmla="*/ 380905 h 380904"/>
                <a:gd name="connsiteX18" fmla="*/ 0 w 334994"/>
                <a:gd name="connsiteY18" fmla="*/ 7810 h 38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94" h="380904">
                  <a:moveTo>
                    <a:pt x="95" y="7715"/>
                  </a:moveTo>
                  <a:lnTo>
                    <a:pt x="86296" y="7715"/>
                  </a:lnTo>
                  <a:lnTo>
                    <a:pt x="86296" y="66294"/>
                  </a:lnTo>
                  <a:cubicBezTo>
                    <a:pt x="92392" y="57245"/>
                    <a:pt x="99060" y="48863"/>
                    <a:pt x="106394" y="40958"/>
                  </a:cubicBezTo>
                  <a:cubicBezTo>
                    <a:pt x="113633" y="33147"/>
                    <a:pt x="122110" y="26099"/>
                    <a:pt x="131731" y="19907"/>
                  </a:cubicBezTo>
                  <a:cubicBezTo>
                    <a:pt x="141351" y="13716"/>
                    <a:pt x="151924" y="8858"/>
                    <a:pt x="163449" y="5334"/>
                  </a:cubicBezTo>
                  <a:cubicBezTo>
                    <a:pt x="174974" y="1714"/>
                    <a:pt x="188024" y="0"/>
                    <a:pt x="202597" y="0"/>
                  </a:cubicBezTo>
                  <a:cubicBezTo>
                    <a:pt x="244888" y="0"/>
                    <a:pt x="277559" y="12954"/>
                    <a:pt x="300514" y="38862"/>
                  </a:cubicBezTo>
                  <a:cubicBezTo>
                    <a:pt x="323564" y="64770"/>
                    <a:pt x="334994" y="99631"/>
                    <a:pt x="334994" y="143446"/>
                  </a:cubicBezTo>
                  <a:lnTo>
                    <a:pt x="334994" y="380905"/>
                  </a:lnTo>
                  <a:lnTo>
                    <a:pt x="248793" y="380905"/>
                  </a:lnTo>
                  <a:lnTo>
                    <a:pt x="248793" y="169450"/>
                  </a:lnTo>
                  <a:cubicBezTo>
                    <a:pt x="248793" y="140303"/>
                    <a:pt x="241935" y="117824"/>
                    <a:pt x="228124" y="102108"/>
                  </a:cubicBezTo>
                  <a:cubicBezTo>
                    <a:pt x="214313" y="86392"/>
                    <a:pt x="194881" y="78486"/>
                    <a:pt x="169640" y="78486"/>
                  </a:cubicBezTo>
                  <a:cubicBezTo>
                    <a:pt x="144399" y="78486"/>
                    <a:pt x="124777" y="86582"/>
                    <a:pt x="109347" y="102775"/>
                  </a:cubicBezTo>
                  <a:cubicBezTo>
                    <a:pt x="93917" y="118967"/>
                    <a:pt x="86201" y="141637"/>
                    <a:pt x="86201" y="170783"/>
                  </a:cubicBezTo>
                  <a:lnTo>
                    <a:pt x="86201" y="380905"/>
                  </a:lnTo>
                  <a:lnTo>
                    <a:pt x="0" y="380905"/>
                  </a:lnTo>
                  <a:lnTo>
                    <a:pt x="0" y="7810"/>
                  </a:lnTo>
                  <a:close/>
                </a:path>
              </a:pathLst>
            </a:custGeom>
            <a:solidFill>
              <a:srgbClr val="44505E"/>
            </a:solidFill>
            <a:ln w="9525" cap="flat">
              <a:noFill/>
              <a:prstDash val="solid"/>
              <a:miter/>
            </a:ln>
          </p:spPr>
          <p:txBody>
            <a:bodyPr rtlCol="0" anchor="ctr"/>
            <a:lstStyle/>
            <a:p>
              <a:endParaRPr lang="pt-BR" noProof="0"/>
            </a:p>
          </p:txBody>
        </p:sp>
        <p:sp>
          <p:nvSpPr>
            <p:cNvPr id="24" name="Freeform: Shape 23">
              <a:extLst>
                <a:ext uri="{FF2B5EF4-FFF2-40B4-BE49-F238E27FC236}">
                  <a16:creationId xmlns:a16="http://schemas.microsoft.com/office/drawing/2014/main" id="{9901BA68-7003-3E27-A9C9-50D52798F55F}"/>
                </a:ext>
              </a:extLst>
            </p:cNvPr>
            <p:cNvSpPr/>
            <p:nvPr/>
          </p:nvSpPr>
          <p:spPr>
            <a:xfrm>
              <a:off x="5692712" y="699959"/>
              <a:ext cx="100015" cy="97908"/>
            </a:xfrm>
            <a:custGeom>
              <a:avLst/>
              <a:gdLst>
                <a:gd name="connsiteX0" fmla="*/ 197834 w 397859"/>
                <a:gd name="connsiteY0" fmla="*/ 389477 h 389477"/>
                <a:gd name="connsiteX1" fmla="*/ 119063 w 397859"/>
                <a:gd name="connsiteY1" fmla="*/ 374237 h 389477"/>
                <a:gd name="connsiteX2" fmla="*/ 56197 w 397859"/>
                <a:gd name="connsiteY2" fmla="*/ 332899 h 389477"/>
                <a:gd name="connsiteX3" fmla="*/ 14859 w 397859"/>
                <a:gd name="connsiteY3" fmla="*/ 271463 h 389477"/>
                <a:gd name="connsiteX4" fmla="*/ 0 w 397859"/>
                <a:gd name="connsiteY4" fmla="*/ 196501 h 389477"/>
                <a:gd name="connsiteX5" fmla="*/ 0 w 397859"/>
                <a:gd name="connsiteY5" fmla="*/ 195072 h 389477"/>
                <a:gd name="connsiteX6" fmla="*/ 15145 w 397859"/>
                <a:gd name="connsiteY6" fmla="*/ 119444 h 389477"/>
                <a:gd name="connsiteX7" fmla="*/ 56864 w 397859"/>
                <a:gd name="connsiteY7" fmla="*/ 57626 h 389477"/>
                <a:gd name="connsiteX8" fmla="*/ 119729 w 397859"/>
                <a:gd name="connsiteY8" fmla="*/ 15526 h 389477"/>
                <a:gd name="connsiteX9" fmla="*/ 199263 w 397859"/>
                <a:gd name="connsiteY9" fmla="*/ 0 h 389477"/>
                <a:gd name="connsiteX10" fmla="*/ 278797 w 397859"/>
                <a:gd name="connsiteY10" fmla="*/ 15240 h 389477"/>
                <a:gd name="connsiteX11" fmla="*/ 341662 w 397859"/>
                <a:gd name="connsiteY11" fmla="*/ 56959 h 389477"/>
                <a:gd name="connsiteX12" fmla="*/ 383000 w 397859"/>
                <a:gd name="connsiteY12" fmla="*/ 118396 h 389477"/>
                <a:gd name="connsiteX13" fmla="*/ 397859 w 397859"/>
                <a:gd name="connsiteY13" fmla="*/ 193643 h 389477"/>
                <a:gd name="connsiteX14" fmla="*/ 397859 w 397859"/>
                <a:gd name="connsiteY14" fmla="*/ 195072 h 389477"/>
                <a:gd name="connsiteX15" fmla="*/ 382619 w 397859"/>
                <a:gd name="connsiteY15" fmla="*/ 270034 h 389477"/>
                <a:gd name="connsiteX16" fmla="*/ 340900 w 397859"/>
                <a:gd name="connsiteY16" fmla="*/ 331851 h 389477"/>
                <a:gd name="connsiteX17" fmla="*/ 277654 w 397859"/>
                <a:gd name="connsiteY17" fmla="*/ 373856 h 389477"/>
                <a:gd name="connsiteX18" fmla="*/ 197834 w 397859"/>
                <a:gd name="connsiteY18" fmla="*/ 389382 h 389477"/>
                <a:gd name="connsiteX19" fmla="*/ 199263 w 397859"/>
                <a:gd name="connsiteY19" fmla="*/ 315278 h 389477"/>
                <a:gd name="connsiteX20" fmla="*/ 245935 w 397859"/>
                <a:gd name="connsiteY20" fmla="*/ 305753 h 389477"/>
                <a:gd name="connsiteX21" fmla="*/ 281368 w 397859"/>
                <a:gd name="connsiteY21" fmla="*/ 279940 h 389477"/>
                <a:gd name="connsiteX22" fmla="*/ 303847 w 397859"/>
                <a:gd name="connsiteY22" fmla="*/ 242125 h 389477"/>
                <a:gd name="connsiteX23" fmla="*/ 311563 w 397859"/>
                <a:gd name="connsiteY23" fmla="*/ 196501 h 389477"/>
                <a:gd name="connsiteX24" fmla="*/ 311563 w 397859"/>
                <a:gd name="connsiteY24" fmla="*/ 195072 h 389477"/>
                <a:gd name="connsiteX25" fmla="*/ 303181 w 397859"/>
                <a:gd name="connsiteY25" fmla="*/ 148400 h 389477"/>
                <a:gd name="connsiteX26" fmla="*/ 279654 w 397859"/>
                <a:gd name="connsiteY26" fmla="*/ 110204 h 389477"/>
                <a:gd name="connsiteX27" fmla="*/ 243840 w 397859"/>
                <a:gd name="connsiteY27" fmla="*/ 84392 h 389477"/>
                <a:gd name="connsiteX28" fmla="*/ 197834 w 397859"/>
                <a:gd name="connsiteY28" fmla="*/ 74867 h 389477"/>
                <a:gd name="connsiteX29" fmla="*/ 151829 w 397859"/>
                <a:gd name="connsiteY29" fmla="*/ 84392 h 389477"/>
                <a:gd name="connsiteX30" fmla="*/ 116396 w 397859"/>
                <a:gd name="connsiteY30" fmla="*/ 109823 h 389477"/>
                <a:gd name="connsiteX31" fmla="*/ 93917 w 397859"/>
                <a:gd name="connsiteY31" fmla="*/ 147638 h 389477"/>
                <a:gd name="connsiteX32" fmla="*/ 86201 w 397859"/>
                <a:gd name="connsiteY32" fmla="*/ 193548 h 389477"/>
                <a:gd name="connsiteX33" fmla="*/ 86201 w 397859"/>
                <a:gd name="connsiteY33" fmla="*/ 194977 h 389477"/>
                <a:gd name="connsiteX34" fmla="*/ 94583 w 397859"/>
                <a:gd name="connsiteY34" fmla="*/ 241268 h 389477"/>
                <a:gd name="connsiteX35" fmla="*/ 118110 w 397859"/>
                <a:gd name="connsiteY35" fmla="*/ 279463 h 389477"/>
                <a:gd name="connsiteX36" fmla="*/ 153924 w 397859"/>
                <a:gd name="connsiteY36" fmla="*/ 305562 h 389477"/>
                <a:gd name="connsiteX37" fmla="*/ 199263 w 397859"/>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859" h="389477">
                  <a:moveTo>
                    <a:pt x="197834" y="389477"/>
                  </a:moveTo>
                  <a:cubicBezTo>
                    <a:pt x="169545" y="389477"/>
                    <a:pt x="143351" y="384429"/>
                    <a:pt x="119063" y="374237"/>
                  </a:cubicBezTo>
                  <a:cubicBezTo>
                    <a:pt x="94774" y="364141"/>
                    <a:pt x="73819" y="350330"/>
                    <a:pt x="56197" y="332899"/>
                  </a:cubicBezTo>
                  <a:cubicBezTo>
                    <a:pt x="38481" y="315468"/>
                    <a:pt x="24765" y="294989"/>
                    <a:pt x="14859" y="271463"/>
                  </a:cubicBezTo>
                  <a:cubicBezTo>
                    <a:pt x="4953" y="247936"/>
                    <a:pt x="0" y="222980"/>
                    <a:pt x="0" y="196501"/>
                  </a:cubicBezTo>
                  <a:lnTo>
                    <a:pt x="0" y="195072"/>
                  </a:lnTo>
                  <a:cubicBezTo>
                    <a:pt x="0" y="168212"/>
                    <a:pt x="5048" y="143066"/>
                    <a:pt x="15145" y="119444"/>
                  </a:cubicBezTo>
                  <a:cubicBezTo>
                    <a:pt x="25241" y="95917"/>
                    <a:pt x="39148" y="75248"/>
                    <a:pt x="56864" y="57626"/>
                  </a:cubicBezTo>
                  <a:cubicBezTo>
                    <a:pt x="74581" y="39910"/>
                    <a:pt x="95536" y="25908"/>
                    <a:pt x="119729" y="15526"/>
                  </a:cubicBezTo>
                  <a:cubicBezTo>
                    <a:pt x="144018" y="5144"/>
                    <a:pt x="170497" y="0"/>
                    <a:pt x="199263" y="0"/>
                  </a:cubicBezTo>
                  <a:cubicBezTo>
                    <a:pt x="228029" y="0"/>
                    <a:pt x="254508" y="5048"/>
                    <a:pt x="278797" y="15240"/>
                  </a:cubicBezTo>
                  <a:cubicBezTo>
                    <a:pt x="303085" y="25337"/>
                    <a:pt x="324041" y="39243"/>
                    <a:pt x="341662" y="56959"/>
                  </a:cubicBezTo>
                  <a:cubicBezTo>
                    <a:pt x="359378" y="74676"/>
                    <a:pt x="373094" y="95155"/>
                    <a:pt x="383000" y="118396"/>
                  </a:cubicBezTo>
                  <a:cubicBezTo>
                    <a:pt x="392906" y="141732"/>
                    <a:pt x="397859" y="166783"/>
                    <a:pt x="397859" y="193643"/>
                  </a:cubicBezTo>
                  <a:lnTo>
                    <a:pt x="397859" y="195072"/>
                  </a:lnTo>
                  <a:cubicBezTo>
                    <a:pt x="397859" y="221456"/>
                    <a:pt x="392811" y="246412"/>
                    <a:pt x="382619" y="270034"/>
                  </a:cubicBezTo>
                  <a:cubicBezTo>
                    <a:pt x="372523" y="293561"/>
                    <a:pt x="358616" y="314230"/>
                    <a:pt x="340900" y="331851"/>
                  </a:cubicBezTo>
                  <a:cubicBezTo>
                    <a:pt x="323183" y="349472"/>
                    <a:pt x="302133" y="363569"/>
                    <a:pt x="277654" y="373856"/>
                  </a:cubicBezTo>
                  <a:cubicBezTo>
                    <a:pt x="253175" y="384238"/>
                    <a:pt x="226504" y="389382"/>
                    <a:pt x="197834" y="389382"/>
                  </a:cubicBezTo>
                  <a:close/>
                  <a:moveTo>
                    <a:pt x="199263" y="315278"/>
                  </a:moveTo>
                  <a:cubicBezTo>
                    <a:pt x="216598" y="315278"/>
                    <a:pt x="232124" y="312039"/>
                    <a:pt x="245935" y="305753"/>
                  </a:cubicBezTo>
                  <a:cubicBezTo>
                    <a:pt x="259747" y="299371"/>
                    <a:pt x="271558" y="290798"/>
                    <a:pt x="281368" y="279940"/>
                  </a:cubicBezTo>
                  <a:cubicBezTo>
                    <a:pt x="291179" y="269081"/>
                    <a:pt x="298704" y="256508"/>
                    <a:pt x="303847" y="242125"/>
                  </a:cubicBezTo>
                  <a:cubicBezTo>
                    <a:pt x="308991" y="227743"/>
                    <a:pt x="311563" y="212598"/>
                    <a:pt x="311563" y="196501"/>
                  </a:cubicBezTo>
                  <a:lnTo>
                    <a:pt x="311563" y="195072"/>
                  </a:lnTo>
                  <a:cubicBezTo>
                    <a:pt x="311563" y="178594"/>
                    <a:pt x="308800" y="163068"/>
                    <a:pt x="303181" y="148400"/>
                  </a:cubicBezTo>
                  <a:cubicBezTo>
                    <a:pt x="297561" y="133826"/>
                    <a:pt x="289750" y="121063"/>
                    <a:pt x="279654" y="110204"/>
                  </a:cubicBezTo>
                  <a:cubicBezTo>
                    <a:pt x="269558" y="99346"/>
                    <a:pt x="257651" y="90773"/>
                    <a:pt x="243840" y="84392"/>
                  </a:cubicBezTo>
                  <a:cubicBezTo>
                    <a:pt x="230029" y="78010"/>
                    <a:pt x="214693" y="74867"/>
                    <a:pt x="197834" y="74867"/>
                  </a:cubicBezTo>
                  <a:cubicBezTo>
                    <a:pt x="180975" y="74867"/>
                    <a:pt x="165640" y="78010"/>
                    <a:pt x="151829" y="84392"/>
                  </a:cubicBezTo>
                  <a:cubicBezTo>
                    <a:pt x="138017" y="90773"/>
                    <a:pt x="126206" y="99250"/>
                    <a:pt x="116396" y="109823"/>
                  </a:cubicBezTo>
                  <a:cubicBezTo>
                    <a:pt x="106585" y="120396"/>
                    <a:pt x="99060" y="133064"/>
                    <a:pt x="93917" y="147638"/>
                  </a:cubicBezTo>
                  <a:cubicBezTo>
                    <a:pt x="88773" y="162211"/>
                    <a:pt x="86201" y="177546"/>
                    <a:pt x="86201" y="193548"/>
                  </a:cubicBezTo>
                  <a:lnTo>
                    <a:pt x="86201" y="194977"/>
                  </a:lnTo>
                  <a:cubicBezTo>
                    <a:pt x="86201" y="211455"/>
                    <a:pt x="88963" y="226886"/>
                    <a:pt x="94583" y="241268"/>
                  </a:cubicBezTo>
                  <a:cubicBezTo>
                    <a:pt x="100203" y="255651"/>
                    <a:pt x="108013" y="268319"/>
                    <a:pt x="118110" y="279463"/>
                  </a:cubicBezTo>
                  <a:cubicBezTo>
                    <a:pt x="128206" y="290513"/>
                    <a:pt x="140113" y="299275"/>
                    <a:pt x="153924" y="305562"/>
                  </a:cubicBezTo>
                  <a:cubicBezTo>
                    <a:pt x="167735" y="311944"/>
                    <a:pt x="182880"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25" name="Freeform: Shape 24">
              <a:extLst>
                <a:ext uri="{FF2B5EF4-FFF2-40B4-BE49-F238E27FC236}">
                  <a16:creationId xmlns:a16="http://schemas.microsoft.com/office/drawing/2014/main" id="{6ECFA163-0BF1-FFD8-B839-940907162ED8}"/>
                </a:ext>
              </a:extLst>
            </p:cNvPr>
            <p:cNvSpPr/>
            <p:nvPr/>
          </p:nvSpPr>
          <p:spPr>
            <a:xfrm>
              <a:off x="5806925"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2 w 296894"/>
                <a:gd name="connsiteY36" fmla="*/ 224980 h 386714"/>
                <a:gd name="connsiteX37" fmla="*/ 296894 w 296894"/>
                <a:gd name="connsiteY37" fmla="*/ 267938 h 386714"/>
                <a:gd name="connsiteX38" fmla="*/ 296894 w 296894"/>
                <a:gd name="connsiteY38" fmla="*/ 269367 h 386714"/>
                <a:gd name="connsiteX39" fmla="*/ 286322 w 296894"/>
                <a:gd name="connsiteY39" fmla="*/ 320897 h 386714"/>
                <a:gd name="connsiteX40" fmla="*/ 256984 w 296894"/>
                <a:gd name="connsiteY40" fmla="*/ 357188 h 386714"/>
                <a:gd name="connsiteX41" fmla="*/ 212789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8" y="298704"/>
                    <a:pt x="100013" y="306514"/>
                  </a:cubicBezTo>
                  <a:cubicBezTo>
                    <a:pt x="120967" y="314325"/>
                    <a:pt x="141161" y="318135"/>
                    <a:pt x="160401" y="318135"/>
                  </a:cubicBezTo>
                  <a:cubicBezTo>
                    <a:pt x="179642" y="318135"/>
                    <a:pt x="192976"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2" y="241078"/>
                    <a:pt x="176498" y="237553"/>
                    <a:pt x="166402" y="234220"/>
                  </a:cubicBezTo>
                  <a:cubicBezTo>
                    <a:pt x="156305" y="230886"/>
                    <a:pt x="145733" y="227647"/>
                    <a:pt x="134969" y="224314"/>
                  </a:cubicBezTo>
                  <a:cubicBezTo>
                    <a:pt x="121253" y="220599"/>
                    <a:pt x="107537" y="216122"/>
                    <a:pt x="93631" y="210884"/>
                  </a:cubicBezTo>
                  <a:cubicBezTo>
                    <a:pt x="79724" y="205740"/>
                    <a:pt x="67246" y="198977"/>
                    <a:pt x="56197" y="190786"/>
                  </a:cubicBezTo>
                  <a:cubicBezTo>
                    <a:pt x="45149" y="182594"/>
                    <a:pt x="36100" y="172307"/>
                    <a:pt x="28956" y="160115"/>
                  </a:cubicBezTo>
                  <a:cubicBezTo>
                    <a:pt x="21908"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5"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7" y="156210"/>
                    <a:pt x="180975" y="159448"/>
                  </a:cubicBezTo>
                  <a:cubicBezTo>
                    <a:pt x="194596" y="163639"/>
                    <a:pt x="208312" y="168592"/>
                    <a:pt x="222028" y="174212"/>
                  </a:cubicBezTo>
                  <a:cubicBezTo>
                    <a:pt x="235649" y="179832"/>
                    <a:pt x="248031" y="186785"/>
                    <a:pt x="259080" y="194977"/>
                  </a:cubicBezTo>
                  <a:cubicBezTo>
                    <a:pt x="270129" y="203168"/>
                    <a:pt x="279273" y="213169"/>
                    <a:pt x="286322" y="224980"/>
                  </a:cubicBezTo>
                  <a:cubicBezTo>
                    <a:pt x="293370" y="236696"/>
                    <a:pt x="296894" y="251079"/>
                    <a:pt x="296894" y="267938"/>
                  </a:cubicBezTo>
                  <a:lnTo>
                    <a:pt x="296894" y="269367"/>
                  </a:lnTo>
                  <a:cubicBezTo>
                    <a:pt x="296894" y="289084"/>
                    <a:pt x="293370" y="306229"/>
                    <a:pt x="286322" y="320897"/>
                  </a:cubicBezTo>
                  <a:cubicBezTo>
                    <a:pt x="279273" y="335470"/>
                    <a:pt x="269462" y="347567"/>
                    <a:pt x="256984" y="357188"/>
                  </a:cubicBezTo>
                  <a:cubicBezTo>
                    <a:pt x="244507" y="366808"/>
                    <a:pt x="229743" y="374142"/>
                    <a:pt x="212789"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6" name="Freeform: Shape 25">
              <a:extLst>
                <a:ext uri="{FF2B5EF4-FFF2-40B4-BE49-F238E27FC236}">
                  <a16:creationId xmlns:a16="http://schemas.microsoft.com/office/drawing/2014/main" id="{73A880EB-B987-A54E-A306-8314126DD256}"/>
                </a:ext>
              </a:extLst>
            </p:cNvPr>
            <p:cNvSpPr/>
            <p:nvPr/>
          </p:nvSpPr>
          <p:spPr>
            <a:xfrm>
              <a:off x="589573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6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160" y="318135"/>
                    <a:pt x="160401" y="318135"/>
                  </a:cubicBezTo>
                  <a:cubicBezTo>
                    <a:pt x="179641" y="318135"/>
                    <a:pt x="192976"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4"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792"/>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7" name="Freeform: Shape 26">
              <a:extLst>
                <a:ext uri="{FF2B5EF4-FFF2-40B4-BE49-F238E27FC236}">
                  <a16:creationId xmlns:a16="http://schemas.microsoft.com/office/drawing/2014/main" id="{8244C7BE-0B4F-F0FC-D1D8-197F46B536C2}"/>
                </a:ext>
              </a:extLst>
            </p:cNvPr>
            <p:cNvSpPr/>
            <p:nvPr/>
          </p:nvSpPr>
          <p:spPr>
            <a:xfrm>
              <a:off x="5985812" y="700558"/>
              <a:ext cx="85097" cy="97141"/>
            </a:xfrm>
            <a:custGeom>
              <a:avLst/>
              <a:gdLst>
                <a:gd name="connsiteX0" fmla="*/ 253651 w 338518"/>
                <a:gd name="connsiteY0" fmla="*/ 378619 h 386429"/>
                <a:gd name="connsiteX1" fmla="*/ 253651 w 338518"/>
                <a:gd name="connsiteY1" fmla="*/ 332708 h 386429"/>
                <a:gd name="connsiteX2" fmla="*/ 204883 w 338518"/>
                <a:gd name="connsiteY2" fmla="*/ 370904 h 386429"/>
                <a:gd name="connsiteX3" fmla="*/ 132779 w 338518"/>
                <a:gd name="connsiteY3" fmla="*/ 386429 h 386429"/>
                <a:gd name="connsiteX4" fmla="*/ 81915 w 338518"/>
                <a:gd name="connsiteY4" fmla="*/ 379000 h 386429"/>
                <a:gd name="connsiteX5" fmla="*/ 39910 w 338518"/>
                <a:gd name="connsiteY5" fmla="*/ 357092 h 386429"/>
                <a:gd name="connsiteX6" fmla="*/ 10954 w 338518"/>
                <a:gd name="connsiteY6" fmla="*/ 321088 h 386429"/>
                <a:gd name="connsiteX7" fmla="*/ 0 w 338518"/>
                <a:gd name="connsiteY7" fmla="*/ 271272 h 386429"/>
                <a:gd name="connsiteX8" fmla="*/ 0 w 338518"/>
                <a:gd name="connsiteY8" fmla="*/ 269843 h 386429"/>
                <a:gd name="connsiteX9" fmla="*/ 11335 w 338518"/>
                <a:gd name="connsiteY9" fmla="*/ 215741 h 386429"/>
                <a:gd name="connsiteX10" fmla="*/ 42767 w 338518"/>
                <a:gd name="connsiteY10" fmla="*/ 177546 h 386429"/>
                <a:gd name="connsiteX11" fmla="*/ 90773 w 338518"/>
                <a:gd name="connsiteY11" fmla="*/ 154972 h 386429"/>
                <a:gd name="connsiteX12" fmla="*/ 151162 w 338518"/>
                <a:gd name="connsiteY12" fmla="*/ 147542 h 386429"/>
                <a:gd name="connsiteX13" fmla="*/ 208788 w 338518"/>
                <a:gd name="connsiteY13" fmla="*/ 151829 h 386429"/>
                <a:gd name="connsiteX14" fmla="*/ 254413 w 338518"/>
                <a:gd name="connsiteY14" fmla="*/ 163163 h 386429"/>
                <a:gd name="connsiteX15" fmla="*/ 254413 w 338518"/>
                <a:gd name="connsiteY15" fmla="*/ 156115 h 386429"/>
                <a:gd name="connsiteX16" fmla="*/ 230696 w 338518"/>
                <a:gd name="connsiteY16" fmla="*/ 96774 h 386429"/>
                <a:gd name="connsiteX17" fmla="*/ 162496 w 338518"/>
                <a:gd name="connsiteY17" fmla="*/ 76295 h 386429"/>
                <a:gd name="connsiteX18" fmla="*/ 106013 w 338518"/>
                <a:gd name="connsiteY18" fmla="*/ 82677 h 386429"/>
                <a:gd name="connsiteX19" fmla="*/ 55816 w 338518"/>
                <a:gd name="connsiteY19" fmla="*/ 99632 h 386429"/>
                <a:gd name="connsiteX20" fmla="*/ 32480 w 338518"/>
                <a:gd name="connsiteY20" fmla="*/ 31052 h 386429"/>
                <a:gd name="connsiteX21" fmla="*/ 96107 w 338518"/>
                <a:gd name="connsiteY21" fmla="*/ 8477 h 386429"/>
                <a:gd name="connsiteX22" fmla="*/ 174593 w 338518"/>
                <a:gd name="connsiteY22" fmla="*/ 0 h 386429"/>
                <a:gd name="connsiteX23" fmla="*/ 298228 w 338518"/>
                <a:gd name="connsiteY23" fmla="*/ 41338 h 386429"/>
                <a:gd name="connsiteX24" fmla="*/ 338519 w 338518"/>
                <a:gd name="connsiteY24" fmla="*/ 157544 h 386429"/>
                <a:gd name="connsiteX25" fmla="*/ 338519 w 338518"/>
                <a:gd name="connsiteY25" fmla="*/ 378714 h 386429"/>
                <a:gd name="connsiteX26" fmla="*/ 253746 w 338518"/>
                <a:gd name="connsiteY26" fmla="*/ 378714 h 386429"/>
                <a:gd name="connsiteX27" fmla="*/ 255746 w 338518"/>
                <a:gd name="connsiteY27" fmla="*/ 222409 h 386429"/>
                <a:gd name="connsiteX28" fmla="*/ 217265 w 338518"/>
                <a:gd name="connsiteY28" fmla="*/ 211836 h 386429"/>
                <a:gd name="connsiteX29" fmla="*/ 170307 w 338518"/>
                <a:gd name="connsiteY29" fmla="*/ 207550 h 386429"/>
                <a:gd name="connsiteX30" fmla="*/ 107442 w 338518"/>
                <a:gd name="connsiteY30" fmla="*/ 223075 h 386429"/>
                <a:gd name="connsiteX31" fmla="*/ 84868 w 338518"/>
                <a:gd name="connsiteY31" fmla="*/ 265462 h 386429"/>
                <a:gd name="connsiteX32" fmla="*/ 84868 w 338518"/>
                <a:gd name="connsiteY32" fmla="*/ 266891 h 386429"/>
                <a:gd name="connsiteX33" fmla="*/ 105728 w 338518"/>
                <a:gd name="connsiteY33" fmla="*/ 307848 h 386429"/>
                <a:gd name="connsiteX34" fmla="*/ 156972 w 338518"/>
                <a:gd name="connsiteY34" fmla="*/ 321945 h 386429"/>
                <a:gd name="connsiteX35" fmla="*/ 196215 w 338518"/>
                <a:gd name="connsiteY35" fmla="*/ 316325 h 386429"/>
                <a:gd name="connsiteX36" fmla="*/ 227647 w 338518"/>
                <a:gd name="connsiteY36" fmla="*/ 300419 h 386429"/>
                <a:gd name="connsiteX37" fmla="*/ 248507 w 338518"/>
                <a:gd name="connsiteY37" fmla="*/ 275654 h 386429"/>
                <a:gd name="connsiteX38" fmla="*/ 255937 w 338518"/>
                <a:gd name="connsiteY38" fmla="*/ 243459 h 386429"/>
                <a:gd name="connsiteX39" fmla="*/ 255937 w 338518"/>
                <a:gd name="connsiteY39" fmla="*/ 222218 h 3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8518" h="386429">
                  <a:moveTo>
                    <a:pt x="253651" y="378619"/>
                  </a:moveTo>
                  <a:lnTo>
                    <a:pt x="253651" y="332708"/>
                  </a:lnTo>
                  <a:cubicBezTo>
                    <a:pt x="240887" y="347758"/>
                    <a:pt x="224695" y="360521"/>
                    <a:pt x="204883" y="370904"/>
                  </a:cubicBezTo>
                  <a:cubicBezTo>
                    <a:pt x="185071" y="381286"/>
                    <a:pt x="161068" y="386429"/>
                    <a:pt x="132779" y="386429"/>
                  </a:cubicBezTo>
                  <a:cubicBezTo>
                    <a:pt x="114871" y="386429"/>
                    <a:pt x="97917" y="383953"/>
                    <a:pt x="81915" y="379000"/>
                  </a:cubicBezTo>
                  <a:cubicBezTo>
                    <a:pt x="65913" y="374047"/>
                    <a:pt x="51911" y="366713"/>
                    <a:pt x="39910" y="357092"/>
                  </a:cubicBezTo>
                  <a:cubicBezTo>
                    <a:pt x="27908" y="347472"/>
                    <a:pt x="18193" y="335471"/>
                    <a:pt x="10954" y="321088"/>
                  </a:cubicBezTo>
                  <a:cubicBezTo>
                    <a:pt x="3620" y="306705"/>
                    <a:pt x="0" y="290132"/>
                    <a:pt x="0" y="271272"/>
                  </a:cubicBezTo>
                  <a:lnTo>
                    <a:pt x="0" y="269843"/>
                  </a:lnTo>
                  <a:cubicBezTo>
                    <a:pt x="0" y="249079"/>
                    <a:pt x="3810" y="231077"/>
                    <a:pt x="11335" y="215741"/>
                  </a:cubicBezTo>
                  <a:cubicBezTo>
                    <a:pt x="18859" y="200406"/>
                    <a:pt x="29337" y="187738"/>
                    <a:pt x="42767" y="177546"/>
                  </a:cubicBezTo>
                  <a:cubicBezTo>
                    <a:pt x="56197" y="167450"/>
                    <a:pt x="72199" y="159925"/>
                    <a:pt x="90773" y="154972"/>
                  </a:cubicBezTo>
                  <a:cubicBezTo>
                    <a:pt x="109347" y="150019"/>
                    <a:pt x="129540" y="147542"/>
                    <a:pt x="151162" y="147542"/>
                  </a:cubicBezTo>
                  <a:cubicBezTo>
                    <a:pt x="172783" y="147542"/>
                    <a:pt x="192976" y="148971"/>
                    <a:pt x="208788" y="151829"/>
                  </a:cubicBezTo>
                  <a:cubicBezTo>
                    <a:pt x="224599" y="154686"/>
                    <a:pt x="239744" y="158401"/>
                    <a:pt x="254413" y="163163"/>
                  </a:cubicBezTo>
                  <a:lnTo>
                    <a:pt x="254413" y="156115"/>
                  </a:lnTo>
                  <a:cubicBezTo>
                    <a:pt x="254413" y="130207"/>
                    <a:pt x="246507" y="110395"/>
                    <a:pt x="230696" y="96774"/>
                  </a:cubicBezTo>
                  <a:cubicBezTo>
                    <a:pt x="214884" y="83153"/>
                    <a:pt x="192214" y="76295"/>
                    <a:pt x="162496" y="76295"/>
                  </a:cubicBezTo>
                  <a:cubicBezTo>
                    <a:pt x="141351" y="76295"/>
                    <a:pt x="122491" y="78391"/>
                    <a:pt x="106013" y="82677"/>
                  </a:cubicBezTo>
                  <a:cubicBezTo>
                    <a:pt x="89535" y="86963"/>
                    <a:pt x="72771" y="92583"/>
                    <a:pt x="55816" y="99632"/>
                  </a:cubicBezTo>
                  <a:lnTo>
                    <a:pt x="32480" y="31052"/>
                  </a:lnTo>
                  <a:cubicBezTo>
                    <a:pt x="53149" y="21622"/>
                    <a:pt x="74390" y="14097"/>
                    <a:pt x="96107" y="8477"/>
                  </a:cubicBezTo>
                  <a:cubicBezTo>
                    <a:pt x="117729" y="2858"/>
                    <a:pt x="143923" y="0"/>
                    <a:pt x="174593" y="0"/>
                  </a:cubicBezTo>
                  <a:cubicBezTo>
                    <a:pt x="230124" y="0"/>
                    <a:pt x="271367" y="13811"/>
                    <a:pt x="298228" y="41338"/>
                  </a:cubicBezTo>
                  <a:cubicBezTo>
                    <a:pt x="325088" y="68866"/>
                    <a:pt x="338519" y="107633"/>
                    <a:pt x="338519" y="157544"/>
                  </a:cubicBezTo>
                  <a:lnTo>
                    <a:pt x="338519" y="378714"/>
                  </a:lnTo>
                  <a:lnTo>
                    <a:pt x="253746" y="378714"/>
                  </a:lnTo>
                  <a:close/>
                  <a:moveTo>
                    <a:pt x="255746" y="222409"/>
                  </a:moveTo>
                  <a:cubicBezTo>
                    <a:pt x="244888" y="218123"/>
                    <a:pt x="232029" y="214598"/>
                    <a:pt x="217265" y="211836"/>
                  </a:cubicBezTo>
                  <a:cubicBezTo>
                    <a:pt x="202406" y="208979"/>
                    <a:pt x="186785" y="207550"/>
                    <a:pt x="170307" y="207550"/>
                  </a:cubicBezTo>
                  <a:cubicBezTo>
                    <a:pt x="143446" y="207550"/>
                    <a:pt x="122491" y="212693"/>
                    <a:pt x="107442" y="223075"/>
                  </a:cubicBezTo>
                  <a:cubicBezTo>
                    <a:pt x="92392" y="233458"/>
                    <a:pt x="84868" y="247555"/>
                    <a:pt x="84868" y="265462"/>
                  </a:cubicBezTo>
                  <a:lnTo>
                    <a:pt x="84868" y="266891"/>
                  </a:lnTo>
                  <a:cubicBezTo>
                    <a:pt x="84868" y="284798"/>
                    <a:pt x="91821" y="298418"/>
                    <a:pt x="105728" y="307848"/>
                  </a:cubicBezTo>
                  <a:cubicBezTo>
                    <a:pt x="119634" y="317278"/>
                    <a:pt x="136684" y="321945"/>
                    <a:pt x="156972" y="321945"/>
                  </a:cubicBezTo>
                  <a:cubicBezTo>
                    <a:pt x="171069" y="321945"/>
                    <a:pt x="184213" y="320040"/>
                    <a:pt x="196215" y="316325"/>
                  </a:cubicBezTo>
                  <a:cubicBezTo>
                    <a:pt x="208216" y="312515"/>
                    <a:pt x="218694" y="307277"/>
                    <a:pt x="227647" y="300419"/>
                  </a:cubicBezTo>
                  <a:cubicBezTo>
                    <a:pt x="236601" y="293561"/>
                    <a:pt x="243554" y="285369"/>
                    <a:pt x="248507" y="275654"/>
                  </a:cubicBezTo>
                  <a:cubicBezTo>
                    <a:pt x="253460" y="266033"/>
                    <a:pt x="255937" y="255270"/>
                    <a:pt x="255937" y="243459"/>
                  </a:cubicBezTo>
                  <a:lnTo>
                    <a:pt x="255937" y="222218"/>
                  </a:lnTo>
                  <a:close/>
                </a:path>
              </a:pathLst>
            </a:custGeom>
            <a:solidFill>
              <a:srgbClr val="44505E"/>
            </a:solidFill>
            <a:ln w="9525" cap="flat">
              <a:noFill/>
              <a:prstDash val="solid"/>
              <a:miter/>
            </a:ln>
          </p:spPr>
          <p:txBody>
            <a:bodyPr rtlCol="0" anchor="ctr"/>
            <a:lstStyle/>
            <a:p>
              <a:endParaRPr lang="pt-BR" noProof="0"/>
            </a:p>
          </p:txBody>
        </p:sp>
        <p:sp>
          <p:nvSpPr>
            <p:cNvPr id="28" name="Freeform: Shape 27">
              <a:extLst>
                <a:ext uri="{FF2B5EF4-FFF2-40B4-BE49-F238E27FC236}">
                  <a16:creationId xmlns:a16="http://schemas.microsoft.com/office/drawing/2014/main" id="{B2B5A287-EF8A-279D-5C5C-7D1C821D7F0E}"/>
                </a:ext>
              </a:extLst>
            </p:cNvPr>
            <p:cNvSpPr/>
            <p:nvPr/>
          </p:nvSpPr>
          <p:spPr>
            <a:xfrm>
              <a:off x="6088843" y="700318"/>
              <a:ext cx="74610" cy="97213"/>
            </a:xfrm>
            <a:custGeom>
              <a:avLst/>
              <a:gdLst>
                <a:gd name="connsiteX0" fmla="*/ 158305 w 296799"/>
                <a:gd name="connsiteY0" fmla="*/ 386715 h 386714"/>
                <a:gd name="connsiteX1" fmla="*/ 76676 w 296799"/>
                <a:gd name="connsiteY1" fmla="*/ 372427 h 386714"/>
                <a:gd name="connsiteX2" fmla="*/ 0 w 296799"/>
                <a:gd name="connsiteY2" fmla="*/ 330327 h 386714"/>
                <a:gd name="connsiteX3" fmla="*/ 38195 w 296799"/>
                <a:gd name="connsiteY3" fmla="*/ 272224 h 386714"/>
                <a:gd name="connsiteX4" fmla="*/ 100013 w 296799"/>
                <a:gd name="connsiteY4" fmla="*/ 306514 h 386714"/>
                <a:gd name="connsiteX5" fmla="*/ 160401 w 296799"/>
                <a:gd name="connsiteY5" fmla="*/ 318135 h 386714"/>
                <a:gd name="connsiteX6" fmla="*/ 203168 w 296799"/>
                <a:gd name="connsiteY6" fmla="*/ 307181 h 386714"/>
                <a:gd name="connsiteX7" fmla="*/ 218408 w 296799"/>
                <a:gd name="connsiteY7" fmla="*/ 277939 h 386714"/>
                <a:gd name="connsiteX8" fmla="*/ 218408 w 296799"/>
                <a:gd name="connsiteY8" fmla="*/ 276511 h 386714"/>
                <a:gd name="connsiteX9" fmla="*/ 211646 w 296799"/>
                <a:gd name="connsiteY9" fmla="*/ 258223 h 386714"/>
                <a:gd name="connsiteX10" fmla="*/ 193262 w 296799"/>
                <a:gd name="connsiteY10" fmla="*/ 244792 h 386714"/>
                <a:gd name="connsiteX11" fmla="*/ 166402 w 296799"/>
                <a:gd name="connsiteY11" fmla="*/ 234220 h 386714"/>
                <a:gd name="connsiteX12" fmla="*/ 134969 w 296799"/>
                <a:gd name="connsiteY12" fmla="*/ 224314 h 386714"/>
                <a:gd name="connsiteX13" fmla="*/ 93631 w 296799"/>
                <a:gd name="connsiteY13" fmla="*/ 210884 h 386714"/>
                <a:gd name="connsiteX14" fmla="*/ 56197 w 296799"/>
                <a:gd name="connsiteY14" fmla="*/ 190786 h 386714"/>
                <a:gd name="connsiteX15" fmla="*/ 28956 w 296799"/>
                <a:gd name="connsiteY15" fmla="*/ 160115 h 386714"/>
                <a:gd name="connsiteX16" fmla="*/ 18383 w 296799"/>
                <a:gd name="connsiteY16" fmla="*/ 114967 h 386714"/>
                <a:gd name="connsiteX17" fmla="*/ 18383 w 296799"/>
                <a:gd name="connsiteY17" fmla="*/ 113538 h 386714"/>
                <a:gd name="connsiteX18" fmla="*/ 28575 w 296799"/>
                <a:gd name="connsiteY18" fmla="*/ 66294 h 386714"/>
                <a:gd name="connsiteX19" fmla="*/ 56864 w 296799"/>
                <a:gd name="connsiteY19" fmla="*/ 30385 h 386714"/>
                <a:gd name="connsiteX20" fmla="*/ 99250 w 296799"/>
                <a:gd name="connsiteY20" fmla="*/ 7810 h 386714"/>
                <a:gd name="connsiteX21" fmla="*/ 151162 w 296799"/>
                <a:gd name="connsiteY21" fmla="*/ 0 h 386714"/>
                <a:gd name="connsiteX22" fmla="*/ 222504 w 296799"/>
                <a:gd name="connsiteY22" fmla="*/ 11430 h 386714"/>
                <a:gd name="connsiteX23" fmla="*/ 288227 w 296799"/>
                <a:gd name="connsiteY23" fmla="*/ 42863 h 386714"/>
                <a:gd name="connsiteX24" fmla="*/ 254317 w 296799"/>
                <a:gd name="connsiteY24" fmla="*/ 103918 h 386714"/>
                <a:gd name="connsiteX25" fmla="*/ 199930 w 296799"/>
                <a:gd name="connsiteY25" fmla="*/ 78105 h 386714"/>
                <a:gd name="connsiteX26" fmla="*/ 149066 w 296799"/>
                <a:gd name="connsiteY26" fmla="*/ 68580 h 386714"/>
                <a:gd name="connsiteX27" fmla="*/ 110585 w 296799"/>
                <a:gd name="connsiteY27" fmla="*/ 79153 h 386714"/>
                <a:gd name="connsiteX28" fmla="*/ 96774 w 296799"/>
                <a:gd name="connsiteY28" fmla="*/ 105918 h 386714"/>
                <a:gd name="connsiteX29" fmla="*/ 96774 w 296799"/>
                <a:gd name="connsiteY29" fmla="*/ 107347 h 386714"/>
                <a:gd name="connsiteX30" fmla="*/ 103822 w 296799"/>
                <a:gd name="connsiteY30" fmla="*/ 124587 h 386714"/>
                <a:gd name="connsiteX31" fmla="*/ 122587 w 296799"/>
                <a:gd name="connsiteY31" fmla="*/ 138017 h 386714"/>
                <a:gd name="connsiteX32" fmla="*/ 149447 w 296799"/>
                <a:gd name="connsiteY32" fmla="*/ 149257 h 386714"/>
                <a:gd name="connsiteX33" fmla="*/ 180880 w 296799"/>
                <a:gd name="connsiteY33" fmla="*/ 159448 h 386714"/>
                <a:gd name="connsiteX34" fmla="*/ 221837 w 296799"/>
                <a:gd name="connsiteY34" fmla="*/ 174212 h 386714"/>
                <a:gd name="connsiteX35" fmla="*/ 258985 w 296799"/>
                <a:gd name="connsiteY35" fmla="*/ 194977 h 386714"/>
                <a:gd name="connsiteX36" fmla="*/ 286226 w 296799"/>
                <a:gd name="connsiteY36" fmla="*/ 224980 h 386714"/>
                <a:gd name="connsiteX37" fmla="*/ 296799 w 296799"/>
                <a:gd name="connsiteY37" fmla="*/ 267938 h 386714"/>
                <a:gd name="connsiteX38" fmla="*/ 296799 w 296799"/>
                <a:gd name="connsiteY38" fmla="*/ 269367 h 386714"/>
                <a:gd name="connsiteX39" fmla="*/ 286226 w 296799"/>
                <a:gd name="connsiteY39" fmla="*/ 320897 h 386714"/>
                <a:gd name="connsiteX40" fmla="*/ 256889 w 296799"/>
                <a:gd name="connsiteY40" fmla="*/ 357188 h 386714"/>
                <a:gd name="connsiteX41" fmla="*/ 212693 w 296799"/>
                <a:gd name="connsiteY41" fmla="*/ 379095 h 386714"/>
                <a:gd name="connsiteX42" fmla="*/ 158305 w 296799"/>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799"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065" y="318135"/>
                    <a:pt x="160401" y="318135"/>
                  </a:cubicBezTo>
                  <a:cubicBezTo>
                    <a:pt x="179737" y="318135"/>
                    <a:pt x="193072"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828" y="227647"/>
                    <a:pt x="134969" y="224314"/>
                  </a:cubicBezTo>
                  <a:cubicBezTo>
                    <a:pt x="121348" y="220599"/>
                    <a:pt x="107537" y="216122"/>
                    <a:pt x="93631" y="210884"/>
                  </a:cubicBezTo>
                  <a:cubicBezTo>
                    <a:pt x="79724" y="205740"/>
                    <a:pt x="67246" y="198977"/>
                    <a:pt x="56197" y="190786"/>
                  </a:cubicBezTo>
                  <a:cubicBezTo>
                    <a:pt x="45148" y="182594"/>
                    <a:pt x="36004"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874" y="0"/>
                    <a:pt x="151162" y="0"/>
                  </a:cubicBezTo>
                  <a:cubicBezTo>
                    <a:pt x="174688" y="0"/>
                    <a:pt x="198501" y="3810"/>
                    <a:pt x="222504" y="11430"/>
                  </a:cubicBezTo>
                  <a:cubicBezTo>
                    <a:pt x="246507" y="19050"/>
                    <a:pt x="268414" y="29527"/>
                    <a:pt x="288227" y="42863"/>
                  </a:cubicBezTo>
                  <a:lnTo>
                    <a:pt x="254317"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774" y="95155"/>
                    <a:pt x="96774" y="105918"/>
                  </a:cubicBezTo>
                  <a:lnTo>
                    <a:pt x="96774" y="107347"/>
                  </a:lnTo>
                  <a:cubicBezTo>
                    <a:pt x="96774" y="113919"/>
                    <a:pt x="99155" y="119634"/>
                    <a:pt x="103822" y="124587"/>
                  </a:cubicBezTo>
                  <a:cubicBezTo>
                    <a:pt x="108490" y="129540"/>
                    <a:pt x="114776" y="134017"/>
                    <a:pt x="122587" y="138017"/>
                  </a:cubicBezTo>
                  <a:cubicBezTo>
                    <a:pt x="130397" y="142018"/>
                    <a:pt x="139351" y="145732"/>
                    <a:pt x="149447" y="149257"/>
                  </a:cubicBezTo>
                  <a:cubicBezTo>
                    <a:pt x="159544" y="152781"/>
                    <a:pt x="170021" y="156210"/>
                    <a:pt x="180880" y="159448"/>
                  </a:cubicBezTo>
                  <a:cubicBezTo>
                    <a:pt x="194500" y="163639"/>
                    <a:pt x="208216" y="168592"/>
                    <a:pt x="221837" y="174212"/>
                  </a:cubicBezTo>
                  <a:cubicBezTo>
                    <a:pt x="235458" y="179832"/>
                    <a:pt x="247840" y="186785"/>
                    <a:pt x="258985" y="194977"/>
                  </a:cubicBezTo>
                  <a:cubicBezTo>
                    <a:pt x="270034" y="203168"/>
                    <a:pt x="279178" y="213169"/>
                    <a:pt x="286226" y="224980"/>
                  </a:cubicBezTo>
                  <a:cubicBezTo>
                    <a:pt x="293275" y="236696"/>
                    <a:pt x="296799" y="251079"/>
                    <a:pt x="296799" y="267938"/>
                  </a:cubicBezTo>
                  <a:lnTo>
                    <a:pt x="296799" y="269367"/>
                  </a:lnTo>
                  <a:cubicBezTo>
                    <a:pt x="296799" y="289084"/>
                    <a:pt x="293275" y="306229"/>
                    <a:pt x="286226" y="320897"/>
                  </a:cubicBezTo>
                  <a:cubicBezTo>
                    <a:pt x="279178" y="335470"/>
                    <a:pt x="269367" y="347567"/>
                    <a:pt x="256889" y="357188"/>
                  </a:cubicBezTo>
                  <a:cubicBezTo>
                    <a:pt x="244412" y="366808"/>
                    <a:pt x="229648" y="374142"/>
                    <a:pt x="212693" y="379095"/>
                  </a:cubicBezTo>
                  <a:cubicBezTo>
                    <a:pt x="195739" y="384048"/>
                    <a:pt x="177641" y="386524"/>
                    <a:pt x="158305" y="386524"/>
                  </a:cubicBezTo>
                  <a:close/>
                </a:path>
              </a:pathLst>
            </a:custGeom>
            <a:solidFill>
              <a:srgbClr val="44505E"/>
            </a:solidFill>
            <a:ln w="9525" cap="flat">
              <a:noFill/>
              <a:prstDash val="solid"/>
              <a:miter/>
            </a:ln>
          </p:spPr>
          <p:txBody>
            <a:bodyPr rtlCol="0" anchor="ctr"/>
            <a:lstStyle/>
            <a:p>
              <a:endParaRPr lang="pt-BR" noProof="0"/>
            </a:p>
          </p:txBody>
        </p:sp>
        <p:sp>
          <p:nvSpPr>
            <p:cNvPr id="29" name="Freeform: Shape 28">
              <a:extLst>
                <a:ext uri="{FF2B5EF4-FFF2-40B4-BE49-F238E27FC236}">
                  <a16:creationId xmlns:a16="http://schemas.microsoft.com/office/drawing/2014/main" id="{12CD64E3-9E73-6913-A93D-5621C2918BC8}"/>
                </a:ext>
              </a:extLst>
            </p:cNvPr>
            <p:cNvSpPr/>
            <p:nvPr/>
          </p:nvSpPr>
          <p:spPr>
            <a:xfrm>
              <a:off x="6238590"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4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7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2 w 568166"/>
                <a:gd name="connsiteY21" fmla="*/ 381000 h 381000"/>
                <a:gd name="connsiteX22" fmla="*/ 240982 w 568166"/>
                <a:gd name="connsiteY22" fmla="*/ 168783 h 381000"/>
                <a:gd name="connsiteX23" fmla="*/ 221266 w 568166"/>
                <a:gd name="connsiteY23" fmla="*/ 101822 h 381000"/>
                <a:gd name="connsiteX24" fmla="*/ 165640 w 568166"/>
                <a:gd name="connsiteY24" fmla="*/ 78581 h 381000"/>
                <a:gd name="connsiteX25" fmla="*/ 108013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69" y="48196"/>
                    <a:pt x="105918" y="40576"/>
                  </a:cubicBezTo>
                  <a:cubicBezTo>
                    <a:pt x="112966" y="32956"/>
                    <a:pt x="121063" y="26099"/>
                    <a:pt x="130207" y="19907"/>
                  </a:cubicBezTo>
                  <a:cubicBezTo>
                    <a:pt x="139351" y="13716"/>
                    <a:pt x="149638" y="8858"/>
                    <a:pt x="161163" y="5334"/>
                  </a:cubicBezTo>
                  <a:cubicBezTo>
                    <a:pt x="172688" y="1714"/>
                    <a:pt x="185452" y="0"/>
                    <a:pt x="199549" y="0"/>
                  </a:cubicBezTo>
                  <a:cubicBezTo>
                    <a:pt x="226314" y="0"/>
                    <a:pt x="248983" y="6096"/>
                    <a:pt x="267557" y="18193"/>
                  </a:cubicBezTo>
                  <a:cubicBezTo>
                    <a:pt x="286131" y="30289"/>
                    <a:pt x="300323" y="46387"/>
                    <a:pt x="310134" y="66294"/>
                  </a:cubicBezTo>
                  <a:cubicBezTo>
                    <a:pt x="325279" y="46387"/>
                    <a:pt x="343090" y="30289"/>
                    <a:pt x="363664" y="18193"/>
                  </a:cubicBezTo>
                  <a:cubicBezTo>
                    <a:pt x="384238" y="6096"/>
                    <a:pt x="408718" y="0"/>
                    <a:pt x="437007" y="0"/>
                  </a:cubicBezTo>
                  <a:cubicBezTo>
                    <a:pt x="478155"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7" y="78486"/>
                  </a:cubicBezTo>
                  <a:cubicBezTo>
                    <a:pt x="382809" y="78486"/>
                    <a:pt x="364141" y="86392"/>
                    <a:pt x="349377" y="102108"/>
                  </a:cubicBezTo>
                  <a:cubicBezTo>
                    <a:pt x="334613" y="117824"/>
                    <a:pt x="327184" y="140779"/>
                    <a:pt x="327184" y="170879"/>
                  </a:cubicBezTo>
                  <a:lnTo>
                    <a:pt x="327184" y="381000"/>
                  </a:lnTo>
                  <a:lnTo>
                    <a:pt x="240982" y="381000"/>
                  </a:lnTo>
                  <a:lnTo>
                    <a:pt x="240982" y="168783"/>
                  </a:lnTo>
                  <a:cubicBezTo>
                    <a:pt x="240982" y="139637"/>
                    <a:pt x="234410" y="117348"/>
                    <a:pt x="221266" y="101822"/>
                  </a:cubicBezTo>
                  <a:cubicBezTo>
                    <a:pt x="208121" y="86296"/>
                    <a:pt x="189547" y="78581"/>
                    <a:pt x="165640" y="78581"/>
                  </a:cubicBezTo>
                  <a:cubicBezTo>
                    <a:pt x="141732" y="78581"/>
                    <a:pt x="122491" y="86773"/>
                    <a:pt x="108013"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30" name="Freeform: Shape 29">
              <a:extLst>
                <a:ext uri="{FF2B5EF4-FFF2-40B4-BE49-F238E27FC236}">
                  <a16:creationId xmlns:a16="http://schemas.microsoft.com/office/drawing/2014/main" id="{875A60FB-0D86-D6BF-9144-2826CA254D04}"/>
                </a:ext>
              </a:extLst>
            </p:cNvPr>
            <p:cNvSpPr/>
            <p:nvPr/>
          </p:nvSpPr>
          <p:spPr>
            <a:xfrm>
              <a:off x="6400979" y="664258"/>
              <a:ext cx="85097" cy="133441"/>
            </a:xfrm>
            <a:custGeom>
              <a:avLst/>
              <a:gdLst>
                <a:gd name="connsiteX0" fmla="*/ 253651 w 338518"/>
                <a:gd name="connsiteY0" fmla="*/ 523018 h 530828"/>
                <a:gd name="connsiteX1" fmla="*/ 253651 w 338518"/>
                <a:gd name="connsiteY1" fmla="*/ 477107 h 530828"/>
                <a:gd name="connsiteX2" fmla="*/ 204883 w 338518"/>
                <a:gd name="connsiteY2" fmla="*/ 515303 h 530828"/>
                <a:gd name="connsiteX3" fmla="*/ 132779 w 338518"/>
                <a:gd name="connsiteY3" fmla="*/ 530828 h 530828"/>
                <a:gd name="connsiteX4" fmla="*/ 81915 w 338518"/>
                <a:gd name="connsiteY4" fmla="*/ 523399 h 530828"/>
                <a:gd name="connsiteX5" fmla="*/ 39910 w 338518"/>
                <a:gd name="connsiteY5" fmla="*/ 501491 h 530828"/>
                <a:gd name="connsiteX6" fmla="*/ 10954 w 338518"/>
                <a:gd name="connsiteY6" fmla="*/ 465487 h 530828"/>
                <a:gd name="connsiteX7" fmla="*/ 0 w 338518"/>
                <a:gd name="connsiteY7" fmla="*/ 415671 h 530828"/>
                <a:gd name="connsiteX8" fmla="*/ 0 w 338518"/>
                <a:gd name="connsiteY8" fmla="*/ 414242 h 530828"/>
                <a:gd name="connsiteX9" fmla="*/ 11335 w 338518"/>
                <a:gd name="connsiteY9" fmla="*/ 360140 h 530828"/>
                <a:gd name="connsiteX10" fmla="*/ 42767 w 338518"/>
                <a:gd name="connsiteY10" fmla="*/ 321945 h 530828"/>
                <a:gd name="connsiteX11" fmla="*/ 90773 w 338518"/>
                <a:gd name="connsiteY11" fmla="*/ 299371 h 530828"/>
                <a:gd name="connsiteX12" fmla="*/ 151162 w 338518"/>
                <a:gd name="connsiteY12" fmla="*/ 291941 h 530828"/>
                <a:gd name="connsiteX13" fmla="*/ 208788 w 338518"/>
                <a:gd name="connsiteY13" fmla="*/ 296228 h 530828"/>
                <a:gd name="connsiteX14" fmla="*/ 254413 w 338518"/>
                <a:gd name="connsiteY14" fmla="*/ 307562 h 530828"/>
                <a:gd name="connsiteX15" fmla="*/ 254413 w 338518"/>
                <a:gd name="connsiteY15" fmla="*/ 300514 h 530828"/>
                <a:gd name="connsiteX16" fmla="*/ 230696 w 338518"/>
                <a:gd name="connsiteY16" fmla="*/ 241173 h 530828"/>
                <a:gd name="connsiteX17" fmla="*/ 162496 w 338518"/>
                <a:gd name="connsiteY17" fmla="*/ 220694 h 530828"/>
                <a:gd name="connsiteX18" fmla="*/ 106013 w 338518"/>
                <a:gd name="connsiteY18" fmla="*/ 227076 h 530828"/>
                <a:gd name="connsiteX19" fmla="*/ 55817 w 338518"/>
                <a:gd name="connsiteY19" fmla="*/ 244031 h 530828"/>
                <a:gd name="connsiteX20" fmla="*/ 32480 w 338518"/>
                <a:gd name="connsiteY20" fmla="*/ 175451 h 530828"/>
                <a:gd name="connsiteX21" fmla="*/ 96107 w 338518"/>
                <a:gd name="connsiteY21" fmla="*/ 152876 h 530828"/>
                <a:gd name="connsiteX22" fmla="*/ 174593 w 338518"/>
                <a:gd name="connsiteY22" fmla="*/ 144399 h 530828"/>
                <a:gd name="connsiteX23" fmla="*/ 298228 w 338518"/>
                <a:gd name="connsiteY23" fmla="*/ 185738 h 530828"/>
                <a:gd name="connsiteX24" fmla="*/ 338519 w 338518"/>
                <a:gd name="connsiteY24" fmla="*/ 301943 h 530828"/>
                <a:gd name="connsiteX25" fmla="*/ 338519 w 338518"/>
                <a:gd name="connsiteY25" fmla="*/ 523113 h 530828"/>
                <a:gd name="connsiteX26" fmla="*/ 253746 w 338518"/>
                <a:gd name="connsiteY26" fmla="*/ 523113 h 530828"/>
                <a:gd name="connsiteX27" fmla="*/ 45911 w 338518"/>
                <a:gd name="connsiteY27" fmla="*/ 95441 h 530828"/>
                <a:gd name="connsiteX28" fmla="*/ 75248 w 338518"/>
                <a:gd name="connsiteY28" fmla="*/ 29718 h 530828"/>
                <a:gd name="connsiteX29" fmla="*/ 125063 w 338518"/>
                <a:gd name="connsiteY29" fmla="*/ 7144 h 530828"/>
                <a:gd name="connsiteX30" fmla="*/ 154019 w 338518"/>
                <a:gd name="connsiteY30" fmla="*/ 11716 h 530828"/>
                <a:gd name="connsiteX31" fmla="*/ 181261 w 338518"/>
                <a:gd name="connsiteY31" fmla="*/ 21622 h 530828"/>
                <a:gd name="connsiteX32" fmla="*/ 205645 w 338518"/>
                <a:gd name="connsiteY32" fmla="*/ 31147 h 530828"/>
                <a:gd name="connsiteX33" fmla="*/ 226790 w 338518"/>
                <a:gd name="connsiteY33" fmla="*/ 35338 h 530828"/>
                <a:gd name="connsiteX34" fmla="*/ 250127 w 338518"/>
                <a:gd name="connsiteY34" fmla="*/ 26861 h 530828"/>
                <a:gd name="connsiteX35" fmla="*/ 265652 w 338518"/>
                <a:gd name="connsiteY35" fmla="*/ 0 h 530828"/>
                <a:gd name="connsiteX36" fmla="*/ 312991 w 338518"/>
                <a:gd name="connsiteY36" fmla="*/ 14859 h 530828"/>
                <a:gd name="connsiteX37" fmla="*/ 283655 w 338518"/>
                <a:gd name="connsiteY37" fmla="*/ 79820 h 530828"/>
                <a:gd name="connsiteX38" fmla="*/ 233839 w 338518"/>
                <a:gd name="connsiteY38" fmla="*/ 102394 h 530828"/>
                <a:gd name="connsiteX39" fmla="*/ 204883 w 338518"/>
                <a:gd name="connsiteY39" fmla="*/ 98203 h 530828"/>
                <a:gd name="connsiteX40" fmla="*/ 177641 w 338518"/>
                <a:gd name="connsiteY40" fmla="*/ 88678 h 530828"/>
                <a:gd name="connsiteX41" fmla="*/ 152876 w 338518"/>
                <a:gd name="connsiteY41" fmla="*/ 78772 h 530828"/>
                <a:gd name="connsiteX42" fmla="*/ 132017 w 338518"/>
                <a:gd name="connsiteY42" fmla="*/ 74200 h 530828"/>
                <a:gd name="connsiteX43" fmla="*/ 108680 w 338518"/>
                <a:gd name="connsiteY43" fmla="*/ 82677 h 530828"/>
                <a:gd name="connsiteX44" fmla="*/ 93154 w 338518"/>
                <a:gd name="connsiteY44" fmla="*/ 109538 h 530828"/>
                <a:gd name="connsiteX45" fmla="*/ 45815 w 338518"/>
                <a:gd name="connsiteY45" fmla="*/ 95441 h 530828"/>
                <a:gd name="connsiteX46" fmla="*/ 255842 w 338518"/>
                <a:gd name="connsiteY46" fmla="*/ 366808 h 530828"/>
                <a:gd name="connsiteX47" fmla="*/ 217361 w 338518"/>
                <a:gd name="connsiteY47" fmla="*/ 356235 h 530828"/>
                <a:gd name="connsiteX48" fmla="*/ 170402 w 338518"/>
                <a:gd name="connsiteY48" fmla="*/ 351949 h 530828"/>
                <a:gd name="connsiteX49" fmla="*/ 107537 w 338518"/>
                <a:gd name="connsiteY49" fmla="*/ 367475 h 530828"/>
                <a:gd name="connsiteX50" fmla="*/ 84963 w 338518"/>
                <a:gd name="connsiteY50" fmla="*/ 409861 h 530828"/>
                <a:gd name="connsiteX51" fmla="*/ 84963 w 338518"/>
                <a:gd name="connsiteY51" fmla="*/ 411290 h 530828"/>
                <a:gd name="connsiteX52" fmla="*/ 105823 w 338518"/>
                <a:gd name="connsiteY52" fmla="*/ 452247 h 530828"/>
                <a:gd name="connsiteX53" fmla="*/ 157067 w 338518"/>
                <a:gd name="connsiteY53" fmla="*/ 466344 h 530828"/>
                <a:gd name="connsiteX54" fmla="*/ 196310 w 338518"/>
                <a:gd name="connsiteY54" fmla="*/ 460724 h 530828"/>
                <a:gd name="connsiteX55" fmla="*/ 227743 w 338518"/>
                <a:gd name="connsiteY55" fmla="*/ 444818 h 530828"/>
                <a:gd name="connsiteX56" fmla="*/ 248603 w 338518"/>
                <a:gd name="connsiteY56" fmla="*/ 420053 h 530828"/>
                <a:gd name="connsiteX57" fmla="*/ 256032 w 338518"/>
                <a:gd name="connsiteY57" fmla="*/ 387858 h 530828"/>
                <a:gd name="connsiteX58" fmla="*/ 256032 w 338518"/>
                <a:gd name="connsiteY58" fmla="*/ 366617 h 5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8518" h="530828">
                  <a:moveTo>
                    <a:pt x="253651" y="523018"/>
                  </a:moveTo>
                  <a:lnTo>
                    <a:pt x="253651" y="477107"/>
                  </a:lnTo>
                  <a:cubicBezTo>
                    <a:pt x="240887" y="492157"/>
                    <a:pt x="224695" y="504920"/>
                    <a:pt x="204883" y="515303"/>
                  </a:cubicBezTo>
                  <a:cubicBezTo>
                    <a:pt x="185071" y="525685"/>
                    <a:pt x="161068" y="530828"/>
                    <a:pt x="132779" y="530828"/>
                  </a:cubicBezTo>
                  <a:cubicBezTo>
                    <a:pt x="114871" y="530828"/>
                    <a:pt x="97917" y="528352"/>
                    <a:pt x="81915" y="523399"/>
                  </a:cubicBezTo>
                  <a:cubicBezTo>
                    <a:pt x="65913" y="518446"/>
                    <a:pt x="51911" y="511112"/>
                    <a:pt x="39910" y="501491"/>
                  </a:cubicBezTo>
                  <a:cubicBezTo>
                    <a:pt x="27908" y="491871"/>
                    <a:pt x="18193" y="479870"/>
                    <a:pt x="10954" y="465487"/>
                  </a:cubicBezTo>
                  <a:cubicBezTo>
                    <a:pt x="3620" y="451104"/>
                    <a:pt x="0" y="434531"/>
                    <a:pt x="0" y="415671"/>
                  </a:cubicBezTo>
                  <a:lnTo>
                    <a:pt x="0" y="414242"/>
                  </a:lnTo>
                  <a:cubicBezTo>
                    <a:pt x="0" y="393478"/>
                    <a:pt x="3810" y="375476"/>
                    <a:pt x="11335" y="360140"/>
                  </a:cubicBezTo>
                  <a:cubicBezTo>
                    <a:pt x="18860" y="344805"/>
                    <a:pt x="29337" y="332137"/>
                    <a:pt x="42767" y="321945"/>
                  </a:cubicBezTo>
                  <a:cubicBezTo>
                    <a:pt x="56198" y="311849"/>
                    <a:pt x="72200" y="304324"/>
                    <a:pt x="90773" y="299371"/>
                  </a:cubicBezTo>
                  <a:cubicBezTo>
                    <a:pt x="109347" y="294418"/>
                    <a:pt x="129540" y="291941"/>
                    <a:pt x="151162" y="291941"/>
                  </a:cubicBezTo>
                  <a:cubicBezTo>
                    <a:pt x="172784" y="291941"/>
                    <a:pt x="192977" y="293370"/>
                    <a:pt x="208788" y="296228"/>
                  </a:cubicBezTo>
                  <a:cubicBezTo>
                    <a:pt x="224600" y="299085"/>
                    <a:pt x="239744" y="302800"/>
                    <a:pt x="254413" y="307562"/>
                  </a:cubicBezTo>
                  <a:lnTo>
                    <a:pt x="254413" y="300514"/>
                  </a:lnTo>
                  <a:cubicBezTo>
                    <a:pt x="254413" y="274606"/>
                    <a:pt x="246507" y="254794"/>
                    <a:pt x="230696" y="241173"/>
                  </a:cubicBezTo>
                  <a:cubicBezTo>
                    <a:pt x="214884" y="227552"/>
                    <a:pt x="192215" y="220694"/>
                    <a:pt x="162496" y="220694"/>
                  </a:cubicBezTo>
                  <a:cubicBezTo>
                    <a:pt x="141351" y="220694"/>
                    <a:pt x="122492" y="222790"/>
                    <a:pt x="106013" y="227076"/>
                  </a:cubicBezTo>
                  <a:cubicBezTo>
                    <a:pt x="89535" y="231362"/>
                    <a:pt x="72771" y="236982"/>
                    <a:pt x="55817" y="244031"/>
                  </a:cubicBezTo>
                  <a:lnTo>
                    <a:pt x="32480" y="175451"/>
                  </a:lnTo>
                  <a:cubicBezTo>
                    <a:pt x="53150" y="166021"/>
                    <a:pt x="74390" y="158496"/>
                    <a:pt x="96107" y="152876"/>
                  </a:cubicBezTo>
                  <a:cubicBezTo>
                    <a:pt x="117729" y="147257"/>
                    <a:pt x="143923" y="144399"/>
                    <a:pt x="174593" y="144399"/>
                  </a:cubicBezTo>
                  <a:cubicBezTo>
                    <a:pt x="230124" y="144399"/>
                    <a:pt x="271367" y="158210"/>
                    <a:pt x="298228" y="185738"/>
                  </a:cubicBezTo>
                  <a:cubicBezTo>
                    <a:pt x="325088" y="213265"/>
                    <a:pt x="338519" y="252032"/>
                    <a:pt x="338519" y="301943"/>
                  </a:cubicBezTo>
                  <a:lnTo>
                    <a:pt x="338519" y="523113"/>
                  </a:lnTo>
                  <a:lnTo>
                    <a:pt x="253746" y="523113"/>
                  </a:lnTo>
                  <a:close/>
                  <a:moveTo>
                    <a:pt x="45911" y="95441"/>
                  </a:moveTo>
                  <a:cubicBezTo>
                    <a:pt x="53912" y="66675"/>
                    <a:pt x="63722" y="44768"/>
                    <a:pt x="75248" y="29718"/>
                  </a:cubicBezTo>
                  <a:cubicBezTo>
                    <a:pt x="86773" y="14669"/>
                    <a:pt x="103442" y="7144"/>
                    <a:pt x="125063" y="7144"/>
                  </a:cubicBezTo>
                  <a:cubicBezTo>
                    <a:pt x="134969" y="7144"/>
                    <a:pt x="144590" y="8668"/>
                    <a:pt x="154019" y="11716"/>
                  </a:cubicBezTo>
                  <a:cubicBezTo>
                    <a:pt x="163449" y="14764"/>
                    <a:pt x="172498" y="18098"/>
                    <a:pt x="181261" y="21622"/>
                  </a:cubicBezTo>
                  <a:cubicBezTo>
                    <a:pt x="189929" y="25146"/>
                    <a:pt x="198120" y="28385"/>
                    <a:pt x="205645" y="31147"/>
                  </a:cubicBezTo>
                  <a:cubicBezTo>
                    <a:pt x="213170" y="34004"/>
                    <a:pt x="220218" y="35338"/>
                    <a:pt x="226790" y="35338"/>
                  </a:cubicBezTo>
                  <a:cubicBezTo>
                    <a:pt x="237173" y="35338"/>
                    <a:pt x="244888" y="32480"/>
                    <a:pt x="250127" y="26861"/>
                  </a:cubicBezTo>
                  <a:cubicBezTo>
                    <a:pt x="255270" y="21241"/>
                    <a:pt x="260509" y="12287"/>
                    <a:pt x="265652" y="0"/>
                  </a:cubicBezTo>
                  <a:lnTo>
                    <a:pt x="312991" y="14859"/>
                  </a:lnTo>
                  <a:cubicBezTo>
                    <a:pt x="304991" y="43148"/>
                    <a:pt x="295180" y="64770"/>
                    <a:pt x="283655" y="79820"/>
                  </a:cubicBezTo>
                  <a:cubicBezTo>
                    <a:pt x="272129" y="94869"/>
                    <a:pt x="255461" y="102394"/>
                    <a:pt x="233839" y="102394"/>
                  </a:cubicBezTo>
                  <a:cubicBezTo>
                    <a:pt x="223933" y="102394"/>
                    <a:pt x="214313" y="100965"/>
                    <a:pt x="204883" y="98203"/>
                  </a:cubicBezTo>
                  <a:cubicBezTo>
                    <a:pt x="195453" y="95345"/>
                    <a:pt x="186404" y="92202"/>
                    <a:pt x="177641" y="88678"/>
                  </a:cubicBezTo>
                  <a:cubicBezTo>
                    <a:pt x="168878" y="85154"/>
                    <a:pt x="160687" y="81820"/>
                    <a:pt x="152876" y="78772"/>
                  </a:cubicBezTo>
                  <a:cubicBezTo>
                    <a:pt x="145066" y="75724"/>
                    <a:pt x="138113" y="74200"/>
                    <a:pt x="132017" y="74200"/>
                  </a:cubicBezTo>
                  <a:cubicBezTo>
                    <a:pt x="121634" y="74200"/>
                    <a:pt x="113919" y="77057"/>
                    <a:pt x="108680" y="82677"/>
                  </a:cubicBezTo>
                  <a:cubicBezTo>
                    <a:pt x="103537" y="88297"/>
                    <a:pt x="98298" y="97250"/>
                    <a:pt x="93154" y="109538"/>
                  </a:cubicBezTo>
                  <a:lnTo>
                    <a:pt x="45815" y="95441"/>
                  </a:lnTo>
                  <a:close/>
                  <a:moveTo>
                    <a:pt x="255842" y="366808"/>
                  </a:moveTo>
                  <a:cubicBezTo>
                    <a:pt x="244983" y="362522"/>
                    <a:pt x="232124" y="358997"/>
                    <a:pt x="217361" y="356235"/>
                  </a:cubicBezTo>
                  <a:cubicBezTo>
                    <a:pt x="202502" y="353378"/>
                    <a:pt x="186880" y="351949"/>
                    <a:pt x="170402" y="351949"/>
                  </a:cubicBezTo>
                  <a:cubicBezTo>
                    <a:pt x="143542" y="351949"/>
                    <a:pt x="122587" y="357092"/>
                    <a:pt x="107537" y="367475"/>
                  </a:cubicBezTo>
                  <a:cubicBezTo>
                    <a:pt x="92488" y="377857"/>
                    <a:pt x="84963" y="391954"/>
                    <a:pt x="84963" y="409861"/>
                  </a:cubicBezTo>
                  <a:lnTo>
                    <a:pt x="84963" y="411290"/>
                  </a:lnTo>
                  <a:cubicBezTo>
                    <a:pt x="84963" y="429197"/>
                    <a:pt x="91916" y="442817"/>
                    <a:pt x="105823" y="452247"/>
                  </a:cubicBezTo>
                  <a:cubicBezTo>
                    <a:pt x="119729" y="461677"/>
                    <a:pt x="136779" y="466344"/>
                    <a:pt x="157067" y="466344"/>
                  </a:cubicBezTo>
                  <a:cubicBezTo>
                    <a:pt x="171164" y="466344"/>
                    <a:pt x="184309" y="464439"/>
                    <a:pt x="196310" y="460724"/>
                  </a:cubicBezTo>
                  <a:cubicBezTo>
                    <a:pt x="208312" y="456914"/>
                    <a:pt x="218789" y="451676"/>
                    <a:pt x="227743" y="444818"/>
                  </a:cubicBezTo>
                  <a:cubicBezTo>
                    <a:pt x="236696" y="437960"/>
                    <a:pt x="243650" y="429768"/>
                    <a:pt x="248603" y="420053"/>
                  </a:cubicBezTo>
                  <a:cubicBezTo>
                    <a:pt x="253555" y="410432"/>
                    <a:pt x="256032" y="399669"/>
                    <a:pt x="256032" y="387858"/>
                  </a:cubicBezTo>
                  <a:lnTo>
                    <a:pt x="256032" y="366617"/>
                  </a:lnTo>
                  <a:close/>
                </a:path>
              </a:pathLst>
            </a:custGeom>
            <a:solidFill>
              <a:srgbClr val="44505E"/>
            </a:solidFill>
            <a:ln w="9525" cap="flat">
              <a:noFill/>
              <a:prstDash val="solid"/>
              <a:miter/>
            </a:ln>
          </p:spPr>
          <p:txBody>
            <a:bodyPr rtlCol="0" anchor="ctr"/>
            <a:lstStyle/>
            <a:p>
              <a:endParaRPr lang="pt-BR" noProof="0"/>
            </a:p>
          </p:txBody>
        </p:sp>
        <p:sp>
          <p:nvSpPr>
            <p:cNvPr id="31" name="Freeform: Shape 30">
              <a:extLst>
                <a:ext uri="{FF2B5EF4-FFF2-40B4-BE49-F238E27FC236}">
                  <a16:creationId xmlns:a16="http://schemas.microsoft.com/office/drawing/2014/main" id="{A5E5B22E-BF92-6D10-951B-13C4A83BF4F8}"/>
                </a:ext>
              </a:extLst>
            </p:cNvPr>
            <p:cNvSpPr/>
            <p:nvPr/>
          </p:nvSpPr>
          <p:spPr>
            <a:xfrm>
              <a:off x="6506477" y="699959"/>
              <a:ext cx="100038" cy="97908"/>
            </a:xfrm>
            <a:custGeom>
              <a:avLst/>
              <a:gdLst>
                <a:gd name="connsiteX0" fmla="*/ 197834 w 397954"/>
                <a:gd name="connsiteY0" fmla="*/ 389477 h 389477"/>
                <a:gd name="connsiteX1" fmla="*/ 119063 w 397954"/>
                <a:gd name="connsiteY1" fmla="*/ 374237 h 389477"/>
                <a:gd name="connsiteX2" fmla="*/ 56198 w 397954"/>
                <a:gd name="connsiteY2" fmla="*/ 332899 h 389477"/>
                <a:gd name="connsiteX3" fmla="*/ 14859 w 397954"/>
                <a:gd name="connsiteY3" fmla="*/ 271463 h 389477"/>
                <a:gd name="connsiteX4" fmla="*/ 0 w 397954"/>
                <a:gd name="connsiteY4" fmla="*/ 196501 h 389477"/>
                <a:gd name="connsiteX5" fmla="*/ 0 w 397954"/>
                <a:gd name="connsiteY5" fmla="*/ 195072 h 389477"/>
                <a:gd name="connsiteX6" fmla="*/ 15240 w 397954"/>
                <a:gd name="connsiteY6" fmla="*/ 119444 h 389477"/>
                <a:gd name="connsiteX7" fmla="*/ 56960 w 397954"/>
                <a:gd name="connsiteY7" fmla="*/ 57626 h 389477"/>
                <a:gd name="connsiteX8" fmla="*/ 119825 w 397954"/>
                <a:gd name="connsiteY8" fmla="*/ 15526 h 389477"/>
                <a:gd name="connsiteX9" fmla="*/ 199358 w 397954"/>
                <a:gd name="connsiteY9" fmla="*/ 0 h 389477"/>
                <a:gd name="connsiteX10" fmla="*/ 278892 w 397954"/>
                <a:gd name="connsiteY10" fmla="*/ 15240 h 389477"/>
                <a:gd name="connsiteX11" fmla="*/ 341757 w 397954"/>
                <a:gd name="connsiteY11" fmla="*/ 56959 h 389477"/>
                <a:gd name="connsiteX12" fmla="*/ 383096 w 397954"/>
                <a:gd name="connsiteY12" fmla="*/ 118396 h 389477"/>
                <a:gd name="connsiteX13" fmla="*/ 397955 w 397954"/>
                <a:gd name="connsiteY13" fmla="*/ 193643 h 389477"/>
                <a:gd name="connsiteX14" fmla="*/ 397955 w 397954"/>
                <a:gd name="connsiteY14" fmla="*/ 195072 h 389477"/>
                <a:gd name="connsiteX15" fmla="*/ 382714 w 397954"/>
                <a:gd name="connsiteY15" fmla="*/ 270034 h 389477"/>
                <a:gd name="connsiteX16" fmla="*/ 340995 w 397954"/>
                <a:gd name="connsiteY16" fmla="*/ 331851 h 389477"/>
                <a:gd name="connsiteX17" fmla="*/ 277749 w 397954"/>
                <a:gd name="connsiteY17" fmla="*/ 373856 h 389477"/>
                <a:gd name="connsiteX18" fmla="*/ 197834 w 397954"/>
                <a:gd name="connsiteY18" fmla="*/ 389382 h 389477"/>
                <a:gd name="connsiteX19" fmla="*/ 199263 w 397954"/>
                <a:gd name="connsiteY19" fmla="*/ 315278 h 389477"/>
                <a:gd name="connsiteX20" fmla="*/ 245936 w 397954"/>
                <a:gd name="connsiteY20" fmla="*/ 305753 h 389477"/>
                <a:gd name="connsiteX21" fmla="*/ 281369 w 397954"/>
                <a:gd name="connsiteY21" fmla="*/ 279940 h 389477"/>
                <a:gd name="connsiteX22" fmla="*/ 303848 w 397954"/>
                <a:gd name="connsiteY22" fmla="*/ 242125 h 389477"/>
                <a:gd name="connsiteX23" fmla="*/ 311563 w 397954"/>
                <a:gd name="connsiteY23" fmla="*/ 196501 h 389477"/>
                <a:gd name="connsiteX24" fmla="*/ 311563 w 397954"/>
                <a:gd name="connsiteY24" fmla="*/ 195072 h 389477"/>
                <a:gd name="connsiteX25" fmla="*/ 303181 w 397954"/>
                <a:gd name="connsiteY25" fmla="*/ 148400 h 389477"/>
                <a:gd name="connsiteX26" fmla="*/ 279654 w 397954"/>
                <a:gd name="connsiteY26" fmla="*/ 110204 h 389477"/>
                <a:gd name="connsiteX27" fmla="*/ 243840 w 397954"/>
                <a:gd name="connsiteY27" fmla="*/ 84392 h 389477"/>
                <a:gd name="connsiteX28" fmla="*/ 197834 w 397954"/>
                <a:gd name="connsiteY28" fmla="*/ 74867 h 389477"/>
                <a:gd name="connsiteX29" fmla="*/ 151829 w 397954"/>
                <a:gd name="connsiteY29" fmla="*/ 84392 h 389477"/>
                <a:gd name="connsiteX30" fmla="*/ 116396 w 397954"/>
                <a:gd name="connsiteY30" fmla="*/ 109823 h 389477"/>
                <a:gd name="connsiteX31" fmla="*/ 93916 w 397954"/>
                <a:gd name="connsiteY31" fmla="*/ 147638 h 389477"/>
                <a:gd name="connsiteX32" fmla="*/ 86201 w 397954"/>
                <a:gd name="connsiteY32" fmla="*/ 193548 h 389477"/>
                <a:gd name="connsiteX33" fmla="*/ 86201 w 397954"/>
                <a:gd name="connsiteY33" fmla="*/ 194977 h 389477"/>
                <a:gd name="connsiteX34" fmla="*/ 94583 w 397954"/>
                <a:gd name="connsiteY34" fmla="*/ 241268 h 389477"/>
                <a:gd name="connsiteX35" fmla="*/ 118110 w 397954"/>
                <a:gd name="connsiteY35" fmla="*/ 279463 h 389477"/>
                <a:gd name="connsiteX36" fmla="*/ 153924 w 397954"/>
                <a:gd name="connsiteY36" fmla="*/ 305562 h 389477"/>
                <a:gd name="connsiteX37" fmla="*/ 199263 w 397954"/>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954" h="389477">
                  <a:moveTo>
                    <a:pt x="197834" y="389477"/>
                  </a:moveTo>
                  <a:cubicBezTo>
                    <a:pt x="169545" y="389477"/>
                    <a:pt x="143351" y="384429"/>
                    <a:pt x="119063" y="374237"/>
                  </a:cubicBezTo>
                  <a:cubicBezTo>
                    <a:pt x="94774" y="364141"/>
                    <a:pt x="73819" y="350330"/>
                    <a:pt x="56198" y="332899"/>
                  </a:cubicBezTo>
                  <a:cubicBezTo>
                    <a:pt x="38576" y="315468"/>
                    <a:pt x="24765" y="294989"/>
                    <a:pt x="14859" y="271463"/>
                  </a:cubicBezTo>
                  <a:cubicBezTo>
                    <a:pt x="4953" y="247936"/>
                    <a:pt x="0" y="222980"/>
                    <a:pt x="0" y="196501"/>
                  </a:cubicBezTo>
                  <a:lnTo>
                    <a:pt x="0" y="195072"/>
                  </a:lnTo>
                  <a:cubicBezTo>
                    <a:pt x="0" y="168212"/>
                    <a:pt x="5049" y="143066"/>
                    <a:pt x="15240" y="119444"/>
                  </a:cubicBezTo>
                  <a:cubicBezTo>
                    <a:pt x="25337" y="95917"/>
                    <a:pt x="39243" y="75248"/>
                    <a:pt x="56960" y="57626"/>
                  </a:cubicBezTo>
                  <a:cubicBezTo>
                    <a:pt x="74676" y="39910"/>
                    <a:pt x="95631" y="25908"/>
                    <a:pt x="119825" y="15526"/>
                  </a:cubicBezTo>
                  <a:cubicBezTo>
                    <a:pt x="144113" y="5144"/>
                    <a:pt x="170593" y="0"/>
                    <a:pt x="199358" y="0"/>
                  </a:cubicBezTo>
                  <a:cubicBezTo>
                    <a:pt x="228124" y="0"/>
                    <a:pt x="254604" y="5048"/>
                    <a:pt x="278892" y="15240"/>
                  </a:cubicBezTo>
                  <a:cubicBezTo>
                    <a:pt x="303181" y="25337"/>
                    <a:pt x="324136" y="39243"/>
                    <a:pt x="341757" y="56959"/>
                  </a:cubicBezTo>
                  <a:cubicBezTo>
                    <a:pt x="359379" y="74676"/>
                    <a:pt x="373189" y="95155"/>
                    <a:pt x="383096" y="118396"/>
                  </a:cubicBezTo>
                  <a:cubicBezTo>
                    <a:pt x="393002" y="141732"/>
                    <a:pt x="397955" y="166783"/>
                    <a:pt x="397955" y="193643"/>
                  </a:cubicBezTo>
                  <a:lnTo>
                    <a:pt x="397955" y="195072"/>
                  </a:lnTo>
                  <a:cubicBezTo>
                    <a:pt x="397955" y="221456"/>
                    <a:pt x="392906" y="246412"/>
                    <a:pt x="382714" y="270034"/>
                  </a:cubicBezTo>
                  <a:cubicBezTo>
                    <a:pt x="372618" y="293561"/>
                    <a:pt x="358712" y="314230"/>
                    <a:pt x="340995" y="331851"/>
                  </a:cubicBezTo>
                  <a:cubicBezTo>
                    <a:pt x="323279" y="349472"/>
                    <a:pt x="302229" y="363569"/>
                    <a:pt x="277749" y="373856"/>
                  </a:cubicBezTo>
                  <a:cubicBezTo>
                    <a:pt x="253270" y="384238"/>
                    <a:pt x="226600" y="389382"/>
                    <a:pt x="197834" y="389382"/>
                  </a:cubicBezTo>
                  <a:close/>
                  <a:moveTo>
                    <a:pt x="199263" y="315278"/>
                  </a:moveTo>
                  <a:cubicBezTo>
                    <a:pt x="216598" y="315278"/>
                    <a:pt x="232124" y="312039"/>
                    <a:pt x="245936" y="305753"/>
                  </a:cubicBezTo>
                  <a:cubicBezTo>
                    <a:pt x="259747" y="299371"/>
                    <a:pt x="271558" y="290798"/>
                    <a:pt x="281369" y="279940"/>
                  </a:cubicBezTo>
                  <a:cubicBezTo>
                    <a:pt x="291179" y="269081"/>
                    <a:pt x="298704" y="256508"/>
                    <a:pt x="303848" y="242125"/>
                  </a:cubicBezTo>
                  <a:cubicBezTo>
                    <a:pt x="308991" y="227743"/>
                    <a:pt x="311563" y="212598"/>
                    <a:pt x="311563" y="196501"/>
                  </a:cubicBezTo>
                  <a:lnTo>
                    <a:pt x="311563" y="195072"/>
                  </a:lnTo>
                  <a:cubicBezTo>
                    <a:pt x="311563" y="178594"/>
                    <a:pt x="308706" y="163068"/>
                    <a:pt x="303181" y="148400"/>
                  </a:cubicBezTo>
                  <a:cubicBezTo>
                    <a:pt x="297561" y="133826"/>
                    <a:pt x="289750" y="121063"/>
                    <a:pt x="279654" y="110204"/>
                  </a:cubicBezTo>
                  <a:cubicBezTo>
                    <a:pt x="269557" y="99346"/>
                    <a:pt x="257651" y="90773"/>
                    <a:pt x="243840" y="84392"/>
                  </a:cubicBezTo>
                  <a:cubicBezTo>
                    <a:pt x="230029" y="78010"/>
                    <a:pt x="214694" y="74867"/>
                    <a:pt x="197834" y="74867"/>
                  </a:cubicBezTo>
                  <a:cubicBezTo>
                    <a:pt x="180975" y="74867"/>
                    <a:pt x="165640" y="78010"/>
                    <a:pt x="151829" y="84392"/>
                  </a:cubicBezTo>
                  <a:cubicBezTo>
                    <a:pt x="138017" y="90773"/>
                    <a:pt x="126206" y="99250"/>
                    <a:pt x="116396" y="109823"/>
                  </a:cubicBezTo>
                  <a:cubicBezTo>
                    <a:pt x="106585" y="120396"/>
                    <a:pt x="99060" y="133064"/>
                    <a:pt x="93916" y="147638"/>
                  </a:cubicBezTo>
                  <a:cubicBezTo>
                    <a:pt x="88773" y="162211"/>
                    <a:pt x="86201" y="177546"/>
                    <a:pt x="86201" y="193548"/>
                  </a:cubicBezTo>
                  <a:lnTo>
                    <a:pt x="86201" y="194977"/>
                  </a:lnTo>
                  <a:cubicBezTo>
                    <a:pt x="86201" y="211455"/>
                    <a:pt x="89059" y="226886"/>
                    <a:pt x="94583" y="241268"/>
                  </a:cubicBezTo>
                  <a:cubicBezTo>
                    <a:pt x="100203" y="255651"/>
                    <a:pt x="108014" y="268319"/>
                    <a:pt x="118110" y="279463"/>
                  </a:cubicBezTo>
                  <a:cubicBezTo>
                    <a:pt x="128207" y="290608"/>
                    <a:pt x="140113" y="299275"/>
                    <a:pt x="153924" y="305562"/>
                  </a:cubicBezTo>
                  <a:cubicBezTo>
                    <a:pt x="167735" y="311944"/>
                    <a:pt x="182785"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32" name="Freeform: Shape 31">
              <a:extLst>
                <a:ext uri="{FF2B5EF4-FFF2-40B4-BE49-F238E27FC236}">
                  <a16:creationId xmlns:a16="http://schemas.microsoft.com/office/drawing/2014/main" id="{6AE01A66-7DF1-3F74-0EE9-753C1A8E4791}"/>
                </a:ext>
              </a:extLst>
            </p:cNvPr>
            <p:cNvSpPr/>
            <p:nvPr/>
          </p:nvSpPr>
          <p:spPr>
            <a:xfrm>
              <a:off x="662071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1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7 w 296894"/>
                <a:gd name="connsiteY23" fmla="*/ 42863 h 386714"/>
                <a:gd name="connsiteX24" fmla="*/ 254318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7 w 296894"/>
                <a:gd name="connsiteY30" fmla="*/ 124587 h 386714"/>
                <a:gd name="connsiteX31" fmla="*/ 122682 w 296894"/>
                <a:gd name="connsiteY31" fmla="*/ 138017 h 386714"/>
                <a:gd name="connsiteX32" fmla="*/ 149543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6" y="348901"/>
                    <a:pt x="0" y="330327"/>
                  </a:cubicBezTo>
                  <a:lnTo>
                    <a:pt x="38195" y="272224"/>
                  </a:lnTo>
                  <a:cubicBezTo>
                    <a:pt x="58484" y="287274"/>
                    <a:pt x="79057" y="298704"/>
                    <a:pt x="100013" y="306514"/>
                  </a:cubicBezTo>
                  <a:cubicBezTo>
                    <a:pt x="120968" y="314325"/>
                    <a:pt x="141161" y="318135"/>
                    <a:pt x="160401" y="318135"/>
                  </a:cubicBezTo>
                  <a:cubicBezTo>
                    <a:pt x="179641" y="318135"/>
                    <a:pt x="192977"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1" y="241078"/>
                    <a:pt x="176498" y="237553"/>
                    <a:pt x="166401"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2" y="40195"/>
                    <a:pt x="56864" y="30385"/>
                  </a:cubicBezTo>
                  <a:cubicBezTo>
                    <a:pt x="68866" y="20479"/>
                    <a:pt x="82962" y="12954"/>
                    <a:pt x="99250" y="7810"/>
                  </a:cubicBezTo>
                  <a:cubicBezTo>
                    <a:pt x="115538" y="2667"/>
                    <a:pt x="132779" y="0"/>
                    <a:pt x="151162" y="0"/>
                  </a:cubicBezTo>
                  <a:cubicBezTo>
                    <a:pt x="174688" y="0"/>
                    <a:pt x="198501" y="3810"/>
                    <a:pt x="222504" y="11430"/>
                  </a:cubicBezTo>
                  <a:cubicBezTo>
                    <a:pt x="246507" y="19050"/>
                    <a:pt x="268414" y="29527"/>
                    <a:pt x="288227" y="42863"/>
                  </a:cubicBezTo>
                  <a:lnTo>
                    <a:pt x="254318"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7" y="124587"/>
                  </a:cubicBezTo>
                  <a:cubicBezTo>
                    <a:pt x="108585" y="129540"/>
                    <a:pt x="114871" y="134017"/>
                    <a:pt x="122682" y="138017"/>
                  </a:cubicBezTo>
                  <a:cubicBezTo>
                    <a:pt x="130493" y="142018"/>
                    <a:pt x="139351" y="145732"/>
                    <a:pt x="149543"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696"/>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33" name="Freeform: Shape 32">
              <a:extLst>
                <a:ext uri="{FF2B5EF4-FFF2-40B4-BE49-F238E27FC236}">
                  <a16:creationId xmlns:a16="http://schemas.microsoft.com/office/drawing/2014/main" id="{7C6B14EF-9E98-62E5-AAEA-745BD25D1C8A}"/>
                </a:ext>
              </a:extLst>
            </p:cNvPr>
            <p:cNvSpPr/>
            <p:nvPr/>
          </p:nvSpPr>
          <p:spPr>
            <a:xfrm>
              <a:off x="526693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4 w 202977"/>
                <a:gd name="connsiteY17" fmla="*/ 19907 h 239267"/>
                <a:gd name="connsiteX18" fmla="*/ 59246 w 202977"/>
                <a:gd name="connsiteY18" fmla="*/ 5429 h 239267"/>
                <a:gd name="connsiteX19" fmla="*/ 104299 w 202977"/>
                <a:gd name="connsiteY19" fmla="*/ 0 h 239267"/>
                <a:gd name="connsiteX20" fmla="*/ 178880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5 w 202977"/>
                <a:gd name="connsiteY27" fmla="*/ 211169 h 239267"/>
                <a:gd name="connsiteX28" fmla="*/ 122968 w 202977"/>
                <a:gd name="connsiteY28" fmla="*/ 206788 h 239267"/>
                <a:gd name="connsiteX29" fmla="*/ 147257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9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9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3" y="99155"/>
                    <a:pt x="58674" y="95917"/>
                  </a:cubicBezTo>
                  <a:cubicBezTo>
                    <a:pt x="70771" y="92678"/>
                    <a:pt x="84011" y="90964"/>
                    <a:pt x="98584" y="90964"/>
                  </a:cubicBezTo>
                  <a:cubicBezTo>
                    <a:pt x="113157" y="90964"/>
                    <a:pt x="126301" y="91821"/>
                    <a:pt x="137160" y="93631"/>
                  </a:cubicBezTo>
                  <a:cubicBezTo>
                    <a:pt x="148019" y="95440"/>
                    <a:pt x="158687" y="97822"/>
                    <a:pt x="169069" y="100774"/>
                  </a:cubicBezTo>
                  <a:lnTo>
                    <a:pt x="169069" y="93726"/>
                  </a:lnTo>
                  <a:cubicBezTo>
                    <a:pt x="169069" y="73342"/>
                    <a:pt x="163068" y="57912"/>
                    <a:pt x="151162" y="47339"/>
                  </a:cubicBezTo>
                  <a:cubicBezTo>
                    <a:pt x="139256" y="36862"/>
                    <a:pt x="122492" y="31623"/>
                    <a:pt x="100679" y="31623"/>
                  </a:cubicBezTo>
                  <a:cubicBezTo>
                    <a:pt x="86963" y="31623"/>
                    <a:pt x="74581" y="33147"/>
                    <a:pt x="63437" y="36100"/>
                  </a:cubicBezTo>
                  <a:cubicBezTo>
                    <a:pt x="52292" y="39053"/>
                    <a:pt x="41339" y="43053"/>
                    <a:pt x="30671" y="48196"/>
                  </a:cubicBezTo>
                  <a:lnTo>
                    <a:pt x="20384" y="19907"/>
                  </a:lnTo>
                  <a:cubicBezTo>
                    <a:pt x="33147" y="13906"/>
                    <a:pt x="46101" y="9049"/>
                    <a:pt x="59246" y="5429"/>
                  </a:cubicBezTo>
                  <a:cubicBezTo>
                    <a:pt x="72295" y="1810"/>
                    <a:pt x="87344" y="0"/>
                    <a:pt x="104299" y="0"/>
                  </a:cubicBezTo>
                  <a:cubicBezTo>
                    <a:pt x="137065" y="0"/>
                    <a:pt x="161925" y="8477"/>
                    <a:pt x="178880"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99" y="239173"/>
                    <a:pt x="86011" y="239173"/>
                  </a:cubicBezTo>
                  <a:close/>
                  <a:moveTo>
                    <a:pt x="93155" y="211169"/>
                  </a:moveTo>
                  <a:cubicBezTo>
                    <a:pt x="103823" y="211169"/>
                    <a:pt x="113728" y="209740"/>
                    <a:pt x="122968" y="206788"/>
                  </a:cubicBezTo>
                  <a:cubicBezTo>
                    <a:pt x="132207" y="203835"/>
                    <a:pt x="140208" y="199644"/>
                    <a:pt x="147257"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9" y="121444"/>
                  </a:cubicBezTo>
                  <a:cubicBezTo>
                    <a:pt x="129445" y="119348"/>
                    <a:pt x="116776"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244" y="190500"/>
                    <a:pt x="47435" y="195358"/>
                    <a:pt x="52769" y="199263"/>
                  </a:cubicBezTo>
                  <a:cubicBezTo>
                    <a:pt x="58103" y="203073"/>
                    <a:pt x="64294" y="206026"/>
                    <a:pt x="71247" y="208121"/>
                  </a:cubicBezTo>
                  <a:cubicBezTo>
                    <a:pt x="78200" y="210217"/>
                    <a:pt x="85535"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34" name="Freeform: Shape 33">
              <a:extLst>
                <a:ext uri="{FF2B5EF4-FFF2-40B4-BE49-F238E27FC236}">
                  <a16:creationId xmlns:a16="http://schemas.microsoft.com/office/drawing/2014/main" id="{2EF40177-7183-3857-9772-1E0B55203AB2}"/>
                </a:ext>
              </a:extLst>
            </p:cNvPr>
            <p:cNvSpPr/>
            <p:nvPr/>
          </p:nvSpPr>
          <p:spPr>
            <a:xfrm>
              <a:off x="5331227"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9" y="303276"/>
                    <a:pt x="71438" y="300895"/>
                  </a:cubicBezTo>
                  <a:cubicBezTo>
                    <a:pt x="63437"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2"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5" name="Freeform: Shape 34">
              <a:extLst>
                <a:ext uri="{FF2B5EF4-FFF2-40B4-BE49-F238E27FC236}">
                  <a16:creationId xmlns:a16="http://schemas.microsoft.com/office/drawing/2014/main" id="{7F9C54F9-C7A9-F3AB-B1E4-5BC0A42095C2}"/>
                </a:ext>
              </a:extLst>
            </p:cNvPr>
            <p:cNvSpPr/>
            <p:nvPr/>
          </p:nvSpPr>
          <p:spPr>
            <a:xfrm>
              <a:off x="5381845"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191 w 39242"/>
                <a:gd name="connsiteY5" fmla="*/ 88392 h 319182"/>
                <a:gd name="connsiteX6" fmla="*/ 36576 w 39242"/>
                <a:gd name="connsiteY6" fmla="*/ 88392 h 319182"/>
                <a:gd name="connsiteX7" fmla="*/ 36576 w 39242"/>
                <a:gd name="connsiteY7" fmla="*/ 319183 h 319182"/>
                <a:gd name="connsiteX8" fmla="*/ 2191 w 39242"/>
                <a:gd name="connsiteY8" fmla="*/ 319183 h 319182"/>
                <a:gd name="connsiteX9" fmla="*/ 2191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191" y="88392"/>
                  </a:moveTo>
                  <a:lnTo>
                    <a:pt x="36576" y="88392"/>
                  </a:lnTo>
                  <a:lnTo>
                    <a:pt x="36576" y="319183"/>
                  </a:lnTo>
                  <a:lnTo>
                    <a:pt x="2191" y="319183"/>
                  </a:lnTo>
                  <a:lnTo>
                    <a:pt x="2191" y="88392"/>
                  </a:lnTo>
                  <a:close/>
                </a:path>
              </a:pathLst>
            </a:custGeom>
            <a:solidFill>
              <a:srgbClr val="44505E"/>
            </a:solidFill>
            <a:ln w="9525" cap="flat">
              <a:noFill/>
              <a:prstDash val="solid"/>
              <a:miter/>
            </a:ln>
          </p:spPr>
          <p:txBody>
            <a:bodyPr rtlCol="0" anchor="ctr"/>
            <a:lstStyle/>
            <a:p>
              <a:endParaRPr lang="pt-BR" noProof="0"/>
            </a:p>
          </p:txBody>
        </p:sp>
        <p:sp>
          <p:nvSpPr>
            <p:cNvPr id="36" name="Freeform: Shape 35">
              <a:extLst>
                <a:ext uri="{FF2B5EF4-FFF2-40B4-BE49-F238E27FC236}">
                  <a16:creationId xmlns:a16="http://schemas.microsoft.com/office/drawing/2014/main" id="{E0408350-75CD-3539-C388-AD32E14F39B6}"/>
                </a:ext>
              </a:extLst>
            </p:cNvPr>
            <p:cNvSpPr/>
            <p:nvPr/>
          </p:nvSpPr>
          <p:spPr>
            <a:xfrm>
              <a:off x="5406076"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8" y="303276"/>
                    <a:pt x="71438" y="300895"/>
                  </a:cubicBezTo>
                  <a:cubicBezTo>
                    <a:pt x="63436"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1"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7" name="Freeform: Shape 36">
              <a:extLst>
                <a:ext uri="{FF2B5EF4-FFF2-40B4-BE49-F238E27FC236}">
                  <a16:creationId xmlns:a16="http://schemas.microsoft.com/office/drawing/2014/main" id="{9C2F792E-812F-89E3-171A-E21B0887F2A8}"/>
                </a:ext>
              </a:extLst>
            </p:cNvPr>
            <p:cNvSpPr/>
            <p:nvPr/>
          </p:nvSpPr>
          <p:spPr>
            <a:xfrm>
              <a:off x="5455545" y="925297"/>
              <a:ext cx="50594" cy="59238"/>
            </a:xfrm>
            <a:custGeom>
              <a:avLst/>
              <a:gdLst>
                <a:gd name="connsiteX0" fmla="*/ 88392 w 201263"/>
                <a:gd name="connsiteY0" fmla="*/ 235648 h 235648"/>
                <a:gd name="connsiteX1" fmla="*/ 51149 w 201263"/>
                <a:gd name="connsiteY1" fmla="*/ 228981 h 235648"/>
                <a:gd name="connsiteX2" fmla="*/ 23431 w 201263"/>
                <a:gd name="connsiteY2" fmla="*/ 210026 h 235648"/>
                <a:gd name="connsiteX3" fmla="*/ 6001 w 201263"/>
                <a:gd name="connsiteY3" fmla="*/ 180784 h 235648"/>
                <a:gd name="connsiteX4" fmla="*/ 0 w 201263"/>
                <a:gd name="connsiteY4" fmla="*/ 143256 h 235648"/>
                <a:gd name="connsiteX5" fmla="*/ 0 w 201263"/>
                <a:gd name="connsiteY5" fmla="*/ 0 h 235648"/>
                <a:gd name="connsiteX6" fmla="*/ 34385 w 201263"/>
                <a:gd name="connsiteY6" fmla="*/ 0 h 235648"/>
                <a:gd name="connsiteX7" fmla="*/ 34385 w 201263"/>
                <a:gd name="connsiteY7" fmla="*/ 134493 h 235648"/>
                <a:gd name="connsiteX8" fmla="*/ 50864 w 201263"/>
                <a:gd name="connsiteY8" fmla="*/ 185261 h 235648"/>
                <a:gd name="connsiteX9" fmla="*/ 98203 w 201263"/>
                <a:gd name="connsiteY9" fmla="*/ 203930 h 235648"/>
                <a:gd name="connsiteX10" fmla="*/ 125635 w 201263"/>
                <a:gd name="connsiteY10" fmla="*/ 198787 h 235648"/>
                <a:gd name="connsiteX11" fmla="*/ 147542 w 201263"/>
                <a:gd name="connsiteY11" fmla="*/ 184118 h 235648"/>
                <a:gd name="connsiteX12" fmla="*/ 162020 w 201263"/>
                <a:gd name="connsiteY12" fmla="*/ 161163 h 235648"/>
                <a:gd name="connsiteX13" fmla="*/ 167354 w 201263"/>
                <a:gd name="connsiteY13" fmla="*/ 131826 h 235648"/>
                <a:gd name="connsiteX14" fmla="*/ 167354 w 201263"/>
                <a:gd name="connsiteY14" fmla="*/ 0 h 235648"/>
                <a:gd name="connsiteX15" fmla="*/ 201263 w 201263"/>
                <a:gd name="connsiteY15" fmla="*/ 0 h 235648"/>
                <a:gd name="connsiteX16" fmla="*/ 201263 w 201263"/>
                <a:gd name="connsiteY16" fmla="*/ 230791 h 235648"/>
                <a:gd name="connsiteX17" fmla="*/ 167354 w 201263"/>
                <a:gd name="connsiteY17" fmla="*/ 230791 h 235648"/>
                <a:gd name="connsiteX18" fmla="*/ 167354 w 201263"/>
                <a:gd name="connsiteY18" fmla="*/ 190595 h 235648"/>
                <a:gd name="connsiteX19" fmla="*/ 136969 w 201263"/>
                <a:gd name="connsiteY19" fmla="*/ 222504 h 235648"/>
                <a:gd name="connsiteX20" fmla="*/ 88297 w 201263"/>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263" h="235648">
                  <a:moveTo>
                    <a:pt x="88392" y="235648"/>
                  </a:moveTo>
                  <a:cubicBezTo>
                    <a:pt x="74390" y="235648"/>
                    <a:pt x="62008" y="233363"/>
                    <a:pt x="51149" y="228981"/>
                  </a:cubicBezTo>
                  <a:cubicBezTo>
                    <a:pt x="40291" y="224504"/>
                    <a:pt x="31052" y="218218"/>
                    <a:pt x="23431"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864" y="185261"/>
                  </a:cubicBezTo>
                  <a:cubicBezTo>
                    <a:pt x="61913" y="197739"/>
                    <a:pt x="77629" y="203930"/>
                    <a:pt x="98203" y="203930"/>
                  </a:cubicBezTo>
                  <a:cubicBezTo>
                    <a:pt x="108014" y="203930"/>
                    <a:pt x="117158" y="202216"/>
                    <a:pt x="125635" y="198787"/>
                  </a:cubicBezTo>
                  <a:cubicBezTo>
                    <a:pt x="134112" y="195358"/>
                    <a:pt x="141351" y="190500"/>
                    <a:pt x="147542" y="184118"/>
                  </a:cubicBezTo>
                  <a:cubicBezTo>
                    <a:pt x="153638" y="177736"/>
                    <a:pt x="158496" y="170116"/>
                    <a:pt x="162020" y="161163"/>
                  </a:cubicBezTo>
                  <a:cubicBezTo>
                    <a:pt x="165640" y="152305"/>
                    <a:pt x="167354" y="142494"/>
                    <a:pt x="167354" y="131826"/>
                  </a:cubicBezTo>
                  <a:lnTo>
                    <a:pt x="167354" y="0"/>
                  </a:lnTo>
                  <a:lnTo>
                    <a:pt x="201263" y="0"/>
                  </a:lnTo>
                  <a:lnTo>
                    <a:pt x="201263" y="230791"/>
                  </a:lnTo>
                  <a:lnTo>
                    <a:pt x="167354" y="230791"/>
                  </a:lnTo>
                  <a:lnTo>
                    <a:pt x="167354" y="190595"/>
                  </a:lnTo>
                  <a:cubicBezTo>
                    <a:pt x="159639" y="203073"/>
                    <a:pt x="149447" y="213741"/>
                    <a:pt x="136969" y="222504"/>
                  </a:cubicBezTo>
                  <a:cubicBezTo>
                    <a:pt x="124492" y="231267"/>
                    <a:pt x="108299" y="235648"/>
                    <a:pt x="88297" y="235648"/>
                  </a:cubicBezTo>
                  <a:close/>
                </a:path>
              </a:pathLst>
            </a:custGeom>
            <a:solidFill>
              <a:srgbClr val="44505E"/>
            </a:solidFill>
            <a:ln w="9525" cap="flat">
              <a:noFill/>
              <a:prstDash val="solid"/>
              <a:miter/>
            </a:ln>
          </p:spPr>
          <p:txBody>
            <a:bodyPr rtlCol="0" anchor="ctr"/>
            <a:lstStyle/>
            <a:p>
              <a:endParaRPr lang="pt-BR" noProof="0"/>
            </a:p>
          </p:txBody>
        </p:sp>
        <p:sp>
          <p:nvSpPr>
            <p:cNvPr id="38" name="Freeform: Shape 37">
              <a:extLst>
                <a:ext uri="{FF2B5EF4-FFF2-40B4-BE49-F238E27FC236}">
                  <a16:creationId xmlns:a16="http://schemas.microsoft.com/office/drawing/2014/main" id="{055B8D75-E0F0-8779-9F84-B19DF4E52B60}"/>
                </a:ext>
              </a:extLst>
            </p:cNvPr>
            <p:cNvSpPr/>
            <p:nvPr/>
          </p:nvSpPr>
          <p:spPr>
            <a:xfrm>
              <a:off x="5522205" y="901353"/>
              <a:ext cx="58567" cy="83182"/>
            </a:xfrm>
            <a:custGeom>
              <a:avLst/>
              <a:gdLst>
                <a:gd name="connsiteX0" fmla="*/ 110204 w 232981"/>
                <a:gd name="connsiteY0" fmla="*/ 330898 h 330898"/>
                <a:gd name="connsiteX1" fmla="*/ 69628 w 232981"/>
                <a:gd name="connsiteY1" fmla="*/ 322897 h 330898"/>
                <a:gd name="connsiteX2" fmla="*/ 34385 w 232981"/>
                <a:gd name="connsiteY2" fmla="*/ 299466 h 330898"/>
                <a:gd name="connsiteX3" fmla="*/ 9334 w 232981"/>
                <a:gd name="connsiteY3" fmla="*/ 261938 h 330898"/>
                <a:gd name="connsiteX4" fmla="*/ 0 w 232981"/>
                <a:gd name="connsiteY4" fmla="*/ 211264 h 330898"/>
                <a:gd name="connsiteX5" fmla="*/ 0 w 232981"/>
                <a:gd name="connsiteY5" fmla="*/ 210407 h 330898"/>
                <a:gd name="connsiteX6" fmla="*/ 9334 w 232981"/>
                <a:gd name="connsiteY6" fmla="*/ 159925 h 330898"/>
                <a:gd name="connsiteX7" fmla="*/ 34385 w 232981"/>
                <a:gd name="connsiteY7" fmla="*/ 122206 h 330898"/>
                <a:gd name="connsiteX8" fmla="*/ 69628 w 232981"/>
                <a:gd name="connsiteY8" fmla="*/ 98488 h 330898"/>
                <a:gd name="connsiteX9" fmla="*/ 110204 w 232981"/>
                <a:gd name="connsiteY9" fmla="*/ 90202 h 330898"/>
                <a:gd name="connsiteX10" fmla="*/ 139636 w 232981"/>
                <a:gd name="connsiteY10" fmla="*/ 94202 h 330898"/>
                <a:gd name="connsiteX11" fmla="*/ 163735 w 232981"/>
                <a:gd name="connsiteY11" fmla="*/ 104870 h 330898"/>
                <a:gd name="connsiteX12" fmla="*/ 183166 w 232981"/>
                <a:gd name="connsiteY12" fmla="*/ 120491 h 330898"/>
                <a:gd name="connsiteX13" fmla="*/ 198596 w 232981"/>
                <a:gd name="connsiteY13" fmla="*/ 139255 h 330898"/>
                <a:gd name="connsiteX14" fmla="*/ 198596 w 232981"/>
                <a:gd name="connsiteY14" fmla="*/ 0 h 330898"/>
                <a:gd name="connsiteX15" fmla="*/ 232981 w 232981"/>
                <a:gd name="connsiteY15" fmla="*/ 0 h 330898"/>
                <a:gd name="connsiteX16" fmla="*/ 232981 w 232981"/>
                <a:gd name="connsiteY16" fmla="*/ 325850 h 330898"/>
                <a:gd name="connsiteX17" fmla="*/ 198596 w 232981"/>
                <a:gd name="connsiteY17" fmla="*/ 325850 h 330898"/>
                <a:gd name="connsiteX18" fmla="*/ 198596 w 232981"/>
                <a:gd name="connsiteY18" fmla="*/ 279463 h 330898"/>
                <a:gd name="connsiteX19" fmla="*/ 182785 w 232981"/>
                <a:gd name="connsiteY19" fmla="*/ 299085 h 330898"/>
                <a:gd name="connsiteX20" fmla="*/ 163354 w 232981"/>
                <a:gd name="connsiteY20" fmla="*/ 315658 h 330898"/>
                <a:gd name="connsiteX21" fmla="*/ 139446 w 232981"/>
                <a:gd name="connsiteY21" fmla="*/ 326803 h 330898"/>
                <a:gd name="connsiteX22" fmla="*/ 110204 w 232981"/>
                <a:gd name="connsiteY22" fmla="*/ 330803 h 330898"/>
                <a:gd name="connsiteX23" fmla="*/ 116491 w 232981"/>
                <a:gd name="connsiteY23" fmla="*/ 300133 h 330898"/>
                <a:gd name="connsiteX24" fmla="*/ 147542 w 232981"/>
                <a:gd name="connsiteY24" fmla="*/ 293656 h 330898"/>
                <a:gd name="connsiteX25" fmla="*/ 174307 w 232981"/>
                <a:gd name="connsiteY25" fmla="*/ 275368 h 330898"/>
                <a:gd name="connsiteX26" fmla="*/ 193072 w 232981"/>
                <a:gd name="connsiteY26" fmla="*/ 247269 h 330898"/>
                <a:gd name="connsiteX27" fmla="*/ 200025 w 232981"/>
                <a:gd name="connsiteY27" fmla="*/ 210883 h 330898"/>
                <a:gd name="connsiteX28" fmla="*/ 200025 w 232981"/>
                <a:gd name="connsiteY28" fmla="*/ 210026 h 330898"/>
                <a:gd name="connsiteX29" fmla="*/ 193072 w 232981"/>
                <a:gd name="connsiteY29" fmla="*/ 173641 h 330898"/>
                <a:gd name="connsiteX30" fmla="*/ 174307 w 232981"/>
                <a:gd name="connsiteY30" fmla="*/ 145732 h 330898"/>
                <a:gd name="connsiteX31" fmla="*/ 147542 w 232981"/>
                <a:gd name="connsiteY31" fmla="*/ 127635 h 330898"/>
                <a:gd name="connsiteX32" fmla="*/ 116491 w 232981"/>
                <a:gd name="connsiteY32" fmla="*/ 121158 h 330898"/>
                <a:gd name="connsiteX33" fmla="*/ 84772 w 232981"/>
                <a:gd name="connsiteY33" fmla="*/ 127159 h 330898"/>
                <a:gd name="connsiteX34" fmla="*/ 59150 w 232981"/>
                <a:gd name="connsiteY34" fmla="*/ 144589 h 330898"/>
                <a:gd name="connsiteX35" fmla="*/ 41719 w 232981"/>
                <a:gd name="connsiteY35" fmla="*/ 172498 h 330898"/>
                <a:gd name="connsiteX36" fmla="*/ 35242 w 232981"/>
                <a:gd name="connsiteY36" fmla="*/ 210026 h 330898"/>
                <a:gd name="connsiteX37" fmla="*/ 35242 w 232981"/>
                <a:gd name="connsiteY37" fmla="*/ 210883 h 330898"/>
                <a:gd name="connsiteX38" fmla="*/ 41719 w 232981"/>
                <a:gd name="connsiteY38" fmla="*/ 247936 h 330898"/>
                <a:gd name="connsiteX39" fmla="*/ 59341 w 232981"/>
                <a:gd name="connsiteY39" fmla="*/ 276034 h 330898"/>
                <a:gd name="connsiteX40" fmla="*/ 85249 w 232981"/>
                <a:gd name="connsiteY40" fmla="*/ 293941 h 330898"/>
                <a:gd name="connsiteX41" fmla="*/ 116491 w 23298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30898">
                  <a:moveTo>
                    <a:pt x="110204" y="330898"/>
                  </a:moveTo>
                  <a:cubicBezTo>
                    <a:pt x="96202" y="330898"/>
                    <a:pt x="82677" y="328231"/>
                    <a:pt x="69628" y="322897"/>
                  </a:cubicBezTo>
                  <a:cubicBezTo>
                    <a:pt x="56578" y="317563"/>
                    <a:pt x="44767" y="309753"/>
                    <a:pt x="34385" y="299466"/>
                  </a:cubicBezTo>
                  <a:cubicBezTo>
                    <a:pt x="24003" y="289179"/>
                    <a:pt x="15621" y="276701"/>
                    <a:pt x="9334" y="261938"/>
                  </a:cubicBezTo>
                  <a:cubicBezTo>
                    <a:pt x="3048" y="247174"/>
                    <a:pt x="0" y="230314"/>
                    <a:pt x="0" y="211264"/>
                  </a:cubicBezTo>
                  <a:lnTo>
                    <a:pt x="0" y="210407"/>
                  </a:lnTo>
                  <a:cubicBezTo>
                    <a:pt x="0" y="191643"/>
                    <a:pt x="3143" y="174879"/>
                    <a:pt x="9334" y="159925"/>
                  </a:cubicBezTo>
                  <a:cubicBezTo>
                    <a:pt x="15621" y="145066"/>
                    <a:pt x="23908" y="132493"/>
                    <a:pt x="34385" y="122206"/>
                  </a:cubicBezTo>
                  <a:cubicBezTo>
                    <a:pt x="44767" y="111919"/>
                    <a:pt x="56578" y="104013"/>
                    <a:pt x="69628" y="98488"/>
                  </a:cubicBezTo>
                  <a:cubicBezTo>
                    <a:pt x="82677" y="92964"/>
                    <a:pt x="96298" y="90202"/>
                    <a:pt x="110204" y="90202"/>
                  </a:cubicBezTo>
                  <a:cubicBezTo>
                    <a:pt x="120967" y="90202"/>
                    <a:pt x="130778" y="91535"/>
                    <a:pt x="139636" y="94202"/>
                  </a:cubicBezTo>
                  <a:cubicBezTo>
                    <a:pt x="148590" y="96869"/>
                    <a:pt x="156591" y="100489"/>
                    <a:pt x="163735" y="104870"/>
                  </a:cubicBezTo>
                  <a:cubicBezTo>
                    <a:pt x="170878" y="109347"/>
                    <a:pt x="177356" y="114586"/>
                    <a:pt x="183166" y="120491"/>
                  </a:cubicBezTo>
                  <a:cubicBezTo>
                    <a:pt x="188976" y="126492"/>
                    <a:pt x="194119" y="132683"/>
                    <a:pt x="198596" y="139255"/>
                  </a:cubicBezTo>
                  <a:lnTo>
                    <a:pt x="198596" y="0"/>
                  </a:lnTo>
                  <a:lnTo>
                    <a:pt x="232981" y="0"/>
                  </a:lnTo>
                  <a:lnTo>
                    <a:pt x="232981" y="325850"/>
                  </a:lnTo>
                  <a:lnTo>
                    <a:pt x="198596" y="325850"/>
                  </a:lnTo>
                  <a:lnTo>
                    <a:pt x="198596" y="279463"/>
                  </a:lnTo>
                  <a:cubicBezTo>
                    <a:pt x="193834" y="286321"/>
                    <a:pt x="188595" y="292894"/>
                    <a:pt x="182785" y="299085"/>
                  </a:cubicBezTo>
                  <a:cubicBezTo>
                    <a:pt x="176974" y="305371"/>
                    <a:pt x="170498" y="310896"/>
                    <a:pt x="163354" y="315658"/>
                  </a:cubicBezTo>
                  <a:cubicBezTo>
                    <a:pt x="156210" y="320421"/>
                    <a:pt x="148209" y="324136"/>
                    <a:pt x="139446" y="326803"/>
                  </a:cubicBezTo>
                  <a:cubicBezTo>
                    <a:pt x="130683" y="329470"/>
                    <a:pt x="120967" y="330803"/>
                    <a:pt x="110204" y="330803"/>
                  </a:cubicBezTo>
                  <a:close/>
                  <a:moveTo>
                    <a:pt x="116491" y="300133"/>
                  </a:moveTo>
                  <a:cubicBezTo>
                    <a:pt x="127159" y="300133"/>
                    <a:pt x="137541" y="297942"/>
                    <a:pt x="147542" y="293656"/>
                  </a:cubicBezTo>
                  <a:cubicBezTo>
                    <a:pt x="157544" y="289369"/>
                    <a:pt x="166402" y="283273"/>
                    <a:pt x="174307" y="275368"/>
                  </a:cubicBezTo>
                  <a:cubicBezTo>
                    <a:pt x="182213" y="267462"/>
                    <a:pt x="188404" y="258127"/>
                    <a:pt x="193072" y="247269"/>
                  </a:cubicBezTo>
                  <a:cubicBezTo>
                    <a:pt x="197644" y="236410"/>
                    <a:pt x="200025" y="224314"/>
                    <a:pt x="200025" y="210883"/>
                  </a:cubicBezTo>
                  <a:lnTo>
                    <a:pt x="200025" y="210026"/>
                  </a:lnTo>
                  <a:cubicBezTo>
                    <a:pt x="200025" y="196596"/>
                    <a:pt x="197739" y="184499"/>
                    <a:pt x="193072" y="173641"/>
                  </a:cubicBezTo>
                  <a:cubicBezTo>
                    <a:pt x="188500" y="162782"/>
                    <a:pt x="182213" y="153448"/>
                    <a:pt x="174307" y="145732"/>
                  </a:cubicBezTo>
                  <a:cubicBezTo>
                    <a:pt x="166402" y="138017"/>
                    <a:pt x="157448" y="132016"/>
                    <a:pt x="147542" y="127635"/>
                  </a:cubicBezTo>
                  <a:cubicBezTo>
                    <a:pt x="137541" y="123349"/>
                    <a:pt x="127254" y="121158"/>
                    <a:pt x="116491" y="121158"/>
                  </a:cubicBezTo>
                  <a:cubicBezTo>
                    <a:pt x="105156" y="121158"/>
                    <a:pt x="94583" y="123158"/>
                    <a:pt x="84772" y="127159"/>
                  </a:cubicBezTo>
                  <a:cubicBezTo>
                    <a:pt x="74962" y="131159"/>
                    <a:pt x="66389" y="136969"/>
                    <a:pt x="59150" y="144589"/>
                  </a:cubicBezTo>
                  <a:cubicBezTo>
                    <a:pt x="51816" y="152114"/>
                    <a:pt x="46101" y="161449"/>
                    <a:pt x="41719" y="172498"/>
                  </a:cubicBezTo>
                  <a:cubicBezTo>
                    <a:pt x="37433" y="183451"/>
                    <a:pt x="35242" y="196024"/>
                    <a:pt x="35242" y="210026"/>
                  </a:cubicBezTo>
                  <a:lnTo>
                    <a:pt x="35242" y="210883"/>
                  </a:lnTo>
                  <a:cubicBezTo>
                    <a:pt x="35242" y="224599"/>
                    <a:pt x="37433" y="236982"/>
                    <a:pt x="41719" y="247936"/>
                  </a:cubicBezTo>
                  <a:cubicBezTo>
                    <a:pt x="46006" y="258984"/>
                    <a:pt x="51911" y="268319"/>
                    <a:pt x="59341" y="276034"/>
                  </a:cubicBezTo>
                  <a:cubicBezTo>
                    <a:pt x="66770" y="283750"/>
                    <a:pt x="75438" y="289750"/>
                    <a:pt x="85249" y="293941"/>
                  </a:cubicBezTo>
                  <a:cubicBezTo>
                    <a:pt x="95059" y="298132"/>
                    <a:pt x="105442" y="300228"/>
                    <a:pt x="116491" y="300228"/>
                  </a:cubicBezTo>
                  <a:close/>
                </a:path>
              </a:pathLst>
            </a:custGeom>
            <a:solidFill>
              <a:srgbClr val="44505E"/>
            </a:solidFill>
            <a:ln w="9525" cap="flat">
              <a:noFill/>
              <a:prstDash val="solid"/>
              <a:miter/>
            </a:ln>
          </p:spPr>
          <p:txBody>
            <a:bodyPr rtlCol="0" anchor="ctr"/>
            <a:lstStyle/>
            <a:p>
              <a:endParaRPr lang="pt-BR" noProof="0"/>
            </a:p>
          </p:txBody>
        </p:sp>
        <p:sp>
          <p:nvSpPr>
            <p:cNvPr id="39" name="Freeform: Shape 38">
              <a:extLst>
                <a:ext uri="{FF2B5EF4-FFF2-40B4-BE49-F238E27FC236}">
                  <a16:creationId xmlns:a16="http://schemas.microsoft.com/office/drawing/2014/main" id="{6FEB1A25-25C9-2CCD-E876-42E9D213C534}"/>
                </a:ext>
              </a:extLst>
            </p:cNvPr>
            <p:cNvSpPr/>
            <p:nvPr/>
          </p:nvSpPr>
          <p:spPr>
            <a:xfrm>
              <a:off x="5596504"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6963 w 218217"/>
                <a:gd name="connsiteY3" fmla="*/ 206026 h 241077"/>
                <a:gd name="connsiteX4" fmla="*/ 116015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8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1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452 w 218217"/>
                <a:gd name="connsiteY25" fmla="*/ 106299 h 241077"/>
                <a:gd name="connsiteX26" fmla="*/ 176784 w 218217"/>
                <a:gd name="connsiteY26" fmla="*/ 76771 h 241077"/>
                <a:gd name="connsiteX27" fmla="*/ 162306 w 218217"/>
                <a:gd name="connsiteY27" fmla="*/ 52101 h 241077"/>
                <a:gd name="connsiteX28" fmla="*/ 140018 w 218217"/>
                <a:gd name="connsiteY28" fmla="*/ 35242 h 241077"/>
                <a:gd name="connsiteX29" fmla="*/ 109919 w 218217"/>
                <a:gd name="connsiteY29" fmla="*/ 29051 h 241077"/>
                <a:gd name="connsiteX30" fmla="*/ 82201 w 218217"/>
                <a:gd name="connsiteY30" fmla="*/ 34766 h 241077"/>
                <a:gd name="connsiteX31" fmla="*/ 59436 w 218217"/>
                <a:gd name="connsiteY31" fmla="*/ 50959 h 241077"/>
                <a:gd name="connsiteX32" fmla="*/ 43148 w 218217"/>
                <a:gd name="connsiteY32" fmla="*/ 75628 h 241077"/>
                <a:gd name="connsiteX33" fmla="*/ 34862 w 218217"/>
                <a:gd name="connsiteY33" fmla="*/ 106204 h 241077"/>
                <a:gd name="connsiteX34" fmla="*/ 183547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724" y="202597"/>
                    <a:pt x="86963" y="206026"/>
                  </a:cubicBezTo>
                  <a:cubicBezTo>
                    <a:pt x="96203" y="209455"/>
                    <a:pt x="105823" y="211169"/>
                    <a:pt x="116015" y="211169"/>
                  </a:cubicBezTo>
                  <a:cubicBezTo>
                    <a:pt x="132112" y="211169"/>
                    <a:pt x="145828" y="208216"/>
                    <a:pt x="157353" y="202216"/>
                  </a:cubicBezTo>
                  <a:cubicBezTo>
                    <a:pt x="168783" y="196310"/>
                    <a:pt x="179261" y="188404"/>
                    <a:pt x="188786" y="178594"/>
                  </a:cubicBezTo>
                  <a:lnTo>
                    <a:pt x="210217" y="197834"/>
                  </a:lnTo>
                  <a:cubicBezTo>
                    <a:pt x="198596" y="210979"/>
                    <a:pt x="185357" y="221361"/>
                    <a:pt x="170498" y="229267"/>
                  </a:cubicBezTo>
                  <a:cubicBezTo>
                    <a:pt x="155639"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679" y="0"/>
                    <a:pt x="110681"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452" y="106299"/>
                  </a:moveTo>
                  <a:cubicBezTo>
                    <a:pt x="182594" y="95917"/>
                    <a:pt x="180308" y="86106"/>
                    <a:pt x="176784" y="76771"/>
                  </a:cubicBezTo>
                  <a:cubicBezTo>
                    <a:pt x="173165" y="67437"/>
                    <a:pt x="168402" y="59245"/>
                    <a:pt x="162306" y="52101"/>
                  </a:cubicBezTo>
                  <a:cubicBezTo>
                    <a:pt x="156210" y="44958"/>
                    <a:pt x="148781" y="39338"/>
                    <a:pt x="140018" y="35242"/>
                  </a:cubicBezTo>
                  <a:cubicBezTo>
                    <a:pt x="131254" y="31147"/>
                    <a:pt x="121158" y="29051"/>
                    <a:pt x="109919" y="29051"/>
                  </a:cubicBezTo>
                  <a:cubicBezTo>
                    <a:pt x="100108" y="29051"/>
                    <a:pt x="90869" y="30956"/>
                    <a:pt x="82201" y="34766"/>
                  </a:cubicBezTo>
                  <a:cubicBezTo>
                    <a:pt x="73533" y="38671"/>
                    <a:pt x="66008" y="44005"/>
                    <a:pt x="59436" y="50959"/>
                  </a:cubicBezTo>
                  <a:cubicBezTo>
                    <a:pt x="52864" y="57912"/>
                    <a:pt x="47435" y="66103"/>
                    <a:pt x="43148" y="75628"/>
                  </a:cubicBezTo>
                  <a:cubicBezTo>
                    <a:pt x="38862" y="85058"/>
                    <a:pt x="36100" y="95345"/>
                    <a:pt x="34862" y="106204"/>
                  </a:cubicBezTo>
                  <a:lnTo>
                    <a:pt x="183547" y="106204"/>
                  </a:lnTo>
                  <a:close/>
                </a:path>
              </a:pathLst>
            </a:custGeom>
            <a:solidFill>
              <a:srgbClr val="44505E"/>
            </a:solidFill>
            <a:ln w="9525" cap="flat">
              <a:noFill/>
              <a:prstDash val="solid"/>
              <a:miter/>
            </a:ln>
          </p:spPr>
          <p:txBody>
            <a:bodyPr rtlCol="0" anchor="ctr"/>
            <a:lstStyle/>
            <a:p>
              <a:endParaRPr lang="pt-BR" noProof="0"/>
            </a:p>
          </p:txBody>
        </p:sp>
        <p:sp>
          <p:nvSpPr>
            <p:cNvPr id="40" name="Freeform: Shape 39">
              <a:extLst>
                <a:ext uri="{FF2B5EF4-FFF2-40B4-BE49-F238E27FC236}">
                  <a16:creationId xmlns:a16="http://schemas.microsoft.com/office/drawing/2014/main" id="{4C0B3111-2087-4FF6-753D-12B01F0C4D00}"/>
                </a:ext>
              </a:extLst>
            </p:cNvPr>
            <p:cNvSpPr/>
            <p:nvPr/>
          </p:nvSpPr>
          <p:spPr>
            <a:xfrm>
              <a:off x="5661680" y="924268"/>
              <a:ext cx="44656" cy="60195"/>
            </a:xfrm>
            <a:custGeom>
              <a:avLst/>
              <a:gdLst>
                <a:gd name="connsiteX0" fmla="*/ 95536 w 177641"/>
                <a:gd name="connsiteY0" fmla="*/ 239268 h 239458"/>
                <a:gd name="connsiteX1" fmla="*/ 45053 w 177641"/>
                <a:gd name="connsiteY1" fmla="*/ 230124 h 239458"/>
                <a:gd name="connsiteX2" fmla="*/ 0 w 177641"/>
                <a:gd name="connsiteY2" fmla="*/ 205359 h 239458"/>
                <a:gd name="connsiteX3" fmla="*/ 17431 w 177641"/>
                <a:gd name="connsiteY3" fmla="*/ 180785 h 239458"/>
                <a:gd name="connsiteX4" fmla="*/ 56483 w 177641"/>
                <a:gd name="connsiteY4" fmla="*/ 202692 h 239458"/>
                <a:gd name="connsiteX5" fmla="*/ 97346 w 177641"/>
                <a:gd name="connsiteY5" fmla="*/ 210217 h 239458"/>
                <a:gd name="connsiteX6" fmla="*/ 131731 w 177641"/>
                <a:gd name="connsiteY6" fmla="*/ 200406 h 239458"/>
                <a:gd name="connsiteX7" fmla="*/ 145161 w 177641"/>
                <a:gd name="connsiteY7" fmla="*/ 173641 h 239458"/>
                <a:gd name="connsiteX8" fmla="*/ 145161 w 177641"/>
                <a:gd name="connsiteY8" fmla="*/ 172784 h 239458"/>
                <a:gd name="connsiteX9" fmla="*/ 140494 w 177641"/>
                <a:gd name="connsiteY9" fmla="*/ 158020 h 239458"/>
                <a:gd name="connsiteX10" fmla="*/ 127730 w 177641"/>
                <a:gd name="connsiteY10" fmla="*/ 147066 h 239458"/>
                <a:gd name="connsiteX11" fmla="*/ 109157 w 177641"/>
                <a:gd name="connsiteY11" fmla="*/ 138779 h 239458"/>
                <a:gd name="connsiteX12" fmla="*/ 87535 w 177641"/>
                <a:gd name="connsiteY12" fmla="*/ 132112 h 239458"/>
                <a:gd name="connsiteX13" fmla="*/ 60484 w 177641"/>
                <a:gd name="connsiteY13" fmla="*/ 123444 h 239458"/>
                <a:gd name="connsiteX14" fmla="*/ 35909 w 177641"/>
                <a:gd name="connsiteY14" fmla="*/ 111633 h 239458"/>
                <a:gd name="connsiteX15" fmla="*/ 18098 w 177641"/>
                <a:gd name="connsiteY15" fmla="*/ 93726 h 239458"/>
                <a:gd name="connsiteX16" fmla="*/ 11144 w 177641"/>
                <a:gd name="connsiteY16" fmla="*/ 66961 h 239458"/>
                <a:gd name="connsiteX17" fmla="*/ 11144 w 177641"/>
                <a:gd name="connsiteY17" fmla="*/ 66008 h 239458"/>
                <a:gd name="connsiteX18" fmla="*/ 16954 w 177641"/>
                <a:gd name="connsiteY18" fmla="*/ 39053 h 239458"/>
                <a:gd name="connsiteX19" fmla="*/ 33242 w 177641"/>
                <a:gd name="connsiteY19" fmla="*/ 18098 h 239458"/>
                <a:gd name="connsiteX20" fmla="*/ 58293 w 177641"/>
                <a:gd name="connsiteY20" fmla="*/ 4667 h 239458"/>
                <a:gd name="connsiteX21" fmla="*/ 89725 w 177641"/>
                <a:gd name="connsiteY21" fmla="*/ 0 h 239458"/>
                <a:gd name="connsiteX22" fmla="*/ 133064 w 177641"/>
                <a:gd name="connsiteY22" fmla="*/ 6953 h 239458"/>
                <a:gd name="connsiteX23" fmla="*/ 172784 w 177641"/>
                <a:gd name="connsiteY23" fmla="*/ 25527 h 239458"/>
                <a:gd name="connsiteX24" fmla="*/ 157163 w 177641"/>
                <a:gd name="connsiteY24" fmla="*/ 51435 h 239458"/>
                <a:gd name="connsiteX25" fmla="*/ 123444 w 177641"/>
                <a:gd name="connsiteY25" fmla="*/ 35147 h 239458"/>
                <a:gd name="connsiteX26" fmla="*/ 88868 w 177641"/>
                <a:gd name="connsiteY26" fmla="*/ 29146 h 239458"/>
                <a:gd name="connsiteX27" fmla="*/ 56293 w 177641"/>
                <a:gd name="connsiteY27" fmla="*/ 38767 h 239458"/>
                <a:gd name="connsiteX28" fmla="*/ 44196 w 177641"/>
                <a:gd name="connsiteY28" fmla="*/ 62675 h 239458"/>
                <a:gd name="connsiteX29" fmla="*/ 44196 w 177641"/>
                <a:gd name="connsiteY29" fmla="*/ 63627 h 239458"/>
                <a:gd name="connsiteX30" fmla="*/ 49149 w 177641"/>
                <a:gd name="connsiteY30" fmla="*/ 77724 h 239458"/>
                <a:gd name="connsiteX31" fmla="*/ 62294 w 177641"/>
                <a:gd name="connsiteY31" fmla="*/ 88202 h 239458"/>
                <a:gd name="connsiteX32" fmla="*/ 81248 w 177641"/>
                <a:gd name="connsiteY32" fmla="*/ 96203 h 239458"/>
                <a:gd name="connsiteX33" fmla="*/ 103537 w 177641"/>
                <a:gd name="connsiteY33" fmla="*/ 103346 h 239458"/>
                <a:gd name="connsiteX34" fmla="*/ 130112 w 177641"/>
                <a:gd name="connsiteY34" fmla="*/ 112300 h 239458"/>
                <a:gd name="connsiteX35" fmla="*/ 154019 w 177641"/>
                <a:gd name="connsiteY35" fmla="*/ 124778 h 239458"/>
                <a:gd name="connsiteX36" fmla="*/ 171164 w 177641"/>
                <a:gd name="connsiteY36" fmla="*/ 143066 h 239458"/>
                <a:gd name="connsiteX37" fmla="*/ 177641 w 177641"/>
                <a:gd name="connsiteY37" fmla="*/ 169450 h 239458"/>
                <a:gd name="connsiteX38" fmla="*/ 177641 w 177641"/>
                <a:gd name="connsiteY38" fmla="*/ 170307 h 239458"/>
                <a:gd name="connsiteX39" fmla="*/ 171164 w 177641"/>
                <a:gd name="connsiteY39" fmla="*/ 199549 h 239458"/>
                <a:gd name="connsiteX40" fmla="*/ 153734 w 177641"/>
                <a:gd name="connsiteY40" fmla="*/ 221171 h 239458"/>
                <a:gd name="connsiteX41" fmla="*/ 127825 w 177641"/>
                <a:gd name="connsiteY41" fmla="*/ 234791 h 239458"/>
                <a:gd name="connsiteX42" fmla="*/ 95441 w 177641"/>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641" h="239458">
                  <a:moveTo>
                    <a:pt x="95536" y="239268"/>
                  </a:moveTo>
                  <a:cubicBezTo>
                    <a:pt x="78867" y="239268"/>
                    <a:pt x="62008" y="236220"/>
                    <a:pt x="45053" y="230124"/>
                  </a:cubicBezTo>
                  <a:cubicBezTo>
                    <a:pt x="28099" y="224028"/>
                    <a:pt x="13049" y="215741"/>
                    <a:pt x="0" y="205359"/>
                  </a:cubicBezTo>
                  <a:lnTo>
                    <a:pt x="17431" y="180785"/>
                  </a:lnTo>
                  <a:cubicBezTo>
                    <a:pt x="29908"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542" y="162211"/>
                    <a:pt x="140494" y="158020"/>
                  </a:cubicBezTo>
                  <a:cubicBezTo>
                    <a:pt x="137350" y="153829"/>
                    <a:pt x="133160" y="150209"/>
                    <a:pt x="127730" y="147066"/>
                  </a:cubicBezTo>
                  <a:cubicBezTo>
                    <a:pt x="122396" y="143923"/>
                    <a:pt x="116205" y="141161"/>
                    <a:pt x="109157" y="138779"/>
                  </a:cubicBezTo>
                  <a:cubicBezTo>
                    <a:pt x="102203" y="136398"/>
                    <a:pt x="94964" y="134207"/>
                    <a:pt x="87535" y="132112"/>
                  </a:cubicBezTo>
                  <a:cubicBezTo>
                    <a:pt x="78581" y="129445"/>
                    <a:pt x="69628" y="126492"/>
                    <a:pt x="60484" y="123444"/>
                  </a:cubicBezTo>
                  <a:cubicBezTo>
                    <a:pt x="51435" y="120301"/>
                    <a:pt x="43244" y="116396"/>
                    <a:pt x="35909" y="111633"/>
                  </a:cubicBezTo>
                  <a:cubicBezTo>
                    <a:pt x="28575" y="106871"/>
                    <a:pt x="22670" y="100870"/>
                    <a:pt x="18098" y="93726"/>
                  </a:cubicBezTo>
                  <a:cubicBezTo>
                    <a:pt x="13525" y="86582"/>
                    <a:pt x="11144" y="77629"/>
                    <a:pt x="11144" y="66961"/>
                  </a:cubicBezTo>
                  <a:lnTo>
                    <a:pt x="11144" y="66008"/>
                  </a:lnTo>
                  <a:cubicBezTo>
                    <a:pt x="11144" y="56198"/>
                    <a:pt x="13049" y="47149"/>
                    <a:pt x="16954" y="39053"/>
                  </a:cubicBezTo>
                  <a:cubicBezTo>
                    <a:pt x="20860" y="30861"/>
                    <a:pt x="26289" y="23908"/>
                    <a:pt x="33242" y="18098"/>
                  </a:cubicBezTo>
                  <a:cubicBezTo>
                    <a:pt x="40196" y="12287"/>
                    <a:pt x="48578" y="7811"/>
                    <a:pt x="58293" y="4667"/>
                  </a:cubicBezTo>
                  <a:cubicBezTo>
                    <a:pt x="67913" y="1524"/>
                    <a:pt x="78486" y="0"/>
                    <a:pt x="89725" y="0"/>
                  </a:cubicBezTo>
                  <a:cubicBezTo>
                    <a:pt x="104013" y="0"/>
                    <a:pt x="118396" y="2286"/>
                    <a:pt x="133064" y="6953"/>
                  </a:cubicBezTo>
                  <a:cubicBezTo>
                    <a:pt x="147638" y="11621"/>
                    <a:pt x="160877" y="17717"/>
                    <a:pt x="172784" y="25527"/>
                  </a:cubicBezTo>
                  <a:lnTo>
                    <a:pt x="157163" y="51435"/>
                  </a:lnTo>
                  <a:cubicBezTo>
                    <a:pt x="146399" y="44577"/>
                    <a:pt x="135255" y="39148"/>
                    <a:pt x="123444" y="35147"/>
                  </a:cubicBezTo>
                  <a:cubicBezTo>
                    <a:pt x="111728" y="31147"/>
                    <a:pt x="100203" y="29146"/>
                    <a:pt x="88868" y="29146"/>
                  </a:cubicBezTo>
                  <a:cubicBezTo>
                    <a:pt x="75152" y="29146"/>
                    <a:pt x="64294" y="32385"/>
                    <a:pt x="56293" y="38767"/>
                  </a:cubicBezTo>
                  <a:cubicBezTo>
                    <a:pt x="48292" y="45149"/>
                    <a:pt x="44196" y="53150"/>
                    <a:pt x="44196" y="62675"/>
                  </a:cubicBezTo>
                  <a:lnTo>
                    <a:pt x="44196" y="63627"/>
                  </a:lnTo>
                  <a:cubicBezTo>
                    <a:pt x="44196" y="68961"/>
                    <a:pt x="45815" y="73628"/>
                    <a:pt x="49149" y="77724"/>
                  </a:cubicBezTo>
                  <a:cubicBezTo>
                    <a:pt x="52388" y="81725"/>
                    <a:pt x="56769" y="85249"/>
                    <a:pt x="62294" y="88202"/>
                  </a:cubicBezTo>
                  <a:cubicBezTo>
                    <a:pt x="67818" y="91154"/>
                    <a:pt x="74104" y="93821"/>
                    <a:pt x="81248" y="96203"/>
                  </a:cubicBezTo>
                  <a:cubicBezTo>
                    <a:pt x="88392" y="98584"/>
                    <a:pt x="95821" y="100965"/>
                    <a:pt x="103537" y="103346"/>
                  </a:cubicBezTo>
                  <a:cubicBezTo>
                    <a:pt x="112490" y="106013"/>
                    <a:pt x="121349" y="108966"/>
                    <a:pt x="130112" y="112300"/>
                  </a:cubicBezTo>
                  <a:cubicBezTo>
                    <a:pt x="138875" y="115538"/>
                    <a:pt x="146875" y="119729"/>
                    <a:pt x="154019" y="124778"/>
                  </a:cubicBezTo>
                  <a:cubicBezTo>
                    <a:pt x="161163" y="129826"/>
                    <a:pt x="166878" y="135922"/>
                    <a:pt x="171164" y="143066"/>
                  </a:cubicBezTo>
                  <a:cubicBezTo>
                    <a:pt x="175450" y="150209"/>
                    <a:pt x="177641" y="158972"/>
                    <a:pt x="177641" y="169450"/>
                  </a:cubicBezTo>
                  <a:lnTo>
                    <a:pt x="177641" y="170307"/>
                  </a:lnTo>
                  <a:cubicBezTo>
                    <a:pt x="177641" y="181356"/>
                    <a:pt x="175450" y="191071"/>
                    <a:pt x="171164" y="199549"/>
                  </a:cubicBezTo>
                  <a:cubicBezTo>
                    <a:pt x="166878" y="208026"/>
                    <a:pt x="161068" y="215265"/>
                    <a:pt x="153734" y="221171"/>
                  </a:cubicBezTo>
                  <a:cubicBezTo>
                    <a:pt x="146495" y="227171"/>
                    <a:pt x="137827" y="231648"/>
                    <a:pt x="127825" y="234791"/>
                  </a:cubicBezTo>
                  <a:cubicBezTo>
                    <a:pt x="117824" y="237935"/>
                    <a:pt x="107061" y="239459"/>
                    <a:pt x="95441" y="239459"/>
                  </a:cubicBezTo>
                  <a:close/>
                </a:path>
              </a:pathLst>
            </a:custGeom>
            <a:solidFill>
              <a:srgbClr val="44505E"/>
            </a:solidFill>
            <a:ln w="9525" cap="flat">
              <a:noFill/>
              <a:prstDash val="solid"/>
              <a:miter/>
            </a:ln>
          </p:spPr>
          <p:txBody>
            <a:bodyPr rtlCol="0" anchor="ctr"/>
            <a:lstStyle/>
            <a:p>
              <a:endParaRPr lang="pt-BR" noProof="0"/>
            </a:p>
          </p:txBody>
        </p:sp>
        <p:sp>
          <p:nvSpPr>
            <p:cNvPr id="41" name="Freeform: Shape 40">
              <a:extLst>
                <a:ext uri="{FF2B5EF4-FFF2-40B4-BE49-F238E27FC236}">
                  <a16:creationId xmlns:a16="http://schemas.microsoft.com/office/drawing/2014/main" id="{89427667-E3C3-71DE-68E2-90F6AA614722}"/>
                </a:ext>
              </a:extLst>
            </p:cNvPr>
            <p:cNvSpPr/>
            <p:nvPr/>
          </p:nvSpPr>
          <p:spPr>
            <a:xfrm>
              <a:off x="5752668" y="924028"/>
              <a:ext cx="58567" cy="77196"/>
            </a:xfrm>
            <a:custGeom>
              <a:avLst/>
              <a:gdLst>
                <a:gd name="connsiteX0" fmla="*/ 198596 w 232981"/>
                <a:gd name="connsiteY0" fmla="*/ 189357 h 307085"/>
                <a:gd name="connsiteX1" fmla="*/ 182785 w 232981"/>
                <a:gd name="connsiteY1" fmla="*/ 208978 h 307085"/>
                <a:gd name="connsiteX2" fmla="*/ 163354 w 232981"/>
                <a:gd name="connsiteY2" fmla="*/ 225552 h 307085"/>
                <a:gd name="connsiteX3" fmla="*/ 139446 w 232981"/>
                <a:gd name="connsiteY3" fmla="*/ 236696 h 307085"/>
                <a:gd name="connsiteX4" fmla="*/ 110204 w 232981"/>
                <a:gd name="connsiteY4" fmla="*/ 240697 h 307085"/>
                <a:gd name="connsiteX5" fmla="*/ 69628 w 232981"/>
                <a:gd name="connsiteY5" fmla="*/ 232696 h 307085"/>
                <a:gd name="connsiteX6" fmla="*/ 34385 w 232981"/>
                <a:gd name="connsiteY6" fmla="*/ 209264 h 307085"/>
                <a:gd name="connsiteX7" fmla="*/ 9335 w 232981"/>
                <a:gd name="connsiteY7" fmla="*/ 171736 h 307085"/>
                <a:gd name="connsiteX8" fmla="*/ 0 w 232981"/>
                <a:gd name="connsiteY8" fmla="*/ 121063 h 307085"/>
                <a:gd name="connsiteX9" fmla="*/ 0 w 232981"/>
                <a:gd name="connsiteY9" fmla="*/ 120205 h 307085"/>
                <a:gd name="connsiteX10" fmla="*/ 9335 w 232981"/>
                <a:gd name="connsiteY10" fmla="*/ 69723 h 307085"/>
                <a:gd name="connsiteX11" fmla="*/ 34385 w 232981"/>
                <a:gd name="connsiteY11" fmla="*/ 32004 h 307085"/>
                <a:gd name="connsiteX12" fmla="*/ 69628 w 232981"/>
                <a:gd name="connsiteY12" fmla="*/ 8287 h 307085"/>
                <a:gd name="connsiteX13" fmla="*/ 110204 w 232981"/>
                <a:gd name="connsiteY13" fmla="*/ 0 h 307085"/>
                <a:gd name="connsiteX14" fmla="*/ 139637 w 232981"/>
                <a:gd name="connsiteY14" fmla="*/ 4000 h 307085"/>
                <a:gd name="connsiteX15" fmla="*/ 163735 w 232981"/>
                <a:gd name="connsiteY15" fmla="*/ 14668 h 307085"/>
                <a:gd name="connsiteX16" fmla="*/ 183166 w 232981"/>
                <a:gd name="connsiteY16" fmla="*/ 30289 h 307085"/>
                <a:gd name="connsiteX17" fmla="*/ 198596 w 232981"/>
                <a:gd name="connsiteY17" fmla="*/ 49054 h 307085"/>
                <a:gd name="connsiteX18" fmla="*/ 198596 w 232981"/>
                <a:gd name="connsiteY18" fmla="*/ 4858 h 307085"/>
                <a:gd name="connsiteX19" fmla="*/ 232982 w 232981"/>
                <a:gd name="connsiteY19" fmla="*/ 4858 h 307085"/>
                <a:gd name="connsiteX20" fmla="*/ 232982 w 232981"/>
                <a:gd name="connsiteY20" fmla="*/ 307086 h 307085"/>
                <a:gd name="connsiteX21" fmla="*/ 198596 w 232981"/>
                <a:gd name="connsiteY21" fmla="*/ 307086 h 307085"/>
                <a:gd name="connsiteX22" fmla="*/ 198596 w 232981"/>
                <a:gd name="connsiteY22" fmla="*/ 189262 h 307085"/>
                <a:gd name="connsiteX23" fmla="*/ 116491 w 232981"/>
                <a:gd name="connsiteY23" fmla="*/ 209931 h 307085"/>
                <a:gd name="connsiteX24" fmla="*/ 147542 w 232981"/>
                <a:gd name="connsiteY24" fmla="*/ 203454 h 307085"/>
                <a:gd name="connsiteX25" fmla="*/ 174308 w 232981"/>
                <a:gd name="connsiteY25" fmla="*/ 185166 h 307085"/>
                <a:gd name="connsiteX26" fmla="*/ 193072 w 232981"/>
                <a:gd name="connsiteY26" fmla="*/ 157067 h 307085"/>
                <a:gd name="connsiteX27" fmla="*/ 200025 w 232981"/>
                <a:gd name="connsiteY27" fmla="*/ 120682 h 307085"/>
                <a:gd name="connsiteX28" fmla="*/ 200025 w 232981"/>
                <a:gd name="connsiteY28" fmla="*/ 119824 h 307085"/>
                <a:gd name="connsiteX29" fmla="*/ 193072 w 232981"/>
                <a:gd name="connsiteY29" fmla="*/ 83439 h 307085"/>
                <a:gd name="connsiteX30" fmla="*/ 174308 w 232981"/>
                <a:gd name="connsiteY30" fmla="*/ 55531 h 307085"/>
                <a:gd name="connsiteX31" fmla="*/ 147542 w 232981"/>
                <a:gd name="connsiteY31" fmla="*/ 37433 h 307085"/>
                <a:gd name="connsiteX32" fmla="*/ 116491 w 232981"/>
                <a:gd name="connsiteY32" fmla="*/ 30956 h 307085"/>
                <a:gd name="connsiteX33" fmla="*/ 84773 w 232981"/>
                <a:gd name="connsiteY33" fmla="*/ 36957 h 307085"/>
                <a:gd name="connsiteX34" fmla="*/ 59150 w 232981"/>
                <a:gd name="connsiteY34" fmla="*/ 54388 h 307085"/>
                <a:gd name="connsiteX35" fmla="*/ 41720 w 232981"/>
                <a:gd name="connsiteY35" fmla="*/ 82296 h 307085"/>
                <a:gd name="connsiteX36" fmla="*/ 35242 w 232981"/>
                <a:gd name="connsiteY36" fmla="*/ 119824 h 307085"/>
                <a:gd name="connsiteX37" fmla="*/ 35242 w 232981"/>
                <a:gd name="connsiteY37" fmla="*/ 120682 h 307085"/>
                <a:gd name="connsiteX38" fmla="*/ 41720 w 232981"/>
                <a:gd name="connsiteY38" fmla="*/ 157734 h 307085"/>
                <a:gd name="connsiteX39" fmla="*/ 59341 w 232981"/>
                <a:gd name="connsiteY39" fmla="*/ 185833 h 307085"/>
                <a:gd name="connsiteX40" fmla="*/ 85249 w 232981"/>
                <a:gd name="connsiteY40" fmla="*/ 203740 h 307085"/>
                <a:gd name="connsiteX41" fmla="*/ 116491 w 232981"/>
                <a:gd name="connsiteY41" fmla="*/ 210026 h 30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07085">
                  <a:moveTo>
                    <a:pt x="198596" y="189357"/>
                  </a:moveTo>
                  <a:cubicBezTo>
                    <a:pt x="193834" y="196215"/>
                    <a:pt x="188595" y="202787"/>
                    <a:pt x="182785" y="208978"/>
                  </a:cubicBezTo>
                  <a:cubicBezTo>
                    <a:pt x="176975" y="215265"/>
                    <a:pt x="170498" y="220789"/>
                    <a:pt x="163354" y="225552"/>
                  </a:cubicBezTo>
                  <a:cubicBezTo>
                    <a:pt x="156210" y="230314"/>
                    <a:pt x="148209" y="234029"/>
                    <a:pt x="139446" y="236696"/>
                  </a:cubicBezTo>
                  <a:cubicBezTo>
                    <a:pt x="130683" y="239363"/>
                    <a:pt x="120967" y="240697"/>
                    <a:pt x="110204" y="240697"/>
                  </a:cubicBezTo>
                  <a:cubicBezTo>
                    <a:pt x="96203" y="240697"/>
                    <a:pt x="82677" y="238030"/>
                    <a:pt x="69628" y="232696"/>
                  </a:cubicBezTo>
                  <a:cubicBezTo>
                    <a:pt x="56579" y="227362"/>
                    <a:pt x="44767" y="219551"/>
                    <a:pt x="34385" y="209264"/>
                  </a:cubicBezTo>
                  <a:cubicBezTo>
                    <a:pt x="24003" y="198977"/>
                    <a:pt x="15621" y="186499"/>
                    <a:pt x="9335" y="171736"/>
                  </a:cubicBezTo>
                  <a:cubicBezTo>
                    <a:pt x="3048" y="156972"/>
                    <a:pt x="0" y="140113"/>
                    <a:pt x="0" y="121063"/>
                  </a:cubicBezTo>
                  <a:lnTo>
                    <a:pt x="0" y="120205"/>
                  </a:lnTo>
                  <a:cubicBezTo>
                    <a:pt x="0" y="101441"/>
                    <a:pt x="3143" y="84677"/>
                    <a:pt x="9335" y="69723"/>
                  </a:cubicBezTo>
                  <a:cubicBezTo>
                    <a:pt x="15621" y="54864"/>
                    <a:pt x="23908" y="42291"/>
                    <a:pt x="34385" y="32004"/>
                  </a:cubicBezTo>
                  <a:cubicBezTo>
                    <a:pt x="44767" y="21717"/>
                    <a:pt x="56579" y="13811"/>
                    <a:pt x="69628" y="8287"/>
                  </a:cubicBezTo>
                  <a:cubicBezTo>
                    <a:pt x="82677" y="2762"/>
                    <a:pt x="96298" y="0"/>
                    <a:pt x="110204" y="0"/>
                  </a:cubicBezTo>
                  <a:cubicBezTo>
                    <a:pt x="120967" y="0"/>
                    <a:pt x="130778" y="1333"/>
                    <a:pt x="139637" y="4000"/>
                  </a:cubicBezTo>
                  <a:cubicBezTo>
                    <a:pt x="148590" y="6667"/>
                    <a:pt x="156591" y="10287"/>
                    <a:pt x="163735" y="14668"/>
                  </a:cubicBezTo>
                  <a:cubicBezTo>
                    <a:pt x="170879" y="19145"/>
                    <a:pt x="177356" y="24384"/>
                    <a:pt x="183166" y="30289"/>
                  </a:cubicBezTo>
                  <a:cubicBezTo>
                    <a:pt x="188976" y="36290"/>
                    <a:pt x="194120" y="42481"/>
                    <a:pt x="198596" y="49054"/>
                  </a:cubicBezTo>
                  <a:lnTo>
                    <a:pt x="198596" y="4858"/>
                  </a:lnTo>
                  <a:lnTo>
                    <a:pt x="232982" y="4858"/>
                  </a:lnTo>
                  <a:lnTo>
                    <a:pt x="232982" y="307086"/>
                  </a:lnTo>
                  <a:lnTo>
                    <a:pt x="198596" y="307086"/>
                  </a:lnTo>
                  <a:lnTo>
                    <a:pt x="198596" y="189262"/>
                  </a:lnTo>
                  <a:close/>
                  <a:moveTo>
                    <a:pt x="116491" y="209931"/>
                  </a:moveTo>
                  <a:cubicBezTo>
                    <a:pt x="127159" y="209931"/>
                    <a:pt x="137541" y="207740"/>
                    <a:pt x="147542" y="203454"/>
                  </a:cubicBezTo>
                  <a:cubicBezTo>
                    <a:pt x="157544" y="199168"/>
                    <a:pt x="166402" y="193072"/>
                    <a:pt x="174308" y="185166"/>
                  </a:cubicBezTo>
                  <a:cubicBezTo>
                    <a:pt x="182213" y="177260"/>
                    <a:pt x="188404" y="167926"/>
                    <a:pt x="193072" y="157067"/>
                  </a:cubicBezTo>
                  <a:cubicBezTo>
                    <a:pt x="197739" y="146209"/>
                    <a:pt x="200025" y="134112"/>
                    <a:pt x="200025" y="120682"/>
                  </a:cubicBezTo>
                  <a:lnTo>
                    <a:pt x="200025" y="119824"/>
                  </a:lnTo>
                  <a:cubicBezTo>
                    <a:pt x="200025" y="106394"/>
                    <a:pt x="197739" y="94297"/>
                    <a:pt x="193072" y="83439"/>
                  </a:cubicBezTo>
                  <a:cubicBezTo>
                    <a:pt x="188500" y="72580"/>
                    <a:pt x="182213" y="63246"/>
                    <a:pt x="174308" y="55531"/>
                  </a:cubicBezTo>
                  <a:cubicBezTo>
                    <a:pt x="166402" y="47815"/>
                    <a:pt x="157544" y="41815"/>
                    <a:pt x="147542" y="37433"/>
                  </a:cubicBezTo>
                  <a:cubicBezTo>
                    <a:pt x="137541" y="33147"/>
                    <a:pt x="127254" y="30956"/>
                    <a:pt x="116491" y="30956"/>
                  </a:cubicBezTo>
                  <a:cubicBezTo>
                    <a:pt x="105156" y="30956"/>
                    <a:pt x="94583" y="32956"/>
                    <a:pt x="84773" y="36957"/>
                  </a:cubicBezTo>
                  <a:cubicBezTo>
                    <a:pt x="74962" y="40957"/>
                    <a:pt x="66389" y="46767"/>
                    <a:pt x="59150" y="54388"/>
                  </a:cubicBezTo>
                  <a:cubicBezTo>
                    <a:pt x="51816" y="61913"/>
                    <a:pt x="46101" y="71247"/>
                    <a:pt x="41720" y="82296"/>
                  </a:cubicBezTo>
                  <a:cubicBezTo>
                    <a:pt x="37433" y="93250"/>
                    <a:pt x="35242" y="105823"/>
                    <a:pt x="35242" y="119824"/>
                  </a:cubicBezTo>
                  <a:lnTo>
                    <a:pt x="35242" y="120682"/>
                  </a:lnTo>
                  <a:cubicBezTo>
                    <a:pt x="35242" y="134398"/>
                    <a:pt x="37433" y="146780"/>
                    <a:pt x="41720" y="157734"/>
                  </a:cubicBezTo>
                  <a:cubicBezTo>
                    <a:pt x="46006" y="168783"/>
                    <a:pt x="51911" y="178117"/>
                    <a:pt x="59341" y="185833"/>
                  </a:cubicBezTo>
                  <a:cubicBezTo>
                    <a:pt x="66770" y="193548"/>
                    <a:pt x="75438" y="199549"/>
                    <a:pt x="85249" y="203740"/>
                  </a:cubicBezTo>
                  <a:cubicBezTo>
                    <a:pt x="95060" y="207931"/>
                    <a:pt x="105442" y="210026"/>
                    <a:pt x="116491" y="210026"/>
                  </a:cubicBezTo>
                  <a:close/>
                </a:path>
              </a:pathLst>
            </a:custGeom>
            <a:solidFill>
              <a:srgbClr val="44505E"/>
            </a:solidFill>
            <a:ln w="9525" cap="flat">
              <a:noFill/>
              <a:prstDash val="solid"/>
              <a:miter/>
            </a:ln>
          </p:spPr>
          <p:txBody>
            <a:bodyPr rtlCol="0" anchor="ctr"/>
            <a:lstStyle/>
            <a:p>
              <a:endParaRPr lang="pt-BR" noProof="0"/>
            </a:p>
          </p:txBody>
        </p:sp>
        <p:sp>
          <p:nvSpPr>
            <p:cNvPr id="42" name="Freeform: Shape 41">
              <a:extLst>
                <a:ext uri="{FF2B5EF4-FFF2-40B4-BE49-F238E27FC236}">
                  <a16:creationId xmlns:a16="http://schemas.microsoft.com/office/drawing/2014/main" id="{4C696A87-2885-05CC-AA60-DA8AD516635E}"/>
                </a:ext>
              </a:extLst>
            </p:cNvPr>
            <p:cNvSpPr/>
            <p:nvPr/>
          </p:nvSpPr>
          <p:spPr>
            <a:xfrm>
              <a:off x="5829624" y="925297"/>
              <a:ext cx="50618" cy="59238"/>
            </a:xfrm>
            <a:custGeom>
              <a:avLst/>
              <a:gdLst>
                <a:gd name="connsiteX0" fmla="*/ 88392 w 201358"/>
                <a:gd name="connsiteY0" fmla="*/ 235648 h 235648"/>
                <a:gd name="connsiteX1" fmla="*/ 51149 w 201358"/>
                <a:gd name="connsiteY1" fmla="*/ 228981 h 235648"/>
                <a:gd name="connsiteX2" fmla="*/ 23432 w 201358"/>
                <a:gd name="connsiteY2" fmla="*/ 210026 h 235648"/>
                <a:gd name="connsiteX3" fmla="*/ 6001 w 201358"/>
                <a:gd name="connsiteY3" fmla="*/ 180784 h 235648"/>
                <a:gd name="connsiteX4" fmla="*/ 0 w 201358"/>
                <a:gd name="connsiteY4" fmla="*/ 143256 h 235648"/>
                <a:gd name="connsiteX5" fmla="*/ 0 w 201358"/>
                <a:gd name="connsiteY5" fmla="*/ 0 h 235648"/>
                <a:gd name="connsiteX6" fmla="*/ 34385 w 201358"/>
                <a:gd name="connsiteY6" fmla="*/ 0 h 235648"/>
                <a:gd name="connsiteX7" fmla="*/ 34385 w 201358"/>
                <a:gd name="connsiteY7" fmla="*/ 134493 h 235648"/>
                <a:gd name="connsiteX8" fmla="*/ 50959 w 201358"/>
                <a:gd name="connsiteY8" fmla="*/ 185261 h 235648"/>
                <a:gd name="connsiteX9" fmla="*/ 98298 w 201358"/>
                <a:gd name="connsiteY9" fmla="*/ 203930 h 235648"/>
                <a:gd name="connsiteX10" fmla="*/ 125730 w 201358"/>
                <a:gd name="connsiteY10" fmla="*/ 198787 h 235648"/>
                <a:gd name="connsiteX11" fmla="*/ 147638 w 201358"/>
                <a:gd name="connsiteY11" fmla="*/ 184118 h 235648"/>
                <a:gd name="connsiteX12" fmla="*/ 162116 w 201358"/>
                <a:gd name="connsiteY12" fmla="*/ 161163 h 235648"/>
                <a:gd name="connsiteX13" fmla="*/ 167450 w 201358"/>
                <a:gd name="connsiteY13" fmla="*/ 131826 h 235648"/>
                <a:gd name="connsiteX14" fmla="*/ 167450 w 201358"/>
                <a:gd name="connsiteY14" fmla="*/ 0 h 235648"/>
                <a:gd name="connsiteX15" fmla="*/ 201359 w 201358"/>
                <a:gd name="connsiteY15" fmla="*/ 0 h 235648"/>
                <a:gd name="connsiteX16" fmla="*/ 201359 w 201358"/>
                <a:gd name="connsiteY16" fmla="*/ 230791 h 235648"/>
                <a:gd name="connsiteX17" fmla="*/ 167450 w 201358"/>
                <a:gd name="connsiteY17" fmla="*/ 230791 h 235648"/>
                <a:gd name="connsiteX18" fmla="*/ 167450 w 201358"/>
                <a:gd name="connsiteY18" fmla="*/ 190595 h 235648"/>
                <a:gd name="connsiteX19" fmla="*/ 137065 w 201358"/>
                <a:gd name="connsiteY19" fmla="*/ 222504 h 235648"/>
                <a:gd name="connsiteX20" fmla="*/ 88392 w 201358"/>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358" h="235648">
                  <a:moveTo>
                    <a:pt x="88392" y="235648"/>
                  </a:moveTo>
                  <a:cubicBezTo>
                    <a:pt x="74390" y="235648"/>
                    <a:pt x="62008" y="233363"/>
                    <a:pt x="51149" y="228981"/>
                  </a:cubicBezTo>
                  <a:cubicBezTo>
                    <a:pt x="40291" y="224504"/>
                    <a:pt x="31052" y="218218"/>
                    <a:pt x="23432"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959" y="185261"/>
                  </a:cubicBezTo>
                  <a:cubicBezTo>
                    <a:pt x="61913" y="197739"/>
                    <a:pt x="77724" y="203930"/>
                    <a:pt x="98298" y="203930"/>
                  </a:cubicBezTo>
                  <a:cubicBezTo>
                    <a:pt x="108109" y="203930"/>
                    <a:pt x="117253" y="202216"/>
                    <a:pt x="125730" y="198787"/>
                  </a:cubicBezTo>
                  <a:cubicBezTo>
                    <a:pt x="134207" y="195358"/>
                    <a:pt x="141446" y="190500"/>
                    <a:pt x="147638" y="184118"/>
                  </a:cubicBezTo>
                  <a:cubicBezTo>
                    <a:pt x="153734" y="177736"/>
                    <a:pt x="158591" y="170116"/>
                    <a:pt x="162116" y="161163"/>
                  </a:cubicBezTo>
                  <a:cubicBezTo>
                    <a:pt x="165735" y="152305"/>
                    <a:pt x="167450" y="142494"/>
                    <a:pt x="167450" y="131826"/>
                  </a:cubicBezTo>
                  <a:lnTo>
                    <a:pt x="167450" y="0"/>
                  </a:lnTo>
                  <a:lnTo>
                    <a:pt x="201359" y="0"/>
                  </a:lnTo>
                  <a:lnTo>
                    <a:pt x="201359" y="230791"/>
                  </a:lnTo>
                  <a:lnTo>
                    <a:pt x="167450" y="230791"/>
                  </a:lnTo>
                  <a:lnTo>
                    <a:pt x="167450" y="190595"/>
                  </a:lnTo>
                  <a:cubicBezTo>
                    <a:pt x="159734" y="203073"/>
                    <a:pt x="149543" y="213741"/>
                    <a:pt x="137065" y="222504"/>
                  </a:cubicBezTo>
                  <a:cubicBezTo>
                    <a:pt x="124587" y="231267"/>
                    <a:pt x="108395" y="235648"/>
                    <a:pt x="88392" y="235648"/>
                  </a:cubicBezTo>
                  <a:close/>
                </a:path>
              </a:pathLst>
            </a:custGeom>
            <a:solidFill>
              <a:srgbClr val="44505E"/>
            </a:solidFill>
            <a:ln w="9525" cap="flat">
              <a:noFill/>
              <a:prstDash val="solid"/>
              <a:miter/>
            </a:ln>
          </p:spPr>
          <p:txBody>
            <a:bodyPr rtlCol="0" anchor="ctr"/>
            <a:lstStyle/>
            <a:p>
              <a:endParaRPr lang="pt-BR" noProof="0"/>
            </a:p>
          </p:txBody>
        </p:sp>
        <p:sp>
          <p:nvSpPr>
            <p:cNvPr id="43" name="Freeform: Shape 42">
              <a:extLst>
                <a:ext uri="{FF2B5EF4-FFF2-40B4-BE49-F238E27FC236}">
                  <a16:creationId xmlns:a16="http://schemas.microsoft.com/office/drawing/2014/main" id="{6CC11B75-2473-9CC5-1C8E-09F65E13E195}"/>
                </a:ext>
              </a:extLst>
            </p:cNvPr>
            <p:cNvSpPr/>
            <p:nvPr/>
          </p:nvSpPr>
          <p:spPr>
            <a:xfrm>
              <a:off x="5896069"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7059 w 218217"/>
                <a:gd name="connsiteY3" fmla="*/ 206026 h 241077"/>
                <a:gd name="connsiteX4" fmla="*/ 116110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7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0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356 w 218217"/>
                <a:gd name="connsiteY25" fmla="*/ 106299 h 241077"/>
                <a:gd name="connsiteX26" fmla="*/ 176689 w 218217"/>
                <a:gd name="connsiteY26" fmla="*/ 76771 h 241077"/>
                <a:gd name="connsiteX27" fmla="*/ 162211 w 218217"/>
                <a:gd name="connsiteY27" fmla="*/ 52101 h 241077"/>
                <a:gd name="connsiteX28" fmla="*/ 139922 w 218217"/>
                <a:gd name="connsiteY28" fmla="*/ 35242 h 241077"/>
                <a:gd name="connsiteX29" fmla="*/ 109823 w 218217"/>
                <a:gd name="connsiteY29" fmla="*/ 29051 h 241077"/>
                <a:gd name="connsiteX30" fmla="*/ 82105 w 218217"/>
                <a:gd name="connsiteY30" fmla="*/ 34766 h 241077"/>
                <a:gd name="connsiteX31" fmla="*/ 59341 w 218217"/>
                <a:gd name="connsiteY31" fmla="*/ 50959 h 241077"/>
                <a:gd name="connsiteX32" fmla="*/ 43053 w 218217"/>
                <a:gd name="connsiteY32" fmla="*/ 75628 h 241077"/>
                <a:gd name="connsiteX33" fmla="*/ 34766 w 218217"/>
                <a:gd name="connsiteY33" fmla="*/ 106204 h 241077"/>
                <a:gd name="connsiteX34" fmla="*/ 183356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819" y="202597"/>
                    <a:pt x="87059" y="206026"/>
                  </a:cubicBezTo>
                  <a:cubicBezTo>
                    <a:pt x="96298" y="209455"/>
                    <a:pt x="105918" y="211169"/>
                    <a:pt x="116110" y="211169"/>
                  </a:cubicBezTo>
                  <a:cubicBezTo>
                    <a:pt x="132207" y="211169"/>
                    <a:pt x="145923" y="208216"/>
                    <a:pt x="157353" y="202216"/>
                  </a:cubicBezTo>
                  <a:cubicBezTo>
                    <a:pt x="168783" y="196310"/>
                    <a:pt x="179261" y="188404"/>
                    <a:pt x="188786" y="178594"/>
                  </a:cubicBezTo>
                  <a:lnTo>
                    <a:pt x="210217" y="197834"/>
                  </a:lnTo>
                  <a:cubicBezTo>
                    <a:pt x="198596" y="210979"/>
                    <a:pt x="185356" y="221361"/>
                    <a:pt x="170497" y="229267"/>
                  </a:cubicBezTo>
                  <a:cubicBezTo>
                    <a:pt x="155638"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583" y="0"/>
                    <a:pt x="110680"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356" y="106299"/>
                  </a:moveTo>
                  <a:cubicBezTo>
                    <a:pt x="182499" y="95917"/>
                    <a:pt x="180213" y="86106"/>
                    <a:pt x="176689" y="76771"/>
                  </a:cubicBezTo>
                  <a:cubicBezTo>
                    <a:pt x="173069" y="67437"/>
                    <a:pt x="168307" y="59245"/>
                    <a:pt x="162211" y="52101"/>
                  </a:cubicBezTo>
                  <a:cubicBezTo>
                    <a:pt x="156115" y="44958"/>
                    <a:pt x="148685" y="39338"/>
                    <a:pt x="139922" y="35242"/>
                  </a:cubicBezTo>
                  <a:cubicBezTo>
                    <a:pt x="131159" y="31147"/>
                    <a:pt x="121063" y="29051"/>
                    <a:pt x="109823" y="29051"/>
                  </a:cubicBezTo>
                  <a:cubicBezTo>
                    <a:pt x="100013" y="29051"/>
                    <a:pt x="90773" y="30956"/>
                    <a:pt x="82105" y="34766"/>
                  </a:cubicBezTo>
                  <a:cubicBezTo>
                    <a:pt x="73438" y="38671"/>
                    <a:pt x="65913" y="44005"/>
                    <a:pt x="59341" y="50959"/>
                  </a:cubicBezTo>
                  <a:cubicBezTo>
                    <a:pt x="52769" y="57912"/>
                    <a:pt x="47339" y="66103"/>
                    <a:pt x="43053" y="75628"/>
                  </a:cubicBezTo>
                  <a:cubicBezTo>
                    <a:pt x="38767" y="85058"/>
                    <a:pt x="36004" y="95345"/>
                    <a:pt x="34766" y="106204"/>
                  </a:cubicBezTo>
                  <a:lnTo>
                    <a:pt x="183356" y="106204"/>
                  </a:lnTo>
                  <a:close/>
                </a:path>
              </a:pathLst>
            </a:custGeom>
            <a:solidFill>
              <a:srgbClr val="44505E"/>
            </a:solidFill>
            <a:ln w="9525" cap="flat">
              <a:noFill/>
              <a:prstDash val="solid"/>
              <a:miter/>
            </a:ln>
          </p:spPr>
          <p:txBody>
            <a:bodyPr rtlCol="0" anchor="ctr"/>
            <a:lstStyle/>
            <a:p>
              <a:endParaRPr lang="pt-BR" noProof="0"/>
            </a:p>
          </p:txBody>
        </p:sp>
        <p:sp>
          <p:nvSpPr>
            <p:cNvPr id="44" name="Freeform: Shape 43">
              <a:extLst>
                <a:ext uri="{FF2B5EF4-FFF2-40B4-BE49-F238E27FC236}">
                  <a16:creationId xmlns:a16="http://schemas.microsoft.com/office/drawing/2014/main" id="{2F7330BF-00EB-9D94-3870-A8C298170096}"/>
                </a:ext>
              </a:extLst>
            </p:cNvPr>
            <p:cNvSpPr/>
            <p:nvPr/>
          </p:nvSpPr>
          <p:spPr>
            <a:xfrm>
              <a:off x="5994910" y="924268"/>
              <a:ext cx="44680" cy="60195"/>
            </a:xfrm>
            <a:custGeom>
              <a:avLst/>
              <a:gdLst>
                <a:gd name="connsiteX0" fmla="*/ 95536 w 177736"/>
                <a:gd name="connsiteY0" fmla="*/ 239268 h 239458"/>
                <a:gd name="connsiteX1" fmla="*/ 45053 w 177736"/>
                <a:gd name="connsiteY1" fmla="*/ 230124 h 239458"/>
                <a:gd name="connsiteX2" fmla="*/ 0 w 177736"/>
                <a:gd name="connsiteY2" fmla="*/ 205359 h 239458"/>
                <a:gd name="connsiteX3" fmla="*/ 17431 w 177736"/>
                <a:gd name="connsiteY3" fmla="*/ 180785 h 239458"/>
                <a:gd name="connsiteX4" fmla="*/ 56483 w 177736"/>
                <a:gd name="connsiteY4" fmla="*/ 202692 h 239458"/>
                <a:gd name="connsiteX5" fmla="*/ 97346 w 177736"/>
                <a:gd name="connsiteY5" fmla="*/ 210217 h 239458"/>
                <a:gd name="connsiteX6" fmla="*/ 131731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730 w 177736"/>
                <a:gd name="connsiteY10" fmla="*/ 147066 h 239458"/>
                <a:gd name="connsiteX11" fmla="*/ 109252 w 177736"/>
                <a:gd name="connsiteY11" fmla="*/ 138779 h 239458"/>
                <a:gd name="connsiteX12" fmla="*/ 87630 w 177736"/>
                <a:gd name="connsiteY12" fmla="*/ 132112 h 239458"/>
                <a:gd name="connsiteX13" fmla="*/ 60674 w 177736"/>
                <a:gd name="connsiteY13" fmla="*/ 123444 h 239458"/>
                <a:gd name="connsiteX14" fmla="*/ 36100 w 177736"/>
                <a:gd name="connsiteY14" fmla="*/ 111633 h 239458"/>
                <a:gd name="connsiteX15" fmla="*/ 18193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60 w 177736"/>
                <a:gd name="connsiteY22" fmla="*/ 6953 h 239458"/>
                <a:gd name="connsiteX23" fmla="*/ 172879 w 177736"/>
                <a:gd name="connsiteY23" fmla="*/ 25527 h 239458"/>
                <a:gd name="connsiteX24" fmla="*/ 157258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4 w 177736"/>
                <a:gd name="connsiteY32" fmla="*/ 96203 h 239458"/>
                <a:gd name="connsiteX33" fmla="*/ 103632 w 177736"/>
                <a:gd name="connsiteY33" fmla="*/ 103346 h 239458"/>
                <a:gd name="connsiteX34" fmla="*/ 130207 w 177736"/>
                <a:gd name="connsiteY34" fmla="*/ 112300 h 239458"/>
                <a:gd name="connsiteX35" fmla="*/ 154114 w 177736"/>
                <a:gd name="connsiteY35" fmla="*/ 124778 h 239458"/>
                <a:gd name="connsiteX36" fmla="*/ 171260 w 177736"/>
                <a:gd name="connsiteY36" fmla="*/ 143066 h 239458"/>
                <a:gd name="connsiteX37" fmla="*/ 177737 w 177736"/>
                <a:gd name="connsiteY37" fmla="*/ 169450 h 239458"/>
                <a:gd name="connsiteX38" fmla="*/ 177737 w 177736"/>
                <a:gd name="connsiteY38" fmla="*/ 170307 h 239458"/>
                <a:gd name="connsiteX39" fmla="*/ 171260 w 177736"/>
                <a:gd name="connsiteY39" fmla="*/ 199549 h 239458"/>
                <a:gd name="connsiteX40" fmla="*/ 153829 w 177736"/>
                <a:gd name="connsiteY40" fmla="*/ 221171 h 239458"/>
                <a:gd name="connsiteX41" fmla="*/ 127921 w 177736"/>
                <a:gd name="connsiteY41" fmla="*/ 234791 h 239458"/>
                <a:gd name="connsiteX42" fmla="*/ 95536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6" y="239268"/>
                  </a:moveTo>
                  <a:cubicBezTo>
                    <a:pt x="78867" y="239268"/>
                    <a:pt x="62008" y="236220"/>
                    <a:pt x="45053" y="230124"/>
                  </a:cubicBezTo>
                  <a:cubicBezTo>
                    <a:pt x="28099" y="224028"/>
                    <a:pt x="13049" y="215741"/>
                    <a:pt x="0" y="205359"/>
                  </a:cubicBezTo>
                  <a:lnTo>
                    <a:pt x="17431" y="180785"/>
                  </a:lnTo>
                  <a:cubicBezTo>
                    <a:pt x="29909"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637" y="162211"/>
                    <a:pt x="140494" y="158020"/>
                  </a:cubicBezTo>
                  <a:cubicBezTo>
                    <a:pt x="137351" y="153829"/>
                    <a:pt x="133160" y="150209"/>
                    <a:pt x="127730" y="147066"/>
                  </a:cubicBezTo>
                  <a:cubicBezTo>
                    <a:pt x="122396" y="143923"/>
                    <a:pt x="116205" y="141161"/>
                    <a:pt x="109252" y="138779"/>
                  </a:cubicBezTo>
                  <a:cubicBezTo>
                    <a:pt x="102299" y="136398"/>
                    <a:pt x="95060" y="134207"/>
                    <a:pt x="87630" y="132112"/>
                  </a:cubicBezTo>
                  <a:cubicBezTo>
                    <a:pt x="78677" y="129445"/>
                    <a:pt x="69723" y="126492"/>
                    <a:pt x="60674" y="123444"/>
                  </a:cubicBezTo>
                  <a:cubicBezTo>
                    <a:pt x="51626" y="120301"/>
                    <a:pt x="43434" y="116396"/>
                    <a:pt x="36100" y="111633"/>
                  </a:cubicBezTo>
                  <a:cubicBezTo>
                    <a:pt x="28766" y="106871"/>
                    <a:pt x="22860" y="100870"/>
                    <a:pt x="18193" y="93726"/>
                  </a:cubicBezTo>
                  <a:cubicBezTo>
                    <a:pt x="13621" y="86582"/>
                    <a:pt x="11239" y="77629"/>
                    <a:pt x="11239" y="66961"/>
                  </a:cubicBezTo>
                  <a:lnTo>
                    <a:pt x="11239" y="66008"/>
                  </a:lnTo>
                  <a:cubicBezTo>
                    <a:pt x="11239" y="56198"/>
                    <a:pt x="13145" y="47149"/>
                    <a:pt x="17050" y="39053"/>
                  </a:cubicBezTo>
                  <a:cubicBezTo>
                    <a:pt x="20860" y="30861"/>
                    <a:pt x="26289" y="23908"/>
                    <a:pt x="33338" y="18098"/>
                  </a:cubicBezTo>
                  <a:cubicBezTo>
                    <a:pt x="40291" y="12287"/>
                    <a:pt x="48673" y="7811"/>
                    <a:pt x="58388" y="4667"/>
                  </a:cubicBezTo>
                  <a:cubicBezTo>
                    <a:pt x="68009" y="1524"/>
                    <a:pt x="78581" y="0"/>
                    <a:pt x="89821" y="0"/>
                  </a:cubicBezTo>
                  <a:cubicBezTo>
                    <a:pt x="104108" y="0"/>
                    <a:pt x="118491" y="2286"/>
                    <a:pt x="133160" y="6953"/>
                  </a:cubicBezTo>
                  <a:cubicBezTo>
                    <a:pt x="147733" y="11621"/>
                    <a:pt x="160972" y="17717"/>
                    <a:pt x="172879" y="25527"/>
                  </a:cubicBezTo>
                  <a:lnTo>
                    <a:pt x="157258" y="51435"/>
                  </a:lnTo>
                  <a:cubicBezTo>
                    <a:pt x="146495" y="44577"/>
                    <a:pt x="135350" y="39148"/>
                    <a:pt x="123539" y="35147"/>
                  </a:cubicBezTo>
                  <a:cubicBezTo>
                    <a:pt x="111824" y="31147"/>
                    <a:pt x="100298" y="29146"/>
                    <a:pt x="88963" y="29146"/>
                  </a:cubicBezTo>
                  <a:cubicBezTo>
                    <a:pt x="75247" y="29146"/>
                    <a:pt x="64389" y="32385"/>
                    <a:pt x="56388" y="38767"/>
                  </a:cubicBezTo>
                  <a:cubicBezTo>
                    <a:pt x="48387" y="45149"/>
                    <a:pt x="44291" y="53150"/>
                    <a:pt x="44291" y="62675"/>
                  </a:cubicBezTo>
                  <a:lnTo>
                    <a:pt x="44291" y="63627"/>
                  </a:lnTo>
                  <a:cubicBezTo>
                    <a:pt x="44291" y="68961"/>
                    <a:pt x="45911" y="73628"/>
                    <a:pt x="49244" y="77724"/>
                  </a:cubicBezTo>
                  <a:cubicBezTo>
                    <a:pt x="52483" y="81725"/>
                    <a:pt x="56960" y="85249"/>
                    <a:pt x="62389" y="88202"/>
                  </a:cubicBezTo>
                  <a:cubicBezTo>
                    <a:pt x="67913" y="91154"/>
                    <a:pt x="74200" y="93821"/>
                    <a:pt x="81344" y="96203"/>
                  </a:cubicBezTo>
                  <a:cubicBezTo>
                    <a:pt x="88487" y="98584"/>
                    <a:pt x="95917" y="100965"/>
                    <a:pt x="103632" y="103346"/>
                  </a:cubicBezTo>
                  <a:cubicBezTo>
                    <a:pt x="112586" y="106013"/>
                    <a:pt x="121444" y="108966"/>
                    <a:pt x="130207" y="112300"/>
                  </a:cubicBezTo>
                  <a:cubicBezTo>
                    <a:pt x="138970" y="115538"/>
                    <a:pt x="146971" y="119729"/>
                    <a:pt x="154114" y="124778"/>
                  </a:cubicBezTo>
                  <a:cubicBezTo>
                    <a:pt x="161258" y="129826"/>
                    <a:pt x="166973" y="135922"/>
                    <a:pt x="171260" y="143066"/>
                  </a:cubicBezTo>
                  <a:cubicBezTo>
                    <a:pt x="175546" y="150209"/>
                    <a:pt x="177737" y="158972"/>
                    <a:pt x="177737" y="169450"/>
                  </a:cubicBezTo>
                  <a:lnTo>
                    <a:pt x="177737" y="170307"/>
                  </a:lnTo>
                  <a:cubicBezTo>
                    <a:pt x="177737" y="181356"/>
                    <a:pt x="175546" y="191071"/>
                    <a:pt x="171260" y="199549"/>
                  </a:cubicBezTo>
                  <a:cubicBezTo>
                    <a:pt x="166973" y="208026"/>
                    <a:pt x="161163" y="215265"/>
                    <a:pt x="153829" y="221171"/>
                  </a:cubicBezTo>
                  <a:cubicBezTo>
                    <a:pt x="146495" y="227171"/>
                    <a:pt x="137922" y="231648"/>
                    <a:pt x="127921" y="234791"/>
                  </a:cubicBezTo>
                  <a:cubicBezTo>
                    <a:pt x="117920" y="237935"/>
                    <a:pt x="107156" y="239459"/>
                    <a:pt x="95536" y="239459"/>
                  </a:cubicBezTo>
                  <a:close/>
                </a:path>
              </a:pathLst>
            </a:custGeom>
            <a:solidFill>
              <a:srgbClr val="44505E"/>
            </a:solidFill>
            <a:ln w="9525" cap="flat">
              <a:noFill/>
              <a:prstDash val="solid"/>
              <a:miter/>
            </a:ln>
          </p:spPr>
          <p:txBody>
            <a:bodyPr rtlCol="0" anchor="ctr"/>
            <a:lstStyle/>
            <a:p>
              <a:endParaRPr lang="pt-BR" noProof="0"/>
            </a:p>
          </p:txBody>
        </p:sp>
        <p:sp>
          <p:nvSpPr>
            <p:cNvPr id="45" name="Freeform: Shape 44">
              <a:extLst>
                <a:ext uri="{FF2B5EF4-FFF2-40B4-BE49-F238E27FC236}">
                  <a16:creationId xmlns:a16="http://schemas.microsoft.com/office/drawing/2014/main" id="{4C21E064-EDF1-BE4F-6D57-51013A0D81A0}"/>
                </a:ext>
              </a:extLst>
            </p:cNvPr>
            <p:cNvSpPr/>
            <p:nvPr/>
          </p:nvSpPr>
          <p:spPr>
            <a:xfrm>
              <a:off x="605122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4 w 202977"/>
                <a:gd name="connsiteY30" fmla="*/ 174593 h 239267"/>
                <a:gd name="connsiteX31" fmla="*/ 169735 w 202977"/>
                <a:gd name="connsiteY31" fmla="*/ 149447 h 239267"/>
                <a:gd name="connsiteX32" fmla="*/ 169735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0" y="90964"/>
                    <a:pt x="98584" y="90964"/>
                  </a:cubicBezTo>
                  <a:cubicBezTo>
                    <a:pt x="113157" y="90964"/>
                    <a:pt x="126301"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1" y="33147"/>
                    <a:pt x="63436" y="36100"/>
                  </a:cubicBezTo>
                  <a:cubicBezTo>
                    <a:pt x="52292" y="39053"/>
                    <a:pt x="41338" y="43053"/>
                    <a:pt x="30671" y="48196"/>
                  </a:cubicBezTo>
                  <a:lnTo>
                    <a:pt x="20383" y="19907"/>
                  </a:lnTo>
                  <a:cubicBezTo>
                    <a:pt x="33147" y="13906"/>
                    <a:pt x="46101" y="9049"/>
                    <a:pt x="59246" y="5429"/>
                  </a:cubicBezTo>
                  <a:cubicBezTo>
                    <a:pt x="72295"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1" y="239173"/>
                  </a:cubicBezTo>
                  <a:close/>
                  <a:moveTo>
                    <a:pt x="93154" y="211169"/>
                  </a:moveTo>
                  <a:cubicBezTo>
                    <a:pt x="103822" y="211169"/>
                    <a:pt x="113728" y="209740"/>
                    <a:pt x="122967" y="206788"/>
                  </a:cubicBezTo>
                  <a:cubicBezTo>
                    <a:pt x="132207" y="203835"/>
                    <a:pt x="140208" y="199644"/>
                    <a:pt x="147256" y="194120"/>
                  </a:cubicBezTo>
                  <a:cubicBezTo>
                    <a:pt x="154209" y="188595"/>
                    <a:pt x="159734" y="182118"/>
                    <a:pt x="163734" y="174593"/>
                  </a:cubicBezTo>
                  <a:cubicBezTo>
                    <a:pt x="167735" y="167068"/>
                    <a:pt x="169735" y="158687"/>
                    <a:pt x="169735" y="149447"/>
                  </a:cubicBezTo>
                  <a:lnTo>
                    <a:pt x="169735" y="128111"/>
                  </a:lnTo>
                  <a:cubicBezTo>
                    <a:pt x="161163" y="125730"/>
                    <a:pt x="151352" y="123539"/>
                    <a:pt x="140398" y="121444"/>
                  </a:cubicBezTo>
                  <a:cubicBezTo>
                    <a:pt x="129445" y="119348"/>
                    <a:pt x="116872"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46" name="Freeform: Shape 45">
              <a:extLst>
                <a:ext uri="{FF2B5EF4-FFF2-40B4-BE49-F238E27FC236}">
                  <a16:creationId xmlns:a16="http://schemas.microsoft.com/office/drawing/2014/main" id="{0C9BE7DB-A734-EBF6-568F-C9CF220BB67B}"/>
                </a:ext>
              </a:extLst>
            </p:cNvPr>
            <p:cNvSpPr/>
            <p:nvPr/>
          </p:nvSpPr>
          <p:spPr>
            <a:xfrm>
              <a:off x="6121359" y="901377"/>
              <a:ext cx="8644" cy="81913"/>
            </a:xfrm>
            <a:custGeom>
              <a:avLst/>
              <a:gdLst>
                <a:gd name="connsiteX0" fmla="*/ 0 w 34385"/>
                <a:gd name="connsiteY0" fmla="*/ 0 h 325850"/>
                <a:gd name="connsiteX1" fmla="*/ 34385 w 34385"/>
                <a:gd name="connsiteY1" fmla="*/ 0 h 325850"/>
                <a:gd name="connsiteX2" fmla="*/ 34385 w 34385"/>
                <a:gd name="connsiteY2" fmla="*/ 325850 h 325850"/>
                <a:gd name="connsiteX3" fmla="*/ 0 w 34385"/>
                <a:gd name="connsiteY3" fmla="*/ 325850 h 325850"/>
                <a:gd name="connsiteX4" fmla="*/ 0 w 34385"/>
                <a:gd name="connsiteY4" fmla="*/ 0 h 32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 h="325850">
                  <a:moveTo>
                    <a:pt x="0" y="0"/>
                  </a:moveTo>
                  <a:lnTo>
                    <a:pt x="34385" y="0"/>
                  </a:lnTo>
                  <a:lnTo>
                    <a:pt x="34385" y="325850"/>
                  </a:lnTo>
                  <a:lnTo>
                    <a:pt x="0" y="325850"/>
                  </a:lnTo>
                  <a:lnTo>
                    <a:pt x="0" y="0"/>
                  </a:lnTo>
                  <a:close/>
                </a:path>
              </a:pathLst>
            </a:custGeom>
            <a:solidFill>
              <a:srgbClr val="44505E"/>
            </a:solidFill>
            <a:ln w="9525" cap="flat">
              <a:noFill/>
              <a:prstDash val="solid"/>
              <a:miter/>
            </a:ln>
          </p:spPr>
          <p:txBody>
            <a:bodyPr rtlCol="0" anchor="ctr"/>
            <a:lstStyle/>
            <a:p>
              <a:endParaRPr lang="pt-BR" noProof="0"/>
            </a:p>
          </p:txBody>
        </p:sp>
        <p:sp>
          <p:nvSpPr>
            <p:cNvPr id="47" name="Freeform: Shape 46">
              <a:extLst>
                <a:ext uri="{FF2B5EF4-FFF2-40B4-BE49-F238E27FC236}">
                  <a16:creationId xmlns:a16="http://schemas.microsoft.com/office/drawing/2014/main" id="{9340FA6E-8A00-4DBE-29EE-8B0FC4B8CAFD}"/>
                </a:ext>
              </a:extLst>
            </p:cNvPr>
            <p:cNvSpPr/>
            <p:nvPr/>
          </p:nvSpPr>
          <p:spPr>
            <a:xfrm>
              <a:off x="6144346" y="925273"/>
              <a:ext cx="58016" cy="58448"/>
            </a:xfrm>
            <a:custGeom>
              <a:avLst/>
              <a:gdLst>
                <a:gd name="connsiteX0" fmla="*/ 95 w 230790"/>
                <a:gd name="connsiteY0" fmla="*/ 0 h 232505"/>
                <a:gd name="connsiteX1" fmla="*/ 38005 w 230790"/>
                <a:gd name="connsiteY1" fmla="*/ 0 h 232505"/>
                <a:gd name="connsiteX2" fmla="*/ 115634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4"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48" name="Freeform: Shape 47">
              <a:extLst>
                <a:ext uri="{FF2B5EF4-FFF2-40B4-BE49-F238E27FC236}">
                  <a16:creationId xmlns:a16="http://schemas.microsoft.com/office/drawing/2014/main" id="{DD35FF55-26EB-4F81-C276-0FA348004B71}"/>
                </a:ext>
              </a:extLst>
            </p:cNvPr>
            <p:cNvSpPr/>
            <p:nvPr/>
          </p:nvSpPr>
          <p:spPr>
            <a:xfrm>
              <a:off x="621155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8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338 w 202977"/>
                <a:gd name="connsiteY36" fmla="*/ 164497 h 239267"/>
                <a:gd name="connsiteX37" fmla="*/ 35338 w 202977"/>
                <a:gd name="connsiteY37" fmla="*/ 165449 h 239267"/>
                <a:gd name="connsiteX38" fmla="*/ 40005 w 202977"/>
                <a:gd name="connsiteY38" fmla="*/ 184785 h 239267"/>
                <a:gd name="connsiteX39" fmla="*/ 52673 w 202977"/>
                <a:gd name="connsiteY39" fmla="*/ 199263 h 239267"/>
                <a:gd name="connsiteX40" fmla="*/ 71152 w 202977"/>
                <a:gd name="connsiteY40" fmla="*/ 208121 h 239267"/>
                <a:gd name="connsiteX41" fmla="*/ 93154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438" y="239268"/>
                    <a:pt x="64961"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1" y="90964"/>
                    <a:pt x="98584" y="90964"/>
                  </a:cubicBezTo>
                  <a:cubicBezTo>
                    <a:pt x="113157" y="90964"/>
                    <a:pt x="126302" y="91821"/>
                    <a:pt x="137160" y="93631"/>
                  </a:cubicBezTo>
                  <a:cubicBezTo>
                    <a:pt x="148019" y="95440"/>
                    <a:pt x="158687" y="97822"/>
                    <a:pt x="169069" y="100774"/>
                  </a:cubicBezTo>
                  <a:lnTo>
                    <a:pt x="169069" y="93726"/>
                  </a:lnTo>
                  <a:cubicBezTo>
                    <a:pt x="169069" y="73342"/>
                    <a:pt x="163068" y="57912"/>
                    <a:pt x="151162" y="47339"/>
                  </a:cubicBezTo>
                  <a:cubicBezTo>
                    <a:pt x="139255" y="36862"/>
                    <a:pt x="122491" y="31623"/>
                    <a:pt x="100679" y="31623"/>
                  </a:cubicBezTo>
                  <a:cubicBezTo>
                    <a:pt x="86963" y="31623"/>
                    <a:pt x="74581" y="33147"/>
                    <a:pt x="63437" y="36100"/>
                  </a:cubicBezTo>
                  <a:cubicBezTo>
                    <a:pt x="52292" y="39053"/>
                    <a:pt x="41338" y="43053"/>
                    <a:pt x="30671" y="48196"/>
                  </a:cubicBezTo>
                  <a:lnTo>
                    <a:pt x="20383" y="19907"/>
                  </a:lnTo>
                  <a:cubicBezTo>
                    <a:pt x="33147" y="13906"/>
                    <a:pt x="46101" y="9049"/>
                    <a:pt x="59246" y="5429"/>
                  </a:cubicBezTo>
                  <a:cubicBezTo>
                    <a:pt x="72390"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04" y="239173"/>
                    <a:pt x="86011" y="239173"/>
                  </a:cubicBezTo>
                  <a:close/>
                  <a:moveTo>
                    <a:pt x="93154" y="211169"/>
                  </a:moveTo>
                  <a:cubicBezTo>
                    <a:pt x="103822" y="211169"/>
                    <a:pt x="113824" y="209740"/>
                    <a:pt x="122968" y="206788"/>
                  </a:cubicBezTo>
                  <a:cubicBezTo>
                    <a:pt x="132112"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5" y="119348"/>
                    <a:pt x="116777" y="118300"/>
                    <a:pt x="102584" y="118300"/>
                  </a:cubicBezTo>
                  <a:cubicBezTo>
                    <a:pt x="81248" y="118300"/>
                    <a:pt x="64675" y="122491"/>
                    <a:pt x="52959" y="130969"/>
                  </a:cubicBezTo>
                  <a:cubicBezTo>
                    <a:pt x="41243" y="139446"/>
                    <a:pt x="35338" y="150590"/>
                    <a:pt x="35338" y="164497"/>
                  </a:cubicBezTo>
                  <a:lnTo>
                    <a:pt x="35338" y="165449"/>
                  </a:lnTo>
                  <a:cubicBezTo>
                    <a:pt x="35338" y="172498"/>
                    <a:pt x="36862" y="178975"/>
                    <a:pt x="40005" y="184785"/>
                  </a:cubicBezTo>
                  <a:cubicBezTo>
                    <a:pt x="43148" y="190500"/>
                    <a:pt x="47339" y="195358"/>
                    <a:pt x="52673" y="199263"/>
                  </a:cubicBezTo>
                  <a:cubicBezTo>
                    <a:pt x="58007" y="203073"/>
                    <a:pt x="64198" y="206026"/>
                    <a:pt x="71152" y="208121"/>
                  </a:cubicBezTo>
                  <a:cubicBezTo>
                    <a:pt x="78105" y="210217"/>
                    <a:pt x="85439" y="211169"/>
                    <a:pt x="93154" y="211169"/>
                  </a:cubicBezTo>
                  <a:close/>
                </a:path>
              </a:pathLst>
            </a:custGeom>
            <a:solidFill>
              <a:srgbClr val="44505E"/>
            </a:solidFill>
            <a:ln w="9525" cap="flat">
              <a:noFill/>
              <a:prstDash val="solid"/>
              <a:miter/>
            </a:ln>
          </p:spPr>
          <p:txBody>
            <a:bodyPr rtlCol="0" anchor="ctr"/>
            <a:lstStyle/>
            <a:p>
              <a:endParaRPr lang="pt-BR" noProof="0"/>
            </a:p>
          </p:txBody>
        </p:sp>
        <p:sp>
          <p:nvSpPr>
            <p:cNvPr id="49" name="Freeform: Shape 48">
              <a:extLst>
                <a:ext uri="{FF2B5EF4-FFF2-40B4-BE49-F238E27FC236}">
                  <a16:creationId xmlns:a16="http://schemas.microsoft.com/office/drawing/2014/main" id="{F2BC673E-AE43-4F2B-8DF2-955EDB2BF93E}"/>
                </a:ext>
              </a:extLst>
            </p:cNvPr>
            <p:cNvSpPr/>
            <p:nvPr/>
          </p:nvSpPr>
          <p:spPr>
            <a:xfrm>
              <a:off x="6280899" y="923980"/>
              <a:ext cx="87995" cy="59238"/>
            </a:xfrm>
            <a:custGeom>
              <a:avLst/>
              <a:gdLst>
                <a:gd name="connsiteX0" fmla="*/ 0 w 350043"/>
                <a:gd name="connsiteY0" fmla="*/ 5144 h 235648"/>
                <a:gd name="connsiteX1" fmla="*/ 34385 w 350043"/>
                <a:gd name="connsiteY1" fmla="*/ 5144 h 235648"/>
                <a:gd name="connsiteX2" fmla="*/ 34385 w 350043"/>
                <a:gd name="connsiteY2" fmla="*/ 44005 h 235648"/>
                <a:gd name="connsiteX3" fmla="*/ 47149 w 350043"/>
                <a:gd name="connsiteY3" fmla="*/ 27432 h 235648"/>
                <a:gd name="connsiteX4" fmla="*/ 62960 w 350043"/>
                <a:gd name="connsiteY4" fmla="*/ 13335 h 235648"/>
                <a:gd name="connsiteX5" fmla="*/ 83058 w 350043"/>
                <a:gd name="connsiteY5" fmla="*/ 3715 h 235648"/>
                <a:gd name="connsiteX6" fmla="*/ 108966 w 350043"/>
                <a:gd name="connsiteY6" fmla="*/ 95 h 235648"/>
                <a:gd name="connsiteX7" fmla="*/ 155448 w 350043"/>
                <a:gd name="connsiteY7" fmla="*/ 13240 h 235648"/>
                <a:gd name="connsiteX8" fmla="*/ 183166 w 350043"/>
                <a:gd name="connsiteY8" fmla="*/ 46006 h 235648"/>
                <a:gd name="connsiteX9" fmla="*/ 197168 w 350043"/>
                <a:gd name="connsiteY9" fmla="*/ 28194 h 235648"/>
                <a:gd name="connsiteX10" fmla="*/ 214789 w 350043"/>
                <a:gd name="connsiteY10" fmla="*/ 13430 h 235648"/>
                <a:gd name="connsiteX11" fmla="*/ 236887 w 350043"/>
                <a:gd name="connsiteY11" fmla="*/ 3620 h 235648"/>
                <a:gd name="connsiteX12" fmla="*/ 264319 w 350043"/>
                <a:gd name="connsiteY12" fmla="*/ 0 h 235648"/>
                <a:gd name="connsiteX13" fmla="*/ 327279 w 350043"/>
                <a:gd name="connsiteY13" fmla="*/ 24765 h 235648"/>
                <a:gd name="connsiteX14" fmla="*/ 350044 w 350043"/>
                <a:gd name="connsiteY14" fmla="*/ 92773 h 235648"/>
                <a:gd name="connsiteX15" fmla="*/ 350044 w 350043"/>
                <a:gd name="connsiteY15" fmla="*/ 235648 h 235648"/>
                <a:gd name="connsiteX16" fmla="*/ 315659 w 350043"/>
                <a:gd name="connsiteY16" fmla="*/ 235648 h 235648"/>
                <a:gd name="connsiteX17" fmla="*/ 315659 w 350043"/>
                <a:gd name="connsiteY17" fmla="*/ 101155 h 235648"/>
                <a:gd name="connsiteX18" fmla="*/ 299847 w 350043"/>
                <a:gd name="connsiteY18" fmla="*/ 49721 h 235648"/>
                <a:gd name="connsiteX19" fmla="*/ 255937 w 350043"/>
                <a:gd name="connsiteY19" fmla="*/ 31718 h 235648"/>
                <a:gd name="connsiteX20" fmla="*/ 231362 w 350043"/>
                <a:gd name="connsiteY20" fmla="*/ 36386 h 235648"/>
                <a:gd name="connsiteX21" fmla="*/ 211074 w 350043"/>
                <a:gd name="connsiteY21" fmla="*/ 50197 h 235648"/>
                <a:gd name="connsiteX22" fmla="*/ 197263 w 350043"/>
                <a:gd name="connsiteY22" fmla="*/ 72676 h 235648"/>
                <a:gd name="connsiteX23" fmla="*/ 192119 w 350043"/>
                <a:gd name="connsiteY23" fmla="*/ 102965 h 235648"/>
                <a:gd name="connsiteX24" fmla="*/ 192119 w 350043"/>
                <a:gd name="connsiteY24" fmla="*/ 235648 h 235648"/>
                <a:gd name="connsiteX25" fmla="*/ 158210 w 350043"/>
                <a:gd name="connsiteY25" fmla="*/ 235648 h 235648"/>
                <a:gd name="connsiteX26" fmla="*/ 158210 w 350043"/>
                <a:gd name="connsiteY26" fmla="*/ 100298 h 235648"/>
                <a:gd name="connsiteX27" fmla="*/ 142399 w 350043"/>
                <a:gd name="connsiteY27" fmla="*/ 49721 h 235648"/>
                <a:gd name="connsiteX28" fmla="*/ 98870 w 350043"/>
                <a:gd name="connsiteY28" fmla="*/ 31718 h 235648"/>
                <a:gd name="connsiteX29" fmla="*/ 73438 w 350043"/>
                <a:gd name="connsiteY29" fmla="*/ 37052 h 235648"/>
                <a:gd name="connsiteX30" fmla="*/ 53150 w 350043"/>
                <a:gd name="connsiteY30" fmla="*/ 52197 h 235648"/>
                <a:gd name="connsiteX31" fmla="*/ 39529 w 350043"/>
                <a:gd name="connsiteY31" fmla="*/ 75152 h 235648"/>
                <a:gd name="connsiteX32" fmla="*/ 34576 w 350043"/>
                <a:gd name="connsiteY32" fmla="*/ 104299 h 235648"/>
                <a:gd name="connsiteX33" fmla="*/ 34576 w 350043"/>
                <a:gd name="connsiteY33" fmla="*/ 235648 h 235648"/>
                <a:gd name="connsiteX34" fmla="*/ 190 w 350043"/>
                <a:gd name="connsiteY34" fmla="*/ 235648 h 235648"/>
                <a:gd name="connsiteX35" fmla="*/ 190 w 350043"/>
                <a:gd name="connsiteY35" fmla="*/ 485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0043" h="235648">
                  <a:moveTo>
                    <a:pt x="0" y="5144"/>
                  </a:moveTo>
                  <a:lnTo>
                    <a:pt x="34385" y="5144"/>
                  </a:lnTo>
                  <a:lnTo>
                    <a:pt x="34385" y="44005"/>
                  </a:lnTo>
                  <a:cubicBezTo>
                    <a:pt x="38290" y="38386"/>
                    <a:pt x="42481" y="32861"/>
                    <a:pt x="47149" y="27432"/>
                  </a:cubicBezTo>
                  <a:cubicBezTo>
                    <a:pt x="51721" y="22098"/>
                    <a:pt x="57055" y="17431"/>
                    <a:pt x="62960" y="13335"/>
                  </a:cubicBezTo>
                  <a:cubicBezTo>
                    <a:pt x="68866" y="9335"/>
                    <a:pt x="75629" y="6096"/>
                    <a:pt x="83058" y="3715"/>
                  </a:cubicBezTo>
                  <a:cubicBezTo>
                    <a:pt x="90488" y="1334"/>
                    <a:pt x="99155" y="95"/>
                    <a:pt x="108966" y="95"/>
                  </a:cubicBezTo>
                  <a:cubicBezTo>
                    <a:pt x="127730" y="95"/>
                    <a:pt x="143161" y="4477"/>
                    <a:pt x="155448" y="13240"/>
                  </a:cubicBezTo>
                  <a:cubicBezTo>
                    <a:pt x="167640" y="22003"/>
                    <a:pt x="176879" y="32956"/>
                    <a:pt x="183166" y="46006"/>
                  </a:cubicBezTo>
                  <a:cubicBezTo>
                    <a:pt x="187357" y="39719"/>
                    <a:pt x="192024" y="33814"/>
                    <a:pt x="197168" y="28194"/>
                  </a:cubicBezTo>
                  <a:cubicBezTo>
                    <a:pt x="202406" y="22574"/>
                    <a:pt x="208217" y="17621"/>
                    <a:pt x="214789" y="13430"/>
                  </a:cubicBezTo>
                  <a:cubicBezTo>
                    <a:pt x="221361" y="9239"/>
                    <a:pt x="228695" y="6001"/>
                    <a:pt x="236887" y="3620"/>
                  </a:cubicBezTo>
                  <a:cubicBezTo>
                    <a:pt x="245078" y="1238"/>
                    <a:pt x="254222" y="0"/>
                    <a:pt x="264319" y="0"/>
                  </a:cubicBezTo>
                  <a:cubicBezTo>
                    <a:pt x="291084" y="0"/>
                    <a:pt x="312039" y="8287"/>
                    <a:pt x="327279" y="24765"/>
                  </a:cubicBezTo>
                  <a:cubicBezTo>
                    <a:pt x="342519" y="41243"/>
                    <a:pt x="350044" y="63913"/>
                    <a:pt x="350044" y="92773"/>
                  </a:cubicBezTo>
                  <a:lnTo>
                    <a:pt x="350044" y="235648"/>
                  </a:lnTo>
                  <a:lnTo>
                    <a:pt x="315659" y="235648"/>
                  </a:lnTo>
                  <a:lnTo>
                    <a:pt x="315659" y="101155"/>
                  </a:lnTo>
                  <a:cubicBezTo>
                    <a:pt x="315659" y="78867"/>
                    <a:pt x="310420" y="61722"/>
                    <a:pt x="299847" y="49721"/>
                  </a:cubicBezTo>
                  <a:cubicBezTo>
                    <a:pt x="289274" y="37719"/>
                    <a:pt x="274606" y="31718"/>
                    <a:pt x="255937" y="31718"/>
                  </a:cubicBezTo>
                  <a:cubicBezTo>
                    <a:pt x="247269" y="31718"/>
                    <a:pt x="239078" y="33242"/>
                    <a:pt x="231362" y="36386"/>
                  </a:cubicBezTo>
                  <a:cubicBezTo>
                    <a:pt x="223647" y="39529"/>
                    <a:pt x="216884" y="44101"/>
                    <a:pt x="211074" y="50197"/>
                  </a:cubicBezTo>
                  <a:cubicBezTo>
                    <a:pt x="205264" y="56293"/>
                    <a:pt x="200692" y="63818"/>
                    <a:pt x="197263" y="72676"/>
                  </a:cubicBezTo>
                  <a:cubicBezTo>
                    <a:pt x="193834" y="81629"/>
                    <a:pt x="192119" y="91726"/>
                    <a:pt x="192119" y="102965"/>
                  </a:cubicBezTo>
                  <a:lnTo>
                    <a:pt x="192119" y="235648"/>
                  </a:lnTo>
                  <a:lnTo>
                    <a:pt x="158210" y="235648"/>
                  </a:lnTo>
                  <a:lnTo>
                    <a:pt x="158210" y="100298"/>
                  </a:lnTo>
                  <a:cubicBezTo>
                    <a:pt x="158210" y="78677"/>
                    <a:pt x="152971" y="61817"/>
                    <a:pt x="142399" y="49721"/>
                  </a:cubicBezTo>
                  <a:cubicBezTo>
                    <a:pt x="131826" y="37719"/>
                    <a:pt x="117348" y="31718"/>
                    <a:pt x="98870" y="31718"/>
                  </a:cubicBezTo>
                  <a:cubicBezTo>
                    <a:pt x="89630" y="31718"/>
                    <a:pt x="81153" y="33528"/>
                    <a:pt x="73438" y="37052"/>
                  </a:cubicBezTo>
                  <a:cubicBezTo>
                    <a:pt x="65722" y="40672"/>
                    <a:pt x="58960" y="45720"/>
                    <a:pt x="53150" y="52197"/>
                  </a:cubicBezTo>
                  <a:cubicBezTo>
                    <a:pt x="47339" y="58769"/>
                    <a:pt x="42767" y="66389"/>
                    <a:pt x="39529" y="75152"/>
                  </a:cubicBezTo>
                  <a:cubicBezTo>
                    <a:pt x="36290" y="83915"/>
                    <a:pt x="34576" y="93631"/>
                    <a:pt x="34576" y="104299"/>
                  </a:cubicBezTo>
                  <a:lnTo>
                    <a:pt x="34576" y="235648"/>
                  </a:lnTo>
                  <a:lnTo>
                    <a:pt x="190" y="235648"/>
                  </a:lnTo>
                  <a:lnTo>
                    <a:pt x="190" y="4858"/>
                  </a:lnTo>
                  <a:close/>
                </a:path>
              </a:pathLst>
            </a:custGeom>
            <a:solidFill>
              <a:srgbClr val="44505E"/>
            </a:solidFill>
            <a:ln w="9525" cap="flat">
              <a:noFill/>
              <a:prstDash val="solid"/>
              <a:miter/>
            </a:ln>
          </p:spPr>
          <p:txBody>
            <a:bodyPr rtlCol="0" anchor="ctr"/>
            <a:lstStyle/>
            <a:p>
              <a:endParaRPr lang="pt-BR" noProof="0"/>
            </a:p>
          </p:txBody>
        </p:sp>
        <p:sp>
          <p:nvSpPr>
            <p:cNvPr id="50" name="Freeform: Shape 49">
              <a:extLst>
                <a:ext uri="{FF2B5EF4-FFF2-40B4-BE49-F238E27FC236}">
                  <a16:creationId xmlns:a16="http://schemas.microsoft.com/office/drawing/2014/main" id="{501C301D-4F5D-ECA4-5C78-91B0C219A0D9}"/>
                </a:ext>
              </a:extLst>
            </p:cNvPr>
            <p:cNvSpPr/>
            <p:nvPr/>
          </p:nvSpPr>
          <p:spPr>
            <a:xfrm>
              <a:off x="6415537" y="925273"/>
              <a:ext cx="58016" cy="58448"/>
            </a:xfrm>
            <a:custGeom>
              <a:avLst/>
              <a:gdLst>
                <a:gd name="connsiteX0" fmla="*/ 95 w 230790"/>
                <a:gd name="connsiteY0" fmla="*/ 0 h 232505"/>
                <a:gd name="connsiteX1" fmla="*/ 38005 w 230790"/>
                <a:gd name="connsiteY1" fmla="*/ 0 h 232505"/>
                <a:gd name="connsiteX2" fmla="*/ 115633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3"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51" name="Freeform: Shape 50">
              <a:extLst>
                <a:ext uri="{FF2B5EF4-FFF2-40B4-BE49-F238E27FC236}">
                  <a16:creationId xmlns:a16="http://schemas.microsoft.com/office/drawing/2014/main" id="{8A9686B4-FFCA-90ED-AB8A-FDF748DC60BC}"/>
                </a:ext>
              </a:extLst>
            </p:cNvPr>
            <p:cNvSpPr/>
            <p:nvPr/>
          </p:nvSpPr>
          <p:spPr>
            <a:xfrm>
              <a:off x="6487369"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286 w 39242"/>
                <a:gd name="connsiteY5" fmla="*/ 88392 h 319182"/>
                <a:gd name="connsiteX6" fmla="*/ 36671 w 39242"/>
                <a:gd name="connsiteY6" fmla="*/ 88392 h 319182"/>
                <a:gd name="connsiteX7" fmla="*/ 36671 w 39242"/>
                <a:gd name="connsiteY7" fmla="*/ 319183 h 319182"/>
                <a:gd name="connsiteX8" fmla="*/ 2286 w 39242"/>
                <a:gd name="connsiteY8" fmla="*/ 319183 h 319182"/>
                <a:gd name="connsiteX9" fmla="*/ 2286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286" y="88392"/>
                  </a:moveTo>
                  <a:lnTo>
                    <a:pt x="36671" y="88392"/>
                  </a:lnTo>
                  <a:lnTo>
                    <a:pt x="36671" y="319183"/>
                  </a:lnTo>
                  <a:lnTo>
                    <a:pt x="2286" y="319183"/>
                  </a:lnTo>
                  <a:lnTo>
                    <a:pt x="2286" y="88392"/>
                  </a:lnTo>
                  <a:close/>
                </a:path>
              </a:pathLst>
            </a:custGeom>
            <a:solidFill>
              <a:srgbClr val="44505E"/>
            </a:solidFill>
            <a:ln w="9525" cap="flat">
              <a:noFill/>
              <a:prstDash val="solid"/>
              <a:miter/>
            </a:ln>
          </p:spPr>
          <p:txBody>
            <a:bodyPr rtlCol="0" anchor="ctr"/>
            <a:lstStyle/>
            <a:p>
              <a:endParaRPr lang="pt-BR" noProof="0"/>
            </a:p>
          </p:txBody>
        </p:sp>
        <p:sp>
          <p:nvSpPr>
            <p:cNvPr id="52" name="Freeform: Shape 51">
              <a:extLst>
                <a:ext uri="{FF2B5EF4-FFF2-40B4-BE49-F238E27FC236}">
                  <a16:creationId xmlns:a16="http://schemas.microsoft.com/office/drawing/2014/main" id="{8F508CDF-EEE0-D9E2-7C59-F7A6AAA16E30}"/>
                </a:ext>
              </a:extLst>
            </p:cNvPr>
            <p:cNvSpPr/>
            <p:nvPr/>
          </p:nvSpPr>
          <p:spPr>
            <a:xfrm>
              <a:off x="6513253" y="901353"/>
              <a:ext cx="58615" cy="83182"/>
            </a:xfrm>
            <a:custGeom>
              <a:avLst/>
              <a:gdLst>
                <a:gd name="connsiteX0" fmla="*/ 110394 w 233171"/>
                <a:gd name="connsiteY0" fmla="*/ 330898 h 330898"/>
                <a:gd name="connsiteX1" fmla="*/ 69723 w 233171"/>
                <a:gd name="connsiteY1" fmla="*/ 322897 h 330898"/>
                <a:gd name="connsiteX2" fmla="*/ 34480 w 233171"/>
                <a:gd name="connsiteY2" fmla="*/ 299466 h 330898"/>
                <a:gd name="connsiteX3" fmla="*/ 9430 w 233171"/>
                <a:gd name="connsiteY3" fmla="*/ 261938 h 330898"/>
                <a:gd name="connsiteX4" fmla="*/ 0 w 233171"/>
                <a:gd name="connsiteY4" fmla="*/ 211264 h 330898"/>
                <a:gd name="connsiteX5" fmla="*/ 0 w 233171"/>
                <a:gd name="connsiteY5" fmla="*/ 210407 h 330898"/>
                <a:gd name="connsiteX6" fmla="*/ 9430 w 233171"/>
                <a:gd name="connsiteY6" fmla="*/ 159925 h 330898"/>
                <a:gd name="connsiteX7" fmla="*/ 34480 w 233171"/>
                <a:gd name="connsiteY7" fmla="*/ 122206 h 330898"/>
                <a:gd name="connsiteX8" fmla="*/ 69723 w 233171"/>
                <a:gd name="connsiteY8" fmla="*/ 98488 h 330898"/>
                <a:gd name="connsiteX9" fmla="*/ 110394 w 233171"/>
                <a:gd name="connsiteY9" fmla="*/ 90202 h 330898"/>
                <a:gd name="connsiteX10" fmla="*/ 139827 w 233171"/>
                <a:gd name="connsiteY10" fmla="*/ 94202 h 330898"/>
                <a:gd name="connsiteX11" fmla="*/ 163925 w 233171"/>
                <a:gd name="connsiteY11" fmla="*/ 104870 h 330898"/>
                <a:gd name="connsiteX12" fmla="*/ 183356 w 233171"/>
                <a:gd name="connsiteY12" fmla="*/ 120491 h 330898"/>
                <a:gd name="connsiteX13" fmla="*/ 198787 w 233171"/>
                <a:gd name="connsiteY13" fmla="*/ 139255 h 330898"/>
                <a:gd name="connsiteX14" fmla="*/ 198787 w 233171"/>
                <a:gd name="connsiteY14" fmla="*/ 0 h 330898"/>
                <a:gd name="connsiteX15" fmla="*/ 233172 w 233171"/>
                <a:gd name="connsiteY15" fmla="*/ 0 h 330898"/>
                <a:gd name="connsiteX16" fmla="*/ 233172 w 233171"/>
                <a:gd name="connsiteY16" fmla="*/ 325850 h 330898"/>
                <a:gd name="connsiteX17" fmla="*/ 198787 w 233171"/>
                <a:gd name="connsiteY17" fmla="*/ 325850 h 330898"/>
                <a:gd name="connsiteX18" fmla="*/ 198787 w 233171"/>
                <a:gd name="connsiteY18" fmla="*/ 279463 h 330898"/>
                <a:gd name="connsiteX19" fmla="*/ 182975 w 233171"/>
                <a:gd name="connsiteY19" fmla="*/ 299085 h 330898"/>
                <a:gd name="connsiteX20" fmla="*/ 163544 w 233171"/>
                <a:gd name="connsiteY20" fmla="*/ 315658 h 330898"/>
                <a:gd name="connsiteX21" fmla="*/ 139636 w 233171"/>
                <a:gd name="connsiteY21" fmla="*/ 326803 h 330898"/>
                <a:gd name="connsiteX22" fmla="*/ 110394 w 233171"/>
                <a:gd name="connsiteY22" fmla="*/ 330803 h 330898"/>
                <a:gd name="connsiteX23" fmla="*/ 116681 w 233171"/>
                <a:gd name="connsiteY23" fmla="*/ 300133 h 330898"/>
                <a:gd name="connsiteX24" fmla="*/ 147733 w 233171"/>
                <a:gd name="connsiteY24" fmla="*/ 293656 h 330898"/>
                <a:gd name="connsiteX25" fmla="*/ 174498 w 233171"/>
                <a:gd name="connsiteY25" fmla="*/ 275368 h 330898"/>
                <a:gd name="connsiteX26" fmla="*/ 193262 w 233171"/>
                <a:gd name="connsiteY26" fmla="*/ 247269 h 330898"/>
                <a:gd name="connsiteX27" fmla="*/ 200216 w 233171"/>
                <a:gd name="connsiteY27" fmla="*/ 210883 h 330898"/>
                <a:gd name="connsiteX28" fmla="*/ 200216 w 233171"/>
                <a:gd name="connsiteY28" fmla="*/ 210026 h 330898"/>
                <a:gd name="connsiteX29" fmla="*/ 193262 w 233171"/>
                <a:gd name="connsiteY29" fmla="*/ 173641 h 330898"/>
                <a:gd name="connsiteX30" fmla="*/ 174498 w 233171"/>
                <a:gd name="connsiteY30" fmla="*/ 145732 h 330898"/>
                <a:gd name="connsiteX31" fmla="*/ 147733 w 233171"/>
                <a:gd name="connsiteY31" fmla="*/ 127635 h 330898"/>
                <a:gd name="connsiteX32" fmla="*/ 116681 w 233171"/>
                <a:gd name="connsiteY32" fmla="*/ 121158 h 330898"/>
                <a:gd name="connsiteX33" fmla="*/ 84963 w 233171"/>
                <a:gd name="connsiteY33" fmla="*/ 127159 h 330898"/>
                <a:gd name="connsiteX34" fmla="*/ 59341 w 233171"/>
                <a:gd name="connsiteY34" fmla="*/ 144589 h 330898"/>
                <a:gd name="connsiteX35" fmla="*/ 41910 w 233171"/>
                <a:gd name="connsiteY35" fmla="*/ 172498 h 330898"/>
                <a:gd name="connsiteX36" fmla="*/ 35433 w 233171"/>
                <a:gd name="connsiteY36" fmla="*/ 210026 h 330898"/>
                <a:gd name="connsiteX37" fmla="*/ 35433 w 233171"/>
                <a:gd name="connsiteY37" fmla="*/ 210883 h 330898"/>
                <a:gd name="connsiteX38" fmla="*/ 41910 w 233171"/>
                <a:gd name="connsiteY38" fmla="*/ 247936 h 330898"/>
                <a:gd name="connsiteX39" fmla="*/ 59531 w 233171"/>
                <a:gd name="connsiteY39" fmla="*/ 276034 h 330898"/>
                <a:gd name="connsiteX40" fmla="*/ 85439 w 233171"/>
                <a:gd name="connsiteY40" fmla="*/ 293941 h 330898"/>
                <a:gd name="connsiteX41" fmla="*/ 116681 w 23317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3171" h="330898">
                  <a:moveTo>
                    <a:pt x="110394" y="330898"/>
                  </a:moveTo>
                  <a:cubicBezTo>
                    <a:pt x="96393" y="330898"/>
                    <a:pt x="82868" y="328231"/>
                    <a:pt x="69723" y="322897"/>
                  </a:cubicBezTo>
                  <a:cubicBezTo>
                    <a:pt x="56674" y="317563"/>
                    <a:pt x="44863" y="309753"/>
                    <a:pt x="34480" y="299466"/>
                  </a:cubicBezTo>
                  <a:cubicBezTo>
                    <a:pt x="24003" y="289179"/>
                    <a:pt x="15716" y="276701"/>
                    <a:pt x="9430" y="261938"/>
                  </a:cubicBezTo>
                  <a:cubicBezTo>
                    <a:pt x="3143" y="247174"/>
                    <a:pt x="0" y="230314"/>
                    <a:pt x="0" y="211264"/>
                  </a:cubicBezTo>
                  <a:lnTo>
                    <a:pt x="0" y="210407"/>
                  </a:lnTo>
                  <a:cubicBezTo>
                    <a:pt x="0" y="191643"/>
                    <a:pt x="3143" y="174879"/>
                    <a:pt x="9430" y="159925"/>
                  </a:cubicBezTo>
                  <a:cubicBezTo>
                    <a:pt x="15716" y="145066"/>
                    <a:pt x="24003" y="132493"/>
                    <a:pt x="34480" y="122206"/>
                  </a:cubicBezTo>
                  <a:cubicBezTo>
                    <a:pt x="44863" y="111919"/>
                    <a:pt x="56674" y="104013"/>
                    <a:pt x="69723" y="98488"/>
                  </a:cubicBezTo>
                  <a:cubicBezTo>
                    <a:pt x="82868" y="92964"/>
                    <a:pt x="96393" y="90202"/>
                    <a:pt x="110394" y="90202"/>
                  </a:cubicBezTo>
                  <a:cubicBezTo>
                    <a:pt x="121158" y="90202"/>
                    <a:pt x="130969" y="91535"/>
                    <a:pt x="139827" y="94202"/>
                  </a:cubicBezTo>
                  <a:cubicBezTo>
                    <a:pt x="148780" y="96869"/>
                    <a:pt x="156782" y="100489"/>
                    <a:pt x="163925" y="104870"/>
                  </a:cubicBezTo>
                  <a:cubicBezTo>
                    <a:pt x="171069" y="109347"/>
                    <a:pt x="177546" y="114586"/>
                    <a:pt x="183356" y="120491"/>
                  </a:cubicBezTo>
                  <a:cubicBezTo>
                    <a:pt x="189166" y="126492"/>
                    <a:pt x="194310" y="132683"/>
                    <a:pt x="198787" y="139255"/>
                  </a:cubicBezTo>
                  <a:lnTo>
                    <a:pt x="198787" y="0"/>
                  </a:lnTo>
                  <a:lnTo>
                    <a:pt x="233172" y="0"/>
                  </a:lnTo>
                  <a:lnTo>
                    <a:pt x="233172" y="325850"/>
                  </a:lnTo>
                  <a:lnTo>
                    <a:pt x="198787" y="325850"/>
                  </a:lnTo>
                  <a:lnTo>
                    <a:pt x="198787" y="279463"/>
                  </a:lnTo>
                  <a:cubicBezTo>
                    <a:pt x="194024" y="286321"/>
                    <a:pt x="188786" y="292894"/>
                    <a:pt x="182975" y="299085"/>
                  </a:cubicBezTo>
                  <a:cubicBezTo>
                    <a:pt x="177165" y="305371"/>
                    <a:pt x="170688" y="310896"/>
                    <a:pt x="163544" y="315658"/>
                  </a:cubicBezTo>
                  <a:cubicBezTo>
                    <a:pt x="156400" y="320421"/>
                    <a:pt x="148494" y="324136"/>
                    <a:pt x="139636" y="326803"/>
                  </a:cubicBezTo>
                  <a:cubicBezTo>
                    <a:pt x="130873" y="329470"/>
                    <a:pt x="121158" y="330803"/>
                    <a:pt x="110394" y="330803"/>
                  </a:cubicBezTo>
                  <a:close/>
                  <a:moveTo>
                    <a:pt x="116681" y="300133"/>
                  </a:moveTo>
                  <a:cubicBezTo>
                    <a:pt x="127445" y="300133"/>
                    <a:pt x="137732" y="297942"/>
                    <a:pt x="147733" y="293656"/>
                  </a:cubicBezTo>
                  <a:cubicBezTo>
                    <a:pt x="157734" y="289369"/>
                    <a:pt x="166592" y="283273"/>
                    <a:pt x="174498" y="275368"/>
                  </a:cubicBezTo>
                  <a:cubicBezTo>
                    <a:pt x="182404" y="267462"/>
                    <a:pt x="188595" y="258127"/>
                    <a:pt x="193262" y="247269"/>
                  </a:cubicBezTo>
                  <a:cubicBezTo>
                    <a:pt x="197834" y="236410"/>
                    <a:pt x="200216" y="224314"/>
                    <a:pt x="200216" y="210883"/>
                  </a:cubicBezTo>
                  <a:lnTo>
                    <a:pt x="200216" y="210026"/>
                  </a:lnTo>
                  <a:cubicBezTo>
                    <a:pt x="200216" y="196596"/>
                    <a:pt x="197929" y="184499"/>
                    <a:pt x="193262" y="173641"/>
                  </a:cubicBezTo>
                  <a:cubicBezTo>
                    <a:pt x="188595" y="162782"/>
                    <a:pt x="182404" y="153448"/>
                    <a:pt x="174498" y="145732"/>
                  </a:cubicBezTo>
                  <a:cubicBezTo>
                    <a:pt x="166592" y="138017"/>
                    <a:pt x="157639" y="132016"/>
                    <a:pt x="147733" y="127635"/>
                  </a:cubicBezTo>
                  <a:cubicBezTo>
                    <a:pt x="137732" y="123349"/>
                    <a:pt x="127445" y="121158"/>
                    <a:pt x="116681" y="121158"/>
                  </a:cubicBezTo>
                  <a:cubicBezTo>
                    <a:pt x="105346" y="121158"/>
                    <a:pt x="94774" y="123158"/>
                    <a:pt x="84963" y="127159"/>
                  </a:cubicBezTo>
                  <a:cubicBezTo>
                    <a:pt x="75152" y="131159"/>
                    <a:pt x="66580" y="136969"/>
                    <a:pt x="59341" y="144589"/>
                  </a:cubicBezTo>
                  <a:cubicBezTo>
                    <a:pt x="52007" y="152114"/>
                    <a:pt x="46291" y="161449"/>
                    <a:pt x="41910" y="172498"/>
                  </a:cubicBezTo>
                  <a:cubicBezTo>
                    <a:pt x="37624" y="183451"/>
                    <a:pt x="35433" y="196024"/>
                    <a:pt x="35433" y="210026"/>
                  </a:cubicBezTo>
                  <a:lnTo>
                    <a:pt x="35433" y="210883"/>
                  </a:lnTo>
                  <a:cubicBezTo>
                    <a:pt x="35433" y="224599"/>
                    <a:pt x="37624" y="236982"/>
                    <a:pt x="41910" y="247936"/>
                  </a:cubicBezTo>
                  <a:cubicBezTo>
                    <a:pt x="46196" y="258984"/>
                    <a:pt x="52101" y="268319"/>
                    <a:pt x="59531" y="276034"/>
                  </a:cubicBezTo>
                  <a:cubicBezTo>
                    <a:pt x="66960" y="283750"/>
                    <a:pt x="75629" y="289750"/>
                    <a:pt x="85439" y="293941"/>
                  </a:cubicBezTo>
                  <a:cubicBezTo>
                    <a:pt x="95250" y="298132"/>
                    <a:pt x="105632" y="300228"/>
                    <a:pt x="116681" y="300228"/>
                  </a:cubicBezTo>
                  <a:close/>
                </a:path>
              </a:pathLst>
            </a:custGeom>
            <a:solidFill>
              <a:srgbClr val="44505E"/>
            </a:solidFill>
            <a:ln w="9525" cap="flat">
              <a:noFill/>
              <a:prstDash val="solid"/>
              <a:miter/>
            </a:ln>
          </p:spPr>
          <p:txBody>
            <a:bodyPr rtlCol="0" anchor="ctr"/>
            <a:lstStyle/>
            <a:p>
              <a:endParaRPr lang="pt-BR" noProof="0"/>
            </a:p>
          </p:txBody>
        </p:sp>
        <p:sp>
          <p:nvSpPr>
            <p:cNvPr id="53" name="Freeform: Shape 52">
              <a:extLst>
                <a:ext uri="{FF2B5EF4-FFF2-40B4-BE49-F238E27FC236}">
                  <a16:creationId xmlns:a16="http://schemas.microsoft.com/office/drawing/2014/main" id="{DDC7E999-2C01-A693-6D30-26A40567EC4C}"/>
                </a:ext>
              </a:extLst>
            </p:cNvPr>
            <p:cNvSpPr/>
            <p:nvPr/>
          </p:nvSpPr>
          <p:spPr>
            <a:xfrm>
              <a:off x="6586762"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0 w 202977"/>
                <a:gd name="connsiteY16" fmla="*/ 48196 h 239267"/>
                <a:gd name="connsiteX17" fmla="*/ 20383 w 202977"/>
                <a:gd name="connsiteY17" fmla="*/ 19907 h 239267"/>
                <a:gd name="connsiteX18" fmla="*/ 59245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0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1"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675" y="92678"/>
                    <a:pt x="84011" y="90964"/>
                    <a:pt x="98584" y="90964"/>
                  </a:cubicBezTo>
                  <a:cubicBezTo>
                    <a:pt x="113157" y="90964"/>
                    <a:pt x="126302"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0" y="33147"/>
                    <a:pt x="63436" y="36100"/>
                  </a:cubicBezTo>
                  <a:cubicBezTo>
                    <a:pt x="52292" y="39053"/>
                    <a:pt x="41338" y="43053"/>
                    <a:pt x="30670" y="48196"/>
                  </a:cubicBezTo>
                  <a:lnTo>
                    <a:pt x="20383" y="19907"/>
                  </a:lnTo>
                  <a:cubicBezTo>
                    <a:pt x="33147" y="13906"/>
                    <a:pt x="46101" y="9049"/>
                    <a:pt x="59245" y="5429"/>
                  </a:cubicBezTo>
                  <a:cubicBezTo>
                    <a:pt x="72294" y="1810"/>
                    <a:pt x="87344" y="0"/>
                    <a:pt x="104299" y="0"/>
                  </a:cubicBezTo>
                  <a:cubicBezTo>
                    <a:pt x="137064" y="0"/>
                    <a:pt x="161925" y="8477"/>
                    <a:pt x="178879" y="25432"/>
                  </a:cubicBezTo>
                  <a:cubicBezTo>
                    <a:pt x="194976"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0" y="239173"/>
                  </a:cubicBezTo>
                  <a:close/>
                  <a:moveTo>
                    <a:pt x="93154" y="211169"/>
                  </a:moveTo>
                  <a:cubicBezTo>
                    <a:pt x="103822" y="211169"/>
                    <a:pt x="113729" y="209740"/>
                    <a:pt x="122967" y="206788"/>
                  </a:cubicBezTo>
                  <a:cubicBezTo>
                    <a:pt x="132207"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4" y="119348"/>
                    <a:pt x="116871"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54" name="Freeform: Shape 53">
              <a:extLst>
                <a:ext uri="{FF2B5EF4-FFF2-40B4-BE49-F238E27FC236}">
                  <a16:creationId xmlns:a16="http://schemas.microsoft.com/office/drawing/2014/main" id="{8B6A908F-D48A-E097-7008-D921B7624067}"/>
                </a:ext>
              </a:extLst>
            </p:cNvPr>
            <p:cNvSpPr/>
            <p:nvPr/>
          </p:nvSpPr>
          <p:spPr>
            <a:xfrm>
              <a:off x="6651291" y="924268"/>
              <a:ext cx="44680" cy="60195"/>
            </a:xfrm>
            <a:custGeom>
              <a:avLst/>
              <a:gdLst>
                <a:gd name="connsiteX0" fmla="*/ 95535 w 177736"/>
                <a:gd name="connsiteY0" fmla="*/ 239268 h 239458"/>
                <a:gd name="connsiteX1" fmla="*/ 45053 w 177736"/>
                <a:gd name="connsiteY1" fmla="*/ 230124 h 239458"/>
                <a:gd name="connsiteX2" fmla="*/ 0 w 177736"/>
                <a:gd name="connsiteY2" fmla="*/ 205359 h 239458"/>
                <a:gd name="connsiteX3" fmla="*/ 17430 w 177736"/>
                <a:gd name="connsiteY3" fmla="*/ 180785 h 239458"/>
                <a:gd name="connsiteX4" fmla="*/ 56483 w 177736"/>
                <a:gd name="connsiteY4" fmla="*/ 202692 h 239458"/>
                <a:gd name="connsiteX5" fmla="*/ 97345 w 177736"/>
                <a:gd name="connsiteY5" fmla="*/ 210217 h 239458"/>
                <a:gd name="connsiteX6" fmla="*/ 131730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825 w 177736"/>
                <a:gd name="connsiteY10" fmla="*/ 147066 h 239458"/>
                <a:gd name="connsiteX11" fmla="*/ 109251 w 177736"/>
                <a:gd name="connsiteY11" fmla="*/ 138779 h 239458"/>
                <a:gd name="connsiteX12" fmla="*/ 87630 w 177736"/>
                <a:gd name="connsiteY12" fmla="*/ 132112 h 239458"/>
                <a:gd name="connsiteX13" fmla="*/ 60579 w 177736"/>
                <a:gd name="connsiteY13" fmla="*/ 123444 h 239458"/>
                <a:gd name="connsiteX14" fmla="*/ 36004 w 177736"/>
                <a:gd name="connsiteY14" fmla="*/ 111633 h 239458"/>
                <a:gd name="connsiteX15" fmla="*/ 18192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59 w 177736"/>
                <a:gd name="connsiteY22" fmla="*/ 6953 h 239458"/>
                <a:gd name="connsiteX23" fmla="*/ 172878 w 177736"/>
                <a:gd name="connsiteY23" fmla="*/ 25527 h 239458"/>
                <a:gd name="connsiteX24" fmla="*/ 157257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3 w 177736"/>
                <a:gd name="connsiteY32" fmla="*/ 96203 h 239458"/>
                <a:gd name="connsiteX33" fmla="*/ 103631 w 177736"/>
                <a:gd name="connsiteY33" fmla="*/ 103346 h 239458"/>
                <a:gd name="connsiteX34" fmla="*/ 130207 w 177736"/>
                <a:gd name="connsiteY34" fmla="*/ 112300 h 239458"/>
                <a:gd name="connsiteX35" fmla="*/ 154114 w 177736"/>
                <a:gd name="connsiteY35" fmla="*/ 124778 h 239458"/>
                <a:gd name="connsiteX36" fmla="*/ 171259 w 177736"/>
                <a:gd name="connsiteY36" fmla="*/ 143066 h 239458"/>
                <a:gd name="connsiteX37" fmla="*/ 177736 w 177736"/>
                <a:gd name="connsiteY37" fmla="*/ 169450 h 239458"/>
                <a:gd name="connsiteX38" fmla="*/ 177736 w 177736"/>
                <a:gd name="connsiteY38" fmla="*/ 170307 h 239458"/>
                <a:gd name="connsiteX39" fmla="*/ 171259 w 177736"/>
                <a:gd name="connsiteY39" fmla="*/ 199549 h 239458"/>
                <a:gd name="connsiteX40" fmla="*/ 153828 w 177736"/>
                <a:gd name="connsiteY40" fmla="*/ 221171 h 239458"/>
                <a:gd name="connsiteX41" fmla="*/ 127921 w 177736"/>
                <a:gd name="connsiteY41" fmla="*/ 234791 h 239458"/>
                <a:gd name="connsiteX42" fmla="*/ 95535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5" y="239268"/>
                  </a:moveTo>
                  <a:cubicBezTo>
                    <a:pt x="78867" y="239268"/>
                    <a:pt x="62007" y="236220"/>
                    <a:pt x="45053" y="230124"/>
                  </a:cubicBezTo>
                  <a:cubicBezTo>
                    <a:pt x="28098" y="224028"/>
                    <a:pt x="13049" y="215741"/>
                    <a:pt x="0" y="205359"/>
                  </a:cubicBezTo>
                  <a:lnTo>
                    <a:pt x="17430" y="180785"/>
                  </a:lnTo>
                  <a:cubicBezTo>
                    <a:pt x="29908" y="190310"/>
                    <a:pt x="42957" y="197644"/>
                    <a:pt x="56483" y="202692"/>
                  </a:cubicBezTo>
                  <a:cubicBezTo>
                    <a:pt x="70009" y="207740"/>
                    <a:pt x="83629" y="210217"/>
                    <a:pt x="97345" y="210217"/>
                  </a:cubicBezTo>
                  <a:cubicBezTo>
                    <a:pt x="111061" y="210217"/>
                    <a:pt x="122777" y="206978"/>
                    <a:pt x="131730" y="200406"/>
                  </a:cubicBezTo>
                  <a:cubicBezTo>
                    <a:pt x="140684" y="193834"/>
                    <a:pt x="145161" y="184976"/>
                    <a:pt x="145161" y="173641"/>
                  </a:cubicBezTo>
                  <a:lnTo>
                    <a:pt x="145161" y="172784"/>
                  </a:lnTo>
                  <a:cubicBezTo>
                    <a:pt x="145161" y="167164"/>
                    <a:pt x="143541" y="162211"/>
                    <a:pt x="140494" y="158020"/>
                  </a:cubicBezTo>
                  <a:cubicBezTo>
                    <a:pt x="137350" y="153829"/>
                    <a:pt x="133159" y="150209"/>
                    <a:pt x="127825" y="147066"/>
                  </a:cubicBezTo>
                  <a:cubicBezTo>
                    <a:pt x="122491" y="143923"/>
                    <a:pt x="116300" y="141161"/>
                    <a:pt x="109251" y="138779"/>
                  </a:cubicBezTo>
                  <a:cubicBezTo>
                    <a:pt x="102298" y="136398"/>
                    <a:pt x="95059" y="134207"/>
                    <a:pt x="87630" y="132112"/>
                  </a:cubicBezTo>
                  <a:cubicBezTo>
                    <a:pt x="78676" y="129445"/>
                    <a:pt x="69722" y="126492"/>
                    <a:pt x="60579" y="123444"/>
                  </a:cubicBezTo>
                  <a:cubicBezTo>
                    <a:pt x="51530" y="120301"/>
                    <a:pt x="43339" y="116396"/>
                    <a:pt x="36004" y="111633"/>
                  </a:cubicBezTo>
                  <a:cubicBezTo>
                    <a:pt x="28670" y="106871"/>
                    <a:pt x="22764" y="100870"/>
                    <a:pt x="18192" y="93726"/>
                  </a:cubicBezTo>
                  <a:cubicBezTo>
                    <a:pt x="13525" y="86582"/>
                    <a:pt x="11239" y="77629"/>
                    <a:pt x="11239" y="66961"/>
                  </a:cubicBezTo>
                  <a:lnTo>
                    <a:pt x="11239" y="66008"/>
                  </a:lnTo>
                  <a:cubicBezTo>
                    <a:pt x="11239" y="56198"/>
                    <a:pt x="13144" y="47149"/>
                    <a:pt x="17050" y="39053"/>
                  </a:cubicBezTo>
                  <a:cubicBezTo>
                    <a:pt x="20955" y="30861"/>
                    <a:pt x="26384" y="23908"/>
                    <a:pt x="33338" y="18098"/>
                  </a:cubicBezTo>
                  <a:cubicBezTo>
                    <a:pt x="40291" y="12287"/>
                    <a:pt x="48673" y="7811"/>
                    <a:pt x="58388" y="4667"/>
                  </a:cubicBezTo>
                  <a:cubicBezTo>
                    <a:pt x="68008" y="1524"/>
                    <a:pt x="78581" y="0"/>
                    <a:pt x="89821" y="0"/>
                  </a:cubicBezTo>
                  <a:cubicBezTo>
                    <a:pt x="104108" y="0"/>
                    <a:pt x="118586" y="2286"/>
                    <a:pt x="133159" y="6953"/>
                  </a:cubicBezTo>
                  <a:cubicBezTo>
                    <a:pt x="147732" y="11621"/>
                    <a:pt x="160972" y="17717"/>
                    <a:pt x="172878" y="25527"/>
                  </a:cubicBezTo>
                  <a:lnTo>
                    <a:pt x="157257" y="51435"/>
                  </a:lnTo>
                  <a:cubicBezTo>
                    <a:pt x="146494" y="44577"/>
                    <a:pt x="135255" y="39148"/>
                    <a:pt x="123539" y="35147"/>
                  </a:cubicBezTo>
                  <a:cubicBezTo>
                    <a:pt x="111823" y="31147"/>
                    <a:pt x="100203" y="29146"/>
                    <a:pt x="88963" y="29146"/>
                  </a:cubicBezTo>
                  <a:cubicBezTo>
                    <a:pt x="75247" y="29146"/>
                    <a:pt x="64389" y="32385"/>
                    <a:pt x="56388" y="38767"/>
                  </a:cubicBezTo>
                  <a:cubicBezTo>
                    <a:pt x="48291" y="45149"/>
                    <a:pt x="44291" y="53150"/>
                    <a:pt x="44291" y="62675"/>
                  </a:cubicBezTo>
                  <a:lnTo>
                    <a:pt x="44291" y="63627"/>
                  </a:lnTo>
                  <a:cubicBezTo>
                    <a:pt x="44291" y="68961"/>
                    <a:pt x="45910" y="73628"/>
                    <a:pt x="49244" y="77724"/>
                  </a:cubicBezTo>
                  <a:cubicBezTo>
                    <a:pt x="52482" y="81725"/>
                    <a:pt x="56864" y="85249"/>
                    <a:pt x="62389" y="88202"/>
                  </a:cubicBezTo>
                  <a:cubicBezTo>
                    <a:pt x="67913" y="91154"/>
                    <a:pt x="74200" y="93821"/>
                    <a:pt x="81343" y="96203"/>
                  </a:cubicBezTo>
                  <a:cubicBezTo>
                    <a:pt x="88487" y="98584"/>
                    <a:pt x="95916" y="100965"/>
                    <a:pt x="103631" y="103346"/>
                  </a:cubicBezTo>
                  <a:cubicBezTo>
                    <a:pt x="112585" y="106013"/>
                    <a:pt x="121444" y="108966"/>
                    <a:pt x="130207" y="112300"/>
                  </a:cubicBezTo>
                  <a:cubicBezTo>
                    <a:pt x="138969" y="115538"/>
                    <a:pt x="146971" y="119729"/>
                    <a:pt x="154114" y="124778"/>
                  </a:cubicBezTo>
                  <a:cubicBezTo>
                    <a:pt x="161258" y="129826"/>
                    <a:pt x="166973" y="135922"/>
                    <a:pt x="171259" y="143066"/>
                  </a:cubicBezTo>
                  <a:cubicBezTo>
                    <a:pt x="175546" y="150209"/>
                    <a:pt x="177736" y="158972"/>
                    <a:pt x="177736" y="169450"/>
                  </a:cubicBezTo>
                  <a:lnTo>
                    <a:pt x="177736" y="170307"/>
                  </a:lnTo>
                  <a:cubicBezTo>
                    <a:pt x="177736" y="181356"/>
                    <a:pt x="175546" y="191071"/>
                    <a:pt x="171259" y="199549"/>
                  </a:cubicBezTo>
                  <a:cubicBezTo>
                    <a:pt x="166973" y="208026"/>
                    <a:pt x="161163" y="215265"/>
                    <a:pt x="153828" y="221171"/>
                  </a:cubicBezTo>
                  <a:cubicBezTo>
                    <a:pt x="146589" y="227171"/>
                    <a:pt x="137922" y="231648"/>
                    <a:pt x="127921" y="234791"/>
                  </a:cubicBezTo>
                  <a:cubicBezTo>
                    <a:pt x="117919" y="237935"/>
                    <a:pt x="107156" y="239459"/>
                    <a:pt x="95535" y="239459"/>
                  </a:cubicBezTo>
                  <a:close/>
                </a:path>
              </a:pathLst>
            </a:custGeom>
            <a:solidFill>
              <a:srgbClr val="44505E"/>
            </a:solidFill>
            <a:ln w="9525" cap="flat">
              <a:noFill/>
              <a:prstDash val="solid"/>
              <a:miter/>
            </a:ln>
          </p:spPr>
          <p:txBody>
            <a:bodyPr rtlCol="0" anchor="ctr"/>
            <a:lstStyle/>
            <a:p>
              <a:endParaRPr lang="pt-BR" noProof="0"/>
            </a:p>
          </p:txBody>
        </p:sp>
        <p:sp>
          <p:nvSpPr>
            <p:cNvPr id="55" name="Freeform: Shape 54">
              <a:extLst>
                <a:ext uri="{FF2B5EF4-FFF2-40B4-BE49-F238E27FC236}">
                  <a16:creationId xmlns:a16="http://schemas.microsoft.com/office/drawing/2014/main" id="{F3B2B7A8-6D05-28D6-CF50-7210684D65B2}"/>
                </a:ext>
              </a:extLst>
            </p:cNvPr>
            <p:cNvSpPr/>
            <p:nvPr/>
          </p:nvSpPr>
          <p:spPr>
            <a:xfrm>
              <a:off x="5250320" y="846952"/>
              <a:ext cx="1459036" cy="16186"/>
            </a:xfrm>
            <a:custGeom>
              <a:avLst/>
              <a:gdLst>
                <a:gd name="connsiteX0" fmla="*/ 0 w 5804058"/>
                <a:gd name="connsiteY0" fmla="*/ 0 h 64388"/>
                <a:gd name="connsiteX1" fmla="*/ 5804059 w 5804058"/>
                <a:gd name="connsiteY1" fmla="*/ 0 h 64388"/>
                <a:gd name="connsiteX2" fmla="*/ 5804059 w 5804058"/>
                <a:gd name="connsiteY2" fmla="*/ 64389 h 64388"/>
                <a:gd name="connsiteX3" fmla="*/ 0 w 5804058"/>
                <a:gd name="connsiteY3" fmla="*/ 64389 h 64388"/>
              </a:gdLst>
              <a:ahLst/>
              <a:cxnLst>
                <a:cxn ang="0">
                  <a:pos x="connsiteX0" y="connsiteY0"/>
                </a:cxn>
                <a:cxn ang="0">
                  <a:pos x="connsiteX1" y="connsiteY1"/>
                </a:cxn>
                <a:cxn ang="0">
                  <a:pos x="connsiteX2" y="connsiteY2"/>
                </a:cxn>
                <a:cxn ang="0">
                  <a:pos x="connsiteX3" y="connsiteY3"/>
                </a:cxn>
              </a:cxnLst>
              <a:rect l="l" t="t" r="r" b="b"/>
              <a:pathLst>
                <a:path w="5804058" h="64388">
                  <a:moveTo>
                    <a:pt x="0" y="0"/>
                  </a:moveTo>
                  <a:lnTo>
                    <a:pt x="5804059" y="0"/>
                  </a:lnTo>
                  <a:lnTo>
                    <a:pt x="5804059" y="64389"/>
                  </a:lnTo>
                  <a:lnTo>
                    <a:pt x="0" y="64389"/>
                  </a:lnTo>
                  <a:close/>
                </a:path>
              </a:pathLst>
            </a:custGeom>
            <a:solidFill>
              <a:srgbClr val="44505E"/>
            </a:solidFill>
            <a:ln w="9525" cap="flat">
              <a:noFill/>
              <a:prstDash val="solid"/>
              <a:miter/>
            </a:ln>
          </p:spPr>
          <p:txBody>
            <a:bodyPr rtlCol="0" anchor="ctr"/>
            <a:lstStyle/>
            <a:p>
              <a:endParaRPr lang="pt-BR" noProof="0"/>
            </a:p>
          </p:txBody>
        </p:sp>
        <p:sp>
          <p:nvSpPr>
            <p:cNvPr id="56" name="Freeform: Shape 55">
              <a:extLst>
                <a:ext uri="{FF2B5EF4-FFF2-40B4-BE49-F238E27FC236}">
                  <a16:creationId xmlns:a16="http://schemas.microsoft.com/office/drawing/2014/main" id="{0953191F-9686-C466-03F0-00178EDD9F1B}"/>
                </a:ext>
              </a:extLst>
            </p:cNvPr>
            <p:cNvSpPr/>
            <p:nvPr/>
          </p:nvSpPr>
          <p:spPr>
            <a:xfrm>
              <a:off x="6902633" y="268821"/>
              <a:ext cx="273418" cy="601046"/>
            </a:xfrm>
            <a:custGeom>
              <a:avLst/>
              <a:gdLst>
                <a:gd name="connsiteX0" fmla="*/ 0 w 1087659"/>
                <a:gd name="connsiteY0" fmla="*/ 210979 h 2390965"/>
                <a:gd name="connsiteX1" fmla="*/ 125063 w 1087659"/>
                <a:gd name="connsiteY1" fmla="*/ 103442 h 2390965"/>
                <a:gd name="connsiteX2" fmla="*/ 250031 w 1087659"/>
                <a:gd name="connsiteY2" fmla="*/ 210979 h 2390965"/>
                <a:gd name="connsiteX3" fmla="*/ 250031 w 1087659"/>
                <a:gd name="connsiteY3" fmla="*/ 1922717 h 2390965"/>
                <a:gd name="connsiteX4" fmla="*/ 249841 w 1087659"/>
                <a:gd name="connsiteY4" fmla="*/ 1922717 h 2390965"/>
                <a:gd name="connsiteX5" fmla="*/ 249841 w 1087659"/>
                <a:gd name="connsiteY5" fmla="*/ 1925955 h 2390965"/>
                <a:gd name="connsiteX6" fmla="*/ 333756 w 1087659"/>
                <a:gd name="connsiteY6" fmla="*/ 2100263 h 2390965"/>
                <a:gd name="connsiteX7" fmla="*/ 335566 w 1087659"/>
                <a:gd name="connsiteY7" fmla="*/ 2101787 h 2390965"/>
                <a:gd name="connsiteX8" fmla="*/ 336042 w 1087659"/>
                <a:gd name="connsiteY8" fmla="*/ 2102168 h 2390965"/>
                <a:gd name="connsiteX9" fmla="*/ 543877 w 1087659"/>
                <a:gd name="connsiteY9" fmla="*/ 2175891 h 2390965"/>
                <a:gd name="connsiteX10" fmla="*/ 749998 w 1087659"/>
                <a:gd name="connsiteY10" fmla="*/ 2103692 h 2390965"/>
                <a:gd name="connsiteX11" fmla="*/ 751713 w 1087659"/>
                <a:gd name="connsiteY11" fmla="*/ 2102168 h 2390965"/>
                <a:gd name="connsiteX12" fmla="*/ 752189 w 1087659"/>
                <a:gd name="connsiteY12" fmla="*/ 2101787 h 2390965"/>
                <a:gd name="connsiteX13" fmla="*/ 837819 w 1087659"/>
                <a:gd name="connsiteY13" fmla="*/ 1922812 h 2390965"/>
                <a:gd name="connsiteX14" fmla="*/ 837819 w 1087659"/>
                <a:gd name="connsiteY14" fmla="*/ 107537 h 2390965"/>
                <a:gd name="connsiteX15" fmla="*/ 962787 w 1087659"/>
                <a:gd name="connsiteY15" fmla="*/ 0 h 2390965"/>
                <a:gd name="connsiteX16" fmla="*/ 1087660 w 1087659"/>
                <a:gd name="connsiteY16" fmla="*/ 107537 h 2390965"/>
                <a:gd name="connsiteX17" fmla="*/ 1087660 w 1087659"/>
                <a:gd name="connsiteY17" fmla="*/ 1922621 h 2390965"/>
                <a:gd name="connsiteX18" fmla="*/ 928307 w 1087659"/>
                <a:gd name="connsiteY18" fmla="*/ 2253234 h 2390965"/>
                <a:gd name="connsiteX19" fmla="*/ 928116 w 1087659"/>
                <a:gd name="connsiteY19" fmla="*/ 2253424 h 2390965"/>
                <a:gd name="connsiteX20" fmla="*/ 927830 w 1087659"/>
                <a:gd name="connsiteY20" fmla="*/ 2253710 h 2390965"/>
                <a:gd name="connsiteX21" fmla="*/ 927354 w 1087659"/>
                <a:gd name="connsiteY21" fmla="*/ 2254187 h 2390965"/>
                <a:gd name="connsiteX22" fmla="*/ 543783 w 1087659"/>
                <a:gd name="connsiteY22" fmla="*/ 2390966 h 2390965"/>
                <a:gd name="connsiteX23" fmla="*/ 159734 w 1087659"/>
                <a:gd name="connsiteY23" fmla="*/ 2253710 h 2390965"/>
                <a:gd name="connsiteX24" fmla="*/ 159734 w 1087659"/>
                <a:gd name="connsiteY24" fmla="*/ 2253424 h 2390965"/>
                <a:gd name="connsiteX25" fmla="*/ 159353 w 1087659"/>
                <a:gd name="connsiteY25" fmla="*/ 2253234 h 2390965"/>
                <a:gd name="connsiteX26" fmla="*/ 158877 w 1087659"/>
                <a:gd name="connsiteY26" fmla="*/ 2252948 h 2390965"/>
                <a:gd name="connsiteX27" fmla="*/ 0 w 1087659"/>
                <a:gd name="connsiteY27" fmla="*/ 1922621 h 2390965"/>
                <a:gd name="connsiteX28" fmla="*/ 0 w 1087659"/>
                <a:gd name="connsiteY28" fmla="*/ 1922621 h 2390965"/>
                <a:gd name="connsiteX29" fmla="*/ 0 w 1087659"/>
                <a:gd name="connsiteY29" fmla="*/ 210979 h 239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87659" h="2390965">
                  <a:moveTo>
                    <a:pt x="0" y="210979"/>
                  </a:moveTo>
                  <a:cubicBezTo>
                    <a:pt x="0" y="151638"/>
                    <a:pt x="56007" y="103442"/>
                    <a:pt x="125063" y="103442"/>
                  </a:cubicBezTo>
                  <a:cubicBezTo>
                    <a:pt x="194120" y="103442"/>
                    <a:pt x="250031" y="151638"/>
                    <a:pt x="250031" y="210979"/>
                  </a:cubicBezTo>
                  <a:lnTo>
                    <a:pt x="250031" y="1922717"/>
                  </a:lnTo>
                  <a:lnTo>
                    <a:pt x="249841" y="1922717"/>
                  </a:lnTo>
                  <a:lnTo>
                    <a:pt x="249841" y="1925955"/>
                  </a:lnTo>
                  <a:cubicBezTo>
                    <a:pt x="250793" y="1994059"/>
                    <a:pt x="282797" y="2055495"/>
                    <a:pt x="333756" y="2100263"/>
                  </a:cubicBezTo>
                  <a:lnTo>
                    <a:pt x="335566" y="2101787"/>
                  </a:lnTo>
                  <a:lnTo>
                    <a:pt x="336042" y="2102168"/>
                  </a:lnTo>
                  <a:cubicBezTo>
                    <a:pt x="388906" y="2147697"/>
                    <a:pt x="462343" y="2175891"/>
                    <a:pt x="543877" y="2175891"/>
                  </a:cubicBezTo>
                  <a:cubicBezTo>
                    <a:pt x="625411" y="2175891"/>
                    <a:pt x="697420" y="2148364"/>
                    <a:pt x="749998" y="2103692"/>
                  </a:cubicBezTo>
                  <a:lnTo>
                    <a:pt x="751713" y="2102168"/>
                  </a:lnTo>
                  <a:lnTo>
                    <a:pt x="752189" y="2101787"/>
                  </a:lnTo>
                  <a:cubicBezTo>
                    <a:pt x="805053" y="2056352"/>
                    <a:pt x="837819" y="1993011"/>
                    <a:pt x="837819" y="1922812"/>
                  </a:cubicBezTo>
                  <a:lnTo>
                    <a:pt x="837819" y="107537"/>
                  </a:lnTo>
                  <a:cubicBezTo>
                    <a:pt x="837819" y="48196"/>
                    <a:pt x="893731" y="0"/>
                    <a:pt x="962787" y="0"/>
                  </a:cubicBezTo>
                  <a:cubicBezTo>
                    <a:pt x="1031843" y="0"/>
                    <a:pt x="1087660" y="48196"/>
                    <a:pt x="1087660" y="107537"/>
                  </a:cubicBezTo>
                  <a:lnTo>
                    <a:pt x="1087660" y="1922621"/>
                  </a:lnTo>
                  <a:cubicBezTo>
                    <a:pt x="1087660" y="2051399"/>
                    <a:pt x="1026795" y="2168366"/>
                    <a:pt x="928307" y="2253234"/>
                  </a:cubicBezTo>
                  <a:lnTo>
                    <a:pt x="928116" y="2253424"/>
                  </a:lnTo>
                  <a:lnTo>
                    <a:pt x="927830" y="2253710"/>
                  </a:lnTo>
                  <a:lnTo>
                    <a:pt x="927354" y="2254187"/>
                  </a:lnTo>
                  <a:cubicBezTo>
                    <a:pt x="828770" y="2338673"/>
                    <a:pt x="693134" y="2390966"/>
                    <a:pt x="543783" y="2390966"/>
                  </a:cubicBezTo>
                  <a:cubicBezTo>
                    <a:pt x="394430" y="2390966"/>
                    <a:pt x="258413" y="2338483"/>
                    <a:pt x="159734" y="2253710"/>
                  </a:cubicBezTo>
                  <a:lnTo>
                    <a:pt x="159734" y="2253424"/>
                  </a:lnTo>
                  <a:cubicBezTo>
                    <a:pt x="159734" y="2253424"/>
                    <a:pt x="159353" y="2253234"/>
                    <a:pt x="159353" y="2253234"/>
                  </a:cubicBezTo>
                  <a:lnTo>
                    <a:pt x="158877" y="2252948"/>
                  </a:lnTo>
                  <a:cubicBezTo>
                    <a:pt x="60770" y="2167985"/>
                    <a:pt x="0" y="2051304"/>
                    <a:pt x="0" y="1922621"/>
                  </a:cubicBezTo>
                  <a:lnTo>
                    <a:pt x="0" y="1922621"/>
                  </a:lnTo>
                  <a:lnTo>
                    <a:pt x="0" y="210979"/>
                  </a:lnTo>
                  <a:close/>
                </a:path>
              </a:pathLst>
            </a:custGeom>
            <a:solidFill>
              <a:srgbClr val="8FC640"/>
            </a:solidFill>
            <a:ln w="9525" cap="flat">
              <a:noFill/>
              <a:prstDash val="solid"/>
              <a:miter/>
            </a:ln>
          </p:spPr>
          <p:txBody>
            <a:bodyPr rtlCol="0" anchor="ctr"/>
            <a:lstStyle/>
            <a:p>
              <a:endParaRPr lang="pt-BR" noProof="0"/>
            </a:p>
          </p:txBody>
        </p:sp>
        <p:sp>
          <p:nvSpPr>
            <p:cNvPr id="57" name="Freeform: Shape 56">
              <a:extLst>
                <a:ext uri="{FF2B5EF4-FFF2-40B4-BE49-F238E27FC236}">
                  <a16:creationId xmlns:a16="http://schemas.microsoft.com/office/drawing/2014/main" id="{3F8F327A-C667-6842-8316-C1FFBA83DC26}"/>
                </a:ext>
              </a:extLst>
            </p:cNvPr>
            <p:cNvSpPr/>
            <p:nvPr/>
          </p:nvSpPr>
          <p:spPr>
            <a:xfrm>
              <a:off x="7013590" y="213965"/>
              <a:ext cx="54018" cy="562280"/>
            </a:xfrm>
            <a:custGeom>
              <a:avLst/>
              <a:gdLst>
                <a:gd name="connsiteX0" fmla="*/ 0 w 214883"/>
                <a:gd name="connsiteY0" fmla="*/ 107537 h 2236755"/>
                <a:gd name="connsiteX1" fmla="*/ 107537 w 214883"/>
                <a:gd name="connsiteY1" fmla="*/ 0 h 2236755"/>
                <a:gd name="connsiteX2" fmla="*/ 214884 w 214883"/>
                <a:gd name="connsiteY2" fmla="*/ 107537 h 2236755"/>
                <a:gd name="connsiteX3" fmla="*/ 214884 w 214883"/>
                <a:gd name="connsiteY3" fmla="*/ 2129219 h 2236755"/>
                <a:gd name="connsiteX4" fmla="*/ 107537 w 214883"/>
                <a:gd name="connsiteY4" fmla="*/ 2236756 h 2236755"/>
                <a:gd name="connsiteX5" fmla="*/ 0 w 214883"/>
                <a:gd name="connsiteY5" fmla="*/ 2129219 h 2236755"/>
                <a:gd name="connsiteX6" fmla="*/ 0 w 214883"/>
                <a:gd name="connsiteY6" fmla="*/ 107537 h 223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 h="2236755">
                  <a:moveTo>
                    <a:pt x="0" y="107537"/>
                  </a:moveTo>
                  <a:cubicBezTo>
                    <a:pt x="0" y="48197"/>
                    <a:pt x="48101" y="0"/>
                    <a:pt x="107537" y="0"/>
                  </a:cubicBezTo>
                  <a:cubicBezTo>
                    <a:pt x="166973" y="0"/>
                    <a:pt x="214884" y="48197"/>
                    <a:pt x="214884" y="107537"/>
                  </a:cubicBezTo>
                  <a:lnTo>
                    <a:pt x="214884" y="2129219"/>
                  </a:lnTo>
                  <a:cubicBezTo>
                    <a:pt x="214884" y="2188559"/>
                    <a:pt x="166782" y="2236756"/>
                    <a:pt x="107537" y="2236756"/>
                  </a:cubicBezTo>
                  <a:cubicBezTo>
                    <a:pt x="48291" y="2236756"/>
                    <a:pt x="0" y="2188559"/>
                    <a:pt x="0" y="2129219"/>
                  </a:cubicBezTo>
                  <a:lnTo>
                    <a:pt x="0" y="107537"/>
                  </a:lnTo>
                  <a:close/>
                </a:path>
              </a:pathLst>
            </a:custGeom>
            <a:solidFill>
              <a:srgbClr val="3698B0"/>
            </a:solidFill>
            <a:ln w="9525" cap="flat">
              <a:noFill/>
              <a:prstDash val="solid"/>
              <a:miter/>
            </a:ln>
          </p:spPr>
          <p:txBody>
            <a:bodyPr rtlCol="0" anchor="ctr"/>
            <a:lstStyle/>
            <a:p>
              <a:endParaRPr lang="pt-BR" noProof="0"/>
            </a:p>
          </p:txBody>
        </p:sp>
        <p:sp>
          <p:nvSpPr>
            <p:cNvPr id="58" name="Freeform: Shape 57">
              <a:extLst>
                <a:ext uri="{FF2B5EF4-FFF2-40B4-BE49-F238E27FC236}">
                  <a16:creationId xmlns:a16="http://schemas.microsoft.com/office/drawing/2014/main" id="{C90F3AC8-2D4D-5B71-A175-1B9EFB5AC1CE}"/>
                </a:ext>
              </a:extLst>
            </p:cNvPr>
            <p:cNvSpPr/>
            <p:nvPr/>
          </p:nvSpPr>
          <p:spPr>
            <a:xfrm>
              <a:off x="6795770" y="332991"/>
              <a:ext cx="485994" cy="649437"/>
            </a:xfrm>
            <a:custGeom>
              <a:avLst/>
              <a:gdLst>
                <a:gd name="connsiteX0" fmla="*/ 1933290 w 1933289"/>
                <a:gd name="connsiteY0" fmla="*/ 138017 h 2583465"/>
                <a:gd name="connsiteX1" fmla="*/ 1933290 w 1933289"/>
                <a:gd name="connsiteY1" fmla="*/ 1734122 h 2583465"/>
                <a:gd name="connsiteX2" fmla="*/ 1796606 w 1933289"/>
                <a:gd name="connsiteY2" fmla="*/ 2229136 h 2583465"/>
                <a:gd name="connsiteX3" fmla="*/ 977742 w 1933289"/>
                <a:gd name="connsiteY3" fmla="*/ 2583466 h 2583465"/>
                <a:gd name="connsiteX4" fmla="*/ 955357 w 1933289"/>
                <a:gd name="connsiteY4" fmla="*/ 2583466 h 2583465"/>
                <a:gd name="connsiteX5" fmla="*/ 136589 w 1933289"/>
                <a:gd name="connsiteY5" fmla="*/ 2229136 h 2583465"/>
                <a:gd name="connsiteX6" fmla="*/ 0 w 1933289"/>
                <a:gd name="connsiteY6" fmla="*/ 1734122 h 2583465"/>
                <a:gd name="connsiteX7" fmla="*/ 0 w 1933289"/>
                <a:gd name="connsiteY7" fmla="*/ 794194 h 2583465"/>
                <a:gd name="connsiteX8" fmla="*/ 137827 w 1933289"/>
                <a:gd name="connsiteY8" fmla="*/ 656273 h 2583465"/>
                <a:gd name="connsiteX9" fmla="*/ 275463 w 1933289"/>
                <a:gd name="connsiteY9" fmla="*/ 794194 h 2583465"/>
                <a:gd name="connsiteX10" fmla="*/ 275463 w 1933289"/>
                <a:gd name="connsiteY10" fmla="*/ 1734122 h 2583465"/>
                <a:gd name="connsiteX11" fmla="*/ 354235 w 1933289"/>
                <a:gd name="connsiteY11" fmla="*/ 2059686 h 2583465"/>
                <a:gd name="connsiteX12" fmla="*/ 958215 w 1933289"/>
                <a:gd name="connsiteY12" fmla="*/ 2307527 h 2583465"/>
                <a:gd name="connsiteX13" fmla="*/ 974789 w 1933289"/>
                <a:gd name="connsiteY13" fmla="*/ 2307527 h 2583465"/>
                <a:gd name="connsiteX14" fmla="*/ 1578959 w 1933289"/>
                <a:gd name="connsiteY14" fmla="*/ 2059686 h 2583465"/>
                <a:gd name="connsiteX15" fmla="*/ 1657636 w 1933289"/>
                <a:gd name="connsiteY15" fmla="*/ 1734122 h 2583465"/>
                <a:gd name="connsiteX16" fmla="*/ 1657636 w 1933289"/>
                <a:gd name="connsiteY16" fmla="*/ 138017 h 2583465"/>
                <a:gd name="connsiteX17" fmla="*/ 1795463 w 1933289"/>
                <a:gd name="connsiteY17" fmla="*/ 0 h 2583465"/>
                <a:gd name="connsiteX18" fmla="*/ 1933290 w 1933289"/>
                <a:gd name="connsiteY18" fmla="*/ 138017 h 25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3289" h="2583465">
                  <a:moveTo>
                    <a:pt x="1933290" y="138017"/>
                  </a:moveTo>
                  <a:lnTo>
                    <a:pt x="1933290" y="1734122"/>
                  </a:lnTo>
                  <a:cubicBezTo>
                    <a:pt x="1933290" y="1870996"/>
                    <a:pt x="1919002" y="2071211"/>
                    <a:pt x="1796606" y="2229136"/>
                  </a:cubicBezTo>
                  <a:cubicBezTo>
                    <a:pt x="1634395" y="2438305"/>
                    <a:pt x="1432084" y="2578703"/>
                    <a:pt x="977742" y="2583466"/>
                  </a:cubicBezTo>
                  <a:lnTo>
                    <a:pt x="955357" y="2583466"/>
                  </a:lnTo>
                  <a:cubicBezTo>
                    <a:pt x="501015" y="2578703"/>
                    <a:pt x="298704" y="2438400"/>
                    <a:pt x="136589" y="2229136"/>
                  </a:cubicBezTo>
                  <a:cubicBezTo>
                    <a:pt x="14192" y="2071211"/>
                    <a:pt x="0" y="1870996"/>
                    <a:pt x="0" y="1734122"/>
                  </a:cubicBezTo>
                  <a:lnTo>
                    <a:pt x="0" y="794194"/>
                  </a:lnTo>
                  <a:cubicBezTo>
                    <a:pt x="0" y="718185"/>
                    <a:pt x="61436" y="656273"/>
                    <a:pt x="137827" y="656273"/>
                  </a:cubicBezTo>
                  <a:cubicBezTo>
                    <a:pt x="214217" y="656273"/>
                    <a:pt x="275463" y="718185"/>
                    <a:pt x="275463" y="794194"/>
                  </a:cubicBezTo>
                  <a:lnTo>
                    <a:pt x="275463" y="1734122"/>
                  </a:lnTo>
                  <a:cubicBezTo>
                    <a:pt x="275463" y="1887188"/>
                    <a:pt x="300324" y="1990630"/>
                    <a:pt x="354235" y="2059686"/>
                  </a:cubicBezTo>
                  <a:cubicBezTo>
                    <a:pt x="476250" y="2217611"/>
                    <a:pt x="609791" y="2304479"/>
                    <a:pt x="958215" y="2307527"/>
                  </a:cubicBezTo>
                  <a:lnTo>
                    <a:pt x="974789" y="2307527"/>
                  </a:lnTo>
                  <a:cubicBezTo>
                    <a:pt x="1323499" y="2304479"/>
                    <a:pt x="1456563" y="2217611"/>
                    <a:pt x="1578959" y="2059686"/>
                  </a:cubicBezTo>
                  <a:cubicBezTo>
                    <a:pt x="1632490" y="1990630"/>
                    <a:pt x="1657636" y="1887093"/>
                    <a:pt x="1657636" y="1734122"/>
                  </a:cubicBezTo>
                  <a:lnTo>
                    <a:pt x="1657636" y="138017"/>
                  </a:lnTo>
                  <a:cubicBezTo>
                    <a:pt x="1657636" y="61531"/>
                    <a:pt x="1719453" y="0"/>
                    <a:pt x="1795463" y="0"/>
                  </a:cubicBezTo>
                  <a:cubicBezTo>
                    <a:pt x="1871472" y="0"/>
                    <a:pt x="1933290" y="61531"/>
                    <a:pt x="1933290" y="138017"/>
                  </a:cubicBezTo>
                </a:path>
              </a:pathLst>
            </a:custGeom>
            <a:solidFill>
              <a:srgbClr val="49306E"/>
            </a:solidFill>
            <a:ln w="9525" cap="flat">
              <a:noFill/>
              <a:prstDash val="solid"/>
              <a:miter/>
            </a:ln>
          </p:spPr>
          <p:txBody>
            <a:bodyPr rtlCol="0" anchor="ctr"/>
            <a:lstStyle/>
            <a:p>
              <a:endParaRPr lang="pt-BR" noProof="0"/>
            </a:p>
          </p:txBody>
        </p:sp>
      </p:grpSp>
      <p:sp>
        <p:nvSpPr>
          <p:cNvPr id="5" name="Rectangle 3">
            <a:extLst>
              <a:ext uri="{FF2B5EF4-FFF2-40B4-BE49-F238E27FC236}">
                <a16:creationId xmlns:a16="http://schemas.microsoft.com/office/drawing/2014/main" id="{67105308-37AB-0445-CBEC-8C024CC166A7}"/>
              </a:ext>
            </a:extLst>
          </p:cNvPr>
          <p:cNvSpPr>
            <a:spLocks noChangeArrowheads="1"/>
          </p:cNvSpPr>
          <p:nvPr/>
        </p:nvSpPr>
        <p:spPr bwMode="auto">
          <a:xfrm>
            <a:off x="428153" y="692497"/>
            <a:ext cx="264816" cy="2862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p:txBody>
      </p:sp>
      <p:sp>
        <p:nvSpPr>
          <p:cNvPr id="8" name="CaixaDeTexto 7">
            <a:extLst>
              <a:ext uri="{FF2B5EF4-FFF2-40B4-BE49-F238E27FC236}">
                <a16:creationId xmlns:a16="http://schemas.microsoft.com/office/drawing/2014/main" id="{DCEAF5D1-4804-2DF1-1C38-0481F7EEA6D0}"/>
              </a:ext>
            </a:extLst>
          </p:cNvPr>
          <p:cNvSpPr txBox="1"/>
          <p:nvPr/>
        </p:nvSpPr>
        <p:spPr>
          <a:xfrm>
            <a:off x="2519500" y="361172"/>
            <a:ext cx="3542143" cy="461665"/>
          </a:xfrm>
          <a:prstGeom prst="rect">
            <a:avLst/>
          </a:prstGeom>
          <a:noFill/>
        </p:spPr>
        <p:txBody>
          <a:bodyPr wrap="square" rtlCol="0">
            <a:spAutoFit/>
          </a:bodyPr>
          <a:lstStyle/>
          <a:p>
            <a:r>
              <a:rPr lang="pt-BR" sz="2400" b="1" noProof="0"/>
              <a:t>CASO 1- ADULTO</a:t>
            </a:r>
          </a:p>
        </p:txBody>
      </p:sp>
      <p:sp>
        <p:nvSpPr>
          <p:cNvPr id="1028" name="Seta: para Baixo 1027">
            <a:extLst>
              <a:ext uri="{FF2B5EF4-FFF2-40B4-BE49-F238E27FC236}">
                <a16:creationId xmlns:a16="http://schemas.microsoft.com/office/drawing/2014/main" id="{332F1A2F-2CA7-AB51-316C-4BBF2006F1A3}"/>
              </a:ext>
            </a:extLst>
          </p:cNvPr>
          <p:cNvSpPr/>
          <p:nvPr/>
        </p:nvSpPr>
        <p:spPr>
          <a:xfrm>
            <a:off x="8478842" y="2502689"/>
            <a:ext cx="457200" cy="542417"/>
          </a:xfrm>
          <a:prstGeom prst="downArrow">
            <a:avLst/>
          </a:prstGeom>
          <a:solidFill>
            <a:srgbClr val="D9D9D9"/>
          </a:solidFill>
          <a:ln w="19050">
            <a:solidFill>
              <a:srgbClr val="7F3D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lgn="just">
              <a:buFont typeface="Arial" panose="020B0604020202020204" pitchFamily="34" charset="0"/>
              <a:buChar char="•"/>
            </a:pPr>
            <a:endParaRPr lang="pt-BR" sz="1800" noProof="0"/>
          </a:p>
        </p:txBody>
      </p:sp>
      <p:sp>
        <p:nvSpPr>
          <p:cNvPr id="1029" name="CaixaDeTexto 1028">
            <a:extLst>
              <a:ext uri="{FF2B5EF4-FFF2-40B4-BE49-F238E27FC236}">
                <a16:creationId xmlns:a16="http://schemas.microsoft.com/office/drawing/2014/main" id="{95BBBDD3-4424-D695-4B95-F7C2DA5B56D8}"/>
              </a:ext>
            </a:extLst>
          </p:cNvPr>
          <p:cNvSpPr txBox="1"/>
          <p:nvPr/>
        </p:nvSpPr>
        <p:spPr>
          <a:xfrm>
            <a:off x="5957515" y="1714956"/>
            <a:ext cx="6142017" cy="400110"/>
          </a:xfrm>
          <a:prstGeom prst="rect">
            <a:avLst/>
          </a:prstGeom>
          <a:noFill/>
        </p:spPr>
        <p:txBody>
          <a:bodyPr wrap="square" rtlCol="0">
            <a:spAutoFit/>
          </a:bodyPr>
          <a:lstStyle/>
          <a:p>
            <a:pPr algn="ctr"/>
            <a:r>
              <a:rPr lang="pt-BR" sz="2000" dirty="0">
                <a:solidFill>
                  <a:srgbClr val="1C1C1C"/>
                </a:solidFill>
              </a:rPr>
              <a:t>Admitido na UTI há 2 dias devido à AVC hemorrágico</a:t>
            </a:r>
          </a:p>
        </p:txBody>
      </p:sp>
      <p:sp>
        <p:nvSpPr>
          <p:cNvPr id="1030" name="CaixaDeTexto 1029">
            <a:extLst>
              <a:ext uri="{FF2B5EF4-FFF2-40B4-BE49-F238E27FC236}">
                <a16:creationId xmlns:a16="http://schemas.microsoft.com/office/drawing/2014/main" id="{53EA8EA1-81A8-B737-460C-25AF55232870}"/>
              </a:ext>
            </a:extLst>
          </p:cNvPr>
          <p:cNvSpPr txBox="1"/>
          <p:nvPr/>
        </p:nvSpPr>
        <p:spPr>
          <a:xfrm>
            <a:off x="4860318" y="3229374"/>
            <a:ext cx="7067726" cy="2862322"/>
          </a:xfrm>
          <a:prstGeom prst="rect">
            <a:avLst/>
          </a:prstGeom>
          <a:noFill/>
        </p:spPr>
        <p:txBody>
          <a:bodyPr wrap="square" rtlCol="0">
            <a:spAutoFit/>
          </a:bodyPr>
          <a:lstStyle/>
          <a:p>
            <a:pPr algn="ctr"/>
            <a:endParaRPr lang="pt-BR" sz="2000" dirty="0">
              <a:solidFill>
                <a:srgbClr val="1C1C1C"/>
              </a:solidFill>
            </a:endParaRPr>
          </a:p>
          <a:p>
            <a:pPr marL="342900" indent="-342900" algn="just">
              <a:buFont typeface="Arial" panose="020B0604020202020204" pitchFamily="34" charset="0"/>
              <a:buChar char="•"/>
            </a:pPr>
            <a:r>
              <a:rPr lang="pt-BR" sz="2000" dirty="0">
                <a:solidFill>
                  <a:srgbClr val="1C1C1C"/>
                </a:solidFill>
              </a:rPr>
              <a:t>Na admissão, realizado: </a:t>
            </a:r>
          </a:p>
          <a:p>
            <a:pPr algn="just"/>
            <a:endParaRPr lang="pt-BR" sz="2000" dirty="0">
              <a:solidFill>
                <a:srgbClr val="1C1C1C"/>
              </a:solidFill>
            </a:endParaRPr>
          </a:p>
          <a:p>
            <a:pPr marL="800100" lvl="1" indent="-342900" algn="just">
              <a:buFont typeface="Arial" panose="020B0604020202020204" pitchFamily="34" charset="0"/>
              <a:buChar char="•"/>
            </a:pPr>
            <a:r>
              <a:rPr lang="pt-BR" sz="2000" dirty="0">
                <a:solidFill>
                  <a:srgbClr val="1C1C1C"/>
                </a:solidFill>
              </a:rPr>
              <a:t>IOT/VM devido à rebaixamento do nível de consciência</a:t>
            </a:r>
          </a:p>
          <a:p>
            <a:pPr marL="800100" lvl="1" indent="-342900" algn="just">
              <a:buFont typeface="Arial" panose="020B0604020202020204" pitchFamily="34" charset="0"/>
              <a:buChar char="•"/>
            </a:pPr>
            <a:endParaRPr lang="pt-BR" sz="2000" dirty="0">
              <a:solidFill>
                <a:srgbClr val="1C1C1C"/>
              </a:solidFill>
            </a:endParaRPr>
          </a:p>
          <a:p>
            <a:pPr marL="800100" lvl="1" indent="-342900" algn="just">
              <a:buFont typeface="Arial" panose="020B0604020202020204" pitchFamily="34" charset="0"/>
              <a:buChar char="•"/>
            </a:pPr>
            <a:r>
              <a:rPr lang="pt-BR" sz="2000" dirty="0">
                <a:solidFill>
                  <a:srgbClr val="1C1C1C"/>
                </a:solidFill>
              </a:rPr>
              <a:t>Cateter venoso central para uso de drogas vasoativas</a:t>
            </a:r>
          </a:p>
          <a:p>
            <a:pPr marL="800100" lvl="1" indent="-342900" algn="just">
              <a:buFont typeface="Arial" panose="020B0604020202020204" pitchFamily="34" charset="0"/>
              <a:buChar char="•"/>
            </a:pPr>
            <a:endParaRPr lang="pt-BR" sz="2000" dirty="0">
              <a:solidFill>
                <a:srgbClr val="1C1C1C"/>
              </a:solidFill>
            </a:endParaRPr>
          </a:p>
          <a:p>
            <a:pPr marL="800100" lvl="1" indent="-342900" algn="just">
              <a:buFont typeface="Arial" panose="020B0604020202020204" pitchFamily="34" charset="0"/>
              <a:buChar char="•"/>
            </a:pPr>
            <a:r>
              <a:rPr lang="pt-BR" sz="2000" dirty="0">
                <a:solidFill>
                  <a:srgbClr val="1C1C1C"/>
                </a:solidFill>
              </a:rPr>
              <a:t>Cateter vesical para monitorização de débito urinário</a:t>
            </a:r>
          </a:p>
          <a:p>
            <a:pPr algn="ctr"/>
            <a:endParaRPr lang="pt-BR" sz="2000" dirty="0">
              <a:solidFill>
                <a:srgbClr val="1C1C1C"/>
              </a:solidFill>
            </a:endParaRPr>
          </a:p>
        </p:txBody>
      </p:sp>
      <p:sp>
        <p:nvSpPr>
          <p:cNvPr id="1032" name="Seta: para Baixo 1031">
            <a:extLst>
              <a:ext uri="{FF2B5EF4-FFF2-40B4-BE49-F238E27FC236}">
                <a16:creationId xmlns:a16="http://schemas.microsoft.com/office/drawing/2014/main" id="{61D44C8C-B065-767F-4BEA-284A9220DC6F}"/>
              </a:ext>
            </a:extLst>
          </p:cNvPr>
          <p:cNvSpPr/>
          <p:nvPr/>
        </p:nvSpPr>
        <p:spPr>
          <a:xfrm rot="16200000">
            <a:off x="4944979" y="1697657"/>
            <a:ext cx="457200" cy="542417"/>
          </a:xfrm>
          <a:prstGeom prst="downArrow">
            <a:avLst/>
          </a:prstGeom>
          <a:solidFill>
            <a:srgbClr val="D9D9D9"/>
          </a:solidFill>
          <a:ln w="19050">
            <a:solidFill>
              <a:srgbClr val="7F3D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lgn="just">
              <a:buFont typeface="Arial" panose="020B0604020202020204" pitchFamily="34" charset="0"/>
              <a:buChar char="•"/>
            </a:pPr>
            <a:endParaRPr lang="pt-BR" sz="1800" noProof="0"/>
          </a:p>
        </p:txBody>
      </p:sp>
      <p:sp>
        <p:nvSpPr>
          <p:cNvPr id="1033" name="Seta: para Baixo 1032">
            <a:extLst>
              <a:ext uri="{FF2B5EF4-FFF2-40B4-BE49-F238E27FC236}">
                <a16:creationId xmlns:a16="http://schemas.microsoft.com/office/drawing/2014/main" id="{14B82FBD-8CAA-E0A4-25E1-EFBAC1B8042C}"/>
              </a:ext>
            </a:extLst>
          </p:cNvPr>
          <p:cNvSpPr/>
          <p:nvPr/>
        </p:nvSpPr>
        <p:spPr>
          <a:xfrm rot="16200000">
            <a:off x="10922378" y="5957735"/>
            <a:ext cx="457200" cy="542417"/>
          </a:xfrm>
          <a:prstGeom prst="downArrow">
            <a:avLst/>
          </a:prstGeom>
          <a:solidFill>
            <a:srgbClr val="D9D9D9"/>
          </a:solidFill>
          <a:ln w="19050">
            <a:solidFill>
              <a:srgbClr val="7F3D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lgn="just">
              <a:buFont typeface="Arial" panose="020B0604020202020204" pitchFamily="34" charset="0"/>
              <a:buChar char="•"/>
            </a:pPr>
            <a:endParaRPr lang="pt-BR" sz="1800" noProof="0"/>
          </a:p>
        </p:txBody>
      </p:sp>
      <p:grpSp>
        <p:nvGrpSpPr>
          <p:cNvPr id="2" name="Agrupar 1">
            <a:extLst>
              <a:ext uri="{FF2B5EF4-FFF2-40B4-BE49-F238E27FC236}">
                <a16:creationId xmlns:a16="http://schemas.microsoft.com/office/drawing/2014/main" id="{083452F4-62D6-6E87-232D-BE60CC03F425}"/>
              </a:ext>
            </a:extLst>
          </p:cNvPr>
          <p:cNvGrpSpPr/>
          <p:nvPr/>
        </p:nvGrpSpPr>
        <p:grpSpPr>
          <a:xfrm>
            <a:off x="263956" y="1714751"/>
            <a:ext cx="4125687" cy="4093029"/>
            <a:chOff x="337456" y="1523999"/>
            <a:chExt cx="4125687" cy="4093029"/>
          </a:xfrm>
        </p:grpSpPr>
        <p:sp>
          <p:nvSpPr>
            <p:cNvPr id="6" name="Retângulo 5">
              <a:extLst>
                <a:ext uri="{FF2B5EF4-FFF2-40B4-BE49-F238E27FC236}">
                  <a16:creationId xmlns:a16="http://schemas.microsoft.com/office/drawing/2014/main" id="{1CD5A216-1089-86C6-7442-68370D9E2E5C}"/>
                </a:ext>
              </a:extLst>
            </p:cNvPr>
            <p:cNvSpPr/>
            <p:nvPr/>
          </p:nvSpPr>
          <p:spPr>
            <a:xfrm>
              <a:off x="337456" y="1523999"/>
              <a:ext cx="4125687" cy="4093029"/>
            </a:xfrm>
            <a:prstGeom prst="rect">
              <a:avLst/>
            </a:prstGeom>
            <a:solidFill>
              <a:srgbClr val="D9D9D9"/>
            </a:solidFill>
            <a:ln>
              <a:solidFill>
                <a:srgbClr val="8EC6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7" name="Imagem 6">
              <a:extLst>
                <a:ext uri="{FF2B5EF4-FFF2-40B4-BE49-F238E27FC236}">
                  <a16:creationId xmlns:a16="http://schemas.microsoft.com/office/drawing/2014/main" id="{4E96AB7F-E121-A037-3811-1C1F8A70A65C}"/>
                </a:ext>
              </a:extLst>
            </p:cNvPr>
            <p:cNvPicPr>
              <a:picLocks noChangeAspect="1"/>
            </p:cNvPicPr>
            <p:nvPr/>
          </p:nvPicPr>
          <p:blipFill rotWithShape="1">
            <a:blip r:embed="rId6"/>
            <a:srcRect l="35421" t="36101" r="55407" b="58556"/>
            <a:stretch/>
          </p:blipFill>
          <p:spPr>
            <a:xfrm>
              <a:off x="370106" y="3434191"/>
              <a:ext cx="1230094" cy="403020"/>
            </a:xfrm>
            <a:prstGeom prst="rect">
              <a:avLst/>
            </a:prstGeom>
          </p:spPr>
        </p:pic>
        <p:pic>
          <p:nvPicPr>
            <p:cNvPr id="9" name="Imagem 8">
              <a:extLst>
                <a:ext uri="{FF2B5EF4-FFF2-40B4-BE49-F238E27FC236}">
                  <a16:creationId xmlns:a16="http://schemas.microsoft.com/office/drawing/2014/main" id="{1B11D29A-B839-3C30-26AE-D9E93812BE99}"/>
                </a:ext>
              </a:extLst>
            </p:cNvPr>
            <p:cNvPicPr>
              <a:picLocks noChangeAspect="1"/>
            </p:cNvPicPr>
            <p:nvPr/>
          </p:nvPicPr>
          <p:blipFill rotWithShape="1">
            <a:blip r:embed="rId6"/>
            <a:srcRect l="36355" t="52793" r="55407" b="44992"/>
            <a:stretch/>
          </p:blipFill>
          <p:spPr>
            <a:xfrm>
              <a:off x="1864175" y="3686453"/>
              <a:ext cx="1104899" cy="167082"/>
            </a:xfrm>
            <a:prstGeom prst="rect">
              <a:avLst/>
            </a:prstGeom>
          </p:spPr>
        </p:pic>
        <p:pic>
          <p:nvPicPr>
            <p:cNvPr id="11" name="Imagem 10">
              <a:extLst>
                <a:ext uri="{FF2B5EF4-FFF2-40B4-BE49-F238E27FC236}">
                  <a16:creationId xmlns:a16="http://schemas.microsoft.com/office/drawing/2014/main" id="{0506C859-ED02-2CC1-7CD0-F8287E1613C5}"/>
                </a:ext>
              </a:extLst>
            </p:cNvPr>
            <p:cNvPicPr>
              <a:picLocks noChangeAspect="1"/>
            </p:cNvPicPr>
            <p:nvPr/>
          </p:nvPicPr>
          <p:blipFill rotWithShape="1">
            <a:blip r:embed="rId6"/>
            <a:srcRect l="36355" t="55008" r="55407" b="32871"/>
            <a:stretch/>
          </p:blipFill>
          <p:spPr>
            <a:xfrm>
              <a:off x="3257545" y="2911925"/>
              <a:ext cx="1104899" cy="914400"/>
            </a:xfrm>
            <a:prstGeom prst="rect">
              <a:avLst/>
            </a:prstGeom>
          </p:spPr>
        </p:pic>
        <p:pic>
          <p:nvPicPr>
            <p:cNvPr id="15" name="Imagem 14">
              <a:extLst>
                <a:ext uri="{FF2B5EF4-FFF2-40B4-BE49-F238E27FC236}">
                  <a16:creationId xmlns:a16="http://schemas.microsoft.com/office/drawing/2014/main" id="{48A998D4-FD27-8112-9AED-89C84C42B136}"/>
                </a:ext>
              </a:extLst>
            </p:cNvPr>
            <p:cNvPicPr>
              <a:picLocks noChangeAspect="1"/>
            </p:cNvPicPr>
            <p:nvPr/>
          </p:nvPicPr>
          <p:blipFill rotWithShape="1">
            <a:blip r:embed="rId6"/>
            <a:srcRect l="35462" t="14604" r="55407" b="67719"/>
            <a:stretch/>
          </p:blipFill>
          <p:spPr>
            <a:xfrm>
              <a:off x="1768928" y="1589309"/>
              <a:ext cx="1224642" cy="1333502"/>
            </a:xfrm>
            <a:prstGeom prst="rect">
              <a:avLst/>
            </a:prstGeom>
          </p:spPr>
        </p:pic>
        <p:pic>
          <p:nvPicPr>
            <p:cNvPr id="59" name="Imagem 58">
              <a:extLst>
                <a:ext uri="{FF2B5EF4-FFF2-40B4-BE49-F238E27FC236}">
                  <a16:creationId xmlns:a16="http://schemas.microsoft.com/office/drawing/2014/main" id="{6325EAC5-E4E1-B79E-30D1-A6DF597925E6}"/>
                </a:ext>
              </a:extLst>
            </p:cNvPr>
            <p:cNvPicPr>
              <a:picLocks noChangeAspect="1"/>
            </p:cNvPicPr>
            <p:nvPr/>
          </p:nvPicPr>
          <p:blipFill rotWithShape="1">
            <a:blip r:embed="rId6"/>
            <a:srcRect l="36355" t="41444" r="55407" b="49302"/>
            <a:stretch/>
          </p:blipFill>
          <p:spPr>
            <a:xfrm>
              <a:off x="1864175" y="2928251"/>
              <a:ext cx="1104899" cy="698138"/>
            </a:xfrm>
            <a:prstGeom prst="rect">
              <a:avLst/>
            </a:prstGeom>
          </p:spPr>
        </p:pic>
      </p:grpSp>
      <p:sp>
        <p:nvSpPr>
          <p:cNvPr id="60" name="CaixaDeTexto 59">
            <a:extLst>
              <a:ext uri="{FF2B5EF4-FFF2-40B4-BE49-F238E27FC236}">
                <a16:creationId xmlns:a16="http://schemas.microsoft.com/office/drawing/2014/main" id="{375AAE0C-BE93-1E8B-ABFA-CED52A47B95C}"/>
              </a:ext>
            </a:extLst>
          </p:cNvPr>
          <p:cNvSpPr txBox="1"/>
          <p:nvPr/>
        </p:nvSpPr>
        <p:spPr>
          <a:xfrm>
            <a:off x="416358" y="4205458"/>
            <a:ext cx="3777338" cy="1323439"/>
          </a:xfrm>
          <a:prstGeom prst="rect">
            <a:avLst/>
          </a:prstGeom>
          <a:noFill/>
        </p:spPr>
        <p:txBody>
          <a:bodyPr wrap="square" rtlCol="0">
            <a:spAutoFit/>
          </a:bodyPr>
          <a:lstStyle/>
          <a:p>
            <a:pPr algn="ctr"/>
            <a:r>
              <a:rPr lang="pt-BR" sz="2000" b="1" i="1">
                <a:solidFill>
                  <a:srgbClr val="1C1C1C"/>
                </a:solidFill>
              </a:rPr>
              <a:t>Status</a:t>
            </a:r>
          </a:p>
          <a:p>
            <a:pPr algn="ctr"/>
            <a:endParaRPr lang="pt-BR" sz="2000" b="1" i="1">
              <a:solidFill>
                <a:srgbClr val="1C1C1C"/>
              </a:solidFill>
            </a:endParaRPr>
          </a:p>
          <a:p>
            <a:pPr algn="ctr"/>
            <a:r>
              <a:rPr lang="pt-BR" sz="2000">
                <a:solidFill>
                  <a:srgbClr val="1C1C1C"/>
                </a:solidFill>
              </a:rPr>
              <a:t>HAS e DM prévio não tratados. Tabagismo importante. </a:t>
            </a:r>
          </a:p>
        </p:txBody>
      </p:sp>
    </p:spTree>
    <p:extLst>
      <p:ext uri="{BB962C8B-B14F-4D97-AF65-F5344CB8AC3E}">
        <p14:creationId xmlns:p14="http://schemas.microsoft.com/office/powerpoint/2010/main" val="34773658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2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03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2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8" grpId="0" animBg="1"/>
      <p:bldP spid="1029" grpId="0"/>
      <p:bldP spid="1030" grpId="0"/>
      <p:bldP spid="1032" grpId="0" animBg="1"/>
      <p:bldP spid="103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675AB3-7DBC-D757-59F7-204C78BF2732}"/>
            </a:ext>
          </a:extLst>
        </p:cNvPr>
        <p:cNvGrpSpPr/>
        <p:nvPr/>
      </p:nvGrpSpPr>
      <p:grpSpPr>
        <a:xfrm>
          <a:off x="0" y="0"/>
          <a:ext cx="0" cy="0"/>
          <a:chOff x="0" y="0"/>
          <a:chExt cx="0" cy="0"/>
        </a:xfrm>
      </p:grpSpPr>
      <p:pic>
        <p:nvPicPr>
          <p:cNvPr id="4" name="Imagem 3">
            <a:extLst>
              <a:ext uri="{FF2B5EF4-FFF2-40B4-BE49-F238E27FC236}">
                <a16:creationId xmlns:a16="http://schemas.microsoft.com/office/drawing/2014/main" id="{38C45B24-5EE4-218F-75C7-D9EFA6E772DF}"/>
              </a:ext>
            </a:extLst>
          </p:cNvPr>
          <p:cNvPicPr>
            <a:picLocks noChangeAspect="1"/>
          </p:cNvPicPr>
          <p:nvPr/>
        </p:nvPicPr>
        <p:blipFill rotWithShape="1">
          <a:blip r:embed="rId4"/>
          <a:srcRect l="1" t="20620" r="1245" b="20011"/>
          <a:stretch/>
        </p:blipFill>
        <p:spPr>
          <a:xfrm>
            <a:off x="2321596" y="482985"/>
            <a:ext cx="8237677" cy="5433160"/>
          </a:xfrm>
          <a:prstGeom prst="rect">
            <a:avLst/>
          </a:prstGeom>
        </p:spPr>
      </p:pic>
      <p:graphicFrame>
        <p:nvGraphicFramePr>
          <p:cNvPr id="12" name="think-cell data - do not delete" hidden="1">
            <a:extLst>
              <a:ext uri="{FF2B5EF4-FFF2-40B4-BE49-F238E27FC236}">
                <a16:creationId xmlns:a16="http://schemas.microsoft.com/office/drawing/2014/main" id="{992F21D9-5D03-CD1A-A864-19CF2D86BC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8" progId="TCLayout.ActiveDocument.1">
                  <p:embed/>
                </p:oleObj>
              </mc:Choice>
              <mc:Fallback>
                <p:oleObj name="think-cell Slide" r:id="rId5" imgW="306" imgH="308" progId="TCLayout.ActiveDocument.1">
                  <p:embed/>
                  <p:pic>
                    <p:nvPicPr>
                      <p:cNvPr id="12" name="think-cell data - do not delete" hidden="1">
                        <a:extLst>
                          <a:ext uri="{FF2B5EF4-FFF2-40B4-BE49-F238E27FC236}">
                            <a16:creationId xmlns:a16="http://schemas.microsoft.com/office/drawing/2014/main" id="{992F21D9-5D03-CD1A-A864-19CF2D86BC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3" name="Group 12">
            <a:extLst>
              <a:ext uri="{FF2B5EF4-FFF2-40B4-BE49-F238E27FC236}">
                <a16:creationId xmlns:a16="http://schemas.microsoft.com/office/drawing/2014/main" id="{FE3EF56E-1AB6-D0A8-C7A8-0FA0A5484432}"/>
              </a:ext>
            </a:extLst>
          </p:cNvPr>
          <p:cNvGrpSpPr/>
          <p:nvPr/>
        </p:nvGrpSpPr>
        <p:grpSpPr>
          <a:xfrm>
            <a:off x="304800" y="249455"/>
            <a:ext cx="1193800" cy="462985"/>
            <a:chOff x="5245100" y="211355"/>
            <a:chExt cx="2036664" cy="789869"/>
          </a:xfrm>
        </p:grpSpPr>
        <p:sp>
          <p:nvSpPr>
            <p:cNvPr id="14" name="Freeform: Shape 13">
              <a:extLst>
                <a:ext uri="{FF2B5EF4-FFF2-40B4-BE49-F238E27FC236}">
                  <a16:creationId xmlns:a16="http://schemas.microsoft.com/office/drawing/2014/main" id="{996F5311-0687-66F1-D24F-E59613BED781}"/>
                </a:ext>
              </a:extLst>
            </p:cNvPr>
            <p:cNvSpPr/>
            <p:nvPr/>
          </p:nvSpPr>
          <p:spPr>
            <a:xfrm>
              <a:off x="5245100" y="308520"/>
              <a:ext cx="247894" cy="322815"/>
            </a:xfrm>
            <a:custGeom>
              <a:avLst/>
              <a:gdLst>
                <a:gd name="connsiteX0" fmla="*/ 529590 w 986123"/>
                <a:gd name="connsiteY0" fmla="*/ 1284160 h 1284160"/>
                <a:gd name="connsiteX1" fmla="*/ 249650 w 986123"/>
                <a:gd name="connsiteY1" fmla="*/ 1235107 h 1284160"/>
                <a:gd name="connsiteX2" fmla="*/ 0 w 986123"/>
                <a:gd name="connsiteY2" fmla="*/ 1084421 h 1284160"/>
                <a:gd name="connsiteX3" fmla="*/ 162306 w 986123"/>
                <a:gd name="connsiteY3" fmla="*/ 890016 h 1284160"/>
                <a:gd name="connsiteX4" fmla="*/ 337947 w 986123"/>
                <a:gd name="connsiteY4" fmla="*/ 1000601 h 1284160"/>
                <a:gd name="connsiteX5" fmla="*/ 535019 w 986123"/>
                <a:gd name="connsiteY5" fmla="*/ 1041654 h 1284160"/>
                <a:gd name="connsiteX6" fmla="*/ 667893 w 986123"/>
                <a:gd name="connsiteY6" fmla="*/ 1010412 h 1284160"/>
                <a:gd name="connsiteX7" fmla="*/ 715137 w 986123"/>
                <a:gd name="connsiteY7" fmla="*/ 923925 h 1284160"/>
                <a:gd name="connsiteX8" fmla="*/ 715137 w 986123"/>
                <a:gd name="connsiteY8" fmla="*/ 920305 h 1284160"/>
                <a:gd name="connsiteX9" fmla="*/ 705326 w 986123"/>
                <a:gd name="connsiteY9" fmla="*/ 873062 h 1284160"/>
                <a:gd name="connsiteX10" fmla="*/ 667798 w 986123"/>
                <a:gd name="connsiteY10" fmla="*/ 834676 h 1284160"/>
                <a:gd name="connsiteX11" fmla="*/ 590931 w 986123"/>
                <a:gd name="connsiteY11" fmla="*/ 798957 h 1284160"/>
                <a:gd name="connsiteX12" fmla="*/ 463106 w 986123"/>
                <a:gd name="connsiteY12" fmla="*/ 761524 h 1284160"/>
                <a:gd name="connsiteX13" fmla="*/ 291465 w 986123"/>
                <a:gd name="connsiteY13" fmla="*/ 709803 h 1284160"/>
                <a:gd name="connsiteX14" fmla="*/ 160973 w 986123"/>
                <a:gd name="connsiteY14" fmla="*/ 639318 h 1284160"/>
                <a:gd name="connsiteX15" fmla="*/ 77819 w 986123"/>
                <a:gd name="connsiteY15" fmla="*/ 535019 h 1284160"/>
                <a:gd name="connsiteX16" fmla="*/ 48292 w 986123"/>
                <a:gd name="connsiteY16" fmla="*/ 379857 h 1284160"/>
                <a:gd name="connsiteX17" fmla="*/ 48292 w 986123"/>
                <a:gd name="connsiteY17" fmla="*/ 376238 h 1284160"/>
                <a:gd name="connsiteX18" fmla="*/ 80201 w 986123"/>
                <a:gd name="connsiteY18" fmla="*/ 222028 h 1284160"/>
                <a:gd name="connsiteX19" fmla="*/ 169640 w 986123"/>
                <a:gd name="connsiteY19" fmla="*/ 103441 h 1284160"/>
                <a:gd name="connsiteX20" fmla="*/ 307181 w 986123"/>
                <a:gd name="connsiteY20" fmla="*/ 26765 h 1284160"/>
                <a:gd name="connsiteX21" fmla="*/ 483394 w 986123"/>
                <a:gd name="connsiteY21" fmla="*/ 0 h 1284160"/>
                <a:gd name="connsiteX22" fmla="*/ 735711 w 986123"/>
                <a:gd name="connsiteY22" fmla="*/ 41053 h 1284160"/>
                <a:gd name="connsiteX23" fmla="*/ 946976 w 986123"/>
                <a:gd name="connsiteY23" fmla="*/ 158687 h 1284160"/>
                <a:gd name="connsiteX24" fmla="*/ 804291 w 986123"/>
                <a:gd name="connsiteY24" fmla="*/ 365569 h 1284160"/>
                <a:gd name="connsiteX25" fmla="*/ 640271 w 986123"/>
                <a:gd name="connsiteY25" fmla="*/ 275558 h 1284160"/>
                <a:gd name="connsiteX26" fmla="*/ 479774 w 986123"/>
                <a:gd name="connsiteY26" fmla="*/ 242602 h 1284160"/>
                <a:gd name="connsiteX27" fmla="*/ 359378 w 986123"/>
                <a:gd name="connsiteY27" fmla="*/ 273844 h 1284160"/>
                <a:gd name="connsiteX28" fmla="*/ 319278 w 986123"/>
                <a:gd name="connsiteY28" fmla="*/ 351377 h 1284160"/>
                <a:gd name="connsiteX29" fmla="*/ 319278 w 986123"/>
                <a:gd name="connsiteY29" fmla="*/ 354997 h 1284160"/>
                <a:gd name="connsiteX30" fmla="*/ 330899 w 986123"/>
                <a:gd name="connsiteY30" fmla="*/ 407575 h 1284160"/>
                <a:gd name="connsiteX31" fmla="*/ 372904 w 986123"/>
                <a:gd name="connsiteY31" fmla="*/ 447675 h 1284160"/>
                <a:gd name="connsiteX32" fmla="*/ 456057 w 986123"/>
                <a:gd name="connsiteY32" fmla="*/ 481489 h 1284160"/>
                <a:gd name="connsiteX33" fmla="*/ 589217 w 986123"/>
                <a:gd name="connsiteY33" fmla="*/ 518922 h 1284160"/>
                <a:gd name="connsiteX34" fmla="*/ 758190 w 986123"/>
                <a:gd name="connsiteY34" fmla="*/ 575120 h 1284160"/>
                <a:gd name="connsiteX35" fmla="*/ 883349 w 986123"/>
                <a:gd name="connsiteY35" fmla="*/ 649986 h 1284160"/>
                <a:gd name="connsiteX36" fmla="*/ 960215 w 986123"/>
                <a:gd name="connsiteY36" fmla="*/ 752570 h 1284160"/>
                <a:gd name="connsiteX37" fmla="*/ 986123 w 986123"/>
                <a:gd name="connsiteY37" fmla="*/ 893445 h 1284160"/>
                <a:gd name="connsiteX38" fmla="*/ 986123 w 986123"/>
                <a:gd name="connsiteY38" fmla="*/ 897064 h 1284160"/>
                <a:gd name="connsiteX39" fmla="*/ 952500 w 986123"/>
                <a:gd name="connsiteY39" fmla="*/ 1062038 h 1284160"/>
                <a:gd name="connsiteX40" fmla="*/ 858584 w 986123"/>
                <a:gd name="connsiteY40" fmla="*/ 1183291 h 1284160"/>
                <a:gd name="connsiteX41" fmla="*/ 714851 w 986123"/>
                <a:gd name="connsiteY41" fmla="*/ 1258157 h 1284160"/>
                <a:gd name="connsiteX42" fmla="*/ 529685 w 986123"/>
                <a:gd name="connsiteY42" fmla="*/ 1284065 h 128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6123" h="1284160">
                  <a:moveTo>
                    <a:pt x="529590" y="1284160"/>
                  </a:moveTo>
                  <a:cubicBezTo>
                    <a:pt x="434435" y="1284160"/>
                    <a:pt x="341186" y="1267777"/>
                    <a:pt x="249650" y="1235107"/>
                  </a:cubicBezTo>
                  <a:cubicBezTo>
                    <a:pt x="158115" y="1202436"/>
                    <a:pt x="74867" y="1152239"/>
                    <a:pt x="0" y="1084421"/>
                  </a:cubicBezTo>
                  <a:lnTo>
                    <a:pt x="162306" y="890016"/>
                  </a:lnTo>
                  <a:cubicBezTo>
                    <a:pt x="219361" y="936403"/>
                    <a:pt x="277844" y="973264"/>
                    <a:pt x="337947" y="1000601"/>
                  </a:cubicBezTo>
                  <a:cubicBezTo>
                    <a:pt x="397955" y="1027938"/>
                    <a:pt x="463677" y="1041654"/>
                    <a:pt x="535019" y="1041654"/>
                  </a:cubicBezTo>
                  <a:cubicBezTo>
                    <a:pt x="592074" y="1041654"/>
                    <a:pt x="636365" y="1031272"/>
                    <a:pt x="667893" y="1010412"/>
                  </a:cubicBezTo>
                  <a:cubicBezTo>
                    <a:pt x="699421" y="989647"/>
                    <a:pt x="715137" y="960787"/>
                    <a:pt x="715137" y="923925"/>
                  </a:cubicBezTo>
                  <a:lnTo>
                    <a:pt x="715137" y="920305"/>
                  </a:lnTo>
                  <a:cubicBezTo>
                    <a:pt x="715137" y="902494"/>
                    <a:pt x="711803" y="886777"/>
                    <a:pt x="705326" y="873062"/>
                  </a:cubicBezTo>
                  <a:cubicBezTo>
                    <a:pt x="698754" y="859441"/>
                    <a:pt x="686276" y="846582"/>
                    <a:pt x="667798" y="834676"/>
                  </a:cubicBezTo>
                  <a:cubicBezTo>
                    <a:pt x="649319" y="822770"/>
                    <a:pt x="623697" y="810863"/>
                    <a:pt x="590931" y="798957"/>
                  </a:cubicBezTo>
                  <a:cubicBezTo>
                    <a:pt x="558165" y="787146"/>
                    <a:pt x="515493" y="774573"/>
                    <a:pt x="463106" y="761524"/>
                  </a:cubicBezTo>
                  <a:cubicBezTo>
                    <a:pt x="399955" y="746093"/>
                    <a:pt x="342710" y="728853"/>
                    <a:pt x="291465" y="709803"/>
                  </a:cubicBezTo>
                  <a:cubicBezTo>
                    <a:pt x="240221" y="690753"/>
                    <a:pt x="196691" y="667322"/>
                    <a:pt x="160973" y="639318"/>
                  </a:cubicBezTo>
                  <a:cubicBezTo>
                    <a:pt x="125159" y="611410"/>
                    <a:pt x="97536" y="576644"/>
                    <a:pt x="77819" y="535019"/>
                  </a:cubicBezTo>
                  <a:cubicBezTo>
                    <a:pt x="58103" y="493395"/>
                    <a:pt x="48292" y="441674"/>
                    <a:pt x="48292" y="379857"/>
                  </a:cubicBezTo>
                  <a:lnTo>
                    <a:pt x="48292" y="376238"/>
                  </a:lnTo>
                  <a:cubicBezTo>
                    <a:pt x="48292" y="319183"/>
                    <a:pt x="58865" y="267748"/>
                    <a:pt x="80201" y="222028"/>
                  </a:cubicBezTo>
                  <a:cubicBezTo>
                    <a:pt x="101441" y="176308"/>
                    <a:pt x="131255" y="136779"/>
                    <a:pt x="169640" y="103441"/>
                  </a:cubicBezTo>
                  <a:cubicBezTo>
                    <a:pt x="208026" y="70199"/>
                    <a:pt x="253841" y="44577"/>
                    <a:pt x="307181" y="26765"/>
                  </a:cubicBezTo>
                  <a:cubicBezTo>
                    <a:pt x="360426" y="8953"/>
                    <a:pt x="419195" y="0"/>
                    <a:pt x="483394" y="0"/>
                  </a:cubicBezTo>
                  <a:cubicBezTo>
                    <a:pt x="574929" y="0"/>
                    <a:pt x="659035" y="13716"/>
                    <a:pt x="735711" y="41053"/>
                  </a:cubicBezTo>
                  <a:cubicBezTo>
                    <a:pt x="812387" y="68389"/>
                    <a:pt x="882777" y="107632"/>
                    <a:pt x="946976" y="158687"/>
                  </a:cubicBezTo>
                  <a:lnTo>
                    <a:pt x="804291" y="365569"/>
                  </a:lnTo>
                  <a:cubicBezTo>
                    <a:pt x="748379" y="327565"/>
                    <a:pt x="693706" y="297561"/>
                    <a:pt x="640271" y="275558"/>
                  </a:cubicBezTo>
                  <a:cubicBezTo>
                    <a:pt x="586740" y="253555"/>
                    <a:pt x="533305" y="242602"/>
                    <a:pt x="479774" y="242602"/>
                  </a:cubicBezTo>
                  <a:cubicBezTo>
                    <a:pt x="426244" y="242602"/>
                    <a:pt x="386144" y="252984"/>
                    <a:pt x="359378" y="273844"/>
                  </a:cubicBezTo>
                  <a:cubicBezTo>
                    <a:pt x="332613" y="294608"/>
                    <a:pt x="319278" y="320516"/>
                    <a:pt x="319278" y="351377"/>
                  </a:cubicBezTo>
                  <a:lnTo>
                    <a:pt x="319278" y="354997"/>
                  </a:lnTo>
                  <a:cubicBezTo>
                    <a:pt x="319278" y="375190"/>
                    <a:pt x="323183" y="392716"/>
                    <a:pt x="330899" y="407575"/>
                  </a:cubicBezTo>
                  <a:cubicBezTo>
                    <a:pt x="338614" y="422434"/>
                    <a:pt x="352616" y="435864"/>
                    <a:pt x="372904" y="447675"/>
                  </a:cubicBezTo>
                  <a:cubicBezTo>
                    <a:pt x="393192" y="459581"/>
                    <a:pt x="420910" y="470821"/>
                    <a:pt x="456057" y="481489"/>
                  </a:cubicBezTo>
                  <a:cubicBezTo>
                    <a:pt x="491204" y="492157"/>
                    <a:pt x="535591" y="504730"/>
                    <a:pt x="589217" y="518922"/>
                  </a:cubicBezTo>
                  <a:cubicBezTo>
                    <a:pt x="652367" y="535591"/>
                    <a:pt x="708660" y="554260"/>
                    <a:pt x="758190" y="575120"/>
                  </a:cubicBezTo>
                  <a:cubicBezTo>
                    <a:pt x="807625" y="595979"/>
                    <a:pt x="849344" y="620935"/>
                    <a:pt x="883349" y="649986"/>
                  </a:cubicBezTo>
                  <a:cubicBezTo>
                    <a:pt x="917353" y="679132"/>
                    <a:pt x="942975" y="713327"/>
                    <a:pt x="960215" y="752570"/>
                  </a:cubicBezTo>
                  <a:cubicBezTo>
                    <a:pt x="977456" y="791813"/>
                    <a:pt x="986123" y="838772"/>
                    <a:pt x="986123" y="893445"/>
                  </a:cubicBezTo>
                  <a:lnTo>
                    <a:pt x="986123" y="897064"/>
                  </a:lnTo>
                  <a:cubicBezTo>
                    <a:pt x="986123" y="958882"/>
                    <a:pt x="974884" y="1013841"/>
                    <a:pt x="952500" y="1062038"/>
                  </a:cubicBezTo>
                  <a:cubicBezTo>
                    <a:pt x="930021" y="1110139"/>
                    <a:pt x="898779" y="1150620"/>
                    <a:pt x="858584" y="1183291"/>
                  </a:cubicBezTo>
                  <a:cubicBezTo>
                    <a:pt x="818388" y="1216057"/>
                    <a:pt x="770477" y="1241012"/>
                    <a:pt x="714851" y="1258157"/>
                  </a:cubicBezTo>
                  <a:cubicBezTo>
                    <a:pt x="659130" y="1275398"/>
                    <a:pt x="597503" y="1284065"/>
                    <a:pt x="529685" y="1284065"/>
                  </a:cubicBezTo>
                  <a:close/>
                </a:path>
              </a:pathLst>
            </a:custGeom>
            <a:solidFill>
              <a:srgbClr val="44505E"/>
            </a:solidFill>
            <a:ln w="9525" cap="flat">
              <a:noFill/>
              <a:prstDash val="solid"/>
              <a:miter/>
            </a:ln>
          </p:spPr>
          <p:txBody>
            <a:bodyPr rtlCol="0" anchor="ctr"/>
            <a:lstStyle/>
            <a:p>
              <a:endParaRPr lang="pt-BR" noProof="0"/>
            </a:p>
          </p:txBody>
        </p:sp>
        <p:sp>
          <p:nvSpPr>
            <p:cNvPr id="17" name="Freeform: Shape 16">
              <a:extLst>
                <a:ext uri="{FF2B5EF4-FFF2-40B4-BE49-F238E27FC236}">
                  <a16:creationId xmlns:a16="http://schemas.microsoft.com/office/drawing/2014/main" id="{B4B5D7D3-65E6-8477-6CA3-73125FDB2142}"/>
                </a:ext>
              </a:extLst>
            </p:cNvPr>
            <p:cNvSpPr/>
            <p:nvPr/>
          </p:nvSpPr>
          <p:spPr>
            <a:xfrm>
              <a:off x="5492084" y="310867"/>
              <a:ext cx="332584" cy="315991"/>
            </a:xfrm>
            <a:custGeom>
              <a:avLst/>
              <a:gdLst>
                <a:gd name="connsiteX0" fmla="*/ 534924 w 1323022"/>
                <a:gd name="connsiteY0" fmla="*/ 0 h 1257014"/>
                <a:gd name="connsiteX1" fmla="*/ 788099 w 1323022"/>
                <a:gd name="connsiteY1" fmla="*/ 0 h 1257014"/>
                <a:gd name="connsiteX2" fmla="*/ 1323023 w 1323022"/>
                <a:gd name="connsiteY2" fmla="*/ 1257014 h 1257014"/>
                <a:gd name="connsiteX3" fmla="*/ 1035939 w 1323022"/>
                <a:gd name="connsiteY3" fmla="*/ 1257014 h 1257014"/>
                <a:gd name="connsiteX4" fmla="*/ 921829 w 1323022"/>
                <a:gd name="connsiteY4" fmla="*/ 977075 h 1257014"/>
                <a:gd name="connsiteX5" fmla="*/ 394049 w 1323022"/>
                <a:gd name="connsiteY5" fmla="*/ 977075 h 1257014"/>
                <a:gd name="connsiteX6" fmla="*/ 279940 w 1323022"/>
                <a:gd name="connsiteY6" fmla="*/ 1257014 h 1257014"/>
                <a:gd name="connsiteX7" fmla="*/ 0 w 1323022"/>
                <a:gd name="connsiteY7" fmla="*/ 1257014 h 1257014"/>
                <a:gd name="connsiteX8" fmla="*/ 534924 w 1323022"/>
                <a:gd name="connsiteY8" fmla="*/ 0 h 1257014"/>
                <a:gd name="connsiteX9" fmla="*/ 823817 w 1323022"/>
                <a:gd name="connsiteY9" fmla="*/ 734568 h 1257014"/>
                <a:gd name="connsiteX10" fmla="*/ 657987 w 1323022"/>
                <a:gd name="connsiteY10" fmla="*/ 329851 h 1257014"/>
                <a:gd name="connsiteX11" fmla="*/ 492157 w 1323022"/>
                <a:gd name="connsiteY11" fmla="*/ 734568 h 1257014"/>
                <a:gd name="connsiteX12" fmla="*/ 823817 w 1323022"/>
                <a:gd name="connsiteY12" fmla="*/ 734568 h 125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022" h="1257014">
                  <a:moveTo>
                    <a:pt x="534924" y="0"/>
                  </a:moveTo>
                  <a:lnTo>
                    <a:pt x="788099" y="0"/>
                  </a:lnTo>
                  <a:lnTo>
                    <a:pt x="1323023" y="1257014"/>
                  </a:lnTo>
                  <a:lnTo>
                    <a:pt x="1035939" y="1257014"/>
                  </a:lnTo>
                  <a:lnTo>
                    <a:pt x="921829" y="977075"/>
                  </a:lnTo>
                  <a:lnTo>
                    <a:pt x="394049" y="977075"/>
                  </a:lnTo>
                  <a:lnTo>
                    <a:pt x="279940" y="1257014"/>
                  </a:lnTo>
                  <a:lnTo>
                    <a:pt x="0" y="1257014"/>
                  </a:lnTo>
                  <a:lnTo>
                    <a:pt x="534924" y="0"/>
                  </a:lnTo>
                  <a:close/>
                  <a:moveTo>
                    <a:pt x="823817" y="734568"/>
                  </a:moveTo>
                  <a:lnTo>
                    <a:pt x="657987" y="329851"/>
                  </a:lnTo>
                  <a:lnTo>
                    <a:pt x="492157" y="734568"/>
                  </a:lnTo>
                  <a:lnTo>
                    <a:pt x="823817" y="734568"/>
                  </a:lnTo>
                  <a:close/>
                </a:path>
              </a:pathLst>
            </a:custGeom>
            <a:solidFill>
              <a:srgbClr val="44505E"/>
            </a:solidFill>
            <a:ln w="9525" cap="flat">
              <a:noFill/>
              <a:prstDash val="solid"/>
              <a:miter/>
            </a:ln>
          </p:spPr>
          <p:txBody>
            <a:bodyPr rtlCol="0" anchor="ctr"/>
            <a:lstStyle/>
            <a:p>
              <a:endParaRPr lang="pt-BR" noProof="0"/>
            </a:p>
          </p:txBody>
        </p:sp>
        <p:sp>
          <p:nvSpPr>
            <p:cNvPr id="18" name="Freeform: Shape 17">
              <a:extLst>
                <a:ext uri="{FF2B5EF4-FFF2-40B4-BE49-F238E27FC236}">
                  <a16:creationId xmlns:a16="http://schemas.microsoft.com/office/drawing/2014/main" id="{36C56214-A878-E712-E818-C8A91B92D3A5}"/>
                </a:ext>
              </a:extLst>
            </p:cNvPr>
            <p:cNvSpPr/>
            <p:nvPr/>
          </p:nvSpPr>
          <p:spPr>
            <a:xfrm>
              <a:off x="5834078" y="211355"/>
              <a:ext cx="273442" cy="420435"/>
            </a:xfrm>
            <a:custGeom>
              <a:avLst/>
              <a:gdLst>
                <a:gd name="connsiteX0" fmla="*/ 540258 w 1087754"/>
                <a:gd name="connsiteY0" fmla="*/ 1672495 h 1672494"/>
                <a:gd name="connsiteX1" fmla="*/ 144399 w 1087754"/>
                <a:gd name="connsiteY1" fmla="*/ 1533430 h 1672494"/>
                <a:gd name="connsiteX2" fmla="*/ 0 w 1087754"/>
                <a:gd name="connsiteY2" fmla="*/ 1117949 h 1672494"/>
                <a:gd name="connsiteX3" fmla="*/ 0 w 1087754"/>
                <a:gd name="connsiteY3" fmla="*/ 404717 h 1672494"/>
                <a:gd name="connsiteX4" fmla="*/ 274606 w 1087754"/>
                <a:gd name="connsiteY4" fmla="*/ 404717 h 1672494"/>
                <a:gd name="connsiteX5" fmla="*/ 274606 w 1087754"/>
                <a:gd name="connsiteY5" fmla="*/ 1110806 h 1672494"/>
                <a:gd name="connsiteX6" fmla="*/ 345948 w 1087754"/>
                <a:gd name="connsiteY6" fmla="*/ 1341692 h 1672494"/>
                <a:gd name="connsiteX7" fmla="*/ 543877 w 1087754"/>
                <a:gd name="connsiteY7" fmla="*/ 1419225 h 1672494"/>
                <a:gd name="connsiteX8" fmla="*/ 741807 w 1087754"/>
                <a:gd name="connsiteY8" fmla="*/ 1344359 h 1672494"/>
                <a:gd name="connsiteX9" fmla="*/ 813149 w 1087754"/>
                <a:gd name="connsiteY9" fmla="*/ 1119664 h 1672494"/>
                <a:gd name="connsiteX10" fmla="*/ 813149 w 1087754"/>
                <a:gd name="connsiteY10" fmla="*/ 404717 h 1672494"/>
                <a:gd name="connsiteX11" fmla="*/ 1087755 w 1087754"/>
                <a:gd name="connsiteY11" fmla="*/ 404717 h 1672494"/>
                <a:gd name="connsiteX12" fmla="*/ 1087755 w 1087754"/>
                <a:gd name="connsiteY12" fmla="*/ 1108996 h 1672494"/>
                <a:gd name="connsiteX13" fmla="*/ 1049369 w 1087754"/>
                <a:gd name="connsiteY13" fmla="*/ 1356836 h 1672494"/>
                <a:gd name="connsiteX14" fmla="*/ 939737 w 1087754"/>
                <a:gd name="connsiteY14" fmla="*/ 1532477 h 1672494"/>
                <a:gd name="connsiteX15" fmla="*/ 766763 w 1087754"/>
                <a:gd name="connsiteY15" fmla="*/ 1637729 h 1672494"/>
                <a:gd name="connsiteX16" fmla="*/ 540353 w 1087754"/>
                <a:gd name="connsiteY16" fmla="*/ 1672495 h 1672494"/>
                <a:gd name="connsiteX17" fmla="*/ 622268 w 1087754"/>
                <a:gd name="connsiteY17" fmla="*/ 0 h 1672494"/>
                <a:gd name="connsiteX18" fmla="*/ 855821 w 1087754"/>
                <a:gd name="connsiteY18" fmla="*/ 101632 h 1672494"/>
                <a:gd name="connsiteX19" fmla="*/ 627602 w 1087754"/>
                <a:gd name="connsiteY19" fmla="*/ 315563 h 1672494"/>
                <a:gd name="connsiteX20" fmla="*/ 420719 w 1087754"/>
                <a:gd name="connsiteY20" fmla="*/ 315563 h 1672494"/>
                <a:gd name="connsiteX21" fmla="*/ 622268 w 1087754"/>
                <a:gd name="connsiteY21" fmla="*/ 0 h 16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754" h="1672494">
                  <a:moveTo>
                    <a:pt x="540258" y="1672495"/>
                  </a:moveTo>
                  <a:cubicBezTo>
                    <a:pt x="372618" y="1672495"/>
                    <a:pt x="240697" y="1626108"/>
                    <a:pt x="144399" y="1533430"/>
                  </a:cubicBezTo>
                  <a:cubicBezTo>
                    <a:pt x="48101" y="1440752"/>
                    <a:pt x="0" y="1302258"/>
                    <a:pt x="0" y="1117949"/>
                  </a:cubicBezTo>
                  <a:lnTo>
                    <a:pt x="0" y="404717"/>
                  </a:lnTo>
                  <a:lnTo>
                    <a:pt x="274606" y="404717"/>
                  </a:lnTo>
                  <a:lnTo>
                    <a:pt x="274606" y="1110806"/>
                  </a:lnTo>
                  <a:cubicBezTo>
                    <a:pt x="274606" y="1213009"/>
                    <a:pt x="298418" y="1289971"/>
                    <a:pt x="345948" y="1341692"/>
                  </a:cubicBezTo>
                  <a:cubicBezTo>
                    <a:pt x="393478" y="1393412"/>
                    <a:pt x="459486" y="1419225"/>
                    <a:pt x="543877" y="1419225"/>
                  </a:cubicBezTo>
                  <a:cubicBezTo>
                    <a:pt x="628269" y="1419225"/>
                    <a:pt x="694277" y="1394270"/>
                    <a:pt x="741807" y="1344359"/>
                  </a:cubicBezTo>
                  <a:cubicBezTo>
                    <a:pt x="789337" y="1294448"/>
                    <a:pt x="813149" y="1219581"/>
                    <a:pt x="813149" y="1119664"/>
                  </a:cubicBezTo>
                  <a:lnTo>
                    <a:pt x="813149" y="404717"/>
                  </a:lnTo>
                  <a:lnTo>
                    <a:pt x="1087755" y="404717"/>
                  </a:lnTo>
                  <a:lnTo>
                    <a:pt x="1087755" y="1108996"/>
                  </a:lnTo>
                  <a:cubicBezTo>
                    <a:pt x="1087755" y="1204151"/>
                    <a:pt x="1074992" y="1286732"/>
                    <a:pt x="1049369" y="1356836"/>
                  </a:cubicBezTo>
                  <a:cubicBezTo>
                    <a:pt x="1023747" y="1426940"/>
                    <a:pt x="987266" y="1485519"/>
                    <a:pt x="939737" y="1532477"/>
                  </a:cubicBezTo>
                  <a:cubicBezTo>
                    <a:pt x="892207" y="1579436"/>
                    <a:pt x="834485" y="1614488"/>
                    <a:pt x="766763" y="1637729"/>
                  </a:cubicBezTo>
                  <a:cubicBezTo>
                    <a:pt x="699040" y="1660874"/>
                    <a:pt x="623507" y="1672495"/>
                    <a:pt x="540353" y="1672495"/>
                  </a:cubicBezTo>
                  <a:close/>
                  <a:moveTo>
                    <a:pt x="622268" y="0"/>
                  </a:moveTo>
                  <a:lnTo>
                    <a:pt x="855821" y="101632"/>
                  </a:lnTo>
                  <a:lnTo>
                    <a:pt x="627602" y="315563"/>
                  </a:lnTo>
                  <a:lnTo>
                    <a:pt x="420719" y="315563"/>
                  </a:lnTo>
                  <a:lnTo>
                    <a:pt x="622268" y="0"/>
                  </a:lnTo>
                  <a:close/>
                </a:path>
              </a:pathLst>
            </a:custGeom>
            <a:solidFill>
              <a:srgbClr val="44505E"/>
            </a:solidFill>
            <a:ln w="9525" cap="flat">
              <a:noFill/>
              <a:prstDash val="solid"/>
              <a:miter/>
            </a:ln>
          </p:spPr>
          <p:txBody>
            <a:bodyPr rtlCol="0" anchor="ctr"/>
            <a:lstStyle/>
            <a:p>
              <a:endParaRPr lang="pt-BR" noProof="0"/>
            </a:p>
          </p:txBody>
        </p:sp>
        <p:sp>
          <p:nvSpPr>
            <p:cNvPr id="19" name="Freeform: Shape 18">
              <a:extLst>
                <a:ext uri="{FF2B5EF4-FFF2-40B4-BE49-F238E27FC236}">
                  <a16:creationId xmlns:a16="http://schemas.microsoft.com/office/drawing/2014/main" id="{C99AA14A-ACD6-176F-B1B4-5E0F8180D2D6}"/>
                </a:ext>
              </a:extLst>
            </p:cNvPr>
            <p:cNvSpPr/>
            <p:nvPr/>
          </p:nvSpPr>
          <p:spPr>
            <a:xfrm>
              <a:off x="6143795" y="313094"/>
              <a:ext cx="289101" cy="313764"/>
            </a:xfrm>
            <a:custGeom>
              <a:avLst/>
              <a:gdLst>
                <a:gd name="connsiteX0" fmla="*/ 0 w 1150048"/>
                <a:gd name="connsiteY0" fmla="*/ 0 h 1248155"/>
                <a:gd name="connsiteX1" fmla="*/ 486728 w 1150048"/>
                <a:gd name="connsiteY1" fmla="*/ 0 h 1248155"/>
                <a:gd name="connsiteX2" fmla="*/ 755047 w 1150048"/>
                <a:gd name="connsiteY2" fmla="*/ 47244 h 1248155"/>
                <a:gd name="connsiteX3" fmla="*/ 965454 w 1150048"/>
                <a:gd name="connsiteY3" fmla="*/ 178308 h 1248155"/>
                <a:gd name="connsiteX4" fmla="*/ 1101852 w 1150048"/>
                <a:gd name="connsiteY4" fmla="*/ 375380 h 1248155"/>
                <a:gd name="connsiteX5" fmla="*/ 1150049 w 1150048"/>
                <a:gd name="connsiteY5" fmla="*/ 620554 h 1248155"/>
                <a:gd name="connsiteX6" fmla="*/ 1150049 w 1150048"/>
                <a:gd name="connsiteY6" fmla="*/ 624173 h 1248155"/>
                <a:gd name="connsiteX7" fmla="*/ 1101852 w 1150048"/>
                <a:gd name="connsiteY7" fmla="*/ 870204 h 1248155"/>
                <a:gd name="connsiteX8" fmla="*/ 965454 w 1150048"/>
                <a:gd name="connsiteY8" fmla="*/ 1068134 h 1248155"/>
                <a:gd name="connsiteX9" fmla="*/ 755047 w 1150048"/>
                <a:gd name="connsiteY9" fmla="*/ 1200055 h 1248155"/>
                <a:gd name="connsiteX10" fmla="*/ 486728 w 1150048"/>
                <a:gd name="connsiteY10" fmla="*/ 1248156 h 1248155"/>
                <a:gd name="connsiteX11" fmla="*/ 0 w 1150048"/>
                <a:gd name="connsiteY11" fmla="*/ 1248156 h 1248155"/>
                <a:gd name="connsiteX12" fmla="*/ 0 w 1150048"/>
                <a:gd name="connsiteY12" fmla="*/ 0 h 1248155"/>
                <a:gd name="connsiteX13" fmla="*/ 486728 w 1150048"/>
                <a:gd name="connsiteY13" fmla="*/ 1000315 h 1248155"/>
                <a:gd name="connsiteX14" fmla="*/ 640080 w 1150048"/>
                <a:gd name="connsiteY14" fmla="*/ 973550 h 1248155"/>
                <a:gd name="connsiteX15" fmla="*/ 758667 w 1150048"/>
                <a:gd name="connsiteY15" fmla="*/ 896874 h 1248155"/>
                <a:gd name="connsiteX16" fmla="*/ 835343 w 1150048"/>
                <a:gd name="connsiteY16" fmla="*/ 779240 h 1248155"/>
                <a:gd name="connsiteX17" fmla="*/ 862965 w 1150048"/>
                <a:gd name="connsiteY17" fmla="*/ 627698 h 1248155"/>
                <a:gd name="connsiteX18" fmla="*/ 862965 w 1150048"/>
                <a:gd name="connsiteY18" fmla="*/ 624078 h 1248155"/>
                <a:gd name="connsiteX19" fmla="*/ 835343 w 1150048"/>
                <a:gd name="connsiteY19" fmla="*/ 472535 h 1248155"/>
                <a:gd name="connsiteX20" fmla="*/ 758667 w 1150048"/>
                <a:gd name="connsiteY20" fmla="*/ 353092 h 1248155"/>
                <a:gd name="connsiteX21" fmla="*/ 640080 w 1150048"/>
                <a:gd name="connsiteY21" fmla="*/ 275558 h 1248155"/>
                <a:gd name="connsiteX22" fmla="*/ 486728 w 1150048"/>
                <a:gd name="connsiteY22" fmla="*/ 247936 h 1248155"/>
                <a:gd name="connsiteX23" fmla="*/ 274511 w 1150048"/>
                <a:gd name="connsiteY23" fmla="*/ 247936 h 1248155"/>
                <a:gd name="connsiteX24" fmla="*/ 274511 w 1150048"/>
                <a:gd name="connsiteY24" fmla="*/ 1000411 h 1248155"/>
                <a:gd name="connsiteX25" fmla="*/ 486728 w 1150048"/>
                <a:gd name="connsiteY25" fmla="*/ 1000411 h 124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50048" h="1248155">
                  <a:moveTo>
                    <a:pt x="0" y="0"/>
                  </a:moveTo>
                  <a:lnTo>
                    <a:pt x="486728" y="0"/>
                  </a:lnTo>
                  <a:cubicBezTo>
                    <a:pt x="584168" y="0"/>
                    <a:pt x="673608" y="15811"/>
                    <a:pt x="755047" y="47244"/>
                  </a:cubicBezTo>
                  <a:cubicBezTo>
                    <a:pt x="836486" y="78772"/>
                    <a:pt x="906590" y="122396"/>
                    <a:pt x="965454" y="178308"/>
                  </a:cubicBezTo>
                  <a:cubicBezTo>
                    <a:pt x="1024319" y="234220"/>
                    <a:pt x="1069753" y="299847"/>
                    <a:pt x="1101852" y="375380"/>
                  </a:cubicBezTo>
                  <a:cubicBezTo>
                    <a:pt x="1133951" y="450914"/>
                    <a:pt x="1150049" y="532543"/>
                    <a:pt x="1150049" y="620554"/>
                  </a:cubicBezTo>
                  <a:lnTo>
                    <a:pt x="1150049" y="624173"/>
                  </a:lnTo>
                  <a:cubicBezTo>
                    <a:pt x="1150049" y="712184"/>
                    <a:pt x="1133951" y="794195"/>
                    <a:pt x="1101852" y="870204"/>
                  </a:cubicBezTo>
                  <a:cubicBezTo>
                    <a:pt x="1069753" y="946309"/>
                    <a:pt x="1024319" y="1012222"/>
                    <a:pt x="965454" y="1068134"/>
                  </a:cubicBezTo>
                  <a:cubicBezTo>
                    <a:pt x="906590" y="1124045"/>
                    <a:pt x="836486" y="1167956"/>
                    <a:pt x="755047" y="1200055"/>
                  </a:cubicBezTo>
                  <a:cubicBezTo>
                    <a:pt x="673608" y="1232154"/>
                    <a:pt x="584168" y="1248156"/>
                    <a:pt x="486728" y="1248156"/>
                  </a:cubicBezTo>
                  <a:lnTo>
                    <a:pt x="0" y="1248156"/>
                  </a:lnTo>
                  <a:lnTo>
                    <a:pt x="0" y="0"/>
                  </a:lnTo>
                  <a:close/>
                  <a:moveTo>
                    <a:pt x="486728" y="1000315"/>
                  </a:moveTo>
                  <a:cubicBezTo>
                    <a:pt x="542639" y="1000315"/>
                    <a:pt x="593693" y="991457"/>
                    <a:pt x="640080" y="973550"/>
                  </a:cubicBezTo>
                  <a:cubicBezTo>
                    <a:pt x="686467" y="955739"/>
                    <a:pt x="725900" y="930211"/>
                    <a:pt x="758667" y="896874"/>
                  </a:cubicBezTo>
                  <a:cubicBezTo>
                    <a:pt x="791337" y="863632"/>
                    <a:pt x="816864" y="824389"/>
                    <a:pt x="835343" y="779240"/>
                  </a:cubicBezTo>
                  <a:cubicBezTo>
                    <a:pt x="853726" y="734092"/>
                    <a:pt x="862965" y="683609"/>
                    <a:pt x="862965" y="627698"/>
                  </a:cubicBezTo>
                  <a:lnTo>
                    <a:pt x="862965" y="624078"/>
                  </a:lnTo>
                  <a:cubicBezTo>
                    <a:pt x="862965" y="569404"/>
                    <a:pt x="853726" y="518827"/>
                    <a:pt x="835343" y="472535"/>
                  </a:cubicBezTo>
                  <a:cubicBezTo>
                    <a:pt x="816864" y="426149"/>
                    <a:pt x="791337" y="386334"/>
                    <a:pt x="758667" y="353092"/>
                  </a:cubicBezTo>
                  <a:cubicBezTo>
                    <a:pt x="725996" y="319849"/>
                    <a:pt x="686467" y="293941"/>
                    <a:pt x="640080" y="275558"/>
                  </a:cubicBezTo>
                  <a:cubicBezTo>
                    <a:pt x="593693" y="257175"/>
                    <a:pt x="542639" y="247936"/>
                    <a:pt x="486728" y="247936"/>
                  </a:cubicBezTo>
                  <a:lnTo>
                    <a:pt x="274511" y="247936"/>
                  </a:lnTo>
                  <a:lnTo>
                    <a:pt x="274511" y="1000411"/>
                  </a:lnTo>
                  <a:lnTo>
                    <a:pt x="486728" y="1000411"/>
                  </a:lnTo>
                  <a:close/>
                </a:path>
              </a:pathLst>
            </a:custGeom>
            <a:solidFill>
              <a:srgbClr val="44505E"/>
            </a:solidFill>
            <a:ln w="9525" cap="flat">
              <a:noFill/>
              <a:prstDash val="solid"/>
              <a:miter/>
            </a:ln>
          </p:spPr>
          <p:txBody>
            <a:bodyPr rtlCol="0" anchor="ctr"/>
            <a:lstStyle/>
            <a:p>
              <a:endParaRPr lang="pt-BR" noProof="0"/>
            </a:p>
          </p:txBody>
        </p:sp>
        <p:sp>
          <p:nvSpPr>
            <p:cNvPr id="20" name="Freeform: Shape 19">
              <a:extLst>
                <a:ext uri="{FF2B5EF4-FFF2-40B4-BE49-F238E27FC236}">
                  <a16:creationId xmlns:a16="http://schemas.microsoft.com/office/drawing/2014/main" id="{852542F7-E923-85F7-A2D1-E80EAD49FB0D}"/>
                </a:ext>
              </a:extLst>
            </p:cNvPr>
            <p:cNvSpPr/>
            <p:nvPr/>
          </p:nvSpPr>
          <p:spPr>
            <a:xfrm>
              <a:off x="6460217" y="313094"/>
              <a:ext cx="238459" cy="313788"/>
            </a:xfrm>
            <a:custGeom>
              <a:avLst/>
              <a:gdLst>
                <a:gd name="connsiteX0" fmla="*/ 95 w 948594"/>
                <a:gd name="connsiteY0" fmla="*/ 0 h 1248251"/>
                <a:gd name="connsiteX1" fmla="*/ 939737 w 948594"/>
                <a:gd name="connsiteY1" fmla="*/ 0 h 1248251"/>
                <a:gd name="connsiteX2" fmla="*/ 939737 w 948594"/>
                <a:gd name="connsiteY2" fmla="*/ 244316 h 1248251"/>
                <a:gd name="connsiteX3" fmla="*/ 271081 w 948594"/>
                <a:gd name="connsiteY3" fmla="*/ 244316 h 1248251"/>
                <a:gd name="connsiteX4" fmla="*/ 271081 w 948594"/>
                <a:gd name="connsiteY4" fmla="*/ 497491 h 1248251"/>
                <a:gd name="connsiteX5" fmla="*/ 859441 w 948594"/>
                <a:gd name="connsiteY5" fmla="*/ 497491 h 1248251"/>
                <a:gd name="connsiteX6" fmla="*/ 859441 w 948594"/>
                <a:gd name="connsiteY6" fmla="*/ 741807 h 1248251"/>
                <a:gd name="connsiteX7" fmla="*/ 271081 w 948594"/>
                <a:gd name="connsiteY7" fmla="*/ 741807 h 1248251"/>
                <a:gd name="connsiteX8" fmla="*/ 271081 w 948594"/>
                <a:gd name="connsiteY8" fmla="*/ 1003935 h 1248251"/>
                <a:gd name="connsiteX9" fmla="*/ 948595 w 948594"/>
                <a:gd name="connsiteY9" fmla="*/ 1003935 h 1248251"/>
                <a:gd name="connsiteX10" fmla="*/ 948595 w 948594"/>
                <a:gd name="connsiteY10" fmla="*/ 1248251 h 1248251"/>
                <a:gd name="connsiteX11" fmla="*/ 0 w 948594"/>
                <a:gd name="connsiteY11" fmla="*/ 1248251 h 1248251"/>
                <a:gd name="connsiteX12" fmla="*/ 0 w 948594"/>
                <a:gd name="connsiteY12" fmla="*/ 0 h 124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594" h="1248251">
                  <a:moveTo>
                    <a:pt x="95" y="0"/>
                  </a:moveTo>
                  <a:lnTo>
                    <a:pt x="939737" y="0"/>
                  </a:lnTo>
                  <a:lnTo>
                    <a:pt x="939737" y="244316"/>
                  </a:lnTo>
                  <a:lnTo>
                    <a:pt x="271081" y="244316"/>
                  </a:lnTo>
                  <a:lnTo>
                    <a:pt x="271081" y="497491"/>
                  </a:lnTo>
                  <a:lnTo>
                    <a:pt x="859441" y="497491"/>
                  </a:lnTo>
                  <a:lnTo>
                    <a:pt x="859441" y="741807"/>
                  </a:lnTo>
                  <a:lnTo>
                    <a:pt x="271081" y="741807"/>
                  </a:lnTo>
                  <a:lnTo>
                    <a:pt x="271081" y="1003935"/>
                  </a:lnTo>
                  <a:lnTo>
                    <a:pt x="948595" y="1003935"/>
                  </a:lnTo>
                  <a:lnTo>
                    <a:pt x="948595" y="1248251"/>
                  </a:lnTo>
                  <a:lnTo>
                    <a:pt x="0" y="1248251"/>
                  </a:lnTo>
                  <a:lnTo>
                    <a:pt x="0" y="0"/>
                  </a:lnTo>
                  <a:close/>
                </a:path>
              </a:pathLst>
            </a:custGeom>
            <a:solidFill>
              <a:srgbClr val="44505E"/>
            </a:solidFill>
            <a:ln w="9525" cap="flat">
              <a:noFill/>
              <a:prstDash val="solid"/>
              <a:miter/>
            </a:ln>
          </p:spPr>
          <p:txBody>
            <a:bodyPr rtlCol="0" anchor="ctr"/>
            <a:lstStyle/>
            <a:p>
              <a:endParaRPr lang="pt-BR" noProof="0"/>
            </a:p>
          </p:txBody>
        </p:sp>
        <p:sp>
          <p:nvSpPr>
            <p:cNvPr id="21" name="Freeform: Shape 20">
              <a:extLst>
                <a:ext uri="{FF2B5EF4-FFF2-40B4-BE49-F238E27FC236}">
                  <a16:creationId xmlns:a16="http://schemas.microsoft.com/office/drawing/2014/main" id="{98782FDA-6A70-B4BB-5A6E-79386BE45D48}"/>
                </a:ext>
              </a:extLst>
            </p:cNvPr>
            <p:cNvSpPr/>
            <p:nvPr/>
          </p:nvSpPr>
          <p:spPr>
            <a:xfrm>
              <a:off x="5253193" y="699983"/>
              <a:ext cx="90796" cy="97883"/>
            </a:xfrm>
            <a:custGeom>
              <a:avLst/>
              <a:gdLst>
                <a:gd name="connsiteX0" fmla="*/ 191548 w 361187"/>
                <a:gd name="connsiteY0" fmla="*/ 389382 h 389381"/>
                <a:gd name="connsiteX1" fmla="*/ 116300 w 361187"/>
                <a:gd name="connsiteY1" fmla="*/ 375285 h 389381"/>
                <a:gd name="connsiteX2" fmla="*/ 55531 w 361187"/>
                <a:gd name="connsiteY2" fmla="*/ 335756 h 389381"/>
                <a:gd name="connsiteX3" fmla="*/ 14859 w 361187"/>
                <a:gd name="connsiteY3" fmla="*/ 274606 h 389381"/>
                <a:gd name="connsiteX4" fmla="*/ 0 w 361187"/>
                <a:gd name="connsiteY4" fmla="*/ 195834 h 389381"/>
                <a:gd name="connsiteX5" fmla="*/ 0 w 361187"/>
                <a:gd name="connsiteY5" fmla="*/ 194405 h 389381"/>
                <a:gd name="connsiteX6" fmla="*/ 13430 w 361187"/>
                <a:gd name="connsiteY6" fmla="*/ 118777 h 389381"/>
                <a:gd name="connsiteX7" fmla="*/ 51245 w 361187"/>
                <a:gd name="connsiteY7" fmla="*/ 56959 h 389381"/>
                <a:gd name="connsiteX8" fmla="*/ 108871 w 361187"/>
                <a:gd name="connsiteY8" fmla="*/ 15240 h 389381"/>
                <a:gd name="connsiteX9" fmla="*/ 182404 w 361187"/>
                <a:gd name="connsiteY9" fmla="*/ 0 h 389381"/>
                <a:gd name="connsiteX10" fmla="*/ 260509 w 361187"/>
                <a:gd name="connsiteY10" fmla="*/ 16288 h 389381"/>
                <a:gd name="connsiteX11" fmla="*/ 316325 w 361187"/>
                <a:gd name="connsiteY11" fmla="*/ 60103 h 389381"/>
                <a:gd name="connsiteX12" fmla="*/ 349853 w 361187"/>
                <a:gd name="connsiteY12" fmla="*/ 124015 h 389381"/>
                <a:gd name="connsiteX13" fmla="*/ 361188 w 361187"/>
                <a:gd name="connsiteY13" fmla="*/ 200692 h 389381"/>
                <a:gd name="connsiteX14" fmla="*/ 360807 w 361187"/>
                <a:gd name="connsiteY14" fmla="*/ 212312 h 389381"/>
                <a:gd name="connsiteX15" fmla="*/ 359759 w 361187"/>
                <a:gd name="connsiteY15" fmla="*/ 224695 h 389381"/>
                <a:gd name="connsiteX16" fmla="*/ 85534 w 361187"/>
                <a:gd name="connsiteY16" fmla="*/ 224695 h 389381"/>
                <a:gd name="connsiteX17" fmla="*/ 121920 w 361187"/>
                <a:gd name="connsiteY17" fmla="*/ 294989 h 389381"/>
                <a:gd name="connsiteX18" fmla="*/ 192977 w 361187"/>
                <a:gd name="connsiteY18" fmla="*/ 319373 h 389381"/>
                <a:gd name="connsiteX19" fmla="*/ 248126 w 361187"/>
                <a:gd name="connsiteY19" fmla="*/ 308038 h 389381"/>
                <a:gd name="connsiteX20" fmla="*/ 294037 w 361187"/>
                <a:gd name="connsiteY20" fmla="*/ 274796 h 389381"/>
                <a:gd name="connsiteX21" fmla="*/ 344234 w 361187"/>
                <a:gd name="connsiteY21" fmla="*/ 319278 h 389381"/>
                <a:gd name="connsiteX22" fmla="*/ 280226 w 361187"/>
                <a:gd name="connsiteY22" fmla="*/ 370141 h 389381"/>
                <a:gd name="connsiteX23" fmla="*/ 191548 w 361187"/>
                <a:gd name="connsiteY23" fmla="*/ 389191 h 389381"/>
                <a:gd name="connsiteX24" fmla="*/ 276320 w 361187"/>
                <a:gd name="connsiteY24" fmla="*/ 168211 h 389381"/>
                <a:gd name="connsiteX25" fmla="*/ 267176 w 361187"/>
                <a:gd name="connsiteY25" fmla="*/ 129730 h 389381"/>
                <a:gd name="connsiteX26" fmla="*/ 248126 w 361187"/>
                <a:gd name="connsiteY26" fmla="*/ 98679 h 389381"/>
                <a:gd name="connsiteX27" fmla="*/ 219551 w 361187"/>
                <a:gd name="connsiteY27" fmla="*/ 77819 h 389381"/>
                <a:gd name="connsiteX28" fmla="*/ 181737 w 361187"/>
                <a:gd name="connsiteY28" fmla="*/ 70009 h 389381"/>
                <a:gd name="connsiteX29" fmla="*/ 116396 w 361187"/>
                <a:gd name="connsiteY29" fmla="*/ 97250 h 389381"/>
                <a:gd name="connsiteX30" fmla="*/ 84963 w 361187"/>
                <a:gd name="connsiteY30" fmla="*/ 168307 h 389381"/>
                <a:gd name="connsiteX31" fmla="*/ 276511 w 361187"/>
                <a:gd name="connsiteY31" fmla="*/ 168307 h 38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187" h="389381">
                  <a:moveTo>
                    <a:pt x="191548" y="389382"/>
                  </a:moveTo>
                  <a:cubicBezTo>
                    <a:pt x="164687" y="389382"/>
                    <a:pt x="139637" y="384715"/>
                    <a:pt x="116300" y="375285"/>
                  </a:cubicBezTo>
                  <a:cubicBezTo>
                    <a:pt x="92964" y="365855"/>
                    <a:pt x="72771" y="352711"/>
                    <a:pt x="55531" y="335756"/>
                  </a:cubicBezTo>
                  <a:cubicBezTo>
                    <a:pt x="38291" y="318802"/>
                    <a:pt x="24765" y="298418"/>
                    <a:pt x="14859" y="274606"/>
                  </a:cubicBezTo>
                  <a:cubicBezTo>
                    <a:pt x="4953" y="250793"/>
                    <a:pt x="0" y="224599"/>
                    <a:pt x="0" y="195834"/>
                  </a:cubicBezTo>
                  <a:lnTo>
                    <a:pt x="0" y="194405"/>
                  </a:lnTo>
                  <a:cubicBezTo>
                    <a:pt x="0" y="167545"/>
                    <a:pt x="4477" y="142399"/>
                    <a:pt x="13430" y="118777"/>
                  </a:cubicBezTo>
                  <a:cubicBezTo>
                    <a:pt x="22384" y="95250"/>
                    <a:pt x="34957" y="74581"/>
                    <a:pt x="51245" y="56959"/>
                  </a:cubicBezTo>
                  <a:cubicBezTo>
                    <a:pt x="67532" y="39338"/>
                    <a:pt x="86677" y="25432"/>
                    <a:pt x="108871" y="15240"/>
                  </a:cubicBezTo>
                  <a:cubicBezTo>
                    <a:pt x="131064" y="5143"/>
                    <a:pt x="155543" y="0"/>
                    <a:pt x="182404" y="0"/>
                  </a:cubicBezTo>
                  <a:cubicBezTo>
                    <a:pt x="212122" y="0"/>
                    <a:pt x="238125" y="5429"/>
                    <a:pt x="260509" y="16288"/>
                  </a:cubicBezTo>
                  <a:cubicBezTo>
                    <a:pt x="282893" y="27146"/>
                    <a:pt x="301466" y="41719"/>
                    <a:pt x="316325" y="60103"/>
                  </a:cubicBezTo>
                  <a:cubicBezTo>
                    <a:pt x="331184" y="78486"/>
                    <a:pt x="342329" y="99822"/>
                    <a:pt x="349853" y="124015"/>
                  </a:cubicBezTo>
                  <a:cubicBezTo>
                    <a:pt x="357378" y="148304"/>
                    <a:pt x="361188" y="173831"/>
                    <a:pt x="361188" y="200692"/>
                  </a:cubicBezTo>
                  <a:cubicBezTo>
                    <a:pt x="361188" y="204502"/>
                    <a:pt x="361093" y="208312"/>
                    <a:pt x="360807" y="212312"/>
                  </a:cubicBezTo>
                  <a:cubicBezTo>
                    <a:pt x="360521" y="216313"/>
                    <a:pt x="360236" y="220409"/>
                    <a:pt x="359759" y="224695"/>
                  </a:cubicBezTo>
                  <a:lnTo>
                    <a:pt x="85534" y="224695"/>
                  </a:lnTo>
                  <a:cubicBezTo>
                    <a:pt x="90202" y="255365"/>
                    <a:pt x="102394" y="278797"/>
                    <a:pt x="121920" y="294989"/>
                  </a:cubicBezTo>
                  <a:cubicBezTo>
                    <a:pt x="141446" y="311277"/>
                    <a:pt x="165164" y="319373"/>
                    <a:pt x="192977" y="319373"/>
                  </a:cubicBezTo>
                  <a:cubicBezTo>
                    <a:pt x="214217" y="319373"/>
                    <a:pt x="232505" y="315563"/>
                    <a:pt x="248126" y="308038"/>
                  </a:cubicBezTo>
                  <a:cubicBezTo>
                    <a:pt x="263652" y="300514"/>
                    <a:pt x="278987" y="289465"/>
                    <a:pt x="294037" y="274796"/>
                  </a:cubicBezTo>
                  <a:lnTo>
                    <a:pt x="344234" y="319278"/>
                  </a:lnTo>
                  <a:cubicBezTo>
                    <a:pt x="326327" y="340519"/>
                    <a:pt x="304991" y="357473"/>
                    <a:pt x="280226" y="370141"/>
                  </a:cubicBezTo>
                  <a:cubicBezTo>
                    <a:pt x="255461" y="382810"/>
                    <a:pt x="225933" y="389191"/>
                    <a:pt x="191548" y="389191"/>
                  </a:cubicBezTo>
                  <a:close/>
                  <a:moveTo>
                    <a:pt x="276320" y="168211"/>
                  </a:moveTo>
                  <a:cubicBezTo>
                    <a:pt x="274892" y="154591"/>
                    <a:pt x="271844" y="141732"/>
                    <a:pt x="267176" y="129730"/>
                  </a:cubicBezTo>
                  <a:cubicBezTo>
                    <a:pt x="262414" y="117729"/>
                    <a:pt x="256127" y="107347"/>
                    <a:pt x="248126" y="98679"/>
                  </a:cubicBezTo>
                  <a:cubicBezTo>
                    <a:pt x="240125" y="89916"/>
                    <a:pt x="230600" y="82963"/>
                    <a:pt x="219551" y="77819"/>
                  </a:cubicBezTo>
                  <a:cubicBezTo>
                    <a:pt x="208502" y="72676"/>
                    <a:pt x="195834" y="70009"/>
                    <a:pt x="181737" y="70009"/>
                  </a:cubicBezTo>
                  <a:cubicBezTo>
                    <a:pt x="155353" y="70009"/>
                    <a:pt x="133541" y="79057"/>
                    <a:pt x="116396" y="97250"/>
                  </a:cubicBezTo>
                  <a:cubicBezTo>
                    <a:pt x="99155" y="115348"/>
                    <a:pt x="88678" y="139065"/>
                    <a:pt x="84963" y="168307"/>
                  </a:cubicBezTo>
                  <a:lnTo>
                    <a:pt x="276511" y="168307"/>
                  </a:lnTo>
                  <a:close/>
                </a:path>
              </a:pathLst>
            </a:custGeom>
            <a:solidFill>
              <a:srgbClr val="44505E"/>
            </a:solidFill>
            <a:ln w="9525" cap="flat">
              <a:noFill/>
              <a:prstDash val="solid"/>
              <a:miter/>
            </a:ln>
          </p:spPr>
          <p:txBody>
            <a:bodyPr rtlCol="0" anchor="ctr"/>
            <a:lstStyle/>
            <a:p>
              <a:endParaRPr lang="pt-BR" noProof="0"/>
            </a:p>
          </p:txBody>
        </p:sp>
        <p:sp>
          <p:nvSpPr>
            <p:cNvPr id="22" name="Freeform: Shape 21">
              <a:extLst>
                <a:ext uri="{FF2B5EF4-FFF2-40B4-BE49-F238E27FC236}">
                  <a16:creationId xmlns:a16="http://schemas.microsoft.com/office/drawing/2014/main" id="{D3512049-B751-D22A-36CB-A31F3614C480}"/>
                </a:ext>
              </a:extLst>
            </p:cNvPr>
            <p:cNvSpPr/>
            <p:nvPr/>
          </p:nvSpPr>
          <p:spPr>
            <a:xfrm>
              <a:off x="5365659"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5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8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3 w 568166"/>
                <a:gd name="connsiteY21" fmla="*/ 381000 h 381000"/>
                <a:gd name="connsiteX22" fmla="*/ 240983 w 568166"/>
                <a:gd name="connsiteY22" fmla="*/ 168783 h 381000"/>
                <a:gd name="connsiteX23" fmla="*/ 221266 w 568166"/>
                <a:gd name="connsiteY23" fmla="*/ 101822 h 381000"/>
                <a:gd name="connsiteX24" fmla="*/ 165640 w 568166"/>
                <a:gd name="connsiteY24" fmla="*/ 78581 h 381000"/>
                <a:gd name="connsiteX25" fmla="*/ 108014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70" y="48196"/>
                    <a:pt x="105918" y="40576"/>
                  </a:cubicBezTo>
                  <a:cubicBezTo>
                    <a:pt x="112967" y="32956"/>
                    <a:pt x="121063" y="26099"/>
                    <a:pt x="130207" y="19907"/>
                  </a:cubicBezTo>
                  <a:cubicBezTo>
                    <a:pt x="139351" y="13716"/>
                    <a:pt x="149733" y="8858"/>
                    <a:pt x="161163" y="5334"/>
                  </a:cubicBezTo>
                  <a:cubicBezTo>
                    <a:pt x="172688" y="1714"/>
                    <a:pt x="185452" y="0"/>
                    <a:pt x="199549" y="0"/>
                  </a:cubicBezTo>
                  <a:cubicBezTo>
                    <a:pt x="226314" y="0"/>
                    <a:pt x="248984" y="6096"/>
                    <a:pt x="267557" y="18193"/>
                  </a:cubicBezTo>
                  <a:cubicBezTo>
                    <a:pt x="286131" y="30289"/>
                    <a:pt x="300323" y="46387"/>
                    <a:pt x="310134" y="66294"/>
                  </a:cubicBezTo>
                  <a:cubicBezTo>
                    <a:pt x="325279" y="46387"/>
                    <a:pt x="343091" y="30289"/>
                    <a:pt x="363665" y="18193"/>
                  </a:cubicBezTo>
                  <a:cubicBezTo>
                    <a:pt x="384239" y="6096"/>
                    <a:pt x="408718" y="0"/>
                    <a:pt x="437007" y="0"/>
                  </a:cubicBezTo>
                  <a:cubicBezTo>
                    <a:pt x="478060"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8" y="78486"/>
                  </a:cubicBezTo>
                  <a:cubicBezTo>
                    <a:pt x="382810" y="78486"/>
                    <a:pt x="364141" y="86392"/>
                    <a:pt x="349377" y="102108"/>
                  </a:cubicBezTo>
                  <a:cubicBezTo>
                    <a:pt x="334613" y="117824"/>
                    <a:pt x="327184" y="140779"/>
                    <a:pt x="327184" y="170879"/>
                  </a:cubicBezTo>
                  <a:lnTo>
                    <a:pt x="327184" y="381000"/>
                  </a:lnTo>
                  <a:lnTo>
                    <a:pt x="240983" y="381000"/>
                  </a:lnTo>
                  <a:lnTo>
                    <a:pt x="240983" y="168783"/>
                  </a:lnTo>
                  <a:cubicBezTo>
                    <a:pt x="240983" y="139637"/>
                    <a:pt x="234410" y="117348"/>
                    <a:pt x="221266" y="101822"/>
                  </a:cubicBezTo>
                  <a:cubicBezTo>
                    <a:pt x="208121" y="86296"/>
                    <a:pt x="189643" y="78581"/>
                    <a:pt x="165640" y="78581"/>
                  </a:cubicBezTo>
                  <a:cubicBezTo>
                    <a:pt x="141637" y="78581"/>
                    <a:pt x="122492" y="86773"/>
                    <a:pt x="108014"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23" name="Freeform: Shape 22">
              <a:extLst>
                <a:ext uri="{FF2B5EF4-FFF2-40B4-BE49-F238E27FC236}">
                  <a16:creationId xmlns:a16="http://schemas.microsoft.com/office/drawing/2014/main" id="{388785A5-3423-F00A-59FF-851F79A747AA}"/>
                </a:ext>
              </a:extLst>
            </p:cNvPr>
            <p:cNvSpPr/>
            <p:nvPr/>
          </p:nvSpPr>
          <p:spPr>
            <a:xfrm>
              <a:off x="5587693" y="700007"/>
              <a:ext cx="84211" cy="95752"/>
            </a:xfrm>
            <a:custGeom>
              <a:avLst/>
              <a:gdLst>
                <a:gd name="connsiteX0" fmla="*/ 95 w 334994"/>
                <a:gd name="connsiteY0" fmla="*/ 7715 h 380904"/>
                <a:gd name="connsiteX1" fmla="*/ 86296 w 334994"/>
                <a:gd name="connsiteY1" fmla="*/ 7715 h 380904"/>
                <a:gd name="connsiteX2" fmla="*/ 86296 w 334994"/>
                <a:gd name="connsiteY2" fmla="*/ 66294 h 380904"/>
                <a:gd name="connsiteX3" fmla="*/ 106394 w 334994"/>
                <a:gd name="connsiteY3" fmla="*/ 40958 h 380904"/>
                <a:gd name="connsiteX4" fmla="*/ 131731 w 334994"/>
                <a:gd name="connsiteY4" fmla="*/ 19907 h 380904"/>
                <a:gd name="connsiteX5" fmla="*/ 163449 w 334994"/>
                <a:gd name="connsiteY5" fmla="*/ 5334 h 380904"/>
                <a:gd name="connsiteX6" fmla="*/ 202597 w 334994"/>
                <a:gd name="connsiteY6" fmla="*/ 0 h 380904"/>
                <a:gd name="connsiteX7" fmla="*/ 300514 w 334994"/>
                <a:gd name="connsiteY7" fmla="*/ 38862 h 380904"/>
                <a:gd name="connsiteX8" fmla="*/ 334994 w 334994"/>
                <a:gd name="connsiteY8" fmla="*/ 143446 h 380904"/>
                <a:gd name="connsiteX9" fmla="*/ 334994 w 334994"/>
                <a:gd name="connsiteY9" fmla="*/ 380905 h 380904"/>
                <a:gd name="connsiteX10" fmla="*/ 248793 w 334994"/>
                <a:gd name="connsiteY10" fmla="*/ 380905 h 380904"/>
                <a:gd name="connsiteX11" fmla="*/ 248793 w 334994"/>
                <a:gd name="connsiteY11" fmla="*/ 169450 h 380904"/>
                <a:gd name="connsiteX12" fmla="*/ 228124 w 334994"/>
                <a:gd name="connsiteY12" fmla="*/ 102108 h 380904"/>
                <a:gd name="connsiteX13" fmla="*/ 169640 w 334994"/>
                <a:gd name="connsiteY13" fmla="*/ 78486 h 380904"/>
                <a:gd name="connsiteX14" fmla="*/ 109347 w 334994"/>
                <a:gd name="connsiteY14" fmla="*/ 102775 h 380904"/>
                <a:gd name="connsiteX15" fmla="*/ 86201 w 334994"/>
                <a:gd name="connsiteY15" fmla="*/ 170783 h 380904"/>
                <a:gd name="connsiteX16" fmla="*/ 86201 w 334994"/>
                <a:gd name="connsiteY16" fmla="*/ 380905 h 380904"/>
                <a:gd name="connsiteX17" fmla="*/ 0 w 334994"/>
                <a:gd name="connsiteY17" fmla="*/ 380905 h 380904"/>
                <a:gd name="connsiteX18" fmla="*/ 0 w 334994"/>
                <a:gd name="connsiteY18" fmla="*/ 7810 h 38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94" h="380904">
                  <a:moveTo>
                    <a:pt x="95" y="7715"/>
                  </a:moveTo>
                  <a:lnTo>
                    <a:pt x="86296" y="7715"/>
                  </a:lnTo>
                  <a:lnTo>
                    <a:pt x="86296" y="66294"/>
                  </a:lnTo>
                  <a:cubicBezTo>
                    <a:pt x="92392" y="57245"/>
                    <a:pt x="99060" y="48863"/>
                    <a:pt x="106394" y="40958"/>
                  </a:cubicBezTo>
                  <a:cubicBezTo>
                    <a:pt x="113633" y="33147"/>
                    <a:pt x="122110" y="26099"/>
                    <a:pt x="131731" y="19907"/>
                  </a:cubicBezTo>
                  <a:cubicBezTo>
                    <a:pt x="141351" y="13716"/>
                    <a:pt x="151924" y="8858"/>
                    <a:pt x="163449" y="5334"/>
                  </a:cubicBezTo>
                  <a:cubicBezTo>
                    <a:pt x="174974" y="1714"/>
                    <a:pt x="188024" y="0"/>
                    <a:pt x="202597" y="0"/>
                  </a:cubicBezTo>
                  <a:cubicBezTo>
                    <a:pt x="244888" y="0"/>
                    <a:pt x="277559" y="12954"/>
                    <a:pt x="300514" y="38862"/>
                  </a:cubicBezTo>
                  <a:cubicBezTo>
                    <a:pt x="323564" y="64770"/>
                    <a:pt x="334994" y="99631"/>
                    <a:pt x="334994" y="143446"/>
                  </a:cubicBezTo>
                  <a:lnTo>
                    <a:pt x="334994" y="380905"/>
                  </a:lnTo>
                  <a:lnTo>
                    <a:pt x="248793" y="380905"/>
                  </a:lnTo>
                  <a:lnTo>
                    <a:pt x="248793" y="169450"/>
                  </a:lnTo>
                  <a:cubicBezTo>
                    <a:pt x="248793" y="140303"/>
                    <a:pt x="241935" y="117824"/>
                    <a:pt x="228124" y="102108"/>
                  </a:cubicBezTo>
                  <a:cubicBezTo>
                    <a:pt x="214313" y="86392"/>
                    <a:pt x="194881" y="78486"/>
                    <a:pt x="169640" y="78486"/>
                  </a:cubicBezTo>
                  <a:cubicBezTo>
                    <a:pt x="144399" y="78486"/>
                    <a:pt x="124777" y="86582"/>
                    <a:pt x="109347" y="102775"/>
                  </a:cubicBezTo>
                  <a:cubicBezTo>
                    <a:pt x="93917" y="118967"/>
                    <a:pt x="86201" y="141637"/>
                    <a:pt x="86201" y="170783"/>
                  </a:cubicBezTo>
                  <a:lnTo>
                    <a:pt x="86201" y="380905"/>
                  </a:lnTo>
                  <a:lnTo>
                    <a:pt x="0" y="380905"/>
                  </a:lnTo>
                  <a:lnTo>
                    <a:pt x="0" y="7810"/>
                  </a:lnTo>
                  <a:close/>
                </a:path>
              </a:pathLst>
            </a:custGeom>
            <a:solidFill>
              <a:srgbClr val="44505E"/>
            </a:solidFill>
            <a:ln w="9525" cap="flat">
              <a:noFill/>
              <a:prstDash val="solid"/>
              <a:miter/>
            </a:ln>
          </p:spPr>
          <p:txBody>
            <a:bodyPr rtlCol="0" anchor="ctr"/>
            <a:lstStyle/>
            <a:p>
              <a:endParaRPr lang="pt-BR" noProof="0"/>
            </a:p>
          </p:txBody>
        </p:sp>
        <p:sp>
          <p:nvSpPr>
            <p:cNvPr id="24" name="Freeform: Shape 23">
              <a:extLst>
                <a:ext uri="{FF2B5EF4-FFF2-40B4-BE49-F238E27FC236}">
                  <a16:creationId xmlns:a16="http://schemas.microsoft.com/office/drawing/2014/main" id="{0F921795-0039-A81A-A6A1-AA695F4CF6FB}"/>
                </a:ext>
              </a:extLst>
            </p:cNvPr>
            <p:cNvSpPr/>
            <p:nvPr/>
          </p:nvSpPr>
          <p:spPr>
            <a:xfrm>
              <a:off x="5692712" y="699959"/>
              <a:ext cx="100015" cy="97908"/>
            </a:xfrm>
            <a:custGeom>
              <a:avLst/>
              <a:gdLst>
                <a:gd name="connsiteX0" fmla="*/ 197834 w 397859"/>
                <a:gd name="connsiteY0" fmla="*/ 389477 h 389477"/>
                <a:gd name="connsiteX1" fmla="*/ 119063 w 397859"/>
                <a:gd name="connsiteY1" fmla="*/ 374237 h 389477"/>
                <a:gd name="connsiteX2" fmla="*/ 56197 w 397859"/>
                <a:gd name="connsiteY2" fmla="*/ 332899 h 389477"/>
                <a:gd name="connsiteX3" fmla="*/ 14859 w 397859"/>
                <a:gd name="connsiteY3" fmla="*/ 271463 h 389477"/>
                <a:gd name="connsiteX4" fmla="*/ 0 w 397859"/>
                <a:gd name="connsiteY4" fmla="*/ 196501 h 389477"/>
                <a:gd name="connsiteX5" fmla="*/ 0 w 397859"/>
                <a:gd name="connsiteY5" fmla="*/ 195072 h 389477"/>
                <a:gd name="connsiteX6" fmla="*/ 15145 w 397859"/>
                <a:gd name="connsiteY6" fmla="*/ 119444 h 389477"/>
                <a:gd name="connsiteX7" fmla="*/ 56864 w 397859"/>
                <a:gd name="connsiteY7" fmla="*/ 57626 h 389477"/>
                <a:gd name="connsiteX8" fmla="*/ 119729 w 397859"/>
                <a:gd name="connsiteY8" fmla="*/ 15526 h 389477"/>
                <a:gd name="connsiteX9" fmla="*/ 199263 w 397859"/>
                <a:gd name="connsiteY9" fmla="*/ 0 h 389477"/>
                <a:gd name="connsiteX10" fmla="*/ 278797 w 397859"/>
                <a:gd name="connsiteY10" fmla="*/ 15240 h 389477"/>
                <a:gd name="connsiteX11" fmla="*/ 341662 w 397859"/>
                <a:gd name="connsiteY11" fmla="*/ 56959 h 389477"/>
                <a:gd name="connsiteX12" fmla="*/ 383000 w 397859"/>
                <a:gd name="connsiteY12" fmla="*/ 118396 h 389477"/>
                <a:gd name="connsiteX13" fmla="*/ 397859 w 397859"/>
                <a:gd name="connsiteY13" fmla="*/ 193643 h 389477"/>
                <a:gd name="connsiteX14" fmla="*/ 397859 w 397859"/>
                <a:gd name="connsiteY14" fmla="*/ 195072 h 389477"/>
                <a:gd name="connsiteX15" fmla="*/ 382619 w 397859"/>
                <a:gd name="connsiteY15" fmla="*/ 270034 h 389477"/>
                <a:gd name="connsiteX16" fmla="*/ 340900 w 397859"/>
                <a:gd name="connsiteY16" fmla="*/ 331851 h 389477"/>
                <a:gd name="connsiteX17" fmla="*/ 277654 w 397859"/>
                <a:gd name="connsiteY17" fmla="*/ 373856 h 389477"/>
                <a:gd name="connsiteX18" fmla="*/ 197834 w 397859"/>
                <a:gd name="connsiteY18" fmla="*/ 389382 h 389477"/>
                <a:gd name="connsiteX19" fmla="*/ 199263 w 397859"/>
                <a:gd name="connsiteY19" fmla="*/ 315278 h 389477"/>
                <a:gd name="connsiteX20" fmla="*/ 245935 w 397859"/>
                <a:gd name="connsiteY20" fmla="*/ 305753 h 389477"/>
                <a:gd name="connsiteX21" fmla="*/ 281368 w 397859"/>
                <a:gd name="connsiteY21" fmla="*/ 279940 h 389477"/>
                <a:gd name="connsiteX22" fmla="*/ 303847 w 397859"/>
                <a:gd name="connsiteY22" fmla="*/ 242125 h 389477"/>
                <a:gd name="connsiteX23" fmla="*/ 311563 w 397859"/>
                <a:gd name="connsiteY23" fmla="*/ 196501 h 389477"/>
                <a:gd name="connsiteX24" fmla="*/ 311563 w 397859"/>
                <a:gd name="connsiteY24" fmla="*/ 195072 h 389477"/>
                <a:gd name="connsiteX25" fmla="*/ 303181 w 397859"/>
                <a:gd name="connsiteY25" fmla="*/ 148400 h 389477"/>
                <a:gd name="connsiteX26" fmla="*/ 279654 w 397859"/>
                <a:gd name="connsiteY26" fmla="*/ 110204 h 389477"/>
                <a:gd name="connsiteX27" fmla="*/ 243840 w 397859"/>
                <a:gd name="connsiteY27" fmla="*/ 84392 h 389477"/>
                <a:gd name="connsiteX28" fmla="*/ 197834 w 397859"/>
                <a:gd name="connsiteY28" fmla="*/ 74867 h 389477"/>
                <a:gd name="connsiteX29" fmla="*/ 151829 w 397859"/>
                <a:gd name="connsiteY29" fmla="*/ 84392 h 389477"/>
                <a:gd name="connsiteX30" fmla="*/ 116396 w 397859"/>
                <a:gd name="connsiteY30" fmla="*/ 109823 h 389477"/>
                <a:gd name="connsiteX31" fmla="*/ 93917 w 397859"/>
                <a:gd name="connsiteY31" fmla="*/ 147638 h 389477"/>
                <a:gd name="connsiteX32" fmla="*/ 86201 w 397859"/>
                <a:gd name="connsiteY32" fmla="*/ 193548 h 389477"/>
                <a:gd name="connsiteX33" fmla="*/ 86201 w 397859"/>
                <a:gd name="connsiteY33" fmla="*/ 194977 h 389477"/>
                <a:gd name="connsiteX34" fmla="*/ 94583 w 397859"/>
                <a:gd name="connsiteY34" fmla="*/ 241268 h 389477"/>
                <a:gd name="connsiteX35" fmla="*/ 118110 w 397859"/>
                <a:gd name="connsiteY35" fmla="*/ 279463 h 389477"/>
                <a:gd name="connsiteX36" fmla="*/ 153924 w 397859"/>
                <a:gd name="connsiteY36" fmla="*/ 305562 h 389477"/>
                <a:gd name="connsiteX37" fmla="*/ 199263 w 397859"/>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859" h="389477">
                  <a:moveTo>
                    <a:pt x="197834" y="389477"/>
                  </a:moveTo>
                  <a:cubicBezTo>
                    <a:pt x="169545" y="389477"/>
                    <a:pt x="143351" y="384429"/>
                    <a:pt x="119063" y="374237"/>
                  </a:cubicBezTo>
                  <a:cubicBezTo>
                    <a:pt x="94774" y="364141"/>
                    <a:pt x="73819" y="350330"/>
                    <a:pt x="56197" y="332899"/>
                  </a:cubicBezTo>
                  <a:cubicBezTo>
                    <a:pt x="38481" y="315468"/>
                    <a:pt x="24765" y="294989"/>
                    <a:pt x="14859" y="271463"/>
                  </a:cubicBezTo>
                  <a:cubicBezTo>
                    <a:pt x="4953" y="247936"/>
                    <a:pt x="0" y="222980"/>
                    <a:pt x="0" y="196501"/>
                  </a:cubicBezTo>
                  <a:lnTo>
                    <a:pt x="0" y="195072"/>
                  </a:lnTo>
                  <a:cubicBezTo>
                    <a:pt x="0" y="168212"/>
                    <a:pt x="5048" y="143066"/>
                    <a:pt x="15145" y="119444"/>
                  </a:cubicBezTo>
                  <a:cubicBezTo>
                    <a:pt x="25241" y="95917"/>
                    <a:pt x="39148" y="75248"/>
                    <a:pt x="56864" y="57626"/>
                  </a:cubicBezTo>
                  <a:cubicBezTo>
                    <a:pt x="74581" y="39910"/>
                    <a:pt x="95536" y="25908"/>
                    <a:pt x="119729" y="15526"/>
                  </a:cubicBezTo>
                  <a:cubicBezTo>
                    <a:pt x="144018" y="5144"/>
                    <a:pt x="170497" y="0"/>
                    <a:pt x="199263" y="0"/>
                  </a:cubicBezTo>
                  <a:cubicBezTo>
                    <a:pt x="228029" y="0"/>
                    <a:pt x="254508" y="5048"/>
                    <a:pt x="278797" y="15240"/>
                  </a:cubicBezTo>
                  <a:cubicBezTo>
                    <a:pt x="303085" y="25337"/>
                    <a:pt x="324041" y="39243"/>
                    <a:pt x="341662" y="56959"/>
                  </a:cubicBezTo>
                  <a:cubicBezTo>
                    <a:pt x="359378" y="74676"/>
                    <a:pt x="373094" y="95155"/>
                    <a:pt x="383000" y="118396"/>
                  </a:cubicBezTo>
                  <a:cubicBezTo>
                    <a:pt x="392906" y="141732"/>
                    <a:pt x="397859" y="166783"/>
                    <a:pt x="397859" y="193643"/>
                  </a:cubicBezTo>
                  <a:lnTo>
                    <a:pt x="397859" y="195072"/>
                  </a:lnTo>
                  <a:cubicBezTo>
                    <a:pt x="397859" y="221456"/>
                    <a:pt x="392811" y="246412"/>
                    <a:pt x="382619" y="270034"/>
                  </a:cubicBezTo>
                  <a:cubicBezTo>
                    <a:pt x="372523" y="293561"/>
                    <a:pt x="358616" y="314230"/>
                    <a:pt x="340900" y="331851"/>
                  </a:cubicBezTo>
                  <a:cubicBezTo>
                    <a:pt x="323183" y="349472"/>
                    <a:pt x="302133" y="363569"/>
                    <a:pt x="277654" y="373856"/>
                  </a:cubicBezTo>
                  <a:cubicBezTo>
                    <a:pt x="253175" y="384238"/>
                    <a:pt x="226504" y="389382"/>
                    <a:pt x="197834" y="389382"/>
                  </a:cubicBezTo>
                  <a:close/>
                  <a:moveTo>
                    <a:pt x="199263" y="315278"/>
                  </a:moveTo>
                  <a:cubicBezTo>
                    <a:pt x="216598" y="315278"/>
                    <a:pt x="232124" y="312039"/>
                    <a:pt x="245935" y="305753"/>
                  </a:cubicBezTo>
                  <a:cubicBezTo>
                    <a:pt x="259747" y="299371"/>
                    <a:pt x="271558" y="290798"/>
                    <a:pt x="281368" y="279940"/>
                  </a:cubicBezTo>
                  <a:cubicBezTo>
                    <a:pt x="291179" y="269081"/>
                    <a:pt x="298704" y="256508"/>
                    <a:pt x="303847" y="242125"/>
                  </a:cubicBezTo>
                  <a:cubicBezTo>
                    <a:pt x="308991" y="227743"/>
                    <a:pt x="311563" y="212598"/>
                    <a:pt x="311563" y="196501"/>
                  </a:cubicBezTo>
                  <a:lnTo>
                    <a:pt x="311563" y="195072"/>
                  </a:lnTo>
                  <a:cubicBezTo>
                    <a:pt x="311563" y="178594"/>
                    <a:pt x="308800" y="163068"/>
                    <a:pt x="303181" y="148400"/>
                  </a:cubicBezTo>
                  <a:cubicBezTo>
                    <a:pt x="297561" y="133826"/>
                    <a:pt x="289750" y="121063"/>
                    <a:pt x="279654" y="110204"/>
                  </a:cubicBezTo>
                  <a:cubicBezTo>
                    <a:pt x="269558" y="99346"/>
                    <a:pt x="257651" y="90773"/>
                    <a:pt x="243840" y="84392"/>
                  </a:cubicBezTo>
                  <a:cubicBezTo>
                    <a:pt x="230029" y="78010"/>
                    <a:pt x="214693" y="74867"/>
                    <a:pt x="197834" y="74867"/>
                  </a:cubicBezTo>
                  <a:cubicBezTo>
                    <a:pt x="180975" y="74867"/>
                    <a:pt x="165640" y="78010"/>
                    <a:pt x="151829" y="84392"/>
                  </a:cubicBezTo>
                  <a:cubicBezTo>
                    <a:pt x="138017" y="90773"/>
                    <a:pt x="126206" y="99250"/>
                    <a:pt x="116396" y="109823"/>
                  </a:cubicBezTo>
                  <a:cubicBezTo>
                    <a:pt x="106585" y="120396"/>
                    <a:pt x="99060" y="133064"/>
                    <a:pt x="93917" y="147638"/>
                  </a:cubicBezTo>
                  <a:cubicBezTo>
                    <a:pt x="88773" y="162211"/>
                    <a:pt x="86201" y="177546"/>
                    <a:pt x="86201" y="193548"/>
                  </a:cubicBezTo>
                  <a:lnTo>
                    <a:pt x="86201" y="194977"/>
                  </a:lnTo>
                  <a:cubicBezTo>
                    <a:pt x="86201" y="211455"/>
                    <a:pt x="88963" y="226886"/>
                    <a:pt x="94583" y="241268"/>
                  </a:cubicBezTo>
                  <a:cubicBezTo>
                    <a:pt x="100203" y="255651"/>
                    <a:pt x="108013" y="268319"/>
                    <a:pt x="118110" y="279463"/>
                  </a:cubicBezTo>
                  <a:cubicBezTo>
                    <a:pt x="128206" y="290513"/>
                    <a:pt x="140113" y="299275"/>
                    <a:pt x="153924" y="305562"/>
                  </a:cubicBezTo>
                  <a:cubicBezTo>
                    <a:pt x="167735" y="311944"/>
                    <a:pt x="182880"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25" name="Freeform: Shape 24">
              <a:extLst>
                <a:ext uri="{FF2B5EF4-FFF2-40B4-BE49-F238E27FC236}">
                  <a16:creationId xmlns:a16="http://schemas.microsoft.com/office/drawing/2014/main" id="{E7EC5F12-FFCD-2F57-798C-14138565D3B2}"/>
                </a:ext>
              </a:extLst>
            </p:cNvPr>
            <p:cNvSpPr/>
            <p:nvPr/>
          </p:nvSpPr>
          <p:spPr>
            <a:xfrm>
              <a:off x="5806925"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2 w 296894"/>
                <a:gd name="connsiteY36" fmla="*/ 224980 h 386714"/>
                <a:gd name="connsiteX37" fmla="*/ 296894 w 296894"/>
                <a:gd name="connsiteY37" fmla="*/ 267938 h 386714"/>
                <a:gd name="connsiteX38" fmla="*/ 296894 w 296894"/>
                <a:gd name="connsiteY38" fmla="*/ 269367 h 386714"/>
                <a:gd name="connsiteX39" fmla="*/ 286322 w 296894"/>
                <a:gd name="connsiteY39" fmla="*/ 320897 h 386714"/>
                <a:gd name="connsiteX40" fmla="*/ 256984 w 296894"/>
                <a:gd name="connsiteY40" fmla="*/ 357188 h 386714"/>
                <a:gd name="connsiteX41" fmla="*/ 212789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8" y="298704"/>
                    <a:pt x="100013" y="306514"/>
                  </a:cubicBezTo>
                  <a:cubicBezTo>
                    <a:pt x="120967" y="314325"/>
                    <a:pt x="141161" y="318135"/>
                    <a:pt x="160401" y="318135"/>
                  </a:cubicBezTo>
                  <a:cubicBezTo>
                    <a:pt x="179642" y="318135"/>
                    <a:pt x="192976"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2" y="241078"/>
                    <a:pt x="176498" y="237553"/>
                    <a:pt x="166402" y="234220"/>
                  </a:cubicBezTo>
                  <a:cubicBezTo>
                    <a:pt x="156305" y="230886"/>
                    <a:pt x="145733" y="227647"/>
                    <a:pt x="134969" y="224314"/>
                  </a:cubicBezTo>
                  <a:cubicBezTo>
                    <a:pt x="121253" y="220599"/>
                    <a:pt x="107537" y="216122"/>
                    <a:pt x="93631" y="210884"/>
                  </a:cubicBezTo>
                  <a:cubicBezTo>
                    <a:pt x="79724" y="205740"/>
                    <a:pt x="67246" y="198977"/>
                    <a:pt x="56197" y="190786"/>
                  </a:cubicBezTo>
                  <a:cubicBezTo>
                    <a:pt x="45149" y="182594"/>
                    <a:pt x="36100" y="172307"/>
                    <a:pt x="28956" y="160115"/>
                  </a:cubicBezTo>
                  <a:cubicBezTo>
                    <a:pt x="21908"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5"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7" y="156210"/>
                    <a:pt x="180975" y="159448"/>
                  </a:cubicBezTo>
                  <a:cubicBezTo>
                    <a:pt x="194596" y="163639"/>
                    <a:pt x="208312" y="168592"/>
                    <a:pt x="222028" y="174212"/>
                  </a:cubicBezTo>
                  <a:cubicBezTo>
                    <a:pt x="235649" y="179832"/>
                    <a:pt x="248031" y="186785"/>
                    <a:pt x="259080" y="194977"/>
                  </a:cubicBezTo>
                  <a:cubicBezTo>
                    <a:pt x="270129" y="203168"/>
                    <a:pt x="279273" y="213169"/>
                    <a:pt x="286322" y="224980"/>
                  </a:cubicBezTo>
                  <a:cubicBezTo>
                    <a:pt x="293370" y="236696"/>
                    <a:pt x="296894" y="251079"/>
                    <a:pt x="296894" y="267938"/>
                  </a:cubicBezTo>
                  <a:lnTo>
                    <a:pt x="296894" y="269367"/>
                  </a:lnTo>
                  <a:cubicBezTo>
                    <a:pt x="296894" y="289084"/>
                    <a:pt x="293370" y="306229"/>
                    <a:pt x="286322" y="320897"/>
                  </a:cubicBezTo>
                  <a:cubicBezTo>
                    <a:pt x="279273" y="335470"/>
                    <a:pt x="269462" y="347567"/>
                    <a:pt x="256984" y="357188"/>
                  </a:cubicBezTo>
                  <a:cubicBezTo>
                    <a:pt x="244507" y="366808"/>
                    <a:pt x="229743" y="374142"/>
                    <a:pt x="212789"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6" name="Freeform: Shape 25">
              <a:extLst>
                <a:ext uri="{FF2B5EF4-FFF2-40B4-BE49-F238E27FC236}">
                  <a16:creationId xmlns:a16="http://schemas.microsoft.com/office/drawing/2014/main" id="{B38074B6-6CED-E5B4-2133-18C76EFF3D4E}"/>
                </a:ext>
              </a:extLst>
            </p:cNvPr>
            <p:cNvSpPr/>
            <p:nvPr/>
          </p:nvSpPr>
          <p:spPr>
            <a:xfrm>
              <a:off x="589573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6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160" y="318135"/>
                    <a:pt x="160401" y="318135"/>
                  </a:cubicBezTo>
                  <a:cubicBezTo>
                    <a:pt x="179641" y="318135"/>
                    <a:pt x="192976"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4"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792"/>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7" name="Freeform: Shape 26">
              <a:extLst>
                <a:ext uri="{FF2B5EF4-FFF2-40B4-BE49-F238E27FC236}">
                  <a16:creationId xmlns:a16="http://schemas.microsoft.com/office/drawing/2014/main" id="{740683A5-DD86-D11E-0157-93310ACAE783}"/>
                </a:ext>
              </a:extLst>
            </p:cNvPr>
            <p:cNvSpPr/>
            <p:nvPr/>
          </p:nvSpPr>
          <p:spPr>
            <a:xfrm>
              <a:off x="5985812" y="700558"/>
              <a:ext cx="85097" cy="97141"/>
            </a:xfrm>
            <a:custGeom>
              <a:avLst/>
              <a:gdLst>
                <a:gd name="connsiteX0" fmla="*/ 253651 w 338518"/>
                <a:gd name="connsiteY0" fmla="*/ 378619 h 386429"/>
                <a:gd name="connsiteX1" fmla="*/ 253651 w 338518"/>
                <a:gd name="connsiteY1" fmla="*/ 332708 h 386429"/>
                <a:gd name="connsiteX2" fmla="*/ 204883 w 338518"/>
                <a:gd name="connsiteY2" fmla="*/ 370904 h 386429"/>
                <a:gd name="connsiteX3" fmla="*/ 132779 w 338518"/>
                <a:gd name="connsiteY3" fmla="*/ 386429 h 386429"/>
                <a:gd name="connsiteX4" fmla="*/ 81915 w 338518"/>
                <a:gd name="connsiteY4" fmla="*/ 379000 h 386429"/>
                <a:gd name="connsiteX5" fmla="*/ 39910 w 338518"/>
                <a:gd name="connsiteY5" fmla="*/ 357092 h 386429"/>
                <a:gd name="connsiteX6" fmla="*/ 10954 w 338518"/>
                <a:gd name="connsiteY6" fmla="*/ 321088 h 386429"/>
                <a:gd name="connsiteX7" fmla="*/ 0 w 338518"/>
                <a:gd name="connsiteY7" fmla="*/ 271272 h 386429"/>
                <a:gd name="connsiteX8" fmla="*/ 0 w 338518"/>
                <a:gd name="connsiteY8" fmla="*/ 269843 h 386429"/>
                <a:gd name="connsiteX9" fmla="*/ 11335 w 338518"/>
                <a:gd name="connsiteY9" fmla="*/ 215741 h 386429"/>
                <a:gd name="connsiteX10" fmla="*/ 42767 w 338518"/>
                <a:gd name="connsiteY10" fmla="*/ 177546 h 386429"/>
                <a:gd name="connsiteX11" fmla="*/ 90773 w 338518"/>
                <a:gd name="connsiteY11" fmla="*/ 154972 h 386429"/>
                <a:gd name="connsiteX12" fmla="*/ 151162 w 338518"/>
                <a:gd name="connsiteY12" fmla="*/ 147542 h 386429"/>
                <a:gd name="connsiteX13" fmla="*/ 208788 w 338518"/>
                <a:gd name="connsiteY13" fmla="*/ 151829 h 386429"/>
                <a:gd name="connsiteX14" fmla="*/ 254413 w 338518"/>
                <a:gd name="connsiteY14" fmla="*/ 163163 h 386429"/>
                <a:gd name="connsiteX15" fmla="*/ 254413 w 338518"/>
                <a:gd name="connsiteY15" fmla="*/ 156115 h 386429"/>
                <a:gd name="connsiteX16" fmla="*/ 230696 w 338518"/>
                <a:gd name="connsiteY16" fmla="*/ 96774 h 386429"/>
                <a:gd name="connsiteX17" fmla="*/ 162496 w 338518"/>
                <a:gd name="connsiteY17" fmla="*/ 76295 h 386429"/>
                <a:gd name="connsiteX18" fmla="*/ 106013 w 338518"/>
                <a:gd name="connsiteY18" fmla="*/ 82677 h 386429"/>
                <a:gd name="connsiteX19" fmla="*/ 55816 w 338518"/>
                <a:gd name="connsiteY19" fmla="*/ 99632 h 386429"/>
                <a:gd name="connsiteX20" fmla="*/ 32480 w 338518"/>
                <a:gd name="connsiteY20" fmla="*/ 31052 h 386429"/>
                <a:gd name="connsiteX21" fmla="*/ 96107 w 338518"/>
                <a:gd name="connsiteY21" fmla="*/ 8477 h 386429"/>
                <a:gd name="connsiteX22" fmla="*/ 174593 w 338518"/>
                <a:gd name="connsiteY22" fmla="*/ 0 h 386429"/>
                <a:gd name="connsiteX23" fmla="*/ 298228 w 338518"/>
                <a:gd name="connsiteY23" fmla="*/ 41338 h 386429"/>
                <a:gd name="connsiteX24" fmla="*/ 338519 w 338518"/>
                <a:gd name="connsiteY24" fmla="*/ 157544 h 386429"/>
                <a:gd name="connsiteX25" fmla="*/ 338519 w 338518"/>
                <a:gd name="connsiteY25" fmla="*/ 378714 h 386429"/>
                <a:gd name="connsiteX26" fmla="*/ 253746 w 338518"/>
                <a:gd name="connsiteY26" fmla="*/ 378714 h 386429"/>
                <a:gd name="connsiteX27" fmla="*/ 255746 w 338518"/>
                <a:gd name="connsiteY27" fmla="*/ 222409 h 386429"/>
                <a:gd name="connsiteX28" fmla="*/ 217265 w 338518"/>
                <a:gd name="connsiteY28" fmla="*/ 211836 h 386429"/>
                <a:gd name="connsiteX29" fmla="*/ 170307 w 338518"/>
                <a:gd name="connsiteY29" fmla="*/ 207550 h 386429"/>
                <a:gd name="connsiteX30" fmla="*/ 107442 w 338518"/>
                <a:gd name="connsiteY30" fmla="*/ 223075 h 386429"/>
                <a:gd name="connsiteX31" fmla="*/ 84868 w 338518"/>
                <a:gd name="connsiteY31" fmla="*/ 265462 h 386429"/>
                <a:gd name="connsiteX32" fmla="*/ 84868 w 338518"/>
                <a:gd name="connsiteY32" fmla="*/ 266891 h 386429"/>
                <a:gd name="connsiteX33" fmla="*/ 105728 w 338518"/>
                <a:gd name="connsiteY33" fmla="*/ 307848 h 386429"/>
                <a:gd name="connsiteX34" fmla="*/ 156972 w 338518"/>
                <a:gd name="connsiteY34" fmla="*/ 321945 h 386429"/>
                <a:gd name="connsiteX35" fmla="*/ 196215 w 338518"/>
                <a:gd name="connsiteY35" fmla="*/ 316325 h 386429"/>
                <a:gd name="connsiteX36" fmla="*/ 227647 w 338518"/>
                <a:gd name="connsiteY36" fmla="*/ 300419 h 386429"/>
                <a:gd name="connsiteX37" fmla="*/ 248507 w 338518"/>
                <a:gd name="connsiteY37" fmla="*/ 275654 h 386429"/>
                <a:gd name="connsiteX38" fmla="*/ 255937 w 338518"/>
                <a:gd name="connsiteY38" fmla="*/ 243459 h 386429"/>
                <a:gd name="connsiteX39" fmla="*/ 255937 w 338518"/>
                <a:gd name="connsiteY39" fmla="*/ 222218 h 3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8518" h="386429">
                  <a:moveTo>
                    <a:pt x="253651" y="378619"/>
                  </a:moveTo>
                  <a:lnTo>
                    <a:pt x="253651" y="332708"/>
                  </a:lnTo>
                  <a:cubicBezTo>
                    <a:pt x="240887" y="347758"/>
                    <a:pt x="224695" y="360521"/>
                    <a:pt x="204883" y="370904"/>
                  </a:cubicBezTo>
                  <a:cubicBezTo>
                    <a:pt x="185071" y="381286"/>
                    <a:pt x="161068" y="386429"/>
                    <a:pt x="132779" y="386429"/>
                  </a:cubicBezTo>
                  <a:cubicBezTo>
                    <a:pt x="114871" y="386429"/>
                    <a:pt x="97917" y="383953"/>
                    <a:pt x="81915" y="379000"/>
                  </a:cubicBezTo>
                  <a:cubicBezTo>
                    <a:pt x="65913" y="374047"/>
                    <a:pt x="51911" y="366713"/>
                    <a:pt x="39910" y="357092"/>
                  </a:cubicBezTo>
                  <a:cubicBezTo>
                    <a:pt x="27908" y="347472"/>
                    <a:pt x="18193" y="335471"/>
                    <a:pt x="10954" y="321088"/>
                  </a:cubicBezTo>
                  <a:cubicBezTo>
                    <a:pt x="3620" y="306705"/>
                    <a:pt x="0" y="290132"/>
                    <a:pt x="0" y="271272"/>
                  </a:cubicBezTo>
                  <a:lnTo>
                    <a:pt x="0" y="269843"/>
                  </a:lnTo>
                  <a:cubicBezTo>
                    <a:pt x="0" y="249079"/>
                    <a:pt x="3810" y="231077"/>
                    <a:pt x="11335" y="215741"/>
                  </a:cubicBezTo>
                  <a:cubicBezTo>
                    <a:pt x="18859" y="200406"/>
                    <a:pt x="29337" y="187738"/>
                    <a:pt x="42767" y="177546"/>
                  </a:cubicBezTo>
                  <a:cubicBezTo>
                    <a:pt x="56197" y="167450"/>
                    <a:pt x="72199" y="159925"/>
                    <a:pt x="90773" y="154972"/>
                  </a:cubicBezTo>
                  <a:cubicBezTo>
                    <a:pt x="109347" y="150019"/>
                    <a:pt x="129540" y="147542"/>
                    <a:pt x="151162" y="147542"/>
                  </a:cubicBezTo>
                  <a:cubicBezTo>
                    <a:pt x="172783" y="147542"/>
                    <a:pt x="192976" y="148971"/>
                    <a:pt x="208788" y="151829"/>
                  </a:cubicBezTo>
                  <a:cubicBezTo>
                    <a:pt x="224599" y="154686"/>
                    <a:pt x="239744" y="158401"/>
                    <a:pt x="254413" y="163163"/>
                  </a:cubicBezTo>
                  <a:lnTo>
                    <a:pt x="254413" y="156115"/>
                  </a:lnTo>
                  <a:cubicBezTo>
                    <a:pt x="254413" y="130207"/>
                    <a:pt x="246507" y="110395"/>
                    <a:pt x="230696" y="96774"/>
                  </a:cubicBezTo>
                  <a:cubicBezTo>
                    <a:pt x="214884" y="83153"/>
                    <a:pt x="192214" y="76295"/>
                    <a:pt x="162496" y="76295"/>
                  </a:cubicBezTo>
                  <a:cubicBezTo>
                    <a:pt x="141351" y="76295"/>
                    <a:pt x="122491" y="78391"/>
                    <a:pt x="106013" y="82677"/>
                  </a:cubicBezTo>
                  <a:cubicBezTo>
                    <a:pt x="89535" y="86963"/>
                    <a:pt x="72771" y="92583"/>
                    <a:pt x="55816" y="99632"/>
                  </a:cubicBezTo>
                  <a:lnTo>
                    <a:pt x="32480" y="31052"/>
                  </a:lnTo>
                  <a:cubicBezTo>
                    <a:pt x="53149" y="21622"/>
                    <a:pt x="74390" y="14097"/>
                    <a:pt x="96107" y="8477"/>
                  </a:cubicBezTo>
                  <a:cubicBezTo>
                    <a:pt x="117729" y="2858"/>
                    <a:pt x="143923" y="0"/>
                    <a:pt x="174593" y="0"/>
                  </a:cubicBezTo>
                  <a:cubicBezTo>
                    <a:pt x="230124" y="0"/>
                    <a:pt x="271367" y="13811"/>
                    <a:pt x="298228" y="41338"/>
                  </a:cubicBezTo>
                  <a:cubicBezTo>
                    <a:pt x="325088" y="68866"/>
                    <a:pt x="338519" y="107633"/>
                    <a:pt x="338519" y="157544"/>
                  </a:cubicBezTo>
                  <a:lnTo>
                    <a:pt x="338519" y="378714"/>
                  </a:lnTo>
                  <a:lnTo>
                    <a:pt x="253746" y="378714"/>
                  </a:lnTo>
                  <a:close/>
                  <a:moveTo>
                    <a:pt x="255746" y="222409"/>
                  </a:moveTo>
                  <a:cubicBezTo>
                    <a:pt x="244888" y="218123"/>
                    <a:pt x="232029" y="214598"/>
                    <a:pt x="217265" y="211836"/>
                  </a:cubicBezTo>
                  <a:cubicBezTo>
                    <a:pt x="202406" y="208979"/>
                    <a:pt x="186785" y="207550"/>
                    <a:pt x="170307" y="207550"/>
                  </a:cubicBezTo>
                  <a:cubicBezTo>
                    <a:pt x="143446" y="207550"/>
                    <a:pt x="122491" y="212693"/>
                    <a:pt x="107442" y="223075"/>
                  </a:cubicBezTo>
                  <a:cubicBezTo>
                    <a:pt x="92392" y="233458"/>
                    <a:pt x="84868" y="247555"/>
                    <a:pt x="84868" y="265462"/>
                  </a:cubicBezTo>
                  <a:lnTo>
                    <a:pt x="84868" y="266891"/>
                  </a:lnTo>
                  <a:cubicBezTo>
                    <a:pt x="84868" y="284798"/>
                    <a:pt x="91821" y="298418"/>
                    <a:pt x="105728" y="307848"/>
                  </a:cubicBezTo>
                  <a:cubicBezTo>
                    <a:pt x="119634" y="317278"/>
                    <a:pt x="136684" y="321945"/>
                    <a:pt x="156972" y="321945"/>
                  </a:cubicBezTo>
                  <a:cubicBezTo>
                    <a:pt x="171069" y="321945"/>
                    <a:pt x="184213" y="320040"/>
                    <a:pt x="196215" y="316325"/>
                  </a:cubicBezTo>
                  <a:cubicBezTo>
                    <a:pt x="208216" y="312515"/>
                    <a:pt x="218694" y="307277"/>
                    <a:pt x="227647" y="300419"/>
                  </a:cubicBezTo>
                  <a:cubicBezTo>
                    <a:pt x="236601" y="293561"/>
                    <a:pt x="243554" y="285369"/>
                    <a:pt x="248507" y="275654"/>
                  </a:cubicBezTo>
                  <a:cubicBezTo>
                    <a:pt x="253460" y="266033"/>
                    <a:pt x="255937" y="255270"/>
                    <a:pt x="255937" y="243459"/>
                  </a:cubicBezTo>
                  <a:lnTo>
                    <a:pt x="255937" y="222218"/>
                  </a:lnTo>
                  <a:close/>
                </a:path>
              </a:pathLst>
            </a:custGeom>
            <a:solidFill>
              <a:srgbClr val="44505E"/>
            </a:solidFill>
            <a:ln w="9525" cap="flat">
              <a:noFill/>
              <a:prstDash val="solid"/>
              <a:miter/>
            </a:ln>
          </p:spPr>
          <p:txBody>
            <a:bodyPr rtlCol="0" anchor="ctr"/>
            <a:lstStyle/>
            <a:p>
              <a:endParaRPr lang="pt-BR" noProof="0"/>
            </a:p>
          </p:txBody>
        </p:sp>
        <p:sp>
          <p:nvSpPr>
            <p:cNvPr id="28" name="Freeform: Shape 27">
              <a:extLst>
                <a:ext uri="{FF2B5EF4-FFF2-40B4-BE49-F238E27FC236}">
                  <a16:creationId xmlns:a16="http://schemas.microsoft.com/office/drawing/2014/main" id="{81B7CFEA-7221-1B55-94EB-6DAE37802285}"/>
                </a:ext>
              </a:extLst>
            </p:cNvPr>
            <p:cNvSpPr/>
            <p:nvPr/>
          </p:nvSpPr>
          <p:spPr>
            <a:xfrm>
              <a:off x="6088843" y="700318"/>
              <a:ext cx="74610" cy="97213"/>
            </a:xfrm>
            <a:custGeom>
              <a:avLst/>
              <a:gdLst>
                <a:gd name="connsiteX0" fmla="*/ 158305 w 296799"/>
                <a:gd name="connsiteY0" fmla="*/ 386715 h 386714"/>
                <a:gd name="connsiteX1" fmla="*/ 76676 w 296799"/>
                <a:gd name="connsiteY1" fmla="*/ 372427 h 386714"/>
                <a:gd name="connsiteX2" fmla="*/ 0 w 296799"/>
                <a:gd name="connsiteY2" fmla="*/ 330327 h 386714"/>
                <a:gd name="connsiteX3" fmla="*/ 38195 w 296799"/>
                <a:gd name="connsiteY3" fmla="*/ 272224 h 386714"/>
                <a:gd name="connsiteX4" fmla="*/ 100013 w 296799"/>
                <a:gd name="connsiteY4" fmla="*/ 306514 h 386714"/>
                <a:gd name="connsiteX5" fmla="*/ 160401 w 296799"/>
                <a:gd name="connsiteY5" fmla="*/ 318135 h 386714"/>
                <a:gd name="connsiteX6" fmla="*/ 203168 w 296799"/>
                <a:gd name="connsiteY6" fmla="*/ 307181 h 386714"/>
                <a:gd name="connsiteX7" fmla="*/ 218408 w 296799"/>
                <a:gd name="connsiteY7" fmla="*/ 277939 h 386714"/>
                <a:gd name="connsiteX8" fmla="*/ 218408 w 296799"/>
                <a:gd name="connsiteY8" fmla="*/ 276511 h 386714"/>
                <a:gd name="connsiteX9" fmla="*/ 211646 w 296799"/>
                <a:gd name="connsiteY9" fmla="*/ 258223 h 386714"/>
                <a:gd name="connsiteX10" fmla="*/ 193262 w 296799"/>
                <a:gd name="connsiteY10" fmla="*/ 244792 h 386714"/>
                <a:gd name="connsiteX11" fmla="*/ 166402 w 296799"/>
                <a:gd name="connsiteY11" fmla="*/ 234220 h 386714"/>
                <a:gd name="connsiteX12" fmla="*/ 134969 w 296799"/>
                <a:gd name="connsiteY12" fmla="*/ 224314 h 386714"/>
                <a:gd name="connsiteX13" fmla="*/ 93631 w 296799"/>
                <a:gd name="connsiteY13" fmla="*/ 210884 h 386714"/>
                <a:gd name="connsiteX14" fmla="*/ 56197 w 296799"/>
                <a:gd name="connsiteY14" fmla="*/ 190786 h 386714"/>
                <a:gd name="connsiteX15" fmla="*/ 28956 w 296799"/>
                <a:gd name="connsiteY15" fmla="*/ 160115 h 386714"/>
                <a:gd name="connsiteX16" fmla="*/ 18383 w 296799"/>
                <a:gd name="connsiteY16" fmla="*/ 114967 h 386714"/>
                <a:gd name="connsiteX17" fmla="*/ 18383 w 296799"/>
                <a:gd name="connsiteY17" fmla="*/ 113538 h 386714"/>
                <a:gd name="connsiteX18" fmla="*/ 28575 w 296799"/>
                <a:gd name="connsiteY18" fmla="*/ 66294 h 386714"/>
                <a:gd name="connsiteX19" fmla="*/ 56864 w 296799"/>
                <a:gd name="connsiteY19" fmla="*/ 30385 h 386714"/>
                <a:gd name="connsiteX20" fmla="*/ 99250 w 296799"/>
                <a:gd name="connsiteY20" fmla="*/ 7810 h 386714"/>
                <a:gd name="connsiteX21" fmla="*/ 151162 w 296799"/>
                <a:gd name="connsiteY21" fmla="*/ 0 h 386714"/>
                <a:gd name="connsiteX22" fmla="*/ 222504 w 296799"/>
                <a:gd name="connsiteY22" fmla="*/ 11430 h 386714"/>
                <a:gd name="connsiteX23" fmla="*/ 288227 w 296799"/>
                <a:gd name="connsiteY23" fmla="*/ 42863 h 386714"/>
                <a:gd name="connsiteX24" fmla="*/ 254317 w 296799"/>
                <a:gd name="connsiteY24" fmla="*/ 103918 h 386714"/>
                <a:gd name="connsiteX25" fmla="*/ 199930 w 296799"/>
                <a:gd name="connsiteY25" fmla="*/ 78105 h 386714"/>
                <a:gd name="connsiteX26" fmla="*/ 149066 w 296799"/>
                <a:gd name="connsiteY26" fmla="*/ 68580 h 386714"/>
                <a:gd name="connsiteX27" fmla="*/ 110585 w 296799"/>
                <a:gd name="connsiteY27" fmla="*/ 79153 h 386714"/>
                <a:gd name="connsiteX28" fmla="*/ 96774 w 296799"/>
                <a:gd name="connsiteY28" fmla="*/ 105918 h 386714"/>
                <a:gd name="connsiteX29" fmla="*/ 96774 w 296799"/>
                <a:gd name="connsiteY29" fmla="*/ 107347 h 386714"/>
                <a:gd name="connsiteX30" fmla="*/ 103822 w 296799"/>
                <a:gd name="connsiteY30" fmla="*/ 124587 h 386714"/>
                <a:gd name="connsiteX31" fmla="*/ 122587 w 296799"/>
                <a:gd name="connsiteY31" fmla="*/ 138017 h 386714"/>
                <a:gd name="connsiteX32" fmla="*/ 149447 w 296799"/>
                <a:gd name="connsiteY32" fmla="*/ 149257 h 386714"/>
                <a:gd name="connsiteX33" fmla="*/ 180880 w 296799"/>
                <a:gd name="connsiteY33" fmla="*/ 159448 h 386714"/>
                <a:gd name="connsiteX34" fmla="*/ 221837 w 296799"/>
                <a:gd name="connsiteY34" fmla="*/ 174212 h 386714"/>
                <a:gd name="connsiteX35" fmla="*/ 258985 w 296799"/>
                <a:gd name="connsiteY35" fmla="*/ 194977 h 386714"/>
                <a:gd name="connsiteX36" fmla="*/ 286226 w 296799"/>
                <a:gd name="connsiteY36" fmla="*/ 224980 h 386714"/>
                <a:gd name="connsiteX37" fmla="*/ 296799 w 296799"/>
                <a:gd name="connsiteY37" fmla="*/ 267938 h 386714"/>
                <a:gd name="connsiteX38" fmla="*/ 296799 w 296799"/>
                <a:gd name="connsiteY38" fmla="*/ 269367 h 386714"/>
                <a:gd name="connsiteX39" fmla="*/ 286226 w 296799"/>
                <a:gd name="connsiteY39" fmla="*/ 320897 h 386714"/>
                <a:gd name="connsiteX40" fmla="*/ 256889 w 296799"/>
                <a:gd name="connsiteY40" fmla="*/ 357188 h 386714"/>
                <a:gd name="connsiteX41" fmla="*/ 212693 w 296799"/>
                <a:gd name="connsiteY41" fmla="*/ 379095 h 386714"/>
                <a:gd name="connsiteX42" fmla="*/ 158305 w 296799"/>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799"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065" y="318135"/>
                    <a:pt x="160401" y="318135"/>
                  </a:cubicBezTo>
                  <a:cubicBezTo>
                    <a:pt x="179737" y="318135"/>
                    <a:pt x="193072"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828" y="227647"/>
                    <a:pt x="134969" y="224314"/>
                  </a:cubicBezTo>
                  <a:cubicBezTo>
                    <a:pt x="121348" y="220599"/>
                    <a:pt x="107537" y="216122"/>
                    <a:pt x="93631" y="210884"/>
                  </a:cubicBezTo>
                  <a:cubicBezTo>
                    <a:pt x="79724" y="205740"/>
                    <a:pt x="67246" y="198977"/>
                    <a:pt x="56197" y="190786"/>
                  </a:cubicBezTo>
                  <a:cubicBezTo>
                    <a:pt x="45148" y="182594"/>
                    <a:pt x="36004"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874" y="0"/>
                    <a:pt x="151162" y="0"/>
                  </a:cubicBezTo>
                  <a:cubicBezTo>
                    <a:pt x="174688" y="0"/>
                    <a:pt x="198501" y="3810"/>
                    <a:pt x="222504" y="11430"/>
                  </a:cubicBezTo>
                  <a:cubicBezTo>
                    <a:pt x="246507" y="19050"/>
                    <a:pt x="268414" y="29527"/>
                    <a:pt x="288227" y="42863"/>
                  </a:cubicBezTo>
                  <a:lnTo>
                    <a:pt x="254317"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774" y="95155"/>
                    <a:pt x="96774" y="105918"/>
                  </a:cubicBezTo>
                  <a:lnTo>
                    <a:pt x="96774" y="107347"/>
                  </a:lnTo>
                  <a:cubicBezTo>
                    <a:pt x="96774" y="113919"/>
                    <a:pt x="99155" y="119634"/>
                    <a:pt x="103822" y="124587"/>
                  </a:cubicBezTo>
                  <a:cubicBezTo>
                    <a:pt x="108490" y="129540"/>
                    <a:pt x="114776" y="134017"/>
                    <a:pt x="122587" y="138017"/>
                  </a:cubicBezTo>
                  <a:cubicBezTo>
                    <a:pt x="130397" y="142018"/>
                    <a:pt x="139351" y="145732"/>
                    <a:pt x="149447" y="149257"/>
                  </a:cubicBezTo>
                  <a:cubicBezTo>
                    <a:pt x="159544" y="152781"/>
                    <a:pt x="170021" y="156210"/>
                    <a:pt x="180880" y="159448"/>
                  </a:cubicBezTo>
                  <a:cubicBezTo>
                    <a:pt x="194500" y="163639"/>
                    <a:pt x="208216" y="168592"/>
                    <a:pt x="221837" y="174212"/>
                  </a:cubicBezTo>
                  <a:cubicBezTo>
                    <a:pt x="235458" y="179832"/>
                    <a:pt x="247840" y="186785"/>
                    <a:pt x="258985" y="194977"/>
                  </a:cubicBezTo>
                  <a:cubicBezTo>
                    <a:pt x="270034" y="203168"/>
                    <a:pt x="279178" y="213169"/>
                    <a:pt x="286226" y="224980"/>
                  </a:cubicBezTo>
                  <a:cubicBezTo>
                    <a:pt x="293275" y="236696"/>
                    <a:pt x="296799" y="251079"/>
                    <a:pt x="296799" y="267938"/>
                  </a:cubicBezTo>
                  <a:lnTo>
                    <a:pt x="296799" y="269367"/>
                  </a:lnTo>
                  <a:cubicBezTo>
                    <a:pt x="296799" y="289084"/>
                    <a:pt x="293275" y="306229"/>
                    <a:pt x="286226" y="320897"/>
                  </a:cubicBezTo>
                  <a:cubicBezTo>
                    <a:pt x="279178" y="335470"/>
                    <a:pt x="269367" y="347567"/>
                    <a:pt x="256889" y="357188"/>
                  </a:cubicBezTo>
                  <a:cubicBezTo>
                    <a:pt x="244412" y="366808"/>
                    <a:pt x="229648" y="374142"/>
                    <a:pt x="212693" y="379095"/>
                  </a:cubicBezTo>
                  <a:cubicBezTo>
                    <a:pt x="195739" y="384048"/>
                    <a:pt x="177641" y="386524"/>
                    <a:pt x="158305" y="386524"/>
                  </a:cubicBezTo>
                  <a:close/>
                </a:path>
              </a:pathLst>
            </a:custGeom>
            <a:solidFill>
              <a:srgbClr val="44505E"/>
            </a:solidFill>
            <a:ln w="9525" cap="flat">
              <a:noFill/>
              <a:prstDash val="solid"/>
              <a:miter/>
            </a:ln>
          </p:spPr>
          <p:txBody>
            <a:bodyPr rtlCol="0" anchor="ctr"/>
            <a:lstStyle/>
            <a:p>
              <a:endParaRPr lang="pt-BR" noProof="0"/>
            </a:p>
          </p:txBody>
        </p:sp>
        <p:sp>
          <p:nvSpPr>
            <p:cNvPr id="29" name="Freeform: Shape 28">
              <a:extLst>
                <a:ext uri="{FF2B5EF4-FFF2-40B4-BE49-F238E27FC236}">
                  <a16:creationId xmlns:a16="http://schemas.microsoft.com/office/drawing/2014/main" id="{21EF55C0-DAFE-EC95-2C0B-45E468D725A4}"/>
                </a:ext>
              </a:extLst>
            </p:cNvPr>
            <p:cNvSpPr/>
            <p:nvPr/>
          </p:nvSpPr>
          <p:spPr>
            <a:xfrm>
              <a:off x="6238590"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4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7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2 w 568166"/>
                <a:gd name="connsiteY21" fmla="*/ 381000 h 381000"/>
                <a:gd name="connsiteX22" fmla="*/ 240982 w 568166"/>
                <a:gd name="connsiteY22" fmla="*/ 168783 h 381000"/>
                <a:gd name="connsiteX23" fmla="*/ 221266 w 568166"/>
                <a:gd name="connsiteY23" fmla="*/ 101822 h 381000"/>
                <a:gd name="connsiteX24" fmla="*/ 165640 w 568166"/>
                <a:gd name="connsiteY24" fmla="*/ 78581 h 381000"/>
                <a:gd name="connsiteX25" fmla="*/ 108013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69" y="48196"/>
                    <a:pt x="105918" y="40576"/>
                  </a:cubicBezTo>
                  <a:cubicBezTo>
                    <a:pt x="112966" y="32956"/>
                    <a:pt x="121063" y="26099"/>
                    <a:pt x="130207" y="19907"/>
                  </a:cubicBezTo>
                  <a:cubicBezTo>
                    <a:pt x="139351" y="13716"/>
                    <a:pt x="149638" y="8858"/>
                    <a:pt x="161163" y="5334"/>
                  </a:cubicBezTo>
                  <a:cubicBezTo>
                    <a:pt x="172688" y="1714"/>
                    <a:pt x="185452" y="0"/>
                    <a:pt x="199549" y="0"/>
                  </a:cubicBezTo>
                  <a:cubicBezTo>
                    <a:pt x="226314" y="0"/>
                    <a:pt x="248983" y="6096"/>
                    <a:pt x="267557" y="18193"/>
                  </a:cubicBezTo>
                  <a:cubicBezTo>
                    <a:pt x="286131" y="30289"/>
                    <a:pt x="300323" y="46387"/>
                    <a:pt x="310134" y="66294"/>
                  </a:cubicBezTo>
                  <a:cubicBezTo>
                    <a:pt x="325279" y="46387"/>
                    <a:pt x="343090" y="30289"/>
                    <a:pt x="363664" y="18193"/>
                  </a:cubicBezTo>
                  <a:cubicBezTo>
                    <a:pt x="384238" y="6096"/>
                    <a:pt x="408718" y="0"/>
                    <a:pt x="437007" y="0"/>
                  </a:cubicBezTo>
                  <a:cubicBezTo>
                    <a:pt x="478155"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7" y="78486"/>
                  </a:cubicBezTo>
                  <a:cubicBezTo>
                    <a:pt x="382809" y="78486"/>
                    <a:pt x="364141" y="86392"/>
                    <a:pt x="349377" y="102108"/>
                  </a:cubicBezTo>
                  <a:cubicBezTo>
                    <a:pt x="334613" y="117824"/>
                    <a:pt x="327184" y="140779"/>
                    <a:pt x="327184" y="170879"/>
                  </a:cubicBezTo>
                  <a:lnTo>
                    <a:pt x="327184" y="381000"/>
                  </a:lnTo>
                  <a:lnTo>
                    <a:pt x="240982" y="381000"/>
                  </a:lnTo>
                  <a:lnTo>
                    <a:pt x="240982" y="168783"/>
                  </a:lnTo>
                  <a:cubicBezTo>
                    <a:pt x="240982" y="139637"/>
                    <a:pt x="234410" y="117348"/>
                    <a:pt x="221266" y="101822"/>
                  </a:cubicBezTo>
                  <a:cubicBezTo>
                    <a:pt x="208121" y="86296"/>
                    <a:pt x="189547" y="78581"/>
                    <a:pt x="165640" y="78581"/>
                  </a:cubicBezTo>
                  <a:cubicBezTo>
                    <a:pt x="141732" y="78581"/>
                    <a:pt x="122491" y="86773"/>
                    <a:pt x="108013"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30" name="Freeform: Shape 29">
              <a:extLst>
                <a:ext uri="{FF2B5EF4-FFF2-40B4-BE49-F238E27FC236}">
                  <a16:creationId xmlns:a16="http://schemas.microsoft.com/office/drawing/2014/main" id="{D0E4A22B-9532-1C74-B976-46B2813F5236}"/>
                </a:ext>
              </a:extLst>
            </p:cNvPr>
            <p:cNvSpPr/>
            <p:nvPr/>
          </p:nvSpPr>
          <p:spPr>
            <a:xfrm>
              <a:off x="6400979" y="664258"/>
              <a:ext cx="85097" cy="133441"/>
            </a:xfrm>
            <a:custGeom>
              <a:avLst/>
              <a:gdLst>
                <a:gd name="connsiteX0" fmla="*/ 253651 w 338518"/>
                <a:gd name="connsiteY0" fmla="*/ 523018 h 530828"/>
                <a:gd name="connsiteX1" fmla="*/ 253651 w 338518"/>
                <a:gd name="connsiteY1" fmla="*/ 477107 h 530828"/>
                <a:gd name="connsiteX2" fmla="*/ 204883 w 338518"/>
                <a:gd name="connsiteY2" fmla="*/ 515303 h 530828"/>
                <a:gd name="connsiteX3" fmla="*/ 132779 w 338518"/>
                <a:gd name="connsiteY3" fmla="*/ 530828 h 530828"/>
                <a:gd name="connsiteX4" fmla="*/ 81915 w 338518"/>
                <a:gd name="connsiteY4" fmla="*/ 523399 h 530828"/>
                <a:gd name="connsiteX5" fmla="*/ 39910 w 338518"/>
                <a:gd name="connsiteY5" fmla="*/ 501491 h 530828"/>
                <a:gd name="connsiteX6" fmla="*/ 10954 w 338518"/>
                <a:gd name="connsiteY6" fmla="*/ 465487 h 530828"/>
                <a:gd name="connsiteX7" fmla="*/ 0 w 338518"/>
                <a:gd name="connsiteY7" fmla="*/ 415671 h 530828"/>
                <a:gd name="connsiteX8" fmla="*/ 0 w 338518"/>
                <a:gd name="connsiteY8" fmla="*/ 414242 h 530828"/>
                <a:gd name="connsiteX9" fmla="*/ 11335 w 338518"/>
                <a:gd name="connsiteY9" fmla="*/ 360140 h 530828"/>
                <a:gd name="connsiteX10" fmla="*/ 42767 w 338518"/>
                <a:gd name="connsiteY10" fmla="*/ 321945 h 530828"/>
                <a:gd name="connsiteX11" fmla="*/ 90773 w 338518"/>
                <a:gd name="connsiteY11" fmla="*/ 299371 h 530828"/>
                <a:gd name="connsiteX12" fmla="*/ 151162 w 338518"/>
                <a:gd name="connsiteY12" fmla="*/ 291941 h 530828"/>
                <a:gd name="connsiteX13" fmla="*/ 208788 w 338518"/>
                <a:gd name="connsiteY13" fmla="*/ 296228 h 530828"/>
                <a:gd name="connsiteX14" fmla="*/ 254413 w 338518"/>
                <a:gd name="connsiteY14" fmla="*/ 307562 h 530828"/>
                <a:gd name="connsiteX15" fmla="*/ 254413 w 338518"/>
                <a:gd name="connsiteY15" fmla="*/ 300514 h 530828"/>
                <a:gd name="connsiteX16" fmla="*/ 230696 w 338518"/>
                <a:gd name="connsiteY16" fmla="*/ 241173 h 530828"/>
                <a:gd name="connsiteX17" fmla="*/ 162496 w 338518"/>
                <a:gd name="connsiteY17" fmla="*/ 220694 h 530828"/>
                <a:gd name="connsiteX18" fmla="*/ 106013 w 338518"/>
                <a:gd name="connsiteY18" fmla="*/ 227076 h 530828"/>
                <a:gd name="connsiteX19" fmla="*/ 55817 w 338518"/>
                <a:gd name="connsiteY19" fmla="*/ 244031 h 530828"/>
                <a:gd name="connsiteX20" fmla="*/ 32480 w 338518"/>
                <a:gd name="connsiteY20" fmla="*/ 175451 h 530828"/>
                <a:gd name="connsiteX21" fmla="*/ 96107 w 338518"/>
                <a:gd name="connsiteY21" fmla="*/ 152876 h 530828"/>
                <a:gd name="connsiteX22" fmla="*/ 174593 w 338518"/>
                <a:gd name="connsiteY22" fmla="*/ 144399 h 530828"/>
                <a:gd name="connsiteX23" fmla="*/ 298228 w 338518"/>
                <a:gd name="connsiteY23" fmla="*/ 185738 h 530828"/>
                <a:gd name="connsiteX24" fmla="*/ 338519 w 338518"/>
                <a:gd name="connsiteY24" fmla="*/ 301943 h 530828"/>
                <a:gd name="connsiteX25" fmla="*/ 338519 w 338518"/>
                <a:gd name="connsiteY25" fmla="*/ 523113 h 530828"/>
                <a:gd name="connsiteX26" fmla="*/ 253746 w 338518"/>
                <a:gd name="connsiteY26" fmla="*/ 523113 h 530828"/>
                <a:gd name="connsiteX27" fmla="*/ 45911 w 338518"/>
                <a:gd name="connsiteY27" fmla="*/ 95441 h 530828"/>
                <a:gd name="connsiteX28" fmla="*/ 75248 w 338518"/>
                <a:gd name="connsiteY28" fmla="*/ 29718 h 530828"/>
                <a:gd name="connsiteX29" fmla="*/ 125063 w 338518"/>
                <a:gd name="connsiteY29" fmla="*/ 7144 h 530828"/>
                <a:gd name="connsiteX30" fmla="*/ 154019 w 338518"/>
                <a:gd name="connsiteY30" fmla="*/ 11716 h 530828"/>
                <a:gd name="connsiteX31" fmla="*/ 181261 w 338518"/>
                <a:gd name="connsiteY31" fmla="*/ 21622 h 530828"/>
                <a:gd name="connsiteX32" fmla="*/ 205645 w 338518"/>
                <a:gd name="connsiteY32" fmla="*/ 31147 h 530828"/>
                <a:gd name="connsiteX33" fmla="*/ 226790 w 338518"/>
                <a:gd name="connsiteY33" fmla="*/ 35338 h 530828"/>
                <a:gd name="connsiteX34" fmla="*/ 250127 w 338518"/>
                <a:gd name="connsiteY34" fmla="*/ 26861 h 530828"/>
                <a:gd name="connsiteX35" fmla="*/ 265652 w 338518"/>
                <a:gd name="connsiteY35" fmla="*/ 0 h 530828"/>
                <a:gd name="connsiteX36" fmla="*/ 312991 w 338518"/>
                <a:gd name="connsiteY36" fmla="*/ 14859 h 530828"/>
                <a:gd name="connsiteX37" fmla="*/ 283655 w 338518"/>
                <a:gd name="connsiteY37" fmla="*/ 79820 h 530828"/>
                <a:gd name="connsiteX38" fmla="*/ 233839 w 338518"/>
                <a:gd name="connsiteY38" fmla="*/ 102394 h 530828"/>
                <a:gd name="connsiteX39" fmla="*/ 204883 w 338518"/>
                <a:gd name="connsiteY39" fmla="*/ 98203 h 530828"/>
                <a:gd name="connsiteX40" fmla="*/ 177641 w 338518"/>
                <a:gd name="connsiteY40" fmla="*/ 88678 h 530828"/>
                <a:gd name="connsiteX41" fmla="*/ 152876 w 338518"/>
                <a:gd name="connsiteY41" fmla="*/ 78772 h 530828"/>
                <a:gd name="connsiteX42" fmla="*/ 132017 w 338518"/>
                <a:gd name="connsiteY42" fmla="*/ 74200 h 530828"/>
                <a:gd name="connsiteX43" fmla="*/ 108680 w 338518"/>
                <a:gd name="connsiteY43" fmla="*/ 82677 h 530828"/>
                <a:gd name="connsiteX44" fmla="*/ 93154 w 338518"/>
                <a:gd name="connsiteY44" fmla="*/ 109538 h 530828"/>
                <a:gd name="connsiteX45" fmla="*/ 45815 w 338518"/>
                <a:gd name="connsiteY45" fmla="*/ 95441 h 530828"/>
                <a:gd name="connsiteX46" fmla="*/ 255842 w 338518"/>
                <a:gd name="connsiteY46" fmla="*/ 366808 h 530828"/>
                <a:gd name="connsiteX47" fmla="*/ 217361 w 338518"/>
                <a:gd name="connsiteY47" fmla="*/ 356235 h 530828"/>
                <a:gd name="connsiteX48" fmla="*/ 170402 w 338518"/>
                <a:gd name="connsiteY48" fmla="*/ 351949 h 530828"/>
                <a:gd name="connsiteX49" fmla="*/ 107537 w 338518"/>
                <a:gd name="connsiteY49" fmla="*/ 367475 h 530828"/>
                <a:gd name="connsiteX50" fmla="*/ 84963 w 338518"/>
                <a:gd name="connsiteY50" fmla="*/ 409861 h 530828"/>
                <a:gd name="connsiteX51" fmla="*/ 84963 w 338518"/>
                <a:gd name="connsiteY51" fmla="*/ 411290 h 530828"/>
                <a:gd name="connsiteX52" fmla="*/ 105823 w 338518"/>
                <a:gd name="connsiteY52" fmla="*/ 452247 h 530828"/>
                <a:gd name="connsiteX53" fmla="*/ 157067 w 338518"/>
                <a:gd name="connsiteY53" fmla="*/ 466344 h 530828"/>
                <a:gd name="connsiteX54" fmla="*/ 196310 w 338518"/>
                <a:gd name="connsiteY54" fmla="*/ 460724 h 530828"/>
                <a:gd name="connsiteX55" fmla="*/ 227743 w 338518"/>
                <a:gd name="connsiteY55" fmla="*/ 444818 h 530828"/>
                <a:gd name="connsiteX56" fmla="*/ 248603 w 338518"/>
                <a:gd name="connsiteY56" fmla="*/ 420053 h 530828"/>
                <a:gd name="connsiteX57" fmla="*/ 256032 w 338518"/>
                <a:gd name="connsiteY57" fmla="*/ 387858 h 530828"/>
                <a:gd name="connsiteX58" fmla="*/ 256032 w 338518"/>
                <a:gd name="connsiteY58" fmla="*/ 366617 h 5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8518" h="530828">
                  <a:moveTo>
                    <a:pt x="253651" y="523018"/>
                  </a:moveTo>
                  <a:lnTo>
                    <a:pt x="253651" y="477107"/>
                  </a:lnTo>
                  <a:cubicBezTo>
                    <a:pt x="240887" y="492157"/>
                    <a:pt x="224695" y="504920"/>
                    <a:pt x="204883" y="515303"/>
                  </a:cubicBezTo>
                  <a:cubicBezTo>
                    <a:pt x="185071" y="525685"/>
                    <a:pt x="161068" y="530828"/>
                    <a:pt x="132779" y="530828"/>
                  </a:cubicBezTo>
                  <a:cubicBezTo>
                    <a:pt x="114871" y="530828"/>
                    <a:pt x="97917" y="528352"/>
                    <a:pt x="81915" y="523399"/>
                  </a:cubicBezTo>
                  <a:cubicBezTo>
                    <a:pt x="65913" y="518446"/>
                    <a:pt x="51911" y="511112"/>
                    <a:pt x="39910" y="501491"/>
                  </a:cubicBezTo>
                  <a:cubicBezTo>
                    <a:pt x="27908" y="491871"/>
                    <a:pt x="18193" y="479870"/>
                    <a:pt x="10954" y="465487"/>
                  </a:cubicBezTo>
                  <a:cubicBezTo>
                    <a:pt x="3620" y="451104"/>
                    <a:pt x="0" y="434531"/>
                    <a:pt x="0" y="415671"/>
                  </a:cubicBezTo>
                  <a:lnTo>
                    <a:pt x="0" y="414242"/>
                  </a:lnTo>
                  <a:cubicBezTo>
                    <a:pt x="0" y="393478"/>
                    <a:pt x="3810" y="375476"/>
                    <a:pt x="11335" y="360140"/>
                  </a:cubicBezTo>
                  <a:cubicBezTo>
                    <a:pt x="18860" y="344805"/>
                    <a:pt x="29337" y="332137"/>
                    <a:pt x="42767" y="321945"/>
                  </a:cubicBezTo>
                  <a:cubicBezTo>
                    <a:pt x="56198" y="311849"/>
                    <a:pt x="72200" y="304324"/>
                    <a:pt x="90773" y="299371"/>
                  </a:cubicBezTo>
                  <a:cubicBezTo>
                    <a:pt x="109347" y="294418"/>
                    <a:pt x="129540" y="291941"/>
                    <a:pt x="151162" y="291941"/>
                  </a:cubicBezTo>
                  <a:cubicBezTo>
                    <a:pt x="172784" y="291941"/>
                    <a:pt x="192977" y="293370"/>
                    <a:pt x="208788" y="296228"/>
                  </a:cubicBezTo>
                  <a:cubicBezTo>
                    <a:pt x="224600" y="299085"/>
                    <a:pt x="239744" y="302800"/>
                    <a:pt x="254413" y="307562"/>
                  </a:cubicBezTo>
                  <a:lnTo>
                    <a:pt x="254413" y="300514"/>
                  </a:lnTo>
                  <a:cubicBezTo>
                    <a:pt x="254413" y="274606"/>
                    <a:pt x="246507" y="254794"/>
                    <a:pt x="230696" y="241173"/>
                  </a:cubicBezTo>
                  <a:cubicBezTo>
                    <a:pt x="214884" y="227552"/>
                    <a:pt x="192215" y="220694"/>
                    <a:pt x="162496" y="220694"/>
                  </a:cubicBezTo>
                  <a:cubicBezTo>
                    <a:pt x="141351" y="220694"/>
                    <a:pt x="122492" y="222790"/>
                    <a:pt x="106013" y="227076"/>
                  </a:cubicBezTo>
                  <a:cubicBezTo>
                    <a:pt x="89535" y="231362"/>
                    <a:pt x="72771" y="236982"/>
                    <a:pt x="55817" y="244031"/>
                  </a:cubicBezTo>
                  <a:lnTo>
                    <a:pt x="32480" y="175451"/>
                  </a:lnTo>
                  <a:cubicBezTo>
                    <a:pt x="53150" y="166021"/>
                    <a:pt x="74390" y="158496"/>
                    <a:pt x="96107" y="152876"/>
                  </a:cubicBezTo>
                  <a:cubicBezTo>
                    <a:pt x="117729" y="147257"/>
                    <a:pt x="143923" y="144399"/>
                    <a:pt x="174593" y="144399"/>
                  </a:cubicBezTo>
                  <a:cubicBezTo>
                    <a:pt x="230124" y="144399"/>
                    <a:pt x="271367" y="158210"/>
                    <a:pt x="298228" y="185738"/>
                  </a:cubicBezTo>
                  <a:cubicBezTo>
                    <a:pt x="325088" y="213265"/>
                    <a:pt x="338519" y="252032"/>
                    <a:pt x="338519" y="301943"/>
                  </a:cubicBezTo>
                  <a:lnTo>
                    <a:pt x="338519" y="523113"/>
                  </a:lnTo>
                  <a:lnTo>
                    <a:pt x="253746" y="523113"/>
                  </a:lnTo>
                  <a:close/>
                  <a:moveTo>
                    <a:pt x="45911" y="95441"/>
                  </a:moveTo>
                  <a:cubicBezTo>
                    <a:pt x="53912" y="66675"/>
                    <a:pt x="63722" y="44768"/>
                    <a:pt x="75248" y="29718"/>
                  </a:cubicBezTo>
                  <a:cubicBezTo>
                    <a:pt x="86773" y="14669"/>
                    <a:pt x="103442" y="7144"/>
                    <a:pt x="125063" y="7144"/>
                  </a:cubicBezTo>
                  <a:cubicBezTo>
                    <a:pt x="134969" y="7144"/>
                    <a:pt x="144590" y="8668"/>
                    <a:pt x="154019" y="11716"/>
                  </a:cubicBezTo>
                  <a:cubicBezTo>
                    <a:pt x="163449" y="14764"/>
                    <a:pt x="172498" y="18098"/>
                    <a:pt x="181261" y="21622"/>
                  </a:cubicBezTo>
                  <a:cubicBezTo>
                    <a:pt x="189929" y="25146"/>
                    <a:pt x="198120" y="28385"/>
                    <a:pt x="205645" y="31147"/>
                  </a:cubicBezTo>
                  <a:cubicBezTo>
                    <a:pt x="213170" y="34004"/>
                    <a:pt x="220218" y="35338"/>
                    <a:pt x="226790" y="35338"/>
                  </a:cubicBezTo>
                  <a:cubicBezTo>
                    <a:pt x="237173" y="35338"/>
                    <a:pt x="244888" y="32480"/>
                    <a:pt x="250127" y="26861"/>
                  </a:cubicBezTo>
                  <a:cubicBezTo>
                    <a:pt x="255270" y="21241"/>
                    <a:pt x="260509" y="12287"/>
                    <a:pt x="265652" y="0"/>
                  </a:cubicBezTo>
                  <a:lnTo>
                    <a:pt x="312991" y="14859"/>
                  </a:lnTo>
                  <a:cubicBezTo>
                    <a:pt x="304991" y="43148"/>
                    <a:pt x="295180" y="64770"/>
                    <a:pt x="283655" y="79820"/>
                  </a:cubicBezTo>
                  <a:cubicBezTo>
                    <a:pt x="272129" y="94869"/>
                    <a:pt x="255461" y="102394"/>
                    <a:pt x="233839" y="102394"/>
                  </a:cubicBezTo>
                  <a:cubicBezTo>
                    <a:pt x="223933" y="102394"/>
                    <a:pt x="214313" y="100965"/>
                    <a:pt x="204883" y="98203"/>
                  </a:cubicBezTo>
                  <a:cubicBezTo>
                    <a:pt x="195453" y="95345"/>
                    <a:pt x="186404" y="92202"/>
                    <a:pt x="177641" y="88678"/>
                  </a:cubicBezTo>
                  <a:cubicBezTo>
                    <a:pt x="168878" y="85154"/>
                    <a:pt x="160687" y="81820"/>
                    <a:pt x="152876" y="78772"/>
                  </a:cubicBezTo>
                  <a:cubicBezTo>
                    <a:pt x="145066" y="75724"/>
                    <a:pt x="138113" y="74200"/>
                    <a:pt x="132017" y="74200"/>
                  </a:cubicBezTo>
                  <a:cubicBezTo>
                    <a:pt x="121634" y="74200"/>
                    <a:pt x="113919" y="77057"/>
                    <a:pt x="108680" y="82677"/>
                  </a:cubicBezTo>
                  <a:cubicBezTo>
                    <a:pt x="103537" y="88297"/>
                    <a:pt x="98298" y="97250"/>
                    <a:pt x="93154" y="109538"/>
                  </a:cubicBezTo>
                  <a:lnTo>
                    <a:pt x="45815" y="95441"/>
                  </a:lnTo>
                  <a:close/>
                  <a:moveTo>
                    <a:pt x="255842" y="366808"/>
                  </a:moveTo>
                  <a:cubicBezTo>
                    <a:pt x="244983" y="362522"/>
                    <a:pt x="232124" y="358997"/>
                    <a:pt x="217361" y="356235"/>
                  </a:cubicBezTo>
                  <a:cubicBezTo>
                    <a:pt x="202502" y="353378"/>
                    <a:pt x="186880" y="351949"/>
                    <a:pt x="170402" y="351949"/>
                  </a:cubicBezTo>
                  <a:cubicBezTo>
                    <a:pt x="143542" y="351949"/>
                    <a:pt x="122587" y="357092"/>
                    <a:pt x="107537" y="367475"/>
                  </a:cubicBezTo>
                  <a:cubicBezTo>
                    <a:pt x="92488" y="377857"/>
                    <a:pt x="84963" y="391954"/>
                    <a:pt x="84963" y="409861"/>
                  </a:cubicBezTo>
                  <a:lnTo>
                    <a:pt x="84963" y="411290"/>
                  </a:lnTo>
                  <a:cubicBezTo>
                    <a:pt x="84963" y="429197"/>
                    <a:pt x="91916" y="442817"/>
                    <a:pt x="105823" y="452247"/>
                  </a:cubicBezTo>
                  <a:cubicBezTo>
                    <a:pt x="119729" y="461677"/>
                    <a:pt x="136779" y="466344"/>
                    <a:pt x="157067" y="466344"/>
                  </a:cubicBezTo>
                  <a:cubicBezTo>
                    <a:pt x="171164" y="466344"/>
                    <a:pt x="184309" y="464439"/>
                    <a:pt x="196310" y="460724"/>
                  </a:cubicBezTo>
                  <a:cubicBezTo>
                    <a:pt x="208312" y="456914"/>
                    <a:pt x="218789" y="451676"/>
                    <a:pt x="227743" y="444818"/>
                  </a:cubicBezTo>
                  <a:cubicBezTo>
                    <a:pt x="236696" y="437960"/>
                    <a:pt x="243650" y="429768"/>
                    <a:pt x="248603" y="420053"/>
                  </a:cubicBezTo>
                  <a:cubicBezTo>
                    <a:pt x="253555" y="410432"/>
                    <a:pt x="256032" y="399669"/>
                    <a:pt x="256032" y="387858"/>
                  </a:cubicBezTo>
                  <a:lnTo>
                    <a:pt x="256032" y="366617"/>
                  </a:lnTo>
                  <a:close/>
                </a:path>
              </a:pathLst>
            </a:custGeom>
            <a:solidFill>
              <a:srgbClr val="44505E"/>
            </a:solidFill>
            <a:ln w="9525" cap="flat">
              <a:noFill/>
              <a:prstDash val="solid"/>
              <a:miter/>
            </a:ln>
          </p:spPr>
          <p:txBody>
            <a:bodyPr rtlCol="0" anchor="ctr"/>
            <a:lstStyle/>
            <a:p>
              <a:endParaRPr lang="pt-BR" noProof="0"/>
            </a:p>
          </p:txBody>
        </p:sp>
        <p:sp>
          <p:nvSpPr>
            <p:cNvPr id="31" name="Freeform: Shape 30">
              <a:extLst>
                <a:ext uri="{FF2B5EF4-FFF2-40B4-BE49-F238E27FC236}">
                  <a16:creationId xmlns:a16="http://schemas.microsoft.com/office/drawing/2014/main" id="{E50C0B5F-0B4B-2792-201F-B12052441550}"/>
                </a:ext>
              </a:extLst>
            </p:cNvPr>
            <p:cNvSpPr/>
            <p:nvPr/>
          </p:nvSpPr>
          <p:spPr>
            <a:xfrm>
              <a:off x="6506477" y="699959"/>
              <a:ext cx="100038" cy="97908"/>
            </a:xfrm>
            <a:custGeom>
              <a:avLst/>
              <a:gdLst>
                <a:gd name="connsiteX0" fmla="*/ 197834 w 397954"/>
                <a:gd name="connsiteY0" fmla="*/ 389477 h 389477"/>
                <a:gd name="connsiteX1" fmla="*/ 119063 w 397954"/>
                <a:gd name="connsiteY1" fmla="*/ 374237 h 389477"/>
                <a:gd name="connsiteX2" fmla="*/ 56198 w 397954"/>
                <a:gd name="connsiteY2" fmla="*/ 332899 h 389477"/>
                <a:gd name="connsiteX3" fmla="*/ 14859 w 397954"/>
                <a:gd name="connsiteY3" fmla="*/ 271463 h 389477"/>
                <a:gd name="connsiteX4" fmla="*/ 0 w 397954"/>
                <a:gd name="connsiteY4" fmla="*/ 196501 h 389477"/>
                <a:gd name="connsiteX5" fmla="*/ 0 w 397954"/>
                <a:gd name="connsiteY5" fmla="*/ 195072 h 389477"/>
                <a:gd name="connsiteX6" fmla="*/ 15240 w 397954"/>
                <a:gd name="connsiteY6" fmla="*/ 119444 h 389477"/>
                <a:gd name="connsiteX7" fmla="*/ 56960 w 397954"/>
                <a:gd name="connsiteY7" fmla="*/ 57626 h 389477"/>
                <a:gd name="connsiteX8" fmla="*/ 119825 w 397954"/>
                <a:gd name="connsiteY8" fmla="*/ 15526 h 389477"/>
                <a:gd name="connsiteX9" fmla="*/ 199358 w 397954"/>
                <a:gd name="connsiteY9" fmla="*/ 0 h 389477"/>
                <a:gd name="connsiteX10" fmla="*/ 278892 w 397954"/>
                <a:gd name="connsiteY10" fmla="*/ 15240 h 389477"/>
                <a:gd name="connsiteX11" fmla="*/ 341757 w 397954"/>
                <a:gd name="connsiteY11" fmla="*/ 56959 h 389477"/>
                <a:gd name="connsiteX12" fmla="*/ 383096 w 397954"/>
                <a:gd name="connsiteY12" fmla="*/ 118396 h 389477"/>
                <a:gd name="connsiteX13" fmla="*/ 397955 w 397954"/>
                <a:gd name="connsiteY13" fmla="*/ 193643 h 389477"/>
                <a:gd name="connsiteX14" fmla="*/ 397955 w 397954"/>
                <a:gd name="connsiteY14" fmla="*/ 195072 h 389477"/>
                <a:gd name="connsiteX15" fmla="*/ 382714 w 397954"/>
                <a:gd name="connsiteY15" fmla="*/ 270034 h 389477"/>
                <a:gd name="connsiteX16" fmla="*/ 340995 w 397954"/>
                <a:gd name="connsiteY16" fmla="*/ 331851 h 389477"/>
                <a:gd name="connsiteX17" fmla="*/ 277749 w 397954"/>
                <a:gd name="connsiteY17" fmla="*/ 373856 h 389477"/>
                <a:gd name="connsiteX18" fmla="*/ 197834 w 397954"/>
                <a:gd name="connsiteY18" fmla="*/ 389382 h 389477"/>
                <a:gd name="connsiteX19" fmla="*/ 199263 w 397954"/>
                <a:gd name="connsiteY19" fmla="*/ 315278 h 389477"/>
                <a:gd name="connsiteX20" fmla="*/ 245936 w 397954"/>
                <a:gd name="connsiteY20" fmla="*/ 305753 h 389477"/>
                <a:gd name="connsiteX21" fmla="*/ 281369 w 397954"/>
                <a:gd name="connsiteY21" fmla="*/ 279940 h 389477"/>
                <a:gd name="connsiteX22" fmla="*/ 303848 w 397954"/>
                <a:gd name="connsiteY22" fmla="*/ 242125 h 389477"/>
                <a:gd name="connsiteX23" fmla="*/ 311563 w 397954"/>
                <a:gd name="connsiteY23" fmla="*/ 196501 h 389477"/>
                <a:gd name="connsiteX24" fmla="*/ 311563 w 397954"/>
                <a:gd name="connsiteY24" fmla="*/ 195072 h 389477"/>
                <a:gd name="connsiteX25" fmla="*/ 303181 w 397954"/>
                <a:gd name="connsiteY25" fmla="*/ 148400 h 389477"/>
                <a:gd name="connsiteX26" fmla="*/ 279654 w 397954"/>
                <a:gd name="connsiteY26" fmla="*/ 110204 h 389477"/>
                <a:gd name="connsiteX27" fmla="*/ 243840 w 397954"/>
                <a:gd name="connsiteY27" fmla="*/ 84392 h 389477"/>
                <a:gd name="connsiteX28" fmla="*/ 197834 w 397954"/>
                <a:gd name="connsiteY28" fmla="*/ 74867 h 389477"/>
                <a:gd name="connsiteX29" fmla="*/ 151829 w 397954"/>
                <a:gd name="connsiteY29" fmla="*/ 84392 h 389477"/>
                <a:gd name="connsiteX30" fmla="*/ 116396 w 397954"/>
                <a:gd name="connsiteY30" fmla="*/ 109823 h 389477"/>
                <a:gd name="connsiteX31" fmla="*/ 93916 w 397954"/>
                <a:gd name="connsiteY31" fmla="*/ 147638 h 389477"/>
                <a:gd name="connsiteX32" fmla="*/ 86201 w 397954"/>
                <a:gd name="connsiteY32" fmla="*/ 193548 h 389477"/>
                <a:gd name="connsiteX33" fmla="*/ 86201 w 397954"/>
                <a:gd name="connsiteY33" fmla="*/ 194977 h 389477"/>
                <a:gd name="connsiteX34" fmla="*/ 94583 w 397954"/>
                <a:gd name="connsiteY34" fmla="*/ 241268 h 389477"/>
                <a:gd name="connsiteX35" fmla="*/ 118110 w 397954"/>
                <a:gd name="connsiteY35" fmla="*/ 279463 h 389477"/>
                <a:gd name="connsiteX36" fmla="*/ 153924 w 397954"/>
                <a:gd name="connsiteY36" fmla="*/ 305562 h 389477"/>
                <a:gd name="connsiteX37" fmla="*/ 199263 w 397954"/>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954" h="389477">
                  <a:moveTo>
                    <a:pt x="197834" y="389477"/>
                  </a:moveTo>
                  <a:cubicBezTo>
                    <a:pt x="169545" y="389477"/>
                    <a:pt x="143351" y="384429"/>
                    <a:pt x="119063" y="374237"/>
                  </a:cubicBezTo>
                  <a:cubicBezTo>
                    <a:pt x="94774" y="364141"/>
                    <a:pt x="73819" y="350330"/>
                    <a:pt x="56198" y="332899"/>
                  </a:cubicBezTo>
                  <a:cubicBezTo>
                    <a:pt x="38576" y="315468"/>
                    <a:pt x="24765" y="294989"/>
                    <a:pt x="14859" y="271463"/>
                  </a:cubicBezTo>
                  <a:cubicBezTo>
                    <a:pt x="4953" y="247936"/>
                    <a:pt x="0" y="222980"/>
                    <a:pt x="0" y="196501"/>
                  </a:cubicBezTo>
                  <a:lnTo>
                    <a:pt x="0" y="195072"/>
                  </a:lnTo>
                  <a:cubicBezTo>
                    <a:pt x="0" y="168212"/>
                    <a:pt x="5049" y="143066"/>
                    <a:pt x="15240" y="119444"/>
                  </a:cubicBezTo>
                  <a:cubicBezTo>
                    <a:pt x="25337" y="95917"/>
                    <a:pt x="39243" y="75248"/>
                    <a:pt x="56960" y="57626"/>
                  </a:cubicBezTo>
                  <a:cubicBezTo>
                    <a:pt x="74676" y="39910"/>
                    <a:pt x="95631" y="25908"/>
                    <a:pt x="119825" y="15526"/>
                  </a:cubicBezTo>
                  <a:cubicBezTo>
                    <a:pt x="144113" y="5144"/>
                    <a:pt x="170593" y="0"/>
                    <a:pt x="199358" y="0"/>
                  </a:cubicBezTo>
                  <a:cubicBezTo>
                    <a:pt x="228124" y="0"/>
                    <a:pt x="254604" y="5048"/>
                    <a:pt x="278892" y="15240"/>
                  </a:cubicBezTo>
                  <a:cubicBezTo>
                    <a:pt x="303181" y="25337"/>
                    <a:pt x="324136" y="39243"/>
                    <a:pt x="341757" y="56959"/>
                  </a:cubicBezTo>
                  <a:cubicBezTo>
                    <a:pt x="359379" y="74676"/>
                    <a:pt x="373189" y="95155"/>
                    <a:pt x="383096" y="118396"/>
                  </a:cubicBezTo>
                  <a:cubicBezTo>
                    <a:pt x="393002" y="141732"/>
                    <a:pt x="397955" y="166783"/>
                    <a:pt x="397955" y="193643"/>
                  </a:cubicBezTo>
                  <a:lnTo>
                    <a:pt x="397955" y="195072"/>
                  </a:lnTo>
                  <a:cubicBezTo>
                    <a:pt x="397955" y="221456"/>
                    <a:pt x="392906" y="246412"/>
                    <a:pt x="382714" y="270034"/>
                  </a:cubicBezTo>
                  <a:cubicBezTo>
                    <a:pt x="372618" y="293561"/>
                    <a:pt x="358712" y="314230"/>
                    <a:pt x="340995" y="331851"/>
                  </a:cubicBezTo>
                  <a:cubicBezTo>
                    <a:pt x="323279" y="349472"/>
                    <a:pt x="302229" y="363569"/>
                    <a:pt x="277749" y="373856"/>
                  </a:cubicBezTo>
                  <a:cubicBezTo>
                    <a:pt x="253270" y="384238"/>
                    <a:pt x="226600" y="389382"/>
                    <a:pt x="197834" y="389382"/>
                  </a:cubicBezTo>
                  <a:close/>
                  <a:moveTo>
                    <a:pt x="199263" y="315278"/>
                  </a:moveTo>
                  <a:cubicBezTo>
                    <a:pt x="216598" y="315278"/>
                    <a:pt x="232124" y="312039"/>
                    <a:pt x="245936" y="305753"/>
                  </a:cubicBezTo>
                  <a:cubicBezTo>
                    <a:pt x="259747" y="299371"/>
                    <a:pt x="271558" y="290798"/>
                    <a:pt x="281369" y="279940"/>
                  </a:cubicBezTo>
                  <a:cubicBezTo>
                    <a:pt x="291179" y="269081"/>
                    <a:pt x="298704" y="256508"/>
                    <a:pt x="303848" y="242125"/>
                  </a:cubicBezTo>
                  <a:cubicBezTo>
                    <a:pt x="308991" y="227743"/>
                    <a:pt x="311563" y="212598"/>
                    <a:pt x="311563" y="196501"/>
                  </a:cubicBezTo>
                  <a:lnTo>
                    <a:pt x="311563" y="195072"/>
                  </a:lnTo>
                  <a:cubicBezTo>
                    <a:pt x="311563" y="178594"/>
                    <a:pt x="308706" y="163068"/>
                    <a:pt x="303181" y="148400"/>
                  </a:cubicBezTo>
                  <a:cubicBezTo>
                    <a:pt x="297561" y="133826"/>
                    <a:pt x="289750" y="121063"/>
                    <a:pt x="279654" y="110204"/>
                  </a:cubicBezTo>
                  <a:cubicBezTo>
                    <a:pt x="269557" y="99346"/>
                    <a:pt x="257651" y="90773"/>
                    <a:pt x="243840" y="84392"/>
                  </a:cubicBezTo>
                  <a:cubicBezTo>
                    <a:pt x="230029" y="78010"/>
                    <a:pt x="214694" y="74867"/>
                    <a:pt x="197834" y="74867"/>
                  </a:cubicBezTo>
                  <a:cubicBezTo>
                    <a:pt x="180975" y="74867"/>
                    <a:pt x="165640" y="78010"/>
                    <a:pt x="151829" y="84392"/>
                  </a:cubicBezTo>
                  <a:cubicBezTo>
                    <a:pt x="138017" y="90773"/>
                    <a:pt x="126206" y="99250"/>
                    <a:pt x="116396" y="109823"/>
                  </a:cubicBezTo>
                  <a:cubicBezTo>
                    <a:pt x="106585" y="120396"/>
                    <a:pt x="99060" y="133064"/>
                    <a:pt x="93916" y="147638"/>
                  </a:cubicBezTo>
                  <a:cubicBezTo>
                    <a:pt x="88773" y="162211"/>
                    <a:pt x="86201" y="177546"/>
                    <a:pt x="86201" y="193548"/>
                  </a:cubicBezTo>
                  <a:lnTo>
                    <a:pt x="86201" y="194977"/>
                  </a:lnTo>
                  <a:cubicBezTo>
                    <a:pt x="86201" y="211455"/>
                    <a:pt x="89059" y="226886"/>
                    <a:pt x="94583" y="241268"/>
                  </a:cubicBezTo>
                  <a:cubicBezTo>
                    <a:pt x="100203" y="255651"/>
                    <a:pt x="108014" y="268319"/>
                    <a:pt x="118110" y="279463"/>
                  </a:cubicBezTo>
                  <a:cubicBezTo>
                    <a:pt x="128207" y="290608"/>
                    <a:pt x="140113" y="299275"/>
                    <a:pt x="153924" y="305562"/>
                  </a:cubicBezTo>
                  <a:cubicBezTo>
                    <a:pt x="167735" y="311944"/>
                    <a:pt x="182785"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32" name="Freeform: Shape 31">
              <a:extLst>
                <a:ext uri="{FF2B5EF4-FFF2-40B4-BE49-F238E27FC236}">
                  <a16:creationId xmlns:a16="http://schemas.microsoft.com/office/drawing/2014/main" id="{CB4DB540-D8E2-1FBE-0FDB-C26254ECC39F}"/>
                </a:ext>
              </a:extLst>
            </p:cNvPr>
            <p:cNvSpPr/>
            <p:nvPr/>
          </p:nvSpPr>
          <p:spPr>
            <a:xfrm>
              <a:off x="662071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1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7 w 296894"/>
                <a:gd name="connsiteY23" fmla="*/ 42863 h 386714"/>
                <a:gd name="connsiteX24" fmla="*/ 254318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7 w 296894"/>
                <a:gd name="connsiteY30" fmla="*/ 124587 h 386714"/>
                <a:gd name="connsiteX31" fmla="*/ 122682 w 296894"/>
                <a:gd name="connsiteY31" fmla="*/ 138017 h 386714"/>
                <a:gd name="connsiteX32" fmla="*/ 149543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6" y="348901"/>
                    <a:pt x="0" y="330327"/>
                  </a:cubicBezTo>
                  <a:lnTo>
                    <a:pt x="38195" y="272224"/>
                  </a:lnTo>
                  <a:cubicBezTo>
                    <a:pt x="58484" y="287274"/>
                    <a:pt x="79057" y="298704"/>
                    <a:pt x="100013" y="306514"/>
                  </a:cubicBezTo>
                  <a:cubicBezTo>
                    <a:pt x="120968" y="314325"/>
                    <a:pt x="141161" y="318135"/>
                    <a:pt x="160401" y="318135"/>
                  </a:cubicBezTo>
                  <a:cubicBezTo>
                    <a:pt x="179641" y="318135"/>
                    <a:pt x="192977"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1" y="241078"/>
                    <a:pt x="176498" y="237553"/>
                    <a:pt x="166401"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2" y="40195"/>
                    <a:pt x="56864" y="30385"/>
                  </a:cubicBezTo>
                  <a:cubicBezTo>
                    <a:pt x="68866" y="20479"/>
                    <a:pt x="82962" y="12954"/>
                    <a:pt x="99250" y="7810"/>
                  </a:cubicBezTo>
                  <a:cubicBezTo>
                    <a:pt x="115538" y="2667"/>
                    <a:pt x="132779" y="0"/>
                    <a:pt x="151162" y="0"/>
                  </a:cubicBezTo>
                  <a:cubicBezTo>
                    <a:pt x="174688" y="0"/>
                    <a:pt x="198501" y="3810"/>
                    <a:pt x="222504" y="11430"/>
                  </a:cubicBezTo>
                  <a:cubicBezTo>
                    <a:pt x="246507" y="19050"/>
                    <a:pt x="268414" y="29527"/>
                    <a:pt x="288227" y="42863"/>
                  </a:cubicBezTo>
                  <a:lnTo>
                    <a:pt x="254318"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7" y="124587"/>
                  </a:cubicBezTo>
                  <a:cubicBezTo>
                    <a:pt x="108585" y="129540"/>
                    <a:pt x="114871" y="134017"/>
                    <a:pt x="122682" y="138017"/>
                  </a:cubicBezTo>
                  <a:cubicBezTo>
                    <a:pt x="130493" y="142018"/>
                    <a:pt x="139351" y="145732"/>
                    <a:pt x="149543"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696"/>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33" name="Freeform: Shape 32">
              <a:extLst>
                <a:ext uri="{FF2B5EF4-FFF2-40B4-BE49-F238E27FC236}">
                  <a16:creationId xmlns:a16="http://schemas.microsoft.com/office/drawing/2014/main" id="{0D265E1A-036E-715B-A7D5-FB641ED6472F}"/>
                </a:ext>
              </a:extLst>
            </p:cNvPr>
            <p:cNvSpPr/>
            <p:nvPr/>
          </p:nvSpPr>
          <p:spPr>
            <a:xfrm>
              <a:off x="526693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4 w 202977"/>
                <a:gd name="connsiteY17" fmla="*/ 19907 h 239267"/>
                <a:gd name="connsiteX18" fmla="*/ 59246 w 202977"/>
                <a:gd name="connsiteY18" fmla="*/ 5429 h 239267"/>
                <a:gd name="connsiteX19" fmla="*/ 104299 w 202977"/>
                <a:gd name="connsiteY19" fmla="*/ 0 h 239267"/>
                <a:gd name="connsiteX20" fmla="*/ 178880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5 w 202977"/>
                <a:gd name="connsiteY27" fmla="*/ 211169 h 239267"/>
                <a:gd name="connsiteX28" fmla="*/ 122968 w 202977"/>
                <a:gd name="connsiteY28" fmla="*/ 206788 h 239267"/>
                <a:gd name="connsiteX29" fmla="*/ 147257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9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9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3" y="99155"/>
                    <a:pt x="58674" y="95917"/>
                  </a:cubicBezTo>
                  <a:cubicBezTo>
                    <a:pt x="70771" y="92678"/>
                    <a:pt x="84011" y="90964"/>
                    <a:pt x="98584" y="90964"/>
                  </a:cubicBezTo>
                  <a:cubicBezTo>
                    <a:pt x="113157" y="90964"/>
                    <a:pt x="126301" y="91821"/>
                    <a:pt x="137160" y="93631"/>
                  </a:cubicBezTo>
                  <a:cubicBezTo>
                    <a:pt x="148019" y="95440"/>
                    <a:pt x="158687" y="97822"/>
                    <a:pt x="169069" y="100774"/>
                  </a:cubicBezTo>
                  <a:lnTo>
                    <a:pt x="169069" y="93726"/>
                  </a:lnTo>
                  <a:cubicBezTo>
                    <a:pt x="169069" y="73342"/>
                    <a:pt x="163068" y="57912"/>
                    <a:pt x="151162" y="47339"/>
                  </a:cubicBezTo>
                  <a:cubicBezTo>
                    <a:pt x="139256" y="36862"/>
                    <a:pt x="122492" y="31623"/>
                    <a:pt x="100679" y="31623"/>
                  </a:cubicBezTo>
                  <a:cubicBezTo>
                    <a:pt x="86963" y="31623"/>
                    <a:pt x="74581" y="33147"/>
                    <a:pt x="63437" y="36100"/>
                  </a:cubicBezTo>
                  <a:cubicBezTo>
                    <a:pt x="52292" y="39053"/>
                    <a:pt x="41339" y="43053"/>
                    <a:pt x="30671" y="48196"/>
                  </a:cubicBezTo>
                  <a:lnTo>
                    <a:pt x="20384" y="19907"/>
                  </a:lnTo>
                  <a:cubicBezTo>
                    <a:pt x="33147" y="13906"/>
                    <a:pt x="46101" y="9049"/>
                    <a:pt x="59246" y="5429"/>
                  </a:cubicBezTo>
                  <a:cubicBezTo>
                    <a:pt x="72295" y="1810"/>
                    <a:pt x="87344" y="0"/>
                    <a:pt x="104299" y="0"/>
                  </a:cubicBezTo>
                  <a:cubicBezTo>
                    <a:pt x="137065" y="0"/>
                    <a:pt x="161925" y="8477"/>
                    <a:pt x="178880"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99" y="239173"/>
                    <a:pt x="86011" y="239173"/>
                  </a:cubicBezTo>
                  <a:close/>
                  <a:moveTo>
                    <a:pt x="93155" y="211169"/>
                  </a:moveTo>
                  <a:cubicBezTo>
                    <a:pt x="103823" y="211169"/>
                    <a:pt x="113728" y="209740"/>
                    <a:pt x="122968" y="206788"/>
                  </a:cubicBezTo>
                  <a:cubicBezTo>
                    <a:pt x="132207" y="203835"/>
                    <a:pt x="140208" y="199644"/>
                    <a:pt x="147257"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9" y="121444"/>
                  </a:cubicBezTo>
                  <a:cubicBezTo>
                    <a:pt x="129445" y="119348"/>
                    <a:pt x="116776"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244" y="190500"/>
                    <a:pt x="47435" y="195358"/>
                    <a:pt x="52769" y="199263"/>
                  </a:cubicBezTo>
                  <a:cubicBezTo>
                    <a:pt x="58103" y="203073"/>
                    <a:pt x="64294" y="206026"/>
                    <a:pt x="71247" y="208121"/>
                  </a:cubicBezTo>
                  <a:cubicBezTo>
                    <a:pt x="78200" y="210217"/>
                    <a:pt x="85535"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34" name="Freeform: Shape 33">
              <a:extLst>
                <a:ext uri="{FF2B5EF4-FFF2-40B4-BE49-F238E27FC236}">
                  <a16:creationId xmlns:a16="http://schemas.microsoft.com/office/drawing/2014/main" id="{B3ECBDD9-B14A-6C9D-84E4-5027C75A4505}"/>
                </a:ext>
              </a:extLst>
            </p:cNvPr>
            <p:cNvSpPr/>
            <p:nvPr/>
          </p:nvSpPr>
          <p:spPr>
            <a:xfrm>
              <a:off x="5331227"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9" y="303276"/>
                    <a:pt x="71438" y="300895"/>
                  </a:cubicBezTo>
                  <a:cubicBezTo>
                    <a:pt x="63437"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2"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5" name="Freeform: Shape 34">
              <a:extLst>
                <a:ext uri="{FF2B5EF4-FFF2-40B4-BE49-F238E27FC236}">
                  <a16:creationId xmlns:a16="http://schemas.microsoft.com/office/drawing/2014/main" id="{546A67B9-938A-D4FE-B864-829B2CCBD8DB}"/>
                </a:ext>
              </a:extLst>
            </p:cNvPr>
            <p:cNvSpPr/>
            <p:nvPr/>
          </p:nvSpPr>
          <p:spPr>
            <a:xfrm>
              <a:off x="5381845"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191 w 39242"/>
                <a:gd name="connsiteY5" fmla="*/ 88392 h 319182"/>
                <a:gd name="connsiteX6" fmla="*/ 36576 w 39242"/>
                <a:gd name="connsiteY6" fmla="*/ 88392 h 319182"/>
                <a:gd name="connsiteX7" fmla="*/ 36576 w 39242"/>
                <a:gd name="connsiteY7" fmla="*/ 319183 h 319182"/>
                <a:gd name="connsiteX8" fmla="*/ 2191 w 39242"/>
                <a:gd name="connsiteY8" fmla="*/ 319183 h 319182"/>
                <a:gd name="connsiteX9" fmla="*/ 2191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191" y="88392"/>
                  </a:moveTo>
                  <a:lnTo>
                    <a:pt x="36576" y="88392"/>
                  </a:lnTo>
                  <a:lnTo>
                    <a:pt x="36576" y="319183"/>
                  </a:lnTo>
                  <a:lnTo>
                    <a:pt x="2191" y="319183"/>
                  </a:lnTo>
                  <a:lnTo>
                    <a:pt x="2191" y="88392"/>
                  </a:lnTo>
                  <a:close/>
                </a:path>
              </a:pathLst>
            </a:custGeom>
            <a:solidFill>
              <a:srgbClr val="44505E"/>
            </a:solidFill>
            <a:ln w="9525" cap="flat">
              <a:noFill/>
              <a:prstDash val="solid"/>
              <a:miter/>
            </a:ln>
          </p:spPr>
          <p:txBody>
            <a:bodyPr rtlCol="0" anchor="ctr"/>
            <a:lstStyle/>
            <a:p>
              <a:endParaRPr lang="pt-BR" noProof="0"/>
            </a:p>
          </p:txBody>
        </p:sp>
        <p:sp>
          <p:nvSpPr>
            <p:cNvPr id="36" name="Freeform: Shape 35">
              <a:extLst>
                <a:ext uri="{FF2B5EF4-FFF2-40B4-BE49-F238E27FC236}">
                  <a16:creationId xmlns:a16="http://schemas.microsoft.com/office/drawing/2014/main" id="{BB28F4FA-9B55-517F-1839-6BA503AE21DE}"/>
                </a:ext>
              </a:extLst>
            </p:cNvPr>
            <p:cNvSpPr/>
            <p:nvPr/>
          </p:nvSpPr>
          <p:spPr>
            <a:xfrm>
              <a:off x="5406076"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8" y="303276"/>
                    <a:pt x="71438" y="300895"/>
                  </a:cubicBezTo>
                  <a:cubicBezTo>
                    <a:pt x="63436"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1"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7" name="Freeform: Shape 36">
              <a:extLst>
                <a:ext uri="{FF2B5EF4-FFF2-40B4-BE49-F238E27FC236}">
                  <a16:creationId xmlns:a16="http://schemas.microsoft.com/office/drawing/2014/main" id="{223B2257-75CB-BEA9-E489-950201F34473}"/>
                </a:ext>
              </a:extLst>
            </p:cNvPr>
            <p:cNvSpPr/>
            <p:nvPr/>
          </p:nvSpPr>
          <p:spPr>
            <a:xfrm>
              <a:off x="5455545" y="925297"/>
              <a:ext cx="50594" cy="59238"/>
            </a:xfrm>
            <a:custGeom>
              <a:avLst/>
              <a:gdLst>
                <a:gd name="connsiteX0" fmla="*/ 88392 w 201263"/>
                <a:gd name="connsiteY0" fmla="*/ 235648 h 235648"/>
                <a:gd name="connsiteX1" fmla="*/ 51149 w 201263"/>
                <a:gd name="connsiteY1" fmla="*/ 228981 h 235648"/>
                <a:gd name="connsiteX2" fmla="*/ 23431 w 201263"/>
                <a:gd name="connsiteY2" fmla="*/ 210026 h 235648"/>
                <a:gd name="connsiteX3" fmla="*/ 6001 w 201263"/>
                <a:gd name="connsiteY3" fmla="*/ 180784 h 235648"/>
                <a:gd name="connsiteX4" fmla="*/ 0 w 201263"/>
                <a:gd name="connsiteY4" fmla="*/ 143256 h 235648"/>
                <a:gd name="connsiteX5" fmla="*/ 0 w 201263"/>
                <a:gd name="connsiteY5" fmla="*/ 0 h 235648"/>
                <a:gd name="connsiteX6" fmla="*/ 34385 w 201263"/>
                <a:gd name="connsiteY6" fmla="*/ 0 h 235648"/>
                <a:gd name="connsiteX7" fmla="*/ 34385 w 201263"/>
                <a:gd name="connsiteY7" fmla="*/ 134493 h 235648"/>
                <a:gd name="connsiteX8" fmla="*/ 50864 w 201263"/>
                <a:gd name="connsiteY8" fmla="*/ 185261 h 235648"/>
                <a:gd name="connsiteX9" fmla="*/ 98203 w 201263"/>
                <a:gd name="connsiteY9" fmla="*/ 203930 h 235648"/>
                <a:gd name="connsiteX10" fmla="*/ 125635 w 201263"/>
                <a:gd name="connsiteY10" fmla="*/ 198787 h 235648"/>
                <a:gd name="connsiteX11" fmla="*/ 147542 w 201263"/>
                <a:gd name="connsiteY11" fmla="*/ 184118 h 235648"/>
                <a:gd name="connsiteX12" fmla="*/ 162020 w 201263"/>
                <a:gd name="connsiteY12" fmla="*/ 161163 h 235648"/>
                <a:gd name="connsiteX13" fmla="*/ 167354 w 201263"/>
                <a:gd name="connsiteY13" fmla="*/ 131826 h 235648"/>
                <a:gd name="connsiteX14" fmla="*/ 167354 w 201263"/>
                <a:gd name="connsiteY14" fmla="*/ 0 h 235648"/>
                <a:gd name="connsiteX15" fmla="*/ 201263 w 201263"/>
                <a:gd name="connsiteY15" fmla="*/ 0 h 235648"/>
                <a:gd name="connsiteX16" fmla="*/ 201263 w 201263"/>
                <a:gd name="connsiteY16" fmla="*/ 230791 h 235648"/>
                <a:gd name="connsiteX17" fmla="*/ 167354 w 201263"/>
                <a:gd name="connsiteY17" fmla="*/ 230791 h 235648"/>
                <a:gd name="connsiteX18" fmla="*/ 167354 w 201263"/>
                <a:gd name="connsiteY18" fmla="*/ 190595 h 235648"/>
                <a:gd name="connsiteX19" fmla="*/ 136969 w 201263"/>
                <a:gd name="connsiteY19" fmla="*/ 222504 h 235648"/>
                <a:gd name="connsiteX20" fmla="*/ 88297 w 201263"/>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263" h="235648">
                  <a:moveTo>
                    <a:pt x="88392" y="235648"/>
                  </a:moveTo>
                  <a:cubicBezTo>
                    <a:pt x="74390" y="235648"/>
                    <a:pt x="62008" y="233363"/>
                    <a:pt x="51149" y="228981"/>
                  </a:cubicBezTo>
                  <a:cubicBezTo>
                    <a:pt x="40291" y="224504"/>
                    <a:pt x="31052" y="218218"/>
                    <a:pt x="23431"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864" y="185261"/>
                  </a:cubicBezTo>
                  <a:cubicBezTo>
                    <a:pt x="61913" y="197739"/>
                    <a:pt x="77629" y="203930"/>
                    <a:pt x="98203" y="203930"/>
                  </a:cubicBezTo>
                  <a:cubicBezTo>
                    <a:pt x="108014" y="203930"/>
                    <a:pt x="117158" y="202216"/>
                    <a:pt x="125635" y="198787"/>
                  </a:cubicBezTo>
                  <a:cubicBezTo>
                    <a:pt x="134112" y="195358"/>
                    <a:pt x="141351" y="190500"/>
                    <a:pt x="147542" y="184118"/>
                  </a:cubicBezTo>
                  <a:cubicBezTo>
                    <a:pt x="153638" y="177736"/>
                    <a:pt x="158496" y="170116"/>
                    <a:pt x="162020" y="161163"/>
                  </a:cubicBezTo>
                  <a:cubicBezTo>
                    <a:pt x="165640" y="152305"/>
                    <a:pt x="167354" y="142494"/>
                    <a:pt x="167354" y="131826"/>
                  </a:cubicBezTo>
                  <a:lnTo>
                    <a:pt x="167354" y="0"/>
                  </a:lnTo>
                  <a:lnTo>
                    <a:pt x="201263" y="0"/>
                  </a:lnTo>
                  <a:lnTo>
                    <a:pt x="201263" y="230791"/>
                  </a:lnTo>
                  <a:lnTo>
                    <a:pt x="167354" y="230791"/>
                  </a:lnTo>
                  <a:lnTo>
                    <a:pt x="167354" y="190595"/>
                  </a:lnTo>
                  <a:cubicBezTo>
                    <a:pt x="159639" y="203073"/>
                    <a:pt x="149447" y="213741"/>
                    <a:pt x="136969" y="222504"/>
                  </a:cubicBezTo>
                  <a:cubicBezTo>
                    <a:pt x="124492" y="231267"/>
                    <a:pt x="108299" y="235648"/>
                    <a:pt x="88297" y="235648"/>
                  </a:cubicBezTo>
                  <a:close/>
                </a:path>
              </a:pathLst>
            </a:custGeom>
            <a:solidFill>
              <a:srgbClr val="44505E"/>
            </a:solidFill>
            <a:ln w="9525" cap="flat">
              <a:noFill/>
              <a:prstDash val="solid"/>
              <a:miter/>
            </a:ln>
          </p:spPr>
          <p:txBody>
            <a:bodyPr rtlCol="0" anchor="ctr"/>
            <a:lstStyle/>
            <a:p>
              <a:endParaRPr lang="pt-BR" noProof="0"/>
            </a:p>
          </p:txBody>
        </p:sp>
        <p:sp>
          <p:nvSpPr>
            <p:cNvPr id="38" name="Freeform: Shape 37">
              <a:extLst>
                <a:ext uri="{FF2B5EF4-FFF2-40B4-BE49-F238E27FC236}">
                  <a16:creationId xmlns:a16="http://schemas.microsoft.com/office/drawing/2014/main" id="{90CEAC57-42D2-A073-1B30-D81095F0D8E7}"/>
                </a:ext>
              </a:extLst>
            </p:cNvPr>
            <p:cNvSpPr/>
            <p:nvPr/>
          </p:nvSpPr>
          <p:spPr>
            <a:xfrm>
              <a:off x="5522205" y="901353"/>
              <a:ext cx="58567" cy="83182"/>
            </a:xfrm>
            <a:custGeom>
              <a:avLst/>
              <a:gdLst>
                <a:gd name="connsiteX0" fmla="*/ 110204 w 232981"/>
                <a:gd name="connsiteY0" fmla="*/ 330898 h 330898"/>
                <a:gd name="connsiteX1" fmla="*/ 69628 w 232981"/>
                <a:gd name="connsiteY1" fmla="*/ 322897 h 330898"/>
                <a:gd name="connsiteX2" fmla="*/ 34385 w 232981"/>
                <a:gd name="connsiteY2" fmla="*/ 299466 h 330898"/>
                <a:gd name="connsiteX3" fmla="*/ 9334 w 232981"/>
                <a:gd name="connsiteY3" fmla="*/ 261938 h 330898"/>
                <a:gd name="connsiteX4" fmla="*/ 0 w 232981"/>
                <a:gd name="connsiteY4" fmla="*/ 211264 h 330898"/>
                <a:gd name="connsiteX5" fmla="*/ 0 w 232981"/>
                <a:gd name="connsiteY5" fmla="*/ 210407 h 330898"/>
                <a:gd name="connsiteX6" fmla="*/ 9334 w 232981"/>
                <a:gd name="connsiteY6" fmla="*/ 159925 h 330898"/>
                <a:gd name="connsiteX7" fmla="*/ 34385 w 232981"/>
                <a:gd name="connsiteY7" fmla="*/ 122206 h 330898"/>
                <a:gd name="connsiteX8" fmla="*/ 69628 w 232981"/>
                <a:gd name="connsiteY8" fmla="*/ 98488 h 330898"/>
                <a:gd name="connsiteX9" fmla="*/ 110204 w 232981"/>
                <a:gd name="connsiteY9" fmla="*/ 90202 h 330898"/>
                <a:gd name="connsiteX10" fmla="*/ 139636 w 232981"/>
                <a:gd name="connsiteY10" fmla="*/ 94202 h 330898"/>
                <a:gd name="connsiteX11" fmla="*/ 163735 w 232981"/>
                <a:gd name="connsiteY11" fmla="*/ 104870 h 330898"/>
                <a:gd name="connsiteX12" fmla="*/ 183166 w 232981"/>
                <a:gd name="connsiteY12" fmla="*/ 120491 h 330898"/>
                <a:gd name="connsiteX13" fmla="*/ 198596 w 232981"/>
                <a:gd name="connsiteY13" fmla="*/ 139255 h 330898"/>
                <a:gd name="connsiteX14" fmla="*/ 198596 w 232981"/>
                <a:gd name="connsiteY14" fmla="*/ 0 h 330898"/>
                <a:gd name="connsiteX15" fmla="*/ 232981 w 232981"/>
                <a:gd name="connsiteY15" fmla="*/ 0 h 330898"/>
                <a:gd name="connsiteX16" fmla="*/ 232981 w 232981"/>
                <a:gd name="connsiteY16" fmla="*/ 325850 h 330898"/>
                <a:gd name="connsiteX17" fmla="*/ 198596 w 232981"/>
                <a:gd name="connsiteY17" fmla="*/ 325850 h 330898"/>
                <a:gd name="connsiteX18" fmla="*/ 198596 w 232981"/>
                <a:gd name="connsiteY18" fmla="*/ 279463 h 330898"/>
                <a:gd name="connsiteX19" fmla="*/ 182785 w 232981"/>
                <a:gd name="connsiteY19" fmla="*/ 299085 h 330898"/>
                <a:gd name="connsiteX20" fmla="*/ 163354 w 232981"/>
                <a:gd name="connsiteY20" fmla="*/ 315658 h 330898"/>
                <a:gd name="connsiteX21" fmla="*/ 139446 w 232981"/>
                <a:gd name="connsiteY21" fmla="*/ 326803 h 330898"/>
                <a:gd name="connsiteX22" fmla="*/ 110204 w 232981"/>
                <a:gd name="connsiteY22" fmla="*/ 330803 h 330898"/>
                <a:gd name="connsiteX23" fmla="*/ 116491 w 232981"/>
                <a:gd name="connsiteY23" fmla="*/ 300133 h 330898"/>
                <a:gd name="connsiteX24" fmla="*/ 147542 w 232981"/>
                <a:gd name="connsiteY24" fmla="*/ 293656 h 330898"/>
                <a:gd name="connsiteX25" fmla="*/ 174307 w 232981"/>
                <a:gd name="connsiteY25" fmla="*/ 275368 h 330898"/>
                <a:gd name="connsiteX26" fmla="*/ 193072 w 232981"/>
                <a:gd name="connsiteY26" fmla="*/ 247269 h 330898"/>
                <a:gd name="connsiteX27" fmla="*/ 200025 w 232981"/>
                <a:gd name="connsiteY27" fmla="*/ 210883 h 330898"/>
                <a:gd name="connsiteX28" fmla="*/ 200025 w 232981"/>
                <a:gd name="connsiteY28" fmla="*/ 210026 h 330898"/>
                <a:gd name="connsiteX29" fmla="*/ 193072 w 232981"/>
                <a:gd name="connsiteY29" fmla="*/ 173641 h 330898"/>
                <a:gd name="connsiteX30" fmla="*/ 174307 w 232981"/>
                <a:gd name="connsiteY30" fmla="*/ 145732 h 330898"/>
                <a:gd name="connsiteX31" fmla="*/ 147542 w 232981"/>
                <a:gd name="connsiteY31" fmla="*/ 127635 h 330898"/>
                <a:gd name="connsiteX32" fmla="*/ 116491 w 232981"/>
                <a:gd name="connsiteY32" fmla="*/ 121158 h 330898"/>
                <a:gd name="connsiteX33" fmla="*/ 84772 w 232981"/>
                <a:gd name="connsiteY33" fmla="*/ 127159 h 330898"/>
                <a:gd name="connsiteX34" fmla="*/ 59150 w 232981"/>
                <a:gd name="connsiteY34" fmla="*/ 144589 h 330898"/>
                <a:gd name="connsiteX35" fmla="*/ 41719 w 232981"/>
                <a:gd name="connsiteY35" fmla="*/ 172498 h 330898"/>
                <a:gd name="connsiteX36" fmla="*/ 35242 w 232981"/>
                <a:gd name="connsiteY36" fmla="*/ 210026 h 330898"/>
                <a:gd name="connsiteX37" fmla="*/ 35242 w 232981"/>
                <a:gd name="connsiteY37" fmla="*/ 210883 h 330898"/>
                <a:gd name="connsiteX38" fmla="*/ 41719 w 232981"/>
                <a:gd name="connsiteY38" fmla="*/ 247936 h 330898"/>
                <a:gd name="connsiteX39" fmla="*/ 59341 w 232981"/>
                <a:gd name="connsiteY39" fmla="*/ 276034 h 330898"/>
                <a:gd name="connsiteX40" fmla="*/ 85249 w 232981"/>
                <a:gd name="connsiteY40" fmla="*/ 293941 h 330898"/>
                <a:gd name="connsiteX41" fmla="*/ 116491 w 23298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30898">
                  <a:moveTo>
                    <a:pt x="110204" y="330898"/>
                  </a:moveTo>
                  <a:cubicBezTo>
                    <a:pt x="96202" y="330898"/>
                    <a:pt x="82677" y="328231"/>
                    <a:pt x="69628" y="322897"/>
                  </a:cubicBezTo>
                  <a:cubicBezTo>
                    <a:pt x="56578" y="317563"/>
                    <a:pt x="44767" y="309753"/>
                    <a:pt x="34385" y="299466"/>
                  </a:cubicBezTo>
                  <a:cubicBezTo>
                    <a:pt x="24003" y="289179"/>
                    <a:pt x="15621" y="276701"/>
                    <a:pt x="9334" y="261938"/>
                  </a:cubicBezTo>
                  <a:cubicBezTo>
                    <a:pt x="3048" y="247174"/>
                    <a:pt x="0" y="230314"/>
                    <a:pt x="0" y="211264"/>
                  </a:cubicBezTo>
                  <a:lnTo>
                    <a:pt x="0" y="210407"/>
                  </a:lnTo>
                  <a:cubicBezTo>
                    <a:pt x="0" y="191643"/>
                    <a:pt x="3143" y="174879"/>
                    <a:pt x="9334" y="159925"/>
                  </a:cubicBezTo>
                  <a:cubicBezTo>
                    <a:pt x="15621" y="145066"/>
                    <a:pt x="23908" y="132493"/>
                    <a:pt x="34385" y="122206"/>
                  </a:cubicBezTo>
                  <a:cubicBezTo>
                    <a:pt x="44767" y="111919"/>
                    <a:pt x="56578" y="104013"/>
                    <a:pt x="69628" y="98488"/>
                  </a:cubicBezTo>
                  <a:cubicBezTo>
                    <a:pt x="82677" y="92964"/>
                    <a:pt x="96298" y="90202"/>
                    <a:pt x="110204" y="90202"/>
                  </a:cubicBezTo>
                  <a:cubicBezTo>
                    <a:pt x="120967" y="90202"/>
                    <a:pt x="130778" y="91535"/>
                    <a:pt x="139636" y="94202"/>
                  </a:cubicBezTo>
                  <a:cubicBezTo>
                    <a:pt x="148590" y="96869"/>
                    <a:pt x="156591" y="100489"/>
                    <a:pt x="163735" y="104870"/>
                  </a:cubicBezTo>
                  <a:cubicBezTo>
                    <a:pt x="170878" y="109347"/>
                    <a:pt x="177356" y="114586"/>
                    <a:pt x="183166" y="120491"/>
                  </a:cubicBezTo>
                  <a:cubicBezTo>
                    <a:pt x="188976" y="126492"/>
                    <a:pt x="194119" y="132683"/>
                    <a:pt x="198596" y="139255"/>
                  </a:cubicBezTo>
                  <a:lnTo>
                    <a:pt x="198596" y="0"/>
                  </a:lnTo>
                  <a:lnTo>
                    <a:pt x="232981" y="0"/>
                  </a:lnTo>
                  <a:lnTo>
                    <a:pt x="232981" y="325850"/>
                  </a:lnTo>
                  <a:lnTo>
                    <a:pt x="198596" y="325850"/>
                  </a:lnTo>
                  <a:lnTo>
                    <a:pt x="198596" y="279463"/>
                  </a:lnTo>
                  <a:cubicBezTo>
                    <a:pt x="193834" y="286321"/>
                    <a:pt x="188595" y="292894"/>
                    <a:pt x="182785" y="299085"/>
                  </a:cubicBezTo>
                  <a:cubicBezTo>
                    <a:pt x="176974" y="305371"/>
                    <a:pt x="170498" y="310896"/>
                    <a:pt x="163354" y="315658"/>
                  </a:cubicBezTo>
                  <a:cubicBezTo>
                    <a:pt x="156210" y="320421"/>
                    <a:pt x="148209" y="324136"/>
                    <a:pt x="139446" y="326803"/>
                  </a:cubicBezTo>
                  <a:cubicBezTo>
                    <a:pt x="130683" y="329470"/>
                    <a:pt x="120967" y="330803"/>
                    <a:pt x="110204" y="330803"/>
                  </a:cubicBezTo>
                  <a:close/>
                  <a:moveTo>
                    <a:pt x="116491" y="300133"/>
                  </a:moveTo>
                  <a:cubicBezTo>
                    <a:pt x="127159" y="300133"/>
                    <a:pt x="137541" y="297942"/>
                    <a:pt x="147542" y="293656"/>
                  </a:cubicBezTo>
                  <a:cubicBezTo>
                    <a:pt x="157544" y="289369"/>
                    <a:pt x="166402" y="283273"/>
                    <a:pt x="174307" y="275368"/>
                  </a:cubicBezTo>
                  <a:cubicBezTo>
                    <a:pt x="182213" y="267462"/>
                    <a:pt x="188404" y="258127"/>
                    <a:pt x="193072" y="247269"/>
                  </a:cubicBezTo>
                  <a:cubicBezTo>
                    <a:pt x="197644" y="236410"/>
                    <a:pt x="200025" y="224314"/>
                    <a:pt x="200025" y="210883"/>
                  </a:cubicBezTo>
                  <a:lnTo>
                    <a:pt x="200025" y="210026"/>
                  </a:lnTo>
                  <a:cubicBezTo>
                    <a:pt x="200025" y="196596"/>
                    <a:pt x="197739" y="184499"/>
                    <a:pt x="193072" y="173641"/>
                  </a:cubicBezTo>
                  <a:cubicBezTo>
                    <a:pt x="188500" y="162782"/>
                    <a:pt x="182213" y="153448"/>
                    <a:pt x="174307" y="145732"/>
                  </a:cubicBezTo>
                  <a:cubicBezTo>
                    <a:pt x="166402" y="138017"/>
                    <a:pt x="157448" y="132016"/>
                    <a:pt x="147542" y="127635"/>
                  </a:cubicBezTo>
                  <a:cubicBezTo>
                    <a:pt x="137541" y="123349"/>
                    <a:pt x="127254" y="121158"/>
                    <a:pt x="116491" y="121158"/>
                  </a:cubicBezTo>
                  <a:cubicBezTo>
                    <a:pt x="105156" y="121158"/>
                    <a:pt x="94583" y="123158"/>
                    <a:pt x="84772" y="127159"/>
                  </a:cubicBezTo>
                  <a:cubicBezTo>
                    <a:pt x="74962" y="131159"/>
                    <a:pt x="66389" y="136969"/>
                    <a:pt x="59150" y="144589"/>
                  </a:cubicBezTo>
                  <a:cubicBezTo>
                    <a:pt x="51816" y="152114"/>
                    <a:pt x="46101" y="161449"/>
                    <a:pt x="41719" y="172498"/>
                  </a:cubicBezTo>
                  <a:cubicBezTo>
                    <a:pt x="37433" y="183451"/>
                    <a:pt x="35242" y="196024"/>
                    <a:pt x="35242" y="210026"/>
                  </a:cubicBezTo>
                  <a:lnTo>
                    <a:pt x="35242" y="210883"/>
                  </a:lnTo>
                  <a:cubicBezTo>
                    <a:pt x="35242" y="224599"/>
                    <a:pt x="37433" y="236982"/>
                    <a:pt x="41719" y="247936"/>
                  </a:cubicBezTo>
                  <a:cubicBezTo>
                    <a:pt x="46006" y="258984"/>
                    <a:pt x="51911" y="268319"/>
                    <a:pt x="59341" y="276034"/>
                  </a:cubicBezTo>
                  <a:cubicBezTo>
                    <a:pt x="66770" y="283750"/>
                    <a:pt x="75438" y="289750"/>
                    <a:pt x="85249" y="293941"/>
                  </a:cubicBezTo>
                  <a:cubicBezTo>
                    <a:pt x="95059" y="298132"/>
                    <a:pt x="105442" y="300228"/>
                    <a:pt x="116491" y="300228"/>
                  </a:cubicBezTo>
                  <a:close/>
                </a:path>
              </a:pathLst>
            </a:custGeom>
            <a:solidFill>
              <a:srgbClr val="44505E"/>
            </a:solidFill>
            <a:ln w="9525" cap="flat">
              <a:noFill/>
              <a:prstDash val="solid"/>
              <a:miter/>
            </a:ln>
          </p:spPr>
          <p:txBody>
            <a:bodyPr rtlCol="0" anchor="ctr"/>
            <a:lstStyle/>
            <a:p>
              <a:endParaRPr lang="pt-BR" noProof="0"/>
            </a:p>
          </p:txBody>
        </p:sp>
        <p:sp>
          <p:nvSpPr>
            <p:cNvPr id="39" name="Freeform: Shape 38">
              <a:extLst>
                <a:ext uri="{FF2B5EF4-FFF2-40B4-BE49-F238E27FC236}">
                  <a16:creationId xmlns:a16="http://schemas.microsoft.com/office/drawing/2014/main" id="{C1836B89-43E2-6791-CA09-5D5FBF3C7547}"/>
                </a:ext>
              </a:extLst>
            </p:cNvPr>
            <p:cNvSpPr/>
            <p:nvPr/>
          </p:nvSpPr>
          <p:spPr>
            <a:xfrm>
              <a:off x="5596504"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6963 w 218217"/>
                <a:gd name="connsiteY3" fmla="*/ 206026 h 241077"/>
                <a:gd name="connsiteX4" fmla="*/ 116015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8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1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452 w 218217"/>
                <a:gd name="connsiteY25" fmla="*/ 106299 h 241077"/>
                <a:gd name="connsiteX26" fmla="*/ 176784 w 218217"/>
                <a:gd name="connsiteY26" fmla="*/ 76771 h 241077"/>
                <a:gd name="connsiteX27" fmla="*/ 162306 w 218217"/>
                <a:gd name="connsiteY27" fmla="*/ 52101 h 241077"/>
                <a:gd name="connsiteX28" fmla="*/ 140018 w 218217"/>
                <a:gd name="connsiteY28" fmla="*/ 35242 h 241077"/>
                <a:gd name="connsiteX29" fmla="*/ 109919 w 218217"/>
                <a:gd name="connsiteY29" fmla="*/ 29051 h 241077"/>
                <a:gd name="connsiteX30" fmla="*/ 82201 w 218217"/>
                <a:gd name="connsiteY30" fmla="*/ 34766 h 241077"/>
                <a:gd name="connsiteX31" fmla="*/ 59436 w 218217"/>
                <a:gd name="connsiteY31" fmla="*/ 50959 h 241077"/>
                <a:gd name="connsiteX32" fmla="*/ 43148 w 218217"/>
                <a:gd name="connsiteY32" fmla="*/ 75628 h 241077"/>
                <a:gd name="connsiteX33" fmla="*/ 34862 w 218217"/>
                <a:gd name="connsiteY33" fmla="*/ 106204 h 241077"/>
                <a:gd name="connsiteX34" fmla="*/ 183547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724" y="202597"/>
                    <a:pt x="86963" y="206026"/>
                  </a:cubicBezTo>
                  <a:cubicBezTo>
                    <a:pt x="96203" y="209455"/>
                    <a:pt x="105823" y="211169"/>
                    <a:pt x="116015" y="211169"/>
                  </a:cubicBezTo>
                  <a:cubicBezTo>
                    <a:pt x="132112" y="211169"/>
                    <a:pt x="145828" y="208216"/>
                    <a:pt x="157353" y="202216"/>
                  </a:cubicBezTo>
                  <a:cubicBezTo>
                    <a:pt x="168783" y="196310"/>
                    <a:pt x="179261" y="188404"/>
                    <a:pt x="188786" y="178594"/>
                  </a:cubicBezTo>
                  <a:lnTo>
                    <a:pt x="210217" y="197834"/>
                  </a:lnTo>
                  <a:cubicBezTo>
                    <a:pt x="198596" y="210979"/>
                    <a:pt x="185357" y="221361"/>
                    <a:pt x="170498" y="229267"/>
                  </a:cubicBezTo>
                  <a:cubicBezTo>
                    <a:pt x="155639"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679" y="0"/>
                    <a:pt x="110681"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452" y="106299"/>
                  </a:moveTo>
                  <a:cubicBezTo>
                    <a:pt x="182594" y="95917"/>
                    <a:pt x="180308" y="86106"/>
                    <a:pt x="176784" y="76771"/>
                  </a:cubicBezTo>
                  <a:cubicBezTo>
                    <a:pt x="173165" y="67437"/>
                    <a:pt x="168402" y="59245"/>
                    <a:pt x="162306" y="52101"/>
                  </a:cubicBezTo>
                  <a:cubicBezTo>
                    <a:pt x="156210" y="44958"/>
                    <a:pt x="148781" y="39338"/>
                    <a:pt x="140018" y="35242"/>
                  </a:cubicBezTo>
                  <a:cubicBezTo>
                    <a:pt x="131254" y="31147"/>
                    <a:pt x="121158" y="29051"/>
                    <a:pt x="109919" y="29051"/>
                  </a:cubicBezTo>
                  <a:cubicBezTo>
                    <a:pt x="100108" y="29051"/>
                    <a:pt x="90869" y="30956"/>
                    <a:pt x="82201" y="34766"/>
                  </a:cubicBezTo>
                  <a:cubicBezTo>
                    <a:pt x="73533" y="38671"/>
                    <a:pt x="66008" y="44005"/>
                    <a:pt x="59436" y="50959"/>
                  </a:cubicBezTo>
                  <a:cubicBezTo>
                    <a:pt x="52864" y="57912"/>
                    <a:pt x="47435" y="66103"/>
                    <a:pt x="43148" y="75628"/>
                  </a:cubicBezTo>
                  <a:cubicBezTo>
                    <a:pt x="38862" y="85058"/>
                    <a:pt x="36100" y="95345"/>
                    <a:pt x="34862" y="106204"/>
                  </a:cubicBezTo>
                  <a:lnTo>
                    <a:pt x="183547" y="106204"/>
                  </a:lnTo>
                  <a:close/>
                </a:path>
              </a:pathLst>
            </a:custGeom>
            <a:solidFill>
              <a:srgbClr val="44505E"/>
            </a:solidFill>
            <a:ln w="9525" cap="flat">
              <a:noFill/>
              <a:prstDash val="solid"/>
              <a:miter/>
            </a:ln>
          </p:spPr>
          <p:txBody>
            <a:bodyPr rtlCol="0" anchor="ctr"/>
            <a:lstStyle/>
            <a:p>
              <a:endParaRPr lang="pt-BR" noProof="0"/>
            </a:p>
          </p:txBody>
        </p:sp>
        <p:sp>
          <p:nvSpPr>
            <p:cNvPr id="40" name="Freeform: Shape 39">
              <a:extLst>
                <a:ext uri="{FF2B5EF4-FFF2-40B4-BE49-F238E27FC236}">
                  <a16:creationId xmlns:a16="http://schemas.microsoft.com/office/drawing/2014/main" id="{10FA4940-2FC9-E206-45C3-DA41E1A9C59D}"/>
                </a:ext>
              </a:extLst>
            </p:cNvPr>
            <p:cNvSpPr/>
            <p:nvPr/>
          </p:nvSpPr>
          <p:spPr>
            <a:xfrm>
              <a:off x="5661680" y="924268"/>
              <a:ext cx="44656" cy="60195"/>
            </a:xfrm>
            <a:custGeom>
              <a:avLst/>
              <a:gdLst>
                <a:gd name="connsiteX0" fmla="*/ 95536 w 177641"/>
                <a:gd name="connsiteY0" fmla="*/ 239268 h 239458"/>
                <a:gd name="connsiteX1" fmla="*/ 45053 w 177641"/>
                <a:gd name="connsiteY1" fmla="*/ 230124 h 239458"/>
                <a:gd name="connsiteX2" fmla="*/ 0 w 177641"/>
                <a:gd name="connsiteY2" fmla="*/ 205359 h 239458"/>
                <a:gd name="connsiteX3" fmla="*/ 17431 w 177641"/>
                <a:gd name="connsiteY3" fmla="*/ 180785 h 239458"/>
                <a:gd name="connsiteX4" fmla="*/ 56483 w 177641"/>
                <a:gd name="connsiteY4" fmla="*/ 202692 h 239458"/>
                <a:gd name="connsiteX5" fmla="*/ 97346 w 177641"/>
                <a:gd name="connsiteY5" fmla="*/ 210217 h 239458"/>
                <a:gd name="connsiteX6" fmla="*/ 131731 w 177641"/>
                <a:gd name="connsiteY6" fmla="*/ 200406 h 239458"/>
                <a:gd name="connsiteX7" fmla="*/ 145161 w 177641"/>
                <a:gd name="connsiteY7" fmla="*/ 173641 h 239458"/>
                <a:gd name="connsiteX8" fmla="*/ 145161 w 177641"/>
                <a:gd name="connsiteY8" fmla="*/ 172784 h 239458"/>
                <a:gd name="connsiteX9" fmla="*/ 140494 w 177641"/>
                <a:gd name="connsiteY9" fmla="*/ 158020 h 239458"/>
                <a:gd name="connsiteX10" fmla="*/ 127730 w 177641"/>
                <a:gd name="connsiteY10" fmla="*/ 147066 h 239458"/>
                <a:gd name="connsiteX11" fmla="*/ 109157 w 177641"/>
                <a:gd name="connsiteY11" fmla="*/ 138779 h 239458"/>
                <a:gd name="connsiteX12" fmla="*/ 87535 w 177641"/>
                <a:gd name="connsiteY12" fmla="*/ 132112 h 239458"/>
                <a:gd name="connsiteX13" fmla="*/ 60484 w 177641"/>
                <a:gd name="connsiteY13" fmla="*/ 123444 h 239458"/>
                <a:gd name="connsiteX14" fmla="*/ 35909 w 177641"/>
                <a:gd name="connsiteY14" fmla="*/ 111633 h 239458"/>
                <a:gd name="connsiteX15" fmla="*/ 18098 w 177641"/>
                <a:gd name="connsiteY15" fmla="*/ 93726 h 239458"/>
                <a:gd name="connsiteX16" fmla="*/ 11144 w 177641"/>
                <a:gd name="connsiteY16" fmla="*/ 66961 h 239458"/>
                <a:gd name="connsiteX17" fmla="*/ 11144 w 177641"/>
                <a:gd name="connsiteY17" fmla="*/ 66008 h 239458"/>
                <a:gd name="connsiteX18" fmla="*/ 16954 w 177641"/>
                <a:gd name="connsiteY18" fmla="*/ 39053 h 239458"/>
                <a:gd name="connsiteX19" fmla="*/ 33242 w 177641"/>
                <a:gd name="connsiteY19" fmla="*/ 18098 h 239458"/>
                <a:gd name="connsiteX20" fmla="*/ 58293 w 177641"/>
                <a:gd name="connsiteY20" fmla="*/ 4667 h 239458"/>
                <a:gd name="connsiteX21" fmla="*/ 89725 w 177641"/>
                <a:gd name="connsiteY21" fmla="*/ 0 h 239458"/>
                <a:gd name="connsiteX22" fmla="*/ 133064 w 177641"/>
                <a:gd name="connsiteY22" fmla="*/ 6953 h 239458"/>
                <a:gd name="connsiteX23" fmla="*/ 172784 w 177641"/>
                <a:gd name="connsiteY23" fmla="*/ 25527 h 239458"/>
                <a:gd name="connsiteX24" fmla="*/ 157163 w 177641"/>
                <a:gd name="connsiteY24" fmla="*/ 51435 h 239458"/>
                <a:gd name="connsiteX25" fmla="*/ 123444 w 177641"/>
                <a:gd name="connsiteY25" fmla="*/ 35147 h 239458"/>
                <a:gd name="connsiteX26" fmla="*/ 88868 w 177641"/>
                <a:gd name="connsiteY26" fmla="*/ 29146 h 239458"/>
                <a:gd name="connsiteX27" fmla="*/ 56293 w 177641"/>
                <a:gd name="connsiteY27" fmla="*/ 38767 h 239458"/>
                <a:gd name="connsiteX28" fmla="*/ 44196 w 177641"/>
                <a:gd name="connsiteY28" fmla="*/ 62675 h 239458"/>
                <a:gd name="connsiteX29" fmla="*/ 44196 w 177641"/>
                <a:gd name="connsiteY29" fmla="*/ 63627 h 239458"/>
                <a:gd name="connsiteX30" fmla="*/ 49149 w 177641"/>
                <a:gd name="connsiteY30" fmla="*/ 77724 h 239458"/>
                <a:gd name="connsiteX31" fmla="*/ 62294 w 177641"/>
                <a:gd name="connsiteY31" fmla="*/ 88202 h 239458"/>
                <a:gd name="connsiteX32" fmla="*/ 81248 w 177641"/>
                <a:gd name="connsiteY32" fmla="*/ 96203 h 239458"/>
                <a:gd name="connsiteX33" fmla="*/ 103537 w 177641"/>
                <a:gd name="connsiteY33" fmla="*/ 103346 h 239458"/>
                <a:gd name="connsiteX34" fmla="*/ 130112 w 177641"/>
                <a:gd name="connsiteY34" fmla="*/ 112300 h 239458"/>
                <a:gd name="connsiteX35" fmla="*/ 154019 w 177641"/>
                <a:gd name="connsiteY35" fmla="*/ 124778 h 239458"/>
                <a:gd name="connsiteX36" fmla="*/ 171164 w 177641"/>
                <a:gd name="connsiteY36" fmla="*/ 143066 h 239458"/>
                <a:gd name="connsiteX37" fmla="*/ 177641 w 177641"/>
                <a:gd name="connsiteY37" fmla="*/ 169450 h 239458"/>
                <a:gd name="connsiteX38" fmla="*/ 177641 w 177641"/>
                <a:gd name="connsiteY38" fmla="*/ 170307 h 239458"/>
                <a:gd name="connsiteX39" fmla="*/ 171164 w 177641"/>
                <a:gd name="connsiteY39" fmla="*/ 199549 h 239458"/>
                <a:gd name="connsiteX40" fmla="*/ 153734 w 177641"/>
                <a:gd name="connsiteY40" fmla="*/ 221171 h 239458"/>
                <a:gd name="connsiteX41" fmla="*/ 127825 w 177641"/>
                <a:gd name="connsiteY41" fmla="*/ 234791 h 239458"/>
                <a:gd name="connsiteX42" fmla="*/ 95441 w 177641"/>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641" h="239458">
                  <a:moveTo>
                    <a:pt x="95536" y="239268"/>
                  </a:moveTo>
                  <a:cubicBezTo>
                    <a:pt x="78867" y="239268"/>
                    <a:pt x="62008" y="236220"/>
                    <a:pt x="45053" y="230124"/>
                  </a:cubicBezTo>
                  <a:cubicBezTo>
                    <a:pt x="28099" y="224028"/>
                    <a:pt x="13049" y="215741"/>
                    <a:pt x="0" y="205359"/>
                  </a:cubicBezTo>
                  <a:lnTo>
                    <a:pt x="17431" y="180785"/>
                  </a:lnTo>
                  <a:cubicBezTo>
                    <a:pt x="29908"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542" y="162211"/>
                    <a:pt x="140494" y="158020"/>
                  </a:cubicBezTo>
                  <a:cubicBezTo>
                    <a:pt x="137350" y="153829"/>
                    <a:pt x="133160" y="150209"/>
                    <a:pt x="127730" y="147066"/>
                  </a:cubicBezTo>
                  <a:cubicBezTo>
                    <a:pt x="122396" y="143923"/>
                    <a:pt x="116205" y="141161"/>
                    <a:pt x="109157" y="138779"/>
                  </a:cubicBezTo>
                  <a:cubicBezTo>
                    <a:pt x="102203" y="136398"/>
                    <a:pt x="94964" y="134207"/>
                    <a:pt x="87535" y="132112"/>
                  </a:cubicBezTo>
                  <a:cubicBezTo>
                    <a:pt x="78581" y="129445"/>
                    <a:pt x="69628" y="126492"/>
                    <a:pt x="60484" y="123444"/>
                  </a:cubicBezTo>
                  <a:cubicBezTo>
                    <a:pt x="51435" y="120301"/>
                    <a:pt x="43244" y="116396"/>
                    <a:pt x="35909" y="111633"/>
                  </a:cubicBezTo>
                  <a:cubicBezTo>
                    <a:pt x="28575" y="106871"/>
                    <a:pt x="22670" y="100870"/>
                    <a:pt x="18098" y="93726"/>
                  </a:cubicBezTo>
                  <a:cubicBezTo>
                    <a:pt x="13525" y="86582"/>
                    <a:pt x="11144" y="77629"/>
                    <a:pt x="11144" y="66961"/>
                  </a:cubicBezTo>
                  <a:lnTo>
                    <a:pt x="11144" y="66008"/>
                  </a:lnTo>
                  <a:cubicBezTo>
                    <a:pt x="11144" y="56198"/>
                    <a:pt x="13049" y="47149"/>
                    <a:pt x="16954" y="39053"/>
                  </a:cubicBezTo>
                  <a:cubicBezTo>
                    <a:pt x="20860" y="30861"/>
                    <a:pt x="26289" y="23908"/>
                    <a:pt x="33242" y="18098"/>
                  </a:cubicBezTo>
                  <a:cubicBezTo>
                    <a:pt x="40196" y="12287"/>
                    <a:pt x="48578" y="7811"/>
                    <a:pt x="58293" y="4667"/>
                  </a:cubicBezTo>
                  <a:cubicBezTo>
                    <a:pt x="67913" y="1524"/>
                    <a:pt x="78486" y="0"/>
                    <a:pt x="89725" y="0"/>
                  </a:cubicBezTo>
                  <a:cubicBezTo>
                    <a:pt x="104013" y="0"/>
                    <a:pt x="118396" y="2286"/>
                    <a:pt x="133064" y="6953"/>
                  </a:cubicBezTo>
                  <a:cubicBezTo>
                    <a:pt x="147638" y="11621"/>
                    <a:pt x="160877" y="17717"/>
                    <a:pt x="172784" y="25527"/>
                  </a:cubicBezTo>
                  <a:lnTo>
                    <a:pt x="157163" y="51435"/>
                  </a:lnTo>
                  <a:cubicBezTo>
                    <a:pt x="146399" y="44577"/>
                    <a:pt x="135255" y="39148"/>
                    <a:pt x="123444" y="35147"/>
                  </a:cubicBezTo>
                  <a:cubicBezTo>
                    <a:pt x="111728" y="31147"/>
                    <a:pt x="100203" y="29146"/>
                    <a:pt x="88868" y="29146"/>
                  </a:cubicBezTo>
                  <a:cubicBezTo>
                    <a:pt x="75152" y="29146"/>
                    <a:pt x="64294" y="32385"/>
                    <a:pt x="56293" y="38767"/>
                  </a:cubicBezTo>
                  <a:cubicBezTo>
                    <a:pt x="48292" y="45149"/>
                    <a:pt x="44196" y="53150"/>
                    <a:pt x="44196" y="62675"/>
                  </a:cubicBezTo>
                  <a:lnTo>
                    <a:pt x="44196" y="63627"/>
                  </a:lnTo>
                  <a:cubicBezTo>
                    <a:pt x="44196" y="68961"/>
                    <a:pt x="45815" y="73628"/>
                    <a:pt x="49149" y="77724"/>
                  </a:cubicBezTo>
                  <a:cubicBezTo>
                    <a:pt x="52388" y="81725"/>
                    <a:pt x="56769" y="85249"/>
                    <a:pt x="62294" y="88202"/>
                  </a:cubicBezTo>
                  <a:cubicBezTo>
                    <a:pt x="67818" y="91154"/>
                    <a:pt x="74104" y="93821"/>
                    <a:pt x="81248" y="96203"/>
                  </a:cubicBezTo>
                  <a:cubicBezTo>
                    <a:pt x="88392" y="98584"/>
                    <a:pt x="95821" y="100965"/>
                    <a:pt x="103537" y="103346"/>
                  </a:cubicBezTo>
                  <a:cubicBezTo>
                    <a:pt x="112490" y="106013"/>
                    <a:pt x="121349" y="108966"/>
                    <a:pt x="130112" y="112300"/>
                  </a:cubicBezTo>
                  <a:cubicBezTo>
                    <a:pt x="138875" y="115538"/>
                    <a:pt x="146875" y="119729"/>
                    <a:pt x="154019" y="124778"/>
                  </a:cubicBezTo>
                  <a:cubicBezTo>
                    <a:pt x="161163" y="129826"/>
                    <a:pt x="166878" y="135922"/>
                    <a:pt x="171164" y="143066"/>
                  </a:cubicBezTo>
                  <a:cubicBezTo>
                    <a:pt x="175450" y="150209"/>
                    <a:pt x="177641" y="158972"/>
                    <a:pt x="177641" y="169450"/>
                  </a:cubicBezTo>
                  <a:lnTo>
                    <a:pt x="177641" y="170307"/>
                  </a:lnTo>
                  <a:cubicBezTo>
                    <a:pt x="177641" y="181356"/>
                    <a:pt x="175450" y="191071"/>
                    <a:pt x="171164" y="199549"/>
                  </a:cubicBezTo>
                  <a:cubicBezTo>
                    <a:pt x="166878" y="208026"/>
                    <a:pt x="161068" y="215265"/>
                    <a:pt x="153734" y="221171"/>
                  </a:cubicBezTo>
                  <a:cubicBezTo>
                    <a:pt x="146495" y="227171"/>
                    <a:pt x="137827" y="231648"/>
                    <a:pt x="127825" y="234791"/>
                  </a:cubicBezTo>
                  <a:cubicBezTo>
                    <a:pt x="117824" y="237935"/>
                    <a:pt x="107061" y="239459"/>
                    <a:pt x="95441" y="239459"/>
                  </a:cubicBezTo>
                  <a:close/>
                </a:path>
              </a:pathLst>
            </a:custGeom>
            <a:solidFill>
              <a:srgbClr val="44505E"/>
            </a:solidFill>
            <a:ln w="9525" cap="flat">
              <a:noFill/>
              <a:prstDash val="solid"/>
              <a:miter/>
            </a:ln>
          </p:spPr>
          <p:txBody>
            <a:bodyPr rtlCol="0" anchor="ctr"/>
            <a:lstStyle/>
            <a:p>
              <a:endParaRPr lang="pt-BR" noProof="0"/>
            </a:p>
          </p:txBody>
        </p:sp>
        <p:sp>
          <p:nvSpPr>
            <p:cNvPr id="41" name="Freeform: Shape 40">
              <a:extLst>
                <a:ext uri="{FF2B5EF4-FFF2-40B4-BE49-F238E27FC236}">
                  <a16:creationId xmlns:a16="http://schemas.microsoft.com/office/drawing/2014/main" id="{FEF797D5-3BC3-38F3-6032-9F169E4B94EE}"/>
                </a:ext>
              </a:extLst>
            </p:cNvPr>
            <p:cNvSpPr/>
            <p:nvPr/>
          </p:nvSpPr>
          <p:spPr>
            <a:xfrm>
              <a:off x="5752668" y="924028"/>
              <a:ext cx="58567" cy="77196"/>
            </a:xfrm>
            <a:custGeom>
              <a:avLst/>
              <a:gdLst>
                <a:gd name="connsiteX0" fmla="*/ 198596 w 232981"/>
                <a:gd name="connsiteY0" fmla="*/ 189357 h 307085"/>
                <a:gd name="connsiteX1" fmla="*/ 182785 w 232981"/>
                <a:gd name="connsiteY1" fmla="*/ 208978 h 307085"/>
                <a:gd name="connsiteX2" fmla="*/ 163354 w 232981"/>
                <a:gd name="connsiteY2" fmla="*/ 225552 h 307085"/>
                <a:gd name="connsiteX3" fmla="*/ 139446 w 232981"/>
                <a:gd name="connsiteY3" fmla="*/ 236696 h 307085"/>
                <a:gd name="connsiteX4" fmla="*/ 110204 w 232981"/>
                <a:gd name="connsiteY4" fmla="*/ 240697 h 307085"/>
                <a:gd name="connsiteX5" fmla="*/ 69628 w 232981"/>
                <a:gd name="connsiteY5" fmla="*/ 232696 h 307085"/>
                <a:gd name="connsiteX6" fmla="*/ 34385 w 232981"/>
                <a:gd name="connsiteY6" fmla="*/ 209264 h 307085"/>
                <a:gd name="connsiteX7" fmla="*/ 9335 w 232981"/>
                <a:gd name="connsiteY7" fmla="*/ 171736 h 307085"/>
                <a:gd name="connsiteX8" fmla="*/ 0 w 232981"/>
                <a:gd name="connsiteY8" fmla="*/ 121063 h 307085"/>
                <a:gd name="connsiteX9" fmla="*/ 0 w 232981"/>
                <a:gd name="connsiteY9" fmla="*/ 120205 h 307085"/>
                <a:gd name="connsiteX10" fmla="*/ 9335 w 232981"/>
                <a:gd name="connsiteY10" fmla="*/ 69723 h 307085"/>
                <a:gd name="connsiteX11" fmla="*/ 34385 w 232981"/>
                <a:gd name="connsiteY11" fmla="*/ 32004 h 307085"/>
                <a:gd name="connsiteX12" fmla="*/ 69628 w 232981"/>
                <a:gd name="connsiteY12" fmla="*/ 8287 h 307085"/>
                <a:gd name="connsiteX13" fmla="*/ 110204 w 232981"/>
                <a:gd name="connsiteY13" fmla="*/ 0 h 307085"/>
                <a:gd name="connsiteX14" fmla="*/ 139637 w 232981"/>
                <a:gd name="connsiteY14" fmla="*/ 4000 h 307085"/>
                <a:gd name="connsiteX15" fmla="*/ 163735 w 232981"/>
                <a:gd name="connsiteY15" fmla="*/ 14668 h 307085"/>
                <a:gd name="connsiteX16" fmla="*/ 183166 w 232981"/>
                <a:gd name="connsiteY16" fmla="*/ 30289 h 307085"/>
                <a:gd name="connsiteX17" fmla="*/ 198596 w 232981"/>
                <a:gd name="connsiteY17" fmla="*/ 49054 h 307085"/>
                <a:gd name="connsiteX18" fmla="*/ 198596 w 232981"/>
                <a:gd name="connsiteY18" fmla="*/ 4858 h 307085"/>
                <a:gd name="connsiteX19" fmla="*/ 232982 w 232981"/>
                <a:gd name="connsiteY19" fmla="*/ 4858 h 307085"/>
                <a:gd name="connsiteX20" fmla="*/ 232982 w 232981"/>
                <a:gd name="connsiteY20" fmla="*/ 307086 h 307085"/>
                <a:gd name="connsiteX21" fmla="*/ 198596 w 232981"/>
                <a:gd name="connsiteY21" fmla="*/ 307086 h 307085"/>
                <a:gd name="connsiteX22" fmla="*/ 198596 w 232981"/>
                <a:gd name="connsiteY22" fmla="*/ 189262 h 307085"/>
                <a:gd name="connsiteX23" fmla="*/ 116491 w 232981"/>
                <a:gd name="connsiteY23" fmla="*/ 209931 h 307085"/>
                <a:gd name="connsiteX24" fmla="*/ 147542 w 232981"/>
                <a:gd name="connsiteY24" fmla="*/ 203454 h 307085"/>
                <a:gd name="connsiteX25" fmla="*/ 174308 w 232981"/>
                <a:gd name="connsiteY25" fmla="*/ 185166 h 307085"/>
                <a:gd name="connsiteX26" fmla="*/ 193072 w 232981"/>
                <a:gd name="connsiteY26" fmla="*/ 157067 h 307085"/>
                <a:gd name="connsiteX27" fmla="*/ 200025 w 232981"/>
                <a:gd name="connsiteY27" fmla="*/ 120682 h 307085"/>
                <a:gd name="connsiteX28" fmla="*/ 200025 w 232981"/>
                <a:gd name="connsiteY28" fmla="*/ 119824 h 307085"/>
                <a:gd name="connsiteX29" fmla="*/ 193072 w 232981"/>
                <a:gd name="connsiteY29" fmla="*/ 83439 h 307085"/>
                <a:gd name="connsiteX30" fmla="*/ 174308 w 232981"/>
                <a:gd name="connsiteY30" fmla="*/ 55531 h 307085"/>
                <a:gd name="connsiteX31" fmla="*/ 147542 w 232981"/>
                <a:gd name="connsiteY31" fmla="*/ 37433 h 307085"/>
                <a:gd name="connsiteX32" fmla="*/ 116491 w 232981"/>
                <a:gd name="connsiteY32" fmla="*/ 30956 h 307085"/>
                <a:gd name="connsiteX33" fmla="*/ 84773 w 232981"/>
                <a:gd name="connsiteY33" fmla="*/ 36957 h 307085"/>
                <a:gd name="connsiteX34" fmla="*/ 59150 w 232981"/>
                <a:gd name="connsiteY34" fmla="*/ 54388 h 307085"/>
                <a:gd name="connsiteX35" fmla="*/ 41720 w 232981"/>
                <a:gd name="connsiteY35" fmla="*/ 82296 h 307085"/>
                <a:gd name="connsiteX36" fmla="*/ 35242 w 232981"/>
                <a:gd name="connsiteY36" fmla="*/ 119824 h 307085"/>
                <a:gd name="connsiteX37" fmla="*/ 35242 w 232981"/>
                <a:gd name="connsiteY37" fmla="*/ 120682 h 307085"/>
                <a:gd name="connsiteX38" fmla="*/ 41720 w 232981"/>
                <a:gd name="connsiteY38" fmla="*/ 157734 h 307085"/>
                <a:gd name="connsiteX39" fmla="*/ 59341 w 232981"/>
                <a:gd name="connsiteY39" fmla="*/ 185833 h 307085"/>
                <a:gd name="connsiteX40" fmla="*/ 85249 w 232981"/>
                <a:gd name="connsiteY40" fmla="*/ 203740 h 307085"/>
                <a:gd name="connsiteX41" fmla="*/ 116491 w 232981"/>
                <a:gd name="connsiteY41" fmla="*/ 210026 h 30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07085">
                  <a:moveTo>
                    <a:pt x="198596" y="189357"/>
                  </a:moveTo>
                  <a:cubicBezTo>
                    <a:pt x="193834" y="196215"/>
                    <a:pt x="188595" y="202787"/>
                    <a:pt x="182785" y="208978"/>
                  </a:cubicBezTo>
                  <a:cubicBezTo>
                    <a:pt x="176975" y="215265"/>
                    <a:pt x="170498" y="220789"/>
                    <a:pt x="163354" y="225552"/>
                  </a:cubicBezTo>
                  <a:cubicBezTo>
                    <a:pt x="156210" y="230314"/>
                    <a:pt x="148209" y="234029"/>
                    <a:pt x="139446" y="236696"/>
                  </a:cubicBezTo>
                  <a:cubicBezTo>
                    <a:pt x="130683" y="239363"/>
                    <a:pt x="120967" y="240697"/>
                    <a:pt x="110204" y="240697"/>
                  </a:cubicBezTo>
                  <a:cubicBezTo>
                    <a:pt x="96203" y="240697"/>
                    <a:pt x="82677" y="238030"/>
                    <a:pt x="69628" y="232696"/>
                  </a:cubicBezTo>
                  <a:cubicBezTo>
                    <a:pt x="56579" y="227362"/>
                    <a:pt x="44767" y="219551"/>
                    <a:pt x="34385" y="209264"/>
                  </a:cubicBezTo>
                  <a:cubicBezTo>
                    <a:pt x="24003" y="198977"/>
                    <a:pt x="15621" y="186499"/>
                    <a:pt x="9335" y="171736"/>
                  </a:cubicBezTo>
                  <a:cubicBezTo>
                    <a:pt x="3048" y="156972"/>
                    <a:pt x="0" y="140113"/>
                    <a:pt x="0" y="121063"/>
                  </a:cubicBezTo>
                  <a:lnTo>
                    <a:pt x="0" y="120205"/>
                  </a:lnTo>
                  <a:cubicBezTo>
                    <a:pt x="0" y="101441"/>
                    <a:pt x="3143" y="84677"/>
                    <a:pt x="9335" y="69723"/>
                  </a:cubicBezTo>
                  <a:cubicBezTo>
                    <a:pt x="15621" y="54864"/>
                    <a:pt x="23908" y="42291"/>
                    <a:pt x="34385" y="32004"/>
                  </a:cubicBezTo>
                  <a:cubicBezTo>
                    <a:pt x="44767" y="21717"/>
                    <a:pt x="56579" y="13811"/>
                    <a:pt x="69628" y="8287"/>
                  </a:cubicBezTo>
                  <a:cubicBezTo>
                    <a:pt x="82677" y="2762"/>
                    <a:pt x="96298" y="0"/>
                    <a:pt x="110204" y="0"/>
                  </a:cubicBezTo>
                  <a:cubicBezTo>
                    <a:pt x="120967" y="0"/>
                    <a:pt x="130778" y="1333"/>
                    <a:pt x="139637" y="4000"/>
                  </a:cubicBezTo>
                  <a:cubicBezTo>
                    <a:pt x="148590" y="6667"/>
                    <a:pt x="156591" y="10287"/>
                    <a:pt x="163735" y="14668"/>
                  </a:cubicBezTo>
                  <a:cubicBezTo>
                    <a:pt x="170879" y="19145"/>
                    <a:pt x="177356" y="24384"/>
                    <a:pt x="183166" y="30289"/>
                  </a:cubicBezTo>
                  <a:cubicBezTo>
                    <a:pt x="188976" y="36290"/>
                    <a:pt x="194120" y="42481"/>
                    <a:pt x="198596" y="49054"/>
                  </a:cubicBezTo>
                  <a:lnTo>
                    <a:pt x="198596" y="4858"/>
                  </a:lnTo>
                  <a:lnTo>
                    <a:pt x="232982" y="4858"/>
                  </a:lnTo>
                  <a:lnTo>
                    <a:pt x="232982" y="307086"/>
                  </a:lnTo>
                  <a:lnTo>
                    <a:pt x="198596" y="307086"/>
                  </a:lnTo>
                  <a:lnTo>
                    <a:pt x="198596" y="189262"/>
                  </a:lnTo>
                  <a:close/>
                  <a:moveTo>
                    <a:pt x="116491" y="209931"/>
                  </a:moveTo>
                  <a:cubicBezTo>
                    <a:pt x="127159" y="209931"/>
                    <a:pt x="137541" y="207740"/>
                    <a:pt x="147542" y="203454"/>
                  </a:cubicBezTo>
                  <a:cubicBezTo>
                    <a:pt x="157544" y="199168"/>
                    <a:pt x="166402" y="193072"/>
                    <a:pt x="174308" y="185166"/>
                  </a:cubicBezTo>
                  <a:cubicBezTo>
                    <a:pt x="182213" y="177260"/>
                    <a:pt x="188404" y="167926"/>
                    <a:pt x="193072" y="157067"/>
                  </a:cubicBezTo>
                  <a:cubicBezTo>
                    <a:pt x="197739" y="146209"/>
                    <a:pt x="200025" y="134112"/>
                    <a:pt x="200025" y="120682"/>
                  </a:cubicBezTo>
                  <a:lnTo>
                    <a:pt x="200025" y="119824"/>
                  </a:lnTo>
                  <a:cubicBezTo>
                    <a:pt x="200025" y="106394"/>
                    <a:pt x="197739" y="94297"/>
                    <a:pt x="193072" y="83439"/>
                  </a:cubicBezTo>
                  <a:cubicBezTo>
                    <a:pt x="188500" y="72580"/>
                    <a:pt x="182213" y="63246"/>
                    <a:pt x="174308" y="55531"/>
                  </a:cubicBezTo>
                  <a:cubicBezTo>
                    <a:pt x="166402" y="47815"/>
                    <a:pt x="157544" y="41815"/>
                    <a:pt x="147542" y="37433"/>
                  </a:cubicBezTo>
                  <a:cubicBezTo>
                    <a:pt x="137541" y="33147"/>
                    <a:pt x="127254" y="30956"/>
                    <a:pt x="116491" y="30956"/>
                  </a:cubicBezTo>
                  <a:cubicBezTo>
                    <a:pt x="105156" y="30956"/>
                    <a:pt x="94583" y="32956"/>
                    <a:pt x="84773" y="36957"/>
                  </a:cubicBezTo>
                  <a:cubicBezTo>
                    <a:pt x="74962" y="40957"/>
                    <a:pt x="66389" y="46767"/>
                    <a:pt x="59150" y="54388"/>
                  </a:cubicBezTo>
                  <a:cubicBezTo>
                    <a:pt x="51816" y="61913"/>
                    <a:pt x="46101" y="71247"/>
                    <a:pt x="41720" y="82296"/>
                  </a:cubicBezTo>
                  <a:cubicBezTo>
                    <a:pt x="37433" y="93250"/>
                    <a:pt x="35242" y="105823"/>
                    <a:pt x="35242" y="119824"/>
                  </a:cubicBezTo>
                  <a:lnTo>
                    <a:pt x="35242" y="120682"/>
                  </a:lnTo>
                  <a:cubicBezTo>
                    <a:pt x="35242" y="134398"/>
                    <a:pt x="37433" y="146780"/>
                    <a:pt x="41720" y="157734"/>
                  </a:cubicBezTo>
                  <a:cubicBezTo>
                    <a:pt x="46006" y="168783"/>
                    <a:pt x="51911" y="178117"/>
                    <a:pt x="59341" y="185833"/>
                  </a:cubicBezTo>
                  <a:cubicBezTo>
                    <a:pt x="66770" y="193548"/>
                    <a:pt x="75438" y="199549"/>
                    <a:pt x="85249" y="203740"/>
                  </a:cubicBezTo>
                  <a:cubicBezTo>
                    <a:pt x="95060" y="207931"/>
                    <a:pt x="105442" y="210026"/>
                    <a:pt x="116491" y="210026"/>
                  </a:cubicBezTo>
                  <a:close/>
                </a:path>
              </a:pathLst>
            </a:custGeom>
            <a:solidFill>
              <a:srgbClr val="44505E"/>
            </a:solidFill>
            <a:ln w="9525" cap="flat">
              <a:noFill/>
              <a:prstDash val="solid"/>
              <a:miter/>
            </a:ln>
          </p:spPr>
          <p:txBody>
            <a:bodyPr rtlCol="0" anchor="ctr"/>
            <a:lstStyle/>
            <a:p>
              <a:endParaRPr lang="pt-BR" noProof="0"/>
            </a:p>
          </p:txBody>
        </p:sp>
        <p:sp>
          <p:nvSpPr>
            <p:cNvPr id="42" name="Freeform: Shape 41">
              <a:extLst>
                <a:ext uri="{FF2B5EF4-FFF2-40B4-BE49-F238E27FC236}">
                  <a16:creationId xmlns:a16="http://schemas.microsoft.com/office/drawing/2014/main" id="{F17971D5-F12B-8CDF-A214-41AC126AB55E}"/>
                </a:ext>
              </a:extLst>
            </p:cNvPr>
            <p:cNvSpPr/>
            <p:nvPr/>
          </p:nvSpPr>
          <p:spPr>
            <a:xfrm>
              <a:off x="5829624" y="925297"/>
              <a:ext cx="50618" cy="59238"/>
            </a:xfrm>
            <a:custGeom>
              <a:avLst/>
              <a:gdLst>
                <a:gd name="connsiteX0" fmla="*/ 88392 w 201358"/>
                <a:gd name="connsiteY0" fmla="*/ 235648 h 235648"/>
                <a:gd name="connsiteX1" fmla="*/ 51149 w 201358"/>
                <a:gd name="connsiteY1" fmla="*/ 228981 h 235648"/>
                <a:gd name="connsiteX2" fmla="*/ 23432 w 201358"/>
                <a:gd name="connsiteY2" fmla="*/ 210026 h 235648"/>
                <a:gd name="connsiteX3" fmla="*/ 6001 w 201358"/>
                <a:gd name="connsiteY3" fmla="*/ 180784 h 235648"/>
                <a:gd name="connsiteX4" fmla="*/ 0 w 201358"/>
                <a:gd name="connsiteY4" fmla="*/ 143256 h 235648"/>
                <a:gd name="connsiteX5" fmla="*/ 0 w 201358"/>
                <a:gd name="connsiteY5" fmla="*/ 0 h 235648"/>
                <a:gd name="connsiteX6" fmla="*/ 34385 w 201358"/>
                <a:gd name="connsiteY6" fmla="*/ 0 h 235648"/>
                <a:gd name="connsiteX7" fmla="*/ 34385 w 201358"/>
                <a:gd name="connsiteY7" fmla="*/ 134493 h 235648"/>
                <a:gd name="connsiteX8" fmla="*/ 50959 w 201358"/>
                <a:gd name="connsiteY8" fmla="*/ 185261 h 235648"/>
                <a:gd name="connsiteX9" fmla="*/ 98298 w 201358"/>
                <a:gd name="connsiteY9" fmla="*/ 203930 h 235648"/>
                <a:gd name="connsiteX10" fmla="*/ 125730 w 201358"/>
                <a:gd name="connsiteY10" fmla="*/ 198787 h 235648"/>
                <a:gd name="connsiteX11" fmla="*/ 147638 w 201358"/>
                <a:gd name="connsiteY11" fmla="*/ 184118 h 235648"/>
                <a:gd name="connsiteX12" fmla="*/ 162116 w 201358"/>
                <a:gd name="connsiteY12" fmla="*/ 161163 h 235648"/>
                <a:gd name="connsiteX13" fmla="*/ 167450 w 201358"/>
                <a:gd name="connsiteY13" fmla="*/ 131826 h 235648"/>
                <a:gd name="connsiteX14" fmla="*/ 167450 w 201358"/>
                <a:gd name="connsiteY14" fmla="*/ 0 h 235648"/>
                <a:gd name="connsiteX15" fmla="*/ 201359 w 201358"/>
                <a:gd name="connsiteY15" fmla="*/ 0 h 235648"/>
                <a:gd name="connsiteX16" fmla="*/ 201359 w 201358"/>
                <a:gd name="connsiteY16" fmla="*/ 230791 h 235648"/>
                <a:gd name="connsiteX17" fmla="*/ 167450 w 201358"/>
                <a:gd name="connsiteY17" fmla="*/ 230791 h 235648"/>
                <a:gd name="connsiteX18" fmla="*/ 167450 w 201358"/>
                <a:gd name="connsiteY18" fmla="*/ 190595 h 235648"/>
                <a:gd name="connsiteX19" fmla="*/ 137065 w 201358"/>
                <a:gd name="connsiteY19" fmla="*/ 222504 h 235648"/>
                <a:gd name="connsiteX20" fmla="*/ 88392 w 201358"/>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358" h="235648">
                  <a:moveTo>
                    <a:pt x="88392" y="235648"/>
                  </a:moveTo>
                  <a:cubicBezTo>
                    <a:pt x="74390" y="235648"/>
                    <a:pt x="62008" y="233363"/>
                    <a:pt x="51149" y="228981"/>
                  </a:cubicBezTo>
                  <a:cubicBezTo>
                    <a:pt x="40291" y="224504"/>
                    <a:pt x="31052" y="218218"/>
                    <a:pt x="23432"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959" y="185261"/>
                  </a:cubicBezTo>
                  <a:cubicBezTo>
                    <a:pt x="61913" y="197739"/>
                    <a:pt x="77724" y="203930"/>
                    <a:pt x="98298" y="203930"/>
                  </a:cubicBezTo>
                  <a:cubicBezTo>
                    <a:pt x="108109" y="203930"/>
                    <a:pt x="117253" y="202216"/>
                    <a:pt x="125730" y="198787"/>
                  </a:cubicBezTo>
                  <a:cubicBezTo>
                    <a:pt x="134207" y="195358"/>
                    <a:pt x="141446" y="190500"/>
                    <a:pt x="147638" y="184118"/>
                  </a:cubicBezTo>
                  <a:cubicBezTo>
                    <a:pt x="153734" y="177736"/>
                    <a:pt x="158591" y="170116"/>
                    <a:pt x="162116" y="161163"/>
                  </a:cubicBezTo>
                  <a:cubicBezTo>
                    <a:pt x="165735" y="152305"/>
                    <a:pt x="167450" y="142494"/>
                    <a:pt x="167450" y="131826"/>
                  </a:cubicBezTo>
                  <a:lnTo>
                    <a:pt x="167450" y="0"/>
                  </a:lnTo>
                  <a:lnTo>
                    <a:pt x="201359" y="0"/>
                  </a:lnTo>
                  <a:lnTo>
                    <a:pt x="201359" y="230791"/>
                  </a:lnTo>
                  <a:lnTo>
                    <a:pt x="167450" y="230791"/>
                  </a:lnTo>
                  <a:lnTo>
                    <a:pt x="167450" y="190595"/>
                  </a:lnTo>
                  <a:cubicBezTo>
                    <a:pt x="159734" y="203073"/>
                    <a:pt x="149543" y="213741"/>
                    <a:pt x="137065" y="222504"/>
                  </a:cubicBezTo>
                  <a:cubicBezTo>
                    <a:pt x="124587" y="231267"/>
                    <a:pt x="108395" y="235648"/>
                    <a:pt x="88392" y="235648"/>
                  </a:cubicBezTo>
                  <a:close/>
                </a:path>
              </a:pathLst>
            </a:custGeom>
            <a:solidFill>
              <a:srgbClr val="44505E"/>
            </a:solidFill>
            <a:ln w="9525" cap="flat">
              <a:noFill/>
              <a:prstDash val="solid"/>
              <a:miter/>
            </a:ln>
          </p:spPr>
          <p:txBody>
            <a:bodyPr rtlCol="0" anchor="ctr"/>
            <a:lstStyle/>
            <a:p>
              <a:endParaRPr lang="pt-BR" noProof="0"/>
            </a:p>
          </p:txBody>
        </p:sp>
        <p:sp>
          <p:nvSpPr>
            <p:cNvPr id="43" name="Freeform: Shape 42">
              <a:extLst>
                <a:ext uri="{FF2B5EF4-FFF2-40B4-BE49-F238E27FC236}">
                  <a16:creationId xmlns:a16="http://schemas.microsoft.com/office/drawing/2014/main" id="{8BC2F800-26CF-9439-3BA7-6A48EC1F9D0B}"/>
                </a:ext>
              </a:extLst>
            </p:cNvPr>
            <p:cNvSpPr/>
            <p:nvPr/>
          </p:nvSpPr>
          <p:spPr>
            <a:xfrm>
              <a:off x="5896069"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7059 w 218217"/>
                <a:gd name="connsiteY3" fmla="*/ 206026 h 241077"/>
                <a:gd name="connsiteX4" fmla="*/ 116110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7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0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356 w 218217"/>
                <a:gd name="connsiteY25" fmla="*/ 106299 h 241077"/>
                <a:gd name="connsiteX26" fmla="*/ 176689 w 218217"/>
                <a:gd name="connsiteY26" fmla="*/ 76771 h 241077"/>
                <a:gd name="connsiteX27" fmla="*/ 162211 w 218217"/>
                <a:gd name="connsiteY27" fmla="*/ 52101 h 241077"/>
                <a:gd name="connsiteX28" fmla="*/ 139922 w 218217"/>
                <a:gd name="connsiteY28" fmla="*/ 35242 h 241077"/>
                <a:gd name="connsiteX29" fmla="*/ 109823 w 218217"/>
                <a:gd name="connsiteY29" fmla="*/ 29051 h 241077"/>
                <a:gd name="connsiteX30" fmla="*/ 82105 w 218217"/>
                <a:gd name="connsiteY30" fmla="*/ 34766 h 241077"/>
                <a:gd name="connsiteX31" fmla="*/ 59341 w 218217"/>
                <a:gd name="connsiteY31" fmla="*/ 50959 h 241077"/>
                <a:gd name="connsiteX32" fmla="*/ 43053 w 218217"/>
                <a:gd name="connsiteY32" fmla="*/ 75628 h 241077"/>
                <a:gd name="connsiteX33" fmla="*/ 34766 w 218217"/>
                <a:gd name="connsiteY33" fmla="*/ 106204 h 241077"/>
                <a:gd name="connsiteX34" fmla="*/ 183356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819" y="202597"/>
                    <a:pt x="87059" y="206026"/>
                  </a:cubicBezTo>
                  <a:cubicBezTo>
                    <a:pt x="96298" y="209455"/>
                    <a:pt x="105918" y="211169"/>
                    <a:pt x="116110" y="211169"/>
                  </a:cubicBezTo>
                  <a:cubicBezTo>
                    <a:pt x="132207" y="211169"/>
                    <a:pt x="145923" y="208216"/>
                    <a:pt x="157353" y="202216"/>
                  </a:cubicBezTo>
                  <a:cubicBezTo>
                    <a:pt x="168783" y="196310"/>
                    <a:pt x="179261" y="188404"/>
                    <a:pt x="188786" y="178594"/>
                  </a:cubicBezTo>
                  <a:lnTo>
                    <a:pt x="210217" y="197834"/>
                  </a:lnTo>
                  <a:cubicBezTo>
                    <a:pt x="198596" y="210979"/>
                    <a:pt x="185356" y="221361"/>
                    <a:pt x="170497" y="229267"/>
                  </a:cubicBezTo>
                  <a:cubicBezTo>
                    <a:pt x="155638"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583" y="0"/>
                    <a:pt x="110680"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356" y="106299"/>
                  </a:moveTo>
                  <a:cubicBezTo>
                    <a:pt x="182499" y="95917"/>
                    <a:pt x="180213" y="86106"/>
                    <a:pt x="176689" y="76771"/>
                  </a:cubicBezTo>
                  <a:cubicBezTo>
                    <a:pt x="173069" y="67437"/>
                    <a:pt x="168307" y="59245"/>
                    <a:pt x="162211" y="52101"/>
                  </a:cubicBezTo>
                  <a:cubicBezTo>
                    <a:pt x="156115" y="44958"/>
                    <a:pt x="148685" y="39338"/>
                    <a:pt x="139922" y="35242"/>
                  </a:cubicBezTo>
                  <a:cubicBezTo>
                    <a:pt x="131159" y="31147"/>
                    <a:pt x="121063" y="29051"/>
                    <a:pt x="109823" y="29051"/>
                  </a:cubicBezTo>
                  <a:cubicBezTo>
                    <a:pt x="100013" y="29051"/>
                    <a:pt x="90773" y="30956"/>
                    <a:pt x="82105" y="34766"/>
                  </a:cubicBezTo>
                  <a:cubicBezTo>
                    <a:pt x="73438" y="38671"/>
                    <a:pt x="65913" y="44005"/>
                    <a:pt x="59341" y="50959"/>
                  </a:cubicBezTo>
                  <a:cubicBezTo>
                    <a:pt x="52769" y="57912"/>
                    <a:pt x="47339" y="66103"/>
                    <a:pt x="43053" y="75628"/>
                  </a:cubicBezTo>
                  <a:cubicBezTo>
                    <a:pt x="38767" y="85058"/>
                    <a:pt x="36004" y="95345"/>
                    <a:pt x="34766" y="106204"/>
                  </a:cubicBezTo>
                  <a:lnTo>
                    <a:pt x="183356" y="106204"/>
                  </a:lnTo>
                  <a:close/>
                </a:path>
              </a:pathLst>
            </a:custGeom>
            <a:solidFill>
              <a:srgbClr val="44505E"/>
            </a:solidFill>
            <a:ln w="9525" cap="flat">
              <a:noFill/>
              <a:prstDash val="solid"/>
              <a:miter/>
            </a:ln>
          </p:spPr>
          <p:txBody>
            <a:bodyPr rtlCol="0" anchor="ctr"/>
            <a:lstStyle/>
            <a:p>
              <a:endParaRPr lang="pt-BR" noProof="0"/>
            </a:p>
          </p:txBody>
        </p:sp>
        <p:sp>
          <p:nvSpPr>
            <p:cNvPr id="44" name="Freeform: Shape 43">
              <a:extLst>
                <a:ext uri="{FF2B5EF4-FFF2-40B4-BE49-F238E27FC236}">
                  <a16:creationId xmlns:a16="http://schemas.microsoft.com/office/drawing/2014/main" id="{AEE11CB7-7D59-E8B4-B17A-A3245D8C05A9}"/>
                </a:ext>
              </a:extLst>
            </p:cNvPr>
            <p:cNvSpPr/>
            <p:nvPr/>
          </p:nvSpPr>
          <p:spPr>
            <a:xfrm>
              <a:off x="5994910" y="924268"/>
              <a:ext cx="44680" cy="60195"/>
            </a:xfrm>
            <a:custGeom>
              <a:avLst/>
              <a:gdLst>
                <a:gd name="connsiteX0" fmla="*/ 95536 w 177736"/>
                <a:gd name="connsiteY0" fmla="*/ 239268 h 239458"/>
                <a:gd name="connsiteX1" fmla="*/ 45053 w 177736"/>
                <a:gd name="connsiteY1" fmla="*/ 230124 h 239458"/>
                <a:gd name="connsiteX2" fmla="*/ 0 w 177736"/>
                <a:gd name="connsiteY2" fmla="*/ 205359 h 239458"/>
                <a:gd name="connsiteX3" fmla="*/ 17431 w 177736"/>
                <a:gd name="connsiteY3" fmla="*/ 180785 h 239458"/>
                <a:gd name="connsiteX4" fmla="*/ 56483 w 177736"/>
                <a:gd name="connsiteY4" fmla="*/ 202692 h 239458"/>
                <a:gd name="connsiteX5" fmla="*/ 97346 w 177736"/>
                <a:gd name="connsiteY5" fmla="*/ 210217 h 239458"/>
                <a:gd name="connsiteX6" fmla="*/ 131731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730 w 177736"/>
                <a:gd name="connsiteY10" fmla="*/ 147066 h 239458"/>
                <a:gd name="connsiteX11" fmla="*/ 109252 w 177736"/>
                <a:gd name="connsiteY11" fmla="*/ 138779 h 239458"/>
                <a:gd name="connsiteX12" fmla="*/ 87630 w 177736"/>
                <a:gd name="connsiteY12" fmla="*/ 132112 h 239458"/>
                <a:gd name="connsiteX13" fmla="*/ 60674 w 177736"/>
                <a:gd name="connsiteY13" fmla="*/ 123444 h 239458"/>
                <a:gd name="connsiteX14" fmla="*/ 36100 w 177736"/>
                <a:gd name="connsiteY14" fmla="*/ 111633 h 239458"/>
                <a:gd name="connsiteX15" fmla="*/ 18193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60 w 177736"/>
                <a:gd name="connsiteY22" fmla="*/ 6953 h 239458"/>
                <a:gd name="connsiteX23" fmla="*/ 172879 w 177736"/>
                <a:gd name="connsiteY23" fmla="*/ 25527 h 239458"/>
                <a:gd name="connsiteX24" fmla="*/ 157258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4 w 177736"/>
                <a:gd name="connsiteY32" fmla="*/ 96203 h 239458"/>
                <a:gd name="connsiteX33" fmla="*/ 103632 w 177736"/>
                <a:gd name="connsiteY33" fmla="*/ 103346 h 239458"/>
                <a:gd name="connsiteX34" fmla="*/ 130207 w 177736"/>
                <a:gd name="connsiteY34" fmla="*/ 112300 h 239458"/>
                <a:gd name="connsiteX35" fmla="*/ 154114 w 177736"/>
                <a:gd name="connsiteY35" fmla="*/ 124778 h 239458"/>
                <a:gd name="connsiteX36" fmla="*/ 171260 w 177736"/>
                <a:gd name="connsiteY36" fmla="*/ 143066 h 239458"/>
                <a:gd name="connsiteX37" fmla="*/ 177737 w 177736"/>
                <a:gd name="connsiteY37" fmla="*/ 169450 h 239458"/>
                <a:gd name="connsiteX38" fmla="*/ 177737 w 177736"/>
                <a:gd name="connsiteY38" fmla="*/ 170307 h 239458"/>
                <a:gd name="connsiteX39" fmla="*/ 171260 w 177736"/>
                <a:gd name="connsiteY39" fmla="*/ 199549 h 239458"/>
                <a:gd name="connsiteX40" fmla="*/ 153829 w 177736"/>
                <a:gd name="connsiteY40" fmla="*/ 221171 h 239458"/>
                <a:gd name="connsiteX41" fmla="*/ 127921 w 177736"/>
                <a:gd name="connsiteY41" fmla="*/ 234791 h 239458"/>
                <a:gd name="connsiteX42" fmla="*/ 95536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6" y="239268"/>
                  </a:moveTo>
                  <a:cubicBezTo>
                    <a:pt x="78867" y="239268"/>
                    <a:pt x="62008" y="236220"/>
                    <a:pt x="45053" y="230124"/>
                  </a:cubicBezTo>
                  <a:cubicBezTo>
                    <a:pt x="28099" y="224028"/>
                    <a:pt x="13049" y="215741"/>
                    <a:pt x="0" y="205359"/>
                  </a:cubicBezTo>
                  <a:lnTo>
                    <a:pt x="17431" y="180785"/>
                  </a:lnTo>
                  <a:cubicBezTo>
                    <a:pt x="29909"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637" y="162211"/>
                    <a:pt x="140494" y="158020"/>
                  </a:cubicBezTo>
                  <a:cubicBezTo>
                    <a:pt x="137351" y="153829"/>
                    <a:pt x="133160" y="150209"/>
                    <a:pt x="127730" y="147066"/>
                  </a:cubicBezTo>
                  <a:cubicBezTo>
                    <a:pt x="122396" y="143923"/>
                    <a:pt x="116205" y="141161"/>
                    <a:pt x="109252" y="138779"/>
                  </a:cubicBezTo>
                  <a:cubicBezTo>
                    <a:pt x="102299" y="136398"/>
                    <a:pt x="95060" y="134207"/>
                    <a:pt x="87630" y="132112"/>
                  </a:cubicBezTo>
                  <a:cubicBezTo>
                    <a:pt x="78677" y="129445"/>
                    <a:pt x="69723" y="126492"/>
                    <a:pt x="60674" y="123444"/>
                  </a:cubicBezTo>
                  <a:cubicBezTo>
                    <a:pt x="51626" y="120301"/>
                    <a:pt x="43434" y="116396"/>
                    <a:pt x="36100" y="111633"/>
                  </a:cubicBezTo>
                  <a:cubicBezTo>
                    <a:pt x="28766" y="106871"/>
                    <a:pt x="22860" y="100870"/>
                    <a:pt x="18193" y="93726"/>
                  </a:cubicBezTo>
                  <a:cubicBezTo>
                    <a:pt x="13621" y="86582"/>
                    <a:pt x="11239" y="77629"/>
                    <a:pt x="11239" y="66961"/>
                  </a:cubicBezTo>
                  <a:lnTo>
                    <a:pt x="11239" y="66008"/>
                  </a:lnTo>
                  <a:cubicBezTo>
                    <a:pt x="11239" y="56198"/>
                    <a:pt x="13145" y="47149"/>
                    <a:pt x="17050" y="39053"/>
                  </a:cubicBezTo>
                  <a:cubicBezTo>
                    <a:pt x="20860" y="30861"/>
                    <a:pt x="26289" y="23908"/>
                    <a:pt x="33338" y="18098"/>
                  </a:cubicBezTo>
                  <a:cubicBezTo>
                    <a:pt x="40291" y="12287"/>
                    <a:pt x="48673" y="7811"/>
                    <a:pt x="58388" y="4667"/>
                  </a:cubicBezTo>
                  <a:cubicBezTo>
                    <a:pt x="68009" y="1524"/>
                    <a:pt x="78581" y="0"/>
                    <a:pt x="89821" y="0"/>
                  </a:cubicBezTo>
                  <a:cubicBezTo>
                    <a:pt x="104108" y="0"/>
                    <a:pt x="118491" y="2286"/>
                    <a:pt x="133160" y="6953"/>
                  </a:cubicBezTo>
                  <a:cubicBezTo>
                    <a:pt x="147733" y="11621"/>
                    <a:pt x="160972" y="17717"/>
                    <a:pt x="172879" y="25527"/>
                  </a:cubicBezTo>
                  <a:lnTo>
                    <a:pt x="157258" y="51435"/>
                  </a:lnTo>
                  <a:cubicBezTo>
                    <a:pt x="146495" y="44577"/>
                    <a:pt x="135350" y="39148"/>
                    <a:pt x="123539" y="35147"/>
                  </a:cubicBezTo>
                  <a:cubicBezTo>
                    <a:pt x="111824" y="31147"/>
                    <a:pt x="100298" y="29146"/>
                    <a:pt x="88963" y="29146"/>
                  </a:cubicBezTo>
                  <a:cubicBezTo>
                    <a:pt x="75247" y="29146"/>
                    <a:pt x="64389" y="32385"/>
                    <a:pt x="56388" y="38767"/>
                  </a:cubicBezTo>
                  <a:cubicBezTo>
                    <a:pt x="48387" y="45149"/>
                    <a:pt x="44291" y="53150"/>
                    <a:pt x="44291" y="62675"/>
                  </a:cubicBezTo>
                  <a:lnTo>
                    <a:pt x="44291" y="63627"/>
                  </a:lnTo>
                  <a:cubicBezTo>
                    <a:pt x="44291" y="68961"/>
                    <a:pt x="45911" y="73628"/>
                    <a:pt x="49244" y="77724"/>
                  </a:cubicBezTo>
                  <a:cubicBezTo>
                    <a:pt x="52483" y="81725"/>
                    <a:pt x="56960" y="85249"/>
                    <a:pt x="62389" y="88202"/>
                  </a:cubicBezTo>
                  <a:cubicBezTo>
                    <a:pt x="67913" y="91154"/>
                    <a:pt x="74200" y="93821"/>
                    <a:pt x="81344" y="96203"/>
                  </a:cubicBezTo>
                  <a:cubicBezTo>
                    <a:pt x="88487" y="98584"/>
                    <a:pt x="95917" y="100965"/>
                    <a:pt x="103632" y="103346"/>
                  </a:cubicBezTo>
                  <a:cubicBezTo>
                    <a:pt x="112586" y="106013"/>
                    <a:pt x="121444" y="108966"/>
                    <a:pt x="130207" y="112300"/>
                  </a:cubicBezTo>
                  <a:cubicBezTo>
                    <a:pt x="138970" y="115538"/>
                    <a:pt x="146971" y="119729"/>
                    <a:pt x="154114" y="124778"/>
                  </a:cubicBezTo>
                  <a:cubicBezTo>
                    <a:pt x="161258" y="129826"/>
                    <a:pt x="166973" y="135922"/>
                    <a:pt x="171260" y="143066"/>
                  </a:cubicBezTo>
                  <a:cubicBezTo>
                    <a:pt x="175546" y="150209"/>
                    <a:pt x="177737" y="158972"/>
                    <a:pt x="177737" y="169450"/>
                  </a:cubicBezTo>
                  <a:lnTo>
                    <a:pt x="177737" y="170307"/>
                  </a:lnTo>
                  <a:cubicBezTo>
                    <a:pt x="177737" y="181356"/>
                    <a:pt x="175546" y="191071"/>
                    <a:pt x="171260" y="199549"/>
                  </a:cubicBezTo>
                  <a:cubicBezTo>
                    <a:pt x="166973" y="208026"/>
                    <a:pt x="161163" y="215265"/>
                    <a:pt x="153829" y="221171"/>
                  </a:cubicBezTo>
                  <a:cubicBezTo>
                    <a:pt x="146495" y="227171"/>
                    <a:pt x="137922" y="231648"/>
                    <a:pt x="127921" y="234791"/>
                  </a:cubicBezTo>
                  <a:cubicBezTo>
                    <a:pt x="117920" y="237935"/>
                    <a:pt x="107156" y="239459"/>
                    <a:pt x="95536" y="239459"/>
                  </a:cubicBezTo>
                  <a:close/>
                </a:path>
              </a:pathLst>
            </a:custGeom>
            <a:solidFill>
              <a:srgbClr val="44505E"/>
            </a:solidFill>
            <a:ln w="9525" cap="flat">
              <a:noFill/>
              <a:prstDash val="solid"/>
              <a:miter/>
            </a:ln>
          </p:spPr>
          <p:txBody>
            <a:bodyPr rtlCol="0" anchor="ctr"/>
            <a:lstStyle/>
            <a:p>
              <a:endParaRPr lang="pt-BR" noProof="0"/>
            </a:p>
          </p:txBody>
        </p:sp>
        <p:sp>
          <p:nvSpPr>
            <p:cNvPr id="45" name="Freeform: Shape 44">
              <a:extLst>
                <a:ext uri="{FF2B5EF4-FFF2-40B4-BE49-F238E27FC236}">
                  <a16:creationId xmlns:a16="http://schemas.microsoft.com/office/drawing/2014/main" id="{900B026A-EF04-2FC7-1EC3-98775A929D2B}"/>
                </a:ext>
              </a:extLst>
            </p:cNvPr>
            <p:cNvSpPr/>
            <p:nvPr/>
          </p:nvSpPr>
          <p:spPr>
            <a:xfrm>
              <a:off x="605122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4 w 202977"/>
                <a:gd name="connsiteY30" fmla="*/ 174593 h 239267"/>
                <a:gd name="connsiteX31" fmla="*/ 169735 w 202977"/>
                <a:gd name="connsiteY31" fmla="*/ 149447 h 239267"/>
                <a:gd name="connsiteX32" fmla="*/ 169735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0" y="90964"/>
                    <a:pt x="98584" y="90964"/>
                  </a:cubicBezTo>
                  <a:cubicBezTo>
                    <a:pt x="113157" y="90964"/>
                    <a:pt x="126301"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1" y="33147"/>
                    <a:pt x="63436" y="36100"/>
                  </a:cubicBezTo>
                  <a:cubicBezTo>
                    <a:pt x="52292" y="39053"/>
                    <a:pt x="41338" y="43053"/>
                    <a:pt x="30671" y="48196"/>
                  </a:cubicBezTo>
                  <a:lnTo>
                    <a:pt x="20383" y="19907"/>
                  </a:lnTo>
                  <a:cubicBezTo>
                    <a:pt x="33147" y="13906"/>
                    <a:pt x="46101" y="9049"/>
                    <a:pt x="59246" y="5429"/>
                  </a:cubicBezTo>
                  <a:cubicBezTo>
                    <a:pt x="72295"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1" y="239173"/>
                  </a:cubicBezTo>
                  <a:close/>
                  <a:moveTo>
                    <a:pt x="93154" y="211169"/>
                  </a:moveTo>
                  <a:cubicBezTo>
                    <a:pt x="103822" y="211169"/>
                    <a:pt x="113728" y="209740"/>
                    <a:pt x="122967" y="206788"/>
                  </a:cubicBezTo>
                  <a:cubicBezTo>
                    <a:pt x="132207" y="203835"/>
                    <a:pt x="140208" y="199644"/>
                    <a:pt x="147256" y="194120"/>
                  </a:cubicBezTo>
                  <a:cubicBezTo>
                    <a:pt x="154209" y="188595"/>
                    <a:pt x="159734" y="182118"/>
                    <a:pt x="163734" y="174593"/>
                  </a:cubicBezTo>
                  <a:cubicBezTo>
                    <a:pt x="167735" y="167068"/>
                    <a:pt x="169735" y="158687"/>
                    <a:pt x="169735" y="149447"/>
                  </a:cubicBezTo>
                  <a:lnTo>
                    <a:pt x="169735" y="128111"/>
                  </a:lnTo>
                  <a:cubicBezTo>
                    <a:pt x="161163" y="125730"/>
                    <a:pt x="151352" y="123539"/>
                    <a:pt x="140398" y="121444"/>
                  </a:cubicBezTo>
                  <a:cubicBezTo>
                    <a:pt x="129445" y="119348"/>
                    <a:pt x="116872"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46" name="Freeform: Shape 45">
              <a:extLst>
                <a:ext uri="{FF2B5EF4-FFF2-40B4-BE49-F238E27FC236}">
                  <a16:creationId xmlns:a16="http://schemas.microsoft.com/office/drawing/2014/main" id="{900B4BC6-8977-A413-D87B-E5F949E387CD}"/>
                </a:ext>
              </a:extLst>
            </p:cNvPr>
            <p:cNvSpPr/>
            <p:nvPr/>
          </p:nvSpPr>
          <p:spPr>
            <a:xfrm>
              <a:off x="6121359" y="901377"/>
              <a:ext cx="8644" cy="81913"/>
            </a:xfrm>
            <a:custGeom>
              <a:avLst/>
              <a:gdLst>
                <a:gd name="connsiteX0" fmla="*/ 0 w 34385"/>
                <a:gd name="connsiteY0" fmla="*/ 0 h 325850"/>
                <a:gd name="connsiteX1" fmla="*/ 34385 w 34385"/>
                <a:gd name="connsiteY1" fmla="*/ 0 h 325850"/>
                <a:gd name="connsiteX2" fmla="*/ 34385 w 34385"/>
                <a:gd name="connsiteY2" fmla="*/ 325850 h 325850"/>
                <a:gd name="connsiteX3" fmla="*/ 0 w 34385"/>
                <a:gd name="connsiteY3" fmla="*/ 325850 h 325850"/>
                <a:gd name="connsiteX4" fmla="*/ 0 w 34385"/>
                <a:gd name="connsiteY4" fmla="*/ 0 h 32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 h="325850">
                  <a:moveTo>
                    <a:pt x="0" y="0"/>
                  </a:moveTo>
                  <a:lnTo>
                    <a:pt x="34385" y="0"/>
                  </a:lnTo>
                  <a:lnTo>
                    <a:pt x="34385" y="325850"/>
                  </a:lnTo>
                  <a:lnTo>
                    <a:pt x="0" y="325850"/>
                  </a:lnTo>
                  <a:lnTo>
                    <a:pt x="0" y="0"/>
                  </a:lnTo>
                  <a:close/>
                </a:path>
              </a:pathLst>
            </a:custGeom>
            <a:solidFill>
              <a:srgbClr val="44505E"/>
            </a:solidFill>
            <a:ln w="9525" cap="flat">
              <a:noFill/>
              <a:prstDash val="solid"/>
              <a:miter/>
            </a:ln>
          </p:spPr>
          <p:txBody>
            <a:bodyPr rtlCol="0" anchor="ctr"/>
            <a:lstStyle/>
            <a:p>
              <a:endParaRPr lang="pt-BR" noProof="0"/>
            </a:p>
          </p:txBody>
        </p:sp>
        <p:sp>
          <p:nvSpPr>
            <p:cNvPr id="47" name="Freeform: Shape 46">
              <a:extLst>
                <a:ext uri="{FF2B5EF4-FFF2-40B4-BE49-F238E27FC236}">
                  <a16:creationId xmlns:a16="http://schemas.microsoft.com/office/drawing/2014/main" id="{9C3AA59D-E09D-5CFC-F82D-7DB0D6C53001}"/>
                </a:ext>
              </a:extLst>
            </p:cNvPr>
            <p:cNvSpPr/>
            <p:nvPr/>
          </p:nvSpPr>
          <p:spPr>
            <a:xfrm>
              <a:off x="6144346" y="925273"/>
              <a:ext cx="58016" cy="58448"/>
            </a:xfrm>
            <a:custGeom>
              <a:avLst/>
              <a:gdLst>
                <a:gd name="connsiteX0" fmla="*/ 95 w 230790"/>
                <a:gd name="connsiteY0" fmla="*/ 0 h 232505"/>
                <a:gd name="connsiteX1" fmla="*/ 38005 w 230790"/>
                <a:gd name="connsiteY1" fmla="*/ 0 h 232505"/>
                <a:gd name="connsiteX2" fmla="*/ 115634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4"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48" name="Freeform: Shape 47">
              <a:extLst>
                <a:ext uri="{FF2B5EF4-FFF2-40B4-BE49-F238E27FC236}">
                  <a16:creationId xmlns:a16="http://schemas.microsoft.com/office/drawing/2014/main" id="{5FE2373B-3911-D7DE-508D-C0535A7E9AF7}"/>
                </a:ext>
              </a:extLst>
            </p:cNvPr>
            <p:cNvSpPr/>
            <p:nvPr/>
          </p:nvSpPr>
          <p:spPr>
            <a:xfrm>
              <a:off x="621155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8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338 w 202977"/>
                <a:gd name="connsiteY36" fmla="*/ 164497 h 239267"/>
                <a:gd name="connsiteX37" fmla="*/ 35338 w 202977"/>
                <a:gd name="connsiteY37" fmla="*/ 165449 h 239267"/>
                <a:gd name="connsiteX38" fmla="*/ 40005 w 202977"/>
                <a:gd name="connsiteY38" fmla="*/ 184785 h 239267"/>
                <a:gd name="connsiteX39" fmla="*/ 52673 w 202977"/>
                <a:gd name="connsiteY39" fmla="*/ 199263 h 239267"/>
                <a:gd name="connsiteX40" fmla="*/ 71152 w 202977"/>
                <a:gd name="connsiteY40" fmla="*/ 208121 h 239267"/>
                <a:gd name="connsiteX41" fmla="*/ 93154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438" y="239268"/>
                    <a:pt x="64961"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1" y="90964"/>
                    <a:pt x="98584" y="90964"/>
                  </a:cubicBezTo>
                  <a:cubicBezTo>
                    <a:pt x="113157" y="90964"/>
                    <a:pt x="126302" y="91821"/>
                    <a:pt x="137160" y="93631"/>
                  </a:cubicBezTo>
                  <a:cubicBezTo>
                    <a:pt x="148019" y="95440"/>
                    <a:pt x="158687" y="97822"/>
                    <a:pt x="169069" y="100774"/>
                  </a:cubicBezTo>
                  <a:lnTo>
                    <a:pt x="169069" y="93726"/>
                  </a:lnTo>
                  <a:cubicBezTo>
                    <a:pt x="169069" y="73342"/>
                    <a:pt x="163068" y="57912"/>
                    <a:pt x="151162" y="47339"/>
                  </a:cubicBezTo>
                  <a:cubicBezTo>
                    <a:pt x="139255" y="36862"/>
                    <a:pt x="122491" y="31623"/>
                    <a:pt x="100679" y="31623"/>
                  </a:cubicBezTo>
                  <a:cubicBezTo>
                    <a:pt x="86963" y="31623"/>
                    <a:pt x="74581" y="33147"/>
                    <a:pt x="63437" y="36100"/>
                  </a:cubicBezTo>
                  <a:cubicBezTo>
                    <a:pt x="52292" y="39053"/>
                    <a:pt x="41338" y="43053"/>
                    <a:pt x="30671" y="48196"/>
                  </a:cubicBezTo>
                  <a:lnTo>
                    <a:pt x="20383" y="19907"/>
                  </a:lnTo>
                  <a:cubicBezTo>
                    <a:pt x="33147" y="13906"/>
                    <a:pt x="46101" y="9049"/>
                    <a:pt x="59246" y="5429"/>
                  </a:cubicBezTo>
                  <a:cubicBezTo>
                    <a:pt x="72390"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04" y="239173"/>
                    <a:pt x="86011" y="239173"/>
                  </a:cubicBezTo>
                  <a:close/>
                  <a:moveTo>
                    <a:pt x="93154" y="211169"/>
                  </a:moveTo>
                  <a:cubicBezTo>
                    <a:pt x="103822" y="211169"/>
                    <a:pt x="113824" y="209740"/>
                    <a:pt x="122968" y="206788"/>
                  </a:cubicBezTo>
                  <a:cubicBezTo>
                    <a:pt x="132112"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5" y="119348"/>
                    <a:pt x="116777" y="118300"/>
                    <a:pt x="102584" y="118300"/>
                  </a:cubicBezTo>
                  <a:cubicBezTo>
                    <a:pt x="81248" y="118300"/>
                    <a:pt x="64675" y="122491"/>
                    <a:pt x="52959" y="130969"/>
                  </a:cubicBezTo>
                  <a:cubicBezTo>
                    <a:pt x="41243" y="139446"/>
                    <a:pt x="35338" y="150590"/>
                    <a:pt x="35338" y="164497"/>
                  </a:cubicBezTo>
                  <a:lnTo>
                    <a:pt x="35338" y="165449"/>
                  </a:lnTo>
                  <a:cubicBezTo>
                    <a:pt x="35338" y="172498"/>
                    <a:pt x="36862" y="178975"/>
                    <a:pt x="40005" y="184785"/>
                  </a:cubicBezTo>
                  <a:cubicBezTo>
                    <a:pt x="43148" y="190500"/>
                    <a:pt x="47339" y="195358"/>
                    <a:pt x="52673" y="199263"/>
                  </a:cubicBezTo>
                  <a:cubicBezTo>
                    <a:pt x="58007" y="203073"/>
                    <a:pt x="64198" y="206026"/>
                    <a:pt x="71152" y="208121"/>
                  </a:cubicBezTo>
                  <a:cubicBezTo>
                    <a:pt x="78105" y="210217"/>
                    <a:pt x="85439" y="211169"/>
                    <a:pt x="93154" y="211169"/>
                  </a:cubicBezTo>
                  <a:close/>
                </a:path>
              </a:pathLst>
            </a:custGeom>
            <a:solidFill>
              <a:srgbClr val="44505E"/>
            </a:solidFill>
            <a:ln w="9525" cap="flat">
              <a:noFill/>
              <a:prstDash val="solid"/>
              <a:miter/>
            </a:ln>
          </p:spPr>
          <p:txBody>
            <a:bodyPr rtlCol="0" anchor="ctr"/>
            <a:lstStyle/>
            <a:p>
              <a:endParaRPr lang="pt-BR" noProof="0"/>
            </a:p>
          </p:txBody>
        </p:sp>
        <p:sp>
          <p:nvSpPr>
            <p:cNvPr id="49" name="Freeform: Shape 48">
              <a:extLst>
                <a:ext uri="{FF2B5EF4-FFF2-40B4-BE49-F238E27FC236}">
                  <a16:creationId xmlns:a16="http://schemas.microsoft.com/office/drawing/2014/main" id="{79E7687F-CFB6-E39C-BF7F-E5A40EC0CF8D}"/>
                </a:ext>
              </a:extLst>
            </p:cNvPr>
            <p:cNvSpPr/>
            <p:nvPr/>
          </p:nvSpPr>
          <p:spPr>
            <a:xfrm>
              <a:off x="6280899" y="923980"/>
              <a:ext cx="87995" cy="59238"/>
            </a:xfrm>
            <a:custGeom>
              <a:avLst/>
              <a:gdLst>
                <a:gd name="connsiteX0" fmla="*/ 0 w 350043"/>
                <a:gd name="connsiteY0" fmla="*/ 5144 h 235648"/>
                <a:gd name="connsiteX1" fmla="*/ 34385 w 350043"/>
                <a:gd name="connsiteY1" fmla="*/ 5144 h 235648"/>
                <a:gd name="connsiteX2" fmla="*/ 34385 w 350043"/>
                <a:gd name="connsiteY2" fmla="*/ 44005 h 235648"/>
                <a:gd name="connsiteX3" fmla="*/ 47149 w 350043"/>
                <a:gd name="connsiteY3" fmla="*/ 27432 h 235648"/>
                <a:gd name="connsiteX4" fmla="*/ 62960 w 350043"/>
                <a:gd name="connsiteY4" fmla="*/ 13335 h 235648"/>
                <a:gd name="connsiteX5" fmla="*/ 83058 w 350043"/>
                <a:gd name="connsiteY5" fmla="*/ 3715 h 235648"/>
                <a:gd name="connsiteX6" fmla="*/ 108966 w 350043"/>
                <a:gd name="connsiteY6" fmla="*/ 95 h 235648"/>
                <a:gd name="connsiteX7" fmla="*/ 155448 w 350043"/>
                <a:gd name="connsiteY7" fmla="*/ 13240 h 235648"/>
                <a:gd name="connsiteX8" fmla="*/ 183166 w 350043"/>
                <a:gd name="connsiteY8" fmla="*/ 46006 h 235648"/>
                <a:gd name="connsiteX9" fmla="*/ 197168 w 350043"/>
                <a:gd name="connsiteY9" fmla="*/ 28194 h 235648"/>
                <a:gd name="connsiteX10" fmla="*/ 214789 w 350043"/>
                <a:gd name="connsiteY10" fmla="*/ 13430 h 235648"/>
                <a:gd name="connsiteX11" fmla="*/ 236887 w 350043"/>
                <a:gd name="connsiteY11" fmla="*/ 3620 h 235648"/>
                <a:gd name="connsiteX12" fmla="*/ 264319 w 350043"/>
                <a:gd name="connsiteY12" fmla="*/ 0 h 235648"/>
                <a:gd name="connsiteX13" fmla="*/ 327279 w 350043"/>
                <a:gd name="connsiteY13" fmla="*/ 24765 h 235648"/>
                <a:gd name="connsiteX14" fmla="*/ 350044 w 350043"/>
                <a:gd name="connsiteY14" fmla="*/ 92773 h 235648"/>
                <a:gd name="connsiteX15" fmla="*/ 350044 w 350043"/>
                <a:gd name="connsiteY15" fmla="*/ 235648 h 235648"/>
                <a:gd name="connsiteX16" fmla="*/ 315659 w 350043"/>
                <a:gd name="connsiteY16" fmla="*/ 235648 h 235648"/>
                <a:gd name="connsiteX17" fmla="*/ 315659 w 350043"/>
                <a:gd name="connsiteY17" fmla="*/ 101155 h 235648"/>
                <a:gd name="connsiteX18" fmla="*/ 299847 w 350043"/>
                <a:gd name="connsiteY18" fmla="*/ 49721 h 235648"/>
                <a:gd name="connsiteX19" fmla="*/ 255937 w 350043"/>
                <a:gd name="connsiteY19" fmla="*/ 31718 h 235648"/>
                <a:gd name="connsiteX20" fmla="*/ 231362 w 350043"/>
                <a:gd name="connsiteY20" fmla="*/ 36386 h 235648"/>
                <a:gd name="connsiteX21" fmla="*/ 211074 w 350043"/>
                <a:gd name="connsiteY21" fmla="*/ 50197 h 235648"/>
                <a:gd name="connsiteX22" fmla="*/ 197263 w 350043"/>
                <a:gd name="connsiteY22" fmla="*/ 72676 h 235648"/>
                <a:gd name="connsiteX23" fmla="*/ 192119 w 350043"/>
                <a:gd name="connsiteY23" fmla="*/ 102965 h 235648"/>
                <a:gd name="connsiteX24" fmla="*/ 192119 w 350043"/>
                <a:gd name="connsiteY24" fmla="*/ 235648 h 235648"/>
                <a:gd name="connsiteX25" fmla="*/ 158210 w 350043"/>
                <a:gd name="connsiteY25" fmla="*/ 235648 h 235648"/>
                <a:gd name="connsiteX26" fmla="*/ 158210 w 350043"/>
                <a:gd name="connsiteY26" fmla="*/ 100298 h 235648"/>
                <a:gd name="connsiteX27" fmla="*/ 142399 w 350043"/>
                <a:gd name="connsiteY27" fmla="*/ 49721 h 235648"/>
                <a:gd name="connsiteX28" fmla="*/ 98870 w 350043"/>
                <a:gd name="connsiteY28" fmla="*/ 31718 h 235648"/>
                <a:gd name="connsiteX29" fmla="*/ 73438 w 350043"/>
                <a:gd name="connsiteY29" fmla="*/ 37052 h 235648"/>
                <a:gd name="connsiteX30" fmla="*/ 53150 w 350043"/>
                <a:gd name="connsiteY30" fmla="*/ 52197 h 235648"/>
                <a:gd name="connsiteX31" fmla="*/ 39529 w 350043"/>
                <a:gd name="connsiteY31" fmla="*/ 75152 h 235648"/>
                <a:gd name="connsiteX32" fmla="*/ 34576 w 350043"/>
                <a:gd name="connsiteY32" fmla="*/ 104299 h 235648"/>
                <a:gd name="connsiteX33" fmla="*/ 34576 w 350043"/>
                <a:gd name="connsiteY33" fmla="*/ 235648 h 235648"/>
                <a:gd name="connsiteX34" fmla="*/ 190 w 350043"/>
                <a:gd name="connsiteY34" fmla="*/ 235648 h 235648"/>
                <a:gd name="connsiteX35" fmla="*/ 190 w 350043"/>
                <a:gd name="connsiteY35" fmla="*/ 485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0043" h="235648">
                  <a:moveTo>
                    <a:pt x="0" y="5144"/>
                  </a:moveTo>
                  <a:lnTo>
                    <a:pt x="34385" y="5144"/>
                  </a:lnTo>
                  <a:lnTo>
                    <a:pt x="34385" y="44005"/>
                  </a:lnTo>
                  <a:cubicBezTo>
                    <a:pt x="38290" y="38386"/>
                    <a:pt x="42481" y="32861"/>
                    <a:pt x="47149" y="27432"/>
                  </a:cubicBezTo>
                  <a:cubicBezTo>
                    <a:pt x="51721" y="22098"/>
                    <a:pt x="57055" y="17431"/>
                    <a:pt x="62960" y="13335"/>
                  </a:cubicBezTo>
                  <a:cubicBezTo>
                    <a:pt x="68866" y="9335"/>
                    <a:pt x="75629" y="6096"/>
                    <a:pt x="83058" y="3715"/>
                  </a:cubicBezTo>
                  <a:cubicBezTo>
                    <a:pt x="90488" y="1334"/>
                    <a:pt x="99155" y="95"/>
                    <a:pt x="108966" y="95"/>
                  </a:cubicBezTo>
                  <a:cubicBezTo>
                    <a:pt x="127730" y="95"/>
                    <a:pt x="143161" y="4477"/>
                    <a:pt x="155448" y="13240"/>
                  </a:cubicBezTo>
                  <a:cubicBezTo>
                    <a:pt x="167640" y="22003"/>
                    <a:pt x="176879" y="32956"/>
                    <a:pt x="183166" y="46006"/>
                  </a:cubicBezTo>
                  <a:cubicBezTo>
                    <a:pt x="187357" y="39719"/>
                    <a:pt x="192024" y="33814"/>
                    <a:pt x="197168" y="28194"/>
                  </a:cubicBezTo>
                  <a:cubicBezTo>
                    <a:pt x="202406" y="22574"/>
                    <a:pt x="208217" y="17621"/>
                    <a:pt x="214789" y="13430"/>
                  </a:cubicBezTo>
                  <a:cubicBezTo>
                    <a:pt x="221361" y="9239"/>
                    <a:pt x="228695" y="6001"/>
                    <a:pt x="236887" y="3620"/>
                  </a:cubicBezTo>
                  <a:cubicBezTo>
                    <a:pt x="245078" y="1238"/>
                    <a:pt x="254222" y="0"/>
                    <a:pt x="264319" y="0"/>
                  </a:cubicBezTo>
                  <a:cubicBezTo>
                    <a:pt x="291084" y="0"/>
                    <a:pt x="312039" y="8287"/>
                    <a:pt x="327279" y="24765"/>
                  </a:cubicBezTo>
                  <a:cubicBezTo>
                    <a:pt x="342519" y="41243"/>
                    <a:pt x="350044" y="63913"/>
                    <a:pt x="350044" y="92773"/>
                  </a:cubicBezTo>
                  <a:lnTo>
                    <a:pt x="350044" y="235648"/>
                  </a:lnTo>
                  <a:lnTo>
                    <a:pt x="315659" y="235648"/>
                  </a:lnTo>
                  <a:lnTo>
                    <a:pt x="315659" y="101155"/>
                  </a:lnTo>
                  <a:cubicBezTo>
                    <a:pt x="315659" y="78867"/>
                    <a:pt x="310420" y="61722"/>
                    <a:pt x="299847" y="49721"/>
                  </a:cubicBezTo>
                  <a:cubicBezTo>
                    <a:pt x="289274" y="37719"/>
                    <a:pt x="274606" y="31718"/>
                    <a:pt x="255937" y="31718"/>
                  </a:cubicBezTo>
                  <a:cubicBezTo>
                    <a:pt x="247269" y="31718"/>
                    <a:pt x="239078" y="33242"/>
                    <a:pt x="231362" y="36386"/>
                  </a:cubicBezTo>
                  <a:cubicBezTo>
                    <a:pt x="223647" y="39529"/>
                    <a:pt x="216884" y="44101"/>
                    <a:pt x="211074" y="50197"/>
                  </a:cubicBezTo>
                  <a:cubicBezTo>
                    <a:pt x="205264" y="56293"/>
                    <a:pt x="200692" y="63818"/>
                    <a:pt x="197263" y="72676"/>
                  </a:cubicBezTo>
                  <a:cubicBezTo>
                    <a:pt x="193834" y="81629"/>
                    <a:pt x="192119" y="91726"/>
                    <a:pt x="192119" y="102965"/>
                  </a:cubicBezTo>
                  <a:lnTo>
                    <a:pt x="192119" y="235648"/>
                  </a:lnTo>
                  <a:lnTo>
                    <a:pt x="158210" y="235648"/>
                  </a:lnTo>
                  <a:lnTo>
                    <a:pt x="158210" y="100298"/>
                  </a:lnTo>
                  <a:cubicBezTo>
                    <a:pt x="158210" y="78677"/>
                    <a:pt x="152971" y="61817"/>
                    <a:pt x="142399" y="49721"/>
                  </a:cubicBezTo>
                  <a:cubicBezTo>
                    <a:pt x="131826" y="37719"/>
                    <a:pt x="117348" y="31718"/>
                    <a:pt x="98870" y="31718"/>
                  </a:cubicBezTo>
                  <a:cubicBezTo>
                    <a:pt x="89630" y="31718"/>
                    <a:pt x="81153" y="33528"/>
                    <a:pt x="73438" y="37052"/>
                  </a:cubicBezTo>
                  <a:cubicBezTo>
                    <a:pt x="65722" y="40672"/>
                    <a:pt x="58960" y="45720"/>
                    <a:pt x="53150" y="52197"/>
                  </a:cubicBezTo>
                  <a:cubicBezTo>
                    <a:pt x="47339" y="58769"/>
                    <a:pt x="42767" y="66389"/>
                    <a:pt x="39529" y="75152"/>
                  </a:cubicBezTo>
                  <a:cubicBezTo>
                    <a:pt x="36290" y="83915"/>
                    <a:pt x="34576" y="93631"/>
                    <a:pt x="34576" y="104299"/>
                  </a:cubicBezTo>
                  <a:lnTo>
                    <a:pt x="34576" y="235648"/>
                  </a:lnTo>
                  <a:lnTo>
                    <a:pt x="190" y="235648"/>
                  </a:lnTo>
                  <a:lnTo>
                    <a:pt x="190" y="4858"/>
                  </a:lnTo>
                  <a:close/>
                </a:path>
              </a:pathLst>
            </a:custGeom>
            <a:solidFill>
              <a:srgbClr val="44505E"/>
            </a:solidFill>
            <a:ln w="9525" cap="flat">
              <a:noFill/>
              <a:prstDash val="solid"/>
              <a:miter/>
            </a:ln>
          </p:spPr>
          <p:txBody>
            <a:bodyPr rtlCol="0" anchor="ctr"/>
            <a:lstStyle/>
            <a:p>
              <a:endParaRPr lang="pt-BR" noProof="0"/>
            </a:p>
          </p:txBody>
        </p:sp>
        <p:sp>
          <p:nvSpPr>
            <p:cNvPr id="50" name="Freeform: Shape 49">
              <a:extLst>
                <a:ext uri="{FF2B5EF4-FFF2-40B4-BE49-F238E27FC236}">
                  <a16:creationId xmlns:a16="http://schemas.microsoft.com/office/drawing/2014/main" id="{F1E8ED3A-0933-EF65-5112-AF9E7D8A5879}"/>
                </a:ext>
              </a:extLst>
            </p:cNvPr>
            <p:cNvSpPr/>
            <p:nvPr/>
          </p:nvSpPr>
          <p:spPr>
            <a:xfrm>
              <a:off x="6415537" y="925273"/>
              <a:ext cx="58016" cy="58448"/>
            </a:xfrm>
            <a:custGeom>
              <a:avLst/>
              <a:gdLst>
                <a:gd name="connsiteX0" fmla="*/ 95 w 230790"/>
                <a:gd name="connsiteY0" fmla="*/ 0 h 232505"/>
                <a:gd name="connsiteX1" fmla="*/ 38005 w 230790"/>
                <a:gd name="connsiteY1" fmla="*/ 0 h 232505"/>
                <a:gd name="connsiteX2" fmla="*/ 115633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3"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51" name="Freeform: Shape 50">
              <a:extLst>
                <a:ext uri="{FF2B5EF4-FFF2-40B4-BE49-F238E27FC236}">
                  <a16:creationId xmlns:a16="http://schemas.microsoft.com/office/drawing/2014/main" id="{C084329B-F2BB-B4AD-97DF-678D3DE7DCCA}"/>
                </a:ext>
              </a:extLst>
            </p:cNvPr>
            <p:cNvSpPr/>
            <p:nvPr/>
          </p:nvSpPr>
          <p:spPr>
            <a:xfrm>
              <a:off x="6487369"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286 w 39242"/>
                <a:gd name="connsiteY5" fmla="*/ 88392 h 319182"/>
                <a:gd name="connsiteX6" fmla="*/ 36671 w 39242"/>
                <a:gd name="connsiteY6" fmla="*/ 88392 h 319182"/>
                <a:gd name="connsiteX7" fmla="*/ 36671 w 39242"/>
                <a:gd name="connsiteY7" fmla="*/ 319183 h 319182"/>
                <a:gd name="connsiteX8" fmla="*/ 2286 w 39242"/>
                <a:gd name="connsiteY8" fmla="*/ 319183 h 319182"/>
                <a:gd name="connsiteX9" fmla="*/ 2286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286" y="88392"/>
                  </a:moveTo>
                  <a:lnTo>
                    <a:pt x="36671" y="88392"/>
                  </a:lnTo>
                  <a:lnTo>
                    <a:pt x="36671" y="319183"/>
                  </a:lnTo>
                  <a:lnTo>
                    <a:pt x="2286" y="319183"/>
                  </a:lnTo>
                  <a:lnTo>
                    <a:pt x="2286" y="88392"/>
                  </a:lnTo>
                  <a:close/>
                </a:path>
              </a:pathLst>
            </a:custGeom>
            <a:solidFill>
              <a:srgbClr val="44505E"/>
            </a:solidFill>
            <a:ln w="9525" cap="flat">
              <a:noFill/>
              <a:prstDash val="solid"/>
              <a:miter/>
            </a:ln>
          </p:spPr>
          <p:txBody>
            <a:bodyPr rtlCol="0" anchor="ctr"/>
            <a:lstStyle/>
            <a:p>
              <a:endParaRPr lang="pt-BR" noProof="0"/>
            </a:p>
          </p:txBody>
        </p:sp>
        <p:sp>
          <p:nvSpPr>
            <p:cNvPr id="52" name="Freeform: Shape 51">
              <a:extLst>
                <a:ext uri="{FF2B5EF4-FFF2-40B4-BE49-F238E27FC236}">
                  <a16:creationId xmlns:a16="http://schemas.microsoft.com/office/drawing/2014/main" id="{44D9900D-A20F-74B9-6D33-C5AC9246AB67}"/>
                </a:ext>
              </a:extLst>
            </p:cNvPr>
            <p:cNvSpPr/>
            <p:nvPr/>
          </p:nvSpPr>
          <p:spPr>
            <a:xfrm>
              <a:off x="6513253" y="901353"/>
              <a:ext cx="58615" cy="83182"/>
            </a:xfrm>
            <a:custGeom>
              <a:avLst/>
              <a:gdLst>
                <a:gd name="connsiteX0" fmla="*/ 110394 w 233171"/>
                <a:gd name="connsiteY0" fmla="*/ 330898 h 330898"/>
                <a:gd name="connsiteX1" fmla="*/ 69723 w 233171"/>
                <a:gd name="connsiteY1" fmla="*/ 322897 h 330898"/>
                <a:gd name="connsiteX2" fmla="*/ 34480 w 233171"/>
                <a:gd name="connsiteY2" fmla="*/ 299466 h 330898"/>
                <a:gd name="connsiteX3" fmla="*/ 9430 w 233171"/>
                <a:gd name="connsiteY3" fmla="*/ 261938 h 330898"/>
                <a:gd name="connsiteX4" fmla="*/ 0 w 233171"/>
                <a:gd name="connsiteY4" fmla="*/ 211264 h 330898"/>
                <a:gd name="connsiteX5" fmla="*/ 0 w 233171"/>
                <a:gd name="connsiteY5" fmla="*/ 210407 h 330898"/>
                <a:gd name="connsiteX6" fmla="*/ 9430 w 233171"/>
                <a:gd name="connsiteY6" fmla="*/ 159925 h 330898"/>
                <a:gd name="connsiteX7" fmla="*/ 34480 w 233171"/>
                <a:gd name="connsiteY7" fmla="*/ 122206 h 330898"/>
                <a:gd name="connsiteX8" fmla="*/ 69723 w 233171"/>
                <a:gd name="connsiteY8" fmla="*/ 98488 h 330898"/>
                <a:gd name="connsiteX9" fmla="*/ 110394 w 233171"/>
                <a:gd name="connsiteY9" fmla="*/ 90202 h 330898"/>
                <a:gd name="connsiteX10" fmla="*/ 139827 w 233171"/>
                <a:gd name="connsiteY10" fmla="*/ 94202 h 330898"/>
                <a:gd name="connsiteX11" fmla="*/ 163925 w 233171"/>
                <a:gd name="connsiteY11" fmla="*/ 104870 h 330898"/>
                <a:gd name="connsiteX12" fmla="*/ 183356 w 233171"/>
                <a:gd name="connsiteY12" fmla="*/ 120491 h 330898"/>
                <a:gd name="connsiteX13" fmla="*/ 198787 w 233171"/>
                <a:gd name="connsiteY13" fmla="*/ 139255 h 330898"/>
                <a:gd name="connsiteX14" fmla="*/ 198787 w 233171"/>
                <a:gd name="connsiteY14" fmla="*/ 0 h 330898"/>
                <a:gd name="connsiteX15" fmla="*/ 233172 w 233171"/>
                <a:gd name="connsiteY15" fmla="*/ 0 h 330898"/>
                <a:gd name="connsiteX16" fmla="*/ 233172 w 233171"/>
                <a:gd name="connsiteY16" fmla="*/ 325850 h 330898"/>
                <a:gd name="connsiteX17" fmla="*/ 198787 w 233171"/>
                <a:gd name="connsiteY17" fmla="*/ 325850 h 330898"/>
                <a:gd name="connsiteX18" fmla="*/ 198787 w 233171"/>
                <a:gd name="connsiteY18" fmla="*/ 279463 h 330898"/>
                <a:gd name="connsiteX19" fmla="*/ 182975 w 233171"/>
                <a:gd name="connsiteY19" fmla="*/ 299085 h 330898"/>
                <a:gd name="connsiteX20" fmla="*/ 163544 w 233171"/>
                <a:gd name="connsiteY20" fmla="*/ 315658 h 330898"/>
                <a:gd name="connsiteX21" fmla="*/ 139636 w 233171"/>
                <a:gd name="connsiteY21" fmla="*/ 326803 h 330898"/>
                <a:gd name="connsiteX22" fmla="*/ 110394 w 233171"/>
                <a:gd name="connsiteY22" fmla="*/ 330803 h 330898"/>
                <a:gd name="connsiteX23" fmla="*/ 116681 w 233171"/>
                <a:gd name="connsiteY23" fmla="*/ 300133 h 330898"/>
                <a:gd name="connsiteX24" fmla="*/ 147733 w 233171"/>
                <a:gd name="connsiteY24" fmla="*/ 293656 h 330898"/>
                <a:gd name="connsiteX25" fmla="*/ 174498 w 233171"/>
                <a:gd name="connsiteY25" fmla="*/ 275368 h 330898"/>
                <a:gd name="connsiteX26" fmla="*/ 193262 w 233171"/>
                <a:gd name="connsiteY26" fmla="*/ 247269 h 330898"/>
                <a:gd name="connsiteX27" fmla="*/ 200216 w 233171"/>
                <a:gd name="connsiteY27" fmla="*/ 210883 h 330898"/>
                <a:gd name="connsiteX28" fmla="*/ 200216 w 233171"/>
                <a:gd name="connsiteY28" fmla="*/ 210026 h 330898"/>
                <a:gd name="connsiteX29" fmla="*/ 193262 w 233171"/>
                <a:gd name="connsiteY29" fmla="*/ 173641 h 330898"/>
                <a:gd name="connsiteX30" fmla="*/ 174498 w 233171"/>
                <a:gd name="connsiteY30" fmla="*/ 145732 h 330898"/>
                <a:gd name="connsiteX31" fmla="*/ 147733 w 233171"/>
                <a:gd name="connsiteY31" fmla="*/ 127635 h 330898"/>
                <a:gd name="connsiteX32" fmla="*/ 116681 w 233171"/>
                <a:gd name="connsiteY32" fmla="*/ 121158 h 330898"/>
                <a:gd name="connsiteX33" fmla="*/ 84963 w 233171"/>
                <a:gd name="connsiteY33" fmla="*/ 127159 h 330898"/>
                <a:gd name="connsiteX34" fmla="*/ 59341 w 233171"/>
                <a:gd name="connsiteY34" fmla="*/ 144589 h 330898"/>
                <a:gd name="connsiteX35" fmla="*/ 41910 w 233171"/>
                <a:gd name="connsiteY35" fmla="*/ 172498 h 330898"/>
                <a:gd name="connsiteX36" fmla="*/ 35433 w 233171"/>
                <a:gd name="connsiteY36" fmla="*/ 210026 h 330898"/>
                <a:gd name="connsiteX37" fmla="*/ 35433 w 233171"/>
                <a:gd name="connsiteY37" fmla="*/ 210883 h 330898"/>
                <a:gd name="connsiteX38" fmla="*/ 41910 w 233171"/>
                <a:gd name="connsiteY38" fmla="*/ 247936 h 330898"/>
                <a:gd name="connsiteX39" fmla="*/ 59531 w 233171"/>
                <a:gd name="connsiteY39" fmla="*/ 276034 h 330898"/>
                <a:gd name="connsiteX40" fmla="*/ 85439 w 233171"/>
                <a:gd name="connsiteY40" fmla="*/ 293941 h 330898"/>
                <a:gd name="connsiteX41" fmla="*/ 116681 w 23317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3171" h="330898">
                  <a:moveTo>
                    <a:pt x="110394" y="330898"/>
                  </a:moveTo>
                  <a:cubicBezTo>
                    <a:pt x="96393" y="330898"/>
                    <a:pt x="82868" y="328231"/>
                    <a:pt x="69723" y="322897"/>
                  </a:cubicBezTo>
                  <a:cubicBezTo>
                    <a:pt x="56674" y="317563"/>
                    <a:pt x="44863" y="309753"/>
                    <a:pt x="34480" y="299466"/>
                  </a:cubicBezTo>
                  <a:cubicBezTo>
                    <a:pt x="24003" y="289179"/>
                    <a:pt x="15716" y="276701"/>
                    <a:pt x="9430" y="261938"/>
                  </a:cubicBezTo>
                  <a:cubicBezTo>
                    <a:pt x="3143" y="247174"/>
                    <a:pt x="0" y="230314"/>
                    <a:pt x="0" y="211264"/>
                  </a:cubicBezTo>
                  <a:lnTo>
                    <a:pt x="0" y="210407"/>
                  </a:lnTo>
                  <a:cubicBezTo>
                    <a:pt x="0" y="191643"/>
                    <a:pt x="3143" y="174879"/>
                    <a:pt x="9430" y="159925"/>
                  </a:cubicBezTo>
                  <a:cubicBezTo>
                    <a:pt x="15716" y="145066"/>
                    <a:pt x="24003" y="132493"/>
                    <a:pt x="34480" y="122206"/>
                  </a:cubicBezTo>
                  <a:cubicBezTo>
                    <a:pt x="44863" y="111919"/>
                    <a:pt x="56674" y="104013"/>
                    <a:pt x="69723" y="98488"/>
                  </a:cubicBezTo>
                  <a:cubicBezTo>
                    <a:pt x="82868" y="92964"/>
                    <a:pt x="96393" y="90202"/>
                    <a:pt x="110394" y="90202"/>
                  </a:cubicBezTo>
                  <a:cubicBezTo>
                    <a:pt x="121158" y="90202"/>
                    <a:pt x="130969" y="91535"/>
                    <a:pt x="139827" y="94202"/>
                  </a:cubicBezTo>
                  <a:cubicBezTo>
                    <a:pt x="148780" y="96869"/>
                    <a:pt x="156782" y="100489"/>
                    <a:pt x="163925" y="104870"/>
                  </a:cubicBezTo>
                  <a:cubicBezTo>
                    <a:pt x="171069" y="109347"/>
                    <a:pt x="177546" y="114586"/>
                    <a:pt x="183356" y="120491"/>
                  </a:cubicBezTo>
                  <a:cubicBezTo>
                    <a:pt x="189166" y="126492"/>
                    <a:pt x="194310" y="132683"/>
                    <a:pt x="198787" y="139255"/>
                  </a:cubicBezTo>
                  <a:lnTo>
                    <a:pt x="198787" y="0"/>
                  </a:lnTo>
                  <a:lnTo>
                    <a:pt x="233172" y="0"/>
                  </a:lnTo>
                  <a:lnTo>
                    <a:pt x="233172" y="325850"/>
                  </a:lnTo>
                  <a:lnTo>
                    <a:pt x="198787" y="325850"/>
                  </a:lnTo>
                  <a:lnTo>
                    <a:pt x="198787" y="279463"/>
                  </a:lnTo>
                  <a:cubicBezTo>
                    <a:pt x="194024" y="286321"/>
                    <a:pt x="188786" y="292894"/>
                    <a:pt x="182975" y="299085"/>
                  </a:cubicBezTo>
                  <a:cubicBezTo>
                    <a:pt x="177165" y="305371"/>
                    <a:pt x="170688" y="310896"/>
                    <a:pt x="163544" y="315658"/>
                  </a:cubicBezTo>
                  <a:cubicBezTo>
                    <a:pt x="156400" y="320421"/>
                    <a:pt x="148494" y="324136"/>
                    <a:pt x="139636" y="326803"/>
                  </a:cubicBezTo>
                  <a:cubicBezTo>
                    <a:pt x="130873" y="329470"/>
                    <a:pt x="121158" y="330803"/>
                    <a:pt x="110394" y="330803"/>
                  </a:cubicBezTo>
                  <a:close/>
                  <a:moveTo>
                    <a:pt x="116681" y="300133"/>
                  </a:moveTo>
                  <a:cubicBezTo>
                    <a:pt x="127445" y="300133"/>
                    <a:pt x="137732" y="297942"/>
                    <a:pt x="147733" y="293656"/>
                  </a:cubicBezTo>
                  <a:cubicBezTo>
                    <a:pt x="157734" y="289369"/>
                    <a:pt x="166592" y="283273"/>
                    <a:pt x="174498" y="275368"/>
                  </a:cubicBezTo>
                  <a:cubicBezTo>
                    <a:pt x="182404" y="267462"/>
                    <a:pt x="188595" y="258127"/>
                    <a:pt x="193262" y="247269"/>
                  </a:cubicBezTo>
                  <a:cubicBezTo>
                    <a:pt x="197834" y="236410"/>
                    <a:pt x="200216" y="224314"/>
                    <a:pt x="200216" y="210883"/>
                  </a:cubicBezTo>
                  <a:lnTo>
                    <a:pt x="200216" y="210026"/>
                  </a:lnTo>
                  <a:cubicBezTo>
                    <a:pt x="200216" y="196596"/>
                    <a:pt x="197929" y="184499"/>
                    <a:pt x="193262" y="173641"/>
                  </a:cubicBezTo>
                  <a:cubicBezTo>
                    <a:pt x="188595" y="162782"/>
                    <a:pt x="182404" y="153448"/>
                    <a:pt x="174498" y="145732"/>
                  </a:cubicBezTo>
                  <a:cubicBezTo>
                    <a:pt x="166592" y="138017"/>
                    <a:pt x="157639" y="132016"/>
                    <a:pt x="147733" y="127635"/>
                  </a:cubicBezTo>
                  <a:cubicBezTo>
                    <a:pt x="137732" y="123349"/>
                    <a:pt x="127445" y="121158"/>
                    <a:pt x="116681" y="121158"/>
                  </a:cubicBezTo>
                  <a:cubicBezTo>
                    <a:pt x="105346" y="121158"/>
                    <a:pt x="94774" y="123158"/>
                    <a:pt x="84963" y="127159"/>
                  </a:cubicBezTo>
                  <a:cubicBezTo>
                    <a:pt x="75152" y="131159"/>
                    <a:pt x="66580" y="136969"/>
                    <a:pt x="59341" y="144589"/>
                  </a:cubicBezTo>
                  <a:cubicBezTo>
                    <a:pt x="52007" y="152114"/>
                    <a:pt x="46291" y="161449"/>
                    <a:pt x="41910" y="172498"/>
                  </a:cubicBezTo>
                  <a:cubicBezTo>
                    <a:pt x="37624" y="183451"/>
                    <a:pt x="35433" y="196024"/>
                    <a:pt x="35433" y="210026"/>
                  </a:cubicBezTo>
                  <a:lnTo>
                    <a:pt x="35433" y="210883"/>
                  </a:lnTo>
                  <a:cubicBezTo>
                    <a:pt x="35433" y="224599"/>
                    <a:pt x="37624" y="236982"/>
                    <a:pt x="41910" y="247936"/>
                  </a:cubicBezTo>
                  <a:cubicBezTo>
                    <a:pt x="46196" y="258984"/>
                    <a:pt x="52101" y="268319"/>
                    <a:pt x="59531" y="276034"/>
                  </a:cubicBezTo>
                  <a:cubicBezTo>
                    <a:pt x="66960" y="283750"/>
                    <a:pt x="75629" y="289750"/>
                    <a:pt x="85439" y="293941"/>
                  </a:cubicBezTo>
                  <a:cubicBezTo>
                    <a:pt x="95250" y="298132"/>
                    <a:pt x="105632" y="300228"/>
                    <a:pt x="116681" y="300228"/>
                  </a:cubicBezTo>
                  <a:close/>
                </a:path>
              </a:pathLst>
            </a:custGeom>
            <a:solidFill>
              <a:srgbClr val="44505E"/>
            </a:solidFill>
            <a:ln w="9525" cap="flat">
              <a:noFill/>
              <a:prstDash val="solid"/>
              <a:miter/>
            </a:ln>
          </p:spPr>
          <p:txBody>
            <a:bodyPr rtlCol="0" anchor="ctr"/>
            <a:lstStyle/>
            <a:p>
              <a:endParaRPr lang="pt-BR" noProof="0"/>
            </a:p>
          </p:txBody>
        </p:sp>
        <p:sp>
          <p:nvSpPr>
            <p:cNvPr id="53" name="Freeform: Shape 52">
              <a:extLst>
                <a:ext uri="{FF2B5EF4-FFF2-40B4-BE49-F238E27FC236}">
                  <a16:creationId xmlns:a16="http://schemas.microsoft.com/office/drawing/2014/main" id="{A4B44985-53C4-6622-DA10-361981D11E04}"/>
                </a:ext>
              </a:extLst>
            </p:cNvPr>
            <p:cNvSpPr/>
            <p:nvPr/>
          </p:nvSpPr>
          <p:spPr>
            <a:xfrm>
              <a:off x="6586762"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0 w 202977"/>
                <a:gd name="connsiteY16" fmla="*/ 48196 h 239267"/>
                <a:gd name="connsiteX17" fmla="*/ 20383 w 202977"/>
                <a:gd name="connsiteY17" fmla="*/ 19907 h 239267"/>
                <a:gd name="connsiteX18" fmla="*/ 59245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0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1"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675" y="92678"/>
                    <a:pt x="84011" y="90964"/>
                    <a:pt x="98584" y="90964"/>
                  </a:cubicBezTo>
                  <a:cubicBezTo>
                    <a:pt x="113157" y="90964"/>
                    <a:pt x="126302"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0" y="33147"/>
                    <a:pt x="63436" y="36100"/>
                  </a:cubicBezTo>
                  <a:cubicBezTo>
                    <a:pt x="52292" y="39053"/>
                    <a:pt x="41338" y="43053"/>
                    <a:pt x="30670" y="48196"/>
                  </a:cubicBezTo>
                  <a:lnTo>
                    <a:pt x="20383" y="19907"/>
                  </a:lnTo>
                  <a:cubicBezTo>
                    <a:pt x="33147" y="13906"/>
                    <a:pt x="46101" y="9049"/>
                    <a:pt x="59245" y="5429"/>
                  </a:cubicBezTo>
                  <a:cubicBezTo>
                    <a:pt x="72294" y="1810"/>
                    <a:pt x="87344" y="0"/>
                    <a:pt x="104299" y="0"/>
                  </a:cubicBezTo>
                  <a:cubicBezTo>
                    <a:pt x="137064" y="0"/>
                    <a:pt x="161925" y="8477"/>
                    <a:pt x="178879" y="25432"/>
                  </a:cubicBezTo>
                  <a:cubicBezTo>
                    <a:pt x="194976"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0" y="239173"/>
                  </a:cubicBezTo>
                  <a:close/>
                  <a:moveTo>
                    <a:pt x="93154" y="211169"/>
                  </a:moveTo>
                  <a:cubicBezTo>
                    <a:pt x="103822" y="211169"/>
                    <a:pt x="113729" y="209740"/>
                    <a:pt x="122967" y="206788"/>
                  </a:cubicBezTo>
                  <a:cubicBezTo>
                    <a:pt x="132207"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4" y="119348"/>
                    <a:pt x="116871"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54" name="Freeform: Shape 53">
              <a:extLst>
                <a:ext uri="{FF2B5EF4-FFF2-40B4-BE49-F238E27FC236}">
                  <a16:creationId xmlns:a16="http://schemas.microsoft.com/office/drawing/2014/main" id="{22A2753D-8819-83BB-22EE-567B00C856E9}"/>
                </a:ext>
              </a:extLst>
            </p:cNvPr>
            <p:cNvSpPr/>
            <p:nvPr/>
          </p:nvSpPr>
          <p:spPr>
            <a:xfrm>
              <a:off x="6651291" y="924268"/>
              <a:ext cx="44680" cy="60195"/>
            </a:xfrm>
            <a:custGeom>
              <a:avLst/>
              <a:gdLst>
                <a:gd name="connsiteX0" fmla="*/ 95535 w 177736"/>
                <a:gd name="connsiteY0" fmla="*/ 239268 h 239458"/>
                <a:gd name="connsiteX1" fmla="*/ 45053 w 177736"/>
                <a:gd name="connsiteY1" fmla="*/ 230124 h 239458"/>
                <a:gd name="connsiteX2" fmla="*/ 0 w 177736"/>
                <a:gd name="connsiteY2" fmla="*/ 205359 h 239458"/>
                <a:gd name="connsiteX3" fmla="*/ 17430 w 177736"/>
                <a:gd name="connsiteY3" fmla="*/ 180785 h 239458"/>
                <a:gd name="connsiteX4" fmla="*/ 56483 w 177736"/>
                <a:gd name="connsiteY4" fmla="*/ 202692 h 239458"/>
                <a:gd name="connsiteX5" fmla="*/ 97345 w 177736"/>
                <a:gd name="connsiteY5" fmla="*/ 210217 h 239458"/>
                <a:gd name="connsiteX6" fmla="*/ 131730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825 w 177736"/>
                <a:gd name="connsiteY10" fmla="*/ 147066 h 239458"/>
                <a:gd name="connsiteX11" fmla="*/ 109251 w 177736"/>
                <a:gd name="connsiteY11" fmla="*/ 138779 h 239458"/>
                <a:gd name="connsiteX12" fmla="*/ 87630 w 177736"/>
                <a:gd name="connsiteY12" fmla="*/ 132112 h 239458"/>
                <a:gd name="connsiteX13" fmla="*/ 60579 w 177736"/>
                <a:gd name="connsiteY13" fmla="*/ 123444 h 239458"/>
                <a:gd name="connsiteX14" fmla="*/ 36004 w 177736"/>
                <a:gd name="connsiteY14" fmla="*/ 111633 h 239458"/>
                <a:gd name="connsiteX15" fmla="*/ 18192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59 w 177736"/>
                <a:gd name="connsiteY22" fmla="*/ 6953 h 239458"/>
                <a:gd name="connsiteX23" fmla="*/ 172878 w 177736"/>
                <a:gd name="connsiteY23" fmla="*/ 25527 h 239458"/>
                <a:gd name="connsiteX24" fmla="*/ 157257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3 w 177736"/>
                <a:gd name="connsiteY32" fmla="*/ 96203 h 239458"/>
                <a:gd name="connsiteX33" fmla="*/ 103631 w 177736"/>
                <a:gd name="connsiteY33" fmla="*/ 103346 h 239458"/>
                <a:gd name="connsiteX34" fmla="*/ 130207 w 177736"/>
                <a:gd name="connsiteY34" fmla="*/ 112300 h 239458"/>
                <a:gd name="connsiteX35" fmla="*/ 154114 w 177736"/>
                <a:gd name="connsiteY35" fmla="*/ 124778 h 239458"/>
                <a:gd name="connsiteX36" fmla="*/ 171259 w 177736"/>
                <a:gd name="connsiteY36" fmla="*/ 143066 h 239458"/>
                <a:gd name="connsiteX37" fmla="*/ 177736 w 177736"/>
                <a:gd name="connsiteY37" fmla="*/ 169450 h 239458"/>
                <a:gd name="connsiteX38" fmla="*/ 177736 w 177736"/>
                <a:gd name="connsiteY38" fmla="*/ 170307 h 239458"/>
                <a:gd name="connsiteX39" fmla="*/ 171259 w 177736"/>
                <a:gd name="connsiteY39" fmla="*/ 199549 h 239458"/>
                <a:gd name="connsiteX40" fmla="*/ 153828 w 177736"/>
                <a:gd name="connsiteY40" fmla="*/ 221171 h 239458"/>
                <a:gd name="connsiteX41" fmla="*/ 127921 w 177736"/>
                <a:gd name="connsiteY41" fmla="*/ 234791 h 239458"/>
                <a:gd name="connsiteX42" fmla="*/ 95535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5" y="239268"/>
                  </a:moveTo>
                  <a:cubicBezTo>
                    <a:pt x="78867" y="239268"/>
                    <a:pt x="62007" y="236220"/>
                    <a:pt x="45053" y="230124"/>
                  </a:cubicBezTo>
                  <a:cubicBezTo>
                    <a:pt x="28098" y="224028"/>
                    <a:pt x="13049" y="215741"/>
                    <a:pt x="0" y="205359"/>
                  </a:cubicBezTo>
                  <a:lnTo>
                    <a:pt x="17430" y="180785"/>
                  </a:lnTo>
                  <a:cubicBezTo>
                    <a:pt x="29908" y="190310"/>
                    <a:pt x="42957" y="197644"/>
                    <a:pt x="56483" y="202692"/>
                  </a:cubicBezTo>
                  <a:cubicBezTo>
                    <a:pt x="70009" y="207740"/>
                    <a:pt x="83629" y="210217"/>
                    <a:pt x="97345" y="210217"/>
                  </a:cubicBezTo>
                  <a:cubicBezTo>
                    <a:pt x="111061" y="210217"/>
                    <a:pt x="122777" y="206978"/>
                    <a:pt x="131730" y="200406"/>
                  </a:cubicBezTo>
                  <a:cubicBezTo>
                    <a:pt x="140684" y="193834"/>
                    <a:pt x="145161" y="184976"/>
                    <a:pt x="145161" y="173641"/>
                  </a:cubicBezTo>
                  <a:lnTo>
                    <a:pt x="145161" y="172784"/>
                  </a:lnTo>
                  <a:cubicBezTo>
                    <a:pt x="145161" y="167164"/>
                    <a:pt x="143541" y="162211"/>
                    <a:pt x="140494" y="158020"/>
                  </a:cubicBezTo>
                  <a:cubicBezTo>
                    <a:pt x="137350" y="153829"/>
                    <a:pt x="133159" y="150209"/>
                    <a:pt x="127825" y="147066"/>
                  </a:cubicBezTo>
                  <a:cubicBezTo>
                    <a:pt x="122491" y="143923"/>
                    <a:pt x="116300" y="141161"/>
                    <a:pt x="109251" y="138779"/>
                  </a:cubicBezTo>
                  <a:cubicBezTo>
                    <a:pt x="102298" y="136398"/>
                    <a:pt x="95059" y="134207"/>
                    <a:pt x="87630" y="132112"/>
                  </a:cubicBezTo>
                  <a:cubicBezTo>
                    <a:pt x="78676" y="129445"/>
                    <a:pt x="69722" y="126492"/>
                    <a:pt x="60579" y="123444"/>
                  </a:cubicBezTo>
                  <a:cubicBezTo>
                    <a:pt x="51530" y="120301"/>
                    <a:pt x="43339" y="116396"/>
                    <a:pt x="36004" y="111633"/>
                  </a:cubicBezTo>
                  <a:cubicBezTo>
                    <a:pt x="28670" y="106871"/>
                    <a:pt x="22764" y="100870"/>
                    <a:pt x="18192" y="93726"/>
                  </a:cubicBezTo>
                  <a:cubicBezTo>
                    <a:pt x="13525" y="86582"/>
                    <a:pt x="11239" y="77629"/>
                    <a:pt x="11239" y="66961"/>
                  </a:cubicBezTo>
                  <a:lnTo>
                    <a:pt x="11239" y="66008"/>
                  </a:lnTo>
                  <a:cubicBezTo>
                    <a:pt x="11239" y="56198"/>
                    <a:pt x="13144" y="47149"/>
                    <a:pt x="17050" y="39053"/>
                  </a:cubicBezTo>
                  <a:cubicBezTo>
                    <a:pt x="20955" y="30861"/>
                    <a:pt x="26384" y="23908"/>
                    <a:pt x="33338" y="18098"/>
                  </a:cubicBezTo>
                  <a:cubicBezTo>
                    <a:pt x="40291" y="12287"/>
                    <a:pt x="48673" y="7811"/>
                    <a:pt x="58388" y="4667"/>
                  </a:cubicBezTo>
                  <a:cubicBezTo>
                    <a:pt x="68008" y="1524"/>
                    <a:pt x="78581" y="0"/>
                    <a:pt x="89821" y="0"/>
                  </a:cubicBezTo>
                  <a:cubicBezTo>
                    <a:pt x="104108" y="0"/>
                    <a:pt x="118586" y="2286"/>
                    <a:pt x="133159" y="6953"/>
                  </a:cubicBezTo>
                  <a:cubicBezTo>
                    <a:pt x="147732" y="11621"/>
                    <a:pt x="160972" y="17717"/>
                    <a:pt x="172878" y="25527"/>
                  </a:cubicBezTo>
                  <a:lnTo>
                    <a:pt x="157257" y="51435"/>
                  </a:lnTo>
                  <a:cubicBezTo>
                    <a:pt x="146494" y="44577"/>
                    <a:pt x="135255" y="39148"/>
                    <a:pt x="123539" y="35147"/>
                  </a:cubicBezTo>
                  <a:cubicBezTo>
                    <a:pt x="111823" y="31147"/>
                    <a:pt x="100203" y="29146"/>
                    <a:pt x="88963" y="29146"/>
                  </a:cubicBezTo>
                  <a:cubicBezTo>
                    <a:pt x="75247" y="29146"/>
                    <a:pt x="64389" y="32385"/>
                    <a:pt x="56388" y="38767"/>
                  </a:cubicBezTo>
                  <a:cubicBezTo>
                    <a:pt x="48291" y="45149"/>
                    <a:pt x="44291" y="53150"/>
                    <a:pt x="44291" y="62675"/>
                  </a:cubicBezTo>
                  <a:lnTo>
                    <a:pt x="44291" y="63627"/>
                  </a:lnTo>
                  <a:cubicBezTo>
                    <a:pt x="44291" y="68961"/>
                    <a:pt x="45910" y="73628"/>
                    <a:pt x="49244" y="77724"/>
                  </a:cubicBezTo>
                  <a:cubicBezTo>
                    <a:pt x="52482" y="81725"/>
                    <a:pt x="56864" y="85249"/>
                    <a:pt x="62389" y="88202"/>
                  </a:cubicBezTo>
                  <a:cubicBezTo>
                    <a:pt x="67913" y="91154"/>
                    <a:pt x="74200" y="93821"/>
                    <a:pt x="81343" y="96203"/>
                  </a:cubicBezTo>
                  <a:cubicBezTo>
                    <a:pt x="88487" y="98584"/>
                    <a:pt x="95916" y="100965"/>
                    <a:pt x="103631" y="103346"/>
                  </a:cubicBezTo>
                  <a:cubicBezTo>
                    <a:pt x="112585" y="106013"/>
                    <a:pt x="121444" y="108966"/>
                    <a:pt x="130207" y="112300"/>
                  </a:cubicBezTo>
                  <a:cubicBezTo>
                    <a:pt x="138969" y="115538"/>
                    <a:pt x="146971" y="119729"/>
                    <a:pt x="154114" y="124778"/>
                  </a:cubicBezTo>
                  <a:cubicBezTo>
                    <a:pt x="161258" y="129826"/>
                    <a:pt x="166973" y="135922"/>
                    <a:pt x="171259" y="143066"/>
                  </a:cubicBezTo>
                  <a:cubicBezTo>
                    <a:pt x="175546" y="150209"/>
                    <a:pt x="177736" y="158972"/>
                    <a:pt x="177736" y="169450"/>
                  </a:cubicBezTo>
                  <a:lnTo>
                    <a:pt x="177736" y="170307"/>
                  </a:lnTo>
                  <a:cubicBezTo>
                    <a:pt x="177736" y="181356"/>
                    <a:pt x="175546" y="191071"/>
                    <a:pt x="171259" y="199549"/>
                  </a:cubicBezTo>
                  <a:cubicBezTo>
                    <a:pt x="166973" y="208026"/>
                    <a:pt x="161163" y="215265"/>
                    <a:pt x="153828" y="221171"/>
                  </a:cubicBezTo>
                  <a:cubicBezTo>
                    <a:pt x="146589" y="227171"/>
                    <a:pt x="137922" y="231648"/>
                    <a:pt x="127921" y="234791"/>
                  </a:cubicBezTo>
                  <a:cubicBezTo>
                    <a:pt x="117919" y="237935"/>
                    <a:pt x="107156" y="239459"/>
                    <a:pt x="95535" y="239459"/>
                  </a:cubicBezTo>
                  <a:close/>
                </a:path>
              </a:pathLst>
            </a:custGeom>
            <a:solidFill>
              <a:srgbClr val="44505E"/>
            </a:solidFill>
            <a:ln w="9525" cap="flat">
              <a:noFill/>
              <a:prstDash val="solid"/>
              <a:miter/>
            </a:ln>
          </p:spPr>
          <p:txBody>
            <a:bodyPr rtlCol="0" anchor="ctr"/>
            <a:lstStyle/>
            <a:p>
              <a:endParaRPr lang="pt-BR" noProof="0"/>
            </a:p>
          </p:txBody>
        </p:sp>
        <p:sp>
          <p:nvSpPr>
            <p:cNvPr id="55" name="Freeform: Shape 54">
              <a:extLst>
                <a:ext uri="{FF2B5EF4-FFF2-40B4-BE49-F238E27FC236}">
                  <a16:creationId xmlns:a16="http://schemas.microsoft.com/office/drawing/2014/main" id="{0AF598C4-52A2-D2D9-8D62-0A69622961D2}"/>
                </a:ext>
              </a:extLst>
            </p:cNvPr>
            <p:cNvSpPr/>
            <p:nvPr/>
          </p:nvSpPr>
          <p:spPr>
            <a:xfrm>
              <a:off x="5250320" y="846952"/>
              <a:ext cx="1459036" cy="16186"/>
            </a:xfrm>
            <a:custGeom>
              <a:avLst/>
              <a:gdLst>
                <a:gd name="connsiteX0" fmla="*/ 0 w 5804058"/>
                <a:gd name="connsiteY0" fmla="*/ 0 h 64388"/>
                <a:gd name="connsiteX1" fmla="*/ 5804059 w 5804058"/>
                <a:gd name="connsiteY1" fmla="*/ 0 h 64388"/>
                <a:gd name="connsiteX2" fmla="*/ 5804059 w 5804058"/>
                <a:gd name="connsiteY2" fmla="*/ 64389 h 64388"/>
                <a:gd name="connsiteX3" fmla="*/ 0 w 5804058"/>
                <a:gd name="connsiteY3" fmla="*/ 64389 h 64388"/>
              </a:gdLst>
              <a:ahLst/>
              <a:cxnLst>
                <a:cxn ang="0">
                  <a:pos x="connsiteX0" y="connsiteY0"/>
                </a:cxn>
                <a:cxn ang="0">
                  <a:pos x="connsiteX1" y="connsiteY1"/>
                </a:cxn>
                <a:cxn ang="0">
                  <a:pos x="connsiteX2" y="connsiteY2"/>
                </a:cxn>
                <a:cxn ang="0">
                  <a:pos x="connsiteX3" y="connsiteY3"/>
                </a:cxn>
              </a:cxnLst>
              <a:rect l="l" t="t" r="r" b="b"/>
              <a:pathLst>
                <a:path w="5804058" h="64388">
                  <a:moveTo>
                    <a:pt x="0" y="0"/>
                  </a:moveTo>
                  <a:lnTo>
                    <a:pt x="5804059" y="0"/>
                  </a:lnTo>
                  <a:lnTo>
                    <a:pt x="5804059" y="64389"/>
                  </a:lnTo>
                  <a:lnTo>
                    <a:pt x="0" y="64389"/>
                  </a:lnTo>
                  <a:close/>
                </a:path>
              </a:pathLst>
            </a:custGeom>
            <a:solidFill>
              <a:srgbClr val="44505E"/>
            </a:solidFill>
            <a:ln w="9525" cap="flat">
              <a:noFill/>
              <a:prstDash val="solid"/>
              <a:miter/>
            </a:ln>
          </p:spPr>
          <p:txBody>
            <a:bodyPr rtlCol="0" anchor="ctr"/>
            <a:lstStyle/>
            <a:p>
              <a:endParaRPr lang="pt-BR" noProof="0"/>
            </a:p>
          </p:txBody>
        </p:sp>
        <p:sp>
          <p:nvSpPr>
            <p:cNvPr id="56" name="Freeform: Shape 55">
              <a:extLst>
                <a:ext uri="{FF2B5EF4-FFF2-40B4-BE49-F238E27FC236}">
                  <a16:creationId xmlns:a16="http://schemas.microsoft.com/office/drawing/2014/main" id="{A476678E-D4C4-945B-1AD9-EB7C5004B440}"/>
                </a:ext>
              </a:extLst>
            </p:cNvPr>
            <p:cNvSpPr/>
            <p:nvPr/>
          </p:nvSpPr>
          <p:spPr>
            <a:xfrm>
              <a:off x="6902633" y="268821"/>
              <a:ext cx="273418" cy="601046"/>
            </a:xfrm>
            <a:custGeom>
              <a:avLst/>
              <a:gdLst>
                <a:gd name="connsiteX0" fmla="*/ 0 w 1087659"/>
                <a:gd name="connsiteY0" fmla="*/ 210979 h 2390965"/>
                <a:gd name="connsiteX1" fmla="*/ 125063 w 1087659"/>
                <a:gd name="connsiteY1" fmla="*/ 103442 h 2390965"/>
                <a:gd name="connsiteX2" fmla="*/ 250031 w 1087659"/>
                <a:gd name="connsiteY2" fmla="*/ 210979 h 2390965"/>
                <a:gd name="connsiteX3" fmla="*/ 250031 w 1087659"/>
                <a:gd name="connsiteY3" fmla="*/ 1922717 h 2390965"/>
                <a:gd name="connsiteX4" fmla="*/ 249841 w 1087659"/>
                <a:gd name="connsiteY4" fmla="*/ 1922717 h 2390965"/>
                <a:gd name="connsiteX5" fmla="*/ 249841 w 1087659"/>
                <a:gd name="connsiteY5" fmla="*/ 1925955 h 2390965"/>
                <a:gd name="connsiteX6" fmla="*/ 333756 w 1087659"/>
                <a:gd name="connsiteY6" fmla="*/ 2100263 h 2390965"/>
                <a:gd name="connsiteX7" fmla="*/ 335566 w 1087659"/>
                <a:gd name="connsiteY7" fmla="*/ 2101787 h 2390965"/>
                <a:gd name="connsiteX8" fmla="*/ 336042 w 1087659"/>
                <a:gd name="connsiteY8" fmla="*/ 2102168 h 2390965"/>
                <a:gd name="connsiteX9" fmla="*/ 543877 w 1087659"/>
                <a:gd name="connsiteY9" fmla="*/ 2175891 h 2390965"/>
                <a:gd name="connsiteX10" fmla="*/ 749998 w 1087659"/>
                <a:gd name="connsiteY10" fmla="*/ 2103692 h 2390965"/>
                <a:gd name="connsiteX11" fmla="*/ 751713 w 1087659"/>
                <a:gd name="connsiteY11" fmla="*/ 2102168 h 2390965"/>
                <a:gd name="connsiteX12" fmla="*/ 752189 w 1087659"/>
                <a:gd name="connsiteY12" fmla="*/ 2101787 h 2390965"/>
                <a:gd name="connsiteX13" fmla="*/ 837819 w 1087659"/>
                <a:gd name="connsiteY13" fmla="*/ 1922812 h 2390965"/>
                <a:gd name="connsiteX14" fmla="*/ 837819 w 1087659"/>
                <a:gd name="connsiteY14" fmla="*/ 107537 h 2390965"/>
                <a:gd name="connsiteX15" fmla="*/ 962787 w 1087659"/>
                <a:gd name="connsiteY15" fmla="*/ 0 h 2390965"/>
                <a:gd name="connsiteX16" fmla="*/ 1087660 w 1087659"/>
                <a:gd name="connsiteY16" fmla="*/ 107537 h 2390965"/>
                <a:gd name="connsiteX17" fmla="*/ 1087660 w 1087659"/>
                <a:gd name="connsiteY17" fmla="*/ 1922621 h 2390965"/>
                <a:gd name="connsiteX18" fmla="*/ 928307 w 1087659"/>
                <a:gd name="connsiteY18" fmla="*/ 2253234 h 2390965"/>
                <a:gd name="connsiteX19" fmla="*/ 928116 w 1087659"/>
                <a:gd name="connsiteY19" fmla="*/ 2253424 h 2390965"/>
                <a:gd name="connsiteX20" fmla="*/ 927830 w 1087659"/>
                <a:gd name="connsiteY20" fmla="*/ 2253710 h 2390965"/>
                <a:gd name="connsiteX21" fmla="*/ 927354 w 1087659"/>
                <a:gd name="connsiteY21" fmla="*/ 2254187 h 2390965"/>
                <a:gd name="connsiteX22" fmla="*/ 543783 w 1087659"/>
                <a:gd name="connsiteY22" fmla="*/ 2390966 h 2390965"/>
                <a:gd name="connsiteX23" fmla="*/ 159734 w 1087659"/>
                <a:gd name="connsiteY23" fmla="*/ 2253710 h 2390965"/>
                <a:gd name="connsiteX24" fmla="*/ 159734 w 1087659"/>
                <a:gd name="connsiteY24" fmla="*/ 2253424 h 2390965"/>
                <a:gd name="connsiteX25" fmla="*/ 159353 w 1087659"/>
                <a:gd name="connsiteY25" fmla="*/ 2253234 h 2390965"/>
                <a:gd name="connsiteX26" fmla="*/ 158877 w 1087659"/>
                <a:gd name="connsiteY26" fmla="*/ 2252948 h 2390965"/>
                <a:gd name="connsiteX27" fmla="*/ 0 w 1087659"/>
                <a:gd name="connsiteY27" fmla="*/ 1922621 h 2390965"/>
                <a:gd name="connsiteX28" fmla="*/ 0 w 1087659"/>
                <a:gd name="connsiteY28" fmla="*/ 1922621 h 2390965"/>
                <a:gd name="connsiteX29" fmla="*/ 0 w 1087659"/>
                <a:gd name="connsiteY29" fmla="*/ 210979 h 239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87659" h="2390965">
                  <a:moveTo>
                    <a:pt x="0" y="210979"/>
                  </a:moveTo>
                  <a:cubicBezTo>
                    <a:pt x="0" y="151638"/>
                    <a:pt x="56007" y="103442"/>
                    <a:pt x="125063" y="103442"/>
                  </a:cubicBezTo>
                  <a:cubicBezTo>
                    <a:pt x="194120" y="103442"/>
                    <a:pt x="250031" y="151638"/>
                    <a:pt x="250031" y="210979"/>
                  </a:cubicBezTo>
                  <a:lnTo>
                    <a:pt x="250031" y="1922717"/>
                  </a:lnTo>
                  <a:lnTo>
                    <a:pt x="249841" y="1922717"/>
                  </a:lnTo>
                  <a:lnTo>
                    <a:pt x="249841" y="1925955"/>
                  </a:lnTo>
                  <a:cubicBezTo>
                    <a:pt x="250793" y="1994059"/>
                    <a:pt x="282797" y="2055495"/>
                    <a:pt x="333756" y="2100263"/>
                  </a:cubicBezTo>
                  <a:lnTo>
                    <a:pt x="335566" y="2101787"/>
                  </a:lnTo>
                  <a:lnTo>
                    <a:pt x="336042" y="2102168"/>
                  </a:lnTo>
                  <a:cubicBezTo>
                    <a:pt x="388906" y="2147697"/>
                    <a:pt x="462343" y="2175891"/>
                    <a:pt x="543877" y="2175891"/>
                  </a:cubicBezTo>
                  <a:cubicBezTo>
                    <a:pt x="625411" y="2175891"/>
                    <a:pt x="697420" y="2148364"/>
                    <a:pt x="749998" y="2103692"/>
                  </a:cubicBezTo>
                  <a:lnTo>
                    <a:pt x="751713" y="2102168"/>
                  </a:lnTo>
                  <a:lnTo>
                    <a:pt x="752189" y="2101787"/>
                  </a:lnTo>
                  <a:cubicBezTo>
                    <a:pt x="805053" y="2056352"/>
                    <a:pt x="837819" y="1993011"/>
                    <a:pt x="837819" y="1922812"/>
                  </a:cubicBezTo>
                  <a:lnTo>
                    <a:pt x="837819" y="107537"/>
                  </a:lnTo>
                  <a:cubicBezTo>
                    <a:pt x="837819" y="48196"/>
                    <a:pt x="893731" y="0"/>
                    <a:pt x="962787" y="0"/>
                  </a:cubicBezTo>
                  <a:cubicBezTo>
                    <a:pt x="1031843" y="0"/>
                    <a:pt x="1087660" y="48196"/>
                    <a:pt x="1087660" y="107537"/>
                  </a:cubicBezTo>
                  <a:lnTo>
                    <a:pt x="1087660" y="1922621"/>
                  </a:lnTo>
                  <a:cubicBezTo>
                    <a:pt x="1087660" y="2051399"/>
                    <a:pt x="1026795" y="2168366"/>
                    <a:pt x="928307" y="2253234"/>
                  </a:cubicBezTo>
                  <a:lnTo>
                    <a:pt x="928116" y="2253424"/>
                  </a:lnTo>
                  <a:lnTo>
                    <a:pt x="927830" y="2253710"/>
                  </a:lnTo>
                  <a:lnTo>
                    <a:pt x="927354" y="2254187"/>
                  </a:lnTo>
                  <a:cubicBezTo>
                    <a:pt x="828770" y="2338673"/>
                    <a:pt x="693134" y="2390966"/>
                    <a:pt x="543783" y="2390966"/>
                  </a:cubicBezTo>
                  <a:cubicBezTo>
                    <a:pt x="394430" y="2390966"/>
                    <a:pt x="258413" y="2338483"/>
                    <a:pt x="159734" y="2253710"/>
                  </a:cubicBezTo>
                  <a:lnTo>
                    <a:pt x="159734" y="2253424"/>
                  </a:lnTo>
                  <a:cubicBezTo>
                    <a:pt x="159734" y="2253424"/>
                    <a:pt x="159353" y="2253234"/>
                    <a:pt x="159353" y="2253234"/>
                  </a:cubicBezTo>
                  <a:lnTo>
                    <a:pt x="158877" y="2252948"/>
                  </a:lnTo>
                  <a:cubicBezTo>
                    <a:pt x="60770" y="2167985"/>
                    <a:pt x="0" y="2051304"/>
                    <a:pt x="0" y="1922621"/>
                  </a:cubicBezTo>
                  <a:lnTo>
                    <a:pt x="0" y="1922621"/>
                  </a:lnTo>
                  <a:lnTo>
                    <a:pt x="0" y="210979"/>
                  </a:lnTo>
                  <a:close/>
                </a:path>
              </a:pathLst>
            </a:custGeom>
            <a:solidFill>
              <a:srgbClr val="8FC640"/>
            </a:solidFill>
            <a:ln w="9525" cap="flat">
              <a:noFill/>
              <a:prstDash val="solid"/>
              <a:miter/>
            </a:ln>
          </p:spPr>
          <p:txBody>
            <a:bodyPr rtlCol="0" anchor="ctr"/>
            <a:lstStyle/>
            <a:p>
              <a:endParaRPr lang="pt-BR" noProof="0"/>
            </a:p>
          </p:txBody>
        </p:sp>
        <p:sp>
          <p:nvSpPr>
            <p:cNvPr id="57" name="Freeform: Shape 56">
              <a:extLst>
                <a:ext uri="{FF2B5EF4-FFF2-40B4-BE49-F238E27FC236}">
                  <a16:creationId xmlns:a16="http://schemas.microsoft.com/office/drawing/2014/main" id="{1676F03F-6FC3-FAC8-42AA-E1FB26C7D9C4}"/>
                </a:ext>
              </a:extLst>
            </p:cNvPr>
            <p:cNvSpPr/>
            <p:nvPr/>
          </p:nvSpPr>
          <p:spPr>
            <a:xfrm>
              <a:off x="7013590" y="213965"/>
              <a:ext cx="54018" cy="562280"/>
            </a:xfrm>
            <a:custGeom>
              <a:avLst/>
              <a:gdLst>
                <a:gd name="connsiteX0" fmla="*/ 0 w 214883"/>
                <a:gd name="connsiteY0" fmla="*/ 107537 h 2236755"/>
                <a:gd name="connsiteX1" fmla="*/ 107537 w 214883"/>
                <a:gd name="connsiteY1" fmla="*/ 0 h 2236755"/>
                <a:gd name="connsiteX2" fmla="*/ 214884 w 214883"/>
                <a:gd name="connsiteY2" fmla="*/ 107537 h 2236755"/>
                <a:gd name="connsiteX3" fmla="*/ 214884 w 214883"/>
                <a:gd name="connsiteY3" fmla="*/ 2129219 h 2236755"/>
                <a:gd name="connsiteX4" fmla="*/ 107537 w 214883"/>
                <a:gd name="connsiteY4" fmla="*/ 2236756 h 2236755"/>
                <a:gd name="connsiteX5" fmla="*/ 0 w 214883"/>
                <a:gd name="connsiteY5" fmla="*/ 2129219 h 2236755"/>
                <a:gd name="connsiteX6" fmla="*/ 0 w 214883"/>
                <a:gd name="connsiteY6" fmla="*/ 107537 h 223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 h="2236755">
                  <a:moveTo>
                    <a:pt x="0" y="107537"/>
                  </a:moveTo>
                  <a:cubicBezTo>
                    <a:pt x="0" y="48197"/>
                    <a:pt x="48101" y="0"/>
                    <a:pt x="107537" y="0"/>
                  </a:cubicBezTo>
                  <a:cubicBezTo>
                    <a:pt x="166973" y="0"/>
                    <a:pt x="214884" y="48197"/>
                    <a:pt x="214884" y="107537"/>
                  </a:cubicBezTo>
                  <a:lnTo>
                    <a:pt x="214884" y="2129219"/>
                  </a:lnTo>
                  <a:cubicBezTo>
                    <a:pt x="214884" y="2188559"/>
                    <a:pt x="166782" y="2236756"/>
                    <a:pt x="107537" y="2236756"/>
                  </a:cubicBezTo>
                  <a:cubicBezTo>
                    <a:pt x="48291" y="2236756"/>
                    <a:pt x="0" y="2188559"/>
                    <a:pt x="0" y="2129219"/>
                  </a:cubicBezTo>
                  <a:lnTo>
                    <a:pt x="0" y="107537"/>
                  </a:lnTo>
                  <a:close/>
                </a:path>
              </a:pathLst>
            </a:custGeom>
            <a:solidFill>
              <a:srgbClr val="3698B0"/>
            </a:solidFill>
            <a:ln w="9525" cap="flat">
              <a:noFill/>
              <a:prstDash val="solid"/>
              <a:miter/>
            </a:ln>
          </p:spPr>
          <p:txBody>
            <a:bodyPr rtlCol="0" anchor="ctr"/>
            <a:lstStyle/>
            <a:p>
              <a:endParaRPr lang="pt-BR" noProof="0"/>
            </a:p>
          </p:txBody>
        </p:sp>
        <p:sp>
          <p:nvSpPr>
            <p:cNvPr id="58" name="Freeform: Shape 57">
              <a:extLst>
                <a:ext uri="{FF2B5EF4-FFF2-40B4-BE49-F238E27FC236}">
                  <a16:creationId xmlns:a16="http://schemas.microsoft.com/office/drawing/2014/main" id="{DE19AC22-FE68-5F19-03B8-5EF99DD35C0C}"/>
                </a:ext>
              </a:extLst>
            </p:cNvPr>
            <p:cNvSpPr/>
            <p:nvPr/>
          </p:nvSpPr>
          <p:spPr>
            <a:xfrm>
              <a:off x="6795770" y="332991"/>
              <a:ext cx="485994" cy="649437"/>
            </a:xfrm>
            <a:custGeom>
              <a:avLst/>
              <a:gdLst>
                <a:gd name="connsiteX0" fmla="*/ 1933290 w 1933289"/>
                <a:gd name="connsiteY0" fmla="*/ 138017 h 2583465"/>
                <a:gd name="connsiteX1" fmla="*/ 1933290 w 1933289"/>
                <a:gd name="connsiteY1" fmla="*/ 1734122 h 2583465"/>
                <a:gd name="connsiteX2" fmla="*/ 1796606 w 1933289"/>
                <a:gd name="connsiteY2" fmla="*/ 2229136 h 2583465"/>
                <a:gd name="connsiteX3" fmla="*/ 977742 w 1933289"/>
                <a:gd name="connsiteY3" fmla="*/ 2583466 h 2583465"/>
                <a:gd name="connsiteX4" fmla="*/ 955357 w 1933289"/>
                <a:gd name="connsiteY4" fmla="*/ 2583466 h 2583465"/>
                <a:gd name="connsiteX5" fmla="*/ 136589 w 1933289"/>
                <a:gd name="connsiteY5" fmla="*/ 2229136 h 2583465"/>
                <a:gd name="connsiteX6" fmla="*/ 0 w 1933289"/>
                <a:gd name="connsiteY6" fmla="*/ 1734122 h 2583465"/>
                <a:gd name="connsiteX7" fmla="*/ 0 w 1933289"/>
                <a:gd name="connsiteY7" fmla="*/ 794194 h 2583465"/>
                <a:gd name="connsiteX8" fmla="*/ 137827 w 1933289"/>
                <a:gd name="connsiteY8" fmla="*/ 656273 h 2583465"/>
                <a:gd name="connsiteX9" fmla="*/ 275463 w 1933289"/>
                <a:gd name="connsiteY9" fmla="*/ 794194 h 2583465"/>
                <a:gd name="connsiteX10" fmla="*/ 275463 w 1933289"/>
                <a:gd name="connsiteY10" fmla="*/ 1734122 h 2583465"/>
                <a:gd name="connsiteX11" fmla="*/ 354235 w 1933289"/>
                <a:gd name="connsiteY11" fmla="*/ 2059686 h 2583465"/>
                <a:gd name="connsiteX12" fmla="*/ 958215 w 1933289"/>
                <a:gd name="connsiteY12" fmla="*/ 2307527 h 2583465"/>
                <a:gd name="connsiteX13" fmla="*/ 974789 w 1933289"/>
                <a:gd name="connsiteY13" fmla="*/ 2307527 h 2583465"/>
                <a:gd name="connsiteX14" fmla="*/ 1578959 w 1933289"/>
                <a:gd name="connsiteY14" fmla="*/ 2059686 h 2583465"/>
                <a:gd name="connsiteX15" fmla="*/ 1657636 w 1933289"/>
                <a:gd name="connsiteY15" fmla="*/ 1734122 h 2583465"/>
                <a:gd name="connsiteX16" fmla="*/ 1657636 w 1933289"/>
                <a:gd name="connsiteY16" fmla="*/ 138017 h 2583465"/>
                <a:gd name="connsiteX17" fmla="*/ 1795463 w 1933289"/>
                <a:gd name="connsiteY17" fmla="*/ 0 h 2583465"/>
                <a:gd name="connsiteX18" fmla="*/ 1933290 w 1933289"/>
                <a:gd name="connsiteY18" fmla="*/ 138017 h 25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3289" h="2583465">
                  <a:moveTo>
                    <a:pt x="1933290" y="138017"/>
                  </a:moveTo>
                  <a:lnTo>
                    <a:pt x="1933290" y="1734122"/>
                  </a:lnTo>
                  <a:cubicBezTo>
                    <a:pt x="1933290" y="1870996"/>
                    <a:pt x="1919002" y="2071211"/>
                    <a:pt x="1796606" y="2229136"/>
                  </a:cubicBezTo>
                  <a:cubicBezTo>
                    <a:pt x="1634395" y="2438305"/>
                    <a:pt x="1432084" y="2578703"/>
                    <a:pt x="977742" y="2583466"/>
                  </a:cubicBezTo>
                  <a:lnTo>
                    <a:pt x="955357" y="2583466"/>
                  </a:lnTo>
                  <a:cubicBezTo>
                    <a:pt x="501015" y="2578703"/>
                    <a:pt x="298704" y="2438400"/>
                    <a:pt x="136589" y="2229136"/>
                  </a:cubicBezTo>
                  <a:cubicBezTo>
                    <a:pt x="14192" y="2071211"/>
                    <a:pt x="0" y="1870996"/>
                    <a:pt x="0" y="1734122"/>
                  </a:cubicBezTo>
                  <a:lnTo>
                    <a:pt x="0" y="794194"/>
                  </a:lnTo>
                  <a:cubicBezTo>
                    <a:pt x="0" y="718185"/>
                    <a:pt x="61436" y="656273"/>
                    <a:pt x="137827" y="656273"/>
                  </a:cubicBezTo>
                  <a:cubicBezTo>
                    <a:pt x="214217" y="656273"/>
                    <a:pt x="275463" y="718185"/>
                    <a:pt x="275463" y="794194"/>
                  </a:cubicBezTo>
                  <a:lnTo>
                    <a:pt x="275463" y="1734122"/>
                  </a:lnTo>
                  <a:cubicBezTo>
                    <a:pt x="275463" y="1887188"/>
                    <a:pt x="300324" y="1990630"/>
                    <a:pt x="354235" y="2059686"/>
                  </a:cubicBezTo>
                  <a:cubicBezTo>
                    <a:pt x="476250" y="2217611"/>
                    <a:pt x="609791" y="2304479"/>
                    <a:pt x="958215" y="2307527"/>
                  </a:cubicBezTo>
                  <a:lnTo>
                    <a:pt x="974789" y="2307527"/>
                  </a:lnTo>
                  <a:cubicBezTo>
                    <a:pt x="1323499" y="2304479"/>
                    <a:pt x="1456563" y="2217611"/>
                    <a:pt x="1578959" y="2059686"/>
                  </a:cubicBezTo>
                  <a:cubicBezTo>
                    <a:pt x="1632490" y="1990630"/>
                    <a:pt x="1657636" y="1887093"/>
                    <a:pt x="1657636" y="1734122"/>
                  </a:cubicBezTo>
                  <a:lnTo>
                    <a:pt x="1657636" y="138017"/>
                  </a:lnTo>
                  <a:cubicBezTo>
                    <a:pt x="1657636" y="61531"/>
                    <a:pt x="1719453" y="0"/>
                    <a:pt x="1795463" y="0"/>
                  </a:cubicBezTo>
                  <a:cubicBezTo>
                    <a:pt x="1871472" y="0"/>
                    <a:pt x="1933290" y="61531"/>
                    <a:pt x="1933290" y="138017"/>
                  </a:cubicBezTo>
                </a:path>
              </a:pathLst>
            </a:custGeom>
            <a:solidFill>
              <a:srgbClr val="49306E"/>
            </a:solidFill>
            <a:ln w="9525" cap="flat">
              <a:noFill/>
              <a:prstDash val="solid"/>
              <a:miter/>
            </a:ln>
          </p:spPr>
          <p:txBody>
            <a:bodyPr rtlCol="0" anchor="ctr"/>
            <a:lstStyle/>
            <a:p>
              <a:endParaRPr lang="pt-BR" noProof="0"/>
            </a:p>
          </p:txBody>
        </p:sp>
      </p:grpSp>
      <p:sp>
        <p:nvSpPr>
          <p:cNvPr id="5" name="Rectangle 3">
            <a:extLst>
              <a:ext uri="{FF2B5EF4-FFF2-40B4-BE49-F238E27FC236}">
                <a16:creationId xmlns:a16="http://schemas.microsoft.com/office/drawing/2014/main" id="{D09BC5E5-9058-D846-0F95-065C3CFF9DE6}"/>
              </a:ext>
            </a:extLst>
          </p:cNvPr>
          <p:cNvSpPr>
            <a:spLocks noChangeArrowheads="1"/>
          </p:cNvSpPr>
          <p:nvPr/>
        </p:nvSpPr>
        <p:spPr bwMode="auto">
          <a:xfrm>
            <a:off x="428153" y="692497"/>
            <a:ext cx="264816" cy="2862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p:txBody>
      </p:sp>
      <p:sp>
        <p:nvSpPr>
          <p:cNvPr id="8" name="CaixaDeTexto 7">
            <a:extLst>
              <a:ext uri="{FF2B5EF4-FFF2-40B4-BE49-F238E27FC236}">
                <a16:creationId xmlns:a16="http://schemas.microsoft.com/office/drawing/2014/main" id="{FC8901B0-6348-DB40-2C67-4CFE0A908284}"/>
              </a:ext>
            </a:extLst>
          </p:cNvPr>
          <p:cNvSpPr txBox="1"/>
          <p:nvPr/>
        </p:nvSpPr>
        <p:spPr>
          <a:xfrm>
            <a:off x="5569576" y="1546035"/>
            <a:ext cx="1741715" cy="461665"/>
          </a:xfrm>
          <a:prstGeom prst="rect">
            <a:avLst/>
          </a:prstGeom>
          <a:noFill/>
        </p:spPr>
        <p:txBody>
          <a:bodyPr wrap="square" rtlCol="0">
            <a:spAutoFit/>
          </a:bodyPr>
          <a:lstStyle/>
          <a:p>
            <a:r>
              <a:rPr lang="pt-BR" sz="2400" b="1" noProof="0">
                <a:solidFill>
                  <a:schemeClr val="bg1"/>
                </a:solidFill>
              </a:rPr>
              <a:t>Envelope </a:t>
            </a:r>
            <a:r>
              <a:rPr lang="pt-BR" sz="2400" b="1">
                <a:solidFill>
                  <a:schemeClr val="bg1"/>
                </a:solidFill>
              </a:rPr>
              <a:t>1</a:t>
            </a:r>
            <a:endParaRPr lang="pt-BR" sz="2400" b="1" noProof="0">
              <a:solidFill>
                <a:schemeClr val="bg1"/>
              </a:solidFill>
            </a:endParaRPr>
          </a:p>
        </p:txBody>
      </p:sp>
    </p:spTree>
    <p:extLst>
      <p:ext uri="{BB962C8B-B14F-4D97-AF65-F5344CB8AC3E}">
        <p14:creationId xmlns:p14="http://schemas.microsoft.com/office/powerpoint/2010/main" val="468076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675AB3-7DBC-D757-59F7-204C78BF2732}"/>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F21D9-5D03-CD1A-A864-19CF2D86BC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8" progId="TCLayout.ActiveDocument.1">
                  <p:embed/>
                </p:oleObj>
              </mc:Choice>
              <mc:Fallback>
                <p:oleObj name="think-cell Slide" r:id="rId4" imgW="306" imgH="308" progId="TCLayout.ActiveDocument.1">
                  <p:embed/>
                  <p:pic>
                    <p:nvPicPr>
                      <p:cNvPr id="12" name="think-cell data - do not delete" hidden="1">
                        <a:extLst>
                          <a:ext uri="{FF2B5EF4-FFF2-40B4-BE49-F238E27FC236}">
                            <a16:creationId xmlns:a16="http://schemas.microsoft.com/office/drawing/2014/main" id="{992F21D9-5D03-CD1A-A864-19CF2D86BC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3" name="Group 12">
            <a:extLst>
              <a:ext uri="{FF2B5EF4-FFF2-40B4-BE49-F238E27FC236}">
                <a16:creationId xmlns:a16="http://schemas.microsoft.com/office/drawing/2014/main" id="{FE3EF56E-1AB6-D0A8-C7A8-0FA0A5484432}"/>
              </a:ext>
            </a:extLst>
          </p:cNvPr>
          <p:cNvGrpSpPr/>
          <p:nvPr/>
        </p:nvGrpSpPr>
        <p:grpSpPr>
          <a:xfrm>
            <a:off x="304800" y="249455"/>
            <a:ext cx="1193800" cy="462985"/>
            <a:chOff x="5245100" y="211355"/>
            <a:chExt cx="2036664" cy="789869"/>
          </a:xfrm>
        </p:grpSpPr>
        <p:sp>
          <p:nvSpPr>
            <p:cNvPr id="14" name="Freeform: Shape 13">
              <a:extLst>
                <a:ext uri="{FF2B5EF4-FFF2-40B4-BE49-F238E27FC236}">
                  <a16:creationId xmlns:a16="http://schemas.microsoft.com/office/drawing/2014/main" id="{996F5311-0687-66F1-D24F-E59613BED781}"/>
                </a:ext>
              </a:extLst>
            </p:cNvPr>
            <p:cNvSpPr/>
            <p:nvPr/>
          </p:nvSpPr>
          <p:spPr>
            <a:xfrm>
              <a:off x="5245100" y="308520"/>
              <a:ext cx="247894" cy="322815"/>
            </a:xfrm>
            <a:custGeom>
              <a:avLst/>
              <a:gdLst>
                <a:gd name="connsiteX0" fmla="*/ 529590 w 986123"/>
                <a:gd name="connsiteY0" fmla="*/ 1284160 h 1284160"/>
                <a:gd name="connsiteX1" fmla="*/ 249650 w 986123"/>
                <a:gd name="connsiteY1" fmla="*/ 1235107 h 1284160"/>
                <a:gd name="connsiteX2" fmla="*/ 0 w 986123"/>
                <a:gd name="connsiteY2" fmla="*/ 1084421 h 1284160"/>
                <a:gd name="connsiteX3" fmla="*/ 162306 w 986123"/>
                <a:gd name="connsiteY3" fmla="*/ 890016 h 1284160"/>
                <a:gd name="connsiteX4" fmla="*/ 337947 w 986123"/>
                <a:gd name="connsiteY4" fmla="*/ 1000601 h 1284160"/>
                <a:gd name="connsiteX5" fmla="*/ 535019 w 986123"/>
                <a:gd name="connsiteY5" fmla="*/ 1041654 h 1284160"/>
                <a:gd name="connsiteX6" fmla="*/ 667893 w 986123"/>
                <a:gd name="connsiteY6" fmla="*/ 1010412 h 1284160"/>
                <a:gd name="connsiteX7" fmla="*/ 715137 w 986123"/>
                <a:gd name="connsiteY7" fmla="*/ 923925 h 1284160"/>
                <a:gd name="connsiteX8" fmla="*/ 715137 w 986123"/>
                <a:gd name="connsiteY8" fmla="*/ 920305 h 1284160"/>
                <a:gd name="connsiteX9" fmla="*/ 705326 w 986123"/>
                <a:gd name="connsiteY9" fmla="*/ 873062 h 1284160"/>
                <a:gd name="connsiteX10" fmla="*/ 667798 w 986123"/>
                <a:gd name="connsiteY10" fmla="*/ 834676 h 1284160"/>
                <a:gd name="connsiteX11" fmla="*/ 590931 w 986123"/>
                <a:gd name="connsiteY11" fmla="*/ 798957 h 1284160"/>
                <a:gd name="connsiteX12" fmla="*/ 463106 w 986123"/>
                <a:gd name="connsiteY12" fmla="*/ 761524 h 1284160"/>
                <a:gd name="connsiteX13" fmla="*/ 291465 w 986123"/>
                <a:gd name="connsiteY13" fmla="*/ 709803 h 1284160"/>
                <a:gd name="connsiteX14" fmla="*/ 160973 w 986123"/>
                <a:gd name="connsiteY14" fmla="*/ 639318 h 1284160"/>
                <a:gd name="connsiteX15" fmla="*/ 77819 w 986123"/>
                <a:gd name="connsiteY15" fmla="*/ 535019 h 1284160"/>
                <a:gd name="connsiteX16" fmla="*/ 48292 w 986123"/>
                <a:gd name="connsiteY16" fmla="*/ 379857 h 1284160"/>
                <a:gd name="connsiteX17" fmla="*/ 48292 w 986123"/>
                <a:gd name="connsiteY17" fmla="*/ 376238 h 1284160"/>
                <a:gd name="connsiteX18" fmla="*/ 80201 w 986123"/>
                <a:gd name="connsiteY18" fmla="*/ 222028 h 1284160"/>
                <a:gd name="connsiteX19" fmla="*/ 169640 w 986123"/>
                <a:gd name="connsiteY19" fmla="*/ 103441 h 1284160"/>
                <a:gd name="connsiteX20" fmla="*/ 307181 w 986123"/>
                <a:gd name="connsiteY20" fmla="*/ 26765 h 1284160"/>
                <a:gd name="connsiteX21" fmla="*/ 483394 w 986123"/>
                <a:gd name="connsiteY21" fmla="*/ 0 h 1284160"/>
                <a:gd name="connsiteX22" fmla="*/ 735711 w 986123"/>
                <a:gd name="connsiteY22" fmla="*/ 41053 h 1284160"/>
                <a:gd name="connsiteX23" fmla="*/ 946976 w 986123"/>
                <a:gd name="connsiteY23" fmla="*/ 158687 h 1284160"/>
                <a:gd name="connsiteX24" fmla="*/ 804291 w 986123"/>
                <a:gd name="connsiteY24" fmla="*/ 365569 h 1284160"/>
                <a:gd name="connsiteX25" fmla="*/ 640271 w 986123"/>
                <a:gd name="connsiteY25" fmla="*/ 275558 h 1284160"/>
                <a:gd name="connsiteX26" fmla="*/ 479774 w 986123"/>
                <a:gd name="connsiteY26" fmla="*/ 242602 h 1284160"/>
                <a:gd name="connsiteX27" fmla="*/ 359378 w 986123"/>
                <a:gd name="connsiteY27" fmla="*/ 273844 h 1284160"/>
                <a:gd name="connsiteX28" fmla="*/ 319278 w 986123"/>
                <a:gd name="connsiteY28" fmla="*/ 351377 h 1284160"/>
                <a:gd name="connsiteX29" fmla="*/ 319278 w 986123"/>
                <a:gd name="connsiteY29" fmla="*/ 354997 h 1284160"/>
                <a:gd name="connsiteX30" fmla="*/ 330899 w 986123"/>
                <a:gd name="connsiteY30" fmla="*/ 407575 h 1284160"/>
                <a:gd name="connsiteX31" fmla="*/ 372904 w 986123"/>
                <a:gd name="connsiteY31" fmla="*/ 447675 h 1284160"/>
                <a:gd name="connsiteX32" fmla="*/ 456057 w 986123"/>
                <a:gd name="connsiteY32" fmla="*/ 481489 h 1284160"/>
                <a:gd name="connsiteX33" fmla="*/ 589217 w 986123"/>
                <a:gd name="connsiteY33" fmla="*/ 518922 h 1284160"/>
                <a:gd name="connsiteX34" fmla="*/ 758190 w 986123"/>
                <a:gd name="connsiteY34" fmla="*/ 575120 h 1284160"/>
                <a:gd name="connsiteX35" fmla="*/ 883349 w 986123"/>
                <a:gd name="connsiteY35" fmla="*/ 649986 h 1284160"/>
                <a:gd name="connsiteX36" fmla="*/ 960215 w 986123"/>
                <a:gd name="connsiteY36" fmla="*/ 752570 h 1284160"/>
                <a:gd name="connsiteX37" fmla="*/ 986123 w 986123"/>
                <a:gd name="connsiteY37" fmla="*/ 893445 h 1284160"/>
                <a:gd name="connsiteX38" fmla="*/ 986123 w 986123"/>
                <a:gd name="connsiteY38" fmla="*/ 897064 h 1284160"/>
                <a:gd name="connsiteX39" fmla="*/ 952500 w 986123"/>
                <a:gd name="connsiteY39" fmla="*/ 1062038 h 1284160"/>
                <a:gd name="connsiteX40" fmla="*/ 858584 w 986123"/>
                <a:gd name="connsiteY40" fmla="*/ 1183291 h 1284160"/>
                <a:gd name="connsiteX41" fmla="*/ 714851 w 986123"/>
                <a:gd name="connsiteY41" fmla="*/ 1258157 h 1284160"/>
                <a:gd name="connsiteX42" fmla="*/ 529685 w 986123"/>
                <a:gd name="connsiteY42" fmla="*/ 1284065 h 128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6123" h="1284160">
                  <a:moveTo>
                    <a:pt x="529590" y="1284160"/>
                  </a:moveTo>
                  <a:cubicBezTo>
                    <a:pt x="434435" y="1284160"/>
                    <a:pt x="341186" y="1267777"/>
                    <a:pt x="249650" y="1235107"/>
                  </a:cubicBezTo>
                  <a:cubicBezTo>
                    <a:pt x="158115" y="1202436"/>
                    <a:pt x="74867" y="1152239"/>
                    <a:pt x="0" y="1084421"/>
                  </a:cubicBezTo>
                  <a:lnTo>
                    <a:pt x="162306" y="890016"/>
                  </a:lnTo>
                  <a:cubicBezTo>
                    <a:pt x="219361" y="936403"/>
                    <a:pt x="277844" y="973264"/>
                    <a:pt x="337947" y="1000601"/>
                  </a:cubicBezTo>
                  <a:cubicBezTo>
                    <a:pt x="397955" y="1027938"/>
                    <a:pt x="463677" y="1041654"/>
                    <a:pt x="535019" y="1041654"/>
                  </a:cubicBezTo>
                  <a:cubicBezTo>
                    <a:pt x="592074" y="1041654"/>
                    <a:pt x="636365" y="1031272"/>
                    <a:pt x="667893" y="1010412"/>
                  </a:cubicBezTo>
                  <a:cubicBezTo>
                    <a:pt x="699421" y="989647"/>
                    <a:pt x="715137" y="960787"/>
                    <a:pt x="715137" y="923925"/>
                  </a:cubicBezTo>
                  <a:lnTo>
                    <a:pt x="715137" y="920305"/>
                  </a:lnTo>
                  <a:cubicBezTo>
                    <a:pt x="715137" y="902494"/>
                    <a:pt x="711803" y="886777"/>
                    <a:pt x="705326" y="873062"/>
                  </a:cubicBezTo>
                  <a:cubicBezTo>
                    <a:pt x="698754" y="859441"/>
                    <a:pt x="686276" y="846582"/>
                    <a:pt x="667798" y="834676"/>
                  </a:cubicBezTo>
                  <a:cubicBezTo>
                    <a:pt x="649319" y="822770"/>
                    <a:pt x="623697" y="810863"/>
                    <a:pt x="590931" y="798957"/>
                  </a:cubicBezTo>
                  <a:cubicBezTo>
                    <a:pt x="558165" y="787146"/>
                    <a:pt x="515493" y="774573"/>
                    <a:pt x="463106" y="761524"/>
                  </a:cubicBezTo>
                  <a:cubicBezTo>
                    <a:pt x="399955" y="746093"/>
                    <a:pt x="342710" y="728853"/>
                    <a:pt x="291465" y="709803"/>
                  </a:cubicBezTo>
                  <a:cubicBezTo>
                    <a:pt x="240221" y="690753"/>
                    <a:pt x="196691" y="667322"/>
                    <a:pt x="160973" y="639318"/>
                  </a:cubicBezTo>
                  <a:cubicBezTo>
                    <a:pt x="125159" y="611410"/>
                    <a:pt x="97536" y="576644"/>
                    <a:pt x="77819" y="535019"/>
                  </a:cubicBezTo>
                  <a:cubicBezTo>
                    <a:pt x="58103" y="493395"/>
                    <a:pt x="48292" y="441674"/>
                    <a:pt x="48292" y="379857"/>
                  </a:cubicBezTo>
                  <a:lnTo>
                    <a:pt x="48292" y="376238"/>
                  </a:lnTo>
                  <a:cubicBezTo>
                    <a:pt x="48292" y="319183"/>
                    <a:pt x="58865" y="267748"/>
                    <a:pt x="80201" y="222028"/>
                  </a:cubicBezTo>
                  <a:cubicBezTo>
                    <a:pt x="101441" y="176308"/>
                    <a:pt x="131255" y="136779"/>
                    <a:pt x="169640" y="103441"/>
                  </a:cubicBezTo>
                  <a:cubicBezTo>
                    <a:pt x="208026" y="70199"/>
                    <a:pt x="253841" y="44577"/>
                    <a:pt x="307181" y="26765"/>
                  </a:cubicBezTo>
                  <a:cubicBezTo>
                    <a:pt x="360426" y="8953"/>
                    <a:pt x="419195" y="0"/>
                    <a:pt x="483394" y="0"/>
                  </a:cubicBezTo>
                  <a:cubicBezTo>
                    <a:pt x="574929" y="0"/>
                    <a:pt x="659035" y="13716"/>
                    <a:pt x="735711" y="41053"/>
                  </a:cubicBezTo>
                  <a:cubicBezTo>
                    <a:pt x="812387" y="68389"/>
                    <a:pt x="882777" y="107632"/>
                    <a:pt x="946976" y="158687"/>
                  </a:cubicBezTo>
                  <a:lnTo>
                    <a:pt x="804291" y="365569"/>
                  </a:lnTo>
                  <a:cubicBezTo>
                    <a:pt x="748379" y="327565"/>
                    <a:pt x="693706" y="297561"/>
                    <a:pt x="640271" y="275558"/>
                  </a:cubicBezTo>
                  <a:cubicBezTo>
                    <a:pt x="586740" y="253555"/>
                    <a:pt x="533305" y="242602"/>
                    <a:pt x="479774" y="242602"/>
                  </a:cubicBezTo>
                  <a:cubicBezTo>
                    <a:pt x="426244" y="242602"/>
                    <a:pt x="386144" y="252984"/>
                    <a:pt x="359378" y="273844"/>
                  </a:cubicBezTo>
                  <a:cubicBezTo>
                    <a:pt x="332613" y="294608"/>
                    <a:pt x="319278" y="320516"/>
                    <a:pt x="319278" y="351377"/>
                  </a:cubicBezTo>
                  <a:lnTo>
                    <a:pt x="319278" y="354997"/>
                  </a:lnTo>
                  <a:cubicBezTo>
                    <a:pt x="319278" y="375190"/>
                    <a:pt x="323183" y="392716"/>
                    <a:pt x="330899" y="407575"/>
                  </a:cubicBezTo>
                  <a:cubicBezTo>
                    <a:pt x="338614" y="422434"/>
                    <a:pt x="352616" y="435864"/>
                    <a:pt x="372904" y="447675"/>
                  </a:cubicBezTo>
                  <a:cubicBezTo>
                    <a:pt x="393192" y="459581"/>
                    <a:pt x="420910" y="470821"/>
                    <a:pt x="456057" y="481489"/>
                  </a:cubicBezTo>
                  <a:cubicBezTo>
                    <a:pt x="491204" y="492157"/>
                    <a:pt x="535591" y="504730"/>
                    <a:pt x="589217" y="518922"/>
                  </a:cubicBezTo>
                  <a:cubicBezTo>
                    <a:pt x="652367" y="535591"/>
                    <a:pt x="708660" y="554260"/>
                    <a:pt x="758190" y="575120"/>
                  </a:cubicBezTo>
                  <a:cubicBezTo>
                    <a:pt x="807625" y="595979"/>
                    <a:pt x="849344" y="620935"/>
                    <a:pt x="883349" y="649986"/>
                  </a:cubicBezTo>
                  <a:cubicBezTo>
                    <a:pt x="917353" y="679132"/>
                    <a:pt x="942975" y="713327"/>
                    <a:pt x="960215" y="752570"/>
                  </a:cubicBezTo>
                  <a:cubicBezTo>
                    <a:pt x="977456" y="791813"/>
                    <a:pt x="986123" y="838772"/>
                    <a:pt x="986123" y="893445"/>
                  </a:cubicBezTo>
                  <a:lnTo>
                    <a:pt x="986123" y="897064"/>
                  </a:lnTo>
                  <a:cubicBezTo>
                    <a:pt x="986123" y="958882"/>
                    <a:pt x="974884" y="1013841"/>
                    <a:pt x="952500" y="1062038"/>
                  </a:cubicBezTo>
                  <a:cubicBezTo>
                    <a:pt x="930021" y="1110139"/>
                    <a:pt x="898779" y="1150620"/>
                    <a:pt x="858584" y="1183291"/>
                  </a:cubicBezTo>
                  <a:cubicBezTo>
                    <a:pt x="818388" y="1216057"/>
                    <a:pt x="770477" y="1241012"/>
                    <a:pt x="714851" y="1258157"/>
                  </a:cubicBezTo>
                  <a:cubicBezTo>
                    <a:pt x="659130" y="1275398"/>
                    <a:pt x="597503" y="1284065"/>
                    <a:pt x="529685" y="1284065"/>
                  </a:cubicBezTo>
                  <a:close/>
                </a:path>
              </a:pathLst>
            </a:custGeom>
            <a:solidFill>
              <a:srgbClr val="44505E"/>
            </a:solidFill>
            <a:ln w="9525" cap="flat">
              <a:noFill/>
              <a:prstDash val="solid"/>
              <a:miter/>
            </a:ln>
          </p:spPr>
          <p:txBody>
            <a:bodyPr rtlCol="0" anchor="ctr"/>
            <a:lstStyle/>
            <a:p>
              <a:endParaRPr lang="pt-BR" noProof="0"/>
            </a:p>
          </p:txBody>
        </p:sp>
        <p:sp>
          <p:nvSpPr>
            <p:cNvPr id="17" name="Freeform: Shape 16">
              <a:extLst>
                <a:ext uri="{FF2B5EF4-FFF2-40B4-BE49-F238E27FC236}">
                  <a16:creationId xmlns:a16="http://schemas.microsoft.com/office/drawing/2014/main" id="{B4B5D7D3-65E6-8477-6CA3-73125FDB2142}"/>
                </a:ext>
              </a:extLst>
            </p:cNvPr>
            <p:cNvSpPr/>
            <p:nvPr/>
          </p:nvSpPr>
          <p:spPr>
            <a:xfrm>
              <a:off x="5492084" y="310867"/>
              <a:ext cx="332584" cy="315991"/>
            </a:xfrm>
            <a:custGeom>
              <a:avLst/>
              <a:gdLst>
                <a:gd name="connsiteX0" fmla="*/ 534924 w 1323022"/>
                <a:gd name="connsiteY0" fmla="*/ 0 h 1257014"/>
                <a:gd name="connsiteX1" fmla="*/ 788099 w 1323022"/>
                <a:gd name="connsiteY1" fmla="*/ 0 h 1257014"/>
                <a:gd name="connsiteX2" fmla="*/ 1323023 w 1323022"/>
                <a:gd name="connsiteY2" fmla="*/ 1257014 h 1257014"/>
                <a:gd name="connsiteX3" fmla="*/ 1035939 w 1323022"/>
                <a:gd name="connsiteY3" fmla="*/ 1257014 h 1257014"/>
                <a:gd name="connsiteX4" fmla="*/ 921829 w 1323022"/>
                <a:gd name="connsiteY4" fmla="*/ 977075 h 1257014"/>
                <a:gd name="connsiteX5" fmla="*/ 394049 w 1323022"/>
                <a:gd name="connsiteY5" fmla="*/ 977075 h 1257014"/>
                <a:gd name="connsiteX6" fmla="*/ 279940 w 1323022"/>
                <a:gd name="connsiteY6" fmla="*/ 1257014 h 1257014"/>
                <a:gd name="connsiteX7" fmla="*/ 0 w 1323022"/>
                <a:gd name="connsiteY7" fmla="*/ 1257014 h 1257014"/>
                <a:gd name="connsiteX8" fmla="*/ 534924 w 1323022"/>
                <a:gd name="connsiteY8" fmla="*/ 0 h 1257014"/>
                <a:gd name="connsiteX9" fmla="*/ 823817 w 1323022"/>
                <a:gd name="connsiteY9" fmla="*/ 734568 h 1257014"/>
                <a:gd name="connsiteX10" fmla="*/ 657987 w 1323022"/>
                <a:gd name="connsiteY10" fmla="*/ 329851 h 1257014"/>
                <a:gd name="connsiteX11" fmla="*/ 492157 w 1323022"/>
                <a:gd name="connsiteY11" fmla="*/ 734568 h 1257014"/>
                <a:gd name="connsiteX12" fmla="*/ 823817 w 1323022"/>
                <a:gd name="connsiteY12" fmla="*/ 734568 h 125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022" h="1257014">
                  <a:moveTo>
                    <a:pt x="534924" y="0"/>
                  </a:moveTo>
                  <a:lnTo>
                    <a:pt x="788099" y="0"/>
                  </a:lnTo>
                  <a:lnTo>
                    <a:pt x="1323023" y="1257014"/>
                  </a:lnTo>
                  <a:lnTo>
                    <a:pt x="1035939" y="1257014"/>
                  </a:lnTo>
                  <a:lnTo>
                    <a:pt x="921829" y="977075"/>
                  </a:lnTo>
                  <a:lnTo>
                    <a:pt x="394049" y="977075"/>
                  </a:lnTo>
                  <a:lnTo>
                    <a:pt x="279940" y="1257014"/>
                  </a:lnTo>
                  <a:lnTo>
                    <a:pt x="0" y="1257014"/>
                  </a:lnTo>
                  <a:lnTo>
                    <a:pt x="534924" y="0"/>
                  </a:lnTo>
                  <a:close/>
                  <a:moveTo>
                    <a:pt x="823817" y="734568"/>
                  </a:moveTo>
                  <a:lnTo>
                    <a:pt x="657987" y="329851"/>
                  </a:lnTo>
                  <a:lnTo>
                    <a:pt x="492157" y="734568"/>
                  </a:lnTo>
                  <a:lnTo>
                    <a:pt x="823817" y="734568"/>
                  </a:lnTo>
                  <a:close/>
                </a:path>
              </a:pathLst>
            </a:custGeom>
            <a:solidFill>
              <a:srgbClr val="44505E"/>
            </a:solidFill>
            <a:ln w="9525" cap="flat">
              <a:noFill/>
              <a:prstDash val="solid"/>
              <a:miter/>
            </a:ln>
          </p:spPr>
          <p:txBody>
            <a:bodyPr rtlCol="0" anchor="ctr"/>
            <a:lstStyle/>
            <a:p>
              <a:endParaRPr lang="pt-BR" noProof="0"/>
            </a:p>
          </p:txBody>
        </p:sp>
        <p:sp>
          <p:nvSpPr>
            <p:cNvPr id="18" name="Freeform: Shape 17">
              <a:extLst>
                <a:ext uri="{FF2B5EF4-FFF2-40B4-BE49-F238E27FC236}">
                  <a16:creationId xmlns:a16="http://schemas.microsoft.com/office/drawing/2014/main" id="{36C56214-A878-E712-E818-C8A91B92D3A5}"/>
                </a:ext>
              </a:extLst>
            </p:cNvPr>
            <p:cNvSpPr/>
            <p:nvPr/>
          </p:nvSpPr>
          <p:spPr>
            <a:xfrm>
              <a:off x="5834078" y="211355"/>
              <a:ext cx="273442" cy="420435"/>
            </a:xfrm>
            <a:custGeom>
              <a:avLst/>
              <a:gdLst>
                <a:gd name="connsiteX0" fmla="*/ 540258 w 1087754"/>
                <a:gd name="connsiteY0" fmla="*/ 1672495 h 1672494"/>
                <a:gd name="connsiteX1" fmla="*/ 144399 w 1087754"/>
                <a:gd name="connsiteY1" fmla="*/ 1533430 h 1672494"/>
                <a:gd name="connsiteX2" fmla="*/ 0 w 1087754"/>
                <a:gd name="connsiteY2" fmla="*/ 1117949 h 1672494"/>
                <a:gd name="connsiteX3" fmla="*/ 0 w 1087754"/>
                <a:gd name="connsiteY3" fmla="*/ 404717 h 1672494"/>
                <a:gd name="connsiteX4" fmla="*/ 274606 w 1087754"/>
                <a:gd name="connsiteY4" fmla="*/ 404717 h 1672494"/>
                <a:gd name="connsiteX5" fmla="*/ 274606 w 1087754"/>
                <a:gd name="connsiteY5" fmla="*/ 1110806 h 1672494"/>
                <a:gd name="connsiteX6" fmla="*/ 345948 w 1087754"/>
                <a:gd name="connsiteY6" fmla="*/ 1341692 h 1672494"/>
                <a:gd name="connsiteX7" fmla="*/ 543877 w 1087754"/>
                <a:gd name="connsiteY7" fmla="*/ 1419225 h 1672494"/>
                <a:gd name="connsiteX8" fmla="*/ 741807 w 1087754"/>
                <a:gd name="connsiteY8" fmla="*/ 1344359 h 1672494"/>
                <a:gd name="connsiteX9" fmla="*/ 813149 w 1087754"/>
                <a:gd name="connsiteY9" fmla="*/ 1119664 h 1672494"/>
                <a:gd name="connsiteX10" fmla="*/ 813149 w 1087754"/>
                <a:gd name="connsiteY10" fmla="*/ 404717 h 1672494"/>
                <a:gd name="connsiteX11" fmla="*/ 1087755 w 1087754"/>
                <a:gd name="connsiteY11" fmla="*/ 404717 h 1672494"/>
                <a:gd name="connsiteX12" fmla="*/ 1087755 w 1087754"/>
                <a:gd name="connsiteY12" fmla="*/ 1108996 h 1672494"/>
                <a:gd name="connsiteX13" fmla="*/ 1049369 w 1087754"/>
                <a:gd name="connsiteY13" fmla="*/ 1356836 h 1672494"/>
                <a:gd name="connsiteX14" fmla="*/ 939737 w 1087754"/>
                <a:gd name="connsiteY14" fmla="*/ 1532477 h 1672494"/>
                <a:gd name="connsiteX15" fmla="*/ 766763 w 1087754"/>
                <a:gd name="connsiteY15" fmla="*/ 1637729 h 1672494"/>
                <a:gd name="connsiteX16" fmla="*/ 540353 w 1087754"/>
                <a:gd name="connsiteY16" fmla="*/ 1672495 h 1672494"/>
                <a:gd name="connsiteX17" fmla="*/ 622268 w 1087754"/>
                <a:gd name="connsiteY17" fmla="*/ 0 h 1672494"/>
                <a:gd name="connsiteX18" fmla="*/ 855821 w 1087754"/>
                <a:gd name="connsiteY18" fmla="*/ 101632 h 1672494"/>
                <a:gd name="connsiteX19" fmla="*/ 627602 w 1087754"/>
                <a:gd name="connsiteY19" fmla="*/ 315563 h 1672494"/>
                <a:gd name="connsiteX20" fmla="*/ 420719 w 1087754"/>
                <a:gd name="connsiteY20" fmla="*/ 315563 h 1672494"/>
                <a:gd name="connsiteX21" fmla="*/ 622268 w 1087754"/>
                <a:gd name="connsiteY21" fmla="*/ 0 h 16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754" h="1672494">
                  <a:moveTo>
                    <a:pt x="540258" y="1672495"/>
                  </a:moveTo>
                  <a:cubicBezTo>
                    <a:pt x="372618" y="1672495"/>
                    <a:pt x="240697" y="1626108"/>
                    <a:pt x="144399" y="1533430"/>
                  </a:cubicBezTo>
                  <a:cubicBezTo>
                    <a:pt x="48101" y="1440752"/>
                    <a:pt x="0" y="1302258"/>
                    <a:pt x="0" y="1117949"/>
                  </a:cubicBezTo>
                  <a:lnTo>
                    <a:pt x="0" y="404717"/>
                  </a:lnTo>
                  <a:lnTo>
                    <a:pt x="274606" y="404717"/>
                  </a:lnTo>
                  <a:lnTo>
                    <a:pt x="274606" y="1110806"/>
                  </a:lnTo>
                  <a:cubicBezTo>
                    <a:pt x="274606" y="1213009"/>
                    <a:pt x="298418" y="1289971"/>
                    <a:pt x="345948" y="1341692"/>
                  </a:cubicBezTo>
                  <a:cubicBezTo>
                    <a:pt x="393478" y="1393412"/>
                    <a:pt x="459486" y="1419225"/>
                    <a:pt x="543877" y="1419225"/>
                  </a:cubicBezTo>
                  <a:cubicBezTo>
                    <a:pt x="628269" y="1419225"/>
                    <a:pt x="694277" y="1394270"/>
                    <a:pt x="741807" y="1344359"/>
                  </a:cubicBezTo>
                  <a:cubicBezTo>
                    <a:pt x="789337" y="1294448"/>
                    <a:pt x="813149" y="1219581"/>
                    <a:pt x="813149" y="1119664"/>
                  </a:cubicBezTo>
                  <a:lnTo>
                    <a:pt x="813149" y="404717"/>
                  </a:lnTo>
                  <a:lnTo>
                    <a:pt x="1087755" y="404717"/>
                  </a:lnTo>
                  <a:lnTo>
                    <a:pt x="1087755" y="1108996"/>
                  </a:lnTo>
                  <a:cubicBezTo>
                    <a:pt x="1087755" y="1204151"/>
                    <a:pt x="1074992" y="1286732"/>
                    <a:pt x="1049369" y="1356836"/>
                  </a:cubicBezTo>
                  <a:cubicBezTo>
                    <a:pt x="1023747" y="1426940"/>
                    <a:pt x="987266" y="1485519"/>
                    <a:pt x="939737" y="1532477"/>
                  </a:cubicBezTo>
                  <a:cubicBezTo>
                    <a:pt x="892207" y="1579436"/>
                    <a:pt x="834485" y="1614488"/>
                    <a:pt x="766763" y="1637729"/>
                  </a:cubicBezTo>
                  <a:cubicBezTo>
                    <a:pt x="699040" y="1660874"/>
                    <a:pt x="623507" y="1672495"/>
                    <a:pt x="540353" y="1672495"/>
                  </a:cubicBezTo>
                  <a:close/>
                  <a:moveTo>
                    <a:pt x="622268" y="0"/>
                  </a:moveTo>
                  <a:lnTo>
                    <a:pt x="855821" y="101632"/>
                  </a:lnTo>
                  <a:lnTo>
                    <a:pt x="627602" y="315563"/>
                  </a:lnTo>
                  <a:lnTo>
                    <a:pt x="420719" y="315563"/>
                  </a:lnTo>
                  <a:lnTo>
                    <a:pt x="622268" y="0"/>
                  </a:lnTo>
                  <a:close/>
                </a:path>
              </a:pathLst>
            </a:custGeom>
            <a:solidFill>
              <a:srgbClr val="44505E"/>
            </a:solidFill>
            <a:ln w="9525" cap="flat">
              <a:noFill/>
              <a:prstDash val="solid"/>
              <a:miter/>
            </a:ln>
          </p:spPr>
          <p:txBody>
            <a:bodyPr rtlCol="0" anchor="ctr"/>
            <a:lstStyle/>
            <a:p>
              <a:endParaRPr lang="pt-BR" noProof="0"/>
            </a:p>
          </p:txBody>
        </p:sp>
        <p:sp>
          <p:nvSpPr>
            <p:cNvPr id="19" name="Freeform: Shape 18">
              <a:extLst>
                <a:ext uri="{FF2B5EF4-FFF2-40B4-BE49-F238E27FC236}">
                  <a16:creationId xmlns:a16="http://schemas.microsoft.com/office/drawing/2014/main" id="{C99AA14A-ACD6-176F-B1B4-5E0F8180D2D6}"/>
                </a:ext>
              </a:extLst>
            </p:cNvPr>
            <p:cNvSpPr/>
            <p:nvPr/>
          </p:nvSpPr>
          <p:spPr>
            <a:xfrm>
              <a:off x="6143795" y="313094"/>
              <a:ext cx="289101" cy="313764"/>
            </a:xfrm>
            <a:custGeom>
              <a:avLst/>
              <a:gdLst>
                <a:gd name="connsiteX0" fmla="*/ 0 w 1150048"/>
                <a:gd name="connsiteY0" fmla="*/ 0 h 1248155"/>
                <a:gd name="connsiteX1" fmla="*/ 486728 w 1150048"/>
                <a:gd name="connsiteY1" fmla="*/ 0 h 1248155"/>
                <a:gd name="connsiteX2" fmla="*/ 755047 w 1150048"/>
                <a:gd name="connsiteY2" fmla="*/ 47244 h 1248155"/>
                <a:gd name="connsiteX3" fmla="*/ 965454 w 1150048"/>
                <a:gd name="connsiteY3" fmla="*/ 178308 h 1248155"/>
                <a:gd name="connsiteX4" fmla="*/ 1101852 w 1150048"/>
                <a:gd name="connsiteY4" fmla="*/ 375380 h 1248155"/>
                <a:gd name="connsiteX5" fmla="*/ 1150049 w 1150048"/>
                <a:gd name="connsiteY5" fmla="*/ 620554 h 1248155"/>
                <a:gd name="connsiteX6" fmla="*/ 1150049 w 1150048"/>
                <a:gd name="connsiteY6" fmla="*/ 624173 h 1248155"/>
                <a:gd name="connsiteX7" fmla="*/ 1101852 w 1150048"/>
                <a:gd name="connsiteY7" fmla="*/ 870204 h 1248155"/>
                <a:gd name="connsiteX8" fmla="*/ 965454 w 1150048"/>
                <a:gd name="connsiteY8" fmla="*/ 1068134 h 1248155"/>
                <a:gd name="connsiteX9" fmla="*/ 755047 w 1150048"/>
                <a:gd name="connsiteY9" fmla="*/ 1200055 h 1248155"/>
                <a:gd name="connsiteX10" fmla="*/ 486728 w 1150048"/>
                <a:gd name="connsiteY10" fmla="*/ 1248156 h 1248155"/>
                <a:gd name="connsiteX11" fmla="*/ 0 w 1150048"/>
                <a:gd name="connsiteY11" fmla="*/ 1248156 h 1248155"/>
                <a:gd name="connsiteX12" fmla="*/ 0 w 1150048"/>
                <a:gd name="connsiteY12" fmla="*/ 0 h 1248155"/>
                <a:gd name="connsiteX13" fmla="*/ 486728 w 1150048"/>
                <a:gd name="connsiteY13" fmla="*/ 1000315 h 1248155"/>
                <a:gd name="connsiteX14" fmla="*/ 640080 w 1150048"/>
                <a:gd name="connsiteY14" fmla="*/ 973550 h 1248155"/>
                <a:gd name="connsiteX15" fmla="*/ 758667 w 1150048"/>
                <a:gd name="connsiteY15" fmla="*/ 896874 h 1248155"/>
                <a:gd name="connsiteX16" fmla="*/ 835343 w 1150048"/>
                <a:gd name="connsiteY16" fmla="*/ 779240 h 1248155"/>
                <a:gd name="connsiteX17" fmla="*/ 862965 w 1150048"/>
                <a:gd name="connsiteY17" fmla="*/ 627698 h 1248155"/>
                <a:gd name="connsiteX18" fmla="*/ 862965 w 1150048"/>
                <a:gd name="connsiteY18" fmla="*/ 624078 h 1248155"/>
                <a:gd name="connsiteX19" fmla="*/ 835343 w 1150048"/>
                <a:gd name="connsiteY19" fmla="*/ 472535 h 1248155"/>
                <a:gd name="connsiteX20" fmla="*/ 758667 w 1150048"/>
                <a:gd name="connsiteY20" fmla="*/ 353092 h 1248155"/>
                <a:gd name="connsiteX21" fmla="*/ 640080 w 1150048"/>
                <a:gd name="connsiteY21" fmla="*/ 275558 h 1248155"/>
                <a:gd name="connsiteX22" fmla="*/ 486728 w 1150048"/>
                <a:gd name="connsiteY22" fmla="*/ 247936 h 1248155"/>
                <a:gd name="connsiteX23" fmla="*/ 274511 w 1150048"/>
                <a:gd name="connsiteY23" fmla="*/ 247936 h 1248155"/>
                <a:gd name="connsiteX24" fmla="*/ 274511 w 1150048"/>
                <a:gd name="connsiteY24" fmla="*/ 1000411 h 1248155"/>
                <a:gd name="connsiteX25" fmla="*/ 486728 w 1150048"/>
                <a:gd name="connsiteY25" fmla="*/ 1000411 h 124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50048" h="1248155">
                  <a:moveTo>
                    <a:pt x="0" y="0"/>
                  </a:moveTo>
                  <a:lnTo>
                    <a:pt x="486728" y="0"/>
                  </a:lnTo>
                  <a:cubicBezTo>
                    <a:pt x="584168" y="0"/>
                    <a:pt x="673608" y="15811"/>
                    <a:pt x="755047" y="47244"/>
                  </a:cubicBezTo>
                  <a:cubicBezTo>
                    <a:pt x="836486" y="78772"/>
                    <a:pt x="906590" y="122396"/>
                    <a:pt x="965454" y="178308"/>
                  </a:cubicBezTo>
                  <a:cubicBezTo>
                    <a:pt x="1024319" y="234220"/>
                    <a:pt x="1069753" y="299847"/>
                    <a:pt x="1101852" y="375380"/>
                  </a:cubicBezTo>
                  <a:cubicBezTo>
                    <a:pt x="1133951" y="450914"/>
                    <a:pt x="1150049" y="532543"/>
                    <a:pt x="1150049" y="620554"/>
                  </a:cubicBezTo>
                  <a:lnTo>
                    <a:pt x="1150049" y="624173"/>
                  </a:lnTo>
                  <a:cubicBezTo>
                    <a:pt x="1150049" y="712184"/>
                    <a:pt x="1133951" y="794195"/>
                    <a:pt x="1101852" y="870204"/>
                  </a:cubicBezTo>
                  <a:cubicBezTo>
                    <a:pt x="1069753" y="946309"/>
                    <a:pt x="1024319" y="1012222"/>
                    <a:pt x="965454" y="1068134"/>
                  </a:cubicBezTo>
                  <a:cubicBezTo>
                    <a:pt x="906590" y="1124045"/>
                    <a:pt x="836486" y="1167956"/>
                    <a:pt x="755047" y="1200055"/>
                  </a:cubicBezTo>
                  <a:cubicBezTo>
                    <a:pt x="673608" y="1232154"/>
                    <a:pt x="584168" y="1248156"/>
                    <a:pt x="486728" y="1248156"/>
                  </a:cubicBezTo>
                  <a:lnTo>
                    <a:pt x="0" y="1248156"/>
                  </a:lnTo>
                  <a:lnTo>
                    <a:pt x="0" y="0"/>
                  </a:lnTo>
                  <a:close/>
                  <a:moveTo>
                    <a:pt x="486728" y="1000315"/>
                  </a:moveTo>
                  <a:cubicBezTo>
                    <a:pt x="542639" y="1000315"/>
                    <a:pt x="593693" y="991457"/>
                    <a:pt x="640080" y="973550"/>
                  </a:cubicBezTo>
                  <a:cubicBezTo>
                    <a:pt x="686467" y="955739"/>
                    <a:pt x="725900" y="930211"/>
                    <a:pt x="758667" y="896874"/>
                  </a:cubicBezTo>
                  <a:cubicBezTo>
                    <a:pt x="791337" y="863632"/>
                    <a:pt x="816864" y="824389"/>
                    <a:pt x="835343" y="779240"/>
                  </a:cubicBezTo>
                  <a:cubicBezTo>
                    <a:pt x="853726" y="734092"/>
                    <a:pt x="862965" y="683609"/>
                    <a:pt x="862965" y="627698"/>
                  </a:cubicBezTo>
                  <a:lnTo>
                    <a:pt x="862965" y="624078"/>
                  </a:lnTo>
                  <a:cubicBezTo>
                    <a:pt x="862965" y="569404"/>
                    <a:pt x="853726" y="518827"/>
                    <a:pt x="835343" y="472535"/>
                  </a:cubicBezTo>
                  <a:cubicBezTo>
                    <a:pt x="816864" y="426149"/>
                    <a:pt x="791337" y="386334"/>
                    <a:pt x="758667" y="353092"/>
                  </a:cubicBezTo>
                  <a:cubicBezTo>
                    <a:pt x="725996" y="319849"/>
                    <a:pt x="686467" y="293941"/>
                    <a:pt x="640080" y="275558"/>
                  </a:cubicBezTo>
                  <a:cubicBezTo>
                    <a:pt x="593693" y="257175"/>
                    <a:pt x="542639" y="247936"/>
                    <a:pt x="486728" y="247936"/>
                  </a:cubicBezTo>
                  <a:lnTo>
                    <a:pt x="274511" y="247936"/>
                  </a:lnTo>
                  <a:lnTo>
                    <a:pt x="274511" y="1000411"/>
                  </a:lnTo>
                  <a:lnTo>
                    <a:pt x="486728" y="1000411"/>
                  </a:lnTo>
                  <a:close/>
                </a:path>
              </a:pathLst>
            </a:custGeom>
            <a:solidFill>
              <a:srgbClr val="44505E"/>
            </a:solidFill>
            <a:ln w="9525" cap="flat">
              <a:noFill/>
              <a:prstDash val="solid"/>
              <a:miter/>
            </a:ln>
          </p:spPr>
          <p:txBody>
            <a:bodyPr rtlCol="0" anchor="ctr"/>
            <a:lstStyle/>
            <a:p>
              <a:endParaRPr lang="pt-BR" noProof="0"/>
            </a:p>
          </p:txBody>
        </p:sp>
        <p:sp>
          <p:nvSpPr>
            <p:cNvPr id="20" name="Freeform: Shape 19">
              <a:extLst>
                <a:ext uri="{FF2B5EF4-FFF2-40B4-BE49-F238E27FC236}">
                  <a16:creationId xmlns:a16="http://schemas.microsoft.com/office/drawing/2014/main" id="{852542F7-E923-85F7-A2D1-E80EAD49FB0D}"/>
                </a:ext>
              </a:extLst>
            </p:cNvPr>
            <p:cNvSpPr/>
            <p:nvPr/>
          </p:nvSpPr>
          <p:spPr>
            <a:xfrm>
              <a:off x="6460217" y="313094"/>
              <a:ext cx="238459" cy="313788"/>
            </a:xfrm>
            <a:custGeom>
              <a:avLst/>
              <a:gdLst>
                <a:gd name="connsiteX0" fmla="*/ 95 w 948594"/>
                <a:gd name="connsiteY0" fmla="*/ 0 h 1248251"/>
                <a:gd name="connsiteX1" fmla="*/ 939737 w 948594"/>
                <a:gd name="connsiteY1" fmla="*/ 0 h 1248251"/>
                <a:gd name="connsiteX2" fmla="*/ 939737 w 948594"/>
                <a:gd name="connsiteY2" fmla="*/ 244316 h 1248251"/>
                <a:gd name="connsiteX3" fmla="*/ 271081 w 948594"/>
                <a:gd name="connsiteY3" fmla="*/ 244316 h 1248251"/>
                <a:gd name="connsiteX4" fmla="*/ 271081 w 948594"/>
                <a:gd name="connsiteY4" fmla="*/ 497491 h 1248251"/>
                <a:gd name="connsiteX5" fmla="*/ 859441 w 948594"/>
                <a:gd name="connsiteY5" fmla="*/ 497491 h 1248251"/>
                <a:gd name="connsiteX6" fmla="*/ 859441 w 948594"/>
                <a:gd name="connsiteY6" fmla="*/ 741807 h 1248251"/>
                <a:gd name="connsiteX7" fmla="*/ 271081 w 948594"/>
                <a:gd name="connsiteY7" fmla="*/ 741807 h 1248251"/>
                <a:gd name="connsiteX8" fmla="*/ 271081 w 948594"/>
                <a:gd name="connsiteY8" fmla="*/ 1003935 h 1248251"/>
                <a:gd name="connsiteX9" fmla="*/ 948595 w 948594"/>
                <a:gd name="connsiteY9" fmla="*/ 1003935 h 1248251"/>
                <a:gd name="connsiteX10" fmla="*/ 948595 w 948594"/>
                <a:gd name="connsiteY10" fmla="*/ 1248251 h 1248251"/>
                <a:gd name="connsiteX11" fmla="*/ 0 w 948594"/>
                <a:gd name="connsiteY11" fmla="*/ 1248251 h 1248251"/>
                <a:gd name="connsiteX12" fmla="*/ 0 w 948594"/>
                <a:gd name="connsiteY12" fmla="*/ 0 h 124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594" h="1248251">
                  <a:moveTo>
                    <a:pt x="95" y="0"/>
                  </a:moveTo>
                  <a:lnTo>
                    <a:pt x="939737" y="0"/>
                  </a:lnTo>
                  <a:lnTo>
                    <a:pt x="939737" y="244316"/>
                  </a:lnTo>
                  <a:lnTo>
                    <a:pt x="271081" y="244316"/>
                  </a:lnTo>
                  <a:lnTo>
                    <a:pt x="271081" y="497491"/>
                  </a:lnTo>
                  <a:lnTo>
                    <a:pt x="859441" y="497491"/>
                  </a:lnTo>
                  <a:lnTo>
                    <a:pt x="859441" y="741807"/>
                  </a:lnTo>
                  <a:lnTo>
                    <a:pt x="271081" y="741807"/>
                  </a:lnTo>
                  <a:lnTo>
                    <a:pt x="271081" y="1003935"/>
                  </a:lnTo>
                  <a:lnTo>
                    <a:pt x="948595" y="1003935"/>
                  </a:lnTo>
                  <a:lnTo>
                    <a:pt x="948595" y="1248251"/>
                  </a:lnTo>
                  <a:lnTo>
                    <a:pt x="0" y="1248251"/>
                  </a:lnTo>
                  <a:lnTo>
                    <a:pt x="0" y="0"/>
                  </a:lnTo>
                  <a:close/>
                </a:path>
              </a:pathLst>
            </a:custGeom>
            <a:solidFill>
              <a:srgbClr val="44505E"/>
            </a:solidFill>
            <a:ln w="9525" cap="flat">
              <a:noFill/>
              <a:prstDash val="solid"/>
              <a:miter/>
            </a:ln>
          </p:spPr>
          <p:txBody>
            <a:bodyPr rtlCol="0" anchor="ctr"/>
            <a:lstStyle/>
            <a:p>
              <a:endParaRPr lang="pt-BR" noProof="0"/>
            </a:p>
          </p:txBody>
        </p:sp>
        <p:sp>
          <p:nvSpPr>
            <p:cNvPr id="21" name="Freeform: Shape 20">
              <a:extLst>
                <a:ext uri="{FF2B5EF4-FFF2-40B4-BE49-F238E27FC236}">
                  <a16:creationId xmlns:a16="http://schemas.microsoft.com/office/drawing/2014/main" id="{98782FDA-6A70-B4BB-5A6E-79386BE45D48}"/>
                </a:ext>
              </a:extLst>
            </p:cNvPr>
            <p:cNvSpPr/>
            <p:nvPr/>
          </p:nvSpPr>
          <p:spPr>
            <a:xfrm>
              <a:off x="5253193" y="699983"/>
              <a:ext cx="90796" cy="97883"/>
            </a:xfrm>
            <a:custGeom>
              <a:avLst/>
              <a:gdLst>
                <a:gd name="connsiteX0" fmla="*/ 191548 w 361187"/>
                <a:gd name="connsiteY0" fmla="*/ 389382 h 389381"/>
                <a:gd name="connsiteX1" fmla="*/ 116300 w 361187"/>
                <a:gd name="connsiteY1" fmla="*/ 375285 h 389381"/>
                <a:gd name="connsiteX2" fmla="*/ 55531 w 361187"/>
                <a:gd name="connsiteY2" fmla="*/ 335756 h 389381"/>
                <a:gd name="connsiteX3" fmla="*/ 14859 w 361187"/>
                <a:gd name="connsiteY3" fmla="*/ 274606 h 389381"/>
                <a:gd name="connsiteX4" fmla="*/ 0 w 361187"/>
                <a:gd name="connsiteY4" fmla="*/ 195834 h 389381"/>
                <a:gd name="connsiteX5" fmla="*/ 0 w 361187"/>
                <a:gd name="connsiteY5" fmla="*/ 194405 h 389381"/>
                <a:gd name="connsiteX6" fmla="*/ 13430 w 361187"/>
                <a:gd name="connsiteY6" fmla="*/ 118777 h 389381"/>
                <a:gd name="connsiteX7" fmla="*/ 51245 w 361187"/>
                <a:gd name="connsiteY7" fmla="*/ 56959 h 389381"/>
                <a:gd name="connsiteX8" fmla="*/ 108871 w 361187"/>
                <a:gd name="connsiteY8" fmla="*/ 15240 h 389381"/>
                <a:gd name="connsiteX9" fmla="*/ 182404 w 361187"/>
                <a:gd name="connsiteY9" fmla="*/ 0 h 389381"/>
                <a:gd name="connsiteX10" fmla="*/ 260509 w 361187"/>
                <a:gd name="connsiteY10" fmla="*/ 16288 h 389381"/>
                <a:gd name="connsiteX11" fmla="*/ 316325 w 361187"/>
                <a:gd name="connsiteY11" fmla="*/ 60103 h 389381"/>
                <a:gd name="connsiteX12" fmla="*/ 349853 w 361187"/>
                <a:gd name="connsiteY12" fmla="*/ 124015 h 389381"/>
                <a:gd name="connsiteX13" fmla="*/ 361188 w 361187"/>
                <a:gd name="connsiteY13" fmla="*/ 200692 h 389381"/>
                <a:gd name="connsiteX14" fmla="*/ 360807 w 361187"/>
                <a:gd name="connsiteY14" fmla="*/ 212312 h 389381"/>
                <a:gd name="connsiteX15" fmla="*/ 359759 w 361187"/>
                <a:gd name="connsiteY15" fmla="*/ 224695 h 389381"/>
                <a:gd name="connsiteX16" fmla="*/ 85534 w 361187"/>
                <a:gd name="connsiteY16" fmla="*/ 224695 h 389381"/>
                <a:gd name="connsiteX17" fmla="*/ 121920 w 361187"/>
                <a:gd name="connsiteY17" fmla="*/ 294989 h 389381"/>
                <a:gd name="connsiteX18" fmla="*/ 192977 w 361187"/>
                <a:gd name="connsiteY18" fmla="*/ 319373 h 389381"/>
                <a:gd name="connsiteX19" fmla="*/ 248126 w 361187"/>
                <a:gd name="connsiteY19" fmla="*/ 308038 h 389381"/>
                <a:gd name="connsiteX20" fmla="*/ 294037 w 361187"/>
                <a:gd name="connsiteY20" fmla="*/ 274796 h 389381"/>
                <a:gd name="connsiteX21" fmla="*/ 344234 w 361187"/>
                <a:gd name="connsiteY21" fmla="*/ 319278 h 389381"/>
                <a:gd name="connsiteX22" fmla="*/ 280226 w 361187"/>
                <a:gd name="connsiteY22" fmla="*/ 370141 h 389381"/>
                <a:gd name="connsiteX23" fmla="*/ 191548 w 361187"/>
                <a:gd name="connsiteY23" fmla="*/ 389191 h 389381"/>
                <a:gd name="connsiteX24" fmla="*/ 276320 w 361187"/>
                <a:gd name="connsiteY24" fmla="*/ 168211 h 389381"/>
                <a:gd name="connsiteX25" fmla="*/ 267176 w 361187"/>
                <a:gd name="connsiteY25" fmla="*/ 129730 h 389381"/>
                <a:gd name="connsiteX26" fmla="*/ 248126 w 361187"/>
                <a:gd name="connsiteY26" fmla="*/ 98679 h 389381"/>
                <a:gd name="connsiteX27" fmla="*/ 219551 w 361187"/>
                <a:gd name="connsiteY27" fmla="*/ 77819 h 389381"/>
                <a:gd name="connsiteX28" fmla="*/ 181737 w 361187"/>
                <a:gd name="connsiteY28" fmla="*/ 70009 h 389381"/>
                <a:gd name="connsiteX29" fmla="*/ 116396 w 361187"/>
                <a:gd name="connsiteY29" fmla="*/ 97250 h 389381"/>
                <a:gd name="connsiteX30" fmla="*/ 84963 w 361187"/>
                <a:gd name="connsiteY30" fmla="*/ 168307 h 389381"/>
                <a:gd name="connsiteX31" fmla="*/ 276511 w 361187"/>
                <a:gd name="connsiteY31" fmla="*/ 168307 h 38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187" h="389381">
                  <a:moveTo>
                    <a:pt x="191548" y="389382"/>
                  </a:moveTo>
                  <a:cubicBezTo>
                    <a:pt x="164687" y="389382"/>
                    <a:pt x="139637" y="384715"/>
                    <a:pt x="116300" y="375285"/>
                  </a:cubicBezTo>
                  <a:cubicBezTo>
                    <a:pt x="92964" y="365855"/>
                    <a:pt x="72771" y="352711"/>
                    <a:pt x="55531" y="335756"/>
                  </a:cubicBezTo>
                  <a:cubicBezTo>
                    <a:pt x="38291" y="318802"/>
                    <a:pt x="24765" y="298418"/>
                    <a:pt x="14859" y="274606"/>
                  </a:cubicBezTo>
                  <a:cubicBezTo>
                    <a:pt x="4953" y="250793"/>
                    <a:pt x="0" y="224599"/>
                    <a:pt x="0" y="195834"/>
                  </a:cubicBezTo>
                  <a:lnTo>
                    <a:pt x="0" y="194405"/>
                  </a:lnTo>
                  <a:cubicBezTo>
                    <a:pt x="0" y="167545"/>
                    <a:pt x="4477" y="142399"/>
                    <a:pt x="13430" y="118777"/>
                  </a:cubicBezTo>
                  <a:cubicBezTo>
                    <a:pt x="22384" y="95250"/>
                    <a:pt x="34957" y="74581"/>
                    <a:pt x="51245" y="56959"/>
                  </a:cubicBezTo>
                  <a:cubicBezTo>
                    <a:pt x="67532" y="39338"/>
                    <a:pt x="86677" y="25432"/>
                    <a:pt x="108871" y="15240"/>
                  </a:cubicBezTo>
                  <a:cubicBezTo>
                    <a:pt x="131064" y="5143"/>
                    <a:pt x="155543" y="0"/>
                    <a:pt x="182404" y="0"/>
                  </a:cubicBezTo>
                  <a:cubicBezTo>
                    <a:pt x="212122" y="0"/>
                    <a:pt x="238125" y="5429"/>
                    <a:pt x="260509" y="16288"/>
                  </a:cubicBezTo>
                  <a:cubicBezTo>
                    <a:pt x="282893" y="27146"/>
                    <a:pt x="301466" y="41719"/>
                    <a:pt x="316325" y="60103"/>
                  </a:cubicBezTo>
                  <a:cubicBezTo>
                    <a:pt x="331184" y="78486"/>
                    <a:pt x="342329" y="99822"/>
                    <a:pt x="349853" y="124015"/>
                  </a:cubicBezTo>
                  <a:cubicBezTo>
                    <a:pt x="357378" y="148304"/>
                    <a:pt x="361188" y="173831"/>
                    <a:pt x="361188" y="200692"/>
                  </a:cubicBezTo>
                  <a:cubicBezTo>
                    <a:pt x="361188" y="204502"/>
                    <a:pt x="361093" y="208312"/>
                    <a:pt x="360807" y="212312"/>
                  </a:cubicBezTo>
                  <a:cubicBezTo>
                    <a:pt x="360521" y="216313"/>
                    <a:pt x="360236" y="220409"/>
                    <a:pt x="359759" y="224695"/>
                  </a:cubicBezTo>
                  <a:lnTo>
                    <a:pt x="85534" y="224695"/>
                  </a:lnTo>
                  <a:cubicBezTo>
                    <a:pt x="90202" y="255365"/>
                    <a:pt x="102394" y="278797"/>
                    <a:pt x="121920" y="294989"/>
                  </a:cubicBezTo>
                  <a:cubicBezTo>
                    <a:pt x="141446" y="311277"/>
                    <a:pt x="165164" y="319373"/>
                    <a:pt x="192977" y="319373"/>
                  </a:cubicBezTo>
                  <a:cubicBezTo>
                    <a:pt x="214217" y="319373"/>
                    <a:pt x="232505" y="315563"/>
                    <a:pt x="248126" y="308038"/>
                  </a:cubicBezTo>
                  <a:cubicBezTo>
                    <a:pt x="263652" y="300514"/>
                    <a:pt x="278987" y="289465"/>
                    <a:pt x="294037" y="274796"/>
                  </a:cubicBezTo>
                  <a:lnTo>
                    <a:pt x="344234" y="319278"/>
                  </a:lnTo>
                  <a:cubicBezTo>
                    <a:pt x="326327" y="340519"/>
                    <a:pt x="304991" y="357473"/>
                    <a:pt x="280226" y="370141"/>
                  </a:cubicBezTo>
                  <a:cubicBezTo>
                    <a:pt x="255461" y="382810"/>
                    <a:pt x="225933" y="389191"/>
                    <a:pt x="191548" y="389191"/>
                  </a:cubicBezTo>
                  <a:close/>
                  <a:moveTo>
                    <a:pt x="276320" y="168211"/>
                  </a:moveTo>
                  <a:cubicBezTo>
                    <a:pt x="274892" y="154591"/>
                    <a:pt x="271844" y="141732"/>
                    <a:pt x="267176" y="129730"/>
                  </a:cubicBezTo>
                  <a:cubicBezTo>
                    <a:pt x="262414" y="117729"/>
                    <a:pt x="256127" y="107347"/>
                    <a:pt x="248126" y="98679"/>
                  </a:cubicBezTo>
                  <a:cubicBezTo>
                    <a:pt x="240125" y="89916"/>
                    <a:pt x="230600" y="82963"/>
                    <a:pt x="219551" y="77819"/>
                  </a:cubicBezTo>
                  <a:cubicBezTo>
                    <a:pt x="208502" y="72676"/>
                    <a:pt x="195834" y="70009"/>
                    <a:pt x="181737" y="70009"/>
                  </a:cubicBezTo>
                  <a:cubicBezTo>
                    <a:pt x="155353" y="70009"/>
                    <a:pt x="133541" y="79057"/>
                    <a:pt x="116396" y="97250"/>
                  </a:cubicBezTo>
                  <a:cubicBezTo>
                    <a:pt x="99155" y="115348"/>
                    <a:pt x="88678" y="139065"/>
                    <a:pt x="84963" y="168307"/>
                  </a:cubicBezTo>
                  <a:lnTo>
                    <a:pt x="276511" y="168307"/>
                  </a:lnTo>
                  <a:close/>
                </a:path>
              </a:pathLst>
            </a:custGeom>
            <a:solidFill>
              <a:srgbClr val="44505E"/>
            </a:solidFill>
            <a:ln w="9525" cap="flat">
              <a:noFill/>
              <a:prstDash val="solid"/>
              <a:miter/>
            </a:ln>
          </p:spPr>
          <p:txBody>
            <a:bodyPr rtlCol="0" anchor="ctr"/>
            <a:lstStyle/>
            <a:p>
              <a:endParaRPr lang="pt-BR" noProof="0"/>
            </a:p>
          </p:txBody>
        </p:sp>
        <p:sp>
          <p:nvSpPr>
            <p:cNvPr id="22" name="Freeform: Shape 21">
              <a:extLst>
                <a:ext uri="{FF2B5EF4-FFF2-40B4-BE49-F238E27FC236}">
                  <a16:creationId xmlns:a16="http://schemas.microsoft.com/office/drawing/2014/main" id="{D3512049-B751-D22A-36CB-A31F3614C480}"/>
                </a:ext>
              </a:extLst>
            </p:cNvPr>
            <p:cNvSpPr/>
            <p:nvPr/>
          </p:nvSpPr>
          <p:spPr>
            <a:xfrm>
              <a:off x="5365659"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5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8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3 w 568166"/>
                <a:gd name="connsiteY21" fmla="*/ 381000 h 381000"/>
                <a:gd name="connsiteX22" fmla="*/ 240983 w 568166"/>
                <a:gd name="connsiteY22" fmla="*/ 168783 h 381000"/>
                <a:gd name="connsiteX23" fmla="*/ 221266 w 568166"/>
                <a:gd name="connsiteY23" fmla="*/ 101822 h 381000"/>
                <a:gd name="connsiteX24" fmla="*/ 165640 w 568166"/>
                <a:gd name="connsiteY24" fmla="*/ 78581 h 381000"/>
                <a:gd name="connsiteX25" fmla="*/ 108014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70" y="48196"/>
                    <a:pt x="105918" y="40576"/>
                  </a:cubicBezTo>
                  <a:cubicBezTo>
                    <a:pt x="112967" y="32956"/>
                    <a:pt x="121063" y="26099"/>
                    <a:pt x="130207" y="19907"/>
                  </a:cubicBezTo>
                  <a:cubicBezTo>
                    <a:pt x="139351" y="13716"/>
                    <a:pt x="149733" y="8858"/>
                    <a:pt x="161163" y="5334"/>
                  </a:cubicBezTo>
                  <a:cubicBezTo>
                    <a:pt x="172688" y="1714"/>
                    <a:pt x="185452" y="0"/>
                    <a:pt x="199549" y="0"/>
                  </a:cubicBezTo>
                  <a:cubicBezTo>
                    <a:pt x="226314" y="0"/>
                    <a:pt x="248984" y="6096"/>
                    <a:pt x="267557" y="18193"/>
                  </a:cubicBezTo>
                  <a:cubicBezTo>
                    <a:pt x="286131" y="30289"/>
                    <a:pt x="300323" y="46387"/>
                    <a:pt x="310134" y="66294"/>
                  </a:cubicBezTo>
                  <a:cubicBezTo>
                    <a:pt x="325279" y="46387"/>
                    <a:pt x="343091" y="30289"/>
                    <a:pt x="363665" y="18193"/>
                  </a:cubicBezTo>
                  <a:cubicBezTo>
                    <a:pt x="384239" y="6096"/>
                    <a:pt x="408718" y="0"/>
                    <a:pt x="437007" y="0"/>
                  </a:cubicBezTo>
                  <a:cubicBezTo>
                    <a:pt x="478060"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8" y="78486"/>
                  </a:cubicBezTo>
                  <a:cubicBezTo>
                    <a:pt x="382810" y="78486"/>
                    <a:pt x="364141" y="86392"/>
                    <a:pt x="349377" y="102108"/>
                  </a:cubicBezTo>
                  <a:cubicBezTo>
                    <a:pt x="334613" y="117824"/>
                    <a:pt x="327184" y="140779"/>
                    <a:pt x="327184" y="170879"/>
                  </a:cubicBezTo>
                  <a:lnTo>
                    <a:pt x="327184" y="381000"/>
                  </a:lnTo>
                  <a:lnTo>
                    <a:pt x="240983" y="381000"/>
                  </a:lnTo>
                  <a:lnTo>
                    <a:pt x="240983" y="168783"/>
                  </a:lnTo>
                  <a:cubicBezTo>
                    <a:pt x="240983" y="139637"/>
                    <a:pt x="234410" y="117348"/>
                    <a:pt x="221266" y="101822"/>
                  </a:cubicBezTo>
                  <a:cubicBezTo>
                    <a:pt x="208121" y="86296"/>
                    <a:pt x="189643" y="78581"/>
                    <a:pt x="165640" y="78581"/>
                  </a:cubicBezTo>
                  <a:cubicBezTo>
                    <a:pt x="141637" y="78581"/>
                    <a:pt x="122492" y="86773"/>
                    <a:pt x="108014"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23" name="Freeform: Shape 22">
              <a:extLst>
                <a:ext uri="{FF2B5EF4-FFF2-40B4-BE49-F238E27FC236}">
                  <a16:creationId xmlns:a16="http://schemas.microsoft.com/office/drawing/2014/main" id="{388785A5-3423-F00A-59FF-851F79A747AA}"/>
                </a:ext>
              </a:extLst>
            </p:cNvPr>
            <p:cNvSpPr/>
            <p:nvPr/>
          </p:nvSpPr>
          <p:spPr>
            <a:xfrm>
              <a:off x="5587693" y="700007"/>
              <a:ext cx="84211" cy="95752"/>
            </a:xfrm>
            <a:custGeom>
              <a:avLst/>
              <a:gdLst>
                <a:gd name="connsiteX0" fmla="*/ 95 w 334994"/>
                <a:gd name="connsiteY0" fmla="*/ 7715 h 380904"/>
                <a:gd name="connsiteX1" fmla="*/ 86296 w 334994"/>
                <a:gd name="connsiteY1" fmla="*/ 7715 h 380904"/>
                <a:gd name="connsiteX2" fmla="*/ 86296 w 334994"/>
                <a:gd name="connsiteY2" fmla="*/ 66294 h 380904"/>
                <a:gd name="connsiteX3" fmla="*/ 106394 w 334994"/>
                <a:gd name="connsiteY3" fmla="*/ 40958 h 380904"/>
                <a:gd name="connsiteX4" fmla="*/ 131731 w 334994"/>
                <a:gd name="connsiteY4" fmla="*/ 19907 h 380904"/>
                <a:gd name="connsiteX5" fmla="*/ 163449 w 334994"/>
                <a:gd name="connsiteY5" fmla="*/ 5334 h 380904"/>
                <a:gd name="connsiteX6" fmla="*/ 202597 w 334994"/>
                <a:gd name="connsiteY6" fmla="*/ 0 h 380904"/>
                <a:gd name="connsiteX7" fmla="*/ 300514 w 334994"/>
                <a:gd name="connsiteY7" fmla="*/ 38862 h 380904"/>
                <a:gd name="connsiteX8" fmla="*/ 334994 w 334994"/>
                <a:gd name="connsiteY8" fmla="*/ 143446 h 380904"/>
                <a:gd name="connsiteX9" fmla="*/ 334994 w 334994"/>
                <a:gd name="connsiteY9" fmla="*/ 380905 h 380904"/>
                <a:gd name="connsiteX10" fmla="*/ 248793 w 334994"/>
                <a:gd name="connsiteY10" fmla="*/ 380905 h 380904"/>
                <a:gd name="connsiteX11" fmla="*/ 248793 w 334994"/>
                <a:gd name="connsiteY11" fmla="*/ 169450 h 380904"/>
                <a:gd name="connsiteX12" fmla="*/ 228124 w 334994"/>
                <a:gd name="connsiteY12" fmla="*/ 102108 h 380904"/>
                <a:gd name="connsiteX13" fmla="*/ 169640 w 334994"/>
                <a:gd name="connsiteY13" fmla="*/ 78486 h 380904"/>
                <a:gd name="connsiteX14" fmla="*/ 109347 w 334994"/>
                <a:gd name="connsiteY14" fmla="*/ 102775 h 380904"/>
                <a:gd name="connsiteX15" fmla="*/ 86201 w 334994"/>
                <a:gd name="connsiteY15" fmla="*/ 170783 h 380904"/>
                <a:gd name="connsiteX16" fmla="*/ 86201 w 334994"/>
                <a:gd name="connsiteY16" fmla="*/ 380905 h 380904"/>
                <a:gd name="connsiteX17" fmla="*/ 0 w 334994"/>
                <a:gd name="connsiteY17" fmla="*/ 380905 h 380904"/>
                <a:gd name="connsiteX18" fmla="*/ 0 w 334994"/>
                <a:gd name="connsiteY18" fmla="*/ 7810 h 38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94" h="380904">
                  <a:moveTo>
                    <a:pt x="95" y="7715"/>
                  </a:moveTo>
                  <a:lnTo>
                    <a:pt x="86296" y="7715"/>
                  </a:lnTo>
                  <a:lnTo>
                    <a:pt x="86296" y="66294"/>
                  </a:lnTo>
                  <a:cubicBezTo>
                    <a:pt x="92392" y="57245"/>
                    <a:pt x="99060" y="48863"/>
                    <a:pt x="106394" y="40958"/>
                  </a:cubicBezTo>
                  <a:cubicBezTo>
                    <a:pt x="113633" y="33147"/>
                    <a:pt x="122110" y="26099"/>
                    <a:pt x="131731" y="19907"/>
                  </a:cubicBezTo>
                  <a:cubicBezTo>
                    <a:pt x="141351" y="13716"/>
                    <a:pt x="151924" y="8858"/>
                    <a:pt x="163449" y="5334"/>
                  </a:cubicBezTo>
                  <a:cubicBezTo>
                    <a:pt x="174974" y="1714"/>
                    <a:pt x="188024" y="0"/>
                    <a:pt x="202597" y="0"/>
                  </a:cubicBezTo>
                  <a:cubicBezTo>
                    <a:pt x="244888" y="0"/>
                    <a:pt x="277559" y="12954"/>
                    <a:pt x="300514" y="38862"/>
                  </a:cubicBezTo>
                  <a:cubicBezTo>
                    <a:pt x="323564" y="64770"/>
                    <a:pt x="334994" y="99631"/>
                    <a:pt x="334994" y="143446"/>
                  </a:cubicBezTo>
                  <a:lnTo>
                    <a:pt x="334994" y="380905"/>
                  </a:lnTo>
                  <a:lnTo>
                    <a:pt x="248793" y="380905"/>
                  </a:lnTo>
                  <a:lnTo>
                    <a:pt x="248793" y="169450"/>
                  </a:lnTo>
                  <a:cubicBezTo>
                    <a:pt x="248793" y="140303"/>
                    <a:pt x="241935" y="117824"/>
                    <a:pt x="228124" y="102108"/>
                  </a:cubicBezTo>
                  <a:cubicBezTo>
                    <a:pt x="214313" y="86392"/>
                    <a:pt x="194881" y="78486"/>
                    <a:pt x="169640" y="78486"/>
                  </a:cubicBezTo>
                  <a:cubicBezTo>
                    <a:pt x="144399" y="78486"/>
                    <a:pt x="124777" y="86582"/>
                    <a:pt x="109347" y="102775"/>
                  </a:cubicBezTo>
                  <a:cubicBezTo>
                    <a:pt x="93917" y="118967"/>
                    <a:pt x="86201" y="141637"/>
                    <a:pt x="86201" y="170783"/>
                  </a:cubicBezTo>
                  <a:lnTo>
                    <a:pt x="86201" y="380905"/>
                  </a:lnTo>
                  <a:lnTo>
                    <a:pt x="0" y="380905"/>
                  </a:lnTo>
                  <a:lnTo>
                    <a:pt x="0" y="7810"/>
                  </a:lnTo>
                  <a:close/>
                </a:path>
              </a:pathLst>
            </a:custGeom>
            <a:solidFill>
              <a:srgbClr val="44505E"/>
            </a:solidFill>
            <a:ln w="9525" cap="flat">
              <a:noFill/>
              <a:prstDash val="solid"/>
              <a:miter/>
            </a:ln>
          </p:spPr>
          <p:txBody>
            <a:bodyPr rtlCol="0" anchor="ctr"/>
            <a:lstStyle/>
            <a:p>
              <a:endParaRPr lang="pt-BR" noProof="0"/>
            </a:p>
          </p:txBody>
        </p:sp>
        <p:sp>
          <p:nvSpPr>
            <p:cNvPr id="24" name="Freeform: Shape 23">
              <a:extLst>
                <a:ext uri="{FF2B5EF4-FFF2-40B4-BE49-F238E27FC236}">
                  <a16:creationId xmlns:a16="http://schemas.microsoft.com/office/drawing/2014/main" id="{0F921795-0039-A81A-A6A1-AA695F4CF6FB}"/>
                </a:ext>
              </a:extLst>
            </p:cNvPr>
            <p:cNvSpPr/>
            <p:nvPr/>
          </p:nvSpPr>
          <p:spPr>
            <a:xfrm>
              <a:off x="5692712" y="699959"/>
              <a:ext cx="100015" cy="97908"/>
            </a:xfrm>
            <a:custGeom>
              <a:avLst/>
              <a:gdLst>
                <a:gd name="connsiteX0" fmla="*/ 197834 w 397859"/>
                <a:gd name="connsiteY0" fmla="*/ 389477 h 389477"/>
                <a:gd name="connsiteX1" fmla="*/ 119063 w 397859"/>
                <a:gd name="connsiteY1" fmla="*/ 374237 h 389477"/>
                <a:gd name="connsiteX2" fmla="*/ 56197 w 397859"/>
                <a:gd name="connsiteY2" fmla="*/ 332899 h 389477"/>
                <a:gd name="connsiteX3" fmla="*/ 14859 w 397859"/>
                <a:gd name="connsiteY3" fmla="*/ 271463 h 389477"/>
                <a:gd name="connsiteX4" fmla="*/ 0 w 397859"/>
                <a:gd name="connsiteY4" fmla="*/ 196501 h 389477"/>
                <a:gd name="connsiteX5" fmla="*/ 0 w 397859"/>
                <a:gd name="connsiteY5" fmla="*/ 195072 h 389477"/>
                <a:gd name="connsiteX6" fmla="*/ 15145 w 397859"/>
                <a:gd name="connsiteY6" fmla="*/ 119444 h 389477"/>
                <a:gd name="connsiteX7" fmla="*/ 56864 w 397859"/>
                <a:gd name="connsiteY7" fmla="*/ 57626 h 389477"/>
                <a:gd name="connsiteX8" fmla="*/ 119729 w 397859"/>
                <a:gd name="connsiteY8" fmla="*/ 15526 h 389477"/>
                <a:gd name="connsiteX9" fmla="*/ 199263 w 397859"/>
                <a:gd name="connsiteY9" fmla="*/ 0 h 389477"/>
                <a:gd name="connsiteX10" fmla="*/ 278797 w 397859"/>
                <a:gd name="connsiteY10" fmla="*/ 15240 h 389477"/>
                <a:gd name="connsiteX11" fmla="*/ 341662 w 397859"/>
                <a:gd name="connsiteY11" fmla="*/ 56959 h 389477"/>
                <a:gd name="connsiteX12" fmla="*/ 383000 w 397859"/>
                <a:gd name="connsiteY12" fmla="*/ 118396 h 389477"/>
                <a:gd name="connsiteX13" fmla="*/ 397859 w 397859"/>
                <a:gd name="connsiteY13" fmla="*/ 193643 h 389477"/>
                <a:gd name="connsiteX14" fmla="*/ 397859 w 397859"/>
                <a:gd name="connsiteY14" fmla="*/ 195072 h 389477"/>
                <a:gd name="connsiteX15" fmla="*/ 382619 w 397859"/>
                <a:gd name="connsiteY15" fmla="*/ 270034 h 389477"/>
                <a:gd name="connsiteX16" fmla="*/ 340900 w 397859"/>
                <a:gd name="connsiteY16" fmla="*/ 331851 h 389477"/>
                <a:gd name="connsiteX17" fmla="*/ 277654 w 397859"/>
                <a:gd name="connsiteY17" fmla="*/ 373856 h 389477"/>
                <a:gd name="connsiteX18" fmla="*/ 197834 w 397859"/>
                <a:gd name="connsiteY18" fmla="*/ 389382 h 389477"/>
                <a:gd name="connsiteX19" fmla="*/ 199263 w 397859"/>
                <a:gd name="connsiteY19" fmla="*/ 315278 h 389477"/>
                <a:gd name="connsiteX20" fmla="*/ 245935 w 397859"/>
                <a:gd name="connsiteY20" fmla="*/ 305753 h 389477"/>
                <a:gd name="connsiteX21" fmla="*/ 281368 w 397859"/>
                <a:gd name="connsiteY21" fmla="*/ 279940 h 389477"/>
                <a:gd name="connsiteX22" fmla="*/ 303847 w 397859"/>
                <a:gd name="connsiteY22" fmla="*/ 242125 h 389477"/>
                <a:gd name="connsiteX23" fmla="*/ 311563 w 397859"/>
                <a:gd name="connsiteY23" fmla="*/ 196501 h 389477"/>
                <a:gd name="connsiteX24" fmla="*/ 311563 w 397859"/>
                <a:gd name="connsiteY24" fmla="*/ 195072 h 389477"/>
                <a:gd name="connsiteX25" fmla="*/ 303181 w 397859"/>
                <a:gd name="connsiteY25" fmla="*/ 148400 h 389477"/>
                <a:gd name="connsiteX26" fmla="*/ 279654 w 397859"/>
                <a:gd name="connsiteY26" fmla="*/ 110204 h 389477"/>
                <a:gd name="connsiteX27" fmla="*/ 243840 w 397859"/>
                <a:gd name="connsiteY27" fmla="*/ 84392 h 389477"/>
                <a:gd name="connsiteX28" fmla="*/ 197834 w 397859"/>
                <a:gd name="connsiteY28" fmla="*/ 74867 h 389477"/>
                <a:gd name="connsiteX29" fmla="*/ 151829 w 397859"/>
                <a:gd name="connsiteY29" fmla="*/ 84392 h 389477"/>
                <a:gd name="connsiteX30" fmla="*/ 116396 w 397859"/>
                <a:gd name="connsiteY30" fmla="*/ 109823 h 389477"/>
                <a:gd name="connsiteX31" fmla="*/ 93917 w 397859"/>
                <a:gd name="connsiteY31" fmla="*/ 147638 h 389477"/>
                <a:gd name="connsiteX32" fmla="*/ 86201 w 397859"/>
                <a:gd name="connsiteY32" fmla="*/ 193548 h 389477"/>
                <a:gd name="connsiteX33" fmla="*/ 86201 w 397859"/>
                <a:gd name="connsiteY33" fmla="*/ 194977 h 389477"/>
                <a:gd name="connsiteX34" fmla="*/ 94583 w 397859"/>
                <a:gd name="connsiteY34" fmla="*/ 241268 h 389477"/>
                <a:gd name="connsiteX35" fmla="*/ 118110 w 397859"/>
                <a:gd name="connsiteY35" fmla="*/ 279463 h 389477"/>
                <a:gd name="connsiteX36" fmla="*/ 153924 w 397859"/>
                <a:gd name="connsiteY36" fmla="*/ 305562 h 389477"/>
                <a:gd name="connsiteX37" fmla="*/ 199263 w 397859"/>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859" h="389477">
                  <a:moveTo>
                    <a:pt x="197834" y="389477"/>
                  </a:moveTo>
                  <a:cubicBezTo>
                    <a:pt x="169545" y="389477"/>
                    <a:pt x="143351" y="384429"/>
                    <a:pt x="119063" y="374237"/>
                  </a:cubicBezTo>
                  <a:cubicBezTo>
                    <a:pt x="94774" y="364141"/>
                    <a:pt x="73819" y="350330"/>
                    <a:pt x="56197" y="332899"/>
                  </a:cubicBezTo>
                  <a:cubicBezTo>
                    <a:pt x="38481" y="315468"/>
                    <a:pt x="24765" y="294989"/>
                    <a:pt x="14859" y="271463"/>
                  </a:cubicBezTo>
                  <a:cubicBezTo>
                    <a:pt x="4953" y="247936"/>
                    <a:pt x="0" y="222980"/>
                    <a:pt x="0" y="196501"/>
                  </a:cubicBezTo>
                  <a:lnTo>
                    <a:pt x="0" y="195072"/>
                  </a:lnTo>
                  <a:cubicBezTo>
                    <a:pt x="0" y="168212"/>
                    <a:pt x="5048" y="143066"/>
                    <a:pt x="15145" y="119444"/>
                  </a:cubicBezTo>
                  <a:cubicBezTo>
                    <a:pt x="25241" y="95917"/>
                    <a:pt x="39148" y="75248"/>
                    <a:pt x="56864" y="57626"/>
                  </a:cubicBezTo>
                  <a:cubicBezTo>
                    <a:pt x="74581" y="39910"/>
                    <a:pt x="95536" y="25908"/>
                    <a:pt x="119729" y="15526"/>
                  </a:cubicBezTo>
                  <a:cubicBezTo>
                    <a:pt x="144018" y="5144"/>
                    <a:pt x="170497" y="0"/>
                    <a:pt x="199263" y="0"/>
                  </a:cubicBezTo>
                  <a:cubicBezTo>
                    <a:pt x="228029" y="0"/>
                    <a:pt x="254508" y="5048"/>
                    <a:pt x="278797" y="15240"/>
                  </a:cubicBezTo>
                  <a:cubicBezTo>
                    <a:pt x="303085" y="25337"/>
                    <a:pt x="324041" y="39243"/>
                    <a:pt x="341662" y="56959"/>
                  </a:cubicBezTo>
                  <a:cubicBezTo>
                    <a:pt x="359378" y="74676"/>
                    <a:pt x="373094" y="95155"/>
                    <a:pt x="383000" y="118396"/>
                  </a:cubicBezTo>
                  <a:cubicBezTo>
                    <a:pt x="392906" y="141732"/>
                    <a:pt x="397859" y="166783"/>
                    <a:pt x="397859" y="193643"/>
                  </a:cubicBezTo>
                  <a:lnTo>
                    <a:pt x="397859" y="195072"/>
                  </a:lnTo>
                  <a:cubicBezTo>
                    <a:pt x="397859" y="221456"/>
                    <a:pt x="392811" y="246412"/>
                    <a:pt x="382619" y="270034"/>
                  </a:cubicBezTo>
                  <a:cubicBezTo>
                    <a:pt x="372523" y="293561"/>
                    <a:pt x="358616" y="314230"/>
                    <a:pt x="340900" y="331851"/>
                  </a:cubicBezTo>
                  <a:cubicBezTo>
                    <a:pt x="323183" y="349472"/>
                    <a:pt x="302133" y="363569"/>
                    <a:pt x="277654" y="373856"/>
                  </a:cubicBezTo>
                  <a:cubicBezTo>
                    <a:pt x="253175" y="384238"/>
                    <a:pt x="226504" y="389382"/>
                    <a:pt x="197834" y="389382"/>
                  </a:cubicBezTo>
                  <a:close/>
                  <a:moveTo>
                    <a:pt x="199263" y="315278"/>
                  </a:moveTo>
                  <a:cubicBezTo>
                    <a:pt x="216598" y="315278"/>
                    <a:pt x="232124" y="312039"/>
                    <a:pt x="245935" y="305753"/>
                  </a:cubicBezTo>
                  <a:cubicBezTo>
                    <a:pt x="259747" y="299371"/>
                    <a:pt x="271558" y="290798"/>
                    <a:pt x="281368" y="279940"/>
                  </a:cubicBezTo>
                  <a:cubicBezTo>
                    <a:pt x="291179" y="269081"/>
                    <a:pt x="298704" y="256508"/>
                    <a:pt x="303847" y="242125"/>
                  </a:cubicBezTo>
                  <a:cubicBezTo>
                    <a:pt x="308991" y="227743"/>
                    <a:pt x="311563" y="212598"/>
                    <a:pt x="311563" y="196501"/>
                  </a:cubicBezTo>
                  <a:lnTo>
                    <a:pt x="311563" y="195072"/>
                  </a:lnTo>
                  <a:cubicBezTo>
                    <a:pt x="311563" y="178594"/>
                    <a:pt x="308800" y="163068"/>
                    <a:pt x="303181" y="148400"/>
                  </a:cubicBezTo>
                  <a:cubicBezTo>
                    <a:pt x="297561" y="133826"/>
                    <a:pt x="289750" y="121063"/>
                    <a:pt x="279654" y="110204"/>
                  </a:cubicBezTo>
                  <a:cubicBezTo>
                    <a:pt x="269558" y="99346"/>
                    <a:pt x="257651" y="90773"/>
                    <a:pt x="243840" y="84392"/>
                  </a:cubicBezTo>
                  <a:cubicBezTo>
                    <a:pt x="230029" y="78010"/>
                    <a:pt x="214693" y="74867"/>
                    <a:pt x="197834" y="74867"/>
                  </a:cubicBezTo>
                  <a:cubicBezTo>
                    <a:pt x="180975" y="74867"/>
                    <a:pt x="165640" y="78010"/>
                    <a:pt x="151829" y="84392"/>
                  </a:cubicBezTo>
                  <a:cubicBezTo>
                    <a:pt x="138017" y="90773"/>
                    <a:pt x="126206" y="99250"/>
                    <a:pt x="116396" y="109823"/>
                  </a:cubicBezTo>
                  <a:cubicBezTo>
                    <a:pt x="106585" y="120396"/>
                    <a:pt x="99060" y="133064"/>
                    <a:pt x="93917" y="147638"/>
                  </a:cubicBezTo>
                  <a:cubicBezTo>
                    <a:pt x="88773" y="162211"/>
                    <a:pt x="86201" y="177546"/>
                    <a:pt x="86201" y="193548"/>
                  </a:cubicBezTo>
                  <a:lnTo>
                    <a:pt x="86201" y="194977"/>
                  </a:lnTo>
                  <a:cubicBezTo>
                    <a:pt x="86201" y="211455"/>
                    <a:pt x="88963" y="226886"/>
                    <a:pt x="94583" y="241268"/>
                  </a:cubicBezTo>
                  <a:cubicBezTo>
                    <a:pt x="100203" y="255651"/>
                    <a:pt x="108013" y="268319"/>
                    <a:pt x="118110" y="279463"/>
                  </a:cubicBezTo>
                  <a:cubicBezTo>
                    <a:pt x="128206" y="290513"/>
                    <a:pt x="140113" y="299275"/>
                    <a:pt x="153924" y="305562"/>
                  </a:cubicBezTo>
                  <a:cubicBezTo>
                    <a:pt x="167735" y="311944"/>
                    <a:pt x="182880"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25" name="Freeform: Shape 24">
              <a:extLst>
                <a:ext uri="{FF2B5EF4-FFF2-40B4-BE49-F238E27FC236}">
                  <a16:creationId xmlns:a16="http://schemas.microsoft.com/office/drawing/2014/main" id="{E7EC5F12-FFCD-2F57-798C-14138565D3B2}"/>
                </a:ext>
              </a:extLst>
            </p:cNvPr>
            <p:cNvSpPr/>
            <p:nvPr/>
          </p:nvSpPr>
          <p:spPr>
            <a:xfrm>
              <a:off x="5806925"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2 w 296894"/>
                <a:gd name="connsiteY36" fmla="*/ 224980 h 386714"/>
                <a:gd name="connsiteX37" fmla="*/ 296894 w 296894"/>
                <a:gd name="connsiteY37" fmla="*/ 267938 h 386714"/>
                <a:gd name="connsiteX38" fmla="*/ 296894 w 296894"/>
                <a:gd name="connsiteY38" fmla="*/ 269367 h 386714"/>
                <a:gd name="connsiteX39" fmla="*/ 286322 w 296894"/>
                <a:gd name="connsiteY39" fmla="*/ 320897 h 386714"/>
                <a:gd name="connsiteX40" fmla="*/ 256984 w 296894"/>
                <a:gd name="connsiteY40" fmla="*/ 357188 h 386714"/>
                <a:gd name="connsiteX41" fmla="*/ 212789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8" y="298704"/>
                    <a:pt x="100013" y="306514"/>
                  </a:cubicBezTo>
                  <a:cubicBezTo>
                    <a:pt x="120967" y="314325"/>
                    <a:pt x="141161" y="318135"/>
                    <a:pt x="160401" y="318135"/>
                  </a:cubicBezTo>
                  <a:cubicBezTo>
                    <a:pt x="179642" y="318135"/>
                    <a:pt x="192976"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2" y="241078"/>
                    <a:pt x="176498" y="237553"/>
                    <a:pt x="166402" y="234220"/>
                  </a:cubicBezTo>
                  <a:cubicBezTo>
                    <a:pt x="156305" y="230886"/>
                    <a:pt x="145733" y="227647"/>
                    <a:pt x="134969" y="224314"/>
                  </a:cubicBezTo>
                  <a:cubicBezTo>
                    <a:pt x="121253" y="220599"/>
                    <a:pt x="107537" y="216122"/>
                    <a:pt x="93631" y="210884"/>
                  </a:cubicBezTo>
                  <a:cubicBezTo>
                    <a:pt x="79724" y="205740"/>
                    <a:pt x="67246" y="198977"/>
                    <a:pt x="56197" y="190786"/>
                  </a:cubicBezTo>
                  <a:cubicBezTo>
                    <a:pt x="45149" y="182594"/>
                    <a:pt x="36100" y="172307"/>
                    <a:pt x="28956" y="160115"/>
                  </a:cubicBezTo>
                  <a:cubicBezTo>
                    <a:pt x="21908"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5"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7" y="156210"/>
                    <a:pt x="180975" y="159448"/>
                  </a:cubicBezTo>
                  <a:cubicBezTo>
                    <a:pt x="194596" y="163639"/>
                    <a:pt x="208312" y="168592"/>
                    <a:pt x="222028" y="174212"/>
                  </a:cubicBezTo>
                  <a:cubicBezTo>
                    <a:pt x="235649" y="179832"/>
                    <a:pt x="248031" y="186785"/>
                    <a:pt x="259080" y="194977"/>
                  </a:cubicBezTo>
                  <a:cubicBezTo>
                    <a:pt x="270129" y="203168"/>
                    <a:pt x="279273" y="213169"/>
                    <a:pt x="286322" y="224980"/>
                  </a:cubicBezTo>
                  <a:cubicBezTo>
                    <a:pt x="293370" y="236696"/>
                    <a:pt x="296894" y="251079"/>
                    <a:pt x="296894" y="267938"/>
                  </a:cubicBezTo>
                  <a:lnTo>
                    <a:pt x="296894" y="269367"/>
                  </a:lnTo>
                  <a:cubicBezTo>
                    <a:pt x="296894" y="289084"/>
                    <a:pt x="293370" y="306229"/>
                    <a:pt x="286322" y="320897"/>
                  </a:cubicBezTo>
                  <a:cubicBezTo>
                    <a:pt x="279273" y="335470"/>
                    <a:pt x="269462" y="347567"/>
                    <a:pt x="256984" y="357188"/>
                  </a:cubicBezTo>
                  <a:cubicBezTo>
                    <a:pt x="244507" y="366808"/>
                    <a:pt x="229743" y="374142"/>
                    <a:pt x="212789"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6" name="Freeform: Shape 25">
              <a:extLst>
                <a:ext uri="{FF2B5EF4-FFF2-40B4-BE49-F238E27FC236}">
                  <a16:creationId xmlns:a16="http://schemas.microsoft.com/office/drawing/2014/main" id="{B38074B6-6CED-E5B4-2133-18C76EFF3D4E}"/>
                </a:ext>
              </a:extLst>
            </p:cNvPr>
            <p:cNvSpPr/>
            <p:nvPr/>
          </p:nvSpPr>
          <p:spPr>
            <a:xfrm>
              <a:off x="589573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6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160" y="318135"/>
                    <a:pt x="160401" y="318135"/>
                  </a:cubicBezTo>
                  <a:cubicBezTo>
                    <a:pt x="179641" y="318135"/>
                    <a:pt x="192976"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4"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792"/>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7" name="Freeform: Shape 26">
              <a:extLst>
                <a:ext uri="{FF2B5EF4-FFF2-40B4-BE49-F238E27FC236}">
                  <a16:creationId xmlns:a16="http://schemas.microsoft.com/office/drawing/2014/main" id="{740683A5-DD86-D11E-0157-93310ACAE783}"/>
                </a:ext>
              </a:extLst>
            </p:cNvPr>
            <p:cNvSpPr/>
            <p:nvPr/>
          </p:nvSpPr>
          <p:spPr>
            <a:xfrm>
              <a:off x="5985812" y="700558"/>
              <a:ext cx="85097" cy="97141"/>
            </a:xfrm>
            <a:custGeom>
              <a:avLst/>
              <a:gdLst>
                <a:gd name="connsiteX0" fmla="*/ 253651 w 338518"/>
                <a:gd name="connsiteY0" fmla="*/ 378619 h 386429"/>
                <a:gd name="connsiteX1" fmla="*/ 253651 w 338518"/>
                <a:gd name="connsiteY1" fmla="*/ 332708 h 386429"/>
                <a:gd name="connsiteX2" fmla="*/ 204883 w 338518"/>
                <a:gd name="connsiteY2" fmla="*/ 370904 h 386429"/>
                <a:gd name="connsiteX3" fmla="*/ 132779 w 338518"/>
                <a:gd name="connsiteY3" fmla="*/ 386429 h 386429"/>
                <a:gd name="connsiteX4" fmla="*/ 81915 w 338518"/>
                <a:gd name="connsiteY4" fmla="*/ 379000 h 386429"/>
                <a:gd name="connsiteX5" fmla="*/ 39910 w 338518"/>
                <a:gd name="connsiteY5" fmla="*/ 357092 h 386429"/>
                <a:gd name="connsiteX6" fmla="*/ 10954 w 338518"/>
                <a:gd name="connsiteY6" fmla="*/ 321088 h 386429"/>
                <a:gd name="connsiteX7" fmla="*/ 0 w 338518"/>
                <a:gd name="connsiteY7" fmla="*/ 271272 h 386429"/>
                <a:gd name="connsiteX8" fmla="*/ 0 w 338518"/>
                <a:gd name="connsiteY8" fmla="*/ 269843 h 386429"/>
                <a:gd name="connsiteX9" fmla="*/ 11335 w 338518"/>
                <a:gd name="connsiteY9" fmla="*/ 215741 h 386429"/>
                <a:gd name="connsiteX10" fmla="*/ 42767 w 338518"/>
                <a:gd name="connsiteY10" fmla="*/ 177546 h 386429"/>
                <a:gd name="connsiteX11" fmla="*/ 90773 w 338518"/>
                <a:gd name="connsiteY11" fmla="*/ 154972 h 386429"/>
                <a:gd name="connsiteX12" fmla="*/ 151162 w 338518"/>
                <a:gd name="connsiteY12" fmla="*/ 147542 h 386429"/>
                <a:gd name="connsiteX13" fmla="*/ 208788 w 338518"/>
                <a:gd name="connsiteY13" fmla="*/ 151829 h 386429"/>
                <a:gd name="connsiteX14" fmla="*/ 254413 w 338518"/>
                <a:gd name="connsiteY14" fmla="*/ 163163 h 386429"/>
                <a:gd name="connsiteX15" fmla="*/ 254413 w 338518"/>
                <a:gd name="connsiteY15" fmla="*/ 156115 h 386429"/>
                <a:gd name="connsiteX16" fmla="*/ 230696 w 338518"/>
                <a:gd name="connsiteY16" fmla="*/ 96774 h 386429"/>
                <a:gd name="connsiteX17" fmla="*/ 162496 w 338518"/>
                <a:gd name="connsiteY17" fmla="*/ 76295 h 386429"/>
                <a:gd name="connsiteX18" fmla="*/ 106013 w 338518"/>
                <a:gd name="connsiteY18" fmla="*/ 82677 h 386429"/>
                <a:gd name="connsiteX19" fmla="*/ 55816 w 338518"/>
                <a:gd name="connsiteY19" fmla="*/ 99632 h 386429"/>
                <a:gd name="connsiteX20" fmla="*/ 32480 w 338518"/>
                <a:gd name="connsiteY20" fmla="*/ 31052 h 386429"/>
                <a:gd name="connsiteX21" fmla="*/ 96107 w 338518"/>
                <a:gd name="connsiteY21" fmla="*/ 8477 h 386429"/>
                <a:gd name="connsiteX22" fmla="*/ 174593 w 338518"/>
                <a:gd name="connsiteY22" fmla="*/ 0 h 386429"/>
                <a:gd name="connsiteX23" fmla="*/ 298228 w 338518"/>
                <a:gd name="connsiteY23" fmla="*/ 41338 h 386429"/>
                <a:gd name="connsiteX24" fmla="*/ 338519 w 338518"/>
                <a:gd name="connsiteY24" fmla="*/ 157544 h 386429"/>
                <a:gd name="connsiteX25" fmla="*/ 338519 w 338518"/>
                <a:gd name="connsiteY25" fmla="*/ 378714 h 386429"/>
                <a:gd name="connsiteX26" fmla="*/ 253746 w 338518"/>
                <a:gd name="connsiteY26" fmla="*/ 378714 h 386429"/>
                <a:gd name="connsiteX27" fmla="*/ 255746 w 338518"/>
                <a:gd name="connsiteY27" fmla="*/ 222409 h 386429"/>
                <a:gd name="connsiteX28" fmla="*/ 217265 w 338518"/>
                <a:gd name="connsiteY28" fmla="*/ 211836 h 386429"/>
                <a:gd name="connsiteX29" fmla="*/ 170307 w 338518"/>
                <a:gd name="connsiteY29" fmla="*/ 207550 h 386429"/>
                <a:gd name="connsiteX30" fmla="*/ 107442 w 338518"/>
                <a:gd name="connsiteY30" fmla="*/ 223075 h 386429"/>
                <a:gd name="connsiteX31" fmla="*/ 84868 w 338518"/>
                <a:gd name="connsiteY31" fmla="*/ 265462 h 386429"/>
                <a:gd name="connsiteX32" fmla="*/ 84868 w 338518"/>
                <a:gd name="connsiteY32" fmla="*/ 266891 h 386429"/>
                <a:gd name="connsiteX33" fmla="*/ 105728 w 338518"/>
                <a:gd name="connsiteY33" fmla="*/ 307848 h 386429"/>
                <a:gd name="connsiteX34" fmla="*/ 156972 w 338518"/>
                <a:gd name="connsiteY34" fmla="*/ 321945 h 386429"/>
                <a:gd name="connsiteX35" fmla="*/ 196215 w 338518"/>
                <a:gd name="connsiteY35" fmla="*/ 316325 h 386429"/>
                <a:gd name="connsiteX36" fmla="*/ 227647 w 338518"/>
                <a:gd name="connsiteY36" fmla="*/ 300419 h 386429"/>
                <a:gd name="connsiteX37" fmla="*/ 248507 w 338518"/>
                <a:gd name="connsiteY37" fmla="*/ 275654 h 386429"/>
                <a:gd name="connsiteX38" fmla="*/ 255937 w 338518"/>
                <a:gd name="connsiteY38" fmla="*/ 243459 h 386429"/>
                <a:gd name="connsiteX39" fmla="*/ 255937 w 338518"/>
                <a:gd name="connsiteY39" fmla="*/ 222218 h 3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8518" h="386429">
                  <a:moveTo>
                    <a:pt x="253651" y="378619"/>
                  </a:moveTo>
                  <a:lnTo>
                    <a:pt x="253651" y="332708"/>
                  </a:lnTo>
                  <a:cubicBezTo>
                    <a:pt x="240887" y="347758"/>
                    <a:pt x="224695" y="360521"/>
                    <a:pt x="204883" y="370904"/>
                  </a:cubicBezTo>
                  <a:cubicBezTo>
                    <a:pt x="185071" y="381286"/>
                    <a:pt x="161068" y="386429"/>
                    <a:pt x="132779" y="386429"/>
                  </a:cubicBezTo>
                  <a:cubicBezTo>
                    <a:pt x="114871" y="386429"/>
                    <a:pt x="97917" y="383953"/>
                    <a:pt x="81915" y="379000"/>
                  </a:cubicBezTo>
                  <a:cubicBezTo>
                    <a:pt x="65913" y="374047"/>
                    <a:pt x="51911" y="366713"/>
                    <a:pt x="39910" y="357092"/>
                  </a:cubicBezTo>
                  <a:cubicBezTo>
                    <a:pt x="27908" y="347472"/>
                    <a:pt x="18193" y="335471"/>
                    <a:pt x="10954" y="321088"/>
                  </a:cubicBezTo>
                  <a:cubicBezTo>
                    <a:pt x="3620" y="306705"/>
                    <a:pt x="0" y="290132"/>
                    <a:pt x="0" y="271272"/>
                  </a:cubicBezTo>
                  <a:lnTo>
                    <a:pt x="0" y="269843"/>
                  </a:lnTo>
                  <a:cubicBezTo>
                    <a:pt x="0" y="249079"/>
                    <a:pt x="3810" y="231077"/>
                    <a:pt x="11335" y="215741"/>
                  </a:cubicBezTo>
                  <a:cubicBezTo>
                    <a:pt x="18859" y="200406"/>
                    <a:pt x="29337" y="187738"/>
                    <a:pt x="42767" y="177546"/>
                  </a:cubicBezTo>
                  <a:cubicBezTo>
                    <a:pt x="56197" y="167450"/>
                    <a:pt x="72199" y="159925"/>
                    <a:pt x="90773" y="154972"/>
                  </a:cubicBezTo>
                  <a:cubicBezTo>
                    <a:pt x="109347" y="150019"/>
                    <a:pt x="129540" y="147542"/>
                    <a:pt x="151162" y="147542"/>
                  </a:cubicBezTo>
                  <a:cubicBezTo>
                    <a:pt x="172783" y="147542"/>
                    <a:pt x="192976" y="148971"/>
                    <a:pt x="208788" y="151829"/>
                  </a:cubicBezTo>
                  <a:cubicBezTo>
                    <a:pt x="224599" y="154686"/>
                    <a:pt x="239744" y="158401"/>
                    <a:pt x="254413" y="163163"/>
                  </a:cubicBezTo>
                  <a:lnTo>
                    <a:pt x="254413" y="156115"/>
                  </a:lnTo>
                  <a:cubicBezTo>
                    <a:pt x="254413" y="130207"/>
                    <a:pt x="246507" y="110395"/>
                    <a:pt x="230696" y="96774"/>
                  </a:cubicBezTo>
                  <a:cubicBezTo>
                    <a:pt x="214884" y="83153"/>
                    <a:pt x="192214" y="76295"/>
                    <a:pt x="162496" y="76295"/>
                  </a:cubicBezTo>
                  <a:cubicBezTo>
                    <a:pt x="141351" y="76295"/>
                    <a:pt x="122491" y="78391"/>
                    <a:pt x="106013" y="82677"/>
                  </a:cubicBezTo>
                  <a:cubicBezTo>
                    <a:pt x="89535" y="86963"/>
                    <a:pt x="72771" y="92583"/>
                    <a:pt x="55816" y="99632"/>
                  </a:cubicBezTo>
                  <a:lnTo>
                    <a:pt x="32480" y="31052"/>
                  </a:lnTo>
                  <a:cubicBezTo>
                    <a:pt x="53149" y="21622"/>
                    <a:pt x="74390" y="14097"/>
                    <a:pt x="96107" y="8477"/>
                  </a:cubicBezTo>
                  <a:cubicBezTo>
                    <a:pt x="117729" y="2858"/>
                    <a:pt x="143923" y="0"/>
                    <a:pt x="174593" y="0"/>
                  </a:cubicBezTo>
                  <a:cubicBezTo>
                    <a:pt x="230124" y="0"/>
                    <a:pt x="271367" y="13811"/>
                    <a:pt x="298228" y="41338"/>
                  </a:cubicBezTo>
                  <a:cubicBezTo>
                    <a:pt x="325088" y="68866"/>
                    <a:pt x="338519" y="107633"/>
                    <a:pt x="338519" y="157544"/>
                  </a:cubicBezTo>
                  <a:lnTo>
                    <a:pt x="338519" y="378714"/>
                  </a:lnTo>
                  <a:lnTo>
                    <a:pt x="253746" y="378714"/>
                  </a:lnTo>
                  <a:close/>
                  <a:moveTo>
                    <a:pt x="255746" y="222409"/>
                  </a:moveTo>
                  <a:cubicBezTo>
                    <a:pt x="244888" y="218123"/>
                    <a:pt x="232029" y="214598"/>
                    <a:pt x="217265" y="211836"/>
                  </a:cubicBezTo>
                  <a:cubicBezTo>
                    <a:pt x="202406" y="208979"/>
                    <a:pt x="186785" y="207550"/>
                    <a:pt x="170307" y="207550"/>
                  </a:cubicBezTo>
                  <a:cubicBezTo>
                    <a:pt x="143446" y="207550"/>
                    <a:pt x="122491" y="212693"/>
                    <a:pt x="107442" y="223075"/>
                  </a:cubicBezTo>
                  <a:cubicBezTo>
                    <a:pt x="92392" y="233458"/>
                    <a:pt x="84868" y="247555"/>
                    <a:pt x="84868" y="265462"/>
                  </a:cubicBezTo>
                  <a:lnTo>
                    <a:pt x="84868" y="266891"/>
                  </a:lnTo>
                  <a:cubicBezTo>
                    <a:pt x="84868" y="284798"/>
                    <a:pt x="91821" y="298418"/>
                    <a:pt x="105728" y="307848"/>
                  </a:cubicBezTo>
                  <a:cubicBezTo>
                    <a:pt x="119634" y="317278"/>
                    <a:pt x="136684" y="321945"/>
                    <a:pt x="156972" y="321945"/>
                  </a:cubicBezTo>
                  <a:cubicBezTo>
                    <a:pt x="171069" y="321945"/>
                    <a:pt x="184213" y="320040"/>
                    <a:pt x="196215" y="316325"/>
                  </a:cubicBezTo>
                  <a:cubicBezTo>
                    <a:pt x="208216" y="312515"/>
                    <a:pt x="218694" y="307277"/>
                    <a:pt x="227647" y="300419"/>
                  </a:cubicBezTo>
                  <a:cubicBezTo>
                    <a:pt x="236601" y="293561"/>
                    <a:pt x="243554" y="285369"/>
                    <a:pt x="248507" y="275654"/>
                  </a:cubicBezTo>
                  <a:cubicBezTo>
                    <a:pt x="253460" y="266033"/>
                    <a:pt x="255937" y="255270"/>
                    <a:pt x="255937" y="243459"/>
                  </a:cubicBezTo>
                  <a:lnTo>
                    <a:pt x="255937" y="222218"/>
                  </a:lnTo>
                  <a:close/>
                </a:path>
              </a:pathLst>
            </a:custGeom>
            <a:solidFill>
              <a:srgbClr val="44505E"/>
            </a:solidFill>
            <a:ln w="9525" cap="flat">
              <a:noFill/>
              <a:prstDash val="solid"/>
              <a:miter/>
            </a:ln>
          </p:spPr>
          <p:txBody>
            <a:bodyPr rtlCol="0" anchor="ctr"/>
            <a:lstStyle/>
            <a:p>
              <a:endParaRPr lang="pt-BR" noProof="0"/>
            </a:p>
          </p:txBody>
        </p:sp>
        <p:sp>
          <p:nvSpPr>
            <p:cNvPr id="28" name="Freeform: Shape 27">
              <a:extLst>
                <a:ext uri="{FF2B5EF4-FFF2-40B4-BE49-F238E27FC236}">
                  <a16:creationId xmlns:a16="http://schemas.microsoft.com/office/drawing/2014/main" id="{81B7CFEA-7221-1B55-94EB-6DAE37802285}"/>
                </a:ext>
              </a:extLst>
            </p:cNvPr>
            <p:cNvSpPr/>
            <p:nvPr/>
          </p:nvSpPr>
          <p:spPr>
            <a:xfrm>
              <a:off x="6088843" y="700318"/>
              <a:ext cx="74610" cy="97213"/>
            </a:xfrm>
            <a:custGeom>
              <a:avLst/>
              <a:gdLst>
                <a:gd name="connsiteX0" fmla="*/ 158305 w 296799"/>
                <a:gd name="connsiteY0" fmla="*/ 386715 h 386714"/>
                <a:gd name="connsiteX1" fmla="*/ 76676 w 296799"/>
                <a:gd name="connsiteY1" fmla="*/ 372427 h 386714"/>
                <a:gd name="connsiteX2" fmla="*/ 0 w 296799"/>
                <a:gd name="connsiteY2" fmla="*/ 330327 h 386714"/>
                <a:gd name="connsiteX3" fmla="*/ 38195 w 296799"/>
                <a:gd name="connsiteY3" fmla="*/ 272224 h 386714"/>
                <a:gd name="connsiteX4" fmla="*/ 100013 w 296799"/>
                <a:gd name="connsiteY4" fmla="*/ 306514 h 386714"/>
                <a:gd name="connsiteX5" fmla="*/ 160401 w 296799"/>
                <a:gd name="connsiteY5" fmla="*/ 318135 h 386714"/>
                <a:gd name="connsiteX6" fmla="*/ 203168 w 296799"/>
                <a:gd name="connsiteY6" fmla="*/ 307181 h 386714"/>
                <a:gd name="connsiteX7" fmla="*/ 218408 w 296799"/>
                <a:gd name="connsiteY7" fmla="*/ 277939 h 386714"/>
                <a:gd name="connsiteX8" fmla="*/ 218408 w 296799"/>
                <a:gd name="connsiteY8" fmla="*/ 276511 h 386714"/>
                <a:gd name="connsiteX9" fmla="*/ 211646 w 296799"/>
                <a:gd name="connsiteY9" fmla="*/ 258223 h 386714"/>
                <a:gd name="connsiteX10" fmla="*/ 193262 w 296799"/>
                <a:gd name="connsiteY10" fmla="*/ 244792 h 386714"/>
                <a:gd name="connsiteX11" fmla="*/ 166402 w 296799"/>
                <a:gd name="connsiteY11" fmla="*/ 234220 h 386714"/>
                <a:gd name="connsiteX12" fmla="*/ 134969 w 296799"/>
                <a:gd name="connsiteY12" fmla="*/ 224314 h 386714"/>
                <a:gd name="connsiteX13" fmla="*/ 93631 w 296799"/>
                <a:gd name="connsiteY13" fmla="*/ 210884 h 386714"/>
                <a:gd name="connsiteX14" fmla="*/ 56197 w 296799"/>
                <a:gd name="connsiteY14" fmla="*/ 190786 h 386714"/>
                <a:gd name="connsiteX15" fmla="*/ 28956 w 296799"/>
                <a:gd name="connsiteY15" fmla="*/ 160115 h 386714"/>
                <a:gd name="connsiteX16" fmla="*/ 18383 w 296799"/>
                <a:gd name="connsiteY16" fmla="*/ 114967 h 386714"/>
                <a:gd name="connsiteX17" fmla="*/ 18383 w 296799"/>
                <a:gd name="connsiteY17" fmla="*/ 113538 h 386714"/>
                <a:gd name="connsiteX18" fmla="*/ 28575 w 296799"/>
                <a:gd name="connsiteY18" fmla="*/ 66294 h 386714"/>
                <a:gd name="connsiteX19" fmla="*/ 56864 w 296799"/>
                <a:gd name="connsiteY19" fmla="*/ 30385 h 386714"/>
                <a:gd name="connsiteX20" fmla="*/ 99250 w 296799"/>
                <a:gd name="connsiteY20" fmla="*/ 7810 h 386714"/>
                <a:gd name="connsiteX21" fmla="*/ 151162 w 296799"/>
                <a:gd name="connsiteY21" fmla="*/ 0 h 386714"/>
                <a:gd name="connsiteX22" fmla="*/ 222504 w 296799"/>
                <a:gd name="connsiteY22" fmla="*/ 11430 h 386714"/>
                <a:gd name="connsiteX23" fmla="*/ 288227 w 296799"/>
                <a:gd name="connsiteY23" fmla="*/ 42863 h 386714"/>
                <a:gd name="connsiteX24" fmla="*/ 254317 w 296799"/>
                <a:gd name="connsiteY24" fmla="*/ 103918 h 386714"/>
                <a:gd name="connsiteX25" fmla="*/ 199930 w 296799"/>
                <a:gd name="connsiteY25" fmla="*/ 78105 h 386714"/>
                <a:gd name="connsiteX26" fmla="*/ 149066 w 296799"/>
                <a:gd name="connsiteY26" fmla="*/ 68580 h 386714"/>
                <a:gd name="connsiteX27" fmla="*/ 110585 w 296799"/>
                <a:gd name="connsiteY27" fmla="*/ 79153 h 386714"/>
                <a:gd name="connsiteX28" fmla="*/ 96774 w 296799"/>
                <a:gd name="connsiteY28" fmla="*/ 105918 h 386714"/>
                <a:gd name="connsiteX29" fmla="*/ 96774 w 296799"/>
                <a:gd name="connsiteY29" fmla="*/ 107347 h 386714"/>
                <a:gd name="connsiteX30" fmla="*/ 103822 w 296799"/>
                <a:gd name="connsiteY30" fmla="*/ 124587 h 386714"/>
                <a:gd name="connsiteX31" fmla="*/ 122587 w 296799"/>
                <a:gd name="connsiteY31" fmla="*/ 138017 h 386714"/>
                <a:gd name="connsiteX32" fmla="*/ 149447 w 296799"/>
                <a:gd name="connsiteY32" fmla="*/ 149257 h 386714"/>
                <a:gd name="connsiteX33" fmla="*/ 180880 w 296799"/>
                <a:gd name="connsiteY33" fmla="*/ 159448 h 386714"/>
                <a:gd name="connsiteX34" fmla="*/ 221837 w 296799"/>
                <a:gd name="connsiteY34" fmla="*/ 174212 h 386714"/>
                <a:gd name="connsiteX35" fmla="*/ 258985 w 296799"/>
                <a:gd name="connsiteY35" fmla="*/ 194977 h 386714"/>
                <a:gd name="connsiteX36" fmla="*/ 286226 w 296799"/>
                <a:gd name="connsiteY36" fmla="*/ 224980 h 386714"/>
                <a:gd name="connsiteX37" fmla="*/ 296799 w 296799"/>
                <a:gd name="connsiteY37" fmla="*/ 267938 h 386714"/>
                <a:gd name="connsiteX38" fmla="*/ 296799 w 296799"/>
                <a:gd name="connsiteY38" fmla="*/ 269367 h 386714"/>
                <a:gd name="connsiteX39" fmla="*/ 286226 w 296799"/>
                <a:gd name="connsiteY39" fmla="*/ 320897 h 386714"/>
                <a:gd name="connsiteX40" fmla="*/ 256889 w 296799"/>
                <a:gd name="connsiteY40" fmla="*/ 357188 h 386714"/>
                <a:gd name="connsiteX41" fmla="*/ 212693 w 296799"/>
                <a:gd name="connsiteY41" fmla="*/ 379095 h 386714"/>
                <a:gd name="connsiteX42" fmla="*/ 158305 w 296799"/>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799"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065" y="318135"/>
                    <a:pt x="160401" y="318135"/>
                  </a:cubicBezTo>
                  <a:cubicBezTo>
                    <a:pt x="179737" y="318135"/>
                    <a:pt x="193072"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828" y="227647"/>
                    <a:pt x="134969" y="224314"/>
                  </a:cubicBezTo>
                  <a:cubicBezTo>
                    <a:pt x="121348" y="220599"/>
                    <a:pt x="107537" y="216122"/>
                    <a:pt x="93631" y="210884"/>
                  </a:cubicBezTo>
                  <a:cubicBezTo>
                    <a:pt x="79724" y="205740"/>
                    <a:pt x="67246" y="198977"/>
                    <a:pt x="56197" y="190786"/>
                  </a:cubicBezTo>
                  <a:cubicBezTo>
                    <a:pt x="45148" y="182594"/>
                    <a:pt x="36004"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874" y="0"/>
                    <a:pt x="151162" y="0"/>
                  </a:cubicBezTo>
                  <a:cubicBezTo>
                    <a:pt x="174688" y="0"/>
                    <a:pt x="198501" y="3810"/>
                    <a:pt x="222504" y="11430"/>
                  </a:cubicBezTo>
                  <a:cubicBezTo>
                    <a:pt x="246507" y="19050"/>
                    <a:pt x="268414" y="29527"/>
                    <a:pt x="288227" y="42863"/>
                  </a:cubicBezTo>
                  <a:lnTo>
                    <a:pt x="254317"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774" y="95155"/>
                    <a:pt x="96774" y="105918"/>
                  </a:cubicBezTo>
                  <a:lnTo>
                    <a:pt x="96774" y="107347"/>
                  </a:lnTo>
                  <a:cubicBezTo>
                    <a:pt x="96774" y="113919"/>
                    <a:pt x="99155" y="119634"/>
                    <a:pt x="103822" y="124587"/>
                  </a:cubicBezTo>
                  <a:cubicBezTo>
                    <a:pt x="108490" y="129540"/>
                    <a:pt x="114776" y="134017"/>
                    <a:pt x="122587" y="138017"/>
                  </a:cubicBezTo>
                  <a:cubicBezTo>
                    <a:pt x="130397" y="142018"/>
                    <a:pt x="139351" y="145732"/>
                    <a:pt x="149447" y="149257"/>
                  </a:cubicBezTo>
                  <a:cubicBezTo>
                    <a:pt x="159544" y="152781"/>
                    <a:pt x="170021" y="156210"/>
                    <a:pt x="180880" y="159448"/>
                  </a:cubicBezTo>
                  <a:cubicBezTo>
                    <a:pt x="194500" y="163639"/>
                    <a:pt x="208216" y="168592"/>
                    <a:pt x="221837" y="174212"/>
                  </a:cubicBezTo>
                  <a:cubicBezTo>
                    <a:pt x="235458" y="179832"/>
                    <a:pt x="247840" y="186785"/>
                    <a:pt x="258985" y="194977"/>
                  </a:cubicBezTo>
                  <a:cubicBezTo>
                    <a:pt x="270034" y="203168"/>
                    <a:pt x="279178" y="213169"/>
                    <a:pt x="286226" y="224980"/>
                  </a:cubicBezTo>
                  <a:cubicBezTo>
                    <a:pt x="293275" y="236696"/>
                    <a:pt x="296799" y="251079"/>
                    <a:pt x="296799" y="267938"/>
                  </a:cubicBezTo>
                  <a:lnTo>
                    <a:pt x="296799" y="269367"/>
                  </a:lnTo>
                  <a:cubicBezTo>
                    <a:pt x="296799" y="289084"/>
                    <a:pt x="293275" y="306229"/>
                    <a:pt x="286226" y="320897"/>
                  </a:cubicBezTo>
                  <a:cubicBezTo>
                    <a:pt x="279178" y="335470"/>
                    <a:pt x="269367" y="347567"/>
                    <a:pt x="256889" y="357188"/>
                  </a:cubicBezTo>
                  <a:cubicBezTo>
                    <a:pt x="244412" y="366808"/>
                    <a:pt x="229648" y="374142"/>
                    <a:pt x="212693" y="379095"/>
                  </a:cubicBezTo>
                  <a:cubicBezTo>
                    <a:pt x="195739" y="384048"/>
                    <a:pt x="177641" y="386524"/>
                    <a:pt x="158305" y="386524"/>
                  </a:cubicBezTo>
                  <a:close/>
                </a:path>
              </a:pathLst>
            </a:custGeom>
            <a:solidFill>
              <a:srgbClr val="44505E"/>
            </a:solidFill>
            <a:ln w="9525" cap="flat">
              <a:noFill/>
              <a:prstDash val="solid"/>
              <a:miter/>
            </a:ln>
          </p:spPr>
          <p:txBody>
            <a:bodyPr rtlCol="0" anchor="ctr"/>
            <a:lstStyle/>
            <a:p>
              <a:endParaRPr lang="pt-BR" noProof="0"/>
            </a:p>
          </p:txBody>
        </p:sp>
        <p:sp>
          <p:nvSpPr>
            <p:cNvPr id="29" name="Freeform: Shape 28">
              <a:extLst>
                <a:ext uri="{FF2B5EF4-FFF2-40B4-BE49-F238E27FC236}">
                  <a16:creationId xmlns:a16="http://schemas.microsoft.com/office/drawing/2014/main" id="{21EF55C0-DAFE-EC95-2C0B-45E468D725A4}"/>
                </a:ext>
              </a:extLst>
            </p:cNvPr>
            <p:cNvSpPr/>
            <p:nvPr/>
          </p:nvSpPr>
          <p:spPr>
            <a:xfrm>
              <a:off x="6238590"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4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7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2 w 568166"/>
                <a:gd name="connsiteY21" fmla="*/ 381000 h 381000"/>
                <a:gd name="connsiteX22" fmla="*/ 240982 w 568166"/>
                <a:gd name="connsiteY22" fmla="*/ 168783 h 381000"/>
                <a:gd name="connsiteX23" fmla="*/ 221266 w 568166"/>
                <a:gd name="connsiteY23" fmla="*/ 101822 h 381000"/>
                <a:gd name="connsiteX24" fmla="*/ 165640 w 568166"/>
                <a:gd name="connsiteY24" fmla="*/ 78581 h 381000"/>
                <a:gd name="connsiteX25" fmla="*/ 108013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69" y="48196"/>
                    <a:pt x="105918" y="40576"/>
                  </a:cubicBezTo>
                  <a:cubicBezTo>
                    <a:pt x="112966" y="32956"/>
                    <a:pt x="121063" y="26099"/>
                    <a:pt x="130207" y="19907"/>
                  </a:cubicBezTo>
                  <a:cubicBezTo>
                    <a:pt x="139351" y="13716"/>
                    <a:pt x="149638" y="8858"/>
                    <a:pt x="161163" y="5334"/>
                  </a:cubicBezTo>
                  <a:cubicBezTo>
                    <a:pt x="172688" y="1714"/>
                    <a:pt x="185452" y="0"/>
                    <a:pt x="199549" y="0"/>
                  </a:cubicBezTo>
                  <a:cubicBezTo>
                    <a:pt x="226314" y="0"/>
                    <a:pt x="248983" y="6096"/>
                    <a:pt x="267557" y="18193"/>
                  </a:cubicBezTo>
                  <a:cubicBezTo>
                    <a:pt x="286131" y="30289"/>
                    <a:pt x="300323" y="46387"/>
                    <a:pt x="310134" y="66294"/>
                  </a:cubicBezTo>
                  <a:cubicBezTo>
                    <a:pt x="325279" y="46387"/>
                    <a:pt x="343090" y="30289"/>
                    <a:pt x="363664" y="18193"/>
                  </a:cubicBezTo>
                  <a:cubicBezTo>
                    <a:pt x="384238" y="6096"/>
                    <a:pt x="408718" y="0"/>
                    <a:pt x="437007" y="0"/>
                  </a:cubicBezTo>
                  <a:cubicBezTo>
                    <a:pt x="478155"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7" y="78486"/>
                  </a:cubicBezTo>
                  <a:cubicBezTo>
                    <a:pt x="382809" y="78486"/>
                    <a:pt x="364141" y="86392"/>
                    <a:pt x="349377" y="102108"/>
                  </a:cubicBezTo>
                  <a:cubicBezTo>
                    <a:pt x="334613" y="117824"/>
                    <a:pt x="327184" y="140779"/>
                    <a:pt x="327184" y="170879"/>
                  </a:cubicBezTo>
                  <a:lnTo>
                    <a:pt x="327184" y="381000"/>
                  </a:lnTo>
                  <a:lnTo>
                    <a:pt x="240982" y="381000"/>
                  </a:lnTo>
                  <a:lnTo>
                    <a:pt x="240982" y="168783"/>
                  </a:lnTo>
                  <a:cubicBezTo>
                    <a:pt x="240982" y="139637"/>
                    <a:pt x="234410" y="117348"/>
                    <a:pt x="221266" y="101822"/>
                  </a:cubicBezTo>
                  <a:cubicBezTo>
                    <a:pt x="208121" y="86296"/>
                    <a:pt x="189547" y="78581"/>
                    <a:pt x="165640" y="78581"/>
                  </a:cubicBezTo>
                  <a:cubicBezTo>
                    <a:pt x="141732" y="78581"/>
                    <a:pt x="122491" y="86773"/>
                    <a:pt x="108013"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30" name="Freeform: Shape 29">
              <a:extLst>
                <a:ext uri="{FF2B5EF4-FFF2-40B4-BE49-F238E27FC236}">
                  <a16:creationId xmlns:a16="http://schemas.microsoft.com/office/drawing/2014/main" id="{D0E4A22B-9532-1C74-B976-46B2813F5236}"/>
                </a:ext>
              </a:extLst>
            </p:cNvPr>
            <p:cNvSpPr/>
            <p:nvPr/>
          </p:nvSpPr>
          <p:spPr>
            <a:xfrm>
              <a:off x="6400979" y="664258"/>
              <a:ext cx="85097" cy="133441"/>
            </a:xfrm>
            <a:custGeom>
              <a:avLst/>
              <a:gdLst>
                <a:gd name="connsiteX0" fmla="*/ 253651 w 338518"/>
                <a:gd name="connsiteY0" fmla="*/ 523018 h 530828"/>
                <a:gd name="connsiteX1" fmla="*/ 253651 w 338518"/>
                <a:gd name="connsiteY1" fmla="*/ 477107 h 530828"/>
                <a:gd name="connsiteX2" fmla="*/ 204883 w 338518"/>
                <a:gd name="connsiteY2" fmla="*/ 515303 h 530828"/>
                <a:gd name="connsiteX3" fmla="*/ 132779 w 338518"/>
                <a:gd name="connsiteY3" fmla="*/ 530828 h 530828"/>
                <a:gd name="connsiteX4" fmla="*/ 81915 w 338518"/>
                <a:gd name="connsiteY4" fmla="*/ 523399 h 530828"/>
                <a:gd name="connsiteX5" fmla="*/ 39910 w 338518"/>
                <a:gd name="connsiteY5" fmla="*/ 501491 h 530828"/>
                <a:gd name="connsiteX6" fmla="*/ 10954 w 338518"/>
                <a:gd name="connsiteY6" fmla="*/ 465487 h 530828"/>
                <a:gd name="connsiteX7" fmla="*/ 0 w 338518"/>
                <a:gd name="connsiteY7" fmla="*/ 415671 h 530828"/>
                <a:gd name="connsiteX8" fmla="*/ 0 w 338518"/>
                <a:gd name="connsiteY8" fmla="*/ 414242 h 530828"/>
                <a:gd name="connsiteX9" fmla="*/ 11335 w 338518"/>
                <a:gd name="connsiteY9" fmla="*/ 360140 h 530828"/>
                <a:gd name="connsiteX10" fmla="*/ 42767 w 338518"/>
                <a:gd name="connsiteY10" fmla="*/ 321945 h 530828"/>
                <a:gd name="connsiteX11" fmla="*/ 90773 w 338518"/>
                <a:gd name="connsiteY11" fmla="*/ 299371 h 530828"/>
                <a:gd name="connsiteX12" fmla="*/ 151162 w 338518"/>
                <a:gd name="connsiteY12" fmla="*/ 291941 h 530828"/>
                <a:gd name="connsiteX13" fmla="*/ 208788 w 338518"/>
                <a:gd name="connsiteY13" fmla="*/ 296228 h 530828"/>
                <a:gd name="connsiteX14" fmla="*/ 254413 w 338518"/>
                <a:gd name="connsiteY14" fmla="*/ 307562 h 530828"/>
                <a:gd name="connsiteX15" fmla="*/ 254413 w 338518"/>
                <a:gd name="connsiteY15" fmla="*/ 300514 h 530828"/>
                <a:gd name="connsiteX16" fmla="*/ 230696 w 338518"/>
                <a:gd name="connsiteY16" fmla="*/ 241173 h 530828"/>
                <a:gd name="connsiteX17" fmla="*/ 162496 w 338518"/>
                <a:gd name="connsiteY17" fmla="*/ 220694 h 530828"/>
                <a:gd name="connsiteX18" fmla="*/ 106013 w 338518"/>
                <a:gd name="connsiteY18" fmla="*/ 227076 h 530828"/>
                <a:gd name="connsiteX19" fmla="*/ 55817 w 338518"/>
                <a:gd name="connsiteY19" fmla="*/ 244031 h 530828"/>
                <a:gd name="connsiteX20" fmla="*/ 32480 w 338518"/>
                <a:gd name="connsiteY20" fmla="*/ 175451 h 530828"/>
                <a:gd name="connsiteX21" fmla="*/ 96107 w 338518"/>
                <a:gd name="connsiteY21" fmla="*/ 152876 h 530828"/>
                <a:gd name="connsiteX22" fmla="*/ 174593 w 338518"/>
                <a:gd name="connsiteY22" fmla="*/ 144399 h 530828"/>
                <a:gd name="connsiteX23" fmla="*/ 298228 w 338518"/>
                <a:gd name="connsiteY23" fmla="*/ 185738 h 530828"/>
                <a:gd name="connsiteX24" fmla="*/ 338519 w 338518"/>
                <a:gd name="connsiteY24" fmla="*/ 301943 h 530828"/>
                <a:gd name="connsiteX25" fmla="*/ 338519 w 338518"/>
                <a:gd name="connsiteY25" fmla="*/ 523113 h 530828"/>
                <a:gd name="connsiteX26" fmla="*/ 253746 w 338518"/>
                <a:gd name="connsiteY26" fmla="*/ 523113 h 530828"/>
                <a:gd name="connsiteX27" fmla="*/ 45911 w 338518"/>
                <a:gd name="connsiteY27" fmla="*/ 95441 h 530828"/>
                <a:gd name="connsiteX28" fmla="*/ 75248 w 338518"/>
                <a:gd name="connsiteY28" fmla="*/ 29718 h 530828"/>
                <a:gd name="connsiteX29" fmla="*/ 125063 w 338518"/>
                <a:gd name="connsiteY29" fmla="*/ 7144 h 530828"/>
                <a:gd name="connsiteX30" fmla="*/ 154019 w 338518"/>
                <a:gd name="connsiteY30" fmla="*/ 11716 h 530828"/>
                <a:gd name="connsiteX31" fmla="*/ 181261 w 338518"/>
                <a:gd name="connsiteY31" fmla="*/ 21622 h 530828"/>
                <a:gd name="connsiteX32" fmla="*/ 205645 w 338518"/>
                <a:gd name="connsiteY32" fmla="*/ 31147 h 530828"/>
                <a:gd name="connsiteX33" fmla="*/ 226790 w 338518"/>
                <a:gd name="connsiteY33" fmla="*/ 35338 h 530828"/>
                <a:gd name="connsiteX34" fmla="*/ 250127 w 338518"/>
                <a:gd name="connsiteY34" fmla="*/ 26861 h 530828"/>
                <a:gd name="connsiteX35" fmla="*/ 265652 w 338518"/>
                <a:gd name="connsiteY35" fmla="*/ 0 h 530828"/>
                <a:gd name="connsiteX36" fmla="*/ 312991 w 338518"/>
                <a:gd name="connsiteY36" fmla="*/ 14859 h 530828"/>
                <a:gd name="connsiteX37" fmla="*/ 283655 w 338518"/>
                <a:gd name="connsiteY37" fmla="*/ 79820 h 530828"/>
                <a:gd name="connsiteX38" fmla="*/ 233839 w 338518"/>
                <a:gd name="connsiteY38" fmla="*/ 102394 h 530828"/>
                <a:gd name="connsiteX39" fmla="*/ 204883 w 338518"/>
                <a:gd name="connsiteY39" fmla="*/ 98203 h 530828"/>
                <a:gd name="connsiteX40" fmla="*/ 177641 w 338518"/>
                <a:gd name="connsiteY40" fmla="*/ 88678 h 530828"/>
                <a:gd name="connsiteX41" fmla="*/ 152876 w 338518"/>
                <a:gd name="connsiteY41" fmla="*/ 78772 h 530828"/>
                <a:gd name="connsiteX42" fmla="*/ 132017 w 338518"/>
                <a:gd name="connsiteY42" fmla="*/ 74200 h 530828"/>
                <a:gd name="connsiteX43" fmla="*/ 108680 w 338518"/>
                <a:gd name="connsiteY43" fmla="*/ 82677 h 530828"/>
                <a:gd name="connsiteX44" fmla="*/ 93154 w 338518"/>
                <a:gd name="connsiteY44" fmla="*/ 109538 h 530828"/>
                <a:gd name="connsiteX45" fmla="*/ 45815 w 338518"/>
                <a:gd name="connsiteY45" fmla="*/ 95441 h 530828"/>
                <a:gd name="connsiteX46" fmla="*/ 255842 w 338518"/>
                <a:gd name="connsiteY46" fmla="*/ 366808 h 530828"/>
                <a:gd name="connsiteX47" fmla="*/ 217361 w 338518"/>
                <a:gd name="connsiteY47" fmla="*/ 356235 h 530828"/>
                <a:gd name="connsiteX48" fmla="*/ 170402 w 338518"/>
                <a:gd name="connsiteY48" fmla="*/ 351949 h 530828"/>
                <a:gd name="connsiteX49" fmla="*/ 107537 w 338518"/>
                <a:gd name="connsiteY49" fmla="*/ 367475 h 530828"/>
                <a:gd name="connsiteX50" fmla="*/ 84963 w 338518"/>
                <a:gd name="connsiteY50" fmla="*/ 409861 h 530828"/>
                <a:gd name="connsiteX51" fmla="*/ 84963 w 338518"/>
                <a:gd name="connsiteY51" fmla="*/ 411290 h 530828"/>
                <a:gd name="connsiteX52" fmla="*/ 105823 w 338518"/>
                <a:gd name="connsiteY52" fmla="*/ 452247 h 530828"/>
                <a:gd name="connsiteX53" fmla="*/ 157067 w 338518"/>
                <a:gd name="connsiteY53" fmla="*/ 466344 h 530828"/>
                <a:gd name="connsiteX54" fmla="*/ 196310 w 338518"/>
                <a:gd name="connsiteY54" fmla="*/ 460724 h 530828"/>
                <a:gd name="connsiteX55" fmla="*/ 227743 w 338518"/>
                <a:gd name="connsiteY55" fmla="*/ 444818 h 530828"/>
                <a:gd name="connsiteX56" fmla="*/ 248603 w 338518"/>
                <a:gd name="connsiteY56" fmla="*/ 420053 h 530828"/>
                <a:gd name="connsiteX57" fmla="*/ 256032 w 338518"/>
                <a:gd name="connsiteY57" fmla="*/ 387858 h 530828"/>
                <a:gd name="connsiteX58" fmla="*/ 256032 w 338518"/>
                <a:gd name="connsiteY58" fmla="*/ 366617 h 5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8518" h="530828">
                  <a:moveTo>
                    <a:pt x="253651" y="523018"/>
                  </a:moveTo>
                  <a:lnTo>
                    <a:pt x="253651" y="477107"/>
                  </a:lnTo>
                  <a:cubicBezTo>
                    <a:pt x="240887" y="492157"/>
                    <a:pt x="224695" y="504920"/>
                    <a:pt x="204883" y="515303"/>
                  </a:cubicBezTo>
                  <a:cubicBezTo>
                    <a:pt x="185071" y="525685"/>
                    <a:pt x="161068" y="530828"/>
                    <a:pt x="132779" y="530828"/>
                  </a:cubicBezTo>
                  <a:cubicBezTo>
                    <a:pt x="114871" y="530828"/>
                    <a:pt x="97917" y="528352"/>
                    <a:pt x="81915" y="523399"/>
                  </a:cubicBezTo>
                  <a:cubicBezTo>
                    <a:pt x="65913" y="518446"/>
                    <a:pt x="51911" y="511112"/>
                    <a:pt x="39910" y="501491"/>
                  </a:cubicBezTo>
                  <a:cubicBezTo>
                    <a:pt x="27908" y="491871"/>
                    <a:pt x="18193" y="479870"/>
                    <a:pt x="10954" y="465487"/>
                  </a:cubicBezTo>
                  <a:cubicBezTo>
                    <a:pt x="3620" y="451104"/>
                    <a:pt x="0" y="434531"/>
                    <a:pt x="0" y="415671"/>
                  </a:cubicBezTo>
                  <a:lnTo>
                    <a:pt x="0" y="414242"/>
                  </a:lnTo>
                  <a:cubicBezTo>
                    <a:pt x="0" y="393478"/>
                    <a:pt x="3810" y="375476"/>
                    <a:pt x="11335" y="360140"/>
                  </a:cubicBezTo>
                  <a:cubicBezTo>
                    <a:pt x="18860" y="344805"/>
                    <a:pt x="29337" y="332137"/>
                    <a:pt x="42767" y="321945"/>
                  </a:cubicBezTo>
                  <a:cubicBezTo>
                    <a:pt x="56198" y="311849"/>
                    <a:pt x="72200" y="304324"/>
                    <a:pt x="90773" y="299371"/>
                  </a:cubicBezTo>
                  <a:cubicBezTo>
                    <a:pt x="109347" y="294418"/>
                    <a:pt x="129540" y="291941"/>
                    <a:pt x="151162" y="291941"/>
                  </a:cubicBezTo>
                  <a:cubicBezTo>
                    <a:pt x="172784" y="291941"/>
                    <a:pt x="192977" y="293370"/>
                    <a:pt x="208788" y="296228"/>
                  </a:cubicBezTo>
                  <a:cubicBezTo>
                    <a:pt x="224600" y="299085"/>
                    <a:pt x="239744" y="302800"/>
                    <a:pt x="254413" y="307562"/>
                  </a:cubicBezTo>
                  <a:lnTo>
                    <a:pt x="254413" y="300514"/>
                  </a:lnTo>
                  <a:cubicBezTo>
                    <a:pt x="254413" y="274606"/>
                    <a:pt x="246507" y="254794"/>
                    <a:pt x="230696" y="241173"/>
                  </a:cubicBezTo>
                  <a:cubicBezTo>
                    <a:pt x="214884" y="227552"/>
                    <a:pt x="192215" y="220694"/>
                    <a:pt x="162496" y="220694"/>
                  </a:cubicBezTo>
                  <a:cubicBezTo>
                    <a:pt x="141351" y="220694"/>
                    <a:pt x="122492" y="222790"/>
                    <a:pt x="106013" y="227076"/>
                  </a:cubicBezTo>
                  <a:cubicBezTo>
                    <a:pt x="89535" y="231362"/>
                    <a:pt x="72771" y="236982"/>
                    <a:pt x="55817" y="244031"/>
                  </a:cubicBezTo>
                  <a:lnTo>
                    <a:pt x="32480" y="175451"/>
                  </a:lnTo>
                  <a:cubicBezTo>
                    <a:pt x="53150" y="166021"/>
                    <a:pt x="74390" y="158496"/>
                    <a:pt x="96107" y="152876"/>
                  </a:cubicBezTo>
                  <a:cubicBezTo>
                    <a:pt x="117729" y="147257"/>
                    <a:pt x="143923" y="144399"/>
                    <a:pt x="174593" y="144399"/>
                  </a:cubicBezTo>
                  <a:cubicBezTo>
                    <a:pt x="230124" y="144399"/>
                    <a:pt x="271367" y="158210"/>
                    <a:pt x="298228" y="185738"/>
                  </a:cubicBezTo>
                  <a:cubicBezTo>
                    <a:pt x="325088" y="213265"/>
                    <a:pt x="338519" y="252032"/>
                    <a:pt x="338519" y="301943"/>
                  </a:cubicBezTo>
                  <a:lnTo>
                    <a:pt x="338519" y="523113"/>
                  </a:lnTo>
                  <a:lnTo>
                    <a:pt x="253746" y="523113"/>
                  </a:lnTo>
                  <a:close/>
                  <a:moveTo>
                    <a:pt x="45911" y="95441"/>
                  </a:moveTo>
                  <a:cubicBezTo>
                    <a:pt x="53912" y="66675"/>
                    <a:pt x="63722" y="44768"/>
                    <a:pt x="75248" y="29718"/>
                  </a:cubicBezTo>
                  <a:cubicBezTo>
                    <a:pt x="86773" y="14669"/>
                    <a:pt x="103442" y="7144"/>
                    <a:pt x="125063" y="7144"/>
                  </a:cubicBezTo>
                  <a:cubicBezTo>
                    <a:pt x="134969" y="7144"/>
                    <a:pt x="144590" y="8668"/>
                    <a:pt x="154019" y="11716"/>
                  </a:cubicBezTo>
                  <a:cubicBezTo>
                    <a:pt x="163449" y="14764"/>
                    <a:pt x="172498" y="18098"/>
                    <a:pt x="181261" y="21622"/>
                  </a:cubicBezTo>
                  <a:cubicBezTo>
                    <a:pt x="189929" y="25146"/>
                    <a:pt x="198120" y="28385"/>
                    <a:pt x="205645" y="31147"/>
                  </a:cubicBezTo>
                  <a:cubicBezTo>
                    <a:pt x="213170" y="34004"/>
                    <a:pt x="220218" y="35338"/>
                    <a:pt x="226790" y="35338"/>
                  </a:cubicBezTo>
                  <a:cubicBezTo>
                    <a:pt x="237173" y="35338"/>
                    <a:pt x="244888" y="32480"/>
                    <a:pt x="250127" y="26861"/>
                  </a:cubicBezTo>
                  <a:cubicBezTo>
                    <a:pt x="255270" y="21241"/>
                    <a:pt x="260509" y="12287"/>
                    <a:pt x="265652" y="0"/>
                  </a:cubicBezTo>
                  <a:lnTo>
                    <a:pt x="312991" y="14859"/>
                  </a:lnTo>
                  <a:cubicBezTo>
                    <a:pt x="304991" y="43148"/>
                    <a:pt x="295180" y="64770"/>
                    <a:pt x="283655" y="79820"/>
                  </a:cubicBezTo>
                  <a:cubicBezTo>
                    <a:pt x="272129" y="94869"/>
                    <a:pt x="255461" y="102394"/>
                    <a:pt x="233839" y="102394"/>
                  </a:cubicBezTo>
                  <a:cubicBezTo>
                    <a:pt x="223933" y="102394"/>
                    <a:pt x="214313" y="100965"/>
                    <a:pt x="204883" y="98203"/>
                  </a:cubicBezTo>
                  <a:cubicBezTo>
                    <a:pt x="195453" y="95345"/>
                    <a:pt x="186404" y="92202"/>
                    <a:pt x="177641" y="88678"/>
                  </a:cubicBezTo>
                  <a:cubicBezTo>
                    <a:pt x="168878" y="85154"/>
                    <a:pt x="160687" y="81820"/>
                    <a:pt x="152876" y="78772"/>
                  </a:cubicBezTo>
                  <a:cubicBezTo>
                    <a:pt x="145066" y="75724"/>
                    <a:pt x="138113" y="74200"/>
                    <a:pt x="132017" y="74200"/>
                  </a:cubicBezTo>
                  <a:cubicBezTo>
                    <a:pt x="121634" y="74200"/>
                    <a:pt x="113919" y="77057"/>
                    <a:pt x="108680" y="82677"/>
                  </a:cubicBezTo>
                  <a:cubicBezTo>
                    <a:pt x="103537" y="88297"/>
                    <a:pt x="98298" y="97250"/>
                    <a:pt x="93154" y="109538"/>
                  </a:cubicBezTo>
                  <a:lnTo>
                    <a:pt x="45815" y="95441"/>
                  </a:lnTo>
                  <a:close/>
                  <a:moveTo>
                    <a:pt x="255842" y="366808"/>
                  </a:moveTo>
                  <a:cubicBezTo>
                    <a:pt x="244983" y="362522"/>
                    <a:pt x="232124" y="358997"/>
                    <a:pt x="217361" y="356235"/>
                  </a:cubicBezTo>
                  <a:cubicBezTo>
                    <a:pt x="202502" y="353378"/>
                    <a:pt x="186880" y="351949"/>
                    <a:pt x="170402" y="351949"/>
                  </a:cubicBezTo>
                  <a:cubicBezTo>
                    <a:pt x="143542" y="351949"/>
                    <a:pt x="122587" y="357092"/>
                    <a:pt x="107537" y="367475"/>
                  </a:cubicBezTo>
                  <a:cubicBezTo>
                    <a:pt x="92488" y="377857"/>
                    <a:pt x="84963" y="391954"/>
                    <a:pt x="84963" y="409861"/>
                  </a:cubicBezTo>
                  <a:lnTo>
                    <a:pt x="84963" y="411290"/>
                  </a:lnTo>
                  <a:cubicBezTo>
                    <a:pt x="84963" y="429197"/>
                    <a:pt x="91916" y="442817"/>
                    <a:pt x="105823" y="452247"/>
                  </a:cubicBezTo>
                  <a:cubicBezTo>
                    <a:pt x="119729" y="461677"/>
                    <a:pt x="136779" y="466344"/>
                    <a:pt x="157067" y="466344"/>
                  </a:cubicBezTo>
                  <a:cubicBezTo>
                    <a:pt x="171164" y="466344"/>
                    <a:pt x="184309" y="464439"/>
                    <a:pt x="196310" y="460724"/>
                  </a:cubicBezTo>
                  <a:cubicBezTo>
                    <a:pt x="208312" y="456914"/>
                    <a:pt x="218789" y="451676"/>
                    <a:pt x="227743" y="444818"/>
                  </a:cubicBezTo>
                  <a:cubicBezTo>
                    <a:pt x="236696" y="437960"/>
                    <a:pt x="243650" y="429768"/>
                    <a:pt x="248603" y="420053"/>
                  </a:cubicBezTo>
                  <a:cubicBezTo>
                    <a:pt x="253555" y="410432"/>
                    <a:pt x="256032" y="399669"/>
                    <a:pt x="256032" y="387858"/>
                  </a:cubicBezTo>
                  <a:lnTo>
                    <a:pt x="256032" y="366617"/>
                  </a:lnTo>
                  <a:close/>
                </a:path>
              </a:pathLst>
            </a:custGeom>
            <a:solidFill>
              <a:srgbClr val="44505E"/>
            </a:solidFill>
            <a:ln w="9525" cap="flat">
              <a:noFill/>
              <a:prstDash val="solid"/>
              <a:miter/>
            </a:ln>
          </p:spPr>
          <p:txBody>
            <a:bodyPr rtlCol="0" anchor="ctr"/>
            <a:lstStyle/>
            <a:p>
              <a:endParaRPr lang="pt-BR" noProof="0"/>
            </a:p>
          </p:txBody>
        </p:sp>
        <p:sp>
          <p:nvSpPr>
            <p:cNvPr id="31" name="Freeform: Shape 30">
              <a:extLst>
                <a:ext uri="{FF2B5EF4-FFF2-40B4-BE49-F238E27FC236}">
                  <a16:creationId xmlns:a16="http://schemas.microsoft.com/office/drawing/2014/main" id="{E50C0B5F-0B4B-2792-201F-B12052441550}"/>
                </a:ext>
              </a:extLst>
            </p:cNvPr>
            <p:cNvSpPr/>
            <p:nvPr/>
          </p:nvSpPr>
          <p:spPr>
            <a:xfrm>
              <a:off x="6506477" y="699959"/>
              <a:ext cx="100038" cy="97908"/>
            </a:xfrm>
            <a:custGeom>
              <a:avLst/>
              <a:gdLst>
                <a:gd name="connsiteX0" fmla="*/ 197834 w 397954"/>
                <a:gd name="connsiteY0" fmla="*/ 389477 h 389477"/>
                <a:gd name="connsiteX1" fmla="*/ 119063 w 397954"/>
                <a:gd name="connsiteY1" fmla="*/ 374237 h 389477"/>
                <a:gd name="connsiteX2" fmla="*/ 56198 w 397954"/>
                <a:gd name="connsiteY2" fmla="*/ 332899 h 389477"/>
                <a:gd name="connsiteX3" fmla="*/ 14859 w 397954"/>
                <a:gd name="connsiteY3" fmla="*/ 271463 h 389477"/>
                <a:gd name="connsiteX4" fmla="*/ 0 w 397954"/>
                <a:gd name="connsiteY4" fmla="*/ 196501 h 389477"/>
                <a:gd name="connsiteX5" fmla="*/ 0 w 397954"/>
                <a:gd name="connsiteY5" fmla="*/ 195072 h 389477"/>
                <a:gd name="connsiteX6" fmla="*/ 15240 w 397954"/>
                <a:gd name="connsiteY6" fmla="*/ 119444 h 389477"/>
                <a:gd name="connsiteX7" fmla="*/ 56960 w 397954"/>
                <a:gd name="connsiteY7" fmla="*/ 57626 h 389477"/>
                <a:gd name="connsiteX8" fmla="*/ 119825 w 397954"/>
                <a:gd name="connsiteY8" fmla="*/ 15526 h 389477"/>
                <a:gd name="connsiteX9" fmla="*/ 199358 w 397954"/>
                <a:gd name="connsiteY9" fmla="*/ 0 h 389477"/>
                <a:gd name="connsiteX10" fmla="*/ 278892 w 397954"/>
                <a:gd name="connsiteY10" fmla="*/ 15240 h 389477"/>
                <a:gd name="connsiteX11" fmla="*/ 341757 w 397954"/>
                <a:gd name="connsiteY11" fmla="*/ 56959 h 389477"/>
                <a:gd name="connsiteX12" fmla="*/ 383096 w 397954"/>
                <a:gd name="connsiteY12" fmla="*/ 118396 h 389477"/>
                <a:gd name="connsiteX13" fmla="*/ 397955 w 397954"/>
                <a:gd name="connsiteY13" fmla="*/ 193643 h 389477"/>
                <a:gd name="connsiteX14" fmla="*/ 397955 w 397954"/>
                <a:gd name="connsiteY14" fmla="*/ 195072 h 389477"/>
                <a:gd name="connsiteX15" fmla="*/ 382714 w 397954"/>
                <a:gd name="connsiteY15" fmla="*/ 270034 h 389477"/>
                <a:gd name="connsiteX16" fmla="*/ 340995 w 397954"/>
                <a:gd name="connsiteY16" fmla="*/ 331851 h 389477"/>
                <a:gd name="connsiteX17" fmla="*/ 277749 w 397954"/>
                <a:gd name="connsiteY17" fmla="*/ 373856 h 389477"/>
                <a:gd name="connsiteX18" fmla="*/ 197834 w 397954"/>
                <a:gd name="connsiteY18" fmla="*/ 389382 h 389477"/>
                <a:gd name="connsiteX19" fmla="*/ 199263 w 397954"/>
                <a:gd name="connsiteY19" fmla="*/ 315278 h 389477"/>
                <a:gd name="connsiteX20" fmla="*/ 245936 w 397954"/>
                <a:gd name="connsiteY20" fmla="*/ 305753 h 389477"/>
                <a:gd name="connsiteX21" fmla="*/ 281369 w 397954"/>
                <a:gd name="connsiteY21" fmla="*/ 279940 h 389477"/>
                <a:gd name="connsiteX22" fmla="*/ 303848 w 397954"/>
                <a:gd name="connsiteY22" fmla="*/ 242125 h 389477"/>
                <a:gd name="connsiteX23" fmla="*/ 311563 w 397954"/>
                <a:gd name="connsiteY23" fmla="*/ 196501 h 389477"/>
                <a:gd name="connsiteX24" fmla="*/ 311563 w 397954"/>
                <a:gd name="connsiteY24" fmla="*/ 195072 h 389477"/>
                <a:gd name="connsiteX25" fmla="*/ 303181 w 397954"/>
                <a:gd name="connsiteY25" fmla="*/ 148400 h 389477"/>
                <a:gd name="connsiteX26" fmla="*/ 279654 w 397954"/>
                <a:gd name="connsiteY26" fmla="*/ 110204 h 389477"/>
                <a:gd name="connsiteX27" fmla="*/ 243840 w 397954"/>
                <a:gd name="connsiteY27" fmla="*/ 84392 h 389477"/>
                <a:gd name="connsiteX28" fmla="*/ 197834 w 397954"/>
                <a:gd name="connsiteY28" fmla="*/ 74867 h 389477"/>
                <a:gd name="connsiteX29" fmla="*/ 151829 w 397954"/>
                <a:gd name="connsiteY29" fmla="*/ 84392 h 389477"/>
                <a:gd name="connsiteX30" fmla="*/ 116396 w 397954"/>
                <a:gd name="connsiteY30" fmla="*/ 109823 h 389477"/>
                <a:gd name="connsiteX31" fmla="*/ 93916 w 397954"/>
                <a:gd name="connsiteY31" fmla="*/ 147638 h 389477"/>
                <a:gd name="connsiteX32" fmla="*/ 86201 w 397954"/>
                <a:gd name="connsiteY32" fmla="*/ 193548 h 389477"/>
                <a:gd name="connsiteX33" fmla="*/ 86201 w 397954"/>
                <a:gd name="connsiteY33" fmla="*/ 194977 h 389477"/>
                <a:gd name="connsiteX34" fmla="*/ 94583 w 397954"/>
                <a:gd name="connsiteY34" fmla="*/ 241268 h 389477"/>
                <a:gd name="connsiteX35" fmla="*/ 118110 w 397954"/>
                <a:gd name="connsiteY35" fmla="*/ 279463 h 389477"/>
                <a:gd name="connsiteX36" fmla="*/ 153924 w 397954"/>
                <a:gd name="connsiteY36" fmla="*/ 305562 h 389477"/>
                <a:gd name="connsiteX37" fmla="*/ 199263 w 397954"/>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954" h="389477">
                  <a:moveTo>
                    <a:pt x="197834" y="389477"/>
                  </a:moveTo>
                  <a:cubicBezTo>
                    <a:pt x="169545" y="389477"/>
                    <a:pt x="143351" y="384429"/>
                    <a:pt x="119063" y="374237"/>
                  </a:cubicBezTo>
                  <a:cubicBezTo>
                    <a:pt x="94774" y="364141"/>
                    <a:pt x="73819" y="350330"/>
                    <a:pt x="56198" y="332899"/>
                  </a:cubicBezTo>
                  <a:cubicBezTo>
                    <a:pt x="38576" y="315468"/>
                    <a:pt x="24765" y="294989"/>
                    <a:pt x="14859" y="271463"/>
                  </a:cubicBezTo>
                  <a:cubicBezTo>
                    <a:pt x="4953" y="247936"/>
                    <a:pt x="0" y="222980"/>
                    <a:pt x="0" y="196501"/>
                  </a:cubicBezTo>
                  <a:lnTo>
                    <a:pt x="0" y="195072"/>
                  </a:lnTo>
                  <a:cubicBezTo>
                    <a:pt x="0" y="168212"/>
                    <a:pt x="5049" y="143066"/>
                    <a:pt x="15240" y="119444"/>
                  </a:cubicBezTo>
                  <a:cubicBezTo>
                    <a:pt x="25337" y="95917"/>
                    <a:pt x="39243" y="75248"/>
                    <a:pt x="56960" y="57626"/>
                  </a:cubicBezTo>
                  <a:cubicBezTo>
                    <a:pt x="74676" y="39910"/>
                    <a:pt x="95631" y="25908"/>
                    <a:pt x="119825" y="15526"/>
                  </a:cubicBezTo>
                  <a:cubicBezTo>
                    <a:pt x="144113" y="5144"/>
                    <a:pt x="170593" y="0"/>
                    <a:pt x="199358" y="0"/>
                  </a:cubicBezTo>
                  <a:cubicBezTo>
                    <a:pt x="228124" y="0"/>
                    <a:pt x="254604" y="5048"/>
                    <a:pt x="278892" y="15240"/>
                  </a:cubicBezTo>
                  <a:cubicBezTo>
                    <a:pt x="303181" y="25337"/>
                    <a:pt x="324136" y="39243"/>
                    <a:pt x="341757" y="56959"/>
                  </a:cubicBezTo>
                  <a:cubicBezTo>
                    <a:pt x="359379" y="74676"/>
                    <a:pt x="373189" y="95155"/>
                    <a:pt x="383096" y="118396"/>
                  </a:cubicBezTo>
                  <a:cubicBezTo>
                    <a:pt x="393002" y="141732"/>
                    <a:pt x="397955" y="166783"/>
                    <a:pt x="397955" y="193643"/>
                  </a:cubicBezTo>
                  <a:lnTo>
                    <a:pt x="397955" y="195072"/>
                  </a:lnTo>
                  <a:cubicBezTo>
                    <a:pt x="397955" y="221456"/>
                    <a:pt x="392906" y="246412"/>
                    <a:pt x="382714" y="270034"/>
                  </a:cubicBezTo>
                  <a:cubicBezTo>
                    <a:pt x="372618" y="293561"/>
                    <a:pt x="358712" y="314230"/>
                    <a:pt x="340995" y="331851"/>
                  </a:cubicBezTo>
                  <a:cubicBezTo>
                    <a:pt x="323279" y="349472"/>
                    <a:pt x="302229" y="363569"/>
                    <a:pt x="277749" y="373856"/>
                  </a:cubicBezTo>
                  <a:cubicBezTo>
                    <a:pt x="253270" y="384238"/>
                    <a:pt x="226600" y="389382"/>
                    <a:pt x="197834" y="389382"/>
                  </a:cubicBezTo>
                  <a:close/>
                  <a:moveTo>
                    <a:pt x="199263" y="315278"/>
                  </a:moveTo>
                  <a:cubicBezTo>
                    <a:pt x="216598" y="315278"/>
                    <a:pt x="232124" y="312039"/>
                    <a:pt x="245936" y="305753"/>
                  </a:cubicBezTo>
                  <a:cubicBezTo>
                    <a:pt x="259747" y="299371"/>
                    <a:pt x="271558" y="290798"/>
                    <a:pt x="281369" y="279940"/>
                  </a:cubicBezTo>
                  <a:cubicBezTo>
                    <a:pt x="291179" y="269081"/>
                    <a:pt x="298704" y="256508"/>
                    <a:pt x="303848" y="242125"/>
                  </a:cubicBezTo>
                  <a:cubicBezTo>
                    <a:pt x="308991" y="227743"/>
                    <a:pt x="311563" y="212598"/>
                    <a:pt x="311563" y="196501"/>
                  </a:cubicBezTo>
                  <a:lnTo>
                    <a:pt x="311563" y="195072"/>
                  </a:lnTo>
                  <a:cubicBezTo>
                    <a:pt x="311563" y="178594"/>
                    <a:pt x="308706" y="163068"/>
                    <a:pt x="303181" y="148400"/>
                  </a:cubicBezTo>
                  <a:cubicBezTo>
                    <a:pt x="297561" y="133826"/>
                    <a:pt x="289750" y="121063"/>
                    <a:pt x="279654" y="110204"/>
                  </a:cubicBezTo>
                  <a:cubicBezTo>
                    <a:pt x="269557" y="99346"/>
                    <a:pt x="257651" y="90773"/>
                    <a:pt x="243840" y="84392"/>
                  </a:cubicBezTo>
                  <a:cubicBezTo>
                    <a:pt x="230029" y="78010"/>
                    <a:pt x="214694" y="74867"/>
                    <a:pt x="197834" y="74867"/>
                  </a:cubicBezTo>
                  <a:cubicBezTo>
                    <a:pt x="180975" y="74867"/>
                    <a:pt x="165640" y="78010"/>
                    <a:pt x="151829" y="84392"/>
                  </a:cubicBezTo>
                  <a:cubicBezTo>
                    <a:pt x="138017" y="90773"/>
                    <a:pt x="126206" y="99250"/>
                    <a:pt x="116396" y="109823"/>
                  </a:cubicBezTo>
                  <a:cubicBezTo>
                    <a:pt x="106585" y="120396"/>
                    <a:pt x="99060" y="133064"/>
                    <a:pt x="93916" y="147638"/>
                  </a:cubicBezTo>
                  <a:cubicBezTo>
                    <a:pt x="88773" y="162211"/>
                    <a:pt x="86201" y="177546"/>
                    <a:pt x="86201" y="193548"/>
                  </a:cubicBezTo>
                  <a:lnTo>
                    <a:pt x="86201" y="194977"/>
                  </a:lnTo>
                  <a:cubicBezTo>
                    <a:pt x="86201" y="211455"/>
                    <a:pt x="89059" y="226886"/>
                    <a:pt x="94583" y="241268"/>
                  </a:cubicBezTo>
                  <a:cubicBezTo>
                    <a:pt x="100203" y="255651"/>
                    <a:pt x="108014" y="268319"/>
                    <a:pt x="118110" y="279463"/>
                  </a:cubicBezTo>
                  <a:cubicBezTo>
                    <a:pt x="128207" y="290608"/>
                    <a:pt x="140113" y="299275"/>
                    <a:pt x="153924" y="305562"/>
                  </a:cubicBezTo>
                  <a:cubicBezTo>
                    <a:pt x="167735" y="311944"/>
                    <a:pt x="182785"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32" name="Freeform: Shape 31">
              <a:extLst>
                <a:ext uri="{FF2B5EF4-FFF2-40B4-BE49-F238E27FC236}">
                  <a16:creationId xmlns:a16="http://schemas.microsoft.com/office/drawing/2014/main" id="{CB4DB540-D8E2-1FBE-0FDB-C26254ECC39F}"/>
                </a:ext>
              </a:extLst>
            </p:cNvPr>
            <p:cNvSpPr/>
            <p:nvPr/>
          </p:nvSpPr>
          <p:spPr>
            <a:xfrm>
              <a:off x="662071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1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7 w 296894"/>
                <a:gd name="connsiteY23" fmla="*/ 42863 h 386714"/>
                <a:gd name="connsiteX24" fmla="*/ 254318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7 w 296894"/>
                <a:gd name="connsiteY30" fmla="*/ 124587 h 386714"/>
                <a:gd name="connsiteX31" fmla="*/ 122682 w 296894"/>
                <a:gd name="connsiteY31" fmla="*/ 138017 h 386714"/>
                <a:gd name="connsiteX32" fmla="*/ 149543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6" y="348901"/>
                    <a:pt x="0" y="330327"/>
                  </a:cubicBezTo>
                  <a:lnTo>
                    <a:pt x="38195" y="272224"/>
                  </a:lnTo>
                  <a:cubicBezTo>
                    <a:pt x="58484" y="287274"/>
                    <a:pt x="79057" y="298704"/>
                    <a:pt x="100013" y="306514"/>
                  </a:cubicBezTo>
                  <a:cubicBezTo>
                    <a:pt x="120968" y="314325"/>
                    <a:pt x="141161" y="318135"/>
                    <a:pt x="160401" y="318135"/>
                  </a:cubicBezTo>
                  <a:cubicBezTo>
                    <a:pt x="179641" y="318135"/>
                    <a:pt x="192977"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1" y="241078"/>
                    <a:pt x="176498" y="237553"/>
                    <a:pt x="166401"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2" y="40195"/>
                    <a:pt x="56864" y="30385"/>
                  </a:cubicBezTo>
                  <a:cubicBezTo>
                    <a:pt x="68866" y="20479"/>
                    <a:pt x="82962" y="12954"/>
                    <a:pt x="99250" y="7810"/>
                  </a:cubicBezTo>
                  <a:cubicBezTo>
                    <a:pt x="115538" y="2667"/>
                    <a:pt x="132779" y="0"/>
                    <a:pt x="151162" y="0"/>
                  </a:cubicBezTo>
                  <a:cubicBezTo>
                    <a:pt x="174688" y="0"/>
                    <a:pt x="198501" y="3810"/>
                    <a:pt x="222504" y="11430"/>
                  </a:cubicBezTo>
                  <a:cubicBezTo>
                    <a:pt x="246507" y="19050"/>
                    <a:pt x="268414" y="29527"/>
                    <a:pt x="288227" y="42863"/>
                  </a:cubicBezTo>
                  <a:lnTo>
                    <a:pt x="254318"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7" y="124587"/>
                  </a:cubicBezTo>
                  <a:cubicBezTo>
                    <a:pt x="108585" y="129540"/>
                    <a:pt x="114871" y="134017"/>
                    <a:pt x="122682" y="138017"/>
                  </a:cubicBezTo>
                  <a:cubicBezTo>
                    <a:pt x="130493" y="142018"/>
                    <a:pt x="139351" y="145732"/>
                    <a:pt x="149543"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696"/>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33" name="Freeform: Shape 32">
              <a:extLst>
                <a:ext uri="{FF2B5EF4-FFF2-40B4-BE49-F238E27FC236}">
                  <a16:creationId xmlns:a16="http://schemas.microsoft.com/office/drawing/2014/main" id="{0D265E1A-036E-715B-A7D5-FB641ED6472F}"/>
                </a:ext>
              </a:extLst>
            </p:cNvPr>
            <p:cNvSpPr/>
            <p:nvPr/>
          </p:nvSpPr>
          <p:spPr>
            <a:xfrm>
              <a:off x="526693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4 w 202977"/>
                <a:gd name="connsiteY17" fmla="*/ 19907 h 239267"/>
                <a:gd name="connsiteX18" fmla="*/ 59246 w 202977"/>
                <a:gd name="connsiteY18" fmla="*/ 5429 h 239267"/>
                <a:gd name="connsiteX19" fmla="*/ 104299 w 202977"/>
                <a:gd name="connsiteY19" fmla="*/ 0 h 239267"/>
                <a:gd name="connsiteX20" fmla="*/ 178880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5 w 202977"/>
                <a:gd name="connsiteY27" fmla="*/ 211169 h 239267"/>
                <a:gd name="connsiteX28" fmla="*/ 122968 w 202977"/>
                <a:gd name="connsiteY28" fmla="*/ 206788 h 239267"/>
                <a:gd name="connsiteX29" fmla="*/ 147257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9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9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3" y="99155"/>
                    <a:pt x="58674" y="95917"/>
                  </a:cubicBezTo>
                  <a:cubicBezTo>
                    <a:pt x="70771" y="92678"/>
                    <a:pt x="84011" y="90964"/>
                    <a:pt x="98584" y="90964"/>
                  </a:cubicBezTo>
                  <a:cubicBezTo>
                    <a:pt x="113157" y="90964"/>
                    <a:pt x="126301" y="91821"/>
                    <a:pt x="137160" y="93631"/>
                  </a:cubicBezTo>
                  <a:cubicBezTo>
                    <a:pt x="148019" y="95440"/>
                    <a:pt x="158687" y="97822"/>
                    <a:pt x="169069" y="100774"/>
                  </a:cubicBezTo>
                  <a:lnTo>
                    <a:pt x="169069" y="93726"/>
                  </a:lnTo>
                  <a:cubicBezTo>
                    <a:pt x="169069" y="73342"/>
                    <a:pt x="163068" y="57912"/>
                    <a:pt x="151162" y="47339"/>
                  </a:cubicBezTo>
                  <a:cubicBezTo>
                    <a:pt x="139256" y="36862"/>
                    <a:pt x="122492" y="31623"/>
                    <a:pt x="100679" y="31623"/>
                  </a:cubicBezTo>
                  <a:cubicBezTo>
                    <a:pt x="86963" y="31623"/>
                    <a:pt x="74581" y="33147"/>
                    <a:pt x="63437" y="36100"/>
                  </a:cubicBezTo>
                  <a:cubicBezTo>
                    <a:pt x="52292" y="39053"/>
                    <a:pt x="41339" y="43053"/>
                    <a:pt x="30671" y="48196"/>
                  </a:cubicBezTo>
                  <a:lnTo>
                    <a:pt x="20384" y="19907"/>
                  </a:lnTo>
                  <a:cubicBezTo>
                    <a:pt x="33147" y="13906"/>
                    <a:pt x="46101" y="9049"/>
                    <a:pt x="59246" y="5429"/>
                  </a:cubicBezTo>
                  <a:cubicBezTo>
                    <a:pt x="72295" y="1810"/>
                    <a:pt x="87344" y="0"/>
                    <a:pt x="104299" y="0"/>
                  </a:cubicBezTo>
                  <a:cubicBezTo>
                    <a:pt x="137065" y="0"/>
                    <a:pt x="161925" y="8477"/>
                    <a:pt x="178880"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99" y="239173"/>
                    <a:pt x="86011" y="239173"/>
                  </a:cubicBezTo>
                  <a:close/>
                  <a:moveTo>
                    <a:pt x="93155" y="211169"/>
                  </a:moveTo>
                  <a:cubicBezTo>
                    <a:pt x="103823" y="211169"/>
                    <a:pt x="113728" y="209740"/>
                    <a:pt x="122968" y="206788"/>
                  </a:cubicBezTo>
                  <a:cubicBezTo>
                    <a:pt x="132207" y="203835"/>
                    <a:pt x="140208" y="199644"/>
                    <a:pt x="147257"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9" y="121444"/>
                  </a:cubicBezTo>
                  <a:cubicBezTo>
                    <a:pt x="129445" y="119348"/>
                    <a:pt x="116776"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244" y="190500"/>
                    <a:pt x="47435" y="195358"/>
                    <a:pt x="52769" y="199263"/>
                  </a:cubicBezTo>
                  <a:cubicBezTo>
                    <a:pt x="58103" y="203073"/>
                    <a:pt x="64294" y="206026"/>
                    <a:pt x="71247" y="208121"/>
                  </a:cubicBezTo>
                  <a:cubicBezTo>
                    <a:pt x="78200" y="210217"/>
                    <a:pt x="85535"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34" name="Freeform: Shape 33">
              <a:extLst>
                <a:ext uri="{FF2B5EF4-FFF2-40B4-BE49-F238E27FC236}">
                  <a16:creationId xmlns:a16="http://schemas.microsoft.com/office/drawing/2014/main" id="{B3ECBDD9-B14A-6C9D-84E4-5027C75A4505}"/>
                </a:ext>
              </a:extLst>
            </p:cNvPr>
            <p:cNvSpPr/>
            <p:nvPr/>
          </p:nvSpPr>
          <p:spPr>
            <a:xfrm>
              <a:off x="5331227"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9" y="303276"/>
                    <a:pt x="71438" y="300895"/>
                  </a:cubicBezTo>
                  <a:cubicBezTo>
                    <a:pt x="63437"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2"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5" name="Freeform: Shape 34">
              <a:extLst>
                <a:ext uri="{FF2B5EF4-FFF2-40B4-BE49-F238E27FC236}">
                  <a16:creationId xmlns:a16="http://schemas.microsoft.com/office/drawing/2014/main" id="{546A67B9-938A-D4FE-B864-829B2CCBD8DB}"/>
                </a:ext>
              </a:extLst>
            </p:cNvPr>
            <p:cNvSpPr/>
            <p:nvPr/>
          </p:nvSpPr>
          <p:spPr>
            <a:xfrm>
              <a:off x="5381845"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191 w 39242"/>
                <a:gd name="connsiteY5" fmla="*/ 88392 h 319182"/>
                <a:gd name="connsiteX6" fmla="*/ 36576 w 39242"/>
                <a:gd name="connsiteY6" fmla="*/ 88392 h 319182"/>
                <a:gd name="connsiteX7" fmla="*/ 36576 w 39242"/>
                <a:gd name="connsiteY7" fmla="*/ 319183 h 319182"/>
                <a:gd name="connsiteX8" fmla="*/ 2191 w 39242"/>
                <a:gd name="connsiteY8" fmla="*/ 319183 h 319182"/>
                <a:gd name="connsiteX9" fmla="*/ 2191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191" y="88392"/>
                  </a:moveTo>
                  <a:lnTo>
                    <a:pt x="36576" y="88392"/>
                  </a:lnTo>
                  <a:lnTo>
                    <a:pt x="36576" y="319183"/>
                  </a:lnTo>
                  <a:lnTo>
                    <a:pt x="2191" y="319183"/>
                  </a:lnTo>
                  <a:lnTo>
                    <a:pt x="2191" y="88392"/>
                  </a:lnTo>
                  <a:close/>
                </a:path>
              </a:pathLst>
            </a:custGeom>
            <a:solidFill>
              <a:srgbClr val="44505E"/>
            </a:solidFill>
            <a:ln w="9525" cap="flat">
              <a:noFill/>
              <a:prstDash val="solid"/>
              <a:miter/>
            </a:ln>
          </p:spPr>
          <p:txBody>
            <a:bodyPr rtlCol="0" anchor="ctr"/>
            <a:lstStyle/>
            <a:p>
              <a:endParaRPr lang="pt-BR" noProof="0"/>
            </a:p>
          </p:txBody>
        </p:sp>
        <p:sp>
          <p:nvSpPr>
            <p:cNvPr id="36" name="Freeform: Shape 35">
              <a:extLst>
                <a:ext uri="{FF2B5EF4-FFF2-40B4-BE49-F238E27FC236}">
                  <a16:creationId xmlns:a16="http://schemas.microsoft.com/office/drawing/2014/main" id="{BB28F4FA-9B55-517F-1839-6BA503AE21DE}"/>
                </a:ext>
              </a:extLst>
            </p:cNvPr>
            <p:cNvSpPr/>
            <p:nvPr/>
          </p:nvSpPr>
          <p:spPr>
            <a:xfrm>
              <a:off x="5406076"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8" y="303276"/>
                    <a:pt x="71438" y="300895"/>
                  </a:cubicBezTo>
                  <a:cubicBezTo>
                    <a:pt x="63436"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1"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7" name="Freeform: Shape 36">
              <a:extLst>
                <a:ext uri="{FF2B5EF4-FFF2-40B4-BE49-F238E27FC236}">
                  <a16:creationId xmlns:a16="http://schemas.microsoft.com/office/drawing/2014/main" id="{223B2257-75CB-BEA9-E489-950201F34473}"/>
                </a:ext>
              </a:extLst>
            </p:cNvPr>
            <p:cNvSpPr/>
            <p:nvPr/>
          </p:nvSpPr>
          <p:spPr>
            <a:xfrm>
              <a:off x="5455545" y="925297"/>
              <a:ext cx="50594" cy="59238"/>
            </a:xfrm>
            <a:custGeom>
              <a:avLst/>
              <a:gdLst>
                <a:gd name="connsiteX0" fmla="*/ 88392 w 201263"/>
                <a:gd name="connsiteY0" fmla="*/ 235648 h 235648"/>
                <a:gd name="connsiteX1" fmla="*/ 51149 w 201263"/>
                <a:gd name="connsiteY1" fmla="*/ 228981 h 235648"/>
                <a:gd name="connsiteX2" fmla="*/ 23431 w 201263"/>
                <a:gd name="connsiteY2" fmla="*/ 210026 h 235648"/>
                <a:gd name="connsiteX3" fmla="*/ 6001 w 201263"/>
                <a:gd name="connsiteY3" fmla="*/ 180784 h 235648"/>
                <a:gd name="connsiteX4" fmla="*/ 0 w 201263"/>
                <a:gd name="connsiteY4" fmla="*/ 143256 h 235648"/>
                <a:gd name="connsiteX5" fmla="*/ 0 w 201263"/>
                <a:gd name="connsiteY5" fmla="*/ 0 h 235648"/>
                <a:gd name="connsiteX6" fmla="*/ 34385 w 201263"/>
                <a:gd name="connsiteY6" fmla="*/ 0 h 235648"/>
                <a:gd name="connsiteX7" fmla="*/ 34385 w 201263"/>
                <a:gd name="connsiteY7" fmla="*/ 134493 h 235648"/>
                <a:gd name="connsiteX8" fmla="*/ 50864 w 201263"/>
                <a:gd name="connsiteY8" fmla="*/ 185261 h 235648"/>
                <a:gd name="connsiteX9" fmla="*/ 98203 w 201263"/>
                <a:gd name="connsiteY9" fmla="*/ 203930 h 235648"/>
                <a:gd name="connsiteX10" fmla="*/ 125635 w 201263"/>
                <a:gd name="connsiteY10" fmla="*/ 198787 h 235648"/>
                <a:gd name="connsiteX11" fmla="*/ 147542 w 201263"/>
                <a:gd name="connsiteY11" fmla="*/ 184118 h 235648"/>
                <a:gd name="connsiteX12" fmla="*/ 162020 w 201263"/>
                <a:gd name="connsiteY12" fmla="*/ 161163 h 235648"/>
                <a:gd name="connsiteX13" fmla="*/ 167354 w 201263"/>
                <a:gd name="connsiteY13" fmla="*/ 131826 h 235648"/>
                <a:gd name="connsiteX14" fmla="*/ 167354 w 201263"/>
                <a:gd name="connsiteY14" fmla="*/ 0 h 235648"/>
                <a:gd name="connsiteX15" fmla="*/ 201263 w 201263"/>
                <a:gd name="connsiteY15" fmla="*/ 0 h 235648"/>
                <a:gd name="connsiteX16" fmla="*/ 201263 w 201263"/>
                <a:gd name="connsiteY16" fmla="*/ 230791 h 235648"/>
                <a:gd name="connsiteX17" fmla="*/ 167354 w 201263"/>
                <a:gd name="connsiteY17" fmla="*/ 230791 h 235648"/>
                <a:gd name="connsiteX18" fmla="*/ 167354 w 201263"/>
                <a:gd name="connsiteY18" fmla="*/ 190595 h 235648"/>
                <a:gd name="connsiteX19" fmla="*/ 136969 w 201263"/>
                <a:gd name="connsiteY19" fmla="*/ 222504 h 235648"/>
                <a:gd name="connsiteX20" fmla="*/ 88297 w 201263"/>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263" h="235648">
                  <a:moveTo>
                    <a:pt x="88392" y="235648"/>
                  </a:moveTo>
                  <a:cubicBezTo>
                    <a:pt x="74390" y="235648"/>
                    <a:pt x="62008" y="233363"/>
                    <a:pt x="51149" y="228981"/>
                  </a:cubicBezTo>
                  <a:cubicBezTo>
                    <a:pt x="40291" y="224504"/>
                    <a:pt x="31052" y="218218"/>
                    <a:pt x="23431"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864" y="185261"/>
                  </a:cubicBezTo>
                  <a:cubicBezTo>
                    <a:pt x="61913" y="197739"/>
                    <a:pt x="77629" y="203930"/>
                    <a:pt x="98203" y="203930"/>
                  </a:cubicBezTo>
                  <a:cubicBezTo>
                    <a:pt x="108014" y="203930"/>
                    <a:pt x="117158" y="202216"/>
                    <a:pt x="125635" y="198787"/>
                  </a:cubicBezTo>
                  <a:cubicBezTo>
                    <a:pt x="134112" y="195358"/>
                    <a:pt x="141351" y="190500"/>
                    <a:pt x="147542" y="184118"/>
                  </a:cubicBezTo>
                  <a:cubicBezTo>
                    <a:pt x="153638" y="177736"/>
                    <a:pt x="158496" y="170116"/>
                    <a:pt x="162020" y="161163"/>
                  </a:cubicBezTo>
                  <a:cubicBezTo>
                    <a:pt x="165640" y="152305"/>
                    <a:pt x="167354" y="142494"/>
                    <a:pt x="167354" y="131826"/>
                  </a:cubicBezTo>
                  <a:lnTo>
                    <a:pt x="167354" y="0"/>
                  </a:lnTo>
                  <a:lnTo>
                    <a:pt x="201263" y="0"/>
                  </a:lnTo>
                  <a:lnTo>
                    <a:pt x="201263" y="230791"/>
                  </a:lnTo>
                  <a:lnTo>
                    <a:pt x="167354" y="230791"/>
                  </a:lnTo>
                  <a:lnTo>
                    <a:pt x="167354" y="190595"/>
                  </a:lnTo>
                  <a:cubicBezTo>
                    <a:pt x="159639" y="203073"/>
                    <a:pt x="149447" y="213741"/>
                    <a:pt x="136969" y="222504"/>
                  </a:cubicBezTo>
                  <a:cubicBezTo>
                    <a:pt x="124492" y="231267"/>
                    <a:pt x="108299" y="235648"/>
                    <a:pt x="88297" y="235648"/>
                  </a:cubicBezTo>
                  <a:close/>
                </a:path>
              </a:pathLst>
            </a:custGeom>
            <a:solidFill>
              <a:srgbClr val="44505E"/>
            </a:solidFill>
            <a:ln w="9525" cap="flat">
              <a:noFill/>
              <a:prstDash val="solid"/>
              <a:miter/>
            </a:ln>
          </p:spPr>
          <p:txBody>
            <a:bodyPr rtlCol="0" anchor="ctr"/>
            <a:lstStyle/>
            <a:p>
              <a:endParaRPr lang="pt-BR" noProof="0"/>
            </a:p>
          </p:txBody>
        </p:sp>
        <p:sp>
          <p:nvSpPr>
            <p:cNvPr id="38" name="Freeform: Shape 37">
              <a:extLst>
                <a:ext uri="{FF2B5EF4-FFF2-40B4-BE49-F238E27FC236}">
                  <a16:creationId xmlns:a16="http://schemas.microsoft.com/office/drawing/2014/main" id="{90CEAC57-42D2-A073-1B30-D81095F0D8E7}"/>
                </a:ext>
              </a:extLst>
            </p:cNvPr>
            <p:cNvSpPr/>
            <p:nvPr/>
          </p:nvSpPr>
          <p:spPr>
            <a:xfrm>
              <a:off x="5522205" y="901353"/>
              <a:ext cx="58567" cy="83182"/>
            </a:xfrm>
            <a:custGeom>
              <a:avLst/>
              <a:gdLst>
                <a:gd name="connsiteX0" fmla="*/ 110204 w 232981"/>
                <a:gd name="connsiteY0" fmla="*/ 330898 h 330898"/>
                <a:gd name="connsiteX1" fmla="*/ 69628 w 232981"/>
                <a:gd name="connsiteY1" fmla="*/ 322897 h 330898"/>
                <a:gd name="connsiteX2" fmla="*/ 34385 w 232981"/>
                <a:gd name="connsiteY2" fmla="*/ 299466 h 330898"/>
                <a:gd name="connsiteX3" fmla="*/ 9334 w 232981"/>
                <a:gd name="connsiteY3" fmla="*/ 261938 h 330898"/>
                <a:gd name="connsiteX4" fmla="*/ 0 w 232981"/>
                <a:gd name="connsiteY4" fmla="*/ 211264 h 330898"/>
                <a:gd name="connsiteX5" fmla="*/ 0 w 232981"/>
                <a:gd name="connsiteY5" fmla="*/ 210407 h 330898"/>
                <a:gd name="connsiteX6" fmla="*/ 9334 w 232981"/>
                <a:gd name="connsiteY6" fmla="*/ 159925 h 330898"/>
                <a:gd name="connsiteX7" fmla="*/ 34385 w 232981"/>
                <a:gd name="connsiteY7" fmla="*/ 122206 h 330898"/>
                <a:gd name="connsiteX8" fmla="*/ 69628 w 232981"/>
                <a:gd name="connsiteY8" fmla="*/ 98488 h 330898"/>
                <a:gd name="connsiteX9" fmla="*/ 110204 w 232981"/>
                <a:gd name="connsiteY9" fmla="*/ 90202 h 330898"/>
                <a:gd name="connsiteX10" fmla="*/ 139636 w 232981"/>
                <a:gd name="connsiteY10" fmla="*/ 94202 h 330898"/>
                <a:gd name="connsiteX11" fmla="*/ 163735 w 232981"/>
                <a:gd name="connsiteY11" fmla="*/ 104870 h 330898"/>
                <a:gd name="connsiteX12" fmla="*/ 183166 w 232981"/>
                <a:gd name="connsiteY12" fmla="*/ 120491 h 330898"/>
                <a:gd name="connsiteX13" fmla="*/ 198596 w 232981"/>
                <a:gd name="connsiteY13" fmla="*/ 139255 h 330898"/>
                <a:gd name="connsiteX14" fmla="*/ 198596 w 232981"/>
                <a:gd name="connsiteY14" fmla="*/ 0 h 330898"/>
                <a:gd name="connsiteX15" fmla="*/ 232981 w 232981"/>
                <a:gd name="connsiteY15" fmla="*/ 0 h 330898"/>
                <a:gd name="connsiteX16" fmla="*/ 232981 w 232981"/>
                <a:gd name="connsiteY16" fmla="*/ 325850 h 330898"/>
                <a:gd name="connsiteX17" fmla="*/ 198596 w 232981"/>
                <a:gd name="connsiteY17" fmla="*/ 325850 h 330898"/>
                <a:gd name="connsiteX18" fmla="*/ 198596 w 232981"/>
                <a:gd name="connsiteY18" fmla="*/ 279463 h 330898"/>
                <a:gd name="connsiteX19" fmla="*/ 182785 w 232981"/>
                <a:gd name="connsiteY19" fmla="*/ 299085 h 330898"/>
                <a:gd name="connsiteX20" fmla="*/ 163354 w 232981"/>
                <a:gd name="connsiteY20" fmla="*/ 315658 h 330898"/>
                <a:gd name="connsiteX21" fmla="*/ 139446 w 232981"/>
                <a:gd name="connsiteY21" fmla="*/ 326803 h 330898"/>
                <a:gd name="connsiteX22" fmla="*/ 110204 w 232981"/>
                <a:gd name="connsiteY22" fmla="*/ 330803 h 330898"/>
                <a:gd name="connsiteX23" fmla="*/ 116491 w 232981"/>
                <a:gd name="connsiteY23" fmla="*/ 300133 h 330898"/>
                <a:gd name="connsiteX24" fmla="*/ 147542 w 232981"/>
                <a:gd name="connsiteY24" fmla="*/ 293656 h 330898"/>
                <a:gd name="connsiteX25" fmla="*/ 174307 w 232981"/>
                <a:gd name="connsiteY25" fmla="*/ 275368 h 330898"/>
                <a:gd name="connsiteX26" fmla="*/ 193072 w 232981"/>
                <a:gd name="connsiteY26" fmla="*/ 247269 h 330898"/>
                <a:gd name="connsiteX27" fmla="*/ 200025 w 232981"/>
                <a:gd name="connsiteY27" fmla="*/ 210883 h 330898"/>
                <a:gd name="connsiteX28" fmla="*/ 200025 w 232981"/>
                <a:gd name="connsiteY28" fmla="*/ 210026 h 330898"/>
                <a:gd name="connsiteX29" fmla="*/ 193072 w 232981"/>
                <a:gd name="connsiteY29" fmla="*/ 173641 h 330898"/>
                <a:gd name="connsiteX30" fmla="*/ 174307 w 232981"/>
                <a:gd name="connsiteY30" fmla="*/ 145732 h 330898"/>
                <a:gd name="connsiteX31" fmla="*/ 147542 w 232981"/>
                <a:gd name="connsiteY31" fmla="*/ 127635 h 330898"/>
                <a:gd name="connsiteX32" fmla="*/ 116491 w 232981"/>
                <a:gd name="connsiteY32" fmla="*/ 121158 h 330898"/>
                <a:gd name="connsiteX33" fmla="*/ 84772 w 232981"/>
                <a:gd name="connsiteY33" fmla="*/ 127159 h 330898"/>
                <a:gd name="connsiteX34" fmla="*/ 59150 w 232981"/>
                <a:gd name="connsiteY34" fmla="*/ 144589 h 330898"/>
                <a:gd name="connsiteX35" fmla="*/ 41719 w 232981"/>
                <a:gd name="connsiteY35" fmla="*/ 172498 h 330898"/>
                <a:gd name="connsiteX36" fmla="*/ 35242 w 232981"/>
                <a:gd name="connsiteY36" fmla="*/ 210026 h 330898"/>
                <a:gd name="connsiteX37" fmla="*/ 35242 w 232981"/>
                <a:gd name="connsiteY37" fmla="*/ 210883 h 330898"/>
                <a:gd name="connsiteX38" fmla="*/ 41719 w 232981"/>
                <a:gd name="connsiteY38" fmla="*/ 247936 h 330898"/>
                <a:gd name="connsiteX39" fmla="*/ 59341 w 232981"/>
                <a:gd name="connsiteY39" fmla="*/ 276034 h 330898"/>
                <a:gd name="connsiteX40" fmla="*/ 85249 w 232981"/>
                <a:gd name="connsiteY40" fmla="*/ 293941 h 330898"/>
                <a:gd name="connsiteX41" fmla="*/ 116491 w 23298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30898">
                  <a:moveTo>
                    <a:pt x="110204" y="330898"/>
                  </a:moveTo>
                  <a:cubicBezTo>
                    <a:pt x="96202" y="330898"/>
                    <a:pt x="82677" y="328231"/>
                    <a:pt x="69628" y="322897"/>
                  </a:cubicBezTo>
                  <a:cubicBezTo>
                    <a:pt x="56578" y="317563"/>
                    <a:pt x="44767" y="309753"/>
                    <a:pt x="34385" y="299466"/>
                  </a:cubicBezTo>
                  <a:cubicBezTo>
                    <a:pt x="24003" y="289179"/>
                    <a:pt x="15621" y="276701"/>
                    <a:pt x="9334" y="261938"/>
                  </a:cubicBezTo>
                  <a:cubicBezTo>
                    <a:pt x="3048" y="247174"/>
                    <a:pt x="0" y="230314"/>
                    <a:pt x="0" y="211264"/>
                  </a:cubicBezTo>
                  <a:lnTo>
                    <a:pt x="0" y="210407"/>
                  </a:lnTo>
                  <a:cubicBezTo>
                    <a:pt x="0" y="191643"/>
                    <a:pt x="3143" y="174879"/>
                    <a:pt x="9334" y="159925"/>
                  </a:cubicBezTo>
                  <a:cubicBezTo>
                    <a:pt x="15621" y="145066"/>
                    <a:pt x="23908" y="132493"/>
                    <a:pt x="34385" y="122206"/>
                  </a:cubicBezTo>
                  <a:cubicBezTo>
                    <a:pt x="44767" y="111919"/>
                    <a:pt x="56578" y="104013"/>
                    <a:pt x="69628" y="98488"/>
                  </a:cubicBezTo>
                  <a:cubicBezTo>
                    <a:pt x="82677" y="92964"/>
                    <a:pt x="96298" y="90202"/>
                    <a:pt x="110204" y="90202"/>
                  </a:cubicBezTo>
                  <a:cubicBezTo>
                    <a:pt x="120967" y="90202"/>
                    <a:pt x="130778" y="91535"/>
                    <a:pt x="139636" y="94202"/>
                  </a:cubicBezTo>
                  <a:cubicBezTo>
                    <a:pt x="148590" y="96869"/>
                    <a:pt x="156591" y="100489"/>
                    <a:pt x="163735" y="104870"/>
                  </a:cubicBezTo>
                  <a:cubicBezTo>
                    <a:pt x="170878" y="109347"/>
                    <a:pt x="177356" y="114586"/>
                    <a:pt x="183166" y="120491"/>
                  </a:cubicBezTo>
                  <a:cubicBezTo>
                    <a:pt x="188976" y="126492"/>
                    <a:pt x="194119" y="132683"/>
                    <a:pt x="198596" y="139255"/>
                  </a:cubicBezTo>
                  <a:lnTo>
                    <a:pt x="198596" y="0"/>
                  </a:lnTo>
                  <a:lnTo>
                    <a:pt x="232981" y="0"/>
                  </a:lnTo>
                  <a:lnTo>
                    <a:pt x="232981" y="325850"/>
                  </a:lnTo>
                  <a:lnTo>
                    <a:pt x="198596" y="325850"/>
                  </a:lnTo>
                  <a:lnTo>
                    <a:pt x="198596" y="279463"/>
                  </a:lnTo>
                  <a:cubicBezTo>
                    <a:pt x="193834" y="286321"/>
                    <a:pt x="188595" y="292894"/>
                    <a:pt x="182785" y="299085"/>
                  </a:cubicBezTo>
                  <a:cubicBezTo>
                    <a:pt x="176974" y="305371"/>
                    <a:pt x="170498" y="310896"/>
                    <a:pt x="163354" y="315658"/>
                  </a:cubicBezTo>
                  <a:cubicBezTo>
                    <a:pt x="156210" y="320421"/>
                    <a:pt x="148209" y="324136"/>
                    <a:pt x="139446" y="326803"/>
                  </a:cubicBezTo>
                  <a:cubicBezTo>
                    <a:pt x="130683" y="329470"/>
                    <a:pt x="120967" y="330803"/>
                    <a:pt x="110204" y="330803"/>
                  </a:cubicBezTo>
                  <a:close/>
                  <a:moveTo>
                    <a:pt x="116491" y="300133"/>
                  </a:moveTo>
                  <a:cubicBezTo>
                    <a:pt x="127159" y="300133"/>
                    <a:pt x="137541" y="297942"/>
                    <a:pt x="147542" y="293656"/>
                  </a:cubicBezTo>
                  <a:cubicBezTo>
                    <a:pt x="157544" y="289369"/>
                    <a:pt x="166402" y="283273"/>
                    <a:pt x="174307" y="275368"/>
                  </a:cubicBezTo>
                  <a:cubicBezTo>
                    <a:pt x="182213" y="267462"/>
                    <a:pt x="188404" y="258127"/>
                    <a:pt x="193072" y="247269"/>
                  </a:cubicBezTo>
                  <a:cubicBezTo>
                    <a:pt x="197644" y="236410"/>
                    <a:pt x="200025" y="224314"/>
                    <a:pt x="200025" y="210883"/>
                  </a:cubicBezTo>
                  <a:lnTo>
                    <a:pt x="200025" y="210026"/>
                  </a:lnTo>
                  <a:cubicBezTo>
                    <a:pt x="200025" y="196596"/>
                    <a:pt x="197739" y="184499"/>
                    <a:pt x="193072" y="173641"/>
                  </a:cubicBezTo>
                  <a:cubicBezTo>
                    <a:pt x="188500" y="162782"/>
                    <a:pt x="182213" y="153448"/>
                    <a:pt x="174307" y="145732"/>
                  </a:cubicBezTo>
                  <a:cubicBezTo>
                    <a:pt x="166402" y="138017"/>
                    <a:pt x="157448" y="132016"/>
                    <a:pt x="147542" y="127635"/>
                  </a:cubicBezTo>
                  <a:cubicBezTo>
                    <a:pt x="137541" y="123349"/>
                    <a:pt x="127254" y="121158"/>
                    <a:pt x="116491" y="121158"/>
                  </a:cubicBezTo>
                  <a:cubicBezTo>
                    <a:pt x="105156" y="121158"/>
                    <a:pt x="94583" y="123158"/>
                    <a:pt x="84772" y="127159"/>
                  </a:cubicBezTo>
                  <a:cubicBezTo>
                    <a:pt x="74962" y="131159"/>
                    <a:pt x="66389" y="136969"/>
                    <a:pt x="59150" y="144589"/>
                  </a:cubicBezTo>
                  <a:cubicBezTo>
                    <a:pt x="51816" y="152114"/>
                    <a:pt x="46101" y="161449"/>
                    <a:pt x="41719" y="172498"/>
                  </a:cubicBezTo>
                  <a:cubicBezTo>
                    <a:pt x="37433" y="183451"/>
                    <a:pt x="35242" y="196024"/>
                    <a:pt x="35242" y="210026"/>
                  </a:cubicBezTo>
                  <a:lnTo>
                    <a:pt x="35242" y="210883"/>
                  </a:lnTo>
                  <a:cubicBezTo>
                    <a:pt x="35242" y="224599"/>
                    <a:pt x="37433" y="236982"/>
                    <a:pt x="41719" y="247936"/>
                  </a:cubicBezTo>
                  <a:cubicBezTo>
                    <a:pt x="46006" y="258984"/>
                    <a:pt x="51911" y="268319"/>
                    <a:pt x="59341" y="276034"/>
                  </a:cubicBezTo>
                  <a:cubicBezTo>
                    <a:pt x="66770" y="283750"/>
                    <a:pt x="75438" y="289750"/>
                    <a:pt x="85249" y="293941"/>
                  </a:cubicBezTo>
                  <a:cubicBezTo>
                    <a:pt x="95059" y="298132"/>
                    <a:pt x="105442" y="300228"/>
                    <a:pt x="116491" y="300228"/>
                  </a:cubicBezTo>
                  <a:close/>
                </a:path>
              </a:pathLst>
            </a:custGeom>
            <a:solidFill>
              <a:srgbClr val="44505E"/>
            </a:solidFill>
            <a:ln w="9525" cap="flat">
              <a:noFill/>
              <a:prstDash val="solid"/>
              <a:miter/>
            </a:ln>
          </p:spPr>
          <p:txBody>
            <a:bodyPr rtlCol="0" anchor="ctr"/>
            <a:lstStyle/>
            <a:p>
              <a:endParaRPr lang="pt-BR" noProof="0"/>
            </a:p>
          </p:txBody>
        </p:sp>
        <p:sp>
          <p:nvSpPr>
            <p:cNvPr id="39" name="Freeform: Shape 38">
              <a:extLst>
                <a:ext uri="{FF2B5EF4-FFF2-40B4-BE49-F238E27FC236}">
                  <a16:creationId xmlns:a16="http://schemas.microsoft.com/office/drawing/2014/main" id="{C1836B89-43E2-6791-CA09-5D5FBF3C7547}"/>
                </a:ext>
              </a:extLst>
            </p:cNvPr>
            <p:cNvSpPr/>
            <p:nvPr/>
          </p:nvSpPr>
          <p:spPr>
            <a:xfrm>
              <a:off x="5596504"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6963 w 218217"/>
                <a:gd name="connsiteY3" fmla="*/ 206026 h 241077"/>
                <a:gd name="connsiteX4" fmla="*/ 116015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8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1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452 w 218217"/>
                <a:gd name="connsiteY25" fmla="*/ 106299 h 241077"/>
                <a:gd name="connsiteX26" fmla="*/ 176784 w 218217"/>
                <a:gd name="connsiteY26" fmla="*/ 76771 h 241077"/>
                <a:gd name="connsiteX27" fmla="*/ 162306 w 218217"/>
                <a:gd name="connsiteY27" fmla="*/ 52101 h 241077"/>
                <a:gd name="connsiteX28" fmla="*/ 140018 w 218217"/>
                <a:gd name="connsiteY28" fmla="*/ 35242 h 241077"/>
                <a:gd name="connsiteX29" fmla="*/ 109919 w 218217"/>
                <a:gd name="connsiteY29" fmla="*/ 29051 h 241077"/>
                <a:gd name="connsiteX30" fmla="*/ 82201 w 218217"/>
                <a:gd name="connsiteY30" fmla="*/ 34766 h 241077"/>
                <a:gd name="connsiteX31" fmla="*/ 59436 w 218217"/>
                <a:gd name="connsiteY31" fmla="*/ 50959 h 241077"/>
                <a:gd name="connsiteX32" fmla="*/ 43148 w 218217"/>
                <a:gd name="connsiteY32" fmla="*/ 75628 h 241077"/>
                <a:gd name="connsiteX33" fmla="*/ 34862 w 218217"/>
                <a:gd name="connsiteY33" fmla="*/ 106204 h 241077"/>
                <a:gd name="connsiteX34" fmla="*/ 183547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724" y="202597"/>
                    <a:pt x="86963" y="206026"/>
                  </a:cubicBezTo>
                  <a:cubicBezTo>
                    <a:pt x="96203" y="209455"/>
                    <a:pt x="105823" y="211169"/>
                    <a:pt x="116015" y="211169"/>
                  </a:cubicBezTo>
                  <a:cubicBezTo>
                    <a:pt x="132112" y="211169"/>
                    <a:pt x="145828" y="208216"/>
                    <a:pt x="157353" y="202216"/>
                  </a:cubicBezTo>
                  <a:cubicBezTo>
                    <a:pt x="168783" y="196310"/>
                    <a:pt x="179261" y="188404"/>
                    <a:pt x="188786" y="178594"/>
                  </a:cubicBezTo>
                  <a:lnTo>
                    <a:pt x="210217" y="197834"/>
                  </a:lnTo>
                  <a:cubicBezTo>
                    <a:pt x="198596" y="210979"/>
                    <a:pt x="185357" y="221361"/>
                    <a:pt x="170498" y="229267"/>
                  </a:cubicBezTo>
                  <a:cubicBezTo>
                    <a:pt x="155639"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679" y="0"/>
                    <a:pt x="110681"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452" y="106299"/>
                  </a:moveTo>
                  <a:cubicBezTo>
                    <a:pt x="182594" y="95917"/>
                    <a:pt x="180308" y="86106"/>
                    <a:pt x="176784" y="76771"/>
                  </a:cubicBezTo>
                  <a:cubicBezTo>
                    <a:pt x="173165" y="67437"/>
                    <a:pt x="168402" y="59245"/>
                    <a:pt x="162306" y="52101"/>
                  </a:cubicBezTo>
                  <a:cubicBezTo>
                    <a:pt x="156210" y="44958"/>
                    <a:pt x="148781" y="39338"/>
                    <a:pt x="140018" y="35242"/>
                  </a:cubicBezTo>
                  <a:cubicBezTo>
                    <a:pt x="131254" y="31147"/>
                    <a:pt x="121158" y="29051"/>
                    <a:pt x="109919" y="29051"/>
                  </a:cubicBezTo>
                  <a:cubicBezTo>
                    <a:pt x="100108" y="29051"/>
                    <a:pt x="90869" y="30956"/>
                    <a:pt x="82201" y="34766"/>
                  </a:cubicBezTo>
                  <a:cubicBezTo>
                    <a:pt x="73533" y="38671"/>
                    <a:pt x="66008" y="44005"/>
                    <a:pt x="59436" y="50959"/>
                  </a:cubicBezTo>
                  <a:cubicBezTo>
                    <a:pt x="52864" y="57912"/>
                    <a:pt x="47435" y="66103"/>
                    <a:pt x="43148" y="75628"/>
                  </a:cubicBezTo>
                  <a:cubicBezTo>
                    <a:pt x="38862" y="85058"/>
                    <a:pt x="36100" y="95345"/>
                    <a:pt x="34862" y="106204"/>
                  </a:cubicBezTo>
                  <a:lnTo>
                    <a:pt x="183547" y="106204"/>
                  </a:lnTo>
                  <a:close/>
                </a:path>
              </a:pathLst>
            </a:custGeom>
            <a:solidFill>
              <a:srgbClr val="44505E"/>
            </a:solidFill>
            <a:ln w="9525" cap="flat">
              <a:noFill/>
              <a:prstDash val="solid"/>
              <a:miter/>
            </a:ln>
          </p:spPr>
          <p:txBody>
            <a:bodyPr rtlCol="0" anchor="ctr"/>
            <a:lstStyle/>
            <a:p>
              <a:endParaRPr lang="pt-BR" noProof="0"/>
            </a:p>
          </p:txBody>
        </p:sp>
        <p:sp>
          <p:nvSpPr>
            <p:cNvPr id="40" name="Freeform: Shape 39">
              <a:extLst>
                <a:ext uri="{FF2B5EF4-FFF2-40B4-BE49-F238E27FC236}">
                  <a16:creationId xmlns:a16="http://schemas.microsoft.com/office/drawing/2014/main" id="{10FA4940-2FC9-E206-45C3-DA41E1A9C59D}"/>
                </a:ext>
              </a:extLst>
            </p:cNvPr>
            <p:cNvSpPr/>
            <p:nvPr/>
          </p:nvSpPr>
          <p:spPr>
            <a:xfrm>
              <a:off x="5661680" y="924268"/>
              <a:ext cx="44656" cy="60195"/>
            </a:xfrm>
            <a:custGeom>
              <a:avLst/>
              <a:gdLst>
                <a:gd name="connsiteX0" fmla="*/ 95536 w 177641"/>
                <a:gd name="connsiteY0" fmla="*/ 239268 h 239458"/>
                <a:gd name="connsiteX1" fmla="*/ 45053 w 177641"/>
                <a:gd name="connsiteY1" fmla="*/ 230124 h 239458"/>
                <a:gd name="connsiteX2" fmla="*/ 0 w 177641"/>
                <a:gd name="connsiteY2" fmla="*/ 205359 h 239458"/>
                <a:gd name="connsiteX3" fmla="*/ 17431 w 177641"/>
                <a:gd name="connsiteY3" fmla="*/ 180785 h 239458"/>
                <a:gd name="connsiteX4" fmla="*/ 56483 w 177641"/>
                <a:gd name="connsiteY4" fmla="*/ 202692 h 239458"/>
                <a:gd name="connsiteX5" fmla="*/ 97346 w 177641"/>
                <a:gd name="connsiteY5" fmla="*/ 210217 h 239458"/>
                <a:gd name="connsiteX6" fmla="*/ 131731 w 177641"/>
                <a:gd name="connsiteY6" fmla="*/ 200406 h 239458"/>
                <a:gd name="connsiteX7" fmla="*/ 145161 w 177641"/>
                <a:gd name="connsiteY7" fmla="*/ 173641 h 239458"/>
                <a:gd name="connsiteX8" fmla="*/ 145161 w 177641"/>
                <a:gd name="connsiteY8" fmla="*/ 172784 h 239458"/>
                <a:gd name="connsiteX9" fmla="*/ 140494 w 177641"/>
                <a:gd name="connsiteY9" fmla="*/ 158020 h 239458"/>
                <a:gd name="connsiteX10" fmla="*/ 127730 w 177641"/>
                <a:gd name="connsiteY10" fmla="*/ 147066 h 239458"/>
                <a:gd name="connsiteX11" fmla="*/ 109157 w 177641"/>
                <a:gd name="connsiteY11" fmla="*/ 138779 h 239458"/>
                <a:gd name="connsiteX12" fmla="*/ 87535 w 177641"/>
                <a:gd name="connsiteY12" fmla="*/ 132112 h 239458"/>
                <a:gd name="connsiteX13" fmla="*/ 60484 w 177641"/>
                <a:gd name="connsiteY13" fmla="*/ 123444 h 239458"/>
                <a:gd name="connsiteX14" fmla="*/ 35909 w 177641"/>
                <a:gd name="connsiteY14" fmla="*/ 111633 h 239458"/>
                <a:gd name="connsiteX15" fmla="*/ 18098 w 177641"/>
                <a:gd name="connsiteY15" fmla="*/ 93726 h 239458"/>
                <a:gd name="connsiteX16" fmla="*/ 11144 w 177641"/>
                <a:gd name="connsiteY16" fmla="*/ 66961 h 239458"/>
                <a:gd name="connsiteX17" fmla="*/ 11144 w 177641"/>
                <a:gd name="connsiteY17" fmla="*/ 66008 h 239458"/>
                <a:gd name="connsiteX18" fmla="*/ 16954 w 177641"/>
                <a:gd name="connsiteY18" fmla="*/ 39053 h 239458"/>
                <a:gd name="connsiteX19" fmla="*/ 33242 w 177641"/>
                <a:gd name="connsiteY19" fmla="*/ 18098 h 239458"/>
                <a:gd name="connsiteX20" fmla="*/ 58293 w 177641"/>
                <a:gd name="connsiteY20" fmla="*/ 4667 h 239458"/>
                <a:gd name="connsiteX21" fmla="*/ 89725 w 177641"/>
                <a:gd name="connsiteY21" fmla="*/ 0 h 239458"/>
                <a:gd name="connsiteX22" fmla="*/ 133064 w 177641"/>
                <a:gd name="connsiteY22" fmla="*/ 6953 h 239458"/>
                <a:gd name="connsiteX23" fmla="*/ 172784 w 177641"/>
                <a:gd name="connsiteY23" fmla="*/ 25527 h 239458"/>
                <a:gd name="connsiteX24" fmla="*/ 157163 w 177641"/>
                <a:gd name="connsiteY24" fmla="*/ 51435 h 239458"/>
                <a:gd name="connsiteX25" fmla="*/ 123444 w 177641"/>
                <a:gd name="connsiteY25" fmla="*/ 35147 h 239458"/>
                <a:gd name="connsiteX26" fmla="*/ 88868 w 177641"/>
                <a:gd name="connsiteY26" fmla="*/ 29146 h 239458"/>
                <a:gd name="connsiteX27" fmla="*/ 56293 w 177641"/>
                <a:gd name="connsiteY27" fmla="*/ 38767 h 239458"/>
                <a:gd name="connsiteX28" fmla="*/ 44196 w 177641"/>
                <a:gd name="connsiteY28" fmla="*/ 62675 h 239458"/>
                <a:gd name="connsiteX29" fmla="*/ 44196 w 177641"/>
                <a:gd name="connsiteY29" fmla="*/ 63627 h 239458"/>
                <a:gd name="connsiteX30" fmla="*/ 49149 w 177641"/>
                <a:gd name="connsiteY30" fmla="*/ 77724 h 239458"/>
                <a:gd name="connsiteX31" fmla="*/ 62294 w 177641"/>
                <a:gd name="connsiteY31" fmla="*/ 88202 h 239458"/>
                <a:gd name="connsiteX32" fmla="*/ 81248 w 177641"/>
                <a:gd name="connsiteY32" fmla="*/ 96203 h 239458"/>
                <a:gd name="connsiteX33" fmla="*/ 103537 w 177641"/>
                <a:gd name="connsiteY33" fmla="*/ 103346 h 239458"/>
                <a:gd name="connsiteX34" fmla="*/ 130112 w 177641"/>
                <a:gd name="connsiteY34" fmla="*/ 112300 h 239458"/>
                <a:gd name="connsiteX35" fmla="*/ 154019 w 177641"/>
                <a:gd name="connsiteY35" fmla="*/ 124778 h 239458"/>
                <a:gd name="connsiteX36" fmla="*/ 171164 w 177641"/>
                <a:gd name="connsiteY36" fmla="*/ 143066 h 239458"/>
                <a:gd name="connsiteX37" fmla="*/ 177641 w 177641"/>
                <a:gd name="connsiteY37" fmla="*/ 169450 h 239458"/>
                <a:gd name="connsiteX38" fmla="*/ 177641 w 177641"/>
                <a:gd name="connsiteY38" fmla="*/ 170307 h 239458"/>
                <a:gd name="connsiteX39" fmla="*/ 171164 w 177641"/>
                <a:gd name="connsiteY39" fmla="*/ 199549 h 239458"/>
                <a:gd name="connsiteX40" fmla="*/ 153734 w 177641"/>
                <a:gd name="connsiteY40" fmla="*/ 221171 h 239458"/>
                <a:gd name="connsiteX41" fmla="*/ 127825 w 177641"/>
                <a:gd name="connsiteY41" fmla="*/ 234791 h 239458"/>
                <a:gd name="connsiteX42" fmla="*/ 95441 w 177641"/>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641" h="239458">
                  <a:moveTo>
                    <a:pt x="95536" y="239268"/>
                  </a:moveTo>
                  <a:cubicBezTo>
                    <a:pt x="78867" y="239268"/>
                    <a:pt x="62008" y="236220"/>
                    <a:pt x="45053" y="230124"/>
                  </a:cubicBezTo>
                  <a:cubicBezTo>
                    <a:pt x="28099" y="224028"/>
                    <a:pt x="13049" y="215741"/>
                    <a:pt x="0" y="205359"/>
                  </a:cubicBezTo>
                  <a:lnTo>
                    <a:pt x="17431" y="180785"/>
                  </a:lnTo>
                  <a:cubicBezTo>
                    <a:pt x="29908"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542" y="162211"/>
                    <a:pt x="140494" y="158020"/>
                  </a:cubicBezTo>
                  <a:cubicBezTo>
                    <a:pt x="137350" y="153829"/>
                    <a:pt x="133160" y="150209"/>
                    <a:pt x="127730" y="147066"/>
                  </a:cubicBezTo>
                  <a:cubicBezTo>
                    <a:pt x="122396" y="143923"/>
                    <a:pt x="116205" y="141161"/>
                    <a:pt x="109157" y="138779"/>
                  </a:cubicBezTo>
                  <a:cubicBezTo>
                    <a:pt x="102203" y="136398"/>
                    <a:pt x="94964" y="134207"/>
                    <a:pt x="87535" y="132112"/>
                  </a:cubicBezTo>
                  <a:cubicBezTo>
                    <a:pt x="78581" y="129445"/>
                    <a:pt x="69628" y="126492"/>
                    <a:pt x="60484" y="123444"/>
                  </a:cubicBezTo>
                  <a:cubicBezTo>
                    <a:pt x="51435" y="120301"/>
                    <a:pt x="43244" y="116396"/>
                    <a:pt x="35909" y="111633"/>
                  </a:cubicBezTo>
                  <a:cubicBezTo>
                    <a:pt x="28575" y="106871"/>
                    <a:pt x="22670" y="100870"/>
                    <a:pt x="18098" y="93726"/>
                  </a:cubicBezTo>
                  <a:cubicBezTo>
                    <a:pt x="13525" y="86582"/>
                    <a:pt x="11144" y="77629"/>
                    <a:pt x="11144" y="66961"/>
                  </a:cubicBezTo>
                  <a:lnTo>
                    <a:pt x="11144" y="66008"/>
                  </a:lnTo>
                  <a:cubicBezTo>
                    <a:pt x="11144" y="56198"/>
                    <a:pt x="13049" y="47149"/>
                    <a:pt x="16954" y="39053"/>
                  </a:cubicBezTo>
                  <a:cubicBezTo>
                    <a:pt x="20860" y="30861"/>
                    <a:pt x="26289" y="23908"/>
                    <a:pt x="33242" y="18098"/>
                  </a:cubicBezTo>
                  <a:cubicBezTo>
                    <a:pt x="40196" y="12287"/>
                    <a:pt x="48578" y="7811"/>
                    <a:pt x="58293" y="4667"/>
                  </a:cubicBezTo>
                  <a:cubicBezTo>
                    <a:pt x="67913" y="1524"/>
                    <a:pt x="78486" y="0"/>
                    <a:pt x="89725" y="0"/>
                  </a:cubicBezTo>
                  <a:cubicBezTo>
                    <a:pt x="104013" y="0"/>
                    <a:pt x="118396" y="2286"/>
                    <a:pt x="133064" y="6953"/>
                  </a:cubicBezTo>
                  <a:cubicBezTo>
                    <a:pt x="147638" y="11621"/>
                    <a:pt x="160877" y="17717"/>
                    <a:pt x="172784" y="25527"/>
                  </a:cubicBezTo>
                  <a:lnTo>
                    <a:pt x="157163" y="51435"/>
                  </a:lnTo>
                  <a:cubicBezTo>
                    <a:pt x="146399" y="44577"/>
                    <a:pt x="135255" y="39148"/>
                    <a:pt x="123444" y="35147"/>
                  </a:cubicBezTo>
                  <a:cubicBezTo>
                    <a:pt x="111728" y="31147"/>
                    <a:pt x="100203" y="29146"/>
                    <a:pt x="88868" y="29146"/>
                  </a:cubicBezTo>
                  <a:cubicBezTo>
                    <a:pt x="75152" y="29146"/>
                    <a:pt x="64294" y="32385"/>
                    <a:pt x="56293" y="38767"/>
                  </a:cubicBezTo>
                  <a:cubicBezTo>
                    <a:pt x="48292" y="45149"/>
                    <a:pt x="44196" y="53150"/>
                    <a:pt x="44196" y="62675"/>
                  </a:cubicBezTo>
                  <a:lnTo>
                    <a:pt x="44196" y="63627"/>
                  </a:lnTo>
                  <a:cubicBezTo>
                    <a:pt x="44196" y="68961"/>
                    <a:pt x="45815" y="73628"/>
                    <a:pt x="49149" y="77724"/>
                  </a:cubicBezTo>
                  <a:cubicBezTo>
                    <a:pt x="52388" y="81725"/>
                    <a:pt x="56769" y="85249"/>
                    <a:pt x="62294" y="88202"/>
                  </a:cubicBezTo>
                  <a:cubicBezTo>
                    <a:pt x="67818" y="91154"/>
                    <a:pt x="74104" y="93821"/>
                    <a:pt x="81248" y="96203"/>
                  </a:cubicBezTo>
                  <a:cubicBezTo>
                    <a:pt x="88392" y="98584"/>
                    <a:pt x="95821" y="100965"/>
                    <a:pt x="103537" y="103346"/>
                  </a:cubicBezTo>
                  <a:cubicBezTo>
                    <a:pt x="112490" y="106013"/>
                    <a:pt x="121349" y="108966"/>
                    <a:pt x="130112" y="112300"/>
                  </a:cubicBezTo>
                  <a:cubicBezTo>
                    <a:pt x="138875" y="115538"/>
                    <a:pt x="146875" y="119729"/>
                    <a:pt x="154019" y="124778"/>
                  </a:cubicBezTo>
                  <a:cubicBezTo>
                    <a:pt x="161163" y="129826"/>
                    <a:pt x="166878" y="135922"/>
                    <a:pt x="171164" y="143066"/>
                  </a:cubicBezTo>
                  <a:cubicBezTo>
                    <a:pt x="175450" y="150209"/>
                    <a:pt x="177641" y="158972"/>
                    <a:pt x="177641" y="169450"/>
                  </a:cubicBezTo>
                  <a:lnTo>
                    <a:pt x="177641" y="170307"/>
                  </a:lnTo>
                  <a:cubicBezTo>
                    <a:pt x="177641" y="181356"/>
                    <a:pt x="175450" y="191071"/>
                    <a:pt x="171164" y="199549"/>
                  </a:cubicBezTo>
                  <a:cubicBezTo>
                    <a:pt x="166878" y="208026"/>
                    <a:pt x="161068" y="215265"/>
                    <a:pt x="153734" y="221171"/>
                  </a:cubicBezTo>
                  <a:cubicBezTo>
                    <a:pt x="146495" y="227171"/>
                    <a:pt x="137827" y="231648"/>
                    <a:pt x="127825" y="234791"/>
                  </a:cubicBezTo>
                  <a:cubicBezTo>
                    <a:pt x="117824" y="237935"/>
                    <a:pt x="107061" y="239459"/>
                    <a:pt x="95441" y="239459"/>
                  </a:cubicBezTo>
                  <a:close/>
                </a:path>
              </a:pathLst>
            </a:custGeom>
            <a:solidFill>
              <a:srgbClr val="44505E"/>
            </a:solidFill>
            <a:ln w="9525" cap="flat">
              <a:noFill/>
              <a:prstDash val="solid"/>
              <a:miter/>
            </a:ln>
          </p:spPr>
          <p:txBody>
            <a:bodyPr rtlCol="0" anchor="ctr"/>
            <a:lstStyle/>
            <a:p>
              <a:endParaRPr lang="pt-BR" noProof="0"/>
            </a:p>
          </p:txBody>
        </p:sp>
        <p:sp>
          <p:nvSpPr>
            <p:cNvPr id="41" name="Freeform: Shape 40">
              <a:extLst>
                <a:ext uri="{FF2B5EF4-FFF2-40B4-BE49-F238E27FC236}">
                  <a16:creationId xmlns:a16="http://schemas.microsoft.com/office/drawing/2014/main" id="{FEF797D5-3BC3-38F3-6032-9F169E4B94EE}"/>
                </a:ext>
              </a:extLst>
            </p:cNvPr>
            <p:cNvSpPr/>
            <p:nvPr/>
          </p:nvSpPr>
          <p:spPr>
            <a:xfrm>
              <a:off x="5752668" y="924028"/>
              <a:ext cx="58567" cy="77196"/>
            </a:xfrm>
            <a:custGeom>
              <a:avLst/>
              <a:gdLst>
                <a:gd name="connsiteX0" fmla="*/ 198596 w 232981"/>
                <a:gd name="connsiteY0" fmla="*/ 189357 h 307085"/>
                <a:gd name="connsiteX1" fmla="*/ 182785 w 232981"/>
                <a:gd name="connsiteY1" fmla="*/ 208978 h 307085"/>
                <a:gd name="connsiteX2" fmla="*/ 163354 w 232981"/>
                <a:gd name="connsiteY2" fmla="*/ 225552 h 307085"/>
                <a:gd name="connsiteX3" fmla="*/ 139446 w 232981"/>
                <a:gd name="connsiteY3" fmla="*/ 236696 h 307085"/>
                <a:gd name="connsiteX4" fmla="*/ 110204 w 232981"/>
                <a:gd name="connsiteY4" fmla="*/ 240697 h 307085"/>
                <a:gd name="connsiteX5" fmla="*/ 69628 w 232981"/>
                <a:gd name="connsiteY5" fmla="*/ 232696 h 307085"/>
                <a:gd name="connsiteX6" fmla="*/ 34385 w 232981"/>
                <a:gd name="connsiteY6" fmla="*/ 209264 h 307085"/>
                <a:gd name="connsiteX7" fmla="*/ 9335 w 232981"/>
                <a:gd name="connsiteY7" fmla="*/ 171736 h 307085"/>
                <a:gd name="connsiteX8" fmla="*/ 0 w 232981"/>
                <a:gd name="connsiteY8" fmla="*/ 121063 h 307085"/>
                <a:gd name="connsiteX9" fmla="*/ 0 w 232981"/>
                <a:gd name="connsiteY9" fmla="*/ 120205 h 307085"/>
                <a:gd name="connsiteX10" fmla="*/ 9335 w 232981"/>
                <a:gd name="connsiteY10" fmla="*/ 69723 h 307085"/>
                <a:gd name="connsiteX11" fmla="*/ 34385 w 232981"/>
                <a:gd name="connsiteY11" fmla="*/ 32004 h 307085"/>
                <a:gd name="connsiteX12" fmla="*/ 69628 w 232981"/>
                <a:gd name="connsiteY12" fmla="*/ 8287 h 307085"/>
                <a:gd name="connsiteX13" fmla="*/ 110204 w 232981"/>
                <a:gd name="connsiteY13" fmla="*/ 0 h 307085"/>
                <a:gd name="connsiteX14" fmla="*/ 139637 w 232981"/>
                <a:gd name="connsiteY14" fmla="*/ 4000 h 307085"/>
                <a:gd name="connsiteX15" fmla="*/ 163735 w 232981"/>
                <a:gd name="connsiteY15" fmla="*/ 14668 h 307085"/>
                <a:gd name="connsiteX16" fmla="*/ 183166 w 232981"/>
                <a:gd name="connsiteY16" fmla="*/ 30289 h 307085"/>
                <a:gd name="connsiteX17" fmla="*/ 198596 w 232981"/>
                <a:gd name="connsiteY17" fmla="*/ 49054 h 307085"/>
                <a:gd name="connsiteX18" fmla="*/ 198596 w 232981"/>
                <a:gd name="connsiteY18" fmla="*/ 4858 h 307085"/>
                <a:gd name="connsiteX19" fmla="*/ 232982 w 232981"/>
                <a:gd name="connsiteY19" fmla="*/ 4858 h 307085"/>
                <a:gd name="connsiteX20" fmla="*/ 232982 w 232981"/>
                <a:gd name="connsiteY20" fmla="*/ 307086 h 307085"/>
                <a:gd name="connsiteX21" fmla="*/ 198596 w 232981"/>
                <a:gd name="connsiteY21" fmla="*/ 307086 h 307085"/>
                <a:gd name="connsiteX22" fmla="*/ 198596 w 232981"/>
                <a:gd name="connsiteY22" fmla="*/ 189262 h 307085"/>
                <a:gd name="connsiteX23" fmla="*/ 116491 w 232981"/>
                <a:gd name="connsiteY23" fmla="*/ 209931 h 307085"/>
                <a:gd name="connsiteX24" fmla="*/ 147542 w 232981"/>
                <a:gd name="connsiteY24" fmla="*/ 203454 h 307085"/>
                <a:gd name="connsiteX25" fmla="*/ 174308 w 232981"/>
                <a:gd name="connsiteY25" fmla="*/ 185166 h 307085"/>
                <a:gd name="connsiteX26" fmla="*/ 193072 w 232981"/>
                <a:gd name="connsiteY26" fmla="*/ 157067 h 307085"/>
                <a:gd name="connsiteX27" fmla="*/ 200025 w 232981"/>
                <a:gd name="connsiteY27" fmla="*/ 120682 h 307085"/>
                <a:gd name="connsiteX28" fmla="*/ 200025 w 232981"/>
                <a:gd name="connsiteY28" fmla="*/ 119824 h 307085"/>
                <a:gd name="connsiteX29" fmla="*/ 193072 w 232981"/>
                <a:gd name="connsiteY29" fmla="*/ 83439 h 307085"/>
                <a:gd name="connsiteX30" fmla="*/ 174308 w 232981"/>
                <a:gd name="connsiteY30" fmla="*/ 55531 h 307085"/>
                <a:gd name="connsiteX31" fmla="*/ 147542 w 232981"/>
                <a:gd name="connsiteY31" fmla="*/ 37433 h 307085"/>
                <a:gd name="connsiteX32" fmla="*/ 116491 w 232981"/>
                <a:gd name="connsiteY32" fmla="*/ 30956 h 307085"/>
                <a:gd name="connsiteX33" fmla="*/ 84773 w 232981"/>
                <a:gd name="connsiteY33" fmla="*/ 36957 h 307085"/>
                <a:gd name="connsiteX34" fmla="*/ 59150 w 232981"/>
                <a:gd name="connsiteY34" fmla="*/ 54388 h 307085"/>
                <a:gd name="connsiteX35" fmla="*/ 41720 w 232981"/>
                <a:gd name="connsiteY35" fmla="*/ 82296 h 307085"/>
                <a:gd name="connsiteX36" fmla="*/ 35242 w 232981"/>
                <a:gd name="connsiteY36" fmla="*/ 119824 h 307085"/>
                <a:gd name="connsiteX37" fmla="*/ 35242 w 232981"/>
                <a:gd name="connsiteY37" fmla="*/ 120682 h 307085"/>
                <a:gd name="connsiteX38" fmla="*/ 41720 w 232981"/>
                <a:gd name="connsiteY38" fmla="*/ 157734 h 307085"/>
                <a:gd name="connsiteX39" fmla="*/ 59341 w 232981"/>
                <a:gd name="connsiteY39" fmla="*/ 185833 h 307085"/>
                <a:gd name="connsiteX40" fmla="*/ 85249 w 232981"/>
                <a:gd name="connsiteY40" fmla="*/ 203740 h 307085"/>
                <a:gd name="connsiteX41" fmla="*/ 116491 w 232981"/>
                <a:gd name="connsiteY41" fmla="*/ 210026 h 30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07085">
                  <a:moveTo>
                    <a:pt x="198596" y="189357"/>
                  </a:moveTo>
                  <a:cubicBezTo>
                    <a:pt x="193834" y="196215"/>
                    <a:pt x="188595" y="202787"/>
                    <a:pt x="182785" y="208978"/>
                  </a:cubicBezTo>
                  <a:cubicBezTo>
                    <a:pt x="176975" y="215265"/>
                    <a:pt x="170498" y="220789"/>
                    <a:pt x="163354" y="225552"/>
                  </a:cubicBezTo>
                  <a:cubicBezTo>
                    <a:pt x="156210" y="230314"/>
                    <a:pt x="148209" y="234029"/>
                    <a:pt x="139446" y="236696"/>
                  </a:cubicBezTo>
                  <a:cubicBezTo>
                    <a:pt x="130683" y="239363"/>
                    <a:pt x="120967" y="240697"/>
                    <a:pt x="110204" y="240697"/>
                  </a:cubicBezTo>
                  <a:cubicBezTo>
                    <a:pt x="96203" y="240697"/>
                    <a:pt x="82677" y="238030"/>
                    <a:pt x="69628" y="232696"/>
                  </a:cubicBezTo>
                  <a:cubicBezTo>
                    <a:pt x="56579" y="227362"/>
                    <a:pt x="44767" y="219551"/>
                    <a:pt x="34385" y="209264"/>
                  </a:cubicBezTo>
                  <a:cubicBezTo>
                    <a:pt x="24003" y="198977"/>
                    <a:pt x="15621" y="186499"/>
                    <a:pt x="9335" y="171736"/>
                  </a:cubicBezTo>
                  <a:cubicBezTo>
                    <a:pt x="3048" y="156972"/>
                    <a:pt x="0" y="140113"/>
                    <a:pt x="0" y="121063"/>
                  </a:cubicBezTo>
                  <a:lnTo>
                    <a:pt x="0" y="120205"/>
                  </a:lnTo>
                  <a:cubicBezTo>
                    <a:pt x="0" y="101441"/>
                    <a:pt x="3143" y="84677"/>
                    <a:pt x="9335" y="69723"/>
                  </a:cubicBezTo>
                  <a:cubicBezTo>
                    <a:pt x="15621" y="54864"/>
                    <a:pt x="23908" y="42291"/>
                    <a:pt x="34385" y="32004"/>
                  </a:cubicBezTo>
                  <a:cubicBezTo>
                    <a:pt x="44767" y="21717"/>
                    <a:pt x="56579" y="13811"/>
                    <a:pt x="69628" y="8287"/>
                  </a:cubicBezTo>
                  <a:cubicBezTo>
                    <a:pt x="82677" y="2762"/>
                    <a:pt x="96298" y="0"/>
                    <a:pt x="110204" y="0"/>
                  </a:cubicBezTo>
                  <a:cubicBezTo>
                    <a:pt x="120967" y="0"/>
                    <a:pt x="130778" y="1333"/>
                    <a:pt x="139637" y="4000"/>
                  </a:cubicBezTo>
                  <a:cubicBezTo>
                    <a:pt x="148590" y="6667"/>
                    <a:pt x="156591" y="10287"/>
                    <a:pt x="163735" y="14668"/>
                  </a:cubicBezTo>
                  <a:cubicBezTo>
                    <a:pt x="170879" y="19145"/>
                    <a:pt x="177356" y="24384"/>
                    <a:pt x="183166" y="30289"/>
                  </a:cubicBezTo>
                  <a:cubicBezTo>
                    <a:pt x="188976" y="36290"/>
                    <a:pt x="194120" y="42481"/>
                    <a:pt x="198596" y="49054"/>
                  </a:cubicBezTo>
                  <a:lnTo>
                    <a:pt x="198596" y="4858"/>
                  </a:lnTo>
                  <a:lnTo>
                    <a:pt x="232982" y="4858"/>
                  </a:lnTo>
                  <a:lnTo>
                    <a:pt x="232982" y="307086"/>
                  </a:lnTo>
                  <a:lnTo>
                    <a:pt x="198596" y="307086"/>
                  </a:lnTo>
                  <a:lnTo>
                    <a:pt x="198596" y="189262"/>
                  </a:lnTo>
                  <a:close/>
                  <a:moveTo>
                    <a:pt x="116491" y="209931"/>
                  </a:moveTo>
                  <a:cubicBezTo>
                    <a:pt x="127159" y="209931"/>
                    <a:pt x="137541" y="207740"/>
                    <a:pt x="147542" y="203454"/>
                  </a:cubicBezTo>
                  <a:cubicBezTo>
                    <a:pt x="157544" y="199168"/>
                    <a:pt x="166402" y="193072"/>
                    <a:pt x="174308" y="185166"/>
                  </a:cubicBezTo>
                  <a:cubicBezTo>
                    <a:pt x="182213" y="177260"/>
                    <a:pt x="188404" y="167926"/>
                    <a:pt x="193072" y="157067"/>
                  </a:cubicBezTo>
                  <a:cubicBezTo>
                    <a:pt x="197739" y="146209"/>
                    <a:pt x="200025" y="134112"/>
                    <a:pt x="200025" y="120682"/>
                  </a:cubicBezTo>
                  <a:lnTo>
                    <a:pt x="200025" y="119824"/>
                  </a:lnTo>
                  <a:cubicBezTo>
                    <a:pt x="200025" y="106394"/>
                    <a:pt x="197739" y="94297"/>
                    <a:pt x="193072" y="83439"/>
                  </a:cubicBezTo>
                  <a:cubicBezTo>
                    <a:pt x="188500" y="72580"/>
                    <a:pt x="182213" y="63246"/>
                    <a:pt x="174308" y="55531"/>
                  </a:cubicBezTo>
                  <a:cubicBezTo>
                    <a:pt x="166402" y="47815"/>
                    <a:pt x="157544" y="41815"/>
                    <a:pt x="147542" y="37433"/>
                  </a:cubicBezTo>
                  <a:cubicBezTo>
                    <a:pt x="137541" y="33147"/>
                    <a:pt x="127254" y="30956"/>
                    <a:pt x="116491" y="30956"/>
                  </a:cubicBezTo>
                  <a:cubicBezTo>
                    <a:pt x="105156" y="30956"/>
                    <a:pt x="94583" y="32956"/>
                    <a:pt x="84773" y="36957"/>
                  </a:cubicBezTo>
                  <a:cubicBezTo>
                    <a:pt x="74962" y="40957"/>
                    <a:pt x="66389" y="46767"/>
                    <a:pt x="59150" y="54388"/>
                  </a:cubicBezTo>
                  <a:cubicBezTo>
                    <a:pt x="51816" y="61913"/>
                    <a:pt x="46101" y="71247"/>
                    <a:pt x="41720" y="82296"/>
                  </a:cubicBezTo>
                  <a:cubicBezTo>
                    <a:pt x="37433" y="93250"/>
                    <a:pt x="35242" y="105823"/>
                    <a:pt x="35242" y="119824"/>
                  </a:cubicBezTo>
                  <a:lnTo>
                    <a:pt x="35242" y="120682"/>
                  </a:lnTo>
                  <a:cubicBezTo>
                    <a:pt x="35242" y="134398"/>
                    <a:pt x="37433" y="146780"/>
                    <a:pt x="41720" y="157734"/>
                  </a:cubicBezTo>
                  <a:cubicBezTo>
                    <a:pt x="46006" y="168783"/>
                    <a:pt x="51911" y="178117"/>
                    <a:pt x="59341" y="185833"/>
                  </a:cubicBezTo>
                  <a:cubicBezTo>
                    <a:pt x="66770" y="193548"/>
                    <a:pt x="75438" y="199549"/>
                    <a:pt x="85249" y="203740"/>
                  </a:cubicBezTo>
                  <a:cubicBezTo>
                    <a:pt x="95060" y="207931"/>
                    <a:pt x="105442" y="210026"/>
                    <a:pt x="116491" y="210026"/>
                  </a:cubicBezTo>
                  <a:close/>
                </a:path>
              </a:pathLst>
            </a:custGeom>
            <a:solidFill>
              <a:srgbClr val="44505E"/>
            </a:solidFill>
            <a:ln w="9525" cap="flat">
              <a:noFill/>
              <a:prstDash val="solid"/>
              <a:miter/>
            </a:ln>
          </p:spPr>
          <p:txBody>
            <a:bodyPr rtlCol="0" anchor="ctr"/>
            <a:lstStyle/>
            <a:p>
              <a:endParaRPr lang="pt-BR" noProof="0"/>
            </a:p>
          </p:txBody>
        </p:sp>
        <p:sp>
          <p:nvSpPr>
            <p:cNvPr id="42" name="Freeform: Shape 41">
              <a:extLst>
                <a:ext uri="{FF2B5EF4-FFF2-40B4-BE49-F238E27FC236}">
                  <a16:creationId xmlns:a16="http://schemas.microsoft.com/office/drawing/2014/main" id="{F17971D5-F12B-8CDF-A214-41AC126AB55E}"/>
                </a:ext>
              </a:extLst>
            </p:cNvPr>
            <p:cNvSpPr/>
            <p:nvPr/>
          </p:nvSpPr>
          <p:spPr>
            <a:xfrm>
              <a:off x="5829624" y="925297"/>
              <a:ext cx="50618" cy="59238"/>
            </a:xfrm>
            <a:custGeom>
              <a:avLst/>
              <a:gdLst>
                <a:gd name="connsiteX0" fmla="*/ 88392 w 201358"/>
                <a:gd name="connsiteY0" fmla="*/ 235648 h 235648"/>
                <a:gd name="connsiteX1" fmla="*/ 51149 w 201358"/>
                <a:gd name="connsiteY1" fmla="*/ 228981 h 235648"/>
                <a:gd name="connsiteX2" fmla="*/ 23432 w 201358"/>
                <a:gd name="connsiteY2" fmla="*/ 210026 h 235648"/>
                <a:gd name="connsiteX3" fmla="*/ 6001 w 201358"/>
                <a:gd name="connsiteY3" fmla="*/ 180784 h 235648"/>
                <a:gd name="connsiteX4" fmla="*/ 0 w 201358"/>
                <a:gd name="connsiteY4" fmla="*/ 143256 h 235648"/>
                <a:gd name="connsiteX5" fmla="*/ 0 w 201358"/>
                <a:gd name="connsiteY5" fmla="*/ 0 h 235648"/>
                <a:gd name="connsiteX6" fmla="*/ 34385 w 201358"/>
                <a:gd name="connsiteY6" fmla="*/ 0 h 235648"/>
                <a:gd name="connsiteX7" fmla="*/ 34385 w 201358"/>
                <a:gd name="connsiteY7" fmla="*/ 134493 h 235648"/>
                <a:gd name="connsiteX8" fmla="*/ 50959 w 201358"/>
                <a:gd name="connsiteY8" fmla="*/ 185261 h 235648"/>
                <a:gd name="connsiteX9" fmla="*/ 98298 w 201358"/>
                <a:gd name="connsiteY9" fmla="*/ 203930 h 235648"/>
                <a:gd name="connsiteX10" fmla="*/ 125730 w 201358"/>
                <a:gd name="connsiteY10" fmla="*/ 198787 h 235648"/>
                <a:gd name="connsiteX11" fmla="*/ 147638 w 201358"/>
                <a:gd name="connsiteY11" fmla="*/ 184118 h 235648"/>
                <a:gd name="connsiteX12" fmla="*/ 162116 w 201358"/>
                <a:gd name="connsiteY12" fmla="*/ 161163 h 235648"/>
                <a:gd name="connsiteX13" fmla="*/ 167450 w 201358"/>
                <a:gd name="connsiteY13" fmla="*/ 131826 h 235648"/>
                <a:gd name="connsiteX14" fmla="*/ 167450 w 201358"/>
                <a:gd name="connsiteY14" fmla="*/ 0 h 235648"/>
                <a:gd name="connsiteX15" fmla="*/ 201359 w 201358"/>
                <a:gd name="connsiteY15" fmla="*/ 0 h 235648"/>
                <a:gd name="connsiteX16" fmla="*/ 201359 w 201358"/>
                <a:gd name="connsiteY16" fmla="*/ 230791 h 235648"/>
                <a:gd name="connsiteX17" fmla="*/ 167450 w 201358"/>
                <a:gd name="connsiteY17" fmla="*/ 230791 h 235648"/>
                <a:gd name="connsiteX18" fmla="*/ 167450 w 201358"/>
                <a:gd name="connsiteY18" fmla="*/ 190595 h 235648"/>
                <a:gd name="connsiteX19" fmla="*/ 137065 w 201358"/>
                <a:gd name="connsiteY19" fmla="*/ 222504 h 235648"/>
                <a:gd name="connsiteX20" fmla="*/ 88392 w 201358"/>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358" h="235648">
                  <a:moveTo>
                    <a:pt x="88392" y="235648"/>
                  </a:moveTo>
                  <a:cubicBezTo>
                    <a:pt x="74390" y="235648"/>
                    <a:pt x="62008" y="233363"/>
                    <a:pt x="51149" y="228981"/>
                  </a:cubicBezTo>
                  <a:cubicBezTo>
                    <a:pt x="40291" y="224504"/>
                    <a:pt x="31052" y="218218"/>
                    <a:pt x="23432"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959" y="185261"/>
                  </a:cubicBezTo>
                  <a:cubicBezTo>
                    <a:pt x="61913" y="197739"/>
                    <a:pt x="77724" y="203930"/>
                    <a:pt x="98298" y="203930"/>
                  </a:cubicBezTo>
                  <a:cubicBezTo>
                    <a:pt x="108109" y="203930"/>
                    <a:pt x="117253" y="202216"/>
                    <a:pt x="125730" y="198787"/>
                  </a:cubicBezTo>
                  <a:cubicBezTo>
                    <a:pt x="134207" y="195358"/>
                    <a:pt x="141446" y="190500"/>
                    <a:pt x="147638" y="184118"/>
                  </a:cubicBezTo>
                  <a:cubicBezTo>
                    <a:pt x="153734" y="177736"/>
                    <a:pt x="158591" y="170116"/>
                    <a:pt x="162116" y="161163"/>
                  </a:cubicBezTo>
                  <a:cubicBezTo>
                    <a:pt x="165735" y="152305"/>
                    <a:pt x="167450" y="142494"/>
                    <a:pt x="167450" y="131826"/>
                  </a:cubicBezTo>
                  <a:lnTo>
                    <a:pt x="167450" y="0"/>
                  </a:lnTo>
                  <a:lnTo>
                    <a:pt x="201359" y="0"/>
                  </a:lnTo>
                  <a:lnTo>
                    <a:pt x="201359" y="230791"/>
                  </a:lnTo>
                  <a:lnTo>
                    <a:pt x="167450" y="230791"/>
                  </a:lnTo>
                  <a:lnTo>
                    <a:pt x="167450" y="190595"/>
                  </a:lnTo>
                  <a:cubicBezTo>
                    <a:pt x="159734" y="203073"/>
                    <a:pt x="149543" y="213741"/>
                    <a:pt x="137065" y="222504"/>
                  </a:cubicBezTo>
                  <a:cubicBezTo>
                    <a:pt x="124587" y="231267"/>
                    <a:pt x="108395" y="235648"/>
                    <a:pt x="88392" y="235648"/>
                  </a:cubicBezTo>
                  <a:close/>
                </a:path>
              </a:pathLst>
            </a:custGeom>
            <a:solidFill>
              <a:srgbClr val="44505E"/>
            </a:solidFill>
            <a:ln w="9525" cap="flat">
              <a:noFill/>
              <a:prstDash val="solid"/>
              <a:miter/>
            </a:ln>
          </p:spPr>
          <p:txBody>
            <a:bodyPr rtlCol="0" anchor="ctr"/>
            <a:lstStyle/>
            <a:p>
              <a:endParaRPr lang="pt-BR" noProof="0"/>
            </a:p>
          </p:txBody>
        </p:sp>
        <p:sp>
          <p:nvSpPr>
            <p:cNvPr id="43" name="Freeform: Shape 42">
              <a:extLst>
                <a:ext uri="{FF2B5EF4-FFF2-40B4-BE49-F238E27FC236}">
                  <a16:creationId xmlns:a16="http://schemas.microsoft.com/office/drawing/2014/main" id="{8BC2F800-26CF-9439-3BA7-6A48EC1F9D0B}"/>
                </a:ext>
              </a:extLst>
            </p:cNvPr>
            <p:cNvSpPr/>
            <p:nvPr/>
          </p:nvSpPr>
          <p:spPr>
            <a:xfrm>
              <a:off x="5896069"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7059 w 218217"/>
                <a:gd name="connsiteY3" fmla="*/ 206026 h 241077"/>
                <a:gd name="connsiteX4" fmla="*/ 116110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7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0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356 w 218217"/>
                <a:gd name="connsiteY25" fmla="*/ 106299 h 241077"/>
                <a:gd name="connsiteX26" fmla="*/ 176689 w 218217"/>
                <a:gd name="connsiteY26" fmla="*/ 76771 h 241077"/>
                <a:gd name="connsiteX27" fmla="*/ 162211 w 218217"/>
                <a:gd name="connsiteY27" fmla="*/ 52101 h 241077"/>
                <a:gd name="connsiteX28" fmla="*/ 139922 w 218217"/>
                <a:gd name="connsiteY28" fmla="*/ 35242 h 241077"/>
                <a:gd name="connsiteX29" fmla="*/ 109823 w 218217"/>
                <a:gd name="connsiteY29" fmla="*/ 29051 h 241077"/>
                <a:gd name="connsiteX30" fmla="*/ 82105 w 218217"/>
                <a:gd name="connsiteY30" fmla="*/ 34766 h 241077"/>
                <a:gd name="connsiteX31" fmla="*/ 59341 w 218217"/>
                <a:gd name="connsiteY31" fmla="*/ 50959 h 241077"/>
                <a:gd name="connsiteX32" fmla="*/ 43053 w 218217"/>
                <a:gd name="connsiteY32" fmla="*/ 75628 h 241077"/>
                <a:gd name="connsiteX33" fmla="*/ 34766 w 218217"/>
                <a:gd name="connsiteY33" fmla="*/ 106204 h 241077"/>
                <a:gd name="connsiteX34" fmla="*/ 183356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819" y="202597"/>
                    <a:pt x="87059" y="206026"/>
                  </a:cubicBezTo>
                  <a:cubicBezTo>
                    <a:pt x="96298" y="209455"/>
                    <a:pt x="105918" y="211169"/>
                    <a:pt x="116110" y="211169"/>
                  </a:cubicBezTo>
                  <a:cubicBezTo>
                    <a:pt x="132207" y="211169"/>
                    <a:pt x="145923" y="208216"/>
                    <a:pt x="157353" y="202216"/>
                  </a:cubicBezTo>
                  <a:cubicBezTo>
                    <a:pt x="168783" y="196310"/>
                    <a:pt x="179261" y="188404"/>
                    <a:pt x="188786" y="178594"/>
                  </a:cubicBezTo>
                  <a:lnTo>
                    <a:pt x="210217" y="197834"/>
                  </a:lnTo>
                  <a:cubicBezTo>
                    <a:pt x="198596" y="210979"/>
                    <a:pt x="185356" y="221361"/>
                    <a:pt x="170497" y="229267"/>
                  </a:cubicBezTo>
                  <a:cubicBezTo>
                    <a:pt x="155638"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583" y="0"/>
                    <a:pt x="110680"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356" y="106299"/>
                  </a:moveTo>
                  <a:cubicBezTo>
                    <a:pt x="182499" y="95917"/>
                    <a:pt x="180213" y="86106"/>
                    <a:pt x="176689" y="76771"/>
                  </a:cubicBezTo>
                  <a:cubicBezTo>
                    <a:pt x="173069" y="67437"/>
                    <a:pt x="168307" y="59245"/>
                    <a:pt x="162211" y="52101"/>
                  </a:cubicBezTo>
                  <a:cubicBezTo>
                    <a:pt x="156115" y="44958"/>
                    <a:pt x="148685" y="39338"/>
                    <a:pt x="139922" y="35242"/>
                  </a:cubicBezTo>
                  <a:cubicBezTo>
                    <a:pt x="131159" y="31147"/>
                    <a:pt x="121063" y="29051"/>
                    <a:pt x="109823" y="29051"/>
                  </a:cubicBezTo>
                  <a:cubicBezTo>
                    <a:pt x="100013" y="29051"/>
                    <a:pt x="90773" y="30956"/>
                    <a:pt x="82105" y="34766"/>
                  </a:cubicBezTo>
                  <a:cubicBezTo>
                    <a:pt x="73438" y="38671"/>
                    <a:pt x="65913" y="44005"/>
                    <a:pt x="59341" y="50959"/>
                  </a:cubicBezTo>
                  <a:cubicBezTo>
                    <a:pt x="52769" y="57912"/>
                    <a:pt x="47339" y="66103"/>
                    <a:pt x="43053" y="75628"/>
                  </a:cubicBezTo>
                  <a:cubicBezTo>
                    <a:pt x="38767" y="85058"/>
                    <a:pt x="36004" y="95345"/>
                    <a:pt x="34766" y="106204"/>
                  </a:cubicBezTo>
                  <a:lnTo>
                    <a:pt x="183356" y="106204"/>
                  </a:lnTo>
                  <a:close/>
                </a:path>
              </a:pathLst>
            </a:custGeom>
            <a:solidFill>
              <a:srgbClr val="44505E"/>
            </a:solidFill>
            <a:ln w="9525" cap="flat">
              <a:noFill/>
              <a:prstDash val="solid"/>
              <a:miter/>
            </a:ln>
          </p:spPr>
          <p:txBody>
            <a:bodyPr rtlCol="0" anchor="ctr"/>
            <a:lstStyle/>
            <a:p>
              <a:endParaRPr lang="pt-BR" noProof="0"/>
            </a:p>
          </p:txBody>
        </p:sp>
        <p:sp>
          <p:nvSpPr>
            <p:cNvPr id="44" name="Freeform: Shape 43">
              <a:extLst>
                <a:ext uri="{FF2B5EF4-FFF2-40B4-BE49-F238E27FC236}">
                  <a16:creationId xmlns:a16="http://schemas.microsoft.com/office/drawing/2014/main" id="{AEE11CB7-7D59-E8B4-B17A-A3245D8C05A9}"/>
                </a:ext>
              </a:extLst>
            </p:cNvPr>
            <p:cNvSpPr/>
            <p:nvPr/>
          </p:nvSpPr>
          <p:spPr>
            <a:xfrm>
              <a:off x="5994910" y="924268"/>
              <a:ext cx="44680" cy="60195"/>
            </a:xfrm>
            <a:custGeom>
              <a:avLst/>
              <a:gdLst>
                <a:gd name="connsiteX0" fmla="*/ 95536 w 177736"/>
                <a:gd name="connsiteY0" fmla="*/ 239268 h 239458"/>
                <a:gd name="connsiteX1" fmla="*/ 45053 w 177736"/>
                <a:gd name="connsiteY1" fmla="*/ 230124 h 239458"/>
                <a:gd name="connsiteX2" fmla="*/ 0 w 177736"/>
                <a:gd name="connsiteY2" fmla="*/ 205359 h 239458"/>
                <a:gd name="connsiteX3" fmla="*/ 17431 w 177736"/>
                <a:gd name="connsiteY3" fmla="*/ 180785 h 239458"/>
                <a:gd name="connsiteX4" fmla="*/ 56483 w 177736"/>
                <a:gd name="connsiteY4" fmla="*/ 202692 h 239458"/>
                <a:gd name="connsiteX5" fmla="*/ 97346 w 177736"/>
                <a:gd name="connsiteY5" fmla="*/ 210217 h 239458"/>
                <a:gd name="connsiteX6" fmla="*/ 131731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730 w 177736"/>
                <a:gd name="connsiteY10" fmla="*/ 147066 h 239458"/>
                <a:gd name="connsiteX11" fmla="*/ 109252 w 177736"/>
                <a:gd name="connsiteY11" fmla="*/ 138779 h 239458"/>
                <a:gd name="connsiteX12" fmla="*/ 87630 w 177736"/>
                <a:gd name="connsiteY12" fmla="*/ 132112 h 239458"/>
                <a:gd name="connsiteX13" fmla="*/ 60674 w 177736"/>
                <a:gd name="connsiteY13" fmla="*/ 123444 h 239458"/>
                <a:gd name="connsiteX14" fmla="*/ 36100 w 177736"/>
                <a:gd name="connsiteY14" fmla="*/ 111633 h 239458"/>
                <a:gd name="connsiteX15" fmla="*/ 18193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60 w 177736"/>
                <a:gd name="connsiteY22" fmla="*/ 6953 h 239458"/>
                <a:gd name="connsiteX23" fmla="*/ 172879 w 177736"/>
                <a:gd name="connsiteY23" fmla="*/ 25527 h 239458"/>
                <a:gd name="connsiteX24" fmla="*/ 157258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4 w 177736"/>
                <a:gd name="connsiteY32" fmla="*/ 96203 h 239458"/>
                <a:gd name="connsiteX33" fmla="*/ 103632 w 177736"/>
                <a:gd name="connsiteY33" fmla="*/ 103346 h 239458"/>
                <a:gd name="connsiteX34" fmla="*/ 130207 w 177736"/>
                <a:gd name="connsiteY34" fmla="*/ 112300 h 239458"/>
                <a:gd name="connsiteX35" fmla="*/ 154114 w 177736"/>
                <a:gd name="connsiteY35" fmla="*/ 124778 h 239458"/>
                <a:gd name="connsiteX36" fmla="*/ 171260 w 177736"/>
                <a:gd name="connsiteY36" fmla="*/ 143066 h 239458"/>
                <a:gd name="connsiteX37" fmla="*/ 177737 w 177736"/>
                <a:gd name="connsiteY37" fmla="*/ 169450 h 239458"/>
                <a:gd name="connsiteX38" fmla="*/ 177737 w 177736"/>
                <a:gd name="connsiteY38" fmla="*/ 170307 h 239458"/>
                <a:gd name="connsiteX39" fmla="*/ 171260 w 177736"/>
                <a:gd name="connsiteY39" fmla="*/ 199549 h 239458"/>
                <a:gd name="connsiteX40" fmla="*/ 153829 w 177736"/>
                <a:gd name="connsiteY40" fmla="*/ 221171 h 239458"/>
                <a:gd name="connsiteX41" fmla="*/ 127921 w 177736"/>
                <a:gd name="connsiteY41" fmla="*/ 234791 h 239458"/>
                <a:gd name="connsiteX42" fmla="*/ 95536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6" y="239268"/>
                  </a:moveTo>
                  <a:cubicBezTo>
                    <a:pt x="78867" y="239268"/>
                    <a:pt x="62008" y="236220"/>
                    <a:pt x="45053" y="230124"/>
                  </a:cubicBezTo>
                  <a:cubicBezTo>
                    <a:pt x="28099" y="224028"/>
                    <a:pt x="13049" y="215741"/>
                    <a:pt x="0" y="205359"/>
                  </a:cubicBezTo>
                  <a:lnTo>
                    <a:pt x="17431" y="180785"/>
                  </a:lnTo>
                  <a:cubicBezTo>
                    <a:pt x="29909"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637" y="162211"/>
                    <a:pt x="140494" y="158020"/>
                  </a:cubicBezTo>
                  <a:cubicBezTo>
                    <a:pt x="137351" y="153829"/>
                    <a:pt x="133160" y="150209"/>
                    <a:pt x="127730" y="147066"/>
                  </a:cubicBezTo>
                  <a:cubicBezTo>
                    <a:pt x="122396" y="143923"/>
                    <a:pt x="116205" y="141161"/>
                    <a:pt x="109252" y="138779"/>
                  </a:cubicBezTo>
                  <a:cubicBezTo>
                    <a:pt x="102299" y="136398"/>
                    <a:pt x="95060" y="134207"/>
                    <a:pt x="87630" y="132112"/>
                  </a:cubicBezTo>
                  <a:cubicBezTo>
                    <a:pt x="78677" y="129445"/>
                    <a:pt x="69723" y="126492"/>
                    <a:pt x="60674" y="123444"/>
                  </a:cubicBezTo>
                  <a:cubicBezTo>
                    <a:pt x="51626" y="120301"/>
                    <a:pt x="43434" y="116396"/>
                    <a:pt x="36100" y="111633"/>
                  </a:cubicBezTo>
                  <a:cubicBezTo>
                    <a:pt x="28766" y="106871"/>
                    <a:pt x="22860" y="100870"/>
                    <a:pt x="18193" y="93726"/>
                  </a:cubicBezTo>
                  <a:cubicBezTo>
                    <a:pt x="13621" y="86582"/>
                    <a:pt x="11239" y="77629"/>
                    <a:pt x="11239" y="66961"/>
                  </a:cubicBezTo>
                  <a:lnTo>
                    <a:pt x="11239" y="66008"/>
                  </a:lnTo>
                  <a:cubicBezTo>
                    <a:pt x="11239" y="56198"/>
                    <a:pt x="13145" y="47149"/>
                    <a:pt x="17050" y="39053"/>
                  </a:cubicBezTo>
                  <a:cubicBezTo>
                    <a:pt x="20860" y="30861"/>
                    <a:pt x="26289" y="23908"/>
                    <a:pt x="33338" y="18098"/>
                  </a:cubicBezTo>
                  <a:cubicBezTo>
                    <a:pt x="40291" y="12287"/>
                    <a:pt x="48673" y="7811"/>
                    <a:pt x="58388" y="4667"/>
                  </a:cubicBezTo>
                  <a:cubicBezTo>
                    <a:pt x="68009" y="1524"/>
                    <a:pt x="78581" y="0"/>
                    <a:pt x="89821" y="0"/>
                  </a:cubicBezTo>
                  <a:cubicBezTo>
                    <a:pt x="104108" y="0"/>
                    <a:pt x="118491" y="2286"/>
                    <a:pt x="133160" y="6953"/>
                  </a:cubicBezTo>
                  <a:cubicBezTo>
                    <a:pt x="147733" y="11621"/>
                    <a:pt x="160972" y="17717"/>
                    <a:pt x="172879" y="25527"/>
                  </a:cubicBezTo>
                  <a:lnTo>
                    <a:pt x="157258" y="51435"/>
                  </a:lnTo>
                  <a:cubicBezTo>
                    <a:pt x="146495" y="44577"/>
                    <a:pt x="135350" y="39148"/>
                    <a:pt x="123539" y="35147"/>
                  </a:cubicBezTo>
                  <a:cubicBezTo>
                    <a:pt x="111824" y="31147"/>
                    <a:pt x="100298" y="29146"/>
                    <a:pt x="88963" y="29146"/>
                  </a:cubicBezTo>
                  <a:cubicBezTo>
                    <a:pt x="75247" y="29146"/>
                    <a:pt x="64389" y="32385"/>
                    <a:pt x="56388" y="38767"/>
                  </a:cubicBezTo>
                  <a:cubicBezTo>
                    <a:pt x="48387" y="45149"/>
                    <a:pt x="44291" y="53150"/>
                    <a:pt x="44291" y="62675"/>
                  </a:cubicBezTo>
                  <a:lnTo>
                    <a:pt x="44291" y="63627"/>
                  </a:lnTo>
                  <a:cubicBezTo>
                    <a:pt x="44291" y="68961"/>
                    <a:pt x="45911" y="73628"/>
                    <a:pt x="49244" y="77724"/>
                  </a:cubicBezTo>
                  <a:cubicBezTo>
                    <a:pt x="52483" y="81725"/>
                    <a:pt x="56960" y="85249"/>
                    <a:pt x="62389" y="88202"/>
                  </a:cubicBezTo>
                  <a:cubicBezTo>
                    <a:pt x="67913" y="91154"/>
                    <a:pt x="74200" y="93821"/>
                    <a:pt x="81344" y="96203"/>
                  </a:cubicBezTo>
                  <a:cubicBezTo>
                    <a:pt x="88487" y="98584"/>
                    <a:pt x="95917" y="100965"/>
                    <a:pt x="103632" y="103346"/>
                  </a:cubicBezTo>
                  <a:cubicBezTo>
                    <a:pt x="112586" y="106013"/>
                    <a:pt x="121444" y="108966"/>
                    <a:pt x="130207" y="112300"/>
                  </a:cubicBezTo>
                  <a:cubicBezTo>
                    <a:pt x="138970" y="115538"/>
                    <a:pt x="146971" y="119729"/>
                    <a:pt x="154114" y="124778"/>
                  </a:cubicBezTo>
                  <a:cubicBezTo>
                    <a:pt x="161258" y="129826"/>
                    <a:pt x="166973" y="135922"/>
                    <a:pt x="171260" y="143066"/>
                  </a:cubicBezTo>
                  <a:cubicBezTo>
                    <a:pt x="175546" y="150209"/>
                    <a:pt x="177737" y="158972"/>
                    <a:pt x="177737" y="169450"/>
                  </a:cubicBezTo>
                  <a:lnTo>
                    <a:pt x="177737" y="170307"/>
                  </a:lnTo>
                  <a:cubicBezTo>
                    <a:pt x="177737" y="181356"/>
                    <a:pt x="175546" y="191071"/>
                    <a:pt x="171260" y="199549"/>
                  </a:cubicBezTo>
                  <a:cubicBezTo>
                    <a:pt x="166973" y="208026"/>
                    <a:pt x="161163" y="215265"/>
                    <a:pt x="153829" y="221171"/>
                  </a:cubicBezTo>
                  <a:cubicBezTo>
                    <a:pt x="146495" y="227171"/>
                    <a:pt x="137922" y="231648"/>
                    <a:pt x="127921" y="234791"/>
                  </a:cubicBezTo>
                  <a:cubicBezTo>
                    <a:pt x="117920" y="237935"/>
                    <a:pt x="107156" y="239459"/>
                    <a:pt x="95536" y="239459"/>
                  </a:cubicBezTo>
                  <a:close/>
                </a:path>
              </a:pathLst>
            </a:custGeom>
            <a:solidFill>
              <a:srgbClr val="44505E"/>
            </a:solidFill>
            <a:ln w="9525" cap="flat">
              <a:noFill/>
              <a:prstDash val="solid"/>
              <a:miter/>
            </a:ln>
          </p:spPr>
          <p:txBody>
            <a:bodyPr rtlCol="0" anchor="ctr"/>
            <a:lstStyle/>
            <a:p>
              <a:endParaRPr lang="pt-BR" noProof="0"/>
            </a:p>
          </p:txBody>
        </p:sp>
        <p:sp>
          <p:nvSpPr>
            <p:cNvPr id="45" name="Freeform: Shape 44">
              <a:extLst>
                <a:ext uri="{FF2B5EF4-FFF2-40B4-BE49-F238E27FC236}">
                  <a16:creationId xmlns:a16="http://schemas.microsoft.com/office/drawing/2014/main" id="{900B026A-EF04-2FC7-1EC3-98775A929D2B}"/>
                </a:ext>
              </a:extLst>
            </p:cNvPr>
            <p:cNvSpPr/>
            <p:nvPr/>
          </p:nvSpPr>
          <p:spPr>
            <a:xfrm>
              <a:off x="605122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4 w 202977"/>
                <a:gd name="connsiteY30" fmla="*/ 174593 h 239267"/>
                <a:gd name="connsiteX31" fmla="*/ 169735 w 202977"/>
                <a:gd name="connsiteY31" fmla="*/ 149447 h 239267"/>
                <a:gd name="connsiteX32" fmla="*/ 169735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0" y="90964"/>
                    <a:pt x="98584" y="90964"/>
                  </a:cubicBezTo>
                  <a:cubicBezTo>
                    <a:pt x="113157" y="90964"/>
                    <a:pt x="126301"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1" y="33147"/>
                    <a:pt x="63436" y="36100"/>
                  </a:cubicBezTo>
                  <a:cubicBezTo>
                    <a:pt x="52292" y="39053"/>
                    <a:pt x="41338" y="43053"/>
                    <a:pt x="30671" y="48196"/>
                  </a:cubicBezTo>
                  <a:lnTo>
                    <a:pt x="20383" y="19907"/>
                  </a:lnTo>
                  <a:cubicBezTo>
                    <a:pt x="33147" y="13906"/>
                    <a:pt x="46101" y="9049"/>
                    <a:pt x="59246" y="5429"/>
                  </a:cubicBezTo>
                  <a:cubicBezTo>
                    <a:pt x="72295"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1" y="239173"/>
                  </a:cubicBezTo>
                  <a:close/>
                  <a:moveTo>
                    <a:pt x="93154" y="211169"/>
                  </a:moveTo>
                  <a:cubicBezTo>
                    <a:pt x="103822" y="211169"/>
                    <a:pt x="113728" y="209740"/>
                    <a:pt x="122967" y="206788"/>
                  </a:cubicBezTo>
                  <a:cubicBezTo>
                    <a:pt x="132207" y="203835"/>
                    <a:pt x="140208" y="199644"/>
                    <a:pt x="147256" y="194120"/>
                  </a:cubicBezTo>
                  <a:cubicBezTo>
                    <a:pt x="154209" y="188595"/>
                    <a:pt x="159734" y="182118"/>
                    <a:pt x="163734" y="174593"/>
                  </a:cubicBezTo>
                  <a:cubicBezTo>
                    <a:pt x="167735" y="167068"/>
                    <a:pt x="169735" y="158687"/>
                    <a:pt x="169735" y="149447"/>
                  </a:cubicBezTo>
                  <a:lnTo>
                    <a:pt x="169735" y="128111"/>
                  </a:lnTo>
                  <a:cubicBezTo>
                    <a:pt x="161163" y="125730"/>
                    <a:pt x="151352" y="123539"/>
                    <a:pt x="140398" y="121444"/>
                  </a:cubicBezTo>
                  <a:cubicBezTo>
                    <a:pt x="129445" y="119348"/>
                    <a:pt x="116872"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46" name="Freeform: Shape 45">
              <a:extLst>
                <a:ext uri="{FF2B5EF4-FFF2-40B4-BE49-F238E27FC236}">
                  <a16:creationId xmlns:a16="http://schemas.microsoft.com/office/drawing/2014/main" id="{900B4BC6-8977-A413-D87B-E5F949E387CD}"/>
                </a:ext>
              </a:extLst>
            </p:cNvPr>
            <p:cNvSpPr/>
            <p:nvPr/>
          </p:nvSpPr>
          <p:spPr>
            <a:xfrm>
              <a:off x="6121359" y="901377"/>
              <a:ext cx="8644" cy="81913"/>
            </a:xfrm>
            <a:custGeom>
              <a:avLst/>
              <a:gdLst>
                <a:gd name="connsiteX0" fmla="*/ 0 w 34385"/>
                <a:gd name="connsiteY0" fmla="*/ 0 h 325850"/>
                <a:gd name="connsiteX1" fmla="*/ 34385 w 34385"/>
                <a:gd name="connsiteY1" fmla="*/ 0 h 325850"/>
                <a:gd name="connsiteX2" fmla="*/ 34385 w 34385"/>
                <a:gd name="connsiteY2" fmla="*/ 325850 h 325850"/>
                <a:gd name="connsiteX3" fmla="*/ 0 w 34385"/>
                <a:gd name="connsiteY3" fmla="*/ 325850 h 325850"/>
                <a:gd name="connsiteX4" fmla="*/ 0 w 34385"/>
                <a:gd name="connsiteY4" fmla="*/ 0 h 32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 h="325850">
                  <a:moveTo>
                    <a:pt x="0" y="0"/>
                  </a:moveTo>
                  <a:lnTo>
                    <a:pt x="34385" y="0"/>
                  </a:lnTo>
                  <a:lnTo>
                    <a:pt x="34385" y="325850"/>
                  </a:lnTo>
                  <a:lnTo>
                    <a:pt x="0" y="325850"/>
                  </a:lnTo>
                  <a:lnTo>
                    <a:pt x="0" y="0"/>
                  </a:lnTo>
                  <a:close/>
                </a:path>
              </a:pathLst>
            </a:custGeom>
            <a:solidFill>
              <a:srgbClr val="44505E"/>
            </a:solidFill>
            <a:ln w="9525" cap="flat">
              <a:noFill/>
              <a:prstDash val="solid"/>
              <a:miter/>
            </a:ln>
          </p:spPr>
          <p:txBody>
            <a:bodyPr rtlCol="0" anchor="ctr"/>
            <a:lstStyle/>
            <a:p>
              <a:endParaRPr lang="pt-BR" noProof="0"/>
            </a:p>
          </p:txBody>
        </p:sp>
        <p:sp>
          <p:nvSpPr>
            <p:cNvPr id="47" name="Freeform: Shape 46">
              <a:extLst>
                <a:ext uri="{FF2B5EF4-FFF2-40B4-BE49-F238E27FC236}">
                  <a16:creationId xmlns:a16="http://schemas.microsoft.com/office/drawing/2014/main" id="{9C3AA59D-E09D-5CFC-F82D-7DB0D6C53001}"/>
                </a:ext>
              </a:extLst>
            </p:cNvPr>
            <p:cNvSpPr/>
            <p:nvPr/>
          </p:nvSpPr>
          <p:spPr>
            <a:xfrm>
              <a:off x="6144346" y="925273"/>
              <a:ext cx="58016" cy="58448"/>
            </a:xfrm>
            <a:custGeom>
              <a:avLst/>
              <a:gdLst>
                <a:gd name="connsiteX0" fmla="*/ 95 w 230790"/>
                <a:gd name="connsiteY0" fmla="*/ 0 h 232505"/>
                <a:gd name="connsiteX1" fmla="*/ 38005 w 230790"/>
                <a:gd name="connsiteY1" fmla="*/ 0 h 232505"/>
                <a:gd name="connsiteX2" fmla="*/ 115634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4"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48" name="Freeform: Shape 47">
              <a:extLst>
                <a:ext uri="{FF2B5EF4-FFF2-40B4-BE49-F238E27FC236}">
                  <a16:creationId xmlns:a16="http://schemas.microsoft.com/office/drawing/2014/main" id="{5FE2373B-3911-D7DE-508D-C0535A7E9AF7}"/>
                </a:ext>
              </a:extLst>
            </p:cNvPr>
            <p:cNvSpPr/>
            <p:nvPr/>
          </p:nvSpPr>
          <p:spPr>
            <a:xfrm>
              <a:off x="621155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8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338 w 202977"/>
                <a:gd name="connsiteY36" fmla="*/ 164497 h 239267"/>
                <a:gd name="connsiteX37" fmla="*/ 35338 w 202977"/>
                <a:gd name="connsiteY37" fmla="*/ 165449 h 239267"/>
                <a:gd name="connsiteX38" fmla="*/ 40005 w 202977"/>
                <a:gd name="connsiteY38" fmla="*/ 184785 h 239267"/>
                <a:gd name="connsiteX39" fmla="*/ 52673 w 202977"/>
                <a:gd name="connsiteY39" fmla="*/ 199263 h 239267"/>
                <a:gd name="connsiteX40" fmla="*/ 71152 w 202977"/>
                <a:gd name="connsiteY40" fmla="*/ 208121 h 239267"/>
                <a:gd name="connsiteX41" fmla="*/ 93154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438" y="239268"/>
                    <a:pt x="64961"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1" y="90964"/>
                    <a:pt x="98584" y="90964"/>
                  </a:cubicBezTo>
                  <a:cubicBezTo>
                    <a:pt x="113157" y="90964"/>
                    <a:pt x="126302" y="91821"/>
                    <a:pt x="137160" y="93631"/>
                  </a:cubicBezTo>
                  <a:cubicBezTo>
                    <a:pt x="148019" y="95440"/>
                    <a:pt x="158687" y="97822"/>
                    <a:pt x="169069" y="100774"/>
                  </a:cubicBezTo>
                  <a:lnTo>
                    <a:pt x="169069" y="93726"/>
                  </a:lnTo>
                  <a:cubicBezTo>
                    <a:pt x="169069" y="73342"/>
                    <a:pt x="163068" y="57912"/>
                    <a:pt x="151162" y="47339"/>
                  </a:cubicBezTo>
                  <a:cubicBezTo>
                    <a:pt x="139255" y="36862"/>
                    <a:pt x="122491" y="31623"/>
                    <a:pt x="100679" y="31623"/>
                  </a:cubicBezTo>
                  <a:cubicBezTo>
                    <a:pt x="86963" y="31623"/>
                    <a:pt x="74581" y="33147"/>
                    <a:pt x="63437" y="36100"/>
                  </a:cubicBezTo>
                  <a:cubicBezTo>
                    <a:pt x="52292" y="39053"/>
                    <a:pt x="41338" y="43053"/>
                    <a:pt x="30671" y="48196"/>
                  </a:cubicBezTo>
                  <a:lnTo>
                    <a:pt x="20383" y="19907"/>
                  </a:lnTo>
                  <a:cubicBezTo>
                    <a:pt x="33147" y="13906"/>
                    <a:pt x="46101" y="9049"/>
                    <a:pt x="59246" y="5429"/>
                  </a:cubicBezTo>
                  <a:cubicBezTo>
                    <a:pt x="72390"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04" y="239173"/>
                    <a:pt x="86011" y="239173"/>
                  </a:cubicBezTo>
                  <a:close/>
                  <a:moveTo>
                    <a:pt x="93154" y="211169"/>
                  </a:moveTo>
                  <a:cubicBezTo>
                    <a:pt x="103822" y="211169"/>
                    <a:pt x="113824" y="209740"/>
                    <a:pt x="122968" y="206788"/>
                  </a:cubicBezTo>
                  <a:cubicBezTo>
                    <a:pt x="132112"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5" y="119348"/>
                    <a:pt x="116777" y="118300"/>
                    <a:pt x="102584" y="118300"/>
                  </a:cubicBezTo>
                  <a:cubicBezTo>
                    <a:pt x="81248" y="118300"/>
                    <a:pt x="64675" y="122491"/>
                    <a:pt x="52959" y="130969"/>
                  </a:cubicBezTo>
                  <a:cubicBezTo>
                    <a:pt x="41243" y="139446"/>
                    <a:pt x="35338" y="150590"/>
                    <a:pt x="35338" y="164497"/>
                  </a:cubicBezTo>
                  <a:lnTo>
                    <a:pt x="35338" y="165449"/>
                  </a:lnTo>
                  <a:cubicBezTo>
                    <a:pt x="35338" y="172498"/>
                    <a:pt x="36862" y="178975"/>
                    <a:pt x="40005" y="184785"/>
                  </a:cubicBezTo>
                  <a:cubicBezTo>
                    <a:pt x="43148" y="190500"/>
                    <a:pt x="47339" y="195358"/>
                    <a:pt x="52673" y="199263"/>
                  </a:cubicBezTo>
                  <a:cubicBezTo>
                    <a:pt x="58007" y="203073"/>
                    <a:pt x="64198" y="206026"/>
                    <a:pt x="71152" y="208121"/>
                  </a:cubicBezTo>
                  <a:cubicBezTo>
                    <a:pt x="78105" y="210217"/>
                    <a:pt x="85439" y="211169"/>
                    <a:pt x="93154" y="211169"/>
                  </a:cubicBezTo>
                  <a:close/>
                </a:path>
              </a:pathLst>
            </a:custGeom>
            <a:solidFill>
              <a:srgbClr val="44505E"/>
            </a:solidFill>
            <a:ln w="9525" cap="flat">
              <a:noFill/>
              <a:prstDash val="solid"/>
              <a:miter/>
            </a:ln>
          </p:spPr>
          <p:txBody>
            <a:bodyPr rtlCol="0" anchor="ctr"/>
            <a:lstStyle/>
            <a:p>
              <a:endParaRPr lang="pt-BR" noProof="0"/>
            </a:p>
          </p:txBody>
        </p:sp>
        <p:sp>
          <p:nvSpPr>
            <p:cNvPr id="49" name="Freeform: Shape 48">
              <a:extLst>
                <a:ext uri="{FF2B5EF4-FFF2-40B4-BE49-F238E27FC236}">
                  <a16:creationId xmlns:a16="http://schemas.microsoft.com/office/drawing/2014/main" id="{79E7687F-CFB6-E39C-BF7F-E5A40EC0CF8D}"/>
                </a:ext>
              </a:extLst>
            </p:cNvPr>
            <p:cNvSpPr/>
            <p:nvPr/>
          </p:nvSpPr>
          <p:spPr>
            <a:xfrm>
              <a:off x="6280899" y="923980"/>
              <a:ext cx="87995" cy="59238"/>
            </a:xfrm>
            <a:custGeom>
              <a:avLst/>
              <a:gdLst>
                <a:gd name="connsiteX0" fmla="*/ 0 w 350043"/>
                <a:gd name="connsiteY0" fmla="*/ 5144 h 235648"/>
                <a:gd name="connsiteX1" fmla="*/ 34385 w 350043"/>
                <a:gd name="connsiteY1" fmla="*/ 5144 h 235648"/>
                <a:gd name="connsiteX2" fmla="*/ 34385 w 350043"/>
                <a:gd name="connsiteY2" fmla="*/ 44005 h 235648"/>
                <a:gd name="connsiteX3" fmla="*/ 47149 w 350043"/>
                <a:gd name="connsiteY3" fmla="*/ 27432 h 235648"/>
                <a:gd name="connsiteX4" fmla="*/ 62960 w 350043"/>
                <a:gd name="connsiteY4" fmla="*/ 13335 h 235648"/>
                <a:gd name="connsiteX5" fmla="*/ 83058 w 350043"/>
                <a:gd name="connsiteY5" fmla="*/ 3715 h 235648"/>
                <a:gd name="connsiteX6" fmla="*/ 108966 w 350043"/>
                <a:gd name="connsiteY6" fmla="*/ 95 h 235648"/>
                <a:gd name="connsiteX7" fmla="*/ 155448 w 350043"/>
                <a:gd name="connsiteY7" fmla="*/ 13240 h 235648"/>
                <a:gd name="connsiteX8" fmla="*/ 183166 w 350043"/>
                <a:gd name="connsiteY8" fmla="*/ 46006 h 235648"/>
                <a:gd name="connsiteX9" fmla="*/ 197168 w 350043"/>
                <a:gd name="connsiteY9" fmla="*/ 28194 h 235648"/>
                <a:gd name="connsiteX10" fmla="*/ 214789 w 350043"/>
                <a:gd name="connsiteY10" fmla="*/ 13430 h 235648"/>
                <a:gd name="connsiteX11" fmla="*/ 236887 w 350043"/>
                <a:gd name="connsiteY11" fmla="*/ 3620 h 235648"/>
                <a:gd name="connsiteX12" fmla="*/ 264319 w 350043"/>
                <a:gd name="connsiteY12" fmla="*/ 0 h 235648"/>
                <a:gd name="connsiteX13" fmla="*/ 327279 w 350043"/>
                <a:gd name="connsiteY13" fmla="*/ 24765 h 235648"/>
                <a:gd name="connsiteX14" fmla="*/ 350044 w 350043"/>
                <a:gd name="connsiteY14" fmla="*/ 92773 h 235648"/>
                <a:gd name="connsiteX15" fmla="*/ 350044 w 350043"/>
                <a:gd name="connsiteY15" fmla="*/ 235648 h 235648"/>
                <a:gd name="connsiteX16" fmla="*/ 315659 w 350043"/>
                <a:gd name="connsiteY16" fmla="*/ 235648 h 235648"/>
                <a:gd name="connsiteX17" fmla="*/ 315659 w 350043"/>
                <a:gd name="connsiteY17" fmla="*/ 101155 h 235648"/>
                <a:gd name="connsiteX18" fmla="*/ 299847 w 350043"/>
                <a:gd name="connsiteY18" fmla="*/ 49721 h 235648"/>
                <a:gd name="connsiteX19" fmla="*/ 255937 w 350043"/>
                <a:gd name="connsiteY19" fmla="*/ 31718 h 235648"/>
                <a:gd name="connsiteX20" fmla="*/ 231362 w 350043"/>
                <a:gd name="connsiteY20" fmla="*/ 36386 h 235648"/>
                <a:gd name="connsiteX21" fmla="*/ 211074 w 350043"/>
                <a:gd name="connsiteY21" fmla="*/ 50197 h 235648"/>
                <a:gd name="connsiteX22" fmla="*/ 197263 w 350043"/>
                <a:gd name="connsiteY22" fmla="*/ 72676 h 235648"/>
                <a:gd name="connsiteX23" fmla="*/ 192119 w 350043"/>
                <a:gd name="connsiteY23" fmla="*/ 102965 h 235648"/>
                <a:gd name="connsiteX24" fmla="*/ 192119 w 350043"/>
                <a:gd name="connsiteY24" fmla="*/ 235648 h 235648"/>
                <a:gd name="connsiteX25" fmla="*/ 158210 w 350043"/>
                <a:gd name="connsiteY25" fmla="*/ 235648 h 235648"/>
                <a:gd name="connsiteX26" fmla="*/ 158210 w 350043"/>
                <a:gd name="connsiteY26" fmla="*/ 100298 h 235648"/>
                <a:gd name="connsiteX27" fmla="*/ 142399 w 350043"/>
                <a:gd name="connsiteY27" fmla="*/ 49721 h 235648"/>
                <a:gd name="connsiteX28" fmla="*/ 98870 w 350043"/>
                <a:gd name="connsiteY28" fmla="*/ 31718 h 235648"/>
                <a:gd name="connsiteX29" fmla="*/ 73438 w 350043"/>
                <a:gd name="connsiteY29" fmla="*/ 37052 h 235648"/>
                <a:gd name="connsiteX30" fmla="*/ 53150 w 350043"/>
                <a:gd name="connsiteY30" fmla="*/ 52197 h 235648"/>
                <a:gd name="connsiteX31" fmla="*/ 39529 w 350043"/>
                <a:gd name="connsiteY31" fmla="*/ 75152 h 235648"/>
                <a:gd name="connsiteX32" fmla="*/ 34576 w 350043"/>
                <a:gd name="connsiteY32" fmla="*/ 104299 h 235648"/>
                <a:gd name="connsiteX33" fmla="*/ 34576 w 350043"/>
                <a:gd name="connsiteY33" fmla="*/ 235648 h 235648"/>
                <a:gd name="connsiteX34" fmla="*/ 190 w 350043"/>
                <a:gd name="connsiteY34" fmla="*/ 235648 h 235648"/>
                <a:gd name="connsiteX35" fmla="*/ 190 w 350043"/>
                <a:gd name="connsiteY35" fmla="*/ 485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0043" h="235648">
                  <a:moveTo>
                    <a:pt x="0" y="5144"/>
                  </a:moveTo>
                  <a:lnTo>
                    <a:pt x="34385" y="5144"/>
                  </a:lnTo>
                  <a:lnTo>
                    <a:pt x="34385" y="44005"/>
                  </a:lnTo>
                  <a:cubicBezTo>
                    <a:pt x="38290" y="38386"/>
                    <a:pt x="42481" y="32861"/>
                    <a:pt x="47149" y="27432"/>
                  </a:cubicBezTo>
                  <a:cubicBezTo>
                    <a:pt x="51721" y="22098"/>
                    <a:pt x="57055" y="17431"/>
                    <a:pt x="62960" y="13335"/>
                  </a:cubicBezTo>
                  <a:cubicBezTo>
                    <a:pt x="68866" y="9335"/>
                    <a:pt x="75629" y="6096"/>
                    <a:pt x="83058" y="3715"/>
                  </a:cubicBezTo>
                  <a:cubicBezTo>
                    <a:pt x="90488" y="1334"/>
                    <a:pt x="99155" y="95"/>
                    <a:pt x="108966" y="95"/>
                  </a:cubicBezTo>
                  <a:cubicBezTo>
                    <a:pt x="127730" y="95"/>
                    <a:pt x="143161" y="4477"/>
                    <a:pt x="155448" y="13240"/>
                  </a:cubicBezTo>
                  <a:cubicBezTo>
                    <a:pt x="167640" y="22003"/>
                    <a:pt x="176879" y="32956"/>
                    <a:pt x="183166" y="46006"/>
                  </a:cubicBezTo>
                  <a:cubicBezTo>
                    <a:pt x="187357" y="39719"/>
                    <a:pt x="192024" y="33814"/>
                    <a:pt x="197168" y="28194"/>
                  </a:cubicBezTo>
                  <a:cubicBezTo>
                    <a:pt x="202406" y="22574"/>
                    <a:pt x="208217" y="17621"/>
                    <a:pt x="214789" y="13430"/>
                  </a:cubicBezTo>
                  <a:cubicBezTo>
                    <a:pt x="221361" y="9239"/>
                    <a:pt x="228695" y="6001"/>
                    <a:pt x="236887" y="3620"/>
                  </a:cubicBezTo>
                  <a:cubicBezTo>
                    <a:pt x="245078" y="1238"/>
                    <a:pt x="254222" y="0"/>
                    <a:pt x="264319" y="0"/>
                  </a:cubicBezTo>
                  <a:cubicBezTo>
                    <a:pt x="291084" y="0"/>
                    <a:pt x="312039" y="8287"/>
                    <a:pt x="327279" y="24765"/>
                  </a:cubicBezTo>
                  <a:cubicBezTo>
                    <a:pt x="342519" y="41243"/>
                    <a:pt x="350044" y="63913"/>
                    <a:pt x="350044" y="92773"/>
                  </a:cubicBezTo>
                  <a:lnTo>
                    <a:pt x="350044" y="235648"/>
                  </a:lnTo>
                  <a:lnTo>
                    <a:pt x="315659" y="235648"/>
                  </a:lnTo>
                  <a:lnTo>
                    <a:pt x="315659" y="101155"/>
                  </a:lnTo>
                  <a:cubicBezTo>
                    <a:pt x="315659" y="78867"/>
                    <a:pt x="310420" y="61722"/>
                    <a:pt x="299847" y="49721"/>
                  </a:cubicBezTo>
                  <a:cubicBezTo>
                    <a:pt x="289274" y="37719"/>
                    <a:pt x="274606" y="31718"/>
                    <a:pt x="255937" y="31718"/>
                  </a:cubicBezTo>
                  <a:cubicBezTo>
                    <a:pt x="247269" y="31718"/>
                    <a:pt x="239078" y="33242"/>
                    <a:pt x="231362" y="36386"/>
                  </a:cubicBezTo>
                  <a:cubicBezTo>
                    <a:pt x="223647" y="39529"/>
                    <a:pt x="216884" y="44101"/>
                    <a:pt x="211074" y="50197"/>
                  </a:cubicBezTo>
                  <a:cubicBezTo>
                    <a:pt x="205264" y="56293"/>
                    <a:pt x="200692" y="63818"/>
                    <a:pt x="197263" y="72676"/>
                  </a:cubicBezTo>
                  <a:cubicBezTo>
                    <a:pt x="193834" y="81629"/>
                    <a:pt x="192119" y="91726"/>
                    <a:pt x="192119" y="102965"/>
                  </a:cubicBezTo>
                  <a:lnTo>
                    <a:pt x="192119" y="235648"/>
                  </a:lnTo>
                  <a:lnTo>
                    <a:pt x="158210" y="235648"/>
                  </a:lnTo>
                  <a:lnTo>
                    <a:pt x="158210" y="100298"/>
                  </a:lnTo>
                  <a:cubicBezTo>
                    <a:pt x="158210" y="78677"/>
                    <a:pt x="152971" y="61817"/>
                    <a:pt x="142399" y="49721"/>
                  </a:cubicBezTo>
                  <a:cubicBezTo>
                    <a:pt x="131826" y="37719"/>
                    <a:pt x="117348" y="31718"/>
                    <a:pt x="98870" y="31718"/>
                  </a:cubicBezTo>
                  <a:cubicBezTo>
                    <a:pt x="89630" y="31718"/>
                    <a:pt x="81153" y="33528"/>
                    <a:pt x="73438" y="37052"/>
                  </a:cubicBezTo>
                  <a:cubicBezTo>
                    <a:pt x="65722" y="40672"/>
                    <a:pt x="58960" y="45720"/>
                    <a:pt x="53150" y="52197"/>
                  </a:cubicBezTo>
                  <a:cubicBezTo>
                    <a:pt x="47339" y="58769"/>
                    <a:pt x="42767" y="66389"/>
                    <a:pt x="39529" y="75152"/>
                  </a:cubicBezTo>
                  <a:cubicBezTo>
                    <a:pt x="36290" y="83915"/>
                    <a:pt x="34576" y="93631"/>
                    <a:pt x="34576" y="104299"/>
                  </a:cubicBezTo>
                  <a:lnTo>
                    <a:pt x="34576" y="235648"/>
                  </a:lnTo>
                  <a:lnTo>
                    <a:pt x="190" y="235648"/>
                  </a:lnTo>
                  <a:lnTo>
                    <a:pt x="190" y="4858"/>
                  </a:lnTo>
                  <a:close/>
                </a:path>
              </a:pathLst>
            </a:custGeom>
            <a:solidFill>
              <a:srgbClr val="44505E"/>
            </a:solidFill>
            <a:ln w="9525" cap="flat">
              <a:noFill/>
              <a:prstDash val="solid"/>
              <a:miter/>
            </a:ln>
          </p:spPr>
          <p:txBody>
            <a:bodyPr rtlCol="0" anchor="ctr"/>
            <a:lstStyle/>
            <a:p>
              <a:endParaRPr lang="pt-BR" noProof="0"/>
            </a:p>
          </p:txBody>
        </p:sp>
        <p:sp>
          <p:nvSpPr>
            <p:cNvPr id="50" name="Freeform: Shape 49">
              <a:extLst>
                <a:ext uri="{FF2B5EF4-FFF2-40B4-BE49-F238E27FC236}">
                  <a16:creationId xmlns:a16="http://schemas.microsoft.com/office/drawing/2014/main" id="{F1E8ED3A-0933-EF65-5112-AF9E7D8A5879}"/>
                </a:ext>
              </a:extLst>
            </p:cNvPr>
            <p:cNvSpPr/>
            <p:nvPr/>
          </p:nvSpPr>
          <p:spPr>
            <a:xfrm>
              <a:off x="6415537" y="925273"/>
              <a:ext cx="58016" cy="58448"/>
            </a:xfrm>
            <a:custGeom>
              <a:avLst/>
              <a:gdLst>
                <a:gd name="connsiteX0" fmla="*/ 95 w 230790"/>
                <a:gd name="connsiteY0" fmla="*/ 0 h 232505"/>
                <a:gd name="connsiteX1" fmla="*/ 38005 w 230790"/>
                <a:gd name="connsiteY1" fmla="*/ 0 h 232505"/>
                <a:gd name="connsiteX2" fmla="*/ 115633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3"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51" name="Freeform: Shape 50">
              <a:extLst>
                <a:ext uri="{FF2B5EF4-FFF2-40B4-BE49-F238E27FC236}">
                  <a16:creationId xmlns:a16="http://schemas.microsoft.com/office/drawing/2014/main" id="{C084329B-F2BB-B4AD-97DF-678D3DE7DCCA}"/>
                </a:ext>
              </a:extLst>
            </p:cNvPr>
            <p:cNvSpPr/>
            <p:nvPr/>
          </p:nvSpPr>
          <p:spPr>
            <a:xfrm>
              <a:off x="6487369"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286 w 39242"/>
                <a:gd name="connsiteY5" fmla="*/ 88392 h 319182"/>
                <a:gd name="connsiteX6" fmla="*/ 36671 w 39242"/>
                <a:gd name="connsiteY6" fmla="*/ 88392 h 319182"/>
                <a:gd name="connsiteX7" fmla="*/ 36671 w 39242"/>
                <a:gd name="connsiteY7" fmla="*/ 319183 h 319182"/>
                <a:gd name="connsiteX8" fmla="*/ 2286 w 39242"/>
                <a:gd name="connsiteY8" fmla="*/ 319183 h 319182"/>
                <a:gd name="connsiteX9" fmla="*/ 2286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286" y="88392"/>
                  </a:moveTo>
                  <a:lnTo>
                    <a:pt x="36671" y="88392"/>
                  </a:lnTo>
                  <a:lnTo>
                    <a:pt x="36671" y="319183"/>
                  </a:lnTo>
                  <a:lnTo>
                    <a:pt x="2286" y="319183"/>
                  </a:lnTo>
                  <a:lnTo>
                    <a:pt x="2286" y="88392"/>
                  </a:lnTo>
                  <a:close/>
                </a:path>
              </a:pathLst>
            </a:custGeom>
            <a:solidFill>
              <a:srgbClr val="44505E"/>
            </a:solidFill>
            <a:ln w="9525" cap="flat">
              <a:noFill/>
              <a:prstDash val="solid"/>
              <a:miter/>
            </a:ln>
          </p:spPr>
          <p:txBody>
            <a:bodyPr rtlCol="0" anchor="ctr"/>
            <a:lstStyle/>
            <a:p>
              <a:endParaRPr lang="pt-BR" noProof="0"/>
            </a:p>
          </p:txBody>
        </p:sp>
        <p:sp>
          <p:nvSpPr>
            <p:cNvPr id="52" name="Freeform: Shape 51">
              <a:extLst>
                <a:ext uri="{FF2B5EF4-FFF2-40B4-BE49-F238E27FC236}">
                  <a16:creationId xmlns:a16="http://schemas.microsoft.com/office/drawing/2014/main" id="{44D9900D-A20F-74B9-6D33-C5AC9246AB67}"/>
                </a:ext>
              </a:extLst>
            </p:cNvPr>
            <p:cNvSpPr/>
            <p:nvPr/>
          </p:nvSpPr>
          <p:spPr>
            <a:xfrm>
              <a:off x="6513253" y="901353"/>
              <a:ext cx="58615" cy="83182"/>
            </a:xfrm>
            <a:custGeom>
              <a:avLst/>
              <a:gdLst>
                <a:gd name="connsiteX0" fmla="*/ 110394 w 233171"/>
                <a:gd name="connsiteY0" fmla="*/ 330898 h 330898"/>
                <a:gd name="connsiteX1" fmla="*/ 69723 w 233171"/>
                <a:gd name="connsiteY1" fmla="*/ 322897 h 330898"/>
                <a:gd name="connsiteX2" fmla="*/ 34480 w 233171"/>
                <a:gd name="connsiteY2" fmla="*/ 299466 h 330898"/>
                <a:gd name="connsiteX3" fmla="*/ 9430 w 233171"/>
                <a:gd name="connsiteY3" fmla="*/ 261938 h 330898"/>
                <a:gd name="connsiteX4" fmla="*/ 0 w 233171"/>
                <a:gd name="connsiteY4" fmla="*/ 211264 h 330898"/>
                <a:gd name="connsiteX5" fmla="*/ 0 w 233171"/>
                <a:gd name="connsiteY5" fmla="*/ 210407 h 330898"/>
                <a:gd name="connsiteX6" fmla="*/ 9430 w 233171"/>
                <a:gd name="connsiteY6" fmla="*/ 159925 h 330898"/>
                <a:gd name="connsiteX7" fmla="*/ 34480 w 233171"/>
                <a:gd name="connsiteY7" fmla="*/ 122206 h 330898"/>
                <a:gd name="connsiteX8" fmla="*/ 69723 w 233171"/>
                <a:gd name="connsiteY8" fmla="*/ 98488 h 330898"/>
                <a:gd name="connsiteX9" fmla="*/ 110394 w 233171"/>
                <a:gd name="connsiteY9" fmla="*/ 90202 h 330898"/>
                <a:gd name="connsiteX10" fmla="*/ 139827 w 233171"/>
                <a:gd name="connsiteY10" fmla="*/ 94202 h 330898"/>
                <a:gd name="connsiteX11" fmla="*/ 163925 w 233171"/>
                <a:gd name="connsiteY11" fmla="*/ 104870 h 330898"/>
                <a:gd name="connsiteX12" fmla="*/ 183356 w 233171"/>
                <a:gd name="connsiteY12" fmla="*/ 120491 h 330898"/>
                <a:gd name="connsiteX13" fmla="*/ 198787 w 233171"/>
                <a:gd name="connsiteY13" fmla="*/ 139255 h 330898"/>
                <a:gd name="connsiteX14" fmla="*/ 198787 w 233171"/>
                <a:gd name="connsiteY14" fmla="*/ 0 h 330898"/>
                <a:gd name="connsiteX15" fmla="*/ 233172 w 233171"/>
                <a:gd name="connsiteY15" fmla="*/ 0 h 330898"/>
                <a:gd name="connsiteX16" fmla="*/ 233172 w 233171"/>
                <a:gd name="connsiteY16" fmla="*/ 325850 h 330898"/>
                <a:gd name="connsiteX17" fmla="*/ 198787 w 233171"/>
                <a:gd name="connsiteY17" fmla="*/ 325850 h 330898"/>
                <a:gd name="connsiteX18" fmla="*/ 198787 w 233171"/>
                <a:gd name="connsiteY18" fmla="*/ 279463 h 330898"/>
                <a:gd name="connsiteX19" fmla="*/ 182975 w 233171"/>
                <a:gd name="connsiteY19" fmla="*/ 299085 h 330898"/>
                <a:gd name="connsiteX20" fmla="*/ 163544 w 233171"/>
                <a:gd name="connsiteY20" fmla="*/ 315658 h 330898"/>
                <a:gd name="connsiteX21" fmla="*/ 139636 w 233171"/>
                <a:gd name="connsiteY21" fmla="*/ 326803 h 330898"/>
                <a:gd name="connsiteX22" fmla="*/ 110394 w 233171"/>
                <a:gd name="connsiteY22" fmla="*/ 330803 h 330898"/>
                <a:gd name="connsiteX23" fmla="*/ 116681 w 233171"/>
                <a:gd name="connsiteY23" fmla="*/ 300133 h 330898"/>
                <a:gd name="connsiteX24" fmla="*/ 147733 w 233171"/>
                <a:gd name="connsiteY24" fmla="*/ 293656 h 330898"/>
                <a:gd name="connsiteX25" fmla="*/ 174498 w 233171"/>
                <a:gd name="connsiteY25" fmla="*/ 275368 h 330898"/>
                <a:gd name="connsiteX26" fmla="*/ 193262 w 233171"/>
                <a:gd name="connsiteY26" fmla="*/ 247269 h 330898"/>
                <a:gd name="connsiteX27" fmla="*/ 200216 w 233171"/>
                <a:gd name="connsiteY27" fmla="*/ 210883 h 330898"/>
                <a:gd name="connsiteX28" fmla="*/ 200216 w 233171"/>
                <a:gd name="connsiteY28" fmla="*/ 210026 h 330898"/>
                <a:gd name="connsiteX29" fmla="*/ 193262 w 233171"/>
                <a:gd name="connsiteY29" fmla="*/ 173641 h 330898"/>
                <a:gd name="connsiteX30" fmla="*/ 174498 w 233171"/>
                <a:gd name="connsiteY30" fmla="*/ 145732 h 330898"/>
                <a:gd name="connsiteX31" fmla="*/ 147733 w 233171"/>
                <a:gd name="connsiteY31" fmla="*/ 127635 h 330898"/>
                <a:gd name="connsiteX32" fmla="*/ 116681 w 233171"/>
                <a:gd name="connsiteY32" fmla="*/ 121158 h 330898"/>
                <a:gd name="connsiteX33" fmla="*/ 84963 w 233171"/>
                <a:gd name="connsiteY33" fmla="*/ 127159 h 330898"/>
                <a:gd name="connsiteX34" fmla="*/ 59341 w 233171"/>
                <a:gd name="connsiteY34" fmla="*/ 144589 h 330898"/>
                <a:gd name="connsiteX35" fmla="*/ 41910 w 233171"/>
                <a:gd name="connsiteY35" fmla="*/ 172498 h 330898"/>
                <a:gd name="connsiteX36" fmla="*/ 35433 w 233171"/>
                <a:gd name="connsiteY36" fmla="*/ 210026 h 330898"/>
                <a:gd name="connsiteX37" fmla="*/ 35433 w 233171"/>
                <a:gd name="connsiteY37" fmla="*/ 210883 h 330898"/>
                <a:gd name="connsiteX38" fmla="*/ 41910 w 233171"/>
                <a:gd name="connsiteY38" fmla="*/ 247936 h 330898"/>
                <a:gd name="connsiteX39" fmla="*/ 59531 w 233171"/>
                <a:gd name="connsiteY39" fmla="*/ 276034 h 330898"/>
                <a:gd name="connsiteX40" fmla="*/ 85439 w 233171"/>
                <a:gd name="connsiteY40" fmla="*/ 293941 h 330898"/>
                <a:gd name="connsiteX41" fmla="*/ 116681 w 23317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3171" h="330898">
                  <a:moveTo>
                    <a:pt x="110394" y="330898"/>
                  </a:moveTo>
                  <a:cubicBezTo>
                    <a:pt x="96393" y="330898"/>
                    <a:pt x="82868" y="328231"/>
                    <a:pt x="69723" y="322897"/>
                  </a:cubicBezTo>
                  <a:cubicBezTo>
                    <a:pt x="56674" y="317563"/>
                    <a:pt x="44863" y="309753"/>
                    <a:pt x="34480" y="299466"/>
                  </a:cubicBezTo>
                  <a:cubicBezTo>
                    <a:pt x="24003" y="289179"/>
                    <a:pt x="15716" y="276701"/>
                    <a:pt x="9430" y="261938"/>
                  </a:cubicBezTo>
                  <a:cubicBezTo>
                    <a:pt x="3143" y="247174"/>
                    <a:pt x="0" y="230314"/>
                    <a:pt x="0" y="211264"/>
                  </a:cubicBezTo>
                  <a:lnTo>
                    <a:pt x="0" y="210407"/>
                  </a:lnTo>
                  <a:cubicBezTo>
                    <a:pt x="0" y="191643"/>
                    <a:pt x="3143" y="174879"/>
                    <a:pt x="9430" y="159925"/>
                  </a:cubicBezTo>
                  <a:cubicBezTo>
                    <a:pt x="15716" y="145066"/>
                    <a:pt x="24003" y="132493"/>
                    <a:pt x="34480" y="122206"/>
                  </a:cubicBezTo>
                  <a:cubicBezTo>
                    <a:pt x="44863" y="111919"/>
                    <a:pt x="56674" y="104013"/>
                    <a:pt x="69723" y="98488"/>
                  </a:cubicBezTo>
                  <a:cubicBezTo>
                    <a:pt x="82868" y="92964"/>
                    <a:pt x="96393" y="90202"/>
                    <a:pt x="110394" y="90202"/>
                  </a:cubicBezTo>
                  <a:cubicBezTo>
                    <a:pt x="121158" y="90202"/>
                    <a:pt x="130969" y="91535"/>
                    <a:pt x="139827" y="94202"/>
                  </a:cubicBezTo>
                  <a:cubicBezTo>
                    <a:pt x="148780" y="96869"/>
                    <a:pt x="156782" y="100489"/>
                    <a:pt x="163925" y="104870"/>
                  </a:cubicBezTo>
                  <a:cubicBezTo>
                    <a:pt x="171069" y="109347"/>
                    <a:pt x="177546" y="114586"/>
                    <a:pt x="183356" y="120491"/>
                  </a:cubicBezTo>
                  <a:cubicBezTo>
                    <a:pt x="189166" y="126492"/>
                    <a:pt x="194310" y="132683"/>
                    <a:pt x="198787" y="139255"/>
                  </a:cubicBezTo>
                  <a:lnTo>
                    <a:pt x="198787" y="0"/>
                  </a:lnTo>
                  <a:lnTo>
                    <a:pt x="233172" y="0"/>
                  </a:lnTo>
                  <a:lnTo>
                    <a:pt x="233172" y="325850"/>
                  </a:lnTo>
                  <a:lnTo>
                    <a:pt x="198787" y="325850"/>
                  </a:lnTo>
                  <a:lnTo>
                    <a:pt x="198787" y="279463"/>
                  </a:lnTo>
                  <a:cubicBezTo>
                    <a:pt x="194024" y="286321"/>
                    <a:pt x="188786" y="292894"/>
                    <a:pt x="182975" y="299085"/>
                  </a:cubicBezTo>
                  <a:cubicBezTo>
                    <a:pt x="177165" y="305371"/>
                    <a:pt x="170688" y="310896"/>
                    <a:pt x="163544" y="315658"/>
                  </a:cubicBezTo>
                  <a:cubicBezTo>
                    <a:pt x="156400" y="320421"/>
                    <a:pt x="148494" y="324136"/>
                    <a:pt x="139636" y="326803"/>
                  </a:cubicBezTo>
                  <a:cubicBezTo>
                    <a:pt x="130873" y="329470"/>
                    <a:pt x="121158" y="330803"/>
                    <a:pt x="110394" y="330803"/>
                  </a:cubicBezTo>
                  <a:close/>
                  <a:moveTo>
                    <a:pt x="116681" y="300133"/>
                  </a:moveTo>
                  <a:cubicBezTo>
                    <a:pt x="127445" y="300133"/>
                    <a:pt x="137732" y="297942"/>
                    <a:pt x="147733" y="293656"/>
                  </a:cubicBezTo>
                  <a:cubicBezTo>
                    <a:pt x="157734" y="289369"/>
                    <a:pt x="166592" y="283273"/>
                    <a:pt x="174498" y="275368"/>
                  </a:cubicBezTo>
                  <a:cubicBezTo>
                    <a:pt x="182404" y="267462"/>
                    <a:pt x="188595" y="258127"/>
                    <a:pt x="193262" y="247269"/>
                  </a:cubicBezTo>
                  <a:cubicBezTo>
                    <a:pt x="197834" y="236410"/>
                    <a:pt x="200216" y="224314"/>
                    <a:pt x="200216" y="210883"/>
                  </a:cubicBezTo>
                  <a:lnTo>
                    <a:pt x="200216" y="210026"/>
                  </a:lnTo>
                  <a:cubicBezTo>
                    <a:pt x="200216" y="196596"/>
                    <a:pt x="197929" y="184499"/>
                    <a:pt x="193262" y="173641"/>
                  </a:cubicBezTo>
                  <a:cubicBezTo>
                    <a:pt x="188595" y="162782"/>
                    <a:pt x="182404" y="153448"/>
                    <a:pt x="174498" y="145732"/>
                  </a:cubicBezTo>
                  <a:cubicBezTo>
                    <a:pt x="166592" y="138017"/>
                    <a:pt x="157639" y="132016"/>
                    <a:pt x="147733" y="127635"/>
                  </a:cubicBezTo>
                  <a:cubicBezTo>
                    <a:pt x="137732" y="123349"/>
                    <a:pt x="127445" y="121158"/>
                    <a:pt x="116681" y="121158"/>
                  </a:cubicBezTo>
                  <a:cubicBezTo>
                    <a:pt x="105346" y="121158"/>
                    <a:pt x="94774" y="123158"/>
                    <a:pt x="84963" y="127159"/>
                  </a:cubicBezTo>
                  <a:cubicBezTo>
                    <a:pt x="75152" y="131159"/>
                    <a:pt x="66580" y="136969"/>
                    <a:pt x="59341" y="144589"/>
                  </a:cubicBezTo>
                  <a:cubicBezTo>
                    <a:pt x="52007" y="152114"/>
                    <a:pt x="46291" y="161449"/>
                    <a:pt x="41910" y="172498"/>
                  </a:cubicBezTo>
                  <a:cubicBezTo>
                    <a:pt x="37624" y="183451"/>
                    <a:pt x="35433" y="196024"/>
                    <a:pt x="35433" y="210026"/>
                  </a:cubicBezTo>
                  <a:lnTo>
                    <a:pt x="35433" y="210883"/>
                  </a:lnTo>
                  <a:cubicBezTo>
                    <a:pt x="35433" y="224599"/>
                    <a:pt x="37624" y="236982"/>
                    <a:pt x="41910" y="247936"/>
                  </a:cubicBezTo>
                  <a:cubicBezTo>
                    <a:pt x="46196" y="258984"/>
                    <a:pt x="52101" y="268319"/>
                    <a:pt x="59531" y="276034"/>
                  </a:cubicBezTo>
                  <a:cubicBezTo>
                    <a:pt x="66960" y="283750"/>
                    <a:pt x="75629" y="289750"/>
                    <a:pt x="85439" y="293941"/>
                  </a:cubicBezTo>
                  <a:cubicBezTo>
                    <a:pt x="95250" y="298132"/>
                    <a:pt x="105632" y="300228"/>
                    <a:pt x="116681" y="300228"/>
                  </a:cubicBezTo>
                  <a:close/>
                </a:path>
              </a:pathLst>
            </a:custGeom>
            <a:solidFill>
              <a:srgbClr val="44505E"/>
            </a:solidFill>
            <a:ln w="9525" cap="flat">
              <a:noFill/>
              <a:prstDash val="solid"/>
              <a:miter/>
            </a:ln>
          </p:spPr>
          <p:txBody>
            <a:bodyPr rtlCol="0" anchor="ctr"/>
            <a:lstStyle/>
            <a:p>
              <a:endParaRPr lang="pt-BR" noProof="0"/>
            </a:p>
          </p:txBody>
        </p:sp>
        <p:sp>
          <p:nvSpPr>
            <p:cNvPr id="53" name="Freeform: Shape 52">
              <a:extLst>
                <a:ext uri="{FF2B5EF4-FFF2-40B4-BE49-F238E27FC236}">
                  <a16:creationId xmlns:a16="http://schemas.microsoft.com/office/drawing/2014/main" id="{A4B44985-53C4-6622-DA10-361981D11E04}"/>
                </a:ext>
              </a:extLst>
            </p:cNvPr>
            <p:cNvSpPr/>
            <p:nvPr/>
          </p:nvSpPr>
          <p:spPr>
            <a:xfrm>
              <a:off x="6586762"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0 w 202977"/>
                <a:gd name="connsiteY16" fmla="*/ 48196 h 239267"/>
                <a:gd name="connsiteX17" fmla="*/ 20383 w 202977"/>
                <a:gd name="connsiteY17" fmla="*/ 19907 h 239267"/>
                <a:gd name="connsiteX18" fmla="*/ 59245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0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1"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675" y="92678"/>
                    <a:pt x="84011" y="90964"/>
                    <a:pt x="98584" y="90964"/>
                  </a:cubicBezTo>
                  <a:cubicBezTo>
                    <a:pt x="113157" y="90964"/>
                    <a:pt x="126302"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0" y="33147"/>
                    <a:pt x="63436" y="36100"/>
                  </a:cubicBezTo>
                  <a:cubicBezTo>
                    <a:pt x="52292" y="39053"/>
                    <a:pt x="41338" y="43053"/>
                    <a:pt x="30670" y="48196"/>
                  </a:cubicBezTo>
                  <a:lnTo>
                    <a:pt x="20383" y="19907"/>
                  </a:lnTo>
                  <a:cubicBezTo>
                    <a:pt x="33147" y="13906"/>
                    <a:pt x="46101" y="9049"/>
                    <a:pt x="59245" y="5429"/>
                  </a:cubicBezTo>
                  <a:cubicBezTo>
                    <a:pt x="72294" y="1810"/>
                    <a:pt x="87344" y="0"/>
                    <a:pt x="104299" y="0"/>
                  </a:cubicBezTo>
                  <a:cubicBezTo>
                    <a:pt x="137064" y="0"/>
                    <a:pt x="161925" y="8477"/>
                    <a:pt x="178879" y="25432"/>
                  </a:cubicBezTo>
                  <a:cubicBezTo>
                    <a:pt x="194976"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0" y="239173"/>
                  </a:cubicBezTo>
                  <a:close/>
                  <a:moveTo>
                    <a:pt x="93154" y="211169"/>
                  </a:moveTo>
                  <a:cubicBezTo>
                    <a:pt x="103822" y="211169"/>
                    <a:pt x="113729" y="209740"/>
                    <a:pt x="122967" y="206788"/>
                  </a:cubicBezTo>
                  <a:cubicBezTo>
                    <a:pt x="132207"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4" y="119348"/>
                    <a:pt x="116871"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54" name="Freeform: Shape 53">
              <a:extLst>
                <a:ext uri="{FF2B5EF4-FFF2-40B4-BE49-F238E27FC236}">
                  <a16:creationId xmlns:a16="http://schemas.microsoft.com/office/drawing/2014/main" id="{22A2753D-8819-83BB-22EE-567B00C856E9}"/>
                </a:ext>
              </a:extLst>
            </p:cNvPr>
            <p:cNvSpPr/>
            <p:nvPr/>
          </p:nvSpPr>
          <p:spPr>
            <a:xfrm>
              <a:off x="6651291" y="924268"/>
              <a:ext cx="44680" cy="60195"/>
            </a:xfrm>
            <a:custGeom>
              <a:avLst/>
              <a:gdLst>
                <a:gd name="connsiteX0" fmla="*/ 95535 w 177736"/>
                <a:gd name="connsiteY0" fmla="*/ 239268 h 239458"/>
                <a:gd name="connsiteX1" fmla="*/ 45053 w 177736"/>
                <a:gd name="connsiteY1" fmla="*/ 230124 h 239458"/>
                <a:gd name="connsiteX2" fmla="*/ 0 w 177736"/>
                <a:gd name="connsiteY2" fmla="*/ 205359 h 239458"/>
                <a:gd name="connsiteX3" fmla="*/ 17430 w 177736"/>
                <a:gd name="connsiteY3" fmla="*/ 180785 h 239458"/>
                <a:gd name="connsiteX4" fmla="*/ 56483 w 177736"/>
                <a:gd name="connsiteY4" fmla="*/ 202692 h 239458"/>
                <a:gd name="connsiteX5" fmla="*/ 97345 w 177736"/>
                <a:gd name="connsiteY5" fmla="*/ 210217 h 239458"/>
                <a:gd name="connsiteX6" fmla="*/ 131730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825 w 177736"/>
                <a:gd name="connsiteY10" fmla="*/ 147066 h 239458"/>
                <a:gd name="connsiteX11" fmla="*/ 109251 w 177736"/>
                <a:gd name="connsiteY11" fmla="*/ 138779 h 239458"/>
                <a:gd name="connsiteX12" fmla="*/ 87630 w 177736"/>
                <a:gd name="connsiteY12" fmla="*/ 132112 h 239458"/>
                <a:gd name="connsiteX13" fmla="*/ 60579 w 177736"/>
                <a:gd name="connsiteY13" fmla="*/ 123444 h 239458"/>
                <a:gd name="connsiteX14" fmla="*/ 36004 w 177736"/>
                <a:gd name="connsiteY14" fmla="*/ 111633 h 239458"/>
                <a:gd name="connsiteX15" fmla="*/ 18192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59 w 177736"/>
                <a:gd name="connsiteY22" fmla="*/ 6953 h 239458"/>
                <a:gd name="connsiteX23" fmla="*/ 172878 w 177736"/>
                <a:gd name="connsiteY23" fmla="*/ 25527 h 239458"/>
                <a:gd name="connsiteX24" fmla="*/ 157257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3 w 177736"/>
                <a:gd name="connsiteY32" fmla="*/ 96203 h 239458"/>
                <a:gd name="connsiteX33" fmla="*/ 103631 w 177736"/>
                <a:gd name="connsiteY33" fmla="*/ 103346 h 239458"/>
                <a:gd name="connsiteX34" fmla="*/ 130207 w 177736"/>
                <a:gd name="connsiteY34" fmla="*/ 112300 h 239458"/>
                <a:gd name="connsiteX35" fmla="*/ 154114 w 177736"/>
                <a:gd name="connsiteY35" fmla="*/ 124778 h 239458"/>
                <a:gd name="connsiteX36" fmla="*/ 171259 w 177736"/>
                <a:gd name="connsiteY36" fmla="*/ 143066 h 239458"/>
                <a:gd name="connsiteX37" fmla="*/ 177736 w 177736"/>
                <a:gd name="connsiteY37" fmla="*/ 169450 h 239458"/>
                <a:gd name="connsiteX38" fmla="*/ 177736 w 177736"/>
                <a:gd name="connsiteY38" fmla="*/ 170307 h 239458"/>
                <a:gd name="connsiteX39" fmla="*/ 171259 w 177736"/>
                <a:gd name="connsiteY39" fmla="*/ 199549 h 239458"/>
                <a:gd name="connsiteX40" fmla="*/ 153828 w 177736"/>
                <a:gd name="connsiteY40" fmla="*/ 221171 h 239458"/>
                <a:gd name="connsiteX41" fmla="*/ 127921 w 177736"/>
                <a:gd name="connsiteY41" fmla="*/ 234791 h 239458"/>
                <a:gd name="connsiteX42" fmla="*/ 95535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5" y="239268"/>
                  </a:moveTo>
                  <a:cubicBezTo>
                    <a:pt x="78867" y="239268"/>
                    <a:pt x="62007" y="236220"/>
                    <a:pt x="45053" y="230124"/>
                  </a:cubicBezTo>
                  <a:cubicBezTo>
                    <a:pt x="28098" y="224028"/>
                    <a:pt x="13049" y="215741"/>
                    <a:pt x="0" y="205359"/>
                  </a:cubicBezTo>
                  <a:lnTo>
                    <a:pt x="17430" y="180785"/>
                  </a:lnTo>
                  <a:cubicBezTo>
                    <a:pt x="29908" y="190310"/>
                    <a:pt x="42957" y="197644"/>
                    <a:pt x="56483" y="202692"/>
                  </a:cubicBezTo>
                  <a:cubicBezTo>
                    <a:pt x="70009" y="207740"/>
                    <a:pt x="83629" y="210217"/>
                    <a:pt x="97345" y="210217"/>
                  </a:cubicBezTo>
                  <a:cubicBezTo>
                    <a:pt x="111061" y="210217"/>
                    <a:pt x="122777" y="206978"/>
                    <a:pt x="131730" y="200406"/>
                  </a:cubicBezTo>
                  <a:cubicBezTo>
                    <a:pt x="140684" y="193834"/>
                    <a:pt x="145161" y="184976"/>
                    <a:pt x="145161" y="173641"/>
                  </a:cubicBezTo>
                  <a:lnTo>
                    <a:pt x="145161" y="172784"/>
                  </a:lnTo>
                  <a:cubicBezTo>
                    <a:pt x="145161" y="167164"/>
                    <a:pt x="143541" y="162211"/>
                    <a:pt x="140494" y="158020"/>
                  </a:cubicBezTo>
                  <a:cubicBezTo>
                    <a:pt x="137350" y="153829"/>
                    <a:pt x="133159" y="150209"/>
                    <a:pt x="127825" y="147066"/>
                  </a:cubicBezTo>
                  <a:cubicBezTo>
                    <a:pt x="122491" y="143923"/>
                    <a:pt x="116300" y="141161"/>
                    <a:pt x="109251" y="138779"/>
                  </a:cubicBezTo>
                  <a:cubicBezTo>
                    <a:pt x="102298" y="136398"/>
                    <a:pt x="95059" y="134207"/>
                    <a:pt x="87630" y="132112"/>
                  </a:cubicBezTo>
                  <a:cubicBezTo>
                    <a:pt x="78676" y="129445"/>
                    <a:pt x="69722" y="126492"/>
                    <a:pt x="60579" y="123444"/>
                  </a:cubicBezTo>
                  <a:cubicBezTo>
                    <a:pt x="51530" y="120301"/>
                    <a:pt x="43339" y="116396"/>
                    <a:pt x="36004" y="111633"/>
                  </a:cubicBezTo>
                  <a:cubicBezTo>
                    <a:pt x="28670" y="106871"/>
                    <a:pt x="22764" y="100870"/>
                    <a:pt x="18192" y="93726"/>
                  </a:cubicBezTo>
                  <a:cubicBezTo>
                    <a:pt x="13525" y="86582"/>
                    <a:pt x="11239" y="77629"/>
                    <a:pt x="11239" y="66961"/>
                  </a:cubicBezTo>
                  <a:lnTo>
                    <a:pt x="11239" y="66008"/>
                  </a:lnTo>
                  <a:cubicBezTo>
                    <a:pt x="11239" y="56198"/>
                    <a:pt x="13144" y="47149"/>
                    <a:pt x="17050" y="39053"/>
                  </a:cubicBezTo>
                  <a:cubicBezTo>
                    <a:pt x="20955" y="30861"/>
                    <a:pt x="26384" y="23908"/>
                    <a:pt x="33338" y="18098"/>
                  </a:cubicBezTo>
                  <a:cubicBezTo>
                    <a:pt x="40291" y="12287"/>
                    <a:pt x="48673" y="7811"/>
                    <a:pt x="58388" y="4667"/>
                  </a:cubicBezTo>
                  <a:cubicBezTo>
                    <a:pt x="68008" y="1524"/>
                    <a:pt x="78581" y="0"/>
                    <a:pt x="89821" y="0"/>
                  </a:cubicBezTo>
                  <a:cubicBezTo>
                    <a:pt x="104108" y="0"/>
                    <a:pt x="118586" y="2286"/>
                    <a:pt x="133159" y="6953"/>
                  </a:cubicBezTo>
                  <a:cubicBezTo>
                    <a:pt x="147732" y="11621"/>
                    <a:pt x="160972" y="17717"/>
                    <a:pt x="172878" y="25527"/>
                  </a:cubicBezTo>
                  <a:lnTo>
                    <a:pt x="157257" y="51435"/>
                  </a:lnTo>
                  <a:cubicBezTo>
                    <a:pt x="146494" y="44577"/>
                    <a:pt x="135255" y="39148"/>
                    <a:pt x="123539" y="35147"/>
                  </a:cubicBezTo>
                  <a:cubicBezTo>
                    <a:pt x="111823" y="31147"/>
                    <a:pt x="100203" y="29146"/>
                    <a:pt x="88963" y="29146"/>
                  </a:cubicBezTo>
                  <a:cubicBezTo>
                    <a:pt x="75247" y="29146"/>
                    <a:pt x="64389" y="32385"/>
                    <a:pt x="56388" y="38767"/>
                  </a:cubicBezTo>
                  <a:cubicBezTo>
                    <a:pt x="48291" y="45149"/>
                    <a:pt x="44291" y="53150"/>
                    <a:pt x="44291" y="62675"/>
                  </a:cubicBezTo>
                  <a:lnTo>
                    <a:pt x="44291" y="63627"/>
                  </a:lnTo>
                  <a:cubicBezTo>
                    <a:pt x="44291" y="68961"/>
                    <a:pt x="45910" y="73628"/>
                    <a:pt x="49244" y="77724"/>
                  </a:cubicBezTo>
                  <a:cubicBezTo>
                    <a:pt x="52482" y="81725"/>
                    <a:pt x="56864" y="85249"/>
                    <a:pt x="62389" y="88202"/>
                  </a:cubicBezTo>
                  <a:cubicBezTo>
                    <a:pt x="67913" y="91154"/>
                    <a:pt x="74200" y="93821"/>
                    <a:pt x="81343" y="96203"/>
                  </a:cubicBezTo>
                  <a:cubicBezTo>
                    <a:pt x="88487" y="98584"/>
                    <a:pt x="95916" y="100965"/>
                    <a:pt x="103631" y="103346"/>
                  </a:cubicBezTo>
                  <a:cubicBezTo>
                    <a:pt x="112585" y="106013"/>
                    <a:pt x="121444" y="108966"/>
                    <a:pt x="130207" y="112300"/>
                  </a:cubicBezTo>
                  <a:cubicBezTo>
                    <a:pt x="138969" y="115538"/>
                    <a:pt x="146971" y="119729"/>
                    <a:pt x="154114" y="124778"/>
                  </a:cubicBezTo>
                  <a:cubicBezTo>
                    <a:pt x="161258" y="129826"/>
                    <a:pt x="166973" y="135922"/>
                    <a:pt x="171259" y="143066"/>
                  </a:cubicBezTo>
                  <a:cubicBezTo>
                    <a:pt x="175546" y="150209"/>
                    <a:pt x="177736" y="158972"/>
                    <a:pt x="177736" y="169450"/>
                  </a:cubicBezTo>
                  <a:lnTo>
                    <a:pt x="177736" y="170307"/>
                  </a:lnTo>
                  <a:cubicBezTo>
                    <a:pt x="177736" y="181356"/>
                    <a:pt x="175546" y="191071"/>
                    <a:pt x="171259" y="199549"/>
                  </a:cubicBezTo>
                  <a:cubicBezTo>
                    <a:pt x="166973" y="208026"/>
                    <a:pt x="161163" y="215265"/>
                    <a:pt x="153828" y="221171"/>
                  </a:cubicBezTo>
                  <a:cubicBezTo>
                    <a:pt x="146589" y="227171"/>
                    <a:pt x="137922" y="231648"/>
                    <a:pt x="127921" y="234791"/>
                  </a:cubicBezTo>
                  <a:cubicBezTo>
                    <a:pt x="117919" y="237935"/>
                    <a:pt x="107156" y="239459"/>
                    <a:pt x="95535" y="239459"/>
                  </a:cubicBezTo>
                  <a:close/>
                </a:path>
              </a:pathLst>
            </a:custGeom>
            <a:solidFill>
              <a:srgbClr val="44505E"/>
            </a:solidFill>
            <a:ln w="9525" cap="flat">
              <a:noFill/>
              <a:prstDash val="solid"/>
              <a:miter/>
            </a:ln>
          </p:spPr>
          <p:txBody>
            <a:bodyPr rtlCol="0" anchor="ctr"/>
            <a:lstStyle/>
            <a:p>
              <a:endParaRPr lang="pt-BR" noProof="0"/>
            </a:p>
          </p:txBody>
        </p:sp>
        <p:sp>
          <p:nvSpPr>
            <p:cNvPr id="55" name="Freeform: Shape 54">
              <a:extLst>
                <a:ext uri="{FF2B5EF4-FFF2-40B4-BE49-F238E27FC236}">
                  <a16:creationId xmlns:a16="http://schemas.microsoft.com/office/drawing/2014/main" id="{0AF598C4-52A2-D2D9-8D62-0A69622961D2}"/>
                </a:ext>
              </a:extLst>
            </p:cNvPr>
            <p:cNvSpPr/>
            <p:nvPr/>
          </p:nvSpPr>
          <p:spPr>
            <a:xfrm>
              <a:off x="5250320" y="846952"/>
              <a:ext cx="1459036" cy="16186"/>
            </a:xfrm>
            <a:custGeom>
              <a:avLst/>
              <a:gdLst>
                <a:gd name="connsiteX0" fmla="*/ 0 w 5804058"/>
                <a:gd name="connsiteY0" fmla="*/ 0 h 64388"/>
                <a:gd name="connsiteX1" fmla="*/ 5804059 w 5804058"/>
                <a:gd name="connsiteY1" fmla="*/ 0 h 64388"/>
                <a:gd name="connsiteX2" fmla="*/ 5804059 w 5804058"/>
                <a:gd name="connsiteY2" fmla="*/ 64389 h 64388"/>
                <a:gd name="connsiteX3" fmla="*/ 0 w 5804058"/>
                <a:gd name="connsiteY3" fmla="*/ 64389 h 64388"/>
              </a:gdLst>
              <a:ahLst/>
              <a:cxnLst>
                <a:cxn ang="0">
                  <a:pos x="connsiteX0" y="connsiteY0"/>
                </a:cxn>
                <a:cxn ang="0">
                  <a:pos x="connsiteX1" y="connsiteY1"/>
                </a:cxn>
                <a:cxn ang="0">
                  <a:pos x="connsiteX2" y="connsiteY2"/>
                </a:cxn>
                <a:cxn ang="0">
                  <a:pos x="connsiteX3" y="connsiteY3"/>
                </a:cxn>
              </a:cxnLst>
              <a:rect l="l" t="t" r="r" b="b"/>
              <a:pathLst>
                <a:path w="5804058" h="64388">
                  <a:moveTo>
                    <a:pt x="0" y="0"/>
                  </a:moveTo>
                  <a:lnTo>
                    <a:pt x="5804059" y="0"/>
                  </a:lnTo>
                  <a:lnTo>
                    <a:pt x="5804059" y="64389"/>
                  </a:lnTo>
                  <a:lnTo>
                    <a:pt x="0" y="64389"/>
                  </a:lnTo>
                  <a:close/>
                </a:path>
              </a:pathLst>
            </a:custGeom>
            <a:solidFill>
              <a:srgbClr val="44505E"/>
            </a:solidFill>
            <a:ln w="9525" cap="flat">
              <a:noFill/>
              <a:prstDash val="solid"/>
              <a:miter/>
            </a:ln>
          </p:spPr>
          <p:txBody>
            <a:bodyPr rtlCol="0" anchor="ctr"/>
            <a:lstStyle/>
            <a:p>
              <a:endParaRPr lang="pt-BR" noProof="0"/>
            </a:p>
          </p:txBody>
        </p:sp>
        <p:sp>
          <p:nvSpPr>
            <p:cNvPr id="56" name="Freeform: Shape 55">
              <a:extLst>
                <a:ext uri="{FF2B5EF4-FFF2-40B4-BE49-F238E27FC236}">
                  <a16:creationId xmlns:a16="http://schemas.microsoft.com/office/drawing/2014/main" id="{A476678E-D4C4-945B-1AD9-EB7C5004B440}"/>
                </a:ext>
              </a:extLst>
            </p:cNvPr>
            <p:cNvSpPr/>
            <p:nvPr/>
          </p:nvSpPr>
          <p:spPr>
            <a:xfrm>
              <a:off x="6902633" y="268821"/>
              <a:ext cx="273418" cy="601046"/>
            </a:xfrm>
            <a:custGeom>
              <a:avLst/>
              <a:gdLst>
                <a:gd name="connsiteX0" fmla="*/ 0 w 1087659"/>
                <a:gd name="connsiteY0" fmla="*/ 210979 h 2390965"/>
                <a:gd name="connsiteX1" fmla="*/ 125063 w 1087659"/>
                <a:gd name="connsiteY1" fmla="*/ 103442 h 2390965"/>
                <a:gd name="connsiteX2" fmla="*/ 250031 w 1087659"/>
                <a:gd name="connsiteY2" fmla="*/ 210979 h 2390965"/>
                <a:gd name="connsiteX3" fmla="*/ 250031 w 1087659"/>
                <a:gd name="connsiteY3" fmla="*/ 1922717 h 2390965"/>
                <a:gd name="connsiteX4" fmla="*/ 249841 w 1087659"/>
                <a:gd name="connsiteY4" fmla="*/ 1922717 h 2390965"/>
                <a:gd name="connsiteX5" fmla="*/ 249841 w 1087659"/>
                <a:gd name="connsiteY5" fmla="*/ 1925955 h 2390965"/>
                <a:gd name="connsiteX6" fmla="*/ 333756 w 1087659"/>
                <a:gd name="connsiteY6" fmla="*/ 2100263 h 2390965"/>
                <a:gd name="connsiteX7" fmla="*/ 335566 w 1087659"/>
                <a:gd name="connsiteY7" fmla="*/ 2101787 h 2390965"/>
                <a:gd name="connsiteX8" fmla="*/ 336042 w 1087659"/>
                <a:gd name="connsiteY8" fmla="*/ 2102168 h 2390965"/>
                <a:gd name="connsiteX9" fmla="*/ 543877 w 1087659"/>
                <a:gd name="connsiteY9" fmla="*/ 2175891 h 2390965"/>
                <a:gd name="connsiteX10" fmla="*/ 749998 w 1087659"/>
                <a:gd name="connsiteY10" fmla="*/ 2103692 h 2390965"/>
                <a:gd name="connsiteX11" fmla="*/ 751713 w 1087659"/>
                <a:gd name="connsiteY11" fmla="*/ 2102168 h 2390965"/>
                <a:gd name="connsiteX12" fmla="*/ 752189 w 1087659"/>
                <a:gd name="connsiteY12" fmla="*/ 2101787 h 2390965"/>
                <a:gd name="connsiteX13" fmla="*/ 837819 w 1087659"/>
                <a:gd name="connsiteY13" fmla="*/ 1922812 h 2390965"/>
                <a:gd name="connsiteX14" fmla="*/ 837819 w 1087659"/>
                <a:gd name="connsiteY14" fmla="*/ 107537 h 2390965"/>
                <a:gd name="connsiteX15" fmla="*/ 962787 w 1087659"/>
                <a:gd name="connsiteY15" fmla="*/ 0 h 2390965"/>
                <a:gd name="connsiteX16" fmla="*/ 1087660 w 1087659"/>
                <a:gd name="connsiteY16" fmla="*/ 107537 h 2390965"/>
                <a:gd name="connsiteX17" fmla="*/ 1087660 w 1087659"/>
                <a:gd name="connsiteY17" fmla="*/ 1922621 h 2390965"/>
                <a:gd name="connsiteX18" fmla="*/ 928307 w 1087659"/>
                <a:gd name="connsiteY18" fmla="*/ 2253234 h 2390965"/>
                <a:gd name="connsiteX19" fmla="*/ 928116 w 1087659"/>
                <a:gd name="connsiteY19" fmla="*/ 2253424 h 2390965"/>
                <a:gd name="connsiteX20" fmla="*/ 927830 w 1087659"/>
                <a:gd name="connsiteY20" fmla="*/ 2253710 h 2390965"/>
                <a:gd name="connsiteX21" fmla="*/ 927354 w 1087659"/>
                <a:gd name="connsiteY21" fmla="*/ 2254187 h 2390965"/>
                <a:gd name="connsiteX22" fmla="*/ 543783 w 1087659"/>
                <a:gd name="connsiteY22" fmla="*/ 2390966 h 2390965"/>
                <a:gd name="connsiteX23" fmla="*/ 159734 w 1087659"/>
                <a:gd name="connsiteY23" fmla="*/ 2253710 h 2390965"/>
                <a:gd name="connsiteX24" fmla="*/ 159734 w 1087659"/>
                <a:gd name="connsiteY24" fmla="*/ 2253424 h 2390965"/>
                <a:gd name="connsiteX25" fmla="*/ 159353 w 1087659"/>
                <a:gd name="connsiteY25" fmla="*/ 2253234 h 2390965"/>
                <a:gd name="connsiteX26" fmla="*/ 158877 w 1087659"/>
                <a:gd name="connsiteY26" fmla="*/ 2252948 h 2390965"/>
                <a:gd name="connsiteX27" fmla="*/ 0 w 1087659"/>
                <a:gd name="connsiteY27" fmla="*/ 1922621 h 2390965"/>
                <a:gd name="connsiteX28" fmla="*/ 0 w 1087659"/>
                <a:gd name="connsiteY28" fmla="*/ 1922621 h 2390965"/>
                <a:gd name="connsiteX29" fmla="*/ 0 w 1087659"/>
                <a:gd name="connsiteY29" fmla="*/ 210979 h 239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87659" h="2390965">
                  <a:moveTo>
                    <a:pt x="0" y="210979"/>
                  </a:moveTo>
                  <a:cubicBezTo>
                    <a:pt x="0" y="151638"/>
                    <a:pt x="56007" y="103442"/>
                    <a:pt x="125063" y="103442"/>
                  </a:cubicBezTo>
                  <a:cubicBezTo>
                    <a:pt x="194120" y="103442"/>
                    <a:pt x="250031" y="151638"/>
                    <a:pt x="250031" y="210979"/>
                  </a:cubicBezTo>
                  <a:lnTo>
                    <a:pt x="250031" y="1922717"/>
                  </a:lnTo>
                  <a:lnTo>
                    <a:pt x="249841" y="1922717"/>
                  </a:lnTo>
                  <a:lnTo>
                    <a:pt x="249841" y="1925955"/>
                  </a:lnTo>
                  <a:cubicBezTo>
                    <a:pt x="250793" y="1994059"/>
                    <a:pt x="282797" y="2055495"/>
                    <a:pt x="333756" y="2100263"/>
                  </a:cubicBezTo>
                  <a:lnTo>
                    <a:pt x="335566" y="2101787"/>
                  </a:lnTo>
                  <a:lnTo>
                    <a:pt x="336042" y="2102168"/>
                  </a:lnTo>
                  <a:cubicBezTo>
                    <a:pt x="388906" y="2147697"/>
                    <a:pt x="462343" y="2175891"/>
                    <a:pt x="543877" y="2175891"/>
                  </a:cubicBezTo>
                  <a:cubicBezTo>
                    <a:pt x="625411" y="2175891"/>
                    <a:pt x="697420" y="2148364"/>
                    <a:pt x="749998" y="2103692"/>
                  </a:cubicBezTo>
                  <a:lnTo>
                    <a:pt x="751713" y="2102168"/>
                  </a:lnTo>
                  <a:lnTo>
                    <a:pt x="752189" y="2101787"/>
                  </a:lnTo>
                  <a:cubicBezTo>
                    <a:pt x="805053" y="2056352"/>
                    <a:pt x="837819" y="1993011"/>
                    <a:pt x="837819" y="1922812"/>
                  </a:cubicBezTo>
                  <a:lnTo>
                    <a:pt x="837819" y="107537"/>
                  </a:lnTo>
                  <a:cubicBezTo>
                    <a:pt x="837819" y="48196"/>
                    <a:pt x="893731" y="0"/>
                    <a:pt x="962787" y="0"/>
                  </a:cubicBezTo>
                  <a:cubicBezTo>
                    <a:pt x="1031843" y="0"/>
                    <a:pt x="1087660" y="48196"/>
                    <a:pt x="1087660" y="107537"/>
                  </a:cubicBezTo>
                  <a:lnTo>
                    <a:pt x="1087660" y="1922621"/>
                  </a:lnTo>
                  <a:cubicBezTo>
                    <a:pt x="1087660" y="2051399"/>
                    <a:pt x="1026795" y="2168366"/>
                    <a:pt x="928307" y="2253234"/>
                  </a:cubicBezTo>
                  <a:lnTo>
                    <a:pt x="928116" y="2253424"/>
                  </a:lnTo>
                  <a:lnTo>
                    <a:pt x="927830" y="2253710"/>
                  </a:lnTo>
                  <a:lnTo>
                    <a:pt x="927354" y="2254187"/>
                  </a:lnTo>
                  <a:cubicBezTo>
                    <a:pt x="828770" y="2338673"/>
                    <a:pt x="693134" y="2390966"/>
                    <a:pt x="543783" y="2390966"/>
                  </a:cubicBezTo>
                  <a:cubicBezTo>
                    <a:pt x="394430" y="2390966"/>
                    <a:pt x="258413" y="2338483"/>
                    <a:pt x="159734" y="2253710"/>
                  </a:cubicBezTo>
                  <a:lnTo>
                    <a:pt x="159734" y="2253424"/>
                  </a:lnTo>
                  <a:cubicBezTo>
                    <a:pt x="159734" y="2253424"/>
                    <a:pt x="159353" y="2253234"/>
                    <a:pt x="159353" y="2253234"/>
                  </a:cubicBezTo>
                  <a:lnTo>
                    <a:pt x="158877" y="2252948"/>
                  </a:lnTo>
                  <a:cubicBezTo>
                    <a:pt x="60770" y="2167985"/>
                    <a:pt x="0" y="2051304"/>
                    <a:pt x="0" y="1922621"/>
                  </a:cubicBezTo>
                  <a:lnTo>
                    <a:pt x="0" y="1922621"/>
                  </a:lnTo>
                  <a:lnTo>
                    <a:pt x="0" y="210979"/>
                  </a:lnTo>
                  <a:close/>
                </a:path>
              </a:pathLst>
            </a:custGeom>
            <a:solidFill>
              <a:srgbClr val="8FC640"/>
            </a:solidFill>
            <a:ln w="9525" cap="flat">
              <a:noFill/>
              <a:prstDash val="solid"/>
              <a:miter/>
            </a:ln>
          </p:spPr>
          <p:txBody>
            <a:bodyPr rtlCol="0" anchor="ctr"/>
            <a:lstStyle/>
            <a:p>
              <a:endParaRPr lang="pt-BR" noProof="0"/>
            </a:p>
          </p:txBody>
        </p:sp>
        <p:sp>
          <p:nvSpPr>
            <p:cNvPr id="57" name="Freeform: Shape 56">
              <a:extLst>
                <a:ext uri="{FF2B5EF4-FFF2-40B4-BE49-F238E27FC236}">
                  <a16:creationId xmlns:a16="http://schemas.microsoft.com/office/drawing/2014/main" id="{1676F03F-6FC3-FAC8-42AA-E1FB26C7D9C4}"/>
                </a:ext>
              </a:extLst>
            </p:cNvPr>
            <p:cNvSpPr/>
            <p:nvPr/>
          </p:nvSpPr>
          <p:spPr>
            <a:xfrm>
              <a:off x="7013590" y="213965"/>
              <a:ext cx="54018" cy="562280"/>
            </a:xfrm>
            <a:custGeom>
              <a:avLst/>
              <a:gdLst>
                <a:gd name="connsiteX0" fmla="*/ 0 w 214883"/>
                <a:gd name="connsiteY0" fmla="*/ 107537 h 2236755"/>
                <a:gd name="connsiteX1" fmla="*/ 107537 w 214883"/>
                <a:gd name="connsiteY1" fmla="*/ 0 h 2236755"/>
                <a:gd name="connsiteX2" fmla="*/ 214884 w 214883"/>
                <a:gd name="connsiteY2" fmla="*/ 107537 h 2236755"/>
                <a:gd name="connsiteX3" fmla="*/ 214884 w 214883"/>
                <a:gd name="connsiteY3" fmla="*/ 2129219 h 2236755"/>
                <a:gd name="connsiteX4" fmla="*/ 107537 w 214883"/>
                <a:gd name="connsiteY4" fmla="*/ 2236756 h 2236755"/>
                <a:gd name="connsiteX5" fmla="*/ 0 w 214883"/>
                <a:gd name="connsiteY5" fmla="*/ 2129219 h 2236755"/>
                <a:gd name="connsiteX6" fmla="*/ 0 w 214883"/>
                <a:gd name="connsiteY6" fmla="*/ 107537 h 223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 h="2236755">
                  <a:moveTo>
                    <a:pt x="0" y="107537"/>
                  </a:moveTo>
                  <a:cubicBezTo>
                    <a:pt x="0" y="48197"/>
                    <a:pt x="48101" y="0"/>
                    <a:pt x="107537" y="0"/>
                  </a:cubicBezTo>
                  <a:cubicBezTo>
                    <a:pt x="166973" y="0"/>
                    <a:pt x="214884" y="48197"/>
                    <a:pt x="214884" y="107537"/>
                  </a:cubicBezTo>
                  <a:lnTo>
                    <a:pt x="214884" y="2129219"/>
                  </a:lnTo>
                  <a:cubicBezTo>
                    <a:pt x="214884" y="2188559"/>
                    <a:pt x="166782" y="2236756"/>
                    <a:pt x="107537" y="2236756"/>
                  </a:cubicBezTo>
                  <a:cubicBezTo>
                    <a:pt x="48291" y="2236756"/>
                    <a:pt x="0" y="2188559"/>
                    <a:pt x="0" y="2129219"/>
                  </a:cubicBezTo>
                  <a:lnTo>
                    <a:pt x="0" y="107537"/>
                  </a:lnTo>
                  <a:close/>
                </a:path>
              </a:pathLst>
            </a:custGeom>
            <a:solidFill>
              <a:srgbClr val="3698B0"/>
            </a:solidFill>
            <a:ln w="9525" cap="flat">
              <a:noFill/>
              <a:prstDash val="solid"/>
              <a:miter/>
            </a:ln>
          </p:spPr>
          <p:txBody>
            <a:bodyPr rtlCol="0" anchor="ctr"/>
            <a:lstStyle/>
            <a:p>
              <a:endParaRPr lang="pt-BR" noProof="0"/>
            </a:p>
          </p:txBody>
        </p:sp>
        <p:sp>
          <p:nvSpPr>
            <p:cNvPr id="58" name="Freeform: Shape 57">
              <a:extLst>
                <a:ext uri="{FF2B5EF4-FFF2-40B4-BE49-F238E27FC236}">
                  <a16:creationId xmlns:a16="http://schemas.microsoft.com/office/drawing/2014/main" id="{DE19AC22-FE68-5F19-03B8-5EF99DD35C0C}"/>
                </a:ext>
              </a:extLst>
            </p:cNvPr>
            <p:cNvSpPr/>
            <p:nvPr/>
          </p:nvSpPr>
          <p:spPr>
            <a:xfrm>
              <a:off x="6795770" y="332991"/>
              <a:ext cx="485994" cy="649437"/>
            </a:xfrm>
            <a:custGeom>
              <a:avLst/>
              <a:gdLst>
                <a:gd name="connsiteX0" fmla="*/ 1933290 w 1933289"/>
                <a:gd name="connsiteY0" fmla="*/ 138017 h 2583465"/>
                <a:gd name="connsiteX1" fmla="*/ 1933290 w 1933289"/>
                <a:gd name="connsiteY1" fmla="*/ 1734122 h 2583465"/>
                <a:gd name="connsiteX2" fmla="*/ 1796606 w 1933289"/>
                <a:gd name="connsiteY2" fmla="*/ 2229136 h 2583465"/>
                <a:gd name="connsiteX3" fmla="*/ 977742 w 1933289"/>
                <a:gd name="connsiteY3" fmla="*/ 2583466 h 2583465"/>
                <a:gd name="connsiteX4" fmla="*/ 955357 w 1933289"/>
                <a:gd name="connsiteY4" fmla="*/ 2583466 h 2583465"/>
                <a:gd name="connsiteX5" fmla="*/ 136589 w 1933289"/>
                <a:gd name="connsiteY5" fmla="*/ 2229136 h 2583465"/>
                <a:gd name="connsiteX6" fmla="*/ 0 w 1933289"/>
                <a:gd name="connsiteY6" fmla="*/ 1734122 h 2583465"/>
                <a:gd name="connsiteX7" fmla="*/ 0 w 1933289"/>
                <a:gd name="connsiteY7" fmla="*/ 794194 h 2583465"/>
                <a:gd name="connsiteX8" fmla="*/ 137827 w 1933289"/>
                <a:gd name="connsiteY8" fmla="*/ 656273 h 2583465"/>
                <a:gd name="connsiteX9" fmla="*/ 275463 w 1933289"/>
                <a:gd name="connsiteY9" fmla="*/ 794194 h 2583465"/>
                <a:gd name="connsiteX10" fmla="*/ 275463 w 1933289"/>
                <a:gd name="connsiteY10" fmla="*/ 1734122 h 2583465"/>
                <a:gd name="connsiteX11" fmla="*/ 354235 w 1933289"/>
                <a:gd name="connsiteY11" fmla="*/ 2059686 h 2583465"/>
                <a:gd name="connsiteX12" fmla="*/ 958215 w 1933289"/>
                <a:gd name="connsiteY12" fmla="*/ 2307527 h 2583465"/>
                <a:gd name="connsiteX13" fmla="*/ 974789 w 1933289"/>
                <a:gd name="connsiteY13" fmla="*/ 2307527 h 2583465"/>
                <a:gd name="connsiteX14" fmla="*/ 1578959 w 1933289"/>
                <a:gd name="connsiteY14" fmla="*/ 2059686 h 2583465"/>
                <a:gd name="connsiteX15" fmla="*/ 1657636 w 1933289"/>
                <a:gd name="connsiteY15" fmla="*/ 1734122 h 2583465"/>
                <a:gd name="connsiteX16" fmla="*/ 1657636 w 1933289"/>
                <a:gd name="connsiteY16" fmla="*/ 138017 h 2583465"/>
                <a:gd name="connsiteX17" fmla="*/ 1795463 w 1933289"/>
                <a:gd name="connsiteY17" fmla="*/ 0 h 2583465"/>
                <a:gd name="connsiteX18" fmla="*/ 1933290 w 1933289"/>
                <a:gd name="connsiteY18" fmla="*/ 138017 h 25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3289" h="2583465">
                  <a:moveTo>
                    <a:pt x="1933290" y="138017"/>
                  </a:moveTo>
                  <a:lnTo>
                    <a:pt x="1933290" y="1734122"/>
                  </a:lnTo>
                  <a:cubicBezTo>
                    <a:pt x="1933290" y="1870996"/>
                    <a:pt x="1919002" y="2071211"/>
                    <a:pt x="1796606" y="2229136"/>
                  </a:cubicBezTo>
                  <a:cubicBezTo>
                    <a:pt x="1634395" y="2438305"/>
                    <a:pt x="1432084" y="2578703"/>
                    <a:pt x="977742" y="2583466"/>
                  </a:cubicBezTo>
                  <a:lnTo>
                    <a:pt x="955357" y="2583466"/>
                  </a:lnTo>
                  <a:cubicBezTo>
                    <a:pt x="501015" y="2578703"/>
                    <a:pt x="298704" y="2438400"/>
                    <a:pt x="136589" y="2229136"/>
                  </a:cubicBezTo>
                  <a:cubicBezTo>
                    <a:pt x="14192" y="2071211"/>
                    <a:pt x="0" y="1870996"/>
                    <a:pt x="0" y="1734122"/>
                  </a:cubicBezTo>
                  <a:lnTo>
                    <a:pt x="0" y="794194"/>
                  </a:lnTo>
                  <a:cubicBezTo>
                    <a:pt x="0" y="718185"/>
                    <a:pt x="61436" y="656273"/>
                    <a:pt x="137827" y="656273"/>
                  </a:cubicBezTo>
                  <a:cubicBezTo>
                    <a:pt x="214217" y="656273"/>
                    <a:pt x="275463" y="718185"/>
                    <a:pt x="275463" y="794194"/>
                  </a:cubicBezTo>
                  <a:lnTo>
                    <a:pt x="275463" y="1734122"/>
                  </a:lnTo>
                  <a:cubicBezTo>
                    <a:pt x="275463" y="1887188"/>
                    <a:pt x="300324" y="1990630"/>
                    <a:pt x="354235" y="2059686"/>
                  </a:cubicBezTo>
                  <a:cubicBezTo>
                    <a:pt x="476250" y="2217611"/>
                    <a:pt x="609791" y="2304479"/>
                    <a:pt x="958215" y="2307527"/>
                  </a:cubicBezTo>
                  <a:lnTo>
                    <a:pt x="974789" y="2307527"/>
                  </a:lnTo>
                  <a:cubicBezTo>
                    <a:pt x="1323499" y="2304479"/>
                    <a:pt x="1456563" y="2217611"/>
                    <a:pt x="1578959" y="2059686"/>
                  </a:cubicBezTo>
                  <a:cubicBezTo>
                    <a:pt x="1632490" y="1990630"/>
                    <a:pt x="1657636" y="1887093"/>
                    <a:pt x="1657636" y="1734122"/>
                  </a:cubicBezTo>
                  <a:lnTo>
                    <a:pt x="1657636" y="138017"/>
                  </a:lnTo>
                  <a:cubicBezTo>
                    <a:pt x="1657636" y="61531"/>
                    <a:pt x="1719453" y="0"/>
                    <a:pt x="1795463" y="0"/>
                  </a:cubicBezTo>
                  <a:cubicBezTo>
                    <a:pt x="1871472" y="0"/>
                    <a:pt x="1933290" y="61531"/>
                    <a:pt x="1933290" y="138017"/>
                  </a:cubicBezTo>
                </a:path>
              </a:pathLst>
            </a:custGeom>
            <a:solidFill>
              <a:srgbClr val="49306E"/>
            </a:solidFill>
            <a:ln w="9525" cap="flat">
              <a:noFill/>
              <a:prstDash val="solid"/>
              <a:miter/>
            </a:ln>
          </p:spPr>
          <p:txBody>
            <a:bodyPr rtlCol="0" anchor="ctr"/>
            <a:lstStyle/>
            <a:p>
              <a:endParaRPr lang="pt-BR" noProof="0"/>
            </a:p>
          </p:txBody>
        </p:sp>
      </p:grpSp>
      <p:sp>
        <p:nvSpPr>
          <p:cNvPr id="5" name="Rectangle 3">
            <a:extLst>
              <a:ext uri="{FF2B5EF4-FFF2-40B4-BE49-F238E27FC236}">
                <a16:creationId xmlns:a16="http://schemas.microsoft.com/office/drawing/2014/main" id="{D09BC5E5-9058-D846-0F95-065C3CFF9DE6}"/>
              </a:ext>
            </a:extLst>
          </p:cNvPr>
          <p:cNvSpPr>
            <a:spLocks noChangeArrowheads="1"/>
          </p:cNvSpPr>
          <p:nvPr/>
        </p:nvSpPr>
        <p:spPr bwMode="auto">
          <a:xfrm>
            <a:off x="428153" y="692497"/>
            <a:ext cx="264816" cy="2862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p:txBody>
      </p:sp>
      <p:sp>
        <p:nvSpPr>
          <p:cNvPr id="7" name="CaixaDeTexto 6">
            <a:extLst>
              <a:ext uri="{FF2B5EF4-FFF2-40B4-BE49-F238E27FC236}">
                <a16:creationId xmlns:a16="http://schemas.microsoft.com/office/drawing/2014/main" id="{3029887B-E66E-75AA-6CE8-B42805046BD2}"/>
              </a:ext>
            </a:extLst>
          </p:cNvPr>
          <p:cNvSpPr txBox="1"/>
          <p:nvPr/>
        </p:nvSpPr>
        <p:spPr>
          <a:xfrm>
            <a:off x="6249226" y="1445298"/>
            <a:ext cx="5617991" cy="3741281"/>
          </a:xfrm>
          <a:prstGeom prst="rect">
            <a:avLst/>
          </a:prstGeom>
          <a:noFill/>
        </p:spPr>
        <p:txBody>
          <a:bodyPr wrap="square" rtlCol="0">
            <a:spAutoFit/>
          </a:bodyPr>
          <a:lstStyle/>
          <a:p>
            <a:pPr>
              <a:lnSpc>
                <a:spcPct val="150000"/>
              </a:lnSpc>
            </a:pPr>
            <a:r>
              <a:rPr lang="pt-BR" sz="2000" b="1" noProof="0" dirty="0"/>
              <a:t>No 6º dia de internação</a:t>
            </a:r>
            <a:r>
              <a:rPr lang="pt-BR" sz="2000" b="1" dirty="0"/>
              <a:t> paciente evoluiu com: </a:t>
            </a:r>
            <a:endParaRPr lang="pt-BR" sz="2000" b="1" noProof="0" dirty="0"/>
          </a:p>
          <a:p>
            <a:pPr marL="342900" indent="-342900">
              <a:lnSpc>
                <a:spcPct val="150000"/>
              </a:lnSpc>
              <a:buFont typeface="Arial" panose="020B0604020202020204" pitchFamily="34" charset="0"/>
              <a:buChar char="•"/>
            </a:pPr>
            <a:endParaRPr lang="pt-BR" sz="2000" dirty="0">
              <a:solidFill>
                <a:srgbClr val="1C1C1C"/>
              </a:solidFill>
            </a:endParaRPr>
          </a:p>
          <a:p>
            <a:pPr marL="342900" indent="-342900">
              <a:lnSpc>
                <a:spcPct val="150000"/>
              </a:lnSpc>
              <a:buFont typeface="Arial" panose="020B0604020202020204" pitchFamily="34" charset="0"/>
              <a:buChar char="•"/>
            </a:pPr>
            <a:r>
              <a:rPr lang="pt-BR" sz="2000" dirty="0">
                <a:solidFill>
                  <a:srgbClr val="1C1C1C"/>
                </a:solidFill>
              </a:rPr>
              <a:t>Febre (</a:t>
            </a:r>
            <a:r>
              <a:rPr lang="pt-BR" sz="2000" dirty="0" err="1">
                <a:solidFill>
                  <a:srgbClr val="1C1C1C"/>
                </a:solidFill>
              </a:rPr>
              <a:t>Tax</a:t>
            </a:r>
            <a:r>
              <a:rPr lang="pt-BR" sz="2000" dirty="0">
                <a:solidFill>
                  <a:srgbClr val="1C1C1C"/>
                </a:solidFill>
              </a:rPr>
              <a:t>: 39°C)</a:t>
            </a:r>
          </a:p>
          <a:p>
            <a:pPr marL="342900" indent="-342900">
              <a:lnSpc>
                <a:spcPct val="150000"/>
              </a:lnSpc>
              <a:buFont typeface="Arial" panose="020B0604020202020204" pitchFamily="34" charset="0"/>
              <a:buChar char="•"/>
            </a:pPr>
            <a:r>
              <a:rPr lang="pt-BR" sz="2000" dirty="0" err="1">
                <a:solidFill>
                  <a:srgbClr val="1C1C1C"/>
                </a:solidFill>
              </a:rPr>
              <a:t>Leuco</a:t>
            </a:r>
            <a:r>
              <a:rPr lang="pt-BR" sz="2000" dirty="0">
                <a:solidFill>
                  <a:srgbClr val="1C1C1C"/>
                </a:solidFill>
              </a:rPr>
              <a:t>: 13.000 cel/mm</a:t>
            </a:r>
            <a:r>
              <a:rPr lang="pt-BR" sz="2000" baseline="30000" dirty="0">
                <a:solidFill>
                  <a:srgbClr val="1C1C1C"/>
                </a:solidFill>
              </a:rPr>
              <a:t>3</a:t>
            </a:r>
            <a:r>
              <a:rPr lang="pt-BR" sz="2000" dirty="0">
                <a:solidFill>
                  <a:srgbClr val="1C1C1C"/>
                </a:solidFill>
              </a:rPr>
              <a:t> </a:t>
            </a:r>
          </a:p>
          <a:p>
            <a:pPr marL="342900" indent="-342900">
              <a:lnSpc>
                <a:spcPct val="150000"/>
              </a:lnSpc>
              <a:buFont typeface="Arial" panose="020B0604020202020204" pitchFamily="34" charset="0"/>
              <a:buChar char="•"/>
            </a:pPr>
            <a:r>
              <a:rPr lang="pt-BR" sz="2000" dirty="0">
                <a:solidFill>
                  <a:srgbClr val="1C1C1C"/>
                </a:solidFill>
              </a:rPr>
              <a:t>Piora da troca gasosa</a:t>
            </a:r>
          </a:p>
          <a:p>
            <a:pPr marL="342900" indent="-342900">
              <a:lnSpc>
                <a:spcPct val="150000"/>
              </a:lnSpc>
              <a:buFont typeface="Arial" panose="020B0604020202020204" pitchFamily="34" charset="0"/>
              <a:buChar char="•"/>
            </a:pPr>
            <a:r>
              <a:rPr lang="pt-BR" sz="2000" dirty="0">
                <a:solidFill>
                  <a:srgbClr val="1C1C1C"/>
                </a:solidFill>
              </a:rPr>
              <a:t>Mudança das características da secreção (mais </a:t>
            </a:r>
            <a:r>
              <a:rPr lang="pt-BR" sz="2000" dirty="0" err="1">
                <a:solidFill>
                  <a:srgbClr val="1C1C1C"/>
                </a:solidFill>
              </a:rPr>
              <a:t>espesssa</a:t>
            </a:r>
            <a:r>
              <a:rPr lang="pt-BR" sz="2000" dirty="0">
                <a:solidFill>
                  <a:srgbClr val="1C1C1C"/>
                </a:solidFill>
              </a:rPr>
              <a:t>)</a:t>
            </a:r>
          </a:p>
          <a:p>
            <a:pPr>
              <a:lnSpc>
                <a:spcPct val="150000"/>
              </a:lnSpc>
            </a:pPr>
            <a:endParaRPr lang="pt-BR" sz="2000" noProof="0" dirty="0"/>
          </a:p>
        </p:txBody>
      </p:sp>
      <p:pic>
        <p:nvPicPr>
          <p:cNvPr id="2050" name="Picture 2" descr="Vetores de Ilustração Em Vetor De Uma Pessoa Abrindo Um ...">
            <a:extLst>
              <a:ext uri="{FF2B5EF4-FFF2-40B4-BE49-F238E27FC236}">
                <a16:creationId xmlns:a16="http://schemas.microsoft.com/office/drawing/2014/main" id="{55DB6F08-7888-23D8-C06C-FEF341F2F04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8153" y="1443134"/>
            <a:ext cx="4295189" cy="3717474"/>
          </a:xfrm>
          <a:prstGeom prst="rect">
            <a:avLst/>
          </a:prstGeom>
          <a:noFill/>
          <a:extLst>
            <a:ext uri="{909E8E84-426E-40DD-AFC4-6F175D3DCCD1}">
              <a14:hiddenFill xmlns:a14="http://schemas.microsoft.com/office/drawing/2010/main">
                <a:solidFill>
                  <a:srgbClr val="FFFFFF"/>
                </a:solidFill>
              </a14:hiddenFill>
            </a:ext>
          </a:extLst>
        </p:spPr>
      </p:pic>
      <p:sp>
        <p:nvSpPr>
          <p:cNvPr id="9" name="CaixaDeTexto 8">
            <a:extLst>
              <a:ext uri="{FF2B5EF4-FFF2-40B4-BE49-F238E27FC236}">
                <a16:creationId xmlns:a16="http://schemas.microsoft.com/office/drawing/2014/main" id="{15255D0D-5543-4B45-62FD-F84C90093944}"/>
              </a:ext>
            </a:extLst>
          </p:cNvPr>
          <p:cNvSpPr txBox="1"/>
          <p:nvPr/>
        </p:nvSpPr>
        <p:spPr>
          <a:xfrm>
            <a:off x="1704889" y="2760656"/>
            <a:ext cx="1741715" cy="461665"/>
          </a:xfrm>
          <a:prstGeom prst="rect">
            <a:avLst/>
          </a:prstGeom>
          <a:noFill/>
        </p:spPr>
        <p:txBody>
          <a:bodyPr wrap="square" rtlCol="0">
            <a:spAutoFit/>
          </a:bodyPr>
          <a:lstStyle/>
          <a:p>
            <a:r>
              <a:rPr lang="pt-BR" sz="2400" b="1" noProof="0"/>
              <a:t>Envelope 1</a:t>
            </a:r>
          </a:p>
        </p:txBody>
      </p:sp>
      <p:sp>
        <p:nvSpPr>
          <p:cNvPr id="10" name="Seta: para Baixo 9">
            <a:extLst>
              <a:ext uri="{FF2B5EF4-FFF2-40B4-BE49-F238E27FC236}">
                <a16:creationId xmlns:a16="http://schemas.microsoft.com/office/drawing/2014/main" id="{83BF4B8F-CB0A-A0BB-62A1-33395C070A4A}"/>
              </a:ext>
            </a:extLst>
          </p:cNvPr>
          <p:cNvSpPr/>
          <p:nvPr/>
        </p:nvSpPr>
        <p:spPr>
          <a:xfrm rot="16200000">
            <a:off x="5417591" y="1623849"/>
            <a:ext cx="457200" cy="542417"/>
          </a:xfrm>
          <a:prstGeom prst="downArrow">
            <a:avLst/>
          </a:prstGeom>
          <a:solidFill>
            <a:srgbClr val="D9D9D9"/>
          </a:solidFill>
          <a:ln w="19050">
            <a:solidFill>
              <a:srgbClr val="7F3D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lgn="just">
              <a:buFont typeface="Arial" panose="020B0604020202020204" pitchFamily="34" charset="0"/>
              <a:buChar char="•"/>
            </a:pPr>
            <a:endParaRPr lang="pt-BR" sz="1800" noProof="0"/>
          </a:p>
        </p:txBody>
      </p:sp>
      <p:sp>
        <p:nvSpPr>
          <p:cNvPr id="15" name="Seta: para Baixo 14">
            <a:extLst>
              <a:ext uri="{FF2B5EF4-FFF2-40B4-BE49-F238E27FC236}">
                <a16:creationId xmlns:a16="http://schemas.microsoft.com/office/drawing/2014/main" id="{8F86DC93-BC11-2766-8FAE-4A3F9F134BBE}"/>
              </a:ext>
            </a:extLst>
          </p:cNvPr>
          <p:cNvSpPr/>
          <p:nvPr/>
        </p:nvSpPr>
        <p:spPr>
          <a:xfrm rot="16200000">
            <a:off x="11148857" y="5968106"/>
            <a:ext cx="457200" cy="542417"/>
          </a:xfrm>
          <a:prstGeom prst="downArrow">
            <a:avLst/>
          </a:prstGeom>
          <a:solidFill>
            <a:srgbClr val="D9D9D9"/>
          </a:solidFill>
          <a:ln w="19050">
            <a:solidFill>
              <a:srgbClr val="7F3D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lgn="just">
              <a:buFont typeface="Arial" panose="020B0604020202020204" pitchFamily="34" charset="0"/>
              <a:buChar char="•"/>
            </a:pPr>
            <a:endParaRPr lang="pt-BR" sz="1800" noProof="0"/>
          </a:p>
        </p:txBody>
      </p:sp>
    </p:spTree>
    <p:extLst>
      <p:ext uri="{BB962C8B-B14F-4D97-AF65-F5344CB8AC3E}">
        <p14:creationId xmlns:p14="http://schemas.microsoft.com/office/powerpoint/2010/main" val="3934934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animBg="1"/>
      <p:bldP spid="15"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675AB3-7DBC-D757-59F7-204C78BF2732}"/>
            </a:ext>
          </a:extLst>
        </p:cNvPr>
        <p:cNvGrpSpPr/>
        <p:nvPr/>
      </p:nvGrpSpPr>
      <p:grpSpPr>
        <a:xfrm>
          <a:off x="0" y="0"/>
          <a:ext cx="0" cy="0"/>
          <a:chOff x="0" y="0"/>
          <a:chExt cx="0" cy="0"/>
        </a:xfrm>
      </p:grpSpPr>
      <p:pic>
        <p:nvPicPr>
          <p:cNvPr id="4" name="Imagem 3">
            <a:extLst>
              <a:ext uri="{FF2B5EF4-FFF2-40B4-BE49-F238E27FC236}">
                <a16:creationId xmlns:a16="http://schemas.microsoft.com/office/drawing/2014/main" id="{38C45B24-5EE4-218F-75C7-D9EFA6E772DF}"/>
              </a:ext>
            </a:extLst>
          </p:cNvPr>
          <p:cNvPicPr>
            <a:picLocks noChangeAspect="1"/>
          </p:cNvPicPr>
          <p:nvPr/>
        </p:nvPicPr>
        <p:blipFill rotWithShape="1">
          <a:blip r:embed="rId4"/>
          <a:srcRect l="1" t="20620" r="1245" b="20011"/>
          <a:stretch/>
        </p:blipFill>
        <p:spPr>
          <a:xfrm>
            <a:off x="2321596" y="482985"/>
            <a:ext cx="8237677" cy="5433160"/>
          </a:xfrm>
          <a:prstGeom prst="rect">
            <a:avLst/>
          </a:prstGeom>
        </p:spPr>
      </p:pic>
      <p:graphicFrame>
        <p:nvGraphicFramePr>
          <p:cNvPr id="12" name="think-cell data - do not delete" hidden="1">
            <a:extLst>
              <a:ext uri="{FF2B5EF4-FFF2-40B4-BE49-F238E27FC236}">
                <a16:creationId xmlns:a16="http://schemas.microsoft.com/office/drawing/2014/main" id="{992F21D9-5D03-CD1A-A864-19CF2D86BC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8" progId="TCLayout.ActiveDocument.1">
                  <p:embed/>
                </p:oleObj>
              </mc:Choice>
              <mc:Fallback>
                <p:oleObj name="think-cell Slide" r:id="rId5" imgW="306" imgH="308" progId="TCLayout.ActiveDocument.1">
                  <p:embed/>
                  <p:pic>
                    <p:nvPicPr>
                      <p:cNvPr id="12" name="think-cell data - do not delete" hidden="1">
                        <a:extLst>
                          <a:ext uri="{FF2B5EF4-FFF2-40B4-BE49-F238E27FC236}">
                            <a16:creationId xmlns:a16="http://schemas.microsoft.com/office/drawing/2014/main" id="{992F21D9-5D03-CD1A-A864-19CF2D86BC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3" name="Group 12">
            <a:extLst>
              <a:ext uri="{FF2B5EF4-FFF2-40B4-BE49-F238E27FC236}">
                <a16:creationId xmlns:a16="http://schemas.microsoft.com/office/drawing/2014/main" id="{FE3EF56E-1AB6-D0A8-C7A8-0FA0A5484432}"/>
              </a:ext>
            </a:extLst>
          </p:cNvPr>
          <p:cNvGrpSpPr/>
          <p:nvPr/>
        </p:nvGrpSpPr>
        <p:grpSpPr>
          <a:xfrm>
            <a:off x="304800" y="249455"/>
            <a:ext cx="1193800" cy="462985"/>
            <a:chOff x="5245100" y="211355"/>
            <a:chExt cx="2036664" cy="789869"/>
          </a:xfrm>
        </p:grpSpPr>
        <p:sp>
          <p:nvSpPr>
            <p:cNvPr id="14" name="Freeform: Shape 13">
              <a:extLst>
                <a:ext uri="{FF2B5EF4-FFF2-40B4-BE49-F238E27FC236}">
                  <a16:creationId xmlns:a16="http://schemas.microsoft.com/office/drawing/2014/main" id="{996F5311-0687-66F1-D24F-E59613BED781}"/>
                </a:ext>
              </a:extLst>
            </p:cNvPr>
            <p:cNvSpPr/>
            <p:nvPr/>
          </p:nvSpPr>
          <p:spPr>
            <a:xfrm>
              <a:off x="5245100" y="308520"/>
              <a:ext cx="247894" cy="322815"/>
            </a:xfrm>
            <a:custGeom>
              <a:avLst/>
              <a:gdLst>
                <a:gd name="connsiteX0" fmla="*/ 529590 w 986123"/>
                <a:gd name="connsiteY0" fmla="*/ 1284160 h 1284160"/>
                <a:gd name="connsiteX1" fmla="*/ 249650 w 986123"/>
                <a:gd name="connsiteY1" fmla="*/ 1235107 h 1284160"/>
                <a:gd name="connsiteX2" fmla="*/ 0 w 986123"/>
                <a:gd name="connsiteY2" fmla="*/ 1084421 h 1284160"/>
                <a:gd name="connsiteX3" fmla="*/ 162306 w 986123"/>
                <a:gd name="connsiteY3" fmla="*/ 890016 h 1284160"/>
                <a:gd name="connsiteX4" fmla="*/ 337947 w 986123"/>
                <a:gd name="connsiteY4" fmla="*/ 1000601 h 1284160"/>
                <a:gd name="connsiteX5" fmla="*/ 535019 w 986123"/>
                <a:gd name="connsiteY5" fmla="*/ 1041654 h 1284160"/>
                <a:gd name="connsiteX6" fmla="*/ 667893 w 986123"/>
                <a:gd name="connsiteY6" fmla="*/ 1010412 h 1284160"/>
                <a:gd name="connsiteX7" fmla="*/ 715137 w 986123"/>
                <a:gd name="connsiteY7" fmla="*/ 923925 h 1284160"/>
                <a:gd name="connsiteX8" fmla="*/ 715137 w 986123"/>
                <a:gd name="connsiteY8" fmla="*/ 920305 h 1284160"/>
                <a:gd name="connsiteX9" fmla="*/ 705326 w 986123"/>
                <a:gd name="connsiteY9" fmla="*/ 873062 h 1284160"/>
                <a:gd name="connsiteX10" fmla="*/ 667798 w 986123"/>
                <a:gd name="connsiteY10" fmla="*/ 834676 h 1284160"/>
                <a:gd name="connsiteX11" fmla="*/ 590931 w 986123"/>
                <a:gd name="connsiteY11" fmla="*/ 798957 h 1284160"/>
                <a:gd name="connsiteX12" fmla="*/ 463106 w 986123"/>
                <a:gd name="connsiteY12" fmla="*/ 761524 h 1284160"/>
                <a:gd name="connsiteX13" fmla="*/ 291465 w 986123"/>
                <a:gd name="connsiteY13" fmla="*/ 709803 h 1284160"/>
                <a:gd name="connsiteX14" fmla="*/ 160973 w 986123"/>
                <a:gd name="connsiteY14" fmla="*/ 639318 h 1284160"/>
                <a:gd name="connsiteX15" fmla="*/ 77819 w 986123"/>
                <a:gd name="connsiteY15" fmla="*/ 535019 h 1284160"/>
                <a:gd name="connsiteX16" fmla="*/ 48292 w 986123"/>
                <a:gd name="connsiteY16" fmla="*/ 379857 h 1284160"/>
                <a:gd name="connsiteX17" fmla="*/ 48292 w 986123"/>
                <a:gd name="connsiteY17" fmla="*/ 376238 h 1284160"/>
                <a:gd name="connsiteX18" fmla="*/ 80201 w 986123"/>
                <a:gd name="connsiteY18" fmla="*/ 222028 h 1284160"/>
                <a:gd name="connsiteX19" fmla="*/ 169640 w 986123"/>
                <a:gd name="connsiteY19" fmla="*/ 103441 h 1284160"/>
                <a:gd name="connsiteX20" fmla="*/ 307181 w 986123"/>
                <a:gd name="connsiteY20" fmla="*/ 26765 h 1284160"/>
                <a:gd name="connsiteX21" fmla="*/ 483394 w 986123"/>
                <a:gd name="connsiteY21" fmla="*/ 0 h 1284160"/>
                <a:gd name="connsiteX22" fmla="*/ 735711 w 986123"/>
                <a:gd name="connsiteY22" fmla="*/ 41053 h 1284160"/>
                <a:gd name="connsiteX23" fmla="*/ 946976 w 986123"/>
                <a:gd name="connsiteY23" fmla="*/ 158687 h 1284160"/>
                <a:gd name="connsiteX24" fmla="*/ 804291 w 986123"/>
                <a:gd name="connsiteY24" fmla="*/ 365569 h 1284160"/>
                <a:gd name="connsiteX25" fmla="*/ 640271 w 986123"/>
                <a:gd name="connsiteY25" fmla="*/ 275558 h 1284160"/>
                <a:gd name="connsiteX26" fmla="*/ 479774 w 986123"/>
                <a:gd name="connsiteY26" fmla="*/ 242602 h 1284160"/>
                <a:gd name="connsiteX27" fmla="*/ 359378 w 986123"/>
                <a:gd name="connsiteY27" fmla="*/ 273844 h 1284160"/>
                <a:gd name="connsiteX28" fmla="*/ 319278 w 986123"/>
                <a:gd name="connsiteY28" fmla="*/ 351377 h 1284160"/>
                <a:gd name="connsiteX29" fmla="*/ 319278 w 986123"/>
                <a:gd name="connsiteY29" fmla="*/ 354997 h 1284160"/>
                <a:gd name="connsiteX30" fmla="*/ 330899 w 986123"/>
                <a:gd name="connsiteY30" fmla="*/ 407575 h 1284160"/>
                <a:gd name="connsiteX31" fmla="*/ 372904 w 986123"/>
                <a:gd name="connsiteY31" fmla="*/ 447675 h 1284160"/>
                <a:gd name="connsiteX32" fmla="*/ 456057 w 986123"/>
                <a:gd name="connsiteY32" fmla="*/ 481489 h 1284160"/>
                <a:gd name="connsiteX33" fmla="*/ 589217 w 986123"/>
                <a:gd name="connsiteY33" fmla="*/ 518922 h 1284160"/>
                <a:gd name="connsiteX34" fmla="*/ 758190 w 986123"/>
                <a:gd name="connsiteY34" fmla="*/ 575120 h 1284160"/>
                <a:gd name="connsiteX35" fmla="*/ 883349 w 986123"/>
                <a:gd name="connsiteY35" fmla="*/ 649986 h 1284160"/>
                <a:gd name="connsiteX36" fmla="*/ 960215 w 986123"/>
                <a:gd name="connsiteY36" fmla="*/ 752570 h 1284160"/>
                <a:gd name="connsiteX37" fmla="*/ 986123 w 986123"/>
                <a:gd name="connsiteY37" fmla="*/ 893445 h 1284160"/>
                <a:gd name="connsiteX38" fmla="*/ 986123 w 986123"/>
                <a:gd name="connsiteY38" fmla="*/ 897064 h 1284160"/>
                <a:gd name="connsiteX39" fmla="*/ 952500 w 986123"/>
                <a:gd name="connsiteY39" fmla="*/ 1062038 h 1284160"/>
                <a:gd name="connsiteX40" fmla="*/ 858584 w 986123"/>
                <a:gd name="connsiteY40" fmla="*/ 1183291 h 1284160"/>
                <a:gd name="connsiteX41" fmla="*/ 714851 w 986123"/>
                <a:gd name="connsiteY41" fmla="*/ 1258157 h 1284160"/>
                <a:gd name="connsiteX42" fmla="*/ 529685 w 986123"/>
                <a:gd name="connsiteY42" fmla="*/ 1284065 h 128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6123" h="1284160">
                  <a:moveTo>
                    <a:pt x="529590" y="1284160"/>
                  </a:moveTo>
                  <a:cubicBezTo>
                    <a:pt x="434435" y="1284160"/>
                    <a:pt x="341186" y="1267777"/>
                    <a:pt x="249650" y="1235107"/>
                  </a:cubicBezTo>
                  <a:cubicBezTo>
                    <a:pt x="158115" y="1202436"/>
                    <a:pt x="74867" y="1152239"/>
                    <a:pt x="0" y="1084421"/>
                  </a:cubicBezTo>
                  <a:lnTo>
                    <a:pt x="162306" y="890016"/>
                  </a:lnTo>
                  <a:cubicBezTo>
                    <a:pt x="219361" y="936403"/>
                    <a:pt x="277844" y="973264"/>
                    <a:pt x="337947" y="1000601"/>
                  </a:cubicBezTo>
                  <a:cubicBezTo>
                    <a:pt x="397955" y="1027938"/>
                    <a:pt x="463677" y="1041654"/>
                    <a:pt x="535019" y="1041654"/>
                  </a:cubicBezTo>
                  <a:cubicBezTo>
                    <a:pt x="592074" y="1041654"/>
                    <a:pt x="636365" y="1031272"/>
                    <a:pt x="667893" y="1010412"/>
                  </a:cubicBezTo>
                  <a:cubicBezTo>
                    <a:pt x="699421" y="989647"/>
                    <a:pt x="715137" y="960787"/>
                    <a:pt x="715137" y="923925"/>
                  </a:cubicBezTo>
                  <a:lnTo>
                    <a:pt x="715137" y="920305"/>
                  </a:lnTo>
                  <a:cubicBezTo>
                    <a:pt x="715137" y="902494"/>
                    <a:pt x="711803" y="886777"/>
                    <a:pt x="705326" y="873062"/>
                  </a:cubicBezTo>
                  <a:cubicBezTo>
                    <a:pt x="698754" y="859441"/>
                    <a:pt x="686276" y="846582"/>
                    <a:pt x="667798" y="834676"/>
                  </a:cubicBezTo>
                  <a:cubicBezTo>
                    <a:pt x="649319" y="822770"/>
                    <a:pt x="623697" y="810863"/>
                    <a:pt x="590931" y="798957"/>
                  </a:cubicBezTo>
                  <a:cubicBezTo>
                    <a:pt x="558165" y="787146"/>
                    <a:pt x="515493" y="774573"/>
                    <a:pt x="463106" y="761524"/>
                  </a:cubicBezTo>
                  <a:cubicBezTo>
                    <a:pt x="399955" y="746093"/>
                    <a:pt x="342710" y="728853"/>
                    <a:pt x="291465" y="709803"/>
                  </a:cubicBezTo>
                  <a:cubicBezTo>
                    <a:pt x="240221" y="690753"/>
                    <a:pt x="196691" y="667322"/>
                    <a:pt x="160973" y="639318"/>
                  </a:cubicBezTo>
                  <a:cubicBezTo>
                    <a:pt x="125159" y="611410"/>
                    <a:pt x="97536" y="576644"/>
                    <a:pt x="77819" y="535019"/>
                  </a:cubicBezTo>
                  <a:cubicBezTo>
                    <a:pt x="58103" y="493395"/>
                    <a:pt x="48292" y="441674"/>
                    <a:pt x="48292" y="379857"/>
                  </a:cubicBezTo>
                  <a:lnTo>
                    <a:pt x="48292" y="376238"/>
                  </a:lnTo>
                  <a:cubicBezTo>
                    <a:pt x="48292" y="319183"/>
                    <a:pt x="58865" y="267748"/>
                    <a:pt x="80201" y="222028"/>
                  </a:cubicBezTo>
                  <a:cubicBezTo>
                    <a:pt x="101441" y="176308"/>
                    <a:pt x="131255" y="136779"/>
                    <a:pt x="169640" y="103441"/>
                  </a:cubicBezTo>
                  <a:cubicBezTo>
                    <a:pt x="208026" y="70199"/>
                    <a:pt x="253841" y="44577"/>
                    <a:pt x="307181" y="26765"/>
                  </a:cubicBezTo>
                  <a:cubicBezTo>
                    <a:pt x="360426" y="8953"/>
                    <a:pt x="419195" y="0"/>
                    <a:pt x="483394" y="0"/>
                  </a:cubicBezTo>
                  <a:cubicBezTo>
                    <a:pt x="574929" y="0"/>
                    <a:pt x="659035" y="13716"/>
                    <a:pt x="735711" y="41053"/>
                  </a:cubicBezTo>
                  <a:cubicBezTo>
                    <a:pt x="812387" y="68389"/>
                    <a:pt x="882777" y="107632"/>
                    <a:pt x="946976" y="158687"/>
                  </a:cubicBezTo>
                  <a:lnTo>
                    <a:pt x="804291" y="365569"/>
                  </a:lnTo>
                  <a:cubicBezTo>
                    <a:pt x="748379" y="327565"/>
                    <a:pt x="693706" y="297561"/>
                    <a:pt x="640271" y="275558"/>
                  </a:cubicBezTo>
                  <a:cubicBezTo>
                    <a:pt x="586740" y="253555"/>
                    <a:pt x="533305" y="242602"/>
                    <a:pt x="479774" y="242602"/>
                  </a:cubicBezTo>
                  <a:cubicBezTo>
                    <a:pt x="426244" y="242602"/>
                    <a:pt x="386144" y="252984"/>
                    <a:pt x="359378" y="273844"/>
                  </a:cubicBezTo>
                  <a:cubicBezTo>
                    <a:pt x="332613" y="294608"/>
                    <a:pt x="319278" y="320516"/>
                    <a:pt x="319278" y="351377"/>
                  </a:cubicBezTo>
                  <a:lnTo>
                    <a:pt x="319278" y="354997"/>
                  </a:lnTo>
                  <a:cubicBezTo>
                    <a:pt x="319278" y="375190"/>
                    <a:pt x="323183" y="392716"/>
                    <a:pt x="330899" y="407575"/>
                  </a:cubicBezTo>
                  <a:cubicBezTo>
                    <a:pt x="338614" y="422434"/>
                    <a:pt x="352616" y="435864"/>
                    <a:pt x="372904" y="447675"/>
                  </a:cubicBezTo>
                  <a:cubicBezTo>
                    <a:pt x="393192" y="459581"/>
                    <a:pt x="420910" y="470821"/>
                    <a:pt x="456057" y="481489"/>
                  </a:cubicBezTo>
                  <a:cubicBezTo>
                    <a:pt x="491204" y="492157"/>
                    <a:pt x="535591" y="504730"/>
                    <a:pt x="589217" y="518922"/>
                  </a:cubicBezTo>
                  <a:cubicBezTo>
                    <a:pt x="652367" y="535591"/>
                    <a:pt x="708660" y="554260"/>
                    <a:pt x="758190" y="575120"/>
                  </a:cubicBezTo>
                  <a:cubicBezTo>
                    <a:pt x="807625" y="595979"/>
                    <a:pt x="849344" y="620935"/>
                    <a:pt x="883349" y="649986"/>
                  </a:cubicBezTo>
                  <a:cubicBezTo>
                    <a:pt x="917353" y="679132"/>
                    <a:pt x="942975" y="713327"/>
                    <a:pt x="960215" y="752570"/>
                  </a:cubicBezTo>
                  <a:cubicBezTo>
                    <a:pt x="977456" y="791813"/>
                    <a:pt x="986123" y="838772"/>
                    <a:pt x="986123" y="893445"/>
                  </a:cubicBezTo>
                  <a:lnTo>
                    <a:pt x="986123" y="897064"/>
                  </a:lnTo>
                  <a:cubicBezTo>
                    <a:pt x="986123" y="958882"/>
                    <a:pt x="974884" y="1013841"/>
                    <a:pt x="952500" y="1062038"/>
                  </a:cubicBezTo>
                  <a:cubicBezTo>
                    <a:pt x="930021" y="1110139"/>
                    <a:pt x="898779" y="1150620"/>
                    <a:pt x="858584" y="1183291"/>
                  </a:cubicBezTo>
                  <a:cubicBezTo>
                    <a:pt x="818388" y="1216057"/>
                    <a:pt x="770477" y="1241012"/>
                    <a:pt x="714851" y="1258157"/>
                  </a:cubicBezTo>
                  <a:cubicBezTo>
                    <a:pt x="659130" y="1275398"/>
                    <a:pt x="597503" y="1284065"/>
                    <a:pt x="529685" y="1284065"/>
                  </a:cubicBezTo>
                  <a:close/>
                </a:path>
              </a:pathLst>
            </a:custGeom>
            <a:solidFill>
              <a:srgbClr val="44505E"/>
            </a:solidFill>
            <a:ln w="9525" cap="flat">
              <a:noFill/>
              <a:prstDash val="solid"/>
              <a:miter/>
            </a:ln>
          </p:spPr>
          <p:txBody>
            <a:bodyPr rtlCol="0" anchor="ctr"/>
            <a:lstStyle/>
            <a:p>
              <a:endParaRPr lang="pt-BR" noProof="0"/>
            </a:p>
          </p:txBody>
        </p:sp>
        <p:sp>
          <p:nvSpPr>
            <p:cNvPr id="17" name="Freeform: Shape 16">
              <a:extLst>
                <a:ext uri="{FF2B5EF4-FFF2-40B4-BE49-F238E27FC236}">
                  <a16:creationId xmlns:a16="http://schemas.microsoft.com/office/drawing/2014/main" id="{B4B5D7D3-65E6-8477-6CA3-73125FDB2142}"/>
                </a:ext>
              </a:extLst>
            </p:cNvPr>
            <p:cNvSpPr/>
            <p:nvPr/>
          </p:nvSpPr>
          <p:spPr>
            <a:xfrm>
              <a:off x="5492084" y="310867"/>
              <a:ext cx="332584" cy="315991"/>
            </a:xfrm>
            <a:custGeom>
              <a:avLst/>
              <a:gdLst>
                <a:gd name="connsiteX0" fmla="*/ 534924 w 1323022"/>
                <a:gd name="connsiteY0" fmla="*/ 0 h 1257014"/>
                <a:gd name="connsiteX1" fmla="*/ 788099 w 1323022"/>
                <a:gd name="connsiteY1" fmla="*/ 0 h 1257014"/>
                <a:gd name="connsiteX2" fmla="*/ 1323023 w 1323022"/>
                <a:gd name="connsiteY2" fmla="*/ 1257014 h 1257014"/>
                <a:gd name="connsiteX3" fmla="*/ 1035939 w 1323022"/>
                <a:gd name="connsiteY3" fmla="*/ 1257014 h 1257014"/>
                <a:gd name="connsiteX4" fmla="*/ 921829 w 1323022"/>
                <a:gd name="connsiteY4" fmla="*/ 977075 h 1257014"/>
                <a:gd name="connsiteX5" fmla="*/ 394049 w 1323022"/>
                <a:gd name="connsiteY5" fmla="*/ 977075 h 1257014"/>
                <a:gd name="connsiteX6" fmla="*/ 279940 w 1323022"/>
                <a:gd name="connsiteY6" fmla="*/ 1257014 h 1257014"/>
                <a:gd name="connsiteX7" fmla="*/ 0 w 1323022"/>
                <a:gd name="connsiteY7" fmla="*/ 1257014 h 1257014"/>
                <a:gd name="connsiteX8" fmla="*/ 534924 w 1323022"/>
                <a:gd name="connsiteY8" fmla="*/ 0 h 1257014"/>
                <a:gd name="connsiteX9" fmla="*/ 823817 w 1323022"/>
                <a:gd name="connsiteY9" fmla="*/ 734568 h 1257014"/>
                <a:gd name="connsiteX10" fmla="*/ 657987 w 1323022"/>
                <a:gd name="connsiteY10" fmla="*/ 329851 h 1257014"/>
                <a:gd name="connsiteX11" fmla="*/ 492157 w 1323022"/>
                <a:gd name="connsiteY11" fmla="*/ 734568 h 1257014"/>
                <a:gd name="connsiteX12" fmla="*/ 823817 w 1323022"/>
                <a:gd name="connsiteY12" fmla="*/ 734568 h 125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022" h="1257014">
                  <a:moveTo>
                    <a:pt x="534924" y="0"/>
                  </a:moveTo>
                  <a:lnTo>
                    <a:pt x="788099" y="0"/>
                  </a:lnTo>
                  <a:lnTo>
                    <a:pt x="1323023" y="1257014"/>
                  </a:lnTo>
                  <a:lnTo>
                    <a:pt x="1035939" y="1257014"/>
                  </a:lnTo>
                  <a:lnTo>
                    <a:pt x="921829" y="977075"/>
                  </a:lnTo>
                  <a:lnTo>
                    <a:pt x="394049" y="977075"/>
                  </a:lnTo>
                  <a:lnTo>
                    <a:pt x="279940" y="1257014"/>
                  </a:lnTo>
                  <a:lnTo>
                    <a:pt x="0" y="1257014"/>
                  </a:lnTo>
                  <a:lnTo>
                    <a:pt x="534924" y="0"/>
                  </a:lnTo>
                  <a:close/>
                  <a:moveTo>
                    <a:pt x="823817" y="734568"/>
                  </a:moveTo>
                  <a:lnTo>
                    <a:pt x="657987" y="329851"/>
                  </a:lnTo>
                  <a:lnTo>
                    <a:pt x="492157" y="734568"/>
                  </a:lnTo>
                  <a:lnTo>
                    <a:pt x="823817" y="734568"/>
                  </a:lnTo>
                  <a:close/>
                </a:path>
              </a:pathLst>
            </a:custGeom>
            <a:solidFill>
              <a:srgbClr val="44505E"/>
            </a:solidFill>
            <a:ln w="9525" cap="flat">
              <a:noFill/>
              <a:prstDash val="solid"/>
              <a:miter/>
            </a:ln>
          </p:spPr>
          <p:txBody>
            <a:bodyPr rtlCol="0" anchor="ctr"/>
            <a:lstStyle/>
            <a:p>
              <a:endParaRPr lang="pt-BR" noProof="0"/>
            </a:p>
          </p:txBody>
        </p:sp>
        <p:sp>
          <p:nvSpPr>
            <p:cNvPr id="18" name="Freeform: Shape 17">
              <a:extLst>
                <a:ext uri="{FF2B5EF4-FFF2-40B4-BE49-F238E27FC236}">
                  <a16:creationId xmlns:a16="http://schemas.microsoft.com/office/drawing/2014/main" id="{36C56214-A878-E712-E818-C8A91B92D3A5}"/>
                </a:ext>
              </a:extLst>
            </p:cNvPr>
            <p:cNvSpPr/>
            <p:nvPr/>
          </p:nvSpPr>
          <p:spPr>
            <a:xfrm>
              <a:off x="5834078" y="211355"/>
              <a:ext cx="273442" cy="420435"/>
            </a:xfrm>
            <a:custGeom>
              <a:avLst/>
              <a:gdLst>
                <a:gd name="connsiteX0" fmla="*/ 540258 w 1087754"/>
                <a:gd name="connsiteY0" fmla="*/ 1672495 h 1672494"/>
                <a:gd name="connsiteX1" fmla="*/ 144399 w 1087754"/>
                <a:gd name="connsiteY1" fmla="*/ 1533430 h 1672494"/>
                <a:gd name="connsiteX2" fmla="*/ 0 w 1087754"/>
                <a:gd name="connsiteY2" fmla="*/ 1117949 h 1672494"/>
                <a:gd name="connsiteX3" fmla="*/ 0 w 1087754"/>
                <a:gd name="connsiteY3" fmla="*/ 404717 h 1672494"/>
                <a:gd name="connsiteX4" fmla="*/ 274606 w 1087754"/>
                <a:gd name="connsiteY4" fmla="*/ 404717 h 1672494"/>
                <a:gd name="connsiteX5" fmla="*/ 274606 w 1087754"/>
                <a:gd name="connsiteY5" fmla="*/ 1110806 h 1672494"/>
                <a:gd name="connsiteX6" fmla="*/ 345948 w 1087754"/>
                <a:gd name="connsiteY6" fmla="*/ 1341692 h 1672494"/>
                <a:gd name="connsiteX7" fmla="*/ 543877 w 1087754"/>
                <a:gd name="connsiteY7" fmla="*/ 1419225 h 1672494"/>
                <a:gd name="connsiteX8" fmla="*/ 741807 w 1087754"/>
                <a:gd name="connsiteY8" fmla="*/ 1344359 h 1672494"/>
                <a:gd name="connsiteX9" fmla="*/ 813149 w 1087754"/>
                <a:gd name="connsiteY9" fmla="*/ 1119664 h 1672494"/>
                <a:gd name="connsiteX10" fmla="*/ 813149 w 1087754"/>
                <a:gd name="connsiteY10" fmla="*/ 404717 h 1672494"/>
                <a:gd name="connsiteX11" fmla="*/ 1087755 w 1087754"/>
                <a:gd name="connsiteY11" fmla="*/ 404717 h 1672494"/>
                <a:gd name="connsiteX12" fmla="*/ 1087755 w 1087754"/>
                <a:gd name="connsiteY12" fmla="*/ 1108996 h 1672494"/>
                <a:gd name="connsiteX13" fmla="*/ 1049369 w 1087754"/>
                <a:gd name="connsiteY13" fmla="*/ 1356836 h 1672494"/>
                <a:gd name="connsiteX14" fmla="*/ 939737 w 1087754"/>
                <a:gd name="connsiteY14" fmla="*/ 1532477 h 1672494"/>
                <a:gd name="connsiteX15" fmla="*/ 766763 w 1087754"/>
                <a:gd name="connsiteY15" fmla="*/ 1637729 h 1672494"/>
                <a:gd name="connsiteX16" fmla="*/ 540353 w 1087754"/>
                <a:gd name="connsiteY16" fmla="*/ 1672495 h 1672494"/>
                <a:gd name="connsiteX17" fmla="*/ 622268 w 1087754"/>
                <a:gd name="connsiteY17" fmla="*/ 0 h 1672494"/>
                <a:gd name="connsiteX18" fmla="*/ 855821 w 1087754"/>
                <a:gd name="connsiteY18" fmla="*/ 101632 h 1672494"/>
                <a:gd name="connsiteX19" fmla="*/ 627602 w 1087754"/>
                <a:gd name="connsiteY19" fmla="*/ 315563 h 1672494"/>
                <a:gd name="connsiteX20" fmla="*/ 420719 w 1087754"/>
                <a:gd name="connsiteY20" fmla="*/ 315563 h 1672494"/>
                <a:gd name="connsiteX21" fmla="*/ 622268 w 1087754"/>
                <a:gd name="connsiteY21" fmla="*/ 0 h 16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754" h="1672494">
                  <a:moveTo>
                    <a:pt x="540258" y="1672495"/>
                  </a:moveTo>
                  <a:cubicBezTo>
                    <a:pt x="372618" y="1672495"/>
                    <a:pt x="240697" y="1626108"/>
                    <a:pt x="144399" y="1533430"/>
                  </a:cubicBezTo>
                  <a:cubicBezTo>
                    <a:pt x="48101" y="1440752"/>
                    <a:pt x="0" y="1302258"/>
                    <a:pt x="0" y="1117949"/>
                  </a:cubicBezTo>
                  <a:lnTo>
                    <a:pt x="0" y="404717"/>
                  </a:lnTo>
                  <a:lnTo>
                    <a:pt x="274606" y="404717"/>
                  </a:lnTo>
                  <a:lnTo>
                    <a:pt x="274606" y="1110806"/>
                  </a:lnTo>
                  <a:cubicBezTo>
                    <a:pt x="274606" y="1213009"/>
                    <a:pt x="298418" y="1289971"/>
                    <a:pt x="345948" y="1341692"/>
                  </a:cubicBezTo>
                  <a:cubicBezTo>
                    <a:pt x="393478" y="1393412"/>
                    <a:pt x="459486" y="1419225"/>
                    <a:pt x="543877" y="1419225"/>
                  </a:cubicBezTo>
                  <a:cubicBezTo>
                    <a:pt x="628269" y="1419225"/>
                    <a:pt x="694277" y="1394270"/>
                    <a:pt x="741807" y="1344359"/>
                  </a:cubicBezTo>
                  <a:cubicBezTo>
                    <a:pt x="789337" y="1294448"/>
                    <a:pt x="813149" y="1219581"/>
                    <a:pt x="813149" y="1119664"/>
                  </a:cubicBezTo>
                  <a:lnTo>
                    <a:pt x="813149" y="404717"/>
                  </a:lnTo>
                  <a:lnTo>
                    <a:pt x="1087755" y="404717"/>
                  </a:lnTo>
                  <a:lnTo>
                    <a:pt x="1087755" y="1108996"/>
                  </a:lnTo>
                  <a:cubicBezTo>
                    <a:pt x="1087755" y="1204151"/>
                    <a:pt x="1074992" y="1286732"/>
                    <a:pt x="1049369" y="1356836"/>
                  </a:cubicBezTo>
                  <a:cubicBezTo>
                    <a:pt x="1023747" y="1426940"/>
                    <a:pt x="987266" y="1485519"/>
                    <a:pt x="939737" y="1532477"/>
                  </a:cubicBezTo>
                  <a:cubicBezTo>
                    <a:pt x="892207" y="1579436"/>
                    <a:pt x="834485" y="1614488"/>
                    <a:pt x="766763" y="1637729"/>
                  </a:cubicBezTo>
                  <a:cubicBezTo>
                    <a:pt x="699040" y="1660874"/>
                    <a:pt x="623507" y="1672495"/>
                    <a:pt x="540353" y="1672495"/>
                  </a:cubicBezTo>
                  <a:close/>
                  <a:moveTo>
                    <a:pt x="622268" y="0"/>
                  </a:moveTo>
                  <a:lnTo>
                    <a:pt x="855821" y="101632"/>
                  </a:lnTo>
                  <a:lnTo>
                    <a:pt x="627602" y="315563"/>
                  </a:lnTo>
                  <a:lnTo>
                    <a:pt x="420719" y="315563"/>
                  </a:lnTo>
                  <a:lnTo>
                    <a:pt x="622268" y="0"/>
                  </a:lnTo>
                  <a:close/>
                </a:path>
              </a:pathLst>
            </a:custGeom>
            <a:solidFill>
              <a:srgbClr val="44505E"/>
            </a:solidFill>
            <a:ln w="9525" cap="flat">
              <a:noFill/>
              <a:prstDash val="solid"/>
              <a:miter/>
            </a:ln>
          </p:spPr>
          <p:txBody>
            <a:bodyPr rtlCol="0" anchor="ctr"/>
            <a:lstStyle/>
            <a:p>
              <a:endParaRPr lang="pt-BR" noProof="0"/>
            </a:p>
          </p:txBody>
        </p:sp>
        <p:sp>
          <p:nvSpPr>
            <p:cNvPr id="19" name="Freeform: Shape 18">
              <a:extLst>
                <a:ext uri="{FF2B5EF4-FFF2-40B4-BE49-F238E27FC236}">
                  <a16:creationId xmlns:a16="http://schemas.microsoft.com/office/drawing/2014/main" id="{C99AA14A-ACD6-176F-B1B4-5E0F8180D2D6}"/>
                </a:ext>
              </a:extLst>
            </p:cNvPr>
            <p:cNvSpPr/>
            <p:nvPr/>
          </p:nvSpPr>
          <p:spPr>
            <a:xfrm>
              <a:off x="6143795" y="313094"/>
              <a:ext cx="289101" cy="313764"/>
            </a:xfrm>
            <a:custGeom>
              <a:avLst/>
              <a:gdLst>
                <a:gd name="connsiteX0" fmla="*/ 0 w 1150048"/>
                <a:gd name="connsiteY0" fmla="*/ 0 h 1248155"/>
                <a:gd name="connsiteX1" fmla="*/ 486728 w 1150048"/>
                <a:gd name="connsiteY1" fmla="*/ 0 h 1248155"/>
                <a:gd name="connsiteX2" fmla="*/ 755047 w 1150048"/>
                <a:gd name="connsiteY2" fmla="*/ 47244 h 1248155"/>
                <a:gd name="connsiteX3" fmla="*/ 965454 w 1150048"/>
                <a:gd name="connsiteY3" fmla="*/ 178308 h 1248155"/>
                <a:gd name="connsiteX4" fmla="*/ 1101852 w 1150048"/>
                <a:gd name="connsiteY4" fmla="*/ 375380 h 1248155"/>
                <a:gd name="connsiteX5" fmla="*/ 1150049 w 1150048"/>
                <a:gd name="connsiteY5" fmla="*/ 620554 h 1248155"/>
                <a:gd name="connsiteX6" fmla="*/ 1150049 w 1150048"/>
                <a:gd name="connsiteY6" fmla="*/ 624173 h 1248155"/>
                <a:gd name="connsiteX7" fmla="*/ 1101852 w 1150048"/>
                <a:gd name="connsiteY7" fmla="*/ 870204 h 1248155"/>
                <a:gd name="connsiteX8" fmla="*/ 965454 w 1150048"/>
                <a:gd name="connsiteY8" fmla="*/ 1068134 h 1248155"/>
                <a:gd name="connsiteX9" fmla="*/ 755047 w 1150048"/>
                <a:gd name="connsiteY9" fmla="*/ 1200055 h 1248155"/>
                <a:gd name="connsiteX10" fmla="*/ 486728 w 1150048"/>
                <a:gd name="connsiteY10" fmla="*/ 1248156 h 1248155"/>
                <a:gd name="connsiteX11" fmla="*/ 0 w 1150048"/>
                <a:gd name="connsiteY11" fmla="*/ 1248156 h 1248155"/>
                <a:gd name="connsiteX12" fmla="*/ 0 w 1150048"/>
                <a:gd name="connsiteY12" fmla="*/ 0 h 1248155"/>
                <a:gd name="connsiteX13" fmla="*/ 486728 w 1150048"/>
                <a:gd name="connsiteY13" fmla="*/ 1000315 h 1248155"/>
                <a:gd name="connsiteX14" fmla="*/ 640080 w 1150048"/>
                <a:gd name="connsiteY14" fmla="*/ 973550 h 1248155"/>
                <a:gd name="connsiteX15" fmla="*/ 758667 w 1150048"/>
                <a:gd name="connsiteY15" fmla="*/ 896874 h 1248155"/>
                <a:gd name="connsiteX16" fmla="*/ 835343 w 1150048"/>
                <a:gd name="connsiteY16" fmla="*/ 779240 h 1248155"/>
                <a:gd name="connsiteX17" fmla="*/ 862965 w 1150048"/>
                <a:gd name="connsiteY17" fmla="*/ 627698 h 1248155"/>
                <a:gd name="connsiteX18" fmla="*/ 862965 w 1150048"/>
                <a:gd name="connsiteY18" fmla="*/ 624078 h 1248155"/>
                <a:gd name="connsiteX19" fmla="*/ 835343 w 1150048"/>
                <a:gd name="connsiteY19" fmla="*/ 472535 h 1248155"/>
                <a:gd name="connsiteX20" fmla="*/ 758667 w 1150048"/>
                <a:gd name="connsiteY20" fmla="*/ 353092 h 1248155"/>
                <a:gd name="connsiteX21" fmla="*/ 640080 w 1150048"/>
                <a:gd name="connsiteY21" fmla="*/ 275558 h 1248155"/>
                <a:gd name="connsiteX22" fmla="*/ 486728 w 1150048"/>
                <a:gd name="connsiteY22" fmla="*/ 247936 h 1248155"/>
                <a:gd name="connsiteX23" fmla="*/ 274511 w 1150048"/>
                <a:gd name="connsiteY23" fmla="*/ 247936 h 1248155"/>
                <a:gd name="connsiteX24" fmla="*/ 274511 w 1150048"/>
                <a:gd name="connsiteY24" fmla="*/ 1000411 h 1248155"/>
                <a:gd name="connsiteX25" fmla="*/ 486728 w 1150048"/>
                <a:gd name="connsiteY25" fmla="*/ 1000411 h 124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50048" h="1248155">
                  <a:moveTo>
                    <a:pt x="0" y="0"/>
                  </a:moveTo>
                  <a:lnTo>
                    <a:pt x="486728" y="0"/>
                  </a:lnTo>
                  <a:cubicBezTo>
                    <a:pt x="584168" y="0"/>
                    <a:pt x="673608" y="15811"/>
                    <a:pt x="755047" y="47244"/>
                  </a:cubicBezTo>
                  <a:cubicBezTo>
                    <a:pt x="836486" y="78772"/>
                    <a:pt x="906590" y="122396"/>
                    <a:pt x="965454" y="178308"/>
                  </a:cubicBezTo>
                  <a:cubicBezTo>
                    <a:pt x="1024319" y="234220"/>
                    <a:pt x="1069753" y="299847"/>
                    <a:pt x="1101852" y="375380"/>
                  </a:cubicBezTo>
                  <a:cubicBezTo>
                    <a:pt x="1133951" y="450914"/>
                    <a:pt x="1150049" y="532543"/>
                    <a:pt x="1150049" y="620554"/>
                  </a:cubicBezTo>
                  <a:lnTo>
                    <a:pt x="1150049" y="624173"/>
                  </a:lnTo>
                  <a:cubicBezTo>
                    <a:pt x="1150049" y="712184"/>
                    <a:pt x="1133951" y="794195"/>
                    <a:pt x="1101852" y="870204"/>
                  </a:cubicBezTo>
                  <a:cubicBezTo>
                    <a:pt x="1069753" y="946309"/>
                    <a:pt x="1024319" y="1012222"/>
                    <a:pt x="965454" y="1068134"/>
                  </a:cubicBezTo>
                  <a:cubicBezTo>
                    <a:pt x="906590" y="1124045"/>
                    <a:pt x="836486" y="1167956"/>
                    <a:pt x="755047" y="1200055"/>
                  </a:cubicBezTo>
                  <a:cubicBezTo>
                    <a:pt x="673608" y="1232154"/>
                    <a:pt x="584168" y="1248156"/>
                    <a:pt x="486728" y="1248156"/>
                  </a:cubicBezTo>
                  <a:lnTo>
                    <a:pt x="0" y="1248156"/>
                  </a:lnTo>
                  <a:lnTo>
                    <a:pt x="0" y="0"/>
                  </a:lnTo>
                  <a:close/>
                  <a:moveTo>
                    <a:pt x="486728" y="1000315"/>
                  </a:moveTo>
                  <a:cubicBezTo>
                    <a:pt x="542639" y="1000315"/>
                    <a:pt x="593693" y="991457"/>
                    <a:pt x="640080" y="973550"/>
                  </a:cubicBezTo>
                  <a:cubicBezTo>
                    <a:pt x="686467" y="955739"/>
                    <a:pt x="725900" y="930211"/>
                    <a:pt x="758667" y="896874"/>
                  </a:cubicBezTo>
                  <a:cubicBezTo>
                    <a:pt x="791337" y="863632"/>
                    <a:pt x="816864" y="824389"/>
                    <a:pt x="835343" y="779240"/>
                  </a:cubicBezTo>
                  <a:cubicBezTo>
                    <a:pt x="853726" y="734092"/>
                    <a:pt x="862965" y="683609"/>
                    <a:pt x="862965" y="627698"/>
                  </a:cubicBezTo>
                  <a:lnTo>
                    <a:pt x="862965" y="624078"/>
                  </a:lnTo>
                  <a:cubicBezTo>
                    <a:pt x="862965" y="569404"/>
                    <a:pt x="853726" y="518827"/>
                    <a:pt x="835343" y="472535"/>
                  </a:cubicBezTo>
                  <a:cubicBezTo>
                    <a:pt x="816864" y="426149"/>
                    <a:pt x="791337" y="386334"/>
                    <a:pt x="758667" y="353092"/>
                  </a:cubicBezTo>
                  <a:cubicBezTo>
                    <a:pt x="725996" y="319849"/>
                    <a:pt x="686467" y="293941"/>
                    <a:pt x="640080" y="275558"/>
                  </a:cubicBezTo>
                  <a:cubicBezTo>
                    <a:pt x="593693" y="257175"/>
                    <a:pt x="542639" y="247936"/>
                    <a:pt x="486728" y="247936"/>
                  </a:cubicBezTo>
                  <a:lnTo>
                    <a:pt x="274511" y="247936"/>
                  </a:lnTo>
                  <a:lnTo>
                    <a:pt x="274511" y="1000411"/>
                  </a:lnTo>
                  <a:lnTo>
                    <a:pt x="486728" y="1000411"/>
                  </a:lnTo>
                  <a:close/>
                </a:path>
              </a:pathLst>
            </a:custGeom>
            <a:solidFill>
              <a:srgbClr val="44505E"/>
            </a:solidFill>
            <a:ln w="9525" cap="flat">
              <a:noFill/>
              <a:prstDash val="solid"/>
              <a:miter/>
            </a:ln>
          </p:spPr>
          <p:txBody>
            <a:bodyPr rtlCol="0" anchor="ctr"/>
            <a:lstStyle/>
            <a:p>
              <a:endParaRPr lang="pt-BR" noProof="0"/>
            </a:p>
          </p:txBody>
        </p:sp>
        <p:sp>
          <p:nvSpPr>
            <p:cNvPr id="20" name="Freeform: Shape 19">
              <a:extLst>
                <a:ext uri="{FF2B5EF4-FFF2-40B4-BE49-F238E27FC236}">
                  <a16:creationId xmlns:a16="http://schemas.microsoft.com/office/drawing/2014/main" id="{852542F7-E923-85F7-A2D1-E80EAD49FB0D}"/>
                </a:ext>
              </a:extLst>
            </p:cNvPr>
            <p:cNvSpPr/>
            <p:nvPr/>
          </p:nvSpPr>
          <p:spPr>
            <a:xfrm>
              <a:off x="6460217" y="313094"/>
              <a:ext cx="238459" cy="313788"/>
            </a:xfrm>
            <a:custGeom>
              <a:avLst/>
              <a:gdLst>
                <a:gd name="connsiteX0" fmla="*/ 95 w 948594"/>
                <a:gd name="connsiteY0" fmla="*/ 0 h 1248251"/>
                <a:gd name="connsiteX1" fmla="*/ 939737 w 948594"/>
                <a:gd name="connsiteY1" fmla="*/ 0 h 1248251"/>
                <a:gd name="connsiteX2" fmla="*/ 939737 w 948594"/>
                <a:gd name="connsiteY2" fmla="*/ 244316 h 1248251"/>
                <a:gd name="connsiteX3" fmla="*/ 271081 w 948594"/>
                <a:gd name="connsiteY3" fmla="*/ 244316 h 1248251"/>
                <a:gd name="connsiteX4" fmla="*/ 271081 w 948594"/>
                <a:gd name="connsiteY4" fmla="*/ 497491 h 1248251"/>
                <a:gd name="connsiteX5" fmla="*/ 859441 w 948594"/>
                <a:gd name="connsiteY5" fmla="*/ 497491 h 1248251"/>
                <a:gd name="connsiteX6" fmla="*/ 859441 w 948594"/>
                <a:gd name="connsiteY6" fmla="*/ 741807 h 1248251"/>
                <a:gd name="connsiteX7" fmla="*/ 271081 w 948594"/>
                <a:gd name="connsiteY7" fmla="*/ 741807 h 1248251"/>
                <a:gd name="connsiteX8" fmla="*/ 271081 w 948594"/>
                <a:gd name="connsiteY8" fmla="*/ 1003935 h 1248251"/>
                <a:gd name="connsiteX9" fmla="*/ 948595 w 948594"/>
                <a:gd name="connsiteY9" fmla="*/ 1003935 h 1248251"/>
                <a:gd name="connsiteX10" fmla="*/ 948595 w 948594"/>
                <a:gd name="connsiteY10" fmla="*/ 1248251 h 1248251"/>
                <a:gd name="connsiteX11" fmla="*/ 0 w 948594"/>
                <a:gd name="connsiteY11" fmla="*/ 1248251 h 1248251"/>
                <a:gd name="connsiteX12" fmla="*/ 0 w 948594"/>
                <a:gd name="connsiteY12" fmla="*/ 0 h 124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594" h="1248251">
                  <a:moveTo>
                    <a:pt x="95" y="0"/>
                  </a:moveTo>
                  <a:lnTo>
                    <a:pt x="939737" y="0"/>
                  </a:lnTo>
                  <a:lnTo>
                    <a:pt x="939737" y="244316"/>
                  </a:lnTo>
                  <a:lnTo>
                    <a:pt x="271081" y="244316"/>
                  </a:lnTo>
                  <a:lnTo>
                    <a:pt x="271081" y="497491"/>
                  </a:lnTo>
                  <a:lnTo>
                    <a:pt x="859441" y="497491"/>
                  </a:lnTo>
                  <a:lnTo>
                    <a:pt x="859441" y="741807"/>
                  </a:lnTo>
                  <a:lnTo>
                    <a:pt x="271081" y="741807"/>
                  </a:lnTo>
                  <a:lnTo>
                    <a:pt x="271081" y="1003935"/>
                  </a:lnTo>
                  <a:lnTo>
                    <a:pt x="948595" y="1003935"/>
                  </a:lnTo>
                  <a:lnTo>
                    <a:pt x="948595" y="1248251"/>
                  </a:lnTo>
                  <a:lnTo>
                    <a:pt x="0" y="1248251"/>
                  </a:lnTo>
                  <a:lnTo>
                    <a:pt x="0" y="0"/>
                  </a:lnTo>
                  <a:close/>
                </a:path>
              </a:pathLst>
            </a:custGeom>
            <a:solidFill>
              <a:srgbClr val="44505E"/>
            </a:solidFill>
            <a:ln w="9525" cap="flat">
              <a:noFill/>
              <a:prstDash val="solid"/>
              <a:miter/>
            </a:ln>
          </p:spPr>
          <p:txBody>
            <a:bodyPr rtlCol="0" anchor="ctr"/>
            <a:lstStyle/>
            <a:p>
              <a:endParaRPr lang="pt-BR" noProof="0"/>
            </a:p>
          </p:txBody>
        </p:sp>
        <p:sp>
          <p:nvSpPr>
            <p:cNvPr id="21" name="Freeform: Shape 20">
              <a:extLst>
                <a:ext uri="{FF2B5EF4-FFF2-40B4-BE49-F238E27FC236}">
                  <a16:creationId xmlns:a16="http://schemas.microsoft.com/office/drawing/2014/main" id="{98782FDA-6A70-B4BB-5A6E-79386BE45D48}"/>
                </a:ext>
              </a:extLst>
            </p:cNvPr>
            <p:cNvSpPr/>
            <p:nvPr/>
          </p:nvSpPr>
          <p:spPr>
            <a:xfrm>
              <a:off x="5253193" y="699983"/>
              <a:ext cx="90796" cy="97883"/>
            </a:xfrm>
            <a:custGeom>
              <a:avLst/>
              <a:gdLst>
                <a:gd name="connsiteX0" fmla="*/ 191548 w 361187"/>
                <a:gd name="connsiteY0" fmla="*/ 389382 h 389381"/>
                <a:gd name="connsiteX1" fmla="*/ 116300 w 361187"/>
                <a:gd name="connsiteY1" fmla="*/ 375285 h 389381"/>
                <a:gd name="connsiteX2" fmla="*/ 55531 w 361187"/>
                <a:gd name="connsiteY2" fmla="*/ 335756 h 389381"/>
                <a:gd name="connsiteX3" fmla="*/ 14859 w 361187"/>
                <a:gd name="connsiteY3" fmla="*/ 274606 h 389381"/>
                <a:gd name="connsiteX4" fmla="*/ 0 w 361187"/>
                <a:gd name="connsiteY4" fmla="*/ 195834 h 389381"/>
                <a:gd name="connsiteX5" fmla="*/ 0 w 361187"/>
                <a:gd name="connsiteY5" fmla="*/ 194405 h 389381"/>
                <a:gd name="connsiteX6" fmla="*/ 13430 w 361187"/>
                <a:gd name="connsiteY6" fmla="*/ 118777 h 389381"/>
                <a:gd name="connsiteX7" fmla="*/ 51245 w 361187"/>
                <a:gd name="connsiteY7" fmla="*/ 56959 h 389381"/>
                <a:gd name="connsiteX8" fmla="*/ 108871 w 361187"/>
                <a:gd name="connsiteY8" fmla="*/ 15240 h 389381"/>
                <a:gd name="connsiteX9" fmla="*/ 182404 w 361187"/>
                <a:gd name="connsiteY9" fmla="*/ 0 h 389381"/>
                <a:gd name="connsiteX10" fmla="*/ 260509 w 361187"/>
                <a:gd name="connsiteY10" fmla="*/ 16288 h 389381"/>
                <a:gd name="connsiteX11" fmla="*/ 316325 w 361187"/>
                <a:gd name="connsiteY11" fmla="*/ 60103 h 389381"/>
                <a:gd name="connsiteX12" fmla="*/ 349853 w 361187"/>
                <a:gd name="connsiteY12" fmla="*/ 124015 h 389381"/>
                <a:gd name="connsiteX13" fmla="*/ 361188 w 361187"/>
                <a:gd name="connsiteY13" fmla="*/ 200692 h 389381"/>
                <a:gd name="connsiteX14" fmla="*/ 360807 w 361187"/>
                <a:gd name="connsiteY14" fmla="*/ 212312 h 389381"/>
                <a:gd name="connsiteX15" fmla="*/ 359759 w 361187"/>
                <a:gd name="connsiteY15" fmla="*/ 224695 h 389381"/>
                <a:gd name="connsiteX16" fmla="*/ 85534 w 361187"/>
                <a:gd name="connsiteY16" fmla="*/ 224695 h 389381"/>
                <a:gd name="connsiteX17" fmla="*/ 121920 w 361187"/>
                <a:gd name="connsiteY17" fmla="*/ 294989 h 389381"/>
                <a:gd name="connsiteX18" fmla="*/ 192977 w 361187"/>
                <a:gd name="connsiteY18" fmla="*/ 319373 h 389381"/>
                <a:gd name="connsiteX19" fmla="*/ 248126 w 361187"/>
                <a:gd name="connsiteY19" fmla="*/ 308038 h 389381"/>
                <a:gd name="connsiteX20" fmla="*/ 294037 w 361187"/>
                <a:gd name="connsiteY20" fmla="*/ 274796 h 389381"/>
                <a:gd name="connsiteX21" fmla="*/ 344234 w 361187"/>
                <a:gd name="connsiteY21" fmla="*/ 319278 h 389381"/>
                <a:gd name="connsiteX22" fmla="*/ 280226 w 361187"/>
                <a:gd name="connsiteY22" fmla="*/ 370141 h 389381"/>
                <a:gd name="connsiteX23" fmla="*/ 191548 w 361187"/>
                <a:gd name="connsiteY23" fmla="*/ 389191 h 389381"/>
                <a:gd name="connsiteX24" fmla="*/ 276320 w 361187"/>
                <a:gd name="connsiteY24" fmla="*/ 168211 h 389381"/>
                <a:gd name="connsiteX25" fmla="*/ 267176 w 361187"/>
                <a:gd name="connsiteY25" fmla="*/ 129730 h 389381"/>
                <a:gd name="connsiteX26" fmla="*/ 248126 w 361187"/>
                <a:gd name="connsiteY26" fmla="*/ 98679 h 389381"/>
                <a:gd name="connsiteX27" fmla="*/ 219551 w 361187"/>
                <a:gd name="connsiteY27" fmla="*/ 77819 h 389381"/>
                <a:gd name="connsiteX28" fmla="*/ 181737 w 361187"/>
                <a:gd name="connsiteY28" fmla="*/ 70009 h 389381"/>
                <a:gd name="connsiteX29" fmla="*/ 116396 w 361187"/>
                <a:gd name="connsiteY29" fmla="*/ 97250 h 389381"/>
                <a:gd name="connsiteX30" fmla="*/ 84963 w 361187"/>
                <a:gd name="connsiteY30" fmla="*/ 168307 h 389381"/>
                <a:gd name="connsiteX31" fmla="*/ 276511 w 361187"/>
                <a:gd name="connsiteY31" fmla="*/ 168307 h 38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187" h="389381">
                  <a:moveTo>
                    <a:pt x="191548" y="389382"/>
                  </a:moveTo>
                  <a:cubicBezTo>
                    <a:pt x="164687" y="389382"/>
                    <a:pt x="139637" y="384715"/>
                    <a:pt x="116300" y="375285"/>
                  </a:cubicBezTo>
                  <a:cubicBezTo>
                    <a:pt x="92964" y="365855"/>
                    <a:pt x="72771" y="352711"/>
                    <a:pt x="55531" y="335756"/>
                  </a:cubicBezTo>
                  <a:cubicBezTo>
                    <a:pt x="38291" y="318802"/>
                    <a:pt x="24765" y="298418"/>
                    <a:pt x="14859" y="274606"/>
                  </a:cubicBezTo>
                  <a:cubicBezTo>
                    <a:pt x="4953" y="250793"/>
                    <a:pt x="0" y="224599"/>
                    <a:pt x="0" y="195834"/>
                  </a:cubicBezTo>
                  <a:lnTo>
                    <a:pt x="0" y="194405"/>
                  </a:lnTo>
                  <a:cubicBezTo>
                    <a:pt x="0" y="167545"/>
                    <a:pt x="4477" y="142399"/>
                    <a:pt x="13430" y="118777"/>
                  </a:cubicBezTo>
                  <a:cubicBezTo>
                    <a:pt x="22384" y="95250"/>
                    <a:pt x="34957" y="74581"/>
                    <a:pt x="51245" y="56959"/>
                  </a:cubicBezTo>
                  <a:cubicBezTo>
                    <a:pt x="67532" y="39338"/>
                    <a:pt x="86677" y="25432"/>
                    <a:pt x="108871" y="15240"/>
                  </a:cubicBezTo>
                  <a:cubicBezTo>
                    <a:pt x="131064" y="5143"/>
                    <a:pt x="155543" y="0"/>
                    <a:pt x="182404" y="0"/>
                  </a:cubicBezTo>
                  <a:cubicBezTo>
                    <a:pt x="212122" y="0"/>
                    <a:pt x="238125" y="5429"/>
                    <a:pt x="260509" y="16288"/>
                  </a:cubicBezTo>
                  <a:cubicBezTo>
                    <a:pt x="282893" y="27146"/>
                    <a:pt x="301466" y="41719"/>
                    <a:pt x="316325" y="60103"/>
                  </a:cubicBezTo>
                  <a:cubicBezTo>
                    <a:pt x="331184" y="78486"/>
                    <a:pt x="342329" y="99822"/>
                    <a:pt x="349853" y="124015"/>
                  </a:cubicBezTo>
                  <a:cubicBezTo>
                    <a:pt x="357378" y="148304"/>
                    <a:pt x="361188" y="173831"/>
                    <a:pt x="361188" y="200692"/>
                  </a:cubicBezTo>
                  <a:cubicBezTo>
                    <a:pt x="361188" y="204502"/>
                    <a:pt x="361093" y="208312"/>
                    <a:pt x="360807" y="212312"/>
                  </a:cubicBezTo>
                  <a:cubicBezTo>
                    <a:pt x="360521" y="216313"/>
                    <a:pt x="360236" y="220409"/>
                    <a:pt x="359759" y="224695"/>
                  </a:cubicBezTo>
                  <a:lnTo>
                    <a:pt x="85534" y="224695"/>
                  </a:lnTo>
                  <a:cubicBezTo>
                    <a:pt x="90202" y="255365"/>
                    <a:pt x="102394" y="278797"/>
                    <a:pt x="121920" y="294989"/>
                  </a:cubicBezTo>
                  <a:cubicBezTo>
                    <a:pt x="141446" y="311277"/>
                    <a:pt x="165164" y="319373"/>
                    <a:pt x="192977" y="319373"/>
                  </a:cubicBezTo>
                  <a:cubicBezTo>
                    <a:pt x="214217" y="319373"/>
                    <a:pt x="232505" y="315563"/>
                    <a:pt x="248126" y="308038"/>
                  </a:cubicBezTo>
                  <a:cubicBezTo>
                    <a:pt x="263652" y="300514"/>
                    <a:pt x="278987" y="289465"/>
                    <a:pt x="294037" y="274796"/>
                  </a:cubicBezTo>
                  <a:lnTo>
                    <a:pt x="344234" y="319278"/>
                  </a:lnTo>
                  <a:cubicBezTo>
                    <a:pt x="326327" y="340519"/>
                    <a:pt x="304991" y="357473"/>
                    <a:pt x="280226" y="370141"/>
                  </a:cubicBezTo>
                  <a:cubicBezTo>
                    <a:pt x="255461" y="382810"/>
                    <a:pt x="225933" y="389191"/>
                    <a:pt x="191548" y="389191"/>
                  </a:cubicBezTo>
                  <a:close/>
                  <a:moveTo>
                    <a:pt x="276320" y="168211"/>
                  </a:moveTo>
                  <a:cubicBezTo>
                    <a:pt x="274892" y="154591"/>
                    <a:pt x="271844" y="141732"/>
                    <a:pt x="267176" y="129730"/>
                  </a:cubicBezTo>
                  <a:cubicBezTo>
                    <a:pt x="262414" y="117729"/>
                    <a:pt x="256127" y="107347"/>
                    <a:pt x="248126" y="98679"/>
                  </a:cubicBezTo>
                  <a:cubicBezTo>
                    <a:pt x="240125" y="89916"/>
                    <a:pt x="230600" y="82963"/>
                    <a:pt x="219551" y="77819"/>
                  </a:cubicBezTo>
                  <a:cubicBezTo>
                    <a:pt x="208502" y="72676"/>
                    <a:pt x="195834" y="70009"/>
                    <a:pt x="181737" y="70009"/>
                  </a:cubicBezTo>
                  <a:cubicBezTo>
                    <a:pt x="155353" y="70009"/>
                    <a:pt x="133541" y="79057"/>
                    <a:pt x="116396" y="97250"/>
                  </a:cubicBezTo>
                  <a:cubicBezTo>
                    <a:pt x="99155" y="115348"/>
                    <a:pt x="88678" y="139065"/>
                    <a:pt x="84963" y="168307"/>
                  </a:cubicBezTo>
                  <a:lnTo>
                    <a:pt x="276511" y="168307"/>
                  </a:lnTo>
                  <a:close/>
                </a:path>
              </a:pathLst>
            </a:custGeom>
            <a:solidFill>
              <a:srgbClr val="44505E"/>
            </a:solidFill>
            <a:ln w="9525" cap="flat">
              <a:noFill/>
              <a:prstDash val="solid"/>
              <a:miter/>
            </a:ln>
          </p:spPr>
          <p:txBody>
            <a:bodyPr rtlCol="0" anchor="ctr"/>
            <a:lstStyle/>
            <a:p>
              <a:endParaRPr lang="pt-BR" noProof="0"/>
            </a:p>
          </p:txBody>
        </p:sp>
        <p:sp>
          <p:nvSpPr>
            <p:cNvPr id="22" name="Freeform: Shape 21">
              <a:extLst>
                <a:ext uri="{FF2B5EF4-FFF2-40B4-BE49-F238E27FC236}">
                  <a16:creationId xmlns:a16="http://schemas.microsoft.com/office/drawing/2014/main" id="{D3512049-B751-D22A-36CB-A31F3614C480}"/>
                </a:ext>
              </a:extLst>
            </p:cNvPr>
            <p:cNvSpPr/>
            <p:nvPr/>
          </p:nvSpPr>
          <p:spPr>
            <a:xfrm>
              <a:off x="5365659"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5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8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3 w 568166"/>
                <a:gd name="connsiteY21" fmla="*/ 381000 h 381000"/>
                <a:gd name="connsiteX22" fmla="*/ 240983 w 568166"/>
                <a:gd name="connsiteY22" fmla="*/ 168783 h 381000"/>
                <a:gd name="connsiteX23" fmla="*/ 221266 w 568166"/>
                <a:gd name="connsiteY23" fmla="*/ 101822 h 381000"/>
                <a:gd name="connsiteX24" fmla="*/ 165640 w 568166"/>
                <a:gd name="connsiteY24" fmla="*/ 78581 h 381000"/>
                <a:gd name="connsiteX25" fmla="*/ 108014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70" y="48196"/>
                    <a:pt x="105918" y="40576"/>
                  </a:cubicBezTo>
                  <a:cubicBezTo>
                    <a:pt x="112967" y="32956"/>
                    <a:pt x="121063" y="26099"/>
                    <a:pt x="130207" y="19907"/>
                  </a:cubicBezTo>
                  <a:cubicBezTo>
                    <a:pt x="139351" y="13716"/>
                    <a:pt x="149733" y="8858"/>
                    <a:pt x="161163" y="5334"/>
                  </a:cubicBezTo>
                  <a:cubicBezTo>
                    <a:pt x="172688" y="1714"/>
                    <a:pt x="185452" y="0"/>
                    <a:pt x="199549" y="0"/>
                  </a:cubicBezTo>
                  <a:cubicBezTo>
                    <a:pt x="226314" y="0"/>
                    <a:pt x="248984" y="6096"/>
                    <a:pt x="267557" y="18193"/>
                  </a:cubicBezTo>
                  <a:cubicBezTo>
                    <a:pt x="286131" y="30289"/>
                    <a:pt x="300323" y="46387"/>
                    <a:pt x="310134" y="66294"/>
                  </a:cubicBezTo>
                  <a:cubicBezTo>
                    <a:pt x="325279" y="46387"/>
                    <a:pt x="343091" y="30289"/>
                    <a:pt x="363665" y="18193"/>
                  </a:cubicBezTo>
                  <a:cubicBezTo>
                    <a:pt x="384239" y="6096"/>
                    <a:pt x="408718" y="0"/>
                    <a:pt x="437007" y="0"/>
                  </a:cubicBezTo>
                  <a:cubicBezTo>
                    <a:pt x="478060"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8" y="78486"/>
                  </a:cubicBezTo>
                  <a:cubicBezTo>
                    <a:pt x="382810" y="78486"/>
                    <a:pt x="364141" y="86392"/>
                    <a:pt x="349377" y="102108"/>
                  </a:cubicBezTo>
                  <a:cubicBezTo>
                    <a:pt x="334613" y="117824"/>
                    <a:pt x="327184" y="140779"/>
                    <a:pt x="327184" y="170879"/>
                  </a:cubicBezTo>
                  <a:lnTo>
                    <a:pt x="327184" y="381000"/>
                  </a:lnTo>
                  <a:lnTo>
                    <a:pt x="240983" y="381000"/>
                  </a:lnTo>
                  <a:lnTo>
                    <a:pt x="240983" y="168783"/>
                  </a:lnTo>
                  <a:cubicBezTo>
                    <a:pt x="240983" y="139637"/>
                    <a:pt x="234410" y="117348"/>
                    <a:pt x="221266" y="101822"/>
                  </a:cubicBezTo>
                  <a:cubicBezTo>
                    <a:pt x="208121" y="86296"/>
                    <a:pt x="189643" y="78581"/>
                    <a:pt x="165640" y="78581"/>
                  </a:cubicBezTo>
                  <a:cubicBezTo>
                    <a:pt x="141637" y="78581"/>
                    <a:pt x="122492" y="86773"/>
                    <a:pt x="108014"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23" name="Freeform: Shape 22">
              <a:extLst>
                <a:ext uri="{FF2B5EF4-FFF2-40B4-BE49-F238E27FC236}">
                  <a16:creationId xmlns:a16="http://schemas.microsoft.com/office/drawing/2014/main" id="{388785A5-3423-F00A-59FF-851F79A747AA}"/>
                </a:ext>
              </a:extLst>
            </p:cNvPr>
            <p:cNvSpPr/>
            <p:nvPr/>
          </p:nvSpPr>
          <p:spPr>
            <a:xfrm>
              <a:off x="5587693" y="700007"/>
              <a:ext cx="84211" cy="95752"/>
            </a:xfrm>
            <a:custGeom>
              <a:avLst/>
              <a:gdLst>
                <a:gd name="connsiteX0" fmla="*/ 95 w 334994"/>
                <a:gd name="connsiteY0" fmla="*/ 7715 h 380904"/>
                <a:gd name="connsiteX1" fmla="*/ 86296 w 334994"/>
                <a:gd name="connsiteY1" fmla="*/ 7715 h 380904"/>
                <a:gd name="connsiteX2" fmla="*/ 86296 w 334994"/>
                <a:gd name="connsiteY2" fmla="*/ 66294 h 380904"/>
                <a:gd name="connsiteX3" fmla="*/ 106394 w 334994"/>
                <a:gd name="connsiteY3" fmla="*/ 40958 h 380904"/>
                <a:gd name="connsiteX4" fmla="*/ 131731 w 334994"/>
                <a:gd name="connsiteY4" fmla="*/ 19907 h 380904"/>
                <a:gd name="connsiteX5" fmla="*/ 163449 w 334994"/>
                <a:gd name="connsiteY5" fmla="*/ 5334 h 380904"/>
                <a:gd name="connsiteX6" fmla="*/ 202597 w 334994"/>
                <a:gd name="connsiteY6" fmla="*/ 0 h 380904"/>
                <a:gd name="connsiteX7" fmla="*/ 300514 w 334994"/>
                <a:gd name="connsiteY7" fmla="*/ 38862 h 380904"/>
                <a:gd name="connsiteX8" fmla="*/ 334994 w 334994"/>
                <a:gd name="connsiteY8" fmla="*/ 143446 h 380904"/>
                <a:gd name="connsiteX9" fmla="*/ 334994 w 334994"/>
                <a:gd name="connsiteY9" fmla="*/ 380905 h 380904"/>
                <a:gd name="connsiteX10" fmla="*/ 248793 w 334994"/>
                <a:gd name="connsiteY10" fmla="*/ 380905 h 380904"/>
                <a:gd name="connsiteX11" fmla="*/ 248793 w 334994"/>
                <a:gd name="connsiteY11" fmla="*/ 169450 h 380904"/>
                <a:gd name="connsiteX12" fmla="*/ 228124 w 334994"/>
                <a:gd name="connsiteY12" fmla="*/ 102108 h 380904"/>
                <a:gd name="connsiteX13" fmla="*/ 169640 w 334994"/>
                <a:gd name="connsiteY13" fmla="*/ 78486 h 380904"/>
                <a:gd name="connsiteX14" fmla="*/ 109347 w 334994"/>
                <a:gd name="connsiteY14" fmla="*/ 102775 h 380904"/>
                <a:gd name="connsiteX15" fmla="*/ 86201 w 334994"/>
                <a:gd name="connsiteY15" fmla="*/ 170783 h 380904"/>
                <a:gd name="connsiteX16" fmla="*/ 86201 w 334994"/>
                <a:gd name="connsiteY16" fmla="*/ 380905 h 380904"/>
                <a:gd name="connsiteX17" fmla="*/ 0 w 334994"/>
                <a:gd name="connsiteY17" fmla="*/ 380905 h 380904"/>
                <a:gd name="connsiteX18" fmla="*/ 0 w 334994"/>
                <a:gd name="connsiteY18" fmla="*/ 7810 h 38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94" h="380904">
                  <a:moveTo>
                    <a:pt x="95" y="7715"/>
                  </a:moveTo>
                  <a:lnTo>
                    <a:pt x="86296" y="7715"/>
                  </a:lnTo>
                  <a:lnTo>
                    <a:pt x="86296" y="66294"/>
                  </a:lnTo>
                  <a:cubicBezTo>
                    <a:pt x="92392" y="57245"/>
                    <a:pt x="99060" y="48863"/>
                    <a:pt x="106394" y="40958"/>
                  </a:cubicBezTo>
                  <a:cubicBezTo>
                    <a:pt x="113633" y="33147"/>
                    <a:pt x="122110" y="26099"/>
                    <a:pt x="131731" y="19907"/>
                  </a:cubicBezTo>
                  <a:cubicBezTo>
                    <a:pt x="141351" y="13716"/>
                    <a:pt x="151924" y="8858"/>
                    <a:pt x="163449" y="5334"/>
                  </a:cubicBezTo>
                  <a:cubicBezTo>
                    <a:pt x="174974" y="1714"/>
                    <a:pt x="188024" y="0"/>
                    <a:pt x="202597" y="0"/>
                  </a:cubicBezTo>
                  <a:cubicBezTo>
                    <a:pt x="244888" y="0"/>
                    <a:pt x="277559" y="12954"/>
                    <a:pt x="300514" y="38862"/>
                  </a:cubicBezTo>
                  <a:cubicBezTo>
                    <a:pt x="323564" y="64770"/>
                    <a:pt x="334994" y="99631"/>
                    <a:pt x="334994" y="143446"/>
                  </a:cubicBezTo>
                  <a:lnTo>
                    <a:pt x="334994" y="380905"/>
                  </a:lnTo>
                  <a:lnTo>
                    <a:pt x="248793" y="380905"/>
                  </a:lnTo>
                  <a:lnTo>
                    <a:pt x="248793" y="169450"/>
                  </a:lnTo>
                  <a:cubicBezTo>
                    <a:pt x="248793" y="140303"/>
                    <a:pt x="241935" y="117824"/>
                    <a:pt x="228124" y="102108"/>
                  </a:cubicBezTo>
                  <a:cubicBezTo>
                    <a:pt x="214313" y="86392"/>
                    <a:pt x="194881" y="78486"/>
                    <a:pt x="169640" y="78486"/>
                  </a:cubicBezTo>
                  <a:cubicBezTo>
                    <a:pt x="144399" y="78486"/>
                    <a:pt x="124777" y="86582"/>
                    <a:pt x="109347" y="102775"/>
                  </a:cubicBezTo>
                  <a:cubicBezTo>
                    <a:pt x="93917" y="118967"/>
                    <a:pt x="86201" y="141637"/>
                    <a:pt x="86201" y="170783"/>
                  </a:cubicBezTo>
                  <a:lnTo>
                    <a:pt x="86201" y="380905"/>
                  </a:lnTo>
                  <a:lnTo>
                    <a:pt x="0" y="380905"/>
                  </a:lnTo>
                  <a:lnTo>
                    <a:pt x="0" y="7810"/>
                  </a:lnTo>
                  <a:close/>
                </a:path>
              </a:pathLst>
            </a:custGeom>
            <a:solidFill>
              <a:srgbClr val="44505E"/>
            </a:solidFill>
            <a:ln w="9525" cap="flat">
              <a:noFill/>
              <a:prstDash val="solid"/>
              <a:miter/>
            </a:ln>
          </p:spPr>
          <p:txBody>
            <a:bodyPr rtlCol="0" anchor="ctr"/>
            <a:lstStyle/>
            <a:p>
              <a:endParaRPr lang="pt-BR" noProof="0"/>
            </a:p>
          </p:txBody>
        </p:sp>
        <p:sp>
          <p:nvSpPr>
            <p:cNvPr id="24" name="Freeform: Shape 23">
              <a:extLst>
                <a:ext uri="{FF2B5EF4-FFF2-40B4-BE49-F238E27FC236}">
                  <a16:creationId xmlns:a16="http://schemas.microsoft.com/office/drawing/2014/main" id="{0F921795-0039-A81A-A6A1-AA695F4CF6FB}"/>
                </a:ext>
              </a:extLst>
            </p:cNvPr>
            <p:cNvSpPr/>
            <p:nvPr/>
          </p:nvSpPr>
          <p:spPr>
            <a:xfrm>
              <a:off x="5692712" y="699959"/>
              <a:ext cx="100015" cy="97908"/>
            </a:xfrm>
            <a:custGeom>
              <a:avLst/>
              <a:gdLst>
                <a:gd name="connsiteX0" fmla="*/ 197834 w 397859"/>
                <a:gd name="connsiteY0" fmla="*/ 389477 h 389477"/>
                <a:gd name="connsiteX1" fmla="*/ 119063 w 397859"/>
                <a:gd name="connsiteY1" fmla="*/ 374237 h 389477"/>
                <a:gd name="connsiteX2" fmla="*/ 56197 w 397859"/>
                <a:gd name="connsiteY2" fmla="*/ 332899 h 389477"/>
                <a:gd name="connsiteX3" fmla="*/ 14859 w 397859"/>
                <a:gd name="connsiteY3" fmla="*/ 271463 h 389477"/>
                <a:gd name="connsiteX4" fmla="*/ 0 w 397859"/>
                <a:gd name="connsiteY4" fmla="*/ 196501 h 389477"/>
                <a:gd name="connsiteX5" fmla="*/ 0 w 397859"/>
                <a:gd name="connsiteY5" fmla="*/ 195072 h 389477"/>
                <a:gd name="connsiteX6" fmla="*/ 15145 w 397859"/>
                <a:gd name="connsiteY6" fmla="*/ 119444 h 389477"/>
                <a:gd name="connsiteX7" fmla="*/ 56864 w 397859"/>
                <a:gd name="connsiteY7" fmla="*/ 57626 h 389477"/>
                <a:gd name="connsiteX8" fmla="*/ 119729 w 397859"/>
                <a:gd name="connsiteY8" fmla="*/ 15526 h 389477"/>
                <a:gd name="connsiteX9" fmla="*/ 199263 w 397859"/>
                <a:gd name="connsiteY9" fmla="*/ 0 h 389477"/>
                <a:gd name="connsiteX10" fmla="*/ 278797 w 397859"/>
                <a:gd name="connsiteY10" fmla="*/ 15240 h 389477"/>
                <a:gd name="connsiteX11" fmla="*/ 341662 w 397859"/>
                <a:gd name="connsiteY11" fmla="*/ 56959 h 389477"/>
                <a:gd name="connsiteX12" fmla="*/ 383000 w 397859"/>
                <a:gd name="connsiteY12" fmla="*/ 118396 h 389477"/>
                <a:gd name="connsiteX13" fmla="*/ 397859 w 397859"/>
                <a:gd name="connsiteY13" fmla="*/ 193643 h 389477"/>
                <a:gd name="connsiteX14" fmla="*/ 397859 w 397859"/>
                <a:gd name="connsiteY14" fmla="*/ 195072 h 389477"/>
                <a:gd name="connsiteX15" fmla="*/ 382619 w 397859"/>
                <a:gd name="connsiteY15" fmla="*/ 270034 h 389477"/>
                <a:gd name="connsiteX16" fmla="*/ 340900 w 397859"/>
                <a:gd name="connsiteY16" fmla="*/ 331851 h 389477"/>
                <a:gd name="connsiteX17" fmla="*/ 277654 w 397859"/>
                <a:gd name="connsiteY17" fmla="*/ 373856 h 389477"/>
                <a:gd name="connsiteX18" fmla="*/ 197834 w 397859"/>
                <a:gd name="connsiteY18" fmla="*/ 389382 h 389477"/>
                <a:gd name="connsiteX19" fmla="*/ 199263 w 397859"/>
                <a:gd name="connsiteY19" fmla="*/ 315278 h 389477"/>
                <a:gd name="connsiteX20" fmla="*/ 245935 w 397859"/>
                <a:gd name="connsiteY20" fmla="*/ 305753 h 389477"/>
                <a:gd name="connsiteX21" fmla="*/ 281368 w 397859"/>
                <a:gd name="connsiteY21" fmla="*/ 279940 h 389477"/>
                <a:gd name="connsiteX22" fmla="*/ 303847 w 397859"/>
                <a:gd name="connsiteY22" fmla="*/ 242125 h 389477"/>
                <a:gd name="connsiteX23" fmla="*/ 311563 w 397859"/>
                <a:gd name="connsiteY23" fmla="*/ 196501 h 389477"/>
                <a:gd name="connsiteX24" fmla="*/ 311563 w 397859"/>
                <a:gd name="connsiteY24" fmla="*/ 195072 h 389477"/>
                <a:gd name="connsiteX25" fmla="*/ 303181 w 397859"/>
                <a:gd name="connsiteY25" fmla="*/ 148400 h 389477"/>
                <a:gd name="connsiteX26" fmla="*/ 279654 w 397859"/>
                <a:gd name="connsiteY26" fmla="*/ 110204 h 389477"/>
                <a:gd name="connsiteX27" fmla="*/ 243840 w 397859"/>
                <a:gd name="connsiteY27" fmla="*/ 84392 h 389477"/>
                <a:gd name="connsiteX28" fmla="*/ 197834 w 397859"/>
                <a:gd name="connsiteY28" fmla="*/ 74867 h 389477"/>
                <a:gd name="connsiteX29" fmla="*/ 151829 w 397859"/>
                <a:gd name="connsiteY29" fmla="*/ 84392 h 389477"/>
                <a:gd name="connsiteX30" fmla="*/ 116396 w 397859"/>
                <a:gd name="connsiteY30" fmla="*/ 109823 h 389477"/>
                <a:gd name="connsiteX31" fmla="*/ 93917 w 397859"/>
                <a:gd name="connsiteY31" fmla="*/ 147638 h 389477"/>
                <a:gd name="connsiteX32" fmla="*/ 86201 w 397859"/>
                <a:gd name="connsiteY32" fmla="*/ 193548 h 389477"/>
                <a:gd name="connsiteX33" fmla="*/ 86201 w 397859"/>
                <a:gd name="connsiteY33" fmla="*/ 194977 h 389477"/>
                <a:gd name="connsiteX34" fmla="*/ 94583 w 397859"/>
                <a:gd name="connsiteY34" fmla="*/ 241268 h 389477"/>
                <a:gd name="connsiteX35" fmla="*/ 118110 w 397859"/>
                <a:gd name="connsiteY35" fmla="*/ 279463 h 389477"/>
                <a:gd name="connsiteX36" fmla="*/ 153924 w 397859"/>
                <a:gd name="connsiteY36" fmla="*/ 305562 h 389477"/>
                <a:gd name="connsiteX37" fmla="*/ 199263 w 397859"/>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859" h="389477">
                  <a:moveTo>
                    <a:pt x="197834" y="389477"/>
                  </a:moveTo>
                  <a:cubicBezTo>
                    <a:pt x="169545" y="389477"/>
                    <a:pt x="143351" y="384429"/>
                    <a:pt x="119063" y="374237"/>
                  </a:cubicBezTo>
                  <a:cubicBezTo>
                    <a:pt x="94774" y="364141"/>
                    <a:pt x="73819" y="350330"/>
                    <a:pt x="56197" y="332899"/>
                  </a:cubicBezTo>
                  <a:cubicBezTo>
                    <a:pt x="38481" y="315468"/>
                    <a:pt x="24765" y="294989"/>
                    <a:pt x="14859" y="271463"/>
                  </a:cubicBezTo>
                  <a:cubicBezTo>
                    <a:pt x="4953" y="247936"/>
                    <a:pt x="0" y="222980"/>
                    <a:pt x="0" y="196501"/>
                  </a:cubicBezTo>
                  <a:lnTo>
                    <a:pt x="0" y="195072"/>
                  </a:lnTo>
                  <a:cubicBezTo>
                    <a:pt x="0" y="168212"/>
                    <a:pt x="5048" y="143066"/>
                    <a:pt x="15145" y="119444"/>
                  </a:cubicBezTo>
                  <a:cubicBezTo>
                    <a:pt x="25241" y="95917"/>
                    <a:pt x="39148" y="75248"/>
                    <a:pt x="56864" y="57626"/>
                  </a:cubicBezTo>
                  <a:cubicBezTo>
                    <a:pt x="74581" y="39910"/>
                    <a:pt x="95536" y="25908"/>
                    <a:pt x="119729" y="15526"/>
                  </a:cubicBezTo>
                  <a:cubicBezTo>
                    <a:pt x="144018" y="5144"/>
                    <a:pt x="170497" y="0"/>
                    <a:pt x="199263" y="0"/>
                  </a:cubicBezTo>
                  <a:cubicBezTo>
                    <a:pt x="228029" y="0"/>
                    <a:pt x="254508" y="5048"/>
                    <a:pt x="278797" y="15240"/>
                  </a:cubicBezTo>
                  <a:cubicBezTo>
                    <a:pt x="303085" y="25337"/>
                    <a:pt x="324041" y="39243"/>
                    <a:pt x="341662" y="56959"/>
                  </a:cubicBezTo>
                  <a:cubicBezTo>
                    <a:pt x="359378" y="74676"/>
                    <a:pt x="373094" y="95155"/>
                    <a:pt x="383000" y="118396"/>
                  </a:cubicBezTo>
                  <a:cubicBezTo>
                    <a:pt x="392906" y="141732"/>
                    <a:pt x="397859" y="166783"/>
                    <a:pt x="397859" y="193643"/>
                  </a:cubicBezTo>
                  <a:lnTo>
                    <a:pt x="397859" y="195072"/>
                  </a:lnTo>
                  <a:cubicBezTo>
                    <a:pt x="397859" y="221456"/>
                    <a:pt x="392811" y="246412"/>
                    <a:pt x="382619" y="270034"/>
                  </a:cubicBezTo>
                  <a:cubicBezTo>
                    <a:pt x="372523" y="293561"/>
                    <a:pt x="358616" y="314230"/>
                    <a:pt x="340900" y="331851"/>
                  </a:cubicBezTo>
                  <a:cubicBezTo>
                    <a:pt x="323183" y="349472"/>
                    <a:pt x="302133" y="363569"/>
                    <a:pt x="277654" y="373856"/>
                  </a:cubicBezTo>
                  <a:cubicBezTo>
                    <a:pt x="253175" y="384238"/>
                    <a:pt x="226504" y="389382"/>
                    <a:pt x="197834" y="389382"/>
                  </a:cubicBezTo>
                  <a:close/>
                  <a:moveTo>
                    <a:pt x="199263" y="315278"/>
                  </a:moveTo>
                  <a:cubicBezTo>
                    <a:pt x="216598" y="315278"/>
                    <a:pt x="232124" y="312039"/>
                    <a:pt x="245935" y="305753"/>
                  </a:cubicBezTo>
                  <a:cubicBezTo>
                    <a:pt x="259747" y="299371"/>
                    <a:pt x="271558" y="290798"/>
                    <a:pt x="281368" y="279940"/>
                  </a:cubicBezTo>
                  <a:cubicBezTo>
                    <a:pt x="291179" y="269081"/>
                    <a:pt x="298704" y="256508"/>
                    <a:pt x="303847" y="242125"/>
                  </a:cubicBezTo>
                  <a:cubicBezTo>
                    <a:pt x="308991" y="227743"/>
                    <a:pt x="311563" y="212598"/>
                    <a:pt x="311563" y="196501"/>
                  </a:cubicBezTo>
                  <a:lnTo>
                    <a:pt x="311563" y="195072"/>
                  </a:lnTo>
                  <a:cubicBezTo>
                    <a:pt x="311563" y="178594"/>
                    <a:pt x="308800" y="163068"/>
                    <a:pt x="303181" y="148400"/>
                  </a:cubicBezTo>
                  <a:cubicBezTo>
                    <a:pt x="297561" y="133826"/>
                    <a:pt x="289750" y="121063"/>
                    <a:pt x="279654" y="110204"/>
                  </a:cubicBezTo>
                  <a:cubicBezTo>
                    <a:pt x="269558" y="99346"/>
                    <a:pt x="257651" y="90773"/>
                    <a:pt x="243840" y="84392"/>
                  </a:cubicBezTo>
                  <a:cubicBezTo>
                    <a:pt x="230029" y="78010"/>
                    <a:pt x="214693" y="74867"/>
                    <a:pt x="197834" y="74867"/>
                  </a:cubicBezTo>
                  <a:cubicBezTo>
                    <a:pt x="180975" y="74867"/>
                    <a:pt x="165640" y="78010"/>
                    <a:pt x="151829" y="84392"/>
                  </a:cubicBezTo>
                  <a:cubicBezTo>
                    <a:pt x="138017" y="90773"/>
                    <a:pt x="126206" y="99250"/>
                    <a:pt x="116396" y="109823"/>
                  </a:cubicBezTo>
                  <a:cubicBezTo>
                    <a:pt x="106585" y="120396"/>
                    <a:pt x="99060" y="133064"/>
                    <a:pt x="93917" y="147638"/>
                  </a:cubicBezTo>
                  <a:cubicBezTo>
                    <a:pt x="88773" y="162211"/>
                    <a:pt x="86201" y="177546"/>
                    <a:pt x="86201" y="193548"/>
                  </a:cubicBezTo>
                  <a:lnTo>
                    <a:pt x="86201" y="194977"/>
                  </a:lnTo>
                  <a:cubicBezTo>
                    <a:pt x="86201" y="211455"/>
                    <a:pt x="88963" y="226886"/>
                    <a:pt x="94583" y="241268"/>
                  </a:cubicBezTo>
                  <a:cubicBezTo>
                    <a:pt x="100203" y="255651"/>
                    <a:pt x="108013" y="268319"/>
                    <a:pt x="118110" y="279463"/>
                  </a:cubicBezTo>
                  <a:cubicBezTo>
                    <a:pt x="128206" y="290513"/>
                    <a:pt x="140113" y="299275"/>
                    <a:pt x="153924" y="305562"/>
                  </a:cubicBezTo>
                  <a:cubicBezTo>
                    <a:pt x="167735" y="311944"/>
                    <a:pt x="182880"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25" name="Freeform: Shape 24">
              <a:extLst>
                <a:ext uri="{FF2B5EF4-FFF2-40B4-BE49-F238E27FC236}">
                  <a16:creationId xmlns:a16="http://schemas.microsoft.com/office/drawing/2014/main" id="{E7EC5F12-FFCD-2F57-798C-14138565D3B2}"/>
                </a:ext>
              </a:extLst>
            </p:cNvPr>
            <p:cNvSpPr/>
            <p:nvPr/>
          </p:nvSpPr>
          <p:spPr>
            <a:xfrm>
              <a:off x="5806925"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2 w 296894"/>
                <a:gd name="connsiteY36" fmla="*/ 224980 h 386714"/>
                <a:gd name="connsiteX37" fmla="*/ 296894 w 296894"/>
                <a:gd name="connsiteY37" fmla="*/ 267938 h 386714"/>
                <a:gd name="connsiteX38" fmla="*/ 296894 w 296894"/>
                <a:gd name="connsiteY38" fmla="*/ 269367 h 386714"/>
                <a:gd name="connsiteX39" fmla="*/ 286322 w 296894"/>
                <a:gd name="connsiteY39" fmla="*/ 320897 h 386714"/>
                <a:gd name="connsiteX40" fmla="*/ 256984 w 296894"/>
                <a:gd name="connsiteY40" fmla="*/ 357188 h 386714"/>
                <a:gd name="connsiteX41" fmla="*/ 212789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8" y="298704"/>
                    <a:pt x="100013" y="306514"/>
                  </a:cubicBezTo>
                  <a:cubicBezTo>
                    <a:pt x="120967" y="314325"/>
                    <a:pt x="141161" y="318135"/>
                    <a:pt x="160401" y="318135"/>
                  </a:cubicBezTo>
                  <a:cubicBezTo>
                    <a:pt x="179642" y="318135"/>
                    <a:pt x="192976"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2" y="241078"/>
                    <a:pt x="176498" y="237553"/>
                    <a:pt x="166402" y="234220"/>
                  </a:cubicBezTo>
                  <a:cubicBezTo>
                    <a:pt x="156305" y="230886"/>
                    <a:pt x="145733" y="227647"/>
                    <a:pt x="134969" y="224314"/>
                  </a:cubicBezTo>
                  <a:cubicBezTo>
                    <a:pt x="121253" y="220599"/>
                    <a:pt x="107537" y="216122"/>
                    <a:pt x="93631" y="210884"/>
                  </a:cubicBezTo>
                  <a:cubicBezTo>
                    <a:pt x="79724" y="205740"/>
                    <a:pt x="67246" y="198977"/>
                    <a:pt x="56197" y="190786"/>
                  </a:cubicBezTo>
                  <a:cubicBezTo>
                    <a:pt x="45149" y="182594"/>
                    <a:pt x="36100" y="172307"/>
                    <a:pt x="28956" y="160115"/>
                  </a:cubicBezTo>
                  <a:cubicBezTo>
                    <a:pt x="21908"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5"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7" y="156210"/>
                    <a:pt x="180975" y="159448"/>
                  </a:cubicBezTo>
                  <a:cubicBezTo>
                    <a:pt x="194596" y="163639"/>
                    <a:pt x="208312" y="168592"/>
                    <a:pt x="222028" y="174212"/>
                  </a:cubicBezTo>
                  <a:cubicBezTo>
                    <a:pt x="235649" y="179832"/>
                    <a:pt x="248031" y="186785"/>
                    <a:pt x="259080" y="194977"/>
                  </a:cubicBezTo>
                  <a:cubicBezTo>
                    <a:pt x="270129" y="203168"/>
                    <a:pt x="279273" y="213169"/>
                    <a:pt x="286322" y="224980"/>
                  </a:cubicBezTo>
                  <a:cubicBezTo>
                    <a:pt x="293370" y="236696"/>
                    <a:pt x="296894" y="251079"/>
                    <a:pt x="296894" y="267938"/>
                  </a:cubicBezTo>
                  <a:lnTo>
                    <a:pt x="296894" y="269367"/>
                  </a:lnTo>
                  <a:cubicBezTo>
                    <a:pt x="296894" y="289084"/>
                    <a:pt x="293370" y="306229"/>
                    <a:pt x="286322" y="320897"/>
                  </a:cubicBezTo>
                  <a:cubicBezTo>
                    <a:pt x="279273" y="335470"/>
                    <a:pt x="269462" y="347567"/>
                    <a:pt x="256984" y="357188"/>
                  </a:cubicBezTo>
                  <a:cubicBezTo>
                    <a:pt x="244507" y="366808"/>
                    <a:pt x="229743" y="374142"/>
                    <a:pt x="212789"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6" name="Freeform: Shape 25">
              <a:extLst>
                <a:ext uri="{FF2B5EF4-FFF2-40B4-BE49-F238E27FC236}">
                  <a16:creationId xmlns:a16="http://schemas.microsoft.com/office/drawing/2014/main" id="{B38074B6-6CED-E5B4-2133-18C76EFF3D4E}"/>
                </a:ext>
              </a:extLst>
            </p:cNvPr>
            <p:cNvSpPr/>
            <p:nvPr/>
          </p:nvSpPr>
          <p:spPr>
            <a:xfrm>
              <a:off x="589573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6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160" y="318135"/>
                    <a:pt x="160401" y="318135"/>
                  </a:cubicBezTo>
                  <a:cubicBezTo>
                    <a:pt x="179641" y="318135"/>
                    <a:pt x="192976"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4"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792"/>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7" name="Freeform: Shape 26">
              <a:extLst>
                <a:ext uri="{FF2B5EF4-FFF2-40B4-BE49-F238E27FC236}">
                  <a16:creationId xmlns:a16="http://schemas.microsoft.com/office/drawing/2014/main" id="{740683A5-DD86-D11E-0157-93310ACAE783}"/>
                </a:ext>
              </a:extLst>
            </p:cNvPr>
            <p:cNvSpPr/>
            <p:nvPr/>
          </p:nvSpPr>
          <p:spPr>
            <a:xfrm>
              <a:off x="5985812" y="700558"/>
              <a:ext cx="85097" cy="97141"/>
            </a:xfrm>
            <a:custGeom>
              <a:avLst/>
              <a:gdLst>
                <a:gd name="connsiteX0" fmla="*/ 253651 w 338518"/>
                <a:gd name="connsiteY0" fmla="*/ 378619 h 386429"/>
                <a:gd name="connsiteX1" fmla="*/ 253651 w 338518"/>
                <a:gd name="connsiteY1" fmla="*/ 332708 h 386429"/>
                <a:gd name="connsiteX2" fmla="*/ 204883 w 338518"/>
                <a:gd name="connsiteY2" fmla="*/ 370904 h 386429"/>
                <a:gd name="connsiteX3" fmla="*/ 132779 w 338518"/>
                <a:gd name="connsiteY3" fmla="*/ 386429 h 386429"/>
                <a:gd name="connsiteX4" fmla="*/ 81915 w 338518"/>
                <a:gd name="connsiteY4" fmla="*/ 379000 h 386429"/>
                <a:gd name="connsiteX5" fmla="*/ 39910 w 338518"/>
                <a:gd name="connsiteY5" fmla="*/ 357092 h 386429"/>
                <a:gd name="connsiteX6" fmla="*/ 10954 w 338518"/>
                <a:gd name="connsiteY6" fmla="*/ 321088 h 386429"/>
                <a:gd name="connsiteX7" fmla="*/ 0 w 338518"/>
                <a:gd name="connsiteY7" fmla="*/ 271272 h 386429"/>
                <a:gd name="connsiteX8" fmla="*/ 0 w 338518"/>
                <a:gd name="connsiteY8" fmla="*/ 269843 h 386429"/>
                <a:gd name="connsiteX9" fmla="*/ 11335 w 338518"/>
                <a:gd name="connsiteY9" fmla="*/ 215741 h 386429"/>
                <a:gd name="connsiteX10" fmla="*/ 42767 w 338518"/>
                <a:gd name="connsiteY10" fmla="*/ 177546 h 386429"/>
                <a:gd name="connsiteX11" fmla="*/ 90773 w 338518"/>
                <a:gd name="connsiteY11" fmla="*/ 154972 h 386429"/>
                <a:gd name="connsiteX12" fmla="*/ 151162 w 338518"/>
                <a:gd name="connsiteY12" fmla="*/ 147542 h 386429"/>
                <a:gd name="connsiteX13" fmla="*/ 208788 w 338518"/>
                <a:gd name="connsiteY13" fmla="*/ 151829 h 386429"/>
                <a:gd name="connsiteX14" fmla="*/ 254413 w 338518"/>
                <a:gd name="connsiteY14" fmla="*/ 163163 h 386429"/>
                <a:gd name="connsiteX15" fmla="*/ 254413 w 338518"/>
                <a:gd name="connsiteY15" fmla="*/ 156115 h 386429"/>
                <a:gd name="connsiteX16" fmla="*/ 230696 w 338518"/>
                <a:gd name="connsiteY16" fmla="*/ 96774 h 386429"/>
                <a:gd name="connsiteX17" fmla="*/ 162496 w 338518"/>
                <a:gd name="connsiteY17" fmla="*/ 76295 h 386429"/>
                <a:gd name="connsiteX18" fmla="*/ 106013 w 338518"/>
                <a:gd name="connsiteY18" fmla="*/ 82677 h 386429"/>
                <a:gd name="connsiteX19" fmla="*/ 55816 w 338518"/>
                <a:gd name="connsiteY19" fmla="*/ 99632 h 386429"/>
                <a:gd name="connsiteX20" fmla="*/ 32480 w 338518"/>
                <a:gd name="connsiteY20" fmla="*/ 31052 h 386429"/>
                <a:gd name="connsiteX21" fmla="*/ 96107 w 338518"/>
                <a:gd name="connsiteY21" fmla="*/ 8477 h 386429"/>
                <a:gd name="connsiteX22" fmla="*/ 174593 w 338518"/>
                <a:gd name="connsiteY22" fmla="*/ 0 h 386429"/>
                <a:gd name="connsiteX23" fmla="*/ 298228 w 338518"/>
                <a:gd name="connsiteY23" fmla="*/ 41338 h 386429"/>
                <a:gd name="connsiteX24" fmla="*/ 338519 w 338518"/>
                <a:gd name="connsiteY24" fmla="*/ 157544 h 386429"/>
                <a:gd name="connsiteX25" fmla="*/ 338519 w 338518"/>
                <a:gd name="connsiteY25" fmla="*/ 378714 h 386429"/>
                <a:gd name="connsiteX26" fmla="*/ 253746 w 338518"/>
                <a:gd name="connsiteY26" fmla="*/ 378714 h 386429"/>
                <a:gd name="connsiteX27" fmla="*/ 255746 w 338518"/>
                <a:gd name="connsiteY27" fmla="*/ 222409 h 386429"/>
                <a:gd name="connsiteX28" fmla="*/ 217265 w 338518"/>
                <a:gd name="connsiteY28" fmla="*/ 211836 h 386429"/>
                <a:gd name="connsiteX29" fmla="*/ 170307 w 338518"/>
                <a:gd name="connsiteY29" fmla="*/ 207550 h 386429"/>
                <a:gd name="connsiteX30" fmla="*/ 107442 w 338518"/>
                <a:gd name="connsiteY30" fmla="*/ 223075 h 386429"/>
                <a:gd name="connsiteX31" fmla="*/ 84868 w 338518"/>
                <a:gd name="connsiteY31" fmla="*/ 265462 h 386429"/>
                <a:gd name="connsiteX32" fmla="*/ 84868 w 338518"/>
                <a:gd name="connsiteY32" fmla="*/ 266891 h 386429"/>
                <a:gd name="connsiteX33" fmla="*/ 105728 w 338518"/>
                <a:gd name="connsiteY33" fmla="*/ 307848 h 386429"/>
                <a:gd name="connsiteX34" fmla="*/ 156972 w 338518"/>
                <a:gd name="connsiteY34" fmla="*/ 321945 h 386429"/>
                <a:gd name="connsiteX35" fmla="*/ 196215 w 338518"/>
                <a:gd name="connsiteY35" fmla="*/ 316325 h 386429"/>
                <a:gd name="connsiteX36" fmla="*/ 227647 w 338518"/>
                <a:gd name="connsiteY36" fmla="*/ 300419 h 386429"/>
                <a:gd name="connsiteX37" fmla="*/ 248507 w 338518"/>
                <a:gd name="connsiteY37" fmla="*/ 275654 h 386429"/>
                <a:gd name="connsiteX38" fmla="*/ 255937 w 338518"/>
                <a:gd name="connsiteY38" fmla="*/ 243459 h 386429"/>
                <a:gd name="connsiteX39" fmla="*/ 255937 w 338518"/>
                <a:gd name="connsiteY39" fmla="*/ 222218 h 3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8518" h="386429">
                  <a:moveTo>
                    <a:pt x="253651" y="378619"/>
                  </a:moveTo>
                  <a:lnTo>
                    <a:pt x="253651" y="332708"/>
                  </a:lnTo>
                  <a:cubicBezTo>
                    <a:pt x="240887" y="347758"/>
                    <a:pt x="224695" y="360521"/>
                    <a:pt x="204883" y="370904"/>
                  </a:cubicBezTo>
                  <a:cubicBezTo>
                    <a:pt x="185071" y="381286"/>
                    <a:pt x="161068" y="386429"/>
                    <a:pt x="132779" y="386429"/>
                  </a:cubicBezTo>
                  <a:cubicBezTo>
                    <a:pt x="114871" y="386429"/>
                    <a:pt x="97917" y="383953"/>
                    <a:pt x="81915" y="379000"/>
                  </a:cubicBezTo>
                  <a:cubicBezTo>
                    <a:pt x="65913" y="374047"/>
                    <a:pt x="51911" y="366713"/>
                    <a:pt x="39910" y="357092"/>
                  </a:cubicBezTo>
                  <a:cubicBezTo>
                    <a:pt x="27908" y="347472"/>
                    <a:pt x="18193" y="335471"/>
                    <a:pt x="10954" y="321088"/>
                  </a:cubicBezTo>
                  <a:cubicBezTo>
                    <a:pt x="3620" y="306705"/>
                    <a:pt x="0" y="290132"/>
                    <a:pt x="0" y="271272"/>
                  </a:cubicBezTo>
                  <a:lnTo>
                    <a:pt x="0" y="269843"/>
                  </a:lnTo>
                  <a:cubicBezTo>
                    <a:pt x="0" y="249079"/>
                    <a:pt x="3810" y="231077"/>
                    <a:pt x="11335" y="215741"/>
                  </a:cubicBezTo>
                  <a:cubicBezTo>
                    <a:pt x="18859" y="200406"/>
                    <a:pt x="29337" y="187738"/>
                    <a:pt x="42767" y="177546"/>
                  </a:cubicBezTo>
                  <a:cubicBezTo>
                    <a:pt x="56197" y="167450"/>
                    <a:pt x="72199" y="159925"/>
                    <a:pt x="90773" y="154972"/>
                  </a:cubicBezTo>
                  <a:cubicBezTo>
                    <a:pt x="109347" y="150019"/>
                    <a:pt x="129540" y="147542"/>
                    <a:pt x="151162" y="147542"/>
                  </a:cubicBezTo>
                  <a:cubicBezTo>
                    <a:pt x="172783" y="147542"/>
                    <a:pt x="192976" y="148971"/>
                    <a:pt x="208788" y="151829"/>
                  </a:cubicBezTo>
                  <a:cubicBezTo>
                    <a:pt x="224599" y="154686"/>
                    <a:pt x="239744" y="158401"/>
                    <a:pt x="254413" y="163163"/>
                  </a:cubicBezTo>
                  <a:lnTo>
                    <a:pt x="254413" y="156115"/>
                  </a:lnTo>
                  <a:cubicBezTo>
                    <a:pt x="254413" y="130207"/>
                    <a:pt x="246507" y="110395"/>
                    <a:pt x="230696" y="96774"/>
                  </a:cubicBezTo>
                  <a:cubicBezTo>
                    <a:pt x="214884" y="83153"/>
                    <a:pt x="192214" y="76295"/>
                    <a:pt x="162496" y="76295"/>
                  </a:cubicBezTo>
                  <a:cubicBezTo>
                    <a:pt x="141351" y="76295"/>
                    <a:pt x="122491" y="78391"/>
                    <a:pt x="106013" y="82677"/>
                  </a:cubicBezTo>
                  <a:cubicBezTo>
                    <a:pt x="89535" y="86963"/>
                    <a:pt x="72771" y="92583"/>
                    <a:pt x="55816" y="99632"/>
                  </a:cubicBezTo>
                  <a:lnTo>
                    <a:pt x="32480" y="31052"/>
                  </a:lnTo>
                  <a:cubicBezTo>
                    <a:pt x="53149" y="21622"/>
                    <a:pt x="74390" y="14097"/>
                    <a:pt x="96107" y="8477"/>
                  </a:cubicBezTo>
                  <a:cubicBezTo>
                    <a:pt x="117729" y="2858"/>
                    <a:pt x="143923" y="0"/>
                    <a:pt x="174593" y="0"/>
                  </a:cubicBezTo>
                  <a:cubicBezTo>
                    <a:pt x="230124" y="0"/>
                    <a:pt x="271367" y="13811"/>
                    <a:pt x="298228" y="41338"/>
                  </a:cubicBezTo>
                  <a:cubicBezTo>
                    <a:pt x="325088" y="68866"/>
                    <a:pt x="338519" y="107633"/>
                    <a:pt x="338519" y="157544"/>
                  </a:cubicBezTo>
                  <a:lnTo>
                    <a:pt x="338519" y="378714"/>
                  </a:lnTo>
                  <a:lnTo>
                    <a:pt x="253746" y="378714"/>
                  </a:lnTo>
                  <a:close/>
                  <a:moveTo>
                    <a:pt x="255746" y="222409"/>
                  </a:moveTo>
                  <a:cubicBezTo>
                    <a:pt x="244888" y="218123"/>
                    <a:pt x="232029" y="214598"/>
                    <a:pt x="217265" y="211836"/>
                  </a:cubicBezTo>
                  <a:cubicBezTo>
                    <a:pt x="202406" y="208979"/>
                    <a:pt x="186785" y="207550"/>
                    <a:pt x="170307" y="207550"/>
                  </a:cubicBezTo>
                  <a:cubicBezTo>
                    <a:pt x="143446" y="207550"/>
                    <a:pt x="122491" y="212693"/>
                    <a:pt x="107442" y="223075"/>
                  </a:cubicBezTo>
                  <a:cubicBezTo>
                    <a:pt x="92392" y="233458"/>
                    <a:pt x="84868" y="247555"/>
                    <a:pt x="84868" y="265462"/>
                  </a:cubicBezTo>
                  <a:lnTo>
                    <a:pt x="84868" y="266891"/>
                  </a:lnTo>
                  <a:cubicBezTo>
                    <a:pt x="84868" y="284798"/>
                    <a:pt x="91821" y="298418"/>
                    <a:pt x="105728" y="307848"/>
                  </a:cubicBezTo>
                  <a:cubicBezTo>
                    <a:pt x="119634" y="317278"/>
                    <a:pt x="136684" y="321945"/>
                    <a:pt x="156972" y="321945"/>
                  </a:cubicBezTo>
                  <a:cubicBezTo>
                    <a:pt x="171069" y="321945"/>
                    <a:pt x="184213" y="320040"/>
                    <a:pt x="196215" y="316325"/>
                  </a:cubicBezTo>
                  <a:cubicBezTo>
                    <a:pt x="208216" y="312515"/>
                    <a:pt x="218694" y="307277"/>
                    <a:pt x="227647" y="300419"/>
                  </a:cubicBezTo>
                  <a:cubicBezTo>
                    <a:pt x="236601" y="293561"/>
                    <a:pt x="243554" y="285369"/>
                    <a:pt x="248507" y="275654"/>
                  </a:cubicBezTo>
                  <a:cubicBezTo>
                    <a:pt x="253460" y="266033"/>
                    <a:pt x="255937" y="255270"/>
                    <a:pt x="255937" y="243459"/>
                  </a:cubicBezTo>
                  <a:lnTo>
                    <a:pt x="255937" y="222218"/>
                  </a:lnTo>
                  <a:close/>
                </a:path>
              </a:pathLst>
            </a:custGeom>
            <a:solidFill>
              <a:srgbClr val="44505E"/>
            </a:solidFill>
            <a:ln w="9525" cap="flat">
              <a:noFill/>
              <a:prstDash val="solid"/>
              <a:miter/>
            </a:ln>
          </p:spPr>
          <p:txBody>
            <a:bodyPr rtlCol="0" anchor="ctr"/>
            <a:lstStyle/>
            <a:p>
              <a:endParaRPr lang="pt-BR" noProof="0"/>
            </a:p>
          </p:txBody>
        </p:sp>
        <p:sp>
          <p:nvSpPr>
            <p:cNvPr id="28" name="Freeform: Shape 27">
              <a:extLst>
                <a:ext uri="{FF2B5EF4-FFF2-40B4-BE49-F238E27FC236}">
                  <a16:creationId xmlns:a16="http://schemas.microsoft.com/office/drawing/2014/main" id="{81B7CFEA-7221-1B55-94EB-6DAE37802285}"/>
                </a:ext>
              </a:extLst>
            </p:cNvPr>
            <p:cNvSpPr/>
            <p:nvPr/>
          </p:nvSpPr>
          <p:spPr>
            <a:xfrm>
              <a:off x="6088843" y="700318"/>
              <a:ext cx="74610" cy="97213"/>
            </a:xfrm>
            <a:custGeom>
              <a:avLst/>
              <a:gdLst>
                <a:gd name="connsiteX0" fmla="*/ 158305 w 296799"/>
                <a:gd name="connsiteY0" fmla="*/ 386715 h 386714"/>
                <a:gd name="connsiteX1" fmla="*/ 76676 w 296799"/>
                <a:gd name="connsiteY1" fmla="*/ 372427 h 386714"/>
                <a:gd name="connsiteX2" fmla="*/ 0 w 296799"/>
                <a:gd name="connsiteY2" fmla="*/ 330327 h 386714"/>
                <a:gd name="connsiteX3" fmla="*/ 38195 w 296799"/>
                <a:gd name="connsiteY3" fmla="*/ 272224 h 386714"/>
                <a:gd name="connsiteX4" fmla="*/ 100013 w 296799"/>
                <a:gd name="connsiteY4" fmla="*/ 306514 h 386714"/>
                <a:gd name="connsiteX5" fmla="*/ 160401 w 296799"/>
                <a:gd name="connsiteY5" fmla="*/ 318135 h 386714"/>
                <a:gd name="connsiteX6" fmla="*/ 203168 w 296799"/>
                <a:gd name="connsiteY6" fmla="*/ 307181 h 386714"/>
                <a:gd name="connsiteX7" fmla="*/ 218408 w 296799"/>
                <a:gd name="connsiteY7" fmla="*/ 277939 h 386714"/>
                <a:gd name="connsiteX8" fmla="*/ 218408 w 296799"/>
                <a:gd name="connsiteY8" fmla="*/ 276511 h 386714"/>
                <a:gd name="connsiteX9" fmla="*/ 211646 w 296799"/>
                <a:gd name="connsiteY9" fmla="*/ 258223 h 386714"/>
                <a:gd name="connsiteX10" fmla="*/ 193262 w 296799"/>
                <a:gd name="connsiteY10" fmla="*/ 244792 h 386714"/>
                <a:gd name="connsiteX11" fmla="*/ 166402 w 296799"/>
                <a:gd name="connsiteY11" fmla="*/ 234220 h 386714"/>
                <a:gd name="connsiteX12" fmla="*/ 134969 w 296799"/>
                <a:gd name="connsiteY12" fmla="*/ 224314 h 386714"/>
                <a:gd name="connsiteX13" fmla="*/ 93631 w 296799"/>
                <a:gd name="connsiteY13" fmla="*/ 210884 h 386714"/>
                <a:gd name="connsiteX14" fmla="*/ 56197 w 296799"/>
                <a:gd name="connsiteY14" fmla="*/ 190786 h 386714"/>
                <a:gd name="connsiteX15" fmla="*/ 28956 w 296799"/>
                <a:gd name="connsiteY15" fmla="*/ 160115 h 386714"/>
                <a:gd name="connsiteX16" fmla="*/ 18383 w 296799"/>
                <a:gd name="connsiteY16" fmla="*/ 114967 h 386714"/>
                <a:gd name="connsiteX17" fmla="*/ 18383 w 296799"/>
                <a:gd name="connsiteY17" fmla="*/ 113538 h 386714"/>
                <a:gd name="connsiteX18" fmla="*/ 28575 w 296799"/>
                <a:gd name="connsiteY18" fmla="*/ 66294 h 386714"/>
                <a:gd name="connsiteX19" fmla="*/ 56864 w 296799"/>
                <a:gd name="connsiteY19" fmla="*/ 30385 h 386714"/>
                <a:gd name="connsiteX20" fmla="*/ 99250 w 296799"/>
                <a:gd name="connsiteY20" fmla="*/ 7810 h 386714"/>
                <a:gd name="connsiteX21" fmla="*/ 151162 w 296799"/>
                <a:gd name="connsiteY21" fmla="*/ 0 h 386714"/>
                <a:gd name="connsiteX22" fmla="*/ 222504 w 296799"/>
                <a:gd name="connsiteY22" fmla="*/ 11430 h 386714"/>
                <a:gd name="connsiteX23" fmla="*/ 288227 w 296799"/>
                <a:gd name="connsiteY23" fmla="*/ 42863 h 386714"/>
                <a:gd name="connsiteX24" fmla="*/ 254317 w 296799"/>
                <a:gd name="connsiteY24" fmla="*/ 103918 h 386714"/>
                <a:gd name="connsiteX25" fmla="*/ 199930 w 296799"/>
                <a:gd name="connsiteY25" fmla="*/ 78105 h 386714"/>
                <a:gd name="connsiteX26" fmla="*/ 149066 w 296799"/>
                <a:gd name="connsiteY26" fmla="*/ 68580 h 386714"/>
                <a:gd name="connsiteX27" fmla="*/ 110585 w 296799"/>
                <a:gd name="connsiteY27" fmla="*/ 79153 h 386714"/>
                <a:gd name="connsiteX28" fmla="*/ 96774 w 296799"/>
                <a:gd name="connsiteY28" fmla="*/ 105918 h 386714"/>
                <a:gd name="connsiteX29" fmla="*/ 96774 w 296799"/>
                <a:gd name="connsiteY29" fmla="*/ 107347 h 386714"/>
                <a:gd name="connsiteX30" fmla="*/ 103822 w 296799"/>
                <a:gd name="connsiteY30" fmla="*/ 124587 h 386714"/>
                <a:gd name="connsiteX31" fmla="*/ 122587 w 296799"/>
                <a:gd name="connsiteY31" fmla="*/ 138017 h 386714"/>
                <a:gd name="connsiteX32" fmla="*/ 149447 w 296799"/>
                <a:gd name="connsiteY32" fmla="*/ 149257 h 386714"/>
                <a:gd name="connsiteX33" fmla="*/ 180880 w 296799"/>
                <a:gd name="connsiteY33" fmla="*/ 159448 h 386714"/>
                <a:gd name="connsiteX34" fmla="*/ 221837 w 296799"/>
                <a:gd name="connsiteY34" fmla="*/ 174212 h 386714"/>
                <a:gd name="connsiteX35" fmla="*/ 258985 w 296799"/>
                <a:gd name="connsiteY35" fmla="*/ 194977 h 386714"/>
                <a:gd name="connsiteX36" fmla="*/ 286226 w 296799"/>
                <a:gd name="connsiteY36" fmla="*/ 224980 h 386714"/>
                <a:gd name="connsiteX37" fmla="*/ 296799 w 296799"/>
                <a:gd name="connsiteY37" fmla="*/ 267938 h 386714"/>
                <a:gd name="connsiteX38" fmla="*/ 296799 w 296799"/>
                <a:gd name="connsiteY38" fmla="*/ 269367 h 386714"/>
                <a:gd name="connsiteX39" fmla="*/ 286226 w 296799"/>
                <a:gd name="connsiteY39" fmla="*/ 320897 h 386714"/>
                <a:gd name="connsiteX40" fmla="*/ 256889 w 296799"/>
                <a:gd name="connsiteY40" fmla="*/ 357188 h 386714"/>
                <a:gd name="connsiteX41" fmla="*/ 212693 w 296799"/>
                <a:gd name="connsiteY41" fmla="*/ 379095 h 386714"/>
                <a:gd name="connsiteX42" fmla="*/ 158305 w 296799"/>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799"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065" y="318135"/>
                    <a:pt x="160401" y="318135"/>
                  </a:cubicBezTo>
                  <a:cubicBezTo>
                    <a:pt x="179737" y="318135"/>
                    <a:pt x="193072"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828" y="227647"/>
                    <a:pt x="134969" y="224314"/>
                  </a:cubicBezTo>
                  <a:cubicBezTo>
                    <a:pt x="121348" y="220599"/>
                    <a:pt x="107537" y="216122"/>
                    <a:pt x="93631" y="210884"/>
                  </a:cubicBezTo>
                  <a:cubicBezTo>
                    <a:pt x="79724" y="205740"/>
                    <a:pt x="67246" y="198977"/>
                    <a:pt x="56197" y="190786"/>
                  </a:cubicBezTo>
                  <a:cubicBezTo>
                    <a:pt x="45148" y="182594"/>
                    <a:pt x="36004"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874" y="0"/>
                    <a:pt x="151162" y="0"/>
                  </a:cubicBezTo>
                  <a:cubicBezTo>
                    <a:pt x="174688" y="0"/>
                    <a:pt x="198501" y="3810"/>
                    <a:pt x="222504" y="11430"/>
                  </a:cubicBezTo>
                  <a:cubicBezTo>
                    <a:pt x="246507" y="19050"/>
                    <a:pt x="268414" y="29527"/>
                    <a:pt x="288227" y="42863"/>
                  </a:cubicBezTo>
                  <a:lnTo>
                    <a:pt x="254317"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774" y="95155"/>
                    <a:pt x="96774" y="105918"/>
                  </a:cubicBezTo>
                  <a:lnTo>
                    <a:pt x="96774" y="107347"/>
                  </a:lnTo>
                  <a:cubicBezTo>
                    <a:pt x="96774" y="113919"/>
                    <a:pt x="99155" y="119634"/>
                    <a:pt x="103822" y="124587"/>
                  </a:cubicBezTo>
                  <a:cubicBezTo>
                    <a:pt x="108490" y="129540"/>
                    <a:pt x="114776" y="134017"/>
                    <a:pt x="122587" y="138017"/>
                  </a:cubicBezTo>
                  <a:cubicBezTo>
                    <a:pt x="130397" y="142018"/>
                    <a:pt x="139351" y="145732"/>
                    <a:pt x="149447" y="149257"/>
                  </a:cubicBezTo>
                  <a:cubicBezTo>
                    <a:pt x="159544" y="152781"/>
                    <a:pt x="170021" y="156210"/>
                    <a:pt x="180880" y="159448"/>
                  </a:cubicBezTo>
                  <a:cubicBezTo>
                    <a:pt x="194500" y="163639"/>
                    <a:pt x="208216" y="168592"/>
                    <a:pt x="221837" y="174212"/>
                  </a:cubicBezTo>
                  <a:cubicBezTo>
                    <a:pt x="235458" y="179832"/>
                    <a:pt x="247840" y="186785"/>
                    <a:pt x="258985" y="194977"/>
                  </a:cubicBezTo>
                  <a:cubicBezTo>
                    <a:pt x="270034" y="203168"/>
                    <a:pt x="279178" y="213169"/>
                    <a:pt x="286226" y="224980"/>
                  </a:cubicBezTo>
                  <a:cubicBezTo>
                    <a:pt x="293275" y="236696"/>
                    <a:pt x="296799" y="251079"/>
                    <a:pt x="296799" y="267938"/>
                  </a:cubicBezTo>
                  <a:lnTo>
                    <a:pt x="296799" y="269367"/>
                  </a:lnTo>
                  <a:cubicBezTo>
                    <a:pt x="296799" y="289084"/>
                    <a:pt x="293275" y="306229"/>
                    <a:pt x="286226" y="320897"/>
                  </a:cubicBezTo>
                  <a:cubicBezTo>
                    <a:pt x="279178" y="335470"/>
                    <a:pt x="269367" y="347567"/>
                    <a:pt x="256889" y="357188"/>
                  </a:cubicBezTo>
                  <a:cubicBezTo>
                    <a:pt x="244412" y="366808"/>
                    <a:pt x="229648" y="374142"/>
                    <a:pt x="212693" y="379095"/>
                  </a:cubicBezTo>
                  <a:cubicBezTo>
                    <a:pt x="195739" y="384048"/>
                    <a:pt x="177641" y="386524"/>
                    <a:pt x="158305" y="386524"/>
                  </a:cubicBezTo>
                  <a:close/>
                </a:path>
              </a:pathLst>
            </a:custGeom>
            <a:solidFill>
              <a:srgbClr val="44505E"/>
            </a:solidFill>
            <a:ln w="9525" cap="flat">
              <a:noFill/>
              <a:prstDash val="solid"/>
              <a:miter/>
            </a:ln>
          </p:spPr>
          <p:txBody>
            <a:bodyPr rtlCol="0" anchor="ctr"/>
            <a:lstStyle/>
            <a:p>
              <a:endParaRPr lang="pt-BR" noProof="0"/>
            </a:p>
          </p:txBody>
        </p:sp>
        <p:sp>
          <p:nvSpPr>
            <p:cNvPr id="29" name="Freeform: Shape 28">
              <a:extLst>
                <a:ext uri="{FF2B5EF4-FFF2-40B4-BE49-F238E27FC236}">
                  <a16:creationId xmlns:a16="http://schemas.microsoft.com/office/drawing/2014/main" id="{21EF55C0-DAFE-EC95-2C0B-45E468D725A4}"/>
                </a:ext>
              </a:extLst>
            </p:cNvPr>
            <p:cNvSpPr/>
            <p:nvPr/>
          </p:nvSpPr>
          <p:spPr>
            <a:xfrm>
              <a:off x="6238590"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4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7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2 w 568166"/>
                <a:gd name="connsiteY21" fmla="*/ 381000 h 381000"/>
                <a:gd name="connsiteX22" fmla="*/ 240982 w 568166"/>
                <a:gd name="connsiteY22" fmla="*/ 168783 h 381000"/>
                <a:gd name="connsiteX23" fmla="*/ 221266 w 568166"/>
                <a:gd name="connsiteY23" fmla="*/ 101822 h 381000"/>
                <a:gd name="connsiteX24" fmla="*/ 165640 w 568166"/>
                <a:gd name="connsiteY24" fmla="*/ 78581 h 381000"/>
                <a:gd name="connsiteX25" fmla="*/ 108013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69" y="48196"/>
                    <a:pt x="105918" y="40576"/>
                  </a:cubicBezTo>
                  <a:cubicBezTo>
                    <a:pt x="112966" y="32956"/>
                    <a:pt x="121063" y="26099"/>
                    <a:pt x="130207" y="19907"/>
                  </a:cubicBezTo>
                  <a:cubicBezTo>
                    <a:pt x="139351" y="13716"/>
                    <a:pt x="149638" y="8858"/>
                    <a:pt x="161163" y="5334"/>
                  </a:cubicBezTo>
                  <a:cubicBezTo>
                    <a:pt x="172688" y="1714"/>
                    <a:pt x="185452" y="0"/>
                    <a:pt x="199549" y="0"/>
                  </a:cubicBezTo>
                  <a:cubicBezTo>
                    <a:pt x="226314" y="0"/>
                    <a:pt x="248983" y="6096"/>
                    <a:pt x="267557" y="18193"/>
                  </a:cubicBezTo>
                  <a:cubicBezTo>
                    <a:pt x="286131" y="30289"/>
                    <a:pt x="300323" y="46387"/>
                    <a:pt x="310134" y="66294"/>
                  </a:cubicBezTo>
                  <a:cubicBezTo>
                    <a:pt x="325279" y="46387"/>
                    <a:pt x="343090" y="30289"/>
                    <a:pt x="363664" y="18193"/>
                  </a:cubicBezTo>
                  <a:cubicBezTo>
                    <a:pt x="384238" y="6096"/>
                    <a:pt x="408718" y="0"/>
                    <a:pt x="437007" y="0"/>
                  </a:cubicBezTo>
                  <a:cubicBezTo>
                    <a:pt x="478155"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7" y="78486"/>
                  </a:cubicBezTo>
                  <a:cubicBezTo>
                    <a:pt x="382809" y="78486"/>
                    <a:pt x="364141" y="86392"/>
                    <a:pt x="349377" y="102108"/>
                  </a:cubicBezTo>
                  <a:cubicBezTo>
                    <a:pt x="334613" y="117824"/>
                    <a:pt x="327184" y="140779"/>
                    <a:pt x="327184" y="170879"/>
                  </a:cubicBezTo>
                  <a:lnTo>
                    <a:pt x="327184" y="381000"/>
                  </a:lnTo>
                  <a:lnTo>
                    <a:pt x="240982" y="381000"/>
                  </a:lnTo>
                  <a:lnTo>
                    <a:pt x="240982" y="168783"/>
                  </a:lnTo>
                  <a:cubicBezTo>
                    <a:pt x="240982" y="139637"/>
                    <a:pt x="234410" y="117348"/>
                    <a:pt x="221266" y="101822"/>
                  </a:cubicBezTo>
                  <a:cubicBezTo>
                    <a:pt x="208121" y="86296"/>
                    <a:pt x="189547" y="78581"/>
                    <a:pt x="165640" y="78581"/>
                  </a:cubicBezTo>
                  <a:cubicBezTo>
                    <a:pt x="141732" y="78581"/>
                    <a:pt x="122491" y="86773"/>
                    <a:pt x="108013"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30" name="Freeform: Shape 29">
              <a:extLst>
                <a:ext uri="{FF2B5EF4-FFF2-40B4-BE49-F238E27FC236}">
                  <a16:creationId xmlns:a16="http://schemas.microsoft.com/office/drawing/2014/main" id="{D0E4A22B-9532-1C74-B976-46B2813F5236}"/>
                </a:ext>
              </a:extLst>
            </p:cNvPr>
            <p:cNvSpPr/>
            <p:nvPr/>
          </p:nvSpPr>
          <p:spPr>
            <a:xfrm>
              <a:off x="6400979" y="664258"/>
              <a:ext cx="85097" cy="133441"/>
            </a:xfrm>
            <a:custGeom>
              <a:avLst/>
              <a:gdLst>
                <a:gd name="connsiteX0" fmla="*/ 253651 w 338518"/>
                <a:gd name="connsiteY0" fmla="*/ 523018 h 530828"/>
                <a:gd name="connsiteX1" fmla="*/ 253651 w 338518"/>
                <a:gd name="connsiteY1" fmla="*/ 477107 h 530828"/>
                <a:gd name="connsiteX2" fmla="*/ 204883 w 338518"/>
                <a:gd name="connsiteY2" fmla="*/ 515303 h 530828"/>
                <a:gd name="connsiteX3" fmla="*/ 132779 w 338518"/>
                <a:gd name="connsiteY3" fmla="*/ 530828 h 530828"/>
                <a:gd name="connsiteX4" fmla="*/ 81915 w 338518"/>
                <a:gd name="connsiteY4" fmla="*/ 523399 h 530828"/>
                <a:gd name="connsiteX5" fmla="*/ 39910 w 338518"/>
                <a:gd name="connsiteY5" fmla="*/ 501491 h 530828"/>
                <a:gd name="connsiteX6" fmla="*/ 10954 w 338518"/>
                <a:gd name="connsiteY6" fmla="*/ 465487 h 530828"/>
                <a:gd name="connsiteX7" fmla="*/ 0 w 338518"/>
                <a:gd name="connsiteY7" fmla="*/ 415671 h 530828"/>
                <a:gd name="connsiteX8" fmla="*/ 0 w 338518"/>
                <a:gd name="connsiteY8" fmla="*/ 414242 h 530828"/>
                <a:gd name="connsiteX9" fmla="*/ 11335 w 338518"/>
                <a:gd name="connsiteY9" fmla="*/ 360140 h 530828"/>
                <a:gd name="connsiteX10" fmla="*/ 42767 w 338518"/>
                <a:gd name="connsiteY10" fmla="*/ 321945 h 530828"/>
                <a:gd name="connsiteX11" fmla="*/ 90773 w 338518"/>
                <a:gd name="connsiteY11" fmla="*/ 299371 h 530828"/>
                <a:gd name="connsiteX12" fmla="*/ 151162 w 338518"/>
                <a:gd name="connsiteY12" fmla="*/ 291941 h 530828"/>
                <a:gd name="connsiteX13" fmla="*/ 208788 w 338518"/>
                <a:gd name="connsiteY13" fmla="*/ 296228 h 530828"/>
                <a:gd name="connsiteX14" fmla="*/ 254413 w 338518"/>
                <a:gd name="connsiteY14" fmla="*/ 307562 h 530828"/>
                <a:gd name="connsiteX15" fmla="*/ 254413 w 338518"/>
                <a:gd name="connsiteY15" fmla="*/ 300514 h 530828"/>
                <a:gd name="connsiteX16" fmla="*/ 230696 w 338518"/>
                <a:gd name="connsiteY16" fmla="*/ 241173 h 530828"/>
                <a:gd name="connsiteX17" fmla="*/ 162496 w 338518"/>
                <a:gd name="connsiteY17" fmla="*/ 220694 h 530828"/>
                <a:gd name="connsiteX18" fmla="*/ 106013 w 338518"/>
                <a:gd name="connsiteY18" fmla="*/ 227076 h 530828"/>
                <a:gd name="connsiteX19" fmla="*/ 55817 w 338518"/>
                <a:gd name="connsiteY19" fmla="*/ 244031 h 530828"/>
                <a:gd name="connsiteX20" fmla="*/ 32480 w 338518"/>
                <a:gd name="connsiteY20" fmla="*/ 175451 h 530828"/>
                <a:gd name="connsiteX21" fmla="*/ 96107 w 338518"/>
                <a:gd name="connsiteY21" fmla="*/ 152876 h 530828"/>
                <a:gd name="connsiteX22" fmla="*/ 174593 w 338518"/>
                <a:gd name="connsiteY22" fmla="*/ 144399 h 530828"/>
                <a:gd name="connsiteX23" fmla="*/ 298228 w 338518"/>
                <a:gd name="connsiteY23" fmla="*/ 185738 h 530828"/>
                <a:gd name="connsiteX24" fmla="*/ 338519 w 338518"/>
                <a:gd name="connsiteY24" fmla="*/ 301943 h 530828"/>
                <a:gd name="connsiteX25" fmla="*/ 338519 w 338518"/>
                <a:gd name="connsiteY25" fmla="*/ 523113 h 530828"/>
                <a:gd name="connsiteX26" fmla="*/ 253746 w 338518"/>
                <a:gd name="connsiteY26" fmla="*/ 523113 h 530828"/>
                <a:gd name="connsiteX27" fmla="*/ 45911 w 338518"/>
                <a:gd name="connsiteY27" fmla="*/ 95441 h 530828"/>
                <a:gd name="connsiteX28" fmla="*/ 75248 w 338518"/>
                <a:gd name="connsiteY28" fmla="*/ 29718 h 530828"/>
                <a:gd name="connsiteX29" fmla="*/ 125063 w 338518"/>
                <a:gd name="connsiteY29" fmla="*/ 7144 h 530828"/>
                <a:gd name="connsiteX30" fmla="*/ 154019 w 338518"/>
                <a:gd name="connsiteY30" fmla="*/ 11716 h 530828"/>
                <a:gd name="connsiteX31" fmla="*/ 181261 w 338518"/>
                <a:gd name="connsiteY31" fmla="*/ 21622 h 530828"/>
                <a:gd name="connsiteX32" fmla="*/ 205645 w 338518"/>
                <a:gd name="connsiteY32" fmla="*/ 31147 h 530828"/>
                <a:gd name="connsiteX33" fmla="*/ 226790 w 338518"/>
                <a:gd name="connsiteY33" fmla="*/ 35338 h 530828"/>
                <a:gd name="connsiteX34" fmla="*/ 250127 w 338518"/>
                <a:gd name="connsiteY34" fmla="*/ 26861 h 530828"/>
                <a:gd name="connsiteX35" fmla="*/ 265652 w 338518"/>
                <a:gd name="connsiteY35" fmla="*/ 0 h 530828"/>
                <a:gd name="connsiteX36" fmla="*/ 312991 w 338518"/>
                <a:gd name="connsiteY36" fmla="*/ 14859 h 530828"/>
                <a:gd name="connsiteX37" fmla="*/ 283655 w 338518"/>
                <a:gd name="connsiteY37" fmla="*/ 79820 h 530828"/>
                <a:gd name="connsiteX38" fmla="*/ 233839 w 338518"/>
                <a:gd name="connsiteY38" fmla="*/ 102394 h 530828"/>
                <a:gd name="connsiteX39" fmla="*/ 204883 w 338518"/>
                <a:gd name="connsiteY39" fmla="*/ 98203 h 530828"/>
                <a:gd name="connsiteX40" fmla="*/ 177641 w 338518"/>
                <a:gd name="connsiteY40" fmla="*/ 88678 h 530828"/>
                <a:gd name="connsiteX41" fmla="*/ 152876 w 338518"/>
                <a:gd name="connsiteY41" fmla="*/ 78772 h 530828"/>
                <a:gd name="connsiteX42" fmla="*/ 132017 w 338518"/>
                <a:gd name="connsiteY42" fmla="*/ 74200 h 530828"/>
                <a:gd name="connsiteX43" fmla="*/ 108680 w 338518"/>
                <a:gd name="connsiteY43" fmla="*/ 82677 h 530828"/>
                <a:gd name="connsiteX44" fmla="*/ 93154 w 338518"/>
                <a:gd name="connsiteY44" fmla="*/ 109538 h 530828"/>
                <a:gd name="connsiteX45" fmla="*/ 45815 w 338518"/>
                <a:gd name="connsiteY45" fmla="*/ 95441 h 530828"/>
                <a:gd name="connsiteX46" fmla="*/ 255842 w 338518"/>
                <a:gd name="connsiteY46" fmla="*/ 366808 h 530828"/>
                <a:gd name="connsiteX47" fmla="*/ 217361 w 338518"/>
                <a:gd name="connsiteY47" fmla="*/ 356235 h 530828"/>
                <a:gd name="connsiteX48" fmla="*/ 170402 w 338518"/>
                <a:gd name="connsiteY48" fmla="*/ 351949 h 530828"/>
                <a:gd name="connsiteX49" fmla="*/ 107537 w 338518"/>
                <a:gd name="connsiteY49" fmla="*/ 367475 h 530828"/>
                <a:gd name="connsiteX50" fmla="*/ 84963 w 338518"/>
                <a:gd name="connsiteY50" fmla="*/ 409861 h 530828"/>
                <a:gd name="connsiteX51" fmla="*/ 84963 w 338518"/>
                <a:gd name="connsiteY51" fmla="*/ 411290 h 530828"/>
                <a:gd name="connsiteX52" fmla="*/ 105823 w 338518"/>
                <a:gd name="connsiteY52" fmla="*/ 452247 h 530828"/>
                <a:gd name="connsiteX53" fmla="*/ 157067 w 338518"/>
                <a:gd name="connsiteY53" fmla="*/ 466344 h 530828"/>
                <a:gd name="connsiteX54" fmla="*/ 196310 w 338518"/>
                <a:gd name="connsiteY54" fmla="*/ 460724 h 530828"/>
                <a:gd name="connsiteX55" fmla="*/ 227743 w 338518"/>
                <a:gd name="connsiteY55" fmla="*/ 444818 h 530828"/>
                <a:gd name="connsiteX56" fmla="*/ 248603 w 338518"/>
                <a:gd name="connsiteY56" fmla="*/ 420053 h 530828"/>
                <a:gd name="connsiteX57" fmla="*/ 256032 w 338518"/>
                <a:gd name="connsiteY57" fmla="*/ 387858 h 530828"/>
                <a:gd name="connsiteX58" fmla="*/ 256032 w 338518"/>
                <a:gd name="connsiteY58" fmla="*/ 366617 h 5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8518" h="530828">
                  <a:moveTo>
                    <a:pt x="253651" y="523018"/>
                  </a:moveTo>
                  <a:lnTo>
                    <a:pt x="253651" y="477107"/>
                  </a:lnTo>
                  <a:cubicBezTo>
                    <a:pt x="240887" y="492157"/>
                    <a:pt x="224695" y="504920"/>
                    <a:pt x="204883" y="515303"/>
                  </a:cubicBezTo>
                  <a:cubicBezTo>
                    <a:pt x="185071" y="525685"/>
                    <a:pt x="161068" y="530828"/>
                    <a:pt x="132779" y="530828"/>
                  </a:cubicBezTo>
                  <a:cubicBezTo>
                    <a:pt x="114871" y="530828"/>
                    <a:pt x="97917" y="528352"/>
                    <a:pt x="81915" y="523399"/>
                  </a:cubicBezTo>
                  <a:cubicBezTo>
                    <a:pt x="65913" y="518446"/>
                    <a:pt x="51911" y="511112"/>
                    <a:pt x="39910" y="501491"/>
                  </a:cubicBezTo>
                  <a:cubicBezTo>
                    <a:pt x="27908" y="491871"/>
                    <a:pt x="18193" y="479870"/>
                    <a:pt x="10954" y="465487"/>
                  </a:cubicBezTo>
                  <a:cubicBezTo>
                    <a:pt x="3620" y="451104"/>
                    <a:pt x="0" y="434531"/>
                    <a:pt x="0" y="415671"/>
                  </a:cubicBezTo>
                  <a:lnTo>
                    <a:pt x="0" y="414242"/>
                  </a:lnTo>
                  <a:cubicBezTo>
                    <a:pt x="0" y="393478"/>
                    <a:pt x="3810" y="375476"/>
                    <a:pt x="11335" y="360140"/>
                  </a:cubicBezTo>
                  <a:cubicBezTo>
                    <a:pt x="18860" y="344805"/>
                    <a:pt x="29337" y="332137"/>
                    <a:pt x="42767" y="321945"/>
                  </a:cubicBezTo>
                  <a:cubicBezTo>
                    <a:pt x="56198" y="311849"/>
                    <a:pt x="72200" y="304324"/>
                    <a:pt x="90773" y="299371"/>
                  </a:cubicBezTo>
                  <a:cubicBezTo>
                    <a:pt x="109347" y="294418"/>
                    <a:pt x="129540" y="291941"/>
                    <a:pt x="151162" y="291941"/>
                  </a:cubicBezTo>
                  <a:cubicBezTo>
                    <a:pt x="172784" y="291941"/>
                    <a:pt x="192977" y="293370"/>
                    <a:pt x="208788" y="296228"/>
                  </a:cubicBezTo>
                  <a:cubicBezTo>
                    <a:pt x="224600" y="299085"/>
                    <a:pt x="239744" y="302800"/>
                    <a:pt x="254413" y="307562"/>
                  </a:cubicBezTo>
                  <a:lnTo>
                    <a:pt x="254413" y="300514"/>
                  </a:lnTo>
                  <a:cubicBezTo>
                    <a:pt x="254413" y="274606"/>
                    <a:pt x="246507" y="254794"/>
                    <a:pt x="230696" y="241173"/>
                  </a:cubicBezTo>
                  <a:cubicBezTo>
                    <a:pt x="214884" y="227552"/>
                    <a:pt x="192215" y="220694"/>
                    <a:pt x="162496" y="220694"/>
                  </a:cubicBezTo>
                  <a:cubicBezTo>
                    <a:pt x="141351" y="220694"/>
                    <a:pt x="122492" y="222790"/>
                    <a:pt x="106013" y="227076"/>
                  </a:cubicBezTo>
                  <a:cubicBezTo>
                    <a:pt x="89535" y="231362"/>
                    <a:pt x="72771" y="236982"/>
                    <a:pt x="55817" y="244031"/>
                  </a:cubicBezTo>
                  <a:lnTo>
                    <a:pt x="32480" y="175451"/>
                  </a:lnTo>
                  <a:cubicBezTo>
                    <a:pt x="53150" y="166021"/>
                    <a:pt x="74390" y="158496"/>
                    <a:pt x="96107" y="152876"/>
                  </a:cubicBezTo>
                  <a:cubicBezTo>
                    <a:pt x="117729" y="147257"/>
                    <a:pt x="143923" y="144399"/>
                    <a:pt x="174593" y="144399"/>
                  </a:cubicBezTo>
                  <a:cubicBezTo>
                    <a:pt x="230124" y="144399"/>
                    <a:pt x="271367" y="158210"/>
                    <a:pt x="298228" y="185738"/>
                  </a:cubicBezTo>
                  <a:cubicBezTo>
                    <a:pt x="325088" y="213265"/>
                    <a:pt x="338519" y="252032"/>
                    <a:pt x="338519" y="301943"/>
                  </a:cubicBezTo>
                  <a:lnTo>
                    <a:pt x="338519" y="523113"/>
                  </a:lnTo>
                  <a:lnTo>
                    <a:pt x="253746" y="523113"/>
                  </a:lnTo>
                  <a:close/>
                  <a:moveTo>
                    <a:pt x="45911" y="95441"/>
                  </a:moveTo>
                  <a:cubicBezTo>
                    <a:pt x="53912" y="66675"/>
                    <a:pt x="63722" y="44768"/>
                    <a:pt x="75248" y="29718"/>
                  </a:cubicBezTo>
                  <a:cubicBezTo>
                    <a:pt x="86773" y="14669"/>
                    <a:pt x="103442" y="7144"/>
                    <a:pt x="125063" y="7144"/>
                  </a:cubicBezTo>
                  <a:cubicBezTo>
                    <a:pt x="134969" y="7144"/>
                    <a:pt x="144590" y="8668"/>
                    <a:pt x="154019" y="11716"/>
                  </a:cubicBezTo>
                  <a:cubicBezTo>
                    <a:pt x="163449" y="14764"/>
                    <a:pt x="172498" y="18098"/>
                    <a:pt x="181261" y="21622"/>
                  </a:cubicBezTo>
                  <a:cubicBezTo>
                    <a:pt x="189929" y="25146"/>
                    <a:pt x="198120" y="28385"/>
                    <a:pt x="205645" y="31147"/>
                  </a:cubicBezTo>
                  <a:cubicBezTo>
                    <a:pt x="213170" y="34004"/>
                    <a:pt x="220218" y="35338"/>
                    <a:pt x="226790" y="35338"/>
                  </a:cubicBezTo>
                  <a:cubicBezTo>
                    <a:pt x="237173" y="35338"/>
                    <a:pt x="244888" y="32480"/>
                    <a:pt x="250127" y="26861"/>
                  </a:cubicBezTo>
                  <a:cubicBezTo>
                    <a:pt x="255270" y="21241"/>
                    <a:pt x="260509" y="12287"/>
                    <a:pt x="265652" y="0"/>
                  </a:cubicBezTo>
                  <a:lnTo>
                    <a:pt x="312991" y="14859"/>
                  </a:lnTo>
                  <a:cubicBezTo>
                    <a:pt x="304991" y="43148"/>
                    <a:pt x="295180" y="64770"/>
                    <a:pt x="283655" y="79820"/>
                  </a:cubicBezTo>
                  <a:cubicBezTo>
                    <a:pt x="272129" y="94869"/>
                    <a:pt x="255461" y="102394"/>
                    <a:pt x="233839" y="102394"/>
                  </a:cubicBezTo>
                  <a:cubicBezTo>
                    <a:pt x="223933" y="102394"/>
                    <a:pt x="214313" y="100965"/>
                    <a:pt x="204883" y="98203"/>
                  </a:cubicBezTo>
                  <a:cubicBezTo>
                    <a:pt x="195453" y="95345"/>
                    <a:pt x="186404" y="92202"/>
                    <a:pt x="177641" y="88678"/>
                  </a:cubicBezTo>
                  <a:cubicBezTo>
                    <a:pt x="168878" y="85154"/>
                    <a:pt x="160687" y="81820"/>
                    <a:pt x="152876" y="78772"/>
                  </a:cubicBezTo>
                  <a:cubicBezTo>
                    <a:pt x="145066" y="75724"/>
                    <a:pt x="138113" y="74200"/>
                    <a:pt x="132017" y="74200"/>
                  </a:cubicBezTo>
                  <a:cubicBezTo>
                    <a:pt x="121634" y="74200"/>
                    <a:pt x="113919" y="77057"/>
                    <a:pt x="108680" y="82677"/>
                  </a:cubicBezTo>
                  <a:cubicBezTo>
                    <a:pt x="103537" y="88297"/>
                    <a:pt x="98298" y="97250"/>
                    <a:pt x="93154" y="109538"/>
                  </a:cubicBezTo>
                  <a:lnTo>
                    <a:pt x="45815" y="95441"/>
                  </a:lnTo>
                  <a:close/>
                  <a:moveTo>
                    <a:pt x="255842" y="366808"/>
                  </a:moveTo>
                  <a:cubicBezTo>
                    <a:pt x="244983" y="362522"/>
                    <a:pt x="232124" y="358997"/>
                    <a:pt x="217361" y="356235"/>
                  </a:cubicBezTo>
                  <a:cubicBezTo>
                    <a:pt x="202502" y="353378"/>
                    <a:pt x="186880" y="351949"/>
                    <a:pt x="170402" y="351949"/>
                  </a:cubicBezTo>
                  <a:cubicBezTo>
                    <a:pt x="143542" y="351949"/>
                    <a:pt x="122587" y="357092"/>
                    <a:pt x="107537" y="367475"/>
                  </a:cubicBezTo>
                  <a:cubicBezTo>
                    <a:pt x="92488" y="377857"/>
                    <a:pt x="84963" y="391954"/>
                    <a:pt x="84963" y="409861"/>
                  </a:cubicBezTo>
                  <a:lnTo>
                    <a:pt x="84963" y="411290"/>
                  </a:lnTo>
                  <a:cubicBezTo>
                    <a:pt x="84963" y="429197"/>
                    <a:pt x="91916" y="442817"/>
                    <a:pt x="105823" y="452247"/>
                  </a:cubicBezTo>
                  <a:cubicBezTo>
                    <a:pt x="119729" y="461677"/>
                    <a:pt x="136779" y="466344"/>
                    <a:pt x="157067" y="466344"/>
                  </a:cubicBezTo>
                  <a:cubicBezTo>
                    <a:pt x="171164" y="466344"/>
                    <a:pt x="184309" y="464439"/>
                    <a:pt x="196310" y="460724"/>
                  </a:cubicBezTo>
                  <a:cubicBezTo>
                    <a:pt x="208312" y="456914"/>
                    <a:pt x="218789" y="451676"/>
                    <a:pt x="227743" y="444818"/>
                  </a:cubicBezTo>
                  <a:cubicBezTo>
                    <a:pt x="236696" y="437960"/>
                    <a:pt x="243650" y="429768"/>
                    <a:pt x="248603" y="420053"/>
                  </a:cubicBezTo>
                  <a:cubicBezTo>
                    <a:pt x="253555" y="410432"/>
                    <a:pt x="256032" y="399669"/>
                    <a:pt x="256032" y="387858"/>
                  </a:cubicBezTo>
                  <a:lnTo>
                    <a:pt x="256032" y="366617"/>
                  </a:lnTo>
                  <a:close/>
                </a:path>
              </a:pathLst>
            </a:custGeom>
            <a:solidFill>
              <a:srgbClr val="44505E"/>
            </a:solidFill>
            <a:ln w="9525" cap="flat">
              <a:noFill/>
              <a:prstDash val="solid"/>
              <a:miter/>
            </a:ln>
          </p:spPr>
          <p:txBody>
            <a:bodyPr rtlCol="0" anchor="ctr"/>
            <a:lstStyle/>
            <a:p>
              <a:endParaRPr lang="pt-BR" noProof="0"/>
            </a:p>
          </p:txBody>
        </p:sp>
        <p:sp>
          <p:nvSpPr>
            <p:cNvPr id="31" name="Freeform: Shape 30">
              <a:extLst>
                <a:ext uri="{FF2B5EF4-FFF2-40B4-BE49-F238E27FC236}">
                  <a16:creationId xmlns:a16="http://schemas.microsoft.com/office/drawing/2014/main" id="{E50C0B5F-0B4B-2792-201F-B12052441550}"/>
                </a:ext>
              </a:extLst>
            </p:cNvPr>
            <p:cNvSpPr/>
            <p:nvPr/>
          </p:nvSpPr>
          <p:spPr>
            <a:xfrm>
              <a:off x="6506477" y="699959"/>
              <a:ext cx="100038" cy="97908"/>
            </a:xfrm>
            <a:custGeom>
              <a:avLst/>
              <a:gdLst>
                <a:gd name="connsiteX0" fmla="*/ 197834 w 397954"/>
                <a:gd name="connsiteY0" fmla="*/ 389477 h 389477"/>
                <a:gd name="connsiteX1" fmla="*/ 119063 w 397954"/>
                <a:gd name="connsiteY1" fmla="*/ 374237 h 389477"/>
                <a:gd name="connsiteX2" fmla="*/ 56198 w 397954"/>
                <a:gd name="connsiteY2" fmla="*/ 332899 h 389477"/>
                <a:gd name="connsiteX3" fmla="*/ 14859 w 397954"/>
                <a:gd name="connsiteY3" fmla="*/ 271463 h 389477"/>
                <a:gd name="connsiteX4" fmla="*/ 0 w 397954"/>
                <a:gd name="connsiteY4" fmla="*/ 196501 h 389477"/>
                <a:gd name="connsiteX5" fmla="*/ 0 w 397954"/>
                <a:gd name="connsiteY5" fmla="*/ 195072 h 389477"/>
                <a:gd name="connsiteX6" fmla="*/ 15240 w 397954"/>
                <a:gd name="connsiteY6" fmla="*/ 119444 h 389477"/>
                <a:gd name="connsiteX7" fmla="*/ 56960 w 397954"/>
                <a:gd name="connsiteY7" fmla="*/ 57626 h 389477"/>
                <a:gd name="connsiteX8" fmla="*/ 119825 w 397954"/>
                <a:gd name="connsiteY8" fmla="*/ 15526 h 389477"/>
                <a:gd name="connsiteX9" fmla="*/ 199358 w 397954"/>
                <a:gd name="connsiteY9" fmla="*/ 0 h 389477"/>
                <a:gd name="connsiteX10" fmla="*/ 278892 w 397954"/>
                <a:gd name="connsiteY10" fmla="*/ 15240 h 389477"/>
                <a:gd name="connsiteX11" fmla="*/ 341757 w 397954"/>
                <a:gd name="connsiteY11" fmla="*/ 56959 h 389477"/>
                <a:gd name="connsiteX12" fmla="*/ 383096 w 397954"/>
                <a:gd name="connsiteY12" fmla="*/ 118396 h 389477"/>
                <a:gd name="connsiteX13" fmla="*/ 397955 w 397954"/>
                <a:gd name="connsiteY13" fmla="*/ 193643 h 389477"/>
                <a:gd name="connsiteX14" fmla="*/ 397955 w 397954"/>
                <a:gd name="connsiteY14" fmla="*/ 195072 h 389477"/>
                <a:gd name="connsiteX15" fmla="*/ 382714 w 397954"/>
                <a:gd name="connsiteY15" fmla="*/ 270034 h 389477"/>
                <a:gd name="connsiteX16" fmla="*/ 340995 w 397954"/>
                <a:gd name="connsiteY16" fmla="*/ 331851 h 389477"/>
                <a:gd name="connsiteX17" fmla="*/ 277749 w 397954"/>
                <a:gd name="connsiteY17" fmla="*/ 373856 h 389477"/>
                <a:gd name="connsiteX18" fmla="*/ 197834 w 397954"/>
                <a:gd name="connsiteY18" fmla="*/ 389382 h 389477"/>
                <a:gd name="connsiteX19" fmla="*/ 199263 w 397954"/>
                <a:gd name="connsiteY19" fmla="*/ 315278 h 389477"/>
                <a:gd name="connsiteX20" fmla="*/ 245936 w 397954"/>
                <a:gd name="connsiteY20" fmla="*/ 305753 h 389477"/>
                <a:gd name="connsiteX21" fmla="*/ 281369 w 397954"/>
                <a:gd name="connsiteY21" fmla="*/ 279940 h 389477"/>
                <a:gd name="connsiteX22" fmla="*/ 303848 w 397954"/>
                <a:gd name="connsiteY22" fmla="*/ 242125 h 389477"/>
                <a:gd name="connsiteX23" fmla="*/ 311563 w 397954"/>
                <a:gd name="connsiteY23" fmla="*/ 196501 h 389477"/>
                <a:gd name="connsiteX24" fmla="*/ 311563 w 397954"/>
                <a:gd name="connsiteY24" fmla="*/ 195072 h 389477"/>
                <a:gd name="connsiteX25" fmla="*/ 303181 w 397954"/>
                <a:gd name="connsiteY25" fmla="*/ 148400 h 389477"/>
                <a:gd name="connsiteX26" fmla="*/ 279654 w 397954"/>
                <a:gd name="connsiteY26" fmla="*/ 110204 h 389477"/>
                <a:gd name="connsiteX27" fmla="*/ 243840 w 397954"/>
                <a:gd name="connsiteY27" fmla="*/ 84392 h 389477"/>
                <a:gd name="connsiteX28" fmla="*/ 197834 w 397954"/>
                <a:gd name="connsiteY28" fmla="*/ 74867 h 389477"/>
                <a:gd name="connsiteX29" fmla="*/ 151829 w 397954"/>
                <a:gd name="connsiteY29" fmla="*/ 84392 h 389477"/>
                <a:gd name="connsiteX30" fmla="*/ 116396 w 397954"/>
                <a:gd name="connsiteY30" fmla="*/ 109823 h 389477"/>
                <a:gd name="connsiteX31" fmla="*/ 93916 w 397954"/>
                <a:gd name="connsiteY31" fmla="*/ 147638 h 389477"/>
                <a:gd name="connsiteX32" fmla="*/ 86201 w 397954"/>
                <a:gd name="connsiteY32" fmla="*/ 193548 h 389477"/>
                <a:gd name="connsiteX33" fmla="*/ 86201 w 397954"/>
                <a:gd name="connsiteY33" fmla="*/ 194977 h 389477"/>
                <a:gd name="connsiteX34" fmla="*/ 94583 w 397954"/>
                <a:gd name="connsiteY34" fmla="*/ 241268 h 389477"/>
                <a:gd name="connsiteX35" fmla="*/ 118110 w 397954"/>
                <a:gd name="connsiteY35" fmla="*/ 279463 h 389477"/>
                <a:gd name="connsiteX36" fmla="*/ 153924 w 397954"/>
                <a:gd name="connsiteY36" fmla="*/ 305562 h 389477"/>
                <a:gd name="connsiteX37" fmla="*/ 199263 w 397954"/>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954" h="389477">
                  <a:moveTo>
                    <a:pt x="197834" y="389477"/>
                  </a:moveTo>
                  <a:cubicBezTo>
                    <a:pt x="169545" y="389477"/>
                    <a:pt x="143351" y="384429"/>
                    <a:pt x="119063" y="374237"/>
                  </a:cubicBezTo>
                  <a:cubicBezTo>
                    <a:pt x="94774" y="364141"/>
                    <a:pt x="73819" y="350330"/>
                    <a:pt x="56198" y="332899"/>
                  </a:cubicBezTo>
                  <a:cubicBezTo>
                    <a:pt x="38576" y="315468"/>
                    <a:pt x="24765" y="294989"/>
                    <a:pt x="14859" y="271463"/>
                  </a:cubicBezTo>
                  <a:cubicBezTo>
                    <a:pt x="4953" y="247936"/>
                    <a:pt x="0" y="222980"/>
                    <a:pt x="0" y="196501"/>
                  </a:cubicBezTo>
                  <a:lnTo>
                    <a:pt x="0" y="195072"/>
                  </a:lnTo>
                  <a:cubicBezTo>
                    <a:pt x="0" y="168212"/>
                    <a:pt x="5049" y="143066"/>
                    <a:pt x="15240" y="119444"/>
                  </a:cubicBezTo>
                  <a:cubicBezTo>
                    <a:pt x="25337" y="95917"/>
                    <a:pt x="39243" y="75248"/>
                    <a:pt x="56960" y="57626"/>
                  </a:cubicBezTo>
                  <a:cubicBezTo>
                    <a:pt x="74676" y="39910"/>
                    <a:pt x="95631" y="25908"/>
                    <a:pt x="119825" y="15526"/>
                  </a:cubicBezTo>
                  <a:cubicBezTo>
                    <a:pt x="144113" y="5144"/>
                    <a:pt x="170593" y="0"/>
                    <a:pt x="199358" y="0"/>
                  </a:cubicBezTo>
                  <a:cubicBezTo>
                    <a:pt x="228124" y="0"/>
                    <a:pt x="254604" y="5048"/>
                    <a:pt x="278892" y="15240"/>
                  </a:cubicBezTo>
                  <a:cubicBezTo>
                    <a:pt x="303181" y="25337"/>
                    <a:pt x="324136" y="39243"/>
                    <a:pt x="341757" y="56959"/>
                  </a:cubicBezTo>
                  <a:cubicBezTo>
                    <a:pt x="359379" y="74676"/>
                    <a:pt x="373189" y="95155"/>
                    <a:pt x="383096" y="118396"/>
                  </a:cubicBezTo>
                  <a:cubicBezTo>
                    <a:pt x="393002" y="141732"/>
                    <a:pt x="397955" y="166783"/>
                    <a:pt x="397955" y="193643"/>
                  </a:cubicBezTo>
                  <a:lnTo>
                    <a:pt x="397955" y="195072"/>
                  </a:lnTo>
                  <a:cubicBezTo>
                    <a:pt x="397955" y="221456"/>
                    <a:pt x="392906" y="246412"/>
                    <a:pt x="382714" y="270034"/>
                  </a:cubicBezTo>
                  <a:cubicBezTo>
                    <a:pt x="372618" y="293561"/>
                    <a:pt x="358712" y="314230"/>
                    <a:pt x="340995" y="331851"/>
                  </a:cubicBezTo>
                  <a:cubicBezTo>
                    <a:pt x="323279" y="349472"/>
                    <a:pt x="302229" y="363569"/>
                    <a:pt x="277749" y="373856"/>
                  </a:cubicBezTo>
                  <a:cubicBezTo>
                    <a:pt x="253270" y="384238"/>
                    <a:pt x="226600" y="389382"/>
                    <a:pt x="197834" y="389382"/>
                  </a:cubicBezTo>
                  <a:close/>
                  <a:moveTo>
                    <a:pt x="199263" y="315278"/>
                  </a:moveTo>
                  <a:cubicBezTo>
                    <a:pt x="216598" y="315278"/>
                    <a:pt x="232124" y="312039"/>
                    <a:pt x="245936" y="305753"/>
                  </a:cubicBezTo>
                  <a:cubicBezTo>
                    <a:pt x="259747" y="299371"/>
                    <a:pt x="271558" y="290798"/>
                    <a:pt x="281369" y="279940"/>
                  </a:cubicBezTo>
                  <a:cubicBezTo>
                    <a:pt x="291179" y="269081"/>
                    <a:pt x="298704" y="256508"/>
                    <a:pt x="303848" y="242125"/>
                  </a:cubicBezTo>
                  <a:cubicBezTo>
                    <a:pt x="308991" y="227743"/>
                    <a:pt x="311563" y="212598"/>
                    <a:pt x="311563" y="196501"/>
                  </a:cubicBezTo>
                  <a:lnTo>
                    <a:pt x="311563" y="195072"/>
                  </a:lnTo>
                  <a:cubicBezTo>
                    <a:pt x="311563" y="178594"/>
                    <a:pt x="308706" y="163068"/>
                    <a:pt x="303181" y="148400"/>
                  </a:cubicBezTo>
                  <a:cubicBezTo>
                    <a:pt x="297561" y="133826"/>
                    <a:pt x="289750" y="121063"/>
                    <a:pt x="279654" y="110204"/>
                  </a:cubicBezTo>
                  <a:cubicBezTo>
                    <a:pt x="269557" y="99346"/>
                    <a:pt x="257651" y="90773"/>
                    <a:pt x="243840" y="84392"/>
                  </a:cubicBezTo>
                  <a:cubicBezTo>
                    <a:pt x="230029" y="78010"/>
                    <a:pt x="214694" y="74867"/>
                    <a:pt x="197834" y="74867"/>
                  </a:cubicBezTo>
                  <a:cubicBezTo>
                    <a:pt x="180975" y="74867"/>
                    <a:pt x="165640" y="78010"/>
                    <a:pt x="151829" y="84392"/>
                  </a:cubicBezTo>
                  <a:cubicBezTo>
                    <a:pt x="138017" y="90773"/>
                    <a:pt x="126206" y="99250"/>
                    <a:pt x="116396" y="109823"/>
                  </a:cubicBezTo>
                  <a:cubicBezTo>
                    <a:pt x="106585" y="120396"/>
                    <a:pt x="99060" y="133064"/>
                    <a:pt x="93916" y="147638"/>
                  </a:cubicBezTo>
                  <a:cubicBezTo>
                    <a:pt x="88773" y="162211"/>
                    <a:pt x="86201" y="177546"/>
                    <a:pt x="86201" y="193548"/>
                  </a:cubicBezTo>
                  <a:lnTo>
                    <a:pt x="86201" y="194977"/>
                  </a:lnTo>
                  <a:cubicBezTo>
                    <a:pt x="86201" y="211455"/>
                    <a:pt x="89059" y="226886"/>
                    <a:pt x="94583" y="241268"/>
                  </a:cubicBezTo>
                  <a:cubicBezTo>
                    <a:pt x="100203" y="255651"/>
                    <a:pt x="108014" y="268319"/>
                    <a:pt x="118110" y="279463"/>
                  </a:cubicBezTo>
                  <a:cubicBezTo>
                    <a:pt x="128207" y="290608"/>
                    <a:pt x="140113" y="299275"/>
                    <a:pt x="153924" y="305562"/>
                  </a:cubicBezTo>
                  <a:cubicBezTo>
                    <a:pt x="167735" y="311944"/>
                    <a:pt x="182785"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32" name="Freeform: Shape 31">
              <a:extLst>
                <a:ext uri="{FF2B5EF4-FFF2-40B4-BE49-F238E27FC236}">
                  <a16:creationId xmlns:a16="http://schemas.microsoft.com/office/drawing/2014/main" id="{CB4DB540-D8E2-1FBE-0FDB-C26254ECC39F}"/>
                </a:ext>
              </a:extLst>
            </p:cNvPr>
            <p:cNvSpPr/>
            <p:nvPr/>
          </p:nvSpPr>
          <p:spPr>
            <a:xfrm>
              <a:off x="662071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1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7 w 296894"/>
                <a:gd name="connsiteY23" fmla="*/ 42863 h 386714"/>
                <a:gd name="connsiteX24" fmla="*/ 254318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7 w 296894"/>
                <a:gd name="connsiteY30" fmla="*/ 124587 h 386714"/>
                <a:gd name="connsiteX31" fmla="*/ 122682 w 296894"/>
                <a:gd name="connsiteY31" fmla="*/ 138017 h 386714"/>
                <a:gd name="connsiteX32" fmla="*/ 149543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6" y="348901"/>
                    <a:pt x="0" y="330327"/>
                  </a:cubicBezTo>
                  <a:lnTo>
                    <a:pt x="38195" y="272224"/>
                  </a:lnTo>
                  <a:cubicBezTo>
                    <a:pt x="58484" y="287274"/>
                    <a:pt x="79057" y="298704"/>
                    <a:pt x="100013" y="306514"/>
                  </a:cubicBezTo>
                  <a:cubicBezTo>
                    <a:pt x="120968" y="314325"/>
                    <a:pt x="141161" y="318135"/>
                    <a:pt x="160401" y="318135"/>
                  </a:cubicBezTo>
                  <a:cubicBezTo>
                    <a:pt x="179641" y="318135"/>
                    <a:pt x="192977"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1" y="241078"/>
                    <a:pt x="176498" y="237553"/>
                    <a:pt x="166401"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2" y="40195"/>
                    <a:pt x="56864" y="30385"/>
                  </a:cubicBezTo>
                  <a:cubicBezTo>
                    <a:pt x="68866" y="20479"/>
                    <a:pt x="82962" y="12954"/>
                    <a:pt x="99250" y="7810"/>
                  </a:cubicBezTo>
                  <a:cubicBezTo>
                    <a:pt x="115538" y="2667"/>
                    <a:pt x="132779" y="0"/>
                    <a:pt x="151162" y="0"/>
                  </a:cubicBezTo>
                  <a:cubicBezTo>
                    <a:pt x="174688" y="0"/>
                    <a:pt x="198501" y="3810"/>
                    <a:pt x="222504" y="11430"/>
                  </a:cubicBezTo>
                  <a:cubicBezTo>
                    <a:pt x="246507" y="19050"/>
                    <a:pt x="268414" y="29527"/>
                    <a:pt x="288227" y="42863"/>
                  </a:cubicBezTo>
                  <a:lnTo>
                    <a:pt x="254318"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7" y="124587"/>
                  </a:cubicBezTo>
                  <a:cubicBezTo>
                    <a:pt x="108585" y="129540"/>
                    <a:pt x="114871" y="134017"/>
                    <a:pt x="122682" y="138017"/>
                  </a:cubicBezTo>
                  <a:cubicBezTo>
                    <a:pt x="130493" y="142018"/>
                    <a:pt x="139351" y="145732"/>
                    <a:pt x="149543"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696"/>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33" name="Freeform: Shape 32">
              <a:extLst>
                <a:ext uri="{FF2B5EF4-FFF2-40B4-BE49-F238E27FC236}">
                  <a16:creationId xmlns:a16="http://schemas.microsoft.com/office/drawing/2014/main" id="{0D265E1A-036E-715B-A7D5-FB641ED6472F}"/>
                </a:ext>
              </a:extLst>
            </p:cNvPr>
            <p:cNvSpPr/>
            <p:nvPr/>
          </p:nvSpPr>
          <p:spPr>
            <a:xfrm>
              <a:off x="526693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4 w 202977"/>
                <a:gd name="connsiteY17" fmla="*/ 19907 h 239267"/>
                <a:gd name="connsiteX18" fmla="*/ 59246 w 202977"/>
                <a:gd name="connsiteY18" fmla="*/ 5429 h 239267"/>
                <a:gd name="connsiteX19" fmla="*/ 104299 w 202977"/>
                <a:gd name="connsiteY19" fmla="*/ 0 h 239267"/>
                <a:gd name="connsiteX20" fmla="*/ 178880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5 w 202977"/>
                <a:gd name="connsiteY27" fmla="*/ 211169 h 239267"/>
                <a:gd name="connsiteX28" fmla="*/ 122968 w 202977"/>
                <a:gd name="connsiteY28" fmla="*/ 206788 h 239267"/>
                <a:gd name="connsiteX29" fmla="*/ 147257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9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9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3" y="99155"/>
                    <a:pt x="58674" y="95917"/>
                  </a:cubicBezTo>
                  <a:cubicBezTo>
                    <a:pt x="70771" y="92678"/>
                    <a:pt x="84011" y="90964"/>
                    <a:pt x="98584" y="90964"/>
                  </a:cubicBezTo>
                  <a:cubicBezTo>
                    <a:pt x="113157" y="90964"/>
                    <a:pt x="126301" y="91821"/>
                    <a:pt x="137160" y="93631"/>
                  </a:cubicBezTo>
                  <a:cubicBezTo>
                    <a:pt x="148019" y="95440"/>
                    <a:pt x="158687" y="97822"/>
                    <a:pt x="169069" y="100774"/>
                  </a:cubicBezTo>
                  <a:lnTo>
                    <a:pt x="169069" y="93726"/>
                  </a:lnTo>
                  <a:cubicBezTo>
                    <a:pt x="169069" y="73342"/>
                    <a:pt x="163068" y="57912"/>
                    <a:pt x="151162" y="47339"/>
                  </a:cubicBezTo>
                  <a:cubicBezTo>
                    <a:pt x="139256" y="36862"/>
                    <a:pt x="122492" y="31623"/>
                    <a:pt x="100679" y="31623"/>
                  </a:cubicBezTo>
                  <a:cubicBezTo>
                    <a:pt x="86963" y="31623"/>
                    <a:pt x="74581" y="33147"/>
                    <a:pt x="63437" y="36100"/>
                  </a:cubicBezTo>
                  <a:cubicBezTo>
                    <a:pt x="52292" y="39053"/>
                    <a:pt x="41339" y="43053"/>
                    <a:pt x="30671" y="48196"/>
                  </a:cubicBezTo>
                  <a:lnTo>
                    <a:pt x="20384" y="19907"/>
                  </a:lnTo>
                  <a:cubicBezTo>
                    <a:pt x="33147" y="13906"/>
                    <a:pt x="46101" y="9049"/>
                    <a:pt x="59246" y="5429"/>
                  </a:cubicBezTo>
                  <a:cubicBezTo>
                    <a:pt x="72295" y="1810"/>
                    <a:pt x="87344" y="0"/>
                    <a:pt x="104299" y="0"/>
                  </a:cubicBezTo>
                  <a:cubicBezTo>
                    <a:pt x="137065" y="0"/>
                    <a:pt x="161925" y="8477"/>
                    <a:pt x="178880"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99" y="239173"/>
                    <a:pt x="86011" y="239173"/>
                  </a:cubicBezTo>
                  <a:close/>
                  <a:moveTo>
                    <a:pt x="93155" y="211169"/>
                  </a:moveTo>
                  <a:cubicBezTo>
                    <a:pt x="103823" y="211169"/>
                    <a:pt x="113728" y="209740"/>
                    <a:pt x="122968" y="206788"/>
                  </a:cubicBezTo>
                  <a:cubicBezTo>
                    <a:pt x="132207" y="203835"/>
                    <a:pt x="140208" y="199644"/>
                    <a:pt x="147257"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9" y="121444"/>
                  </a:cubicBezTo>
                  <a:cubicBezTo>
                    <a:pt x="129445" y="119348"/>
                    <a:pt x="116776"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244" y="190500"/>
                    <a:pt x="47435" y="195358"/>
                    <a:pt x="52769" y="199263"/>
                  </a:cubicBezTo>
                  <a:cubicBezTo>
                    <a:pt x="58103" y="203073"/>
                    <a:pt x="64294" y="206026"/>
                    <a:pt x="71247" y="208121"/>
                  </a:cubicBezTo>
                  <a:cubicBezTo>
                    <a:pt x="78200" y="210217"/>
                    <a:pt x="85535"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34" name="Freeform: Shape 33">
              <a:extLst>
                <a:ext uri="{FF2B5EF4-FFF2-40B4-BE49-F238E27FC236}">
                  <a16:creationId xmlns:a16="http://schemas.microsoft.com/office/drawing/2014/main" id="{B3ECBDD9-B14A-6C9D-84E4-5027C75A4505}"/>
                </a:ext>
              </a:extLst>
            </p:cNvPr>
            <p:cNvSpPr/>
            <p:nvPr/>
          </p:nvSpPr>
          <p:spPr>
            <a:xfrm>
              <a:off x="5331227"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9" y="303276"/>
                    <a:pt x="71438" y="300895"/>
                  </a:cubicBezTo>
                  <a:cubicBezTo>
                    <a:pt x="63437"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2"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5" name="Freeform: Shape 34">
              <a:extLst>
                <a:ext uri="{FF2B5EF4-FFF2-40B4-BE49-F238E27FC236}">
                  <a16:creationId xmlns:a16="http://schemas.microsoft.com/office/drawing/2014/main" id="{546A67B9-938A-D4FE-B864-829B2CCBD8DB}"/>
                </a:ext>
              </a:extLst>
            </p:cNvPr>
            <p:cNvSpPr/>
            <p:nvPr/>
          </p:nvSpPr>
          <p:spPr>
            <a:xfrm>
              <a:off x="5381845"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191 w 39242"/>
                <a:gd name="connsiteY5" fmla="*/ 88392 h 319182"/>
                <a:gd name="connsiteX6" fmla="*/ 36576 w 39242"/>
                <a:gd name="connsiteY6" fmla="*/ 88392 h 319182"/>
                <a:gd name="connsiteX7" fmla="*/ 36576 w 39242"/>
                <a:gd name="connsiteY7" fmla="*/ 319183 h 319182"/>
                <a:gd name="connsiteX8" fmla="*/ 2191 w 39242"/>
                <a:gd name="connsiteY8" fmla="*/ 319183 h 319182"/>
                <a:gd name="connsiteX9" fmla="*/ 2191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191" y="88392"/>
                  </a:moveTo>
                  <a:lnTo>
                    <a:pt x="36576" y="88392"/>
                  </a:lnTo>
                  <a:lnTo>
                    <a:pt x="36576" y="319183"/>
                  </a:lnTo>
                  <a:lnTo>
                    <a:pt x="2191" y="319183"/>
                  </a:lnTo>
                  <a:lnTo>
                    <a:pt x="2191" y="88392"/>
                  </a:lnTo>
                  <a:close/>
                </a:path>
              </a:pathLst>
            </a:custGeom>
            <a:solidFill>
              <a:srgbClr val="44505E"/>
            </a:solidFill>
            <a:ln w="9525" cap="flat">
              <a:noFill/>
              <a:prstDash val="solid"/>
              <a:miter/>
            </a:ln>
          </p:spPr>
          <p:txBody>
            <a:bodyPr rtlCol="0" anchor="ctr"/>
            <a:lstStyle/>
            <a:p>
              <a:endParaRPr lang="pt-BR" noProof="0"/>
            </a:p>
          </p:txBody>
        </p:sp>
        <p:sp>
          <p:nvSpPr>
            <p:cNvPr id="36" name="Freeform: Shape 35">
              <a:extLst>
                <a:ext uri="{FF2B5EF4-FFF2-40B4-BE49-F238E27FC236}">
                  <a16:creationId xmlns:a16="http://schemas.microsoft.com/office/drawing/2014/main" id="{BB28F4FA-9B55-517F-1839-6BA503AE21DE}"/>
                </a:ext>
              </a:extLst>
            </p:cNvPr>
            <p:cNvSpPr/>
            <p:nvPr/>
          </p:nvSpPr>
          <p:spPr>
            <a:xfrm>
              <a:off x="5406076"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8" y="303276"/>
                    <a:pt x="71438" y="300895"/>
                  </a:cubicBezTo>
                  <a:cubicBezTo>
                    <a:pt x="63436"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1"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7" name="Freeform: Shape 36">
              <a:extLst>
                <a:ext uri="{FF2B5EF4-FFF2-40B4-BE49-F238E27FC236}">
                  <a16:creationId xmlns:a16="http://schemas.microsoft.com/office/drawing/2014/main" id="{223B2257-75CB-BEA9-E489-950201F34473}"/>
                </a:ext>
              </a:extLst>
            </p:cNvPr>
            <p:cNvSpPr/>
            <p:nvPr/>
          </p:nvSpPr>
          <p:spPr>
            <a:xfrm>
              <a:off x="5455545" y="925297"/>
              <a:ext cx="50594" cy="59238"/>
            </a:xfrm>
            <a:custGeom>
              <a:avLst/>
              <a:gdLst>
                <a:gd name="connsiteX0" fmla="*/ 88392 w 201263"/>
                <a:gd name="connsiteY0" fmla="*/ 235648 h 235648"/>
                <a:gd name="connsiteX1" fmla="*/ 51149 w 201263"/>
                <a:gd name="connsiteY1" fmla="*/ 228981 h 235648"/>
                <a:gd name="connsiteX2" fmla="*/ 23431 w 201263"/>
                <a:gd name="connsiteY2" fmla="*/ 210026 h 235648"/>
                <a:gd name="connsiteX3" fmla="*/ 6001 w 201263"/>
                <a:gd name="connsiteY3" fmla="*/ 180784 h 235648"/>
                <a:gd name="connsiteX4" fmla="*/ 0 w 201263"/>
                <a:gd name="connsiteY4" fmla="*/ 143256 h 235648"/>
                <a:gd name="connsiteX5" fmla="*/ 0 w 201263"/>
                <a:gd name="connsiteY5" fmla="*/ 0 h 235648"/>
                <a:gd name="connsiteX6" fmla="*/ 34385 w 201263"/>
                <a:gd name="connsiteY6" fmla="*/ 0 h 235648"/>
                <a:gd name="connsiteX7" fmla="*/ 34385 w 201263"/>
                <a:gd name="connsiteY7" fmla="*/ 134493 h 235648"/>
                <a:gd name="connsiteX8" fmla="*/ 50864 w 201263"/>
                <a:gd name="connsiteY8" fmla="*/ 185261 h 235648"/>
                <a:gd name="connsiteX9" fmla="*/ 98203 w 201263"/>
                <a:gd name="connsiteY9" fmla="*/ 203930 h 235648"/>
                <a:gd name="connsiteX10" fmla="*/ 125635 w 201263"/>
                <a:gd name="connsiteY10" fmla="*/ 198787 h 235648"/>
                <a:gd name="connsiteX11" fmla="*/ 147542 w 201263"/>
                <a:gd name="connsiteY11" fmla="*/ 184118 h 235648"/>
                <a:gd name="connsiteX12" fmla="*/ 162020 w 201263"/>
                <a:gd name="connsiteY12" fmla="*/ 161163 h 235648"/>
                <a:gd name="connsiteX13" fmla="*/ 167354 w 201263"/>
                <a:gd name="connsiteY13" fmla="*/ 131826 h 235648"/>
                <a:gd name="connsiteX14" fmla="*/ 167354 w 201263"/>
                <a:gd name="connsiteY14" fmla="*/ 0 h 235648"/>
                <a:gd name="connsiteX15" fmla="*/ 201263 w 201263"/>
                <a:gd name="connsiteY15" fmla="*/ 0 h 235648"/>
                <a:gd name="connsiteX16" fmla="*/ 201263 w 201263"/>
                <a:gd name="connsiteY16" fmla="*/ 230791 h 235648"/>
                <a:gd name="connsiteX17" fmla="*/ 167354 w 201263"/>
                <a:gd name="connsiteY17" fmla="*/ 230791 h 235648"/>
                <a:gd name="connsiteX18" fmla="*/ 167354 w 201263"/>
                <a:gd name="connsiteY18" fmla="*/ 190595 h 235648"/>
                <a:gd name="connsiteX19" fmla="*/ 136969 w 201263"/>
                <a:gd name="connsiteY19" fmla="*/ 222504 h 235648"/>
                <a:gd name="connsiteX20" fmla="*/ 88297 w 201263"/>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263" h="235648">
                  <a:moveTo>
                    <a:pt x="88392" y="235648"/>
                  </a:moveTo>
                  <a:cubicBezTo>
                    <a:pt x="74390" y="235648"/>
                    <a:pt x="62008" y="233363"/>
                    <a:pt x="51149" y="228981"/>
                  </a:cubicBezTo>
                  <a:cubicBezTo>
                    <a:pt x="40291" y="224504"/>
                    <a:pt x="31052" y="218218"/>
                    <a:pt x="23431"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864" y="185261"/>
                  </a:cubicBezTo>
                  <a:cubicBezTo>
                    <a:pt x="61913" y="197739"/>
                    <a:pt x="77629" y="203930"/>
                    <a:pt x="98203" y="203930"/>
                  </a:cubicBezTo>
                  <a:cubicBezTo>
                    <a:pt x="108014" y="203930"/>
                    <a:pt x="117158" y="202216"/>
                    <a:pt x="125635" y="198787"/>
                  </a:cubicBezTo>
                  <a:cubicBezTo>
                    <a:pt x="134112" y="195358"/>
                    <a:pt x="141351" y="190500"/>
                    <a:pt x="147542" y="184118"/>
                  </a:cubicBezTo>
                  <a:cubicBezTo>
                    <a:pt x="153638" y="177736"/>
                    <a:pt x="158496" y="170116"/>
                    <a:pt x="162020" y="161163"/>
                  </a:cubicBezTo>
                  <a:cubicBezTo>
                    <a:pt x="165640" y="152305"/>
                    <a:pt x="167354" y="142494"/>
                    <a:pt x="167354" y="131826"/>
                  </a:cubicBezTo>
                  <a:lnTo>
                    <a:pt x="167354" y="0"/>
                  </a:lnTo>
                  <a:lnTo>
                    <a:pt x="201263" y="0"/>
                  </a:lnTo>
                  <a:lnTo>
                    <a:pt x="201263" y="230791"/>
                  </a:lnTo>
                  <a:lnTo>
                    <a:pt x="167354" y="230791"/>
                  </a:lnTo>
                  <a:lnTo>
                    <a:pt x="167354" y="190595"/>
                  </a:lnTo>
                  <a:cubicBezTo>
                    <a:pt x="159639" y="203073"/>
                    <a:pt x="149447" y="213741"/>
                    <a:pt x="136969" y="222504"/>
                  </a:cubicBezTo>
                  <a:cubicBezTo>
                    <a:pt x="124492" y="231267"/>
                    <a:pt x="108299" y="235648"/>
                    <a:pt x="88297" y="235648"/>
                  </a:cubicBezTo>
                  <a:close/>
                </a:path>
              </a:pathLst>
            </a:custGeom>
            <a:solidFill>
              <a:srgbClr val="44505E"/>
            </a:solidFill>
            <a:ln w="9525" cap="flat">
              <a:noFill/>
              <a:prstDash val="solid"/>
              <a:miter/>
            </a:ln>
          </p:spPr>
          <p:txBody>
            <a:bodyPr rtlCol="0" anchor="ctr"/>
            <a:lstStyle/>
            <a:p>
              <a:endParaRPr lang="pt-BR" noProof="0"/>
            </a:p>
          </p:txBody>
        </p:sp>
        <p:sp>
          <p:nvSpPr>
            <p:cNvPr id="38" name="Freeform: Shape 37">
              <a:extLst>
                <a:ext uri="{FF2B5EF4-FFF2-40B4-BE49-F238E27FC236}">
                  <a16:creationId xmlns:a16="http://schemas.microsoft.com/office/drawing/2014/main" id="{90CEAC57-42D2-A073-1B30-D81095F0D8E7}"/>
                </a:ext>
              </a:extLst>
            </p:cNvPr>
            <p:cNvSpPr/>
            <p:nvPr/>
          </p:nvSpPr>
          <p:spPr>
            <a:xfrm>
              <a:off x="5522205" y="901353"/>
              <a:ext cx="58567" cy="83182"/>
            </a:xfrm>
            <a:custGeom>
              <a:avLst/>
              <a:gdLst>
                <a:gd name="connsiteX0" fmla="*/ 110204 w 232981"/>
                <a:gd name="connsiteY0" fmla="*/ 330898 h 330898"/>
                <a:gd name="connsiteX1" fmla="*/ 69628 w 232981"/>
                <a:gd name="connsiteY1" fmla="*/ 322897 h 330898"/>
                <a:gd name="connsiteX2" fmla="*/ 34385 w 232981"/>
                <a:gd name="connsiteY2" fmla="*/ 299466 h 330898"/>
                <a:gd name="connsiteX3" fmla="*/ 9334 w 232981"/>
                <a:gd name="connsiteY3" fmla="*/ 261938 h 330898"/>
                <a:gd name="connsiteX4" fmla="*/ 0 w 232981"/>
                <a:gd name="connsiteY4" fmla="*/ 211264 h 330898"/>
                <a:gd name="connsiteX5" fmla="*/ 0 w 232981"/>
                <a:gd name="connsiteY5" fmla="*/ 210407 h 330898"/>
                <a:gd name="connsiteX6" fmla="*/ 9334 w 232981"/>
                <a:gd name="connsiteY6" fmla="*/ 159925 h 330898"/>
                <a:gd name="connsiteX7" fmla="*/ 34385 w 232981"/>
                <a:gd name="connsiteY7" fmla="*/ 122206 h 330898"/>
                <a:gd name="connsiteX8" fmla="*/ 69628 w 232981"/>
                <a:gd name="connsiteY8" fmla="*/ 98488 h 330898"/>
                <a:gd name="connsiteX9" fmla="*/ 110204 w 232981"/>
                <a:gd name="connsiteY9" fmla="*/ 90202 h 330898"/>
                <a:gd name="connsiteX10" fmla="*/ 139636 w 232981"/>
                <a:gd name="connsiteY10" fmla="*/ 94202 h 330898"/>
                <a:gd name="connsiteX11" fmla="*/ 163735 w 232981"/>
                <a:gd name="connsiteY11" fmla="*/ 104870 h 330898"/>
                <a:gd name="connsiteX12" fmla="*/ 183166 w 232981"/>
                <a:gd name="connsiteY12" fmla="*/ 120491 h 330898"/>
                <a:gd name="connsiteX13" fmla="*/ 198596 w 232981"/>
                <a:gd name="connsiteY13" fmla="*/ 139255 h 330898"/>
                <a:gd name="connsiteX14" fmla="*/ 198596 w 232981"/>
                <a:gd name="connsiteY14" fmla="*/ 0 h 330898"/>
                <a:gd name="connsiteX15" fmla="*/ 232981 w 232981"/>
                <a:gd name="connsiteY15" fmla="*/ 0 h 330898"/>
                <a:gd name="connsiteX16" fmla="*/ 232981 w 232981"/>
                <a:gd name="connsiteY16" fmla="*/ 325850 h 330898"/>
                <a:gd name="connsiteX17" fmla="*/ 198596 w 232981"/>
                <a:gd name="connsiteY17" fmla="*/ 325850 h 330898"/>
                <a:gd name="connsiteX18" fmla="*/ 198596 w 232981"/>
                <a:gd name="connsiteY18" fmla="*/ 279463 h 330898"/>
                <a:gd name="connsiteX19" fmla="*/ 182785 w 232981"/>
                <a:gd name="connsiteY19" fmla="*/ 299085 h 330898"/>
                <a:gd name="connsiteX20" fmla="*/ 163354 w 232981"/>
                <a:gd name="connsiteY20" fmla="*/ 315658 h 330898"/>
                <a:gd name="connsiteX21" fmla="*/ 139446 w 232981"/>
                <a:gd name="connsiteY21" fmla="*/ 326803 h 330898"/>
                <a:gd name="connsiteX22" fmla="*/ 110204 w 232981"/>
                <a:gd name="connsiteY22" fmla="*/ 330803 h 330898"/>
                <a:gd name="connsiteX23" fmla="*/ 116491 w 232981"/>
                <a:gd name="connsiteY23" fmla="*/ 300133 h 330898"/>
                <a:gd name="connsiteX24" fmla="*/ 147542 w 232981"/>
                <a:gd name="connsiteY24" fmla="*/ 293656 h 330898"/>
                <a:gd name="connsiteX25" fmla="*/ 174307 w 232981"/>
                <a:gd name="connsiteY25" fmla="*/ 275368 h 330898"/>
                <a:gd name="connsiteX26" fmla="*/ 193072 w 232981"/>
                <a:gd name="connsiteY26" fmla="*/ 247269 h 330898"/>
                <a:gd name="connsiteX27" fmla="*/ 200025 w 232981"/>
                <a:gd name="connsiteY27" fmla="*/ 210883 h 330898"/>
                <a:gd name="connsiteX28" fmla="*/ 200025 w 232981"/>
                <a:gd name="connsiteY28" fmla="*/ 210026 h 330898"/>
                <a:gd name="connsiteX29" fmla="*/ 193072 w 232981"/>
                <a:gd name="connsiteY29" fmla="*/ 173641 h 330898"/>
                <a:gd name="connsiteX30" fmla="*/ 174307 w 232981"/>
                <a:gd name="connsiteY30" fmla="*/ 145732 h 330898"/>
                <a:gd name="connsiteX31" fmla="*/ 147542 w 232981"/>
                <a:gd name="connsiteY31" fmla="*/ 127635 h 330898"/>
                <a:gd name="connsiteX32" fmla="*/ 116491 w 232981"/>
                <a:gd name="connsiteY32" fmla="*/ 121158 h 330898"/>
                <a:gd name="connsiteX33" fmla="*/ 84772 w 232981"/>
                <a:gd name="connsiteY33" fmla="*/ 127159 h 330898"/>
                <a:gd name="connsiteX34" fmla="*/ 59150 w 232981"/>
                <a:gd name="connsiteY34" fmla="*/ 144589 h 330898"/>
                <a:gd name="connsiteX35" fmla="*/ 41719 w 232981"/>
                <a:gd name="connsiteY35" fmla="*/ 172498 h 330898"/>
                <a:gd name="connsiteX36" fmla="*/ 35242 w 232981"/>
                <a:gd name="connsiteY36" fmla="*/ 210026 h 330898"/>
                <a:gd name="connsiteX37" fmla="*/ 35242 w 232981"/>
                <a:gd name="connsiteY37" fmla="*/ 210883 h 330898"/>
                <a:gd name="connsiteX38" fmla="*/ 41719 w 232981"/>
                <a:gd name="connsiteY38" fmla="*/ 247936 h 330898"/>
                <a:gd name="connsiteX39" fmla="*/ 59341 w 232981"/>
                <a:gd name="connsiteY39" fmla="*/ 276034 h 330898"/>
                <a:gd name="connsiteX40" fmla="*/ 85249 w 232981"/>
                <a:gd name="connsiteY40" fmla="*/ 293941 h 330898"/>
                <a:gd name="connsiteX41" fmla="*/ 116491 w 23298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30898">
                  <a:moveTo>
                    <a:pt x="110204" y="330898"/>
                  </a:moveTo>
                  <a:cubicBezTo>
                    <a:pt x="96202" y="330898"/>
                    <a:pt x="82677" y="328231"/>
                    <a:pt x="69628" y="322897"/>
                  </a:cubicBezTo>
                  <a:cubicBezTo>
                    <a:pt x="56578" y="317563"/>
                    <a:pt x="44767" y="309753"/>
                    <a:pt x="34385" y="299466"/>
                  </a:cubicBezTo>
                  <a:cubicBezTo>
                    <a:pt x="24003" y="289179"/>
                    <a:pt x="15621" y="276701"/>
                    <a:pt x="9334" y="261938"/>
                  </a:cubicBezTo>
                  <a:cubicBezTo>
                    <a:pt x="3048" y="247174"/>
                    <a:pt x="0" y="230314"/>
                    <a:pt x="0" y="211264"/>
                  </a:cubicBezTo>
                  <a:lnTo>
                    <a:pt x="0" y="210407"/>
                  </a:lnTo>
                  <a:cubicBezTo>
                    <a:pt x="0" y="191643"/>
                    <a:pt x="3143" y="174879"/>
                    <a:pt x="9334" y="159925"/>
                  </a:cubicBezTo>
                  <a:cubicBezTo>
                    <a:pt x="15621" y="145066"/>
                    <a:pt x="23908" y="132493"/>
                    <a:pt x="34385" y="122206"/>
                  </a:cubicBezTo>
                  <a:cubicBezTo>
                    <a:pt x="44767" y="111919"/>
                    <a:pt x="56578" y="104013"/>
                    <a:pt x="69628" y="98488"/>
                  </a:cubicBezTo>
                  <a:cubicBezTo>
                    <a:pt x="82677" y="92964"/>
                    <a:pt x="96298" y="90202"/>
                    <a:pt x="110204" y="90202"/>
                  </a:cubicBezTo>
                  <a:cubicBezTo>
                    <a:pt x="120967" y="90202"/>
                    <a:pt x="130778" y="91535"/>
                    <a:pt x="139636" y="94202"/>
                  </a:cubicBezTo>
                  <a:cubicBezTo>
                    <a:pt x="148590" y="96869"/>
                    <a:pt x="156591" y="100489"/>
                    <a:pt x="163735" y="104870"/>
                  </a:cubicBezTo>
                  <a:cubicBezTo>
                    <a:pt x="170878" y="109347"/>
                    <a:pt x="177356" y="114586"/>
                    <a:pt x="183166" y="120491"/>
                  </a:cubicBezTo>
                  <a:cubicBezTo>
                    <a:pt x="188976" y="126492"/>
                    <a:pt x="194119" y="132683"/>
                    <a:pt x="198596" y="139255"/>
                  </a:cubicBezTo>
                  <a:lnTo>
                    <a:pt x="198596" y="0"/>
                  </a:lnTo>
                  <a:lnTo>
                    <a:pt x="232981" y="0"/>
                  </a:lnTo>
                  <a:lnTo>
                    <a:pt x="232981" y="325850"/>
                  </a:lnTo>
                  <a:lnTo>
                    <a:pt x="198596" y="325850"/>
                  </a:lnTo>
                  <a:lnTo>
                    <a:pt x="198596" y="279463"/>
                  </a:lnTo>
                  <a:cubicBezTo>
                    <a:pt x="193834" y="286321"/>
                    <a:pt x="188595" y="292894"/>
                    <a:pt x="182785" y="299085"/>
                  </a:cubicBezTo>
                  <a:cubicBezTo>
                    <a:pt x="176974" y="305371"/>
                    <a:pt x="170498" y="310896"/>
                    <a:pt x="163354" y="315658"/>
                  </a:cubicBezTo>
                  <a:cubicBezTo>
                    <a:pt x="156210" y="320421"/>
                    <a:pt x="148209" y="324136"/>
                    <a:pt x="139446" y="326803"/>
                  </a:cubicBezTo>
                  <a:cubicBezTo>
                    <a:pt x="130683" y="329470"/>
                    <a:pt x="120967" y="330803"/>
                    <a:pt x="110204" y="330803"/>
                  </a:cubicBezTo>
                  <a:close/>
                  <a:moveTo>
                    <a:pt x="116491" y="300133"/>
                  </a:moveTo>
                  <a:cubicBezTo>
                    <a:pt x="127159" y="300133"/>
                    <a:pt x="137541" y="297942"/>
                    <a:pt x="147542" y="293656"/>
                  </a:cubicBezTo>
                  <a:cubicBezTo>
                    <a:pt x="157544" y="289369"/>
                    <a:pt x="166402" y="283273"/>
                    <a:pt x="174307" y="275368"/>
                  </a:cubicBezTo>
                  <a:cubicBezTo>
                    <a:pt x="182213" y="267462"/>
                    <a:pt x="188404" y="258127"/>
                    <a:pt x="193072" y="247269"/>
                  </a:cubicBezTo>
                  <a:cubicBezTo>
                    <a:pt x="197644" y="236410"/>
                    <a:pt x="200025" y="224314"/>
                    <a:pt x="200025" y="210883"/>
                  </a:cubicBezTo>
                  <a:lnTo>
                    <a:pt x="200025" y="210026"/>
                  </a:lnTo>
                  <a:cubicBezTo>
                    <a:pt x="200025" y="196596"/>
                    <a:pt x="197739" y="184499"/>
                    <a:pt x="193072" y="173641"/>
                  </a:cubicBezTo>
                  <a:cubicBezTo>
                    <a:pt x="188500" y="162782"/>
                    <a:pt x="182213" y="153448"/>
                    <a:pt x="174307" y="145732"/>
                  </a:cubicBezTo>
                  <a:cubicBezTo>
                    <a:pt x="166402" y="138017"/>
                    <a:pt x="157448" y="132016"/>
                    <a:pt x="147542" y="127635"/>
                  </a:cubicBezTo>
                  <a:cubicBezTo>
                    <a:pt x="137541" y="123349"/>
                    <a:pt x="127254" y="121158"/>
                    <a:pt x="116491" y="121158"/>
                  </a:cubicBezTo>
                  <a:cubicBezTo>
                    <a:pt x="105156" y="121158"/>
                    <a:pt x="94583" y="123158"/>
                    <a:pt x="84772" y="127159"/>
                  </a:cubicBezTo>
                  <a:cubicBezTo>
                    <a:pt x="74962" y="131159"/>
                    <a:pt x="66389" y="136969"/>
                    <a:pt x="59150" y="144589"/>
                  </a:cubicBezTo>
                  <a:cubicBezTo>
                    <a:pt x="51816" y="152114"/>
                    <a:pt x="46101" y="161449"/>
                    <a:pt x="41719" y="172498"/>
                  </a:cubicBezTo>
                  <a:cubicBezTo>
                    <a:pt x="37433" y="183451"/>
                    <a:pt x="35242" y="196024"/>
                    <a:pt x="35242" y="210026"/>
                  </a:cubicBezTo>
                  <a:lnTo>
                    <a:pt x="35242" y="210883"/>
                  </a:lnTo>
                  <a:cubicBezTo>
                    <a:pt x="35242" y="224599"/>
                    <a:pt x="37433" y="236982"/>
                    <a:pt x="41719" y="247936"/>
                  </a:cubicBezTo>
                  <a:cubicBezTo>
                    <a:pt x="46006" y="258984"/>
                    <a:pt x="51911" y="268319"/>
                    <a:pt x="59341" y="276034"/>
                  </a:cubicBezTo>
                  <a:cubicBezTo>
                    <a:pt x="66770" y="283750"/>
                    <a:pt x="75438" y="289750"/>
                    <a:pt x="85249" y="293941"/>
                  </a:cubicBezTo>
                  <a:cubicBezTo>
                    <a:pt x="95059" y="298132"/>
                    <a:pt x="105442" y="300228"/>
                    <a:pt x="116491" y="300228"/>
                  </a:cubicBezTo>
                  <a:close/>
                </a:path>
              </a:pathLst>
            </a:custGeom>
            <a:solidFill>
              <a:srgbClr val="44505E"/>
            </a:solidFill>
            <a:ln w="9525" cap="flat">
              <a:noFill/>
              <a:prstDash val="solid"/>
              <a:miter/>
            </a:ln>
          </p:spPr>
          <p:txBody>
            <a:bodyPr rtlCol="0" anchor="ctr"/>
            <a:lstStyle/>
            <a:p>
              <a:endParaRPr lang="pt-BR" noProof="0"/>
            </a:p>
          </p:txBody>
        </p:sp>
        <p:sp>
          <p:nvSpPr>
            <p:cNvPr id="39" name="Freeform: Shape 38">
              <a:extLst>
                <a:ext uri="{FF2B5EF4-FFF2-40B4-BE49-F238E27FC236}">
                  <a16:creationId xmlns:a16="http://schemas.microsoft.com/office/drawing/2014/main" id="{C1836B89-43E2-6791-CA09-5D5FBF3C7547}"/>
                </a:ext>
              </a:extLst>
            </p:cNvPr>
            <p:cNvSpPr/>
            <p:nvPr/>
          </p:nvSpPr>
          <p:spPr>
            <a:xfrm>
              <a:off x="5596504"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6963 w 218217"/>
                <a:gd name="connsiteY3" fmla="*/ 206026 h 241077"/>
                <a:gd name="connsiteX4" fmla="*/ 116015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8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1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452 w 218217"/>
                <a:gd name="connsiteY25" fmla="*/ 106299 h 241077"/>
                <a:gd name="connsiteX26" fmla="*/ 176784 w 218217"/>
                <a:gd name="connsiteY26" fmla="*/ 76771 h 241077"/>
                <a:gd name="connsiteX27" fmla="*/ 162306 w 218217"/>
                <a:gd name="connsiteY27" fmla="*/ 52101 h 241077"/>
                <a:gd name="connsiteX28" fmla="*/ 140018 w 218217"/>
                <a:gd name="connsiteY28" fmla="*/ 35242 h 241077"/>
                <a:gd name="connsiteX29" fmla="*/ 109919 w 218217"/>
                <a:gd name="connsiteY29" fmla="*/ 29051 h 241077"/>
                <a:gd name="connsiteX30" fmla="*/ 82201 w 218217"/>
                <a:gd name="connsiteY30" fmla="*/ 34766 h 241077"/>
                <a:gd name="connsiteX31" fmla="*/ 59436 w 218217"/>
                <a:gd name="connsiteY31" fmla="*/ 50959 h 241077"/>
                <a:gd name="connsiteX32" fmla="*/ 43148 w 218217"/>
                <a:gd name="connsiteY32" fmla="*/ 75628 h 241077"/>
                <a:gd name="connsiteX33" fmla="*/ 34862 w 218217"/>
                <a:gd name="connsiteY33" fmla="*/ 106204 h 241077"/>
                <a:gd name="connsiteX34" fmla="*/ 183547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724" y="202597"/>
                    <a:pt x="86963" y="206026"/>
                  </a:cubicBezTo>
                  <a:cubicBezTo>
                    <a:pt x="96203" y="209455"/>
                    <a:pt x="105823" y="211169"/>
                    <a:pt x="116015" y="211169"/>
                  </a:cubicBezTo>
                  <a:cubicBezTo>
                    <a:pt x="132112" y="211169"/>
                    <a:pt x="145828" y="208216"/>
                    <a:pt x="157353" y="202216"/>
                  </a:cubicBezTo>
                  <a:cubicBezTo>
                    <a:pt x="168783" y="196310"/>
                    <a:pt x="179261" y="188404"/>
                    <a:pt x="188786" y="178594"/>
                  </a:cubicBezTo>
                  <a:lnTo>
                    <a:pt x="210217" y="197834"/>
                  </a:lnTo>
                  <a:cubicBezTo>
                    <a:pt x="198596" y="210979"/>
                    <a:pt x="185357" y="221361"/>
                    <a:pt x="170498" y="229267"/>
                  </a:cubicBezTo>
                  <a:cubicBezTo>
                    <a:pt x="155639"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679" y="0"/>
                    <a:pt x="110681"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452" y="106299"/>
                  </a:moveTo>
                  <a:cubicBezTo>
                    <a:pt x="182594" y="95917"/>
                    <a:pt x="180308" y="86106"/>
                    <a:pt x="176784" y="76771"/>
                  </a:cubicBezTo>
                  <a:cubicBezTo>
                    <a:pt x="173165" y="67437"/>
                    <a:pt x="168402" y="59245"/>
                    <a:pt x="162306" y="52101"/>
                  </a:cubicBezTo>
                  <a:cubicBezTo>
                    <a:pt x="156210" y="44958"/>
                    <a:pt x="148781" y="39338"/>
                    <a:pt x="140018" y="35242"/>
                  </a:cubicBezTo>
                  <a:cubicBezTo>
                    <a:pt x="131254" y="31147"/>
                    <a:pt x="121158" y="29051"/>
                    <a:pt x="109919" y="29051"/>
                  </a:cubicBezTo>
                  <a:cubicBezTo>
                    <a:pt x="100108" y="29051"/>
                    <a:pt x="90869" y="30956"/>
                    <a:pt x="82201" y="34766"/>
                  </a:cubicBezTo>
                  <a:cubicBezTo>
                    <a:pt x="73533" y="38671"/>
                    <a:pt x="66008" y="44005"/>
                    <a:pt x="59436" y="50959"/>
                  </a:cubicBezTo>
                  <a:cubicBezTo>
                    <a:pt x="52864" y="57912"/>
                    <a:pt x="47435" y="66103"/>
                    <a:pt x="43148" y="75628"/>
                  </a:cubicBezTo>
                  <a:cubicBezTo>
                    <a:pt x="38862" y="85058"/>
                    <a:pt x="36100" y="95345"/>
                    <a:pt x="34862" y="106204"/>
                  </a:cubicBezTo>
                  <a:lnTo>
                    <a:pt x="183547" y="106204"/>
                  </a:lnTo>
                  <a:close/>
                </a:path>
              </a:pathLst>
            </a:custGeom>
            <a:solidFill>
              <a:srgbClr val="44505E"/>
            </a:solidFill>
            <a:ln w="9525" cap="flat">
              <a:noFill/>
              <a:prstDash val="solid"/>
              <a:miter/>
            </a:ln>
          </p:spPr>
          <p:txBody>
            <a:bodyPr rtlCol="0" anchor="ctr"/>
            <a:lstStyle/>
            <a:p>
              <a:endParaRPr lang="pt-BR" noProof="0"/>
            </a:p>
          </p:txBody>
        </p:sp>
        <p:sp>
          <p:nvSpPr>
            <p:cNvPr id="40" name="Freeform: Shape 39">
              <a:extLst>
                <a:ext uri="{FF2B5EF4-FFF2-40B4-BE49-F238E27FC236}">
                  <a16:creationId xmlns:a16="http://schemas.microsoft.com/office/drawing/2014/main" id="{10FA4940-2FC9-E206-45C3-DA41E1A9C59D}"/>
                </a:ext>
              </a:extLst>
            </p:cNvPr>
            <p:cNvSpPr/>
            <p:nvPr/>
          </p:nvSpPr>
          <p:spPr>
            <a:xfrm>
              <a:off x="5661680" y="924268"/>
              <a:ext cx="44656" cy="60195"/>
            </a:xfrm>
            <a:custGeom>
              <a:avLst/>
              <a:gdLst>
                <a:gd name="connsiteX0" fmla="*/ 95536 w 177641"/>
                <a:gd name="connsiteY0" fmla="*/ 239268 h 239458"/>
                <a:gd name="connsiteX1" fmla="*/ 45053 w 177641"/>
                <a:gd name="connsiteY1" fmla="*/ 230124 h 239458"/>
                <a:gd name="connsiteX2" fmla="*/ 0 w 177641"/>
                <a:gd name="connsiteY2" fmla="*/ 205359 h 239458"/>
                <a:gd name="connsiteX3" fmla="*/ 17431 w 177641"/>
                <a:gd name="connsiteY3" fmla="*/ 180785 h 239458"/>
                <a:gd name="connsiteX4" fmla="*/ 56483 w 177641"/>
                <a:gd name="connsiteY4" fmla="*/ 202692 h 239458"/>
                <a:gd name="connsiteX5" fmla="*/ 97346 w 177641"/>
                <a:gd name="connsiteY5" fmla="*/ 210217 h 239458"/>
                <a:gd name="connsiteX6" fmla="*/ 131731 w 177641"/>
                <a:gd name="connsiteY6" fmla="*/ 200406 h 239458"/>
                <a:gd name="connsiteX7" fmla="*/ 145161 w 177641"/>
                <a:gd name="connsiteY7" fmla="*/ 173641 h 239458"/>
                <a:gd name="connsiteX8" fmla="*/ 145161 w 177641"/>
                <a:gd name="connsiteY8" fmla="*/ 172784 h 239458"/>
                <a:gd name="connsiteX9" fmla="*/ 140494 w 177641"/>
                <a:gd name="connsiteY9" fmla="*/ 158020 h 239458"/>
                <a:gd name="connsiteX10" fmla="*/ 127730 w 177641"/>
                <a:gd name="connsiteY10" fmla="*/ 147066 h 239458"/>
                <a:gd name="connsiteX11" fmla="*/ 109157 w 177641"/>
                <a:gd name="connsiteY11" fmla="*/ 138779 h 239458"/>
                <a:gd name="connsiteX12" fmla="*/ 87535 w 177641"/>
                <a:gd name="connsiteY12" fmla="*/ 132112 h 239458"/>
                <a:gd name="connsiteX13" fmla="*/ 60484 w 177641"/>
                <a:gd name="connsiteY13" fmla="*/ 123444 h 239458"/>
                <a:gd name="connsiteX14" fmla="*/ 35909 w 177641"/>
                <a:gd name="connsiteY14" fmla="*/ 111633 h 239458"/>
                <a:gd name="connsiteX15" fmla="*/ 18098 w 177641"/>
                <a:gd name="connsiteY15" fmla="*/ 93726 h 239458"/>
                <a:gd name="connsiteX16" fmla="*/ 11144 w 177641"/>
                <a:gd name="connsiteY16" fmla="*/ 66961 h 239458"/>
                <a:gd name="connsiteX17" fmla="*/ 11144 w 177641"/>
                <a:gd name="connsiteY17" fmla="*/ 66008 h 239458"/>
                <a:gd name="connsiteX18" fmla="*/ 16954 w 177641"/>
                <a:gd name="connsiteY18" fmla="*/ 39053 h 239458"/>
                <a:gd name="connsiteX19" fmla="*/ 33242 w 177641"/>
                <a:gd name="connsiteY19" fmla="*/ 18098 h 239458"/>
                <a:gd name="connsiteX20" fmla="*/ 58293 w 177641"/>
                <a:gd name="connsiteY20" fmla="*/ 4667 h 239458"/>
                <a:gd name="connsiteX21" fmla="*/ 89725 w 177641"/>
                <a:gd name="connsiteY21" fmla="*/ 0 h 239458"/>
                <a:gd name="connsiteX22" fmla="*/ 133064 w 177641"/>
                <a:gd name="connsiteY22" fmla="*/ 6953 h 239458"/>
                <a:gd name="connsiteX23" fmla="*/ 172784 w 177641"/>
                <a:gd name="connsiteY23" fmla="*/ 25527 h 239458"/>
                <a:gd name="connsiteX24" fmla="*/ 157163 w 177641"/>
                <a:gd name="connsiteY24" fmla="*/ 51435 h 239458"/>
                <a:gd name="connsiteX25" fmla="*/ 123444 w 177641"/>
                <a:gd name="connsiteY25" fmla="*/ 35147 h 239458"/>
                <a:gd name="connsiteX26" fmla="*/ 88868 w 177641"/>
                <a:gd name="connsiteY26" fmla="*/ 29146 h 239458"/>
                <a:gd name="connsiteX27" fmla="*/ 56293 w 177641"/>
                <a:gd name="connsiteY27" fmla="*/ 38767 h 239458"/>
                <a:gd name="connsiteX28" fmla="*/ 44196 w 177641"/>
                <a:gd name="connsiteY28" fmla="*/ 62675 h 239458"/>
                <a:gd name="connsiteX29" fmla="*/ 44196 w 177641"/>
                <a:gd name="connsiteY29" fmla="*/ 63627 h 239458"/>
                <a:gd name="connsiteX30" fmla="*/ 49149 w 177641"/>
                <a:gd name="connsiteY30" fmla="*/ 77724 h 239458"/>
                <a:gd name="connsiteX31" fmla="*/ 62294 w 177641"/>
                <a:gd name="connsiteY31" fmla="*/ 88202 h 239458"/>
                <a:gd name="connsiteX32" fmla="*/ 81248 w 177641"/>
                <a:gd name="connsiteY32" fmla="*/ 96203 h 239458"/>
                <a:gd name="connsiteX33" fmla="*/ 103537 w 177641"/>
                <a:gd name="connsiteY33" fmla="*/ 103346 h 239458"/>
                <a:gd name="connsiteX34" fmla="*/ 130112 w 177641"/>
                <a:gd name="connsiteY34" fmla="*/ 112300 h 239458"/>
                <a:gd name="connsiteX35" fmla="*/ 154019 w 177641"/>
                <a:gd name="connsiteY35" fmla="*/ 124778 h 239458"/>
                <a:gd name="connsiteX36" fmla="*/ 171164 w 177641"/>
                <a:gd name="connsiteY36" fmla="*/ 143066 h 239458"/>
                <a:gd name="connsiteX37" fmla="*/ 177641 w 177641"/>
                <a:gd name="connsiteY37" fmla="*/ 169450 h 239458"/>
                <a:gd name="connsiteX38" fmla="*/ 177641 w 177641"/>
                <a:gd name="connsiteY38" fmla="*/ 170307 h 239458"/>
                <a:gd name="connsiteX39" fmla="*/ 171164 w 177641"/>
                <a:gd name="connsiteY39" fmla="*/ 199549 h 239458"/>
                <a:gd name="connsiteX40" fmla="*/ 153734 w 177641"/>
                <a:gd name="connsiteY40" fmla="*/ 221171 h 239458"/>
                <a:gd name="connsiteX41" fmla="*/ 127825 w 177641"/>
                <a:gd name="connsiteY41" fmla="*/ 234791 h 239458"/>
                <a:gd name="connsiteX42" fmla="*/ 95441 w 177641"/>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641" h="239458">
                  <a:moveTo>
                    <a:pt x="95536" y="239268"/>
                  </a:moveTo>
                  <a:cubicBezTo>
                    <a:pt x="78867" y="239268"/>
                    <a:pt x="62008" y="236220"/>
                    <a:pt x="45053" y="230124"/>
                  </a:cubicBezTo>
                  <a:cubicBezTo>
                    <a:pt x="28099" y="224028"/>
                    <a:pt x="13049" y="215741"/>
                    <a:pt x="0" y="205359"/>
                  </a:cubicBezTo>
                  <a:lnTo>
                    <a:pt x="17431" y="180785"/>
                  </a:lnTo>
                  <a:cubicBezTo>
                    <a:pt x="29908"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542" y="162211"/>
                    <a:pt x="140494" y="158020"/>
                  </a:cubicBezTo>
                  <a:cubicBezTo>
                    <a:pt x="137350" y="153829"/>
                    <a:pt x="133160" y="150209"/>
                    <a:pt x="127730" y="147066"/>
                  </a:cubicBezTo>
                  <a:cubicBezTo>
                    <a:pt x="122396" y="143923"/>
                    <a:pt x="116205" y="141161"/>
                    <a:pt x="109157" y="138779"/>
                  </a:cubicBezTo>
                  <a:cubicBezTo>
                    <a:pt x="102203" y="136398"/>
                    <a:pt x="94964" y="134207"/>
                    <a:pt x="87535" y="132112"/>
                  </a:cubicBezTo>
                  <a:cubicBezTo>
                    <a:pt x="78581" y="129445"/>
                    <a:pt x="69628" y="126492"/>
                    <a:pt x="60484" y="123444"/>
                  </a:cubicBezTo>
                  <a:cubicBezTo>
                    <a:pt x="51435" y="120301"/>
                    <a:pt x="43244" y="116396"/>
                    <a:pt x="35909" y="111633"/>
                  </a:cubicBezTo>
                  <a:cubicBezTo>
                    <a:pt x="28575" y="106871"/>
                    <a:pt x="22670" y="100870"/>
                    <a:pt x="18098" y="93726"/>
                  </a:cubicBezTo>
                  <a:cubicBezTo>
                    <a:pt x="13525" y="86582"/>
                    <a:pt x="11144" y="77629"/>
                    <a:pt x="11144" y="66961"/>
                  </a:cubicBezTo>
                  <a:lnTo>
                    <a:pt x="11144" y="66008"/>
                  </a:lnTo>
                  <a:cubicBezTo>
                    <a:pt x="11144" y="56198"/>
                    <a:pt x="13049" y="47149"/>
                    <a:pt x="16954" y="39053"/>
                  </a:cubicBezTo>
                  <a:cubicBezTo>
                    <a:pt x="20860" y="30861"/>
                    <a:pt x="26289" y="23908"/>
                    <a:pt x="33242" y="18098"/>
                  </a:cubicBezTo>
                  <a:cubicBezTo>
                    <a:pt x="40196" y="12287"/>
                    <a:pt x="48578" y="7811"/>
                    <a:pt x="58293" y="4667"/>
                  </a:cubicBezTo>
                  <a:cubicBezTo>
                    <a:pt x="67913" y="1524"/>
                    <a:pt x="78486" y="0"/>
                    <a:pt x="89725" y="0"/>
                  </a:cubicBezTo>
                  <a:cubicBezTo>
                    <a:pt x="104013" y="0"/>
                    <a:pt x="118396" y="2286"/>
                    <a:pt x="133064" y="6953"/>
                  </a:cubicBezTo>
                  <a:cubicBezTo>
                    <a:pt x="147638" y="11621"/>
                    <a:pt x="160877" y="17717"/>
                    <a:pt x="172784" y="25527"/>
                  </a:cubicBezTo>
                  <a:lnTo>
                    <a:pt x="157163" y="51435"/>
                  </a:lnTo>
                  <a:cubicBezTo>
                    <a:pt x="146399" y="44577"/>
                    <a:pt x="135255" y="39148"/>
                    <a:pt x="123444" y="35147"/>
                  </a:cubicBezTo>
                  <a:cubicBezTo>
                    <a:pt x="111728" y="31147"/>
                    <a:pt x="100203" y="29146"/>
                    <a:pt x="88868" y="29146"/>
                  </a:cubicBezTo>
                  <a:cubicBezTo>
                    <a:pt x="75152" y="29146"/>
                    <a:pt x="64294" y="32385"/>
                    <a:pt x="56293" y="38767"/>
                  </a:cubicBezTo>
                  <a:cubicBezTo>
                    <a:pt x="48292" y="45149"/>
                    <a:pt x="44196" y="53150"/>
                    <a:pt x="44196" y="62675"/>
                  </a:cubicBezTo>
                  <a:lnTo>
                    <a:pt x="44196" y="63627"/>
                  </a:lnTo>
                  <a:cubicBezTo>
                    <a:pt x="44196" y="68961"/>
                    <a:pt x="45815" y="73628"/>
                    <a:pt x="49149" y="77724"/>
                  </a:cubicBezTo>
                  <a:cubicBezTo>
                    <a:pt x="52388" y="81725"/>
                    <a:pt x="56769" y="85249"/>
                    <a:pt x="62294" y="88202"/>
                  </a:cubicBezTo>
                  <a:cubicBezTo>
                    <a:pt x="67818" y="91154"/>
                    <a:pt x="74104" y="93821"/>
                    <a:pt x="81248" y="96203"/>
                  </a:cubicBezTo>
                  <a:cubicBezTo>
                    <a:pt x="88392" y="98584"/>
                    <a:pt x="95821" y="100965"/>
                    <a:pt x="103537" y="103346"/>
                  </a:cubicBezTo>
                  <a:cubicBezTo>
                    <a:pt x="112490" y="106013"/>
                    <a:pt x="121349" y="108966"/>
                    <a:pt x="130112" y="112300"/>
                  </a:cubicBezTo>
                  <a:cubicBezTo>
                    <a:pt x="138875" y="115538"/>
                    <a:pt x="146875" y="119729"/>
                    <a:pt x="154019" y="124778"/>
                  </a:cubicBezTo>
                  <a:cubicBezTo>
                    <a:pt x="161163" y="129826"/>
                    <a:pt x="166878" y="135922"/>
                    <a:pt x="171164" y="143066"/>
                  </a:cubicBezTo>
                  <a:cubicBezTo>
                    <a:pt x="175450" y="150209"/>
                    <a:pt x="177641" y="158972"/>
                    <a:pt x="177641" y="169450"/>
                  </a:cubicBezTo>
                  <a:lnTo>
                    <a:pt x="177641" y="170307"/>
                  </a:lnTo>
                  <a:cubicBezTo>
                    <a:pt x="177641" y="181356"/>
                    <a:pt x="175450" y="191071"/>
                    <a:pt x="171164" y="199549"/>
                  </a:cubicBezTo>
                  <a:cubicBezTo>
                    <a:pt x="166878" y="208026"/>
                    <a:pt x="161068" y="215265"/>
                    <a:pt x="153734" y="221171"/>
                  </a:cubicBezTo>
                  <a:cubicBezTo>
                    <a:pt x="146495" y="227171"/>
                    <a:pt x="137827" y="231648"/>
                    <a:pt x="127825" y="234791"/>
                  </a:cubicBezTo>
                  <a:cubicBezTo>
                    <a:pt x="117824" y="237935"/>
                    <a:pt x="107061" y="239459"/>
                    <a:pt x="95441" y="239459"/>
                  </a:cubicBezTo>
                  <a:close/>
                </a:path>
              </a:pathLst>
            </a:custGeom>
            <a:solidFill>
              <a:srgbClr val="44505E"/>
            </a:solidFill>
            <a:ln w="9525" cap="flat">
              <a:noFill/>
              <a:prstDash val="solid"/>
              <a:miter/>
            </a:ln>
          </p:spPr>
          <p:txBody>
            <a:bodyPr rtlCol="0" anchor="ctr"/>
            <a:lstStyle/>
            <a:p>
              <a:endParaRPr lang="pt-BR" noProof="0"/>
            </a:p>
          </p:txBody>
        </p:sp>
        <p:sp>
          <p:nvSpPr>
            <p:cNvPr id="41" name="Freeform: Shape 40">
              <a:extLst>
                <a:ext uri="{FF2B5EF4-FFF2-40B4-BE49-F238E27FC236}">
                  <a16:creationId xmlns:a16="http://schemas.microsoft.com/office/drawing/2014/main" id="{FEF797D5-3BC3-38F3-6032-9F169E4B94EE}"/>
                </a:ext>
              </a:extLst>
            </p:cNvPr>
            <p:cNvSpPr/>
            <p:nvPr/>
          </p:nvSpPr>
          <p:spPr>
            <a:xfrm>
              <a:off x="5752668" y="924028"/>
              <a:ext cx="58567" cy="77196"/>
            </a:xfrm>
            <a:custGeom>
              <a:avLst/>
              <a:gdLst>
                <a:gd name="connsiteX0" fmla="*/ 198596 w 232981"/>
                <a:gd name="connsiteY0" fmla="*/ 189357 h 307085"/>
                <a:gd name="connsiteX1" fmla="*/ 182785 w 232981"/>
                <a:gd name="connsiteY1" fmla="*/ 208978 h 307085"/>
                <a:gd name="connsiteX2" fmla="*/ 163354 w 232981"/>
                <a:gd name="connsiteY2" fmla="*/ 225552 h 307085"/>
                <a:gd name="connsiteX3" fmla="*/ 139446 w 232981"/>
                <a:gd name="connsiteY3" fmla="*/ 236696 h 307085"/>
                <a:gd name="connsiteX4" fmla="*/ 110204 w 232981"/>
                <a:gd name="connsiteY4" fmla="*/ 240697 h 307085"/>
                <a:gd name="connsiteX5" fmla="*/ 69628 w 232981"/>
                <a:gd name="connsiteY5" fmla="*/ 232696 h 307085"/>
                <a:gd name="connsiteX6" fmla="*/ 34385 w 232981"/>
                <a:gd name="connsiteY6" fmla="*/ 209264 h 307085"/>
                <a:gd name="connsiteX7" fmla="*/ 9335 w 232981"/>
                <a:gd name="connsiteY7" fmla="*/ 171736 h 307085"/>
                <a:gd name="connsiteX8" fmla="*/ 0 w 232981"/>
                <a:gd name="connsiteY8" fmla="*/ 121063 h 307085"/>
                <a:gd name="connsiteX9" fmla="*/ 0 w 232981"/>
                <a:gd name="connsiteY9" fmla="*/ 120205 h 307085"/>
                <a:gd name="connsiteX10" fmla="*/ 9335 w 232981"/>
                <a:gd name="connsiteY10" fmla="*/ 69723 h 307085"/>
                <a:gd name="connsiteX11" fmla="*/ 34385 w 232981"/>
                <a:gd name="connsiteY11" fmla="*/ 32004 h 307085"/>
                <a:gd name="connsiteX12" fmla="*/ 69628 w 232981"/>
                <a:gd name="connsiteY12" fmla="*/ 8287 h 307085"/>
                <a:gd name="connsiteX13" fmla="*/ 110204 w 232981"/>
                <a:gd name="connsiteY13" fmla="*/ 0 h 307085"/>
                <a:gd name="connsiteX14" fmla="*/ 139637 w 232981"/>
                <a:gd name="connsiteY14" fmla="*/ 4000 h 307085"/>
                <a:gd name="connsiteX15" fmla="*/ 163735 w 232981"/>
                <a:gd name="connsiteY15" fmla="*/ 14668 h 307085"/>
                <a:gd name="connsiteX16" fmla="*/ 183166 w 232981"/>
                <a:gd name="connsiteY16" fmla="*/ 30289 h 307085"/>
                <a:gd name="connsiteX17" fmla="*/ 198596 w 232981"/>
                <a:gd name="connsiteY17" fmla="*/ 49054 h 307085"/>
                <a:gd name="connsiteX18" fmla="*/ 198596 w 232981"/>
                <a:gd name="connsiteY18" fmla="*/ 4858 h 307085"/>
                <a:gd name="connsiteX19" fmla="*/ 232982 w 232981"/>
                <a:gd name="connsiteY19" fmla="*/ 4858 h 307085"/>
                <a:gd name="connsiteX20" fmla="*/ 232982 w 232981"/>
                <a:gd name="connsiteY20" fmla="*/ 307086 h 307085"/>
                <a:gd name="connsiteX21" fmla="*/ 198596 w 232981"/>
                <a:gd name="connsiteY21" fmla="*/ 307086 h 307085"/>
                <a:gd name="connsiteX22" fmla="*/ 198596 w 232981"/>
                <a:gd name="connsiteY22" fmla="*/ 189262 h 307085"/>
                <a:gd name="connsiteX23" fmla="*/ 116491 w 232981"/>
                <a:gd name="connsiteY23" fmla="*/ 209931 h 307085"/>
                <a:gd name="connsiteX24" fmla="*/ 147542 w 232981"/>
                <a:gd name="connsiteY24" fmla="*/ 203454 h 307085"/>
                <a:gd name="connsiteX25" fmla="*/ 174308 w 232981"/>
                <a:gd name="connsiteY25" fmla="*/ 185166 h 307085"/>
                <a:gd name="connsiteX26" fmla="*/ 193072 w 232981"/>
                <a:gd name="connsiteY26" fmla="*/ 157067 h 307085"/>
                <a:gd name="connsiteX27" fmla="*/ 200025 w 232981"/>
                <a:gd name="connsiteY27" fmla="*/ 120682 h 307085"/>
                <a:gd name="connsiteX28" fmla="*/ 200025 w 232981"/>
                <a:gd name="connsiteY28" fmla="*/ 119824 h 307085"/>
                <a:gd name="connsiteX29" fmla="*/ 193072 w 232981"/>
                <a:gd name="connsiteY29" fmla="*/ 83439 h 307085"/>
                <a:gd name="connsiteX30" fmla="*/ 174308 w 232981"/>
                <a:gd name="connsiteY30" fmla="*/ 55531 h 307085"/>
                <a:gd name="connsiteX31" fmla="*/ 147542 w 232981"/>
                <a:gd name="connsiteY31" fmla="*/ 37433 h 307085"/>
                <a:gd name="connsiteX32" fmla="*/ 116491 w 232981"/>
                <a:gd name="connsiteY32" fmla="*/ 30956 h 307085"/>
                <a:gd name="connsiteX33" fmla="*/ 84773 w 232981"/>
                <a:gd name="connsiteY33" fmla="*/ 36957 h 307085"/>
                <a:gd name="connsiteX34" fmla="*/ 59150 w 232981"/>
                <a:gd name="connsiteY34" fmla="*/ 54388 h 307085"/>
                <a:gd name="connsiteX35" fmla="*/ 41720 w 232981"/>
                <a:gd name="connsiteY35" fmla="*/ 82296 h 307085"/>
                <a:gd name="connsiteX36" fmla="*/ 35242 w 232981"/>
                <a:gd name="connsiteY36" fmla="*/ 119824 h 307085"/>
                <a:gd name="connsiteX37" fmla="*/ 35242 w 232981"/>
                <a:gd name="connsiteY37" fmla="*/ 120682 h 307085"/>
                <a:gd name="connsiteX38" fmla="*/ 41720 w 232981"/>
                <a:gd name="connsiteY38" fmla="*/ 157734 h 307085"/>
                <a:gd name="connsiteX39" fmla="*/ 59341 w 232981"/>
                <a:gd name="connsiteY39" fmla="*/ 185833 h 307085"/>
                <a:gd name="connsiteX40" fmla="*/ 85249 w 232981"/>
                <a:gd name="connsiteY40" fmla="*/ 203740 h 307085"/>
                <a:gd name="connsiteX41" fmla="*/ 116491 w 232981"/>
                <a:gd name="connsiteY41" fmla="*/ 210026 h 30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07085">
                  <a:moveTo>
                    <a:pt x="198596" y="189357"/>
                  </a:moveTo>
                  <a:cubicBezTo>
                    <a:pt x="193834" y="196215"/>
                    <a:pt x="188595" y="202787"/>
                    <a:pt x="182785" y="208978"/>
                  </a:cubicBezTo>
                  <a:cubicBezTo>
                    <a:pt x="176975" y="215265"/>
                    <a:pt x="170498" y="220789"/>
                    <a:pt x="163354" y="225552"/>
                  </a:cubicBezTo>
                  <a:cubicBezTo>
                    <a:pt x="156210" y="230314"/>
                    <a:pt x="148209" y="234029"/>
                    <a:pt x="139446" y="236696"/>
                  </a:cubicBezTo>
                  <a:cubicBezTo>
                    <a:pt x="130683" y="239363"/>
                    <a:pt x="120967" y="240697"/>
                    <a:pt x="110204" y="240697"/>
                  </a:cubicBezTo>
                  <a:cubicBezTo>
                    <a:pt x="96203" y="240697"/>
                    <a:pt x="82677" y="238030"/>
                    <a:pt x="69628" y="232696"/>
                  </a:cubicBezTo>
                  <a:cubicBezTo>
                    <a:pt x="56579" y="227362"/>
                    <a:pt x="44767" y="219551"/>
                    <a:pt x="34385" y="209264"/>
                  </a:cubicBezTo>
                  <a:cubicBezTo>
                    <a:pt x="24003" y="198977"/>
                    <a:pt x="15621" y="186499"/>
                    <a:pt x="9335" y="171736"/>
                  </a:cubicBezTo>
                  <a:cubicBezTo>
                    <a:pt x="3048" y="156972"/>
                    <a:pt x="0" y="140113"/>
                    <a:pt x="0" y="121063"/>
                  </a:cubicBezTo>
                  <a:lnTo>
                    <a:pt x="0" y="120205"/>
                  </a:lnTo>
                  <a:cubicBezTo>
                    <a:pt x="0" y="101441"/>
                    <a:pt x="3143" y="84677"/>
                    <a:pt x="9335" y="69723"/>
                  </a:cubicBezTo>
                  <a:cubicBezTo>
                    <a:pt x="15621" y="54864"/>
                    <a:pt x="23908" y="42291"/>
                    <a:pt x="34385" y="32004"/>
                  </a:cubicBezTo>
                  <a:cubicBezTo>
                    <a:pt x="44767" y="21717"/>
                    <a:pt x="56579" y="13811"/>
                    <a:pt x="69628" y="8287"/>
                  </a:cubicBezTo>
                  <a:cubicBezTo>
                    <a:pt x="82677" y="2762"/>
                    <a:pt x="96298" y="0"/>
                    <a:pt x="110204" y="0"/>
                  </a:cubicBezTo>
                  <a:cubicBezTo>
                    <a:pt x="120967" y="0"/>
                    <a:pt x="130778" y="1333"/>
                    <a:pt x="139637" y="4000"/>
                  </a:cubicBezTo>
                  <a:cubicBezTo>
                    <a:pt x="148590" y="6667"/>
                    <a:pt x="156591" y="10287"/>
                    <a:pt x="163735" y="14668"/>
                  </a:cubicBezTo>
                  <a:cubicBezTo>
                    <a:pt x="170879" y="19145"/>
                    <a:pt x="177356" y="24384"/>
                    <a:pt x="183166" y="30289"/>
                  </a:cubicBezTo>
                  <a:cubicBezTo>
                    <a:pt x="188976" y="36290"/>
                    <a:pt x="194120" y="42481"/>
                    <a:pt x="198596" y="49054"/>
                  </a:cubicBezTo>
                  <a:lnTo>
                    <a:pt x="198596" y="4858"/>
                  </a:lnTo>
                  <a:lnTo>
                    <a:pt x="232982" y="4858"/>
                  </a:lnTo>
                  <a:lnTo>
                    <a:pt x="232982" y="307086"/>
                  </a:lnTo>
                  <a:lnTo>
                    <a:pt x="198596" y="307086"/>
                  </a:lnTo>
                  <a:lnTo>
                    <a:pt x="198596" y="189262"/>
                  </a:lnTo>
                  <a:close/>
                  <a:moveTo>
                    <a:pt x="116491" y="209931"/>
                  </a:moveTo>
                  <a:cubicBezTo>
                    <a:pt x="127159" y="209931"/>
                    <a:pt x="137541" y="207740"/>
                    <a:pt x="147542" y="203454"/>
                  </a:cubicBezTo>
                  <a:cubicBezTo>
                    <a:pt x="157544" y="199168"/>
                    <a:pt x="166402" y="193072"/>
                    <a:pt x="174308" y="185166"/>
                  </a:cubicBezTo>
                  <a:cubicBezTo>
                    <a:pt x="182213" y="177260"/>
                    <a:pt x="188404" y="167926"/>
                    <a:pt x="193072" y="157067"/>
                  </a:cubicBezTo>
                  <a:cubicBezTo>
                    <a:pt x="197739" y="146209"/>
                    <a:pt x="200025" y="134112"/>
                    <a:pt x="200025" y="120682"/>
                  </a:cubicBezTo>
                  <a:lnTo>
                    <a:pt x="200025" y="119824"/>
                  </a:lnTo>
                  <a:cubicBezTo>
                    <a:pt x="200025" y="106394"/>
                    <a:pt x="197739" y="94297"/>
                    <a:pt x="193072" y="83439"/>
                  </a:cubicBezTo>
                  <a:cubicBezTo>
                    <a:pt x="188500" y="72580"/>
                    <a:pt x="182213" y="63246"/>
                    <a:pt x="174308" y="55531"/>
                  </a:cubicBezTo>
                  <a:cubicBezTo>
                    <a:pt x="166402" y="47815"/>
                    <a:pt x="157544" y="41815"/>
                    <a:pt x="147542" y="37433"/>
                  </a:cubicBezTo>
                  <a:cubicBezTo>
                    <a:pt x="137541" y="33147"/>
                    <a:pt x="127254" y="30956"/>
                    <a:pt x="116491" y="30956"/>
                  </a:cubicBezTo>
                  <a:cubicBezTo>
                    <a:pt x="105156" y="30956"/>
                    <a:pt x="94583" y="32956"/>
                    <a:pt x="84773" y="36957"/>
                  </a:cubicBezTo>
                  <a:cubicBezTo>
                    <a:pt x="74962" y="40957"/>
                    <a:pt x="66389" y="46767"/>
                    <a:pt x="59150" y="54388"/>
                  </a:cubicBezTo>
                  <a:cubicBezTo>
                    <a:pt x="51816" y="61913"/>
                    <a:pt x="46101" y="71247"/>
                    <a:pt x="41720" y="82296"/>
                  </a:cubicBezTo>
                  <a:cubicBezTo>
                    <a:pt x="37433" y="93250"/>
                    <a:pt x="35242" y="105823"/>
                    <a:pt x="35242" y="119824"/>
                  </a:cubicBezTo>
                  <a:lnTo>
                    <a:pt x="35242" y="120682"/>
                  </a:lnTo>
                  <a:cubicBezTo>
                    <a:pt x="35242" y="134398"/>
                    <a:pt x="37433" y="146780"/>
                    <a:pt x="41720" y="157734"/>
                  </a:cubicBezTo>
                  <a:cubicBezTo>
                    <a:pt x="46006" y="168783"/>
                    <a:pt x="51911" y="178117"/>
                    <a:pt x="59341" y="185833"/>
                  </a:cubicBezTo>
                  <a:cubicBezTo>
                    <a:pt x="66770" y="193548"/>
                    <a:pt x="75438" y="199549"/>
                    <a:pt x="85249" y="203740"/>
                  </a:cubicBezTo>
                  <a:cubicBezTo>
                    <a:pt x="95060" y="207931"/>
                    <a:pt x="105442" y="210026"/>
                    <a:pt x="116491" y="210026"/>
                  </a:cubicBezTo>
                  <a:close/>
                </a:path>
              </a:pathLst>
            </a:custGeom>
            <a:solidFill>
              <a:srgbClr val="44505E"/>
            </a:solidFill>
            <a:ln w="9525" cap="flat">
              <a:noFill/>
              <a:prstDash val="solid"/>
              <a:miter/>
            </a:ln>
          </p:spPr>
          <p:txBody>
            <a:bodyPr rtlCol="0" anchor="ctr"/>
            <a:lstStyle/>
            <a:p>
              <a:endParaRPr lang="pt-BR" noProof="0"/>
            </a:p>
          </p:txBody>
        </p:sp>
        <p:sp>
          <p:nvSpPr>
            <p:cNvPr id="42" name="Freeform: Shape 41">
              <a:extLst>
                <a:ext uri="{FF2B5EF4-FFF2-40B4-BE49-F238E27FC236}">
                  <a16:creationId xmlns:a16="http://schemas.microsoft.com/office/drawing/2014/main" id="{F17971D5-F12B-8CDF-A214-41AC126AB55E}"/>
                </a:ext>
              </a:extLst>
            </p:cNvPr>
            <p:cNvSpPr/>
            <p:nvPr/>
          </p:nvSpPr>
          <p:spPr>
            <a:xfrm>
              <a:off x="5829624" y="925297"/>
              <a:ext cx="50618" cy="59238"/>
            </a:xfrm>
            <a:custGeom>
              <a:avLst/>
              <a:gdLst>
                <a:gd name="connsiteX0" fmla="*/ 88392 w 201358"/>
                <a:gd name="connsiteY0" fmla="*/ 235648 h 235648"/>
                <a:gd name="connsiteX1" fmla="*/ 51149 w 201358"/>
                <a:gd name="connsiteY1" fmla="*/ 228981 h 235648"/>
                <a:gd name="connsiteX2" fmla="*/ 23432 w 201358"/>
                <a:gd name="connsiteY2" fmla="*/ 210026 h 235648"/>
                <a:gd name="connsiteX3" fmla="*/ 6001 w 201358"/>
                <a:gd name="connsiteY3" fmla="*/ 180784 h 235648"/>
                <a:gd name="connsiteX4" fmla="*/ 0 w 201358"/>
                <a:gd name="connsiteY4" fmla="*/ 143256 h 235648"/>
                <a:gd name="connsiteX5" fmla="*/ 0 w 201358"/>
                <a:gd name="connsiteY5" fmla="*/ 0 h 235648"/>
                <a:gd name="connsiteX6" fmla="*/ 34385 w 201358"/>
                <a:gd name="connsiteY6" fmla="*/ 0 h 235648"/>
                <a:gd name="connsiteX7" fmla="*/ 34385 w 201358"/>
                <a:gd name="connsiteY7" fmla="*/ 134493 h 235648"/>
                <a:gd name="connsiteX8" fmla="*/ 50959 w 201358"/>
                <a:gd name="connsiteY8" fmla="*/ 185261 h 235648"/>
                <a:gd name="connsiteX9" fmla="*/ 98298 w 201358"/>
                <a:gd name="connsiteY9" fmla="*/ 203930 h 235648"/>
                <a:gd name="connsiteX10" fmla="*/ 125730 w 201358"/>
                <a:gd name="connsiteY10" fmla="*/ 198787 h 235648"/>
                <a:gd name="connsiteX11" fmla="*/ 147638 w 201358"/>
                <a:gd name="connsiteY11" fmla="*/ 184118 h 235648"/>
                <a:gd name="connsiteX12" fmla="*/ 162116 w 201358"/>
                <a:gd name="connsiteY12" fmla="*/ 161163 h 235648"/>
                <a:gd name="connsiteX13" fmla="*/ 167450 w 201358"/>
                <a:gd name="connsiteY13" fmla="*/ 131826 h 235648"/>
                <a:gd name="connsiteX14" fmla="*/ 167450 w 201358"/>
                <a:gd name="connsiteY14" fmla="*/ 0 h 235648"/>
                <a:gd name="connsiteX15" fmla="*/ 201359 w 201358"/>
                <a:gd name="connsiteY15" fmla="*/ 0 h 235648"/>
                <a:gd name="connsiteX16" fmla="*/ 201359 w 201358"/>
                <a:gd name="connsiteY16" fmla="*/ 230791 h 235648"/>
                <a:gd name="connsiteX17" fmla="*/ 167450 w 201358"/>
                <a:gd name="connsiteY17" fmla="*/ 230791 h 235648"/>
                <a:gd name="connsiteX18" fmla="*/ 167450 w 201358"/>
                <a:gd name="connsiteY18" fmla="*/ 190595 h 235648"/>
                <a:gd name="connsiteX19" fmla="*/ 137065 w 201358"/>
                <a:gd name="connsiteY19" fmla="*/ 222504 h 235648"/>
                <a:gd name="connsiteX20" fmla="*/ 88392 w 201358"/>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358" h="235648">
                  <a:moveTo>
                    <a:pt x="88392" y="235648"/>
                  </a:moveTo>
                  <a:cubicBezTo>
                    <a:pt x="74390" y="235648"/>
                    <a:pt x="62008" y="233363"/>
                    <a:pt x="51149" y="228981"/>
                  </a:cubicBezTo>
                  <a:cubicBezTo>
                    <a:pt x="40291" y="224504"/>
                    <a:pt x="31052" y="218218"/>
                    <a:pt x="23432"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959" y="185261"/>
                  </a:cubicBezTo>
                  <a:cubicBezTo>
                    <a:pt x="61913" y="197739"/>
                    <a:pt x="77724" y="203930"/>
                    <a:pt x="98298" y="203930"/>
                  </a:cubicBezTo>
                  <a:cubicBezTo>
                    <a:pt x="108109" y="203930"/>
                    <a:pt x="117253" y="202216"/>
                    <a:pt x="125730" y="198787"/>
                  </a:cubicBezTo>
                  <a:cubicBezTo>
                    <a:pt x="134207" y="195358"/>
                    <a:pt x="141446" y="190500"/>
                    <a:pt x="147638" y="184118"/>
                  </a:cubicBezTo>
                  <a:cubicBezTo>
                    <a:pt x="153734" y="177736"/>
                    <a:pt x="158591" y="170116"/>
                    <a:pt x="162116" y="161163"/>
                  </a:cubicBezTo>
                  <a:cubicBezTo>
                    <a:pt x="165735" y="152305"/>
                    <a:pt x="167450" y="142494"/>
                    <a:pt x="167450" y="131826"/>
                  </a:cubicBezTo>
                  <a:lnTo>
                    <a:pt x="167450" y="0"/>
                  </a:lnTo>
                  <a:lnTo>
                    <a:pt x="201359" y="0"/>
                  </a:lnTo>
                  <a:lnTo>
                    <a:pt x="201359" y="230791"/>
                  </a:lnTo>
                  <a:lnTo>
                    <a:pt x="167450" y="230791"/>
                  </a:lnTo>
                  <a:lnTo>
                    <a:pt x="167450" y="190595"/>
                  </a:lnTo>
                  <a:cubicBezTo>
                    <a:pt x="159734" y="203073"/>
                    <a:pt x="149543" y="213741"/>
                    <a:pt x="137065" y="222504"/>
                  </a:cubicBezTo>
                  <a:cubicBezTo>
                    <a:pt x="124587" y="231267"/>
                    <a:pt x="108395" y="235648"/>
                    <a:pt x="88392" y="235648"/>
                  </a:cubicBezTo>
                  <a:close/>
                </a:path>
              </a:pathLst>
            </a:custGeom>
            <a:solidFill>
              <a:srgbClr val="44505E"/>
            </a:solidFill>
            <a:ln w="9525" cap="flat">
              <a:noFill/>
              <a:prstDash val="solid"/>
              <a:miter/>
            </a:ln>
          </p:spPr>
          <p:txBody>
            <a:bodyPr rtlCol="0" anchor="ctr"/>
            <a:lstStyle/>
            <a:p>
              <a:endParaRPr lang="pt-BR" noProof="0"/>
            </a:p>
          </p:txBody>
        </p:sp>
        <p:sp>
          <p:nvSpPr>
            <p:cNvPr id="43" name="Freeform: Shape 42">
              <a:extLst>
                <a:ext uri="{FF2B5EF4-FFF2-40B4-BE49-F238E27FC236}">
                  <a16:creationId xmlns:a16="http://schemas.microsoft.com/office/drawing/2014/main" id="{8BC2F800-26CF-9439-3BA7-6A48EC1F9D0B}"/>
                </a:ext>
              </a:extLst>
            </p:cNvPr>
            <p:cNvSpPr/>
            <p:nvPr/>
          </p:nvSpPr>
          <p:spPr>
            <a:xfrm>
              <a:off x="5896069"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7059 w 218217"/>
                <a:gd name="connsiteY3" fmla="*/ 206026 h 241077"/>
                <a:gd name="connsiteX4" fmla="*/ 116110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7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0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356 w 218217"/>
                <a:gd name="connsiteY25" fmla="*/ 106299 h 241077"/>
                <a:gd name="connsiteX26" fmla="*/ 176689 w 218217"/>
                <a:gd name="connsiteY26" fmla="*/ 76771 h 241077"/>
                <a:gd name="connsiteX27" fmla="*/ 162211 w 218217"/>
                <a:gd name="connsiteY27" fmla="*/ 52101 h 241077"/>
                <a:gd name="connsiteX28" fmla="*/ 139922 w 218217"/>
                <a:gd name="connsiteY28" fmla="*/ 35242 h 241077"/>
                <a:gd name="connsiteX29" fmla="*/ 109823 w 218217"/>
                <a:gd name="connsiteY29" fmla="*/ 29051 h 241077"/>
                <a:gd name="connsiteX30" fmla="*/ 82105 w 218217"/>
                <a:gd name="connsiteY30" fmla="*/ 34766 h 241077"/>
                <a:gd name="connsiteX31" fmla="*/ 59341 w 218217"/>
                <a:gd name="connsiteY31" fmla="*/ 50959 h 241077"/>
                <a:gd name="connsiteX32" fmla="*/ 43053 w 218217"/>
                <a:gd name="connsiteY32" fmla="*/ 75628 h 241077"/>
                <a:gd name="connsiteX33" fmla="*/ 34766 w 218217"/>
                <a:gd name="connsiteY33" fmla="*/ 106204 h 241077"/>
                <a:gd name="connsiteX34" fmla="*/ 183356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819" y="202597"/>
                    <a:pt x="87059" y="206026"/>
                  </a:cubicBezTo>
                  <a:cubicBezTo>
                    <a:pt x="96298" y="209455"/>
                    <a:pt x="105918" y="211169"/>
                    <a:pt x="116110" y="211169"/>
                  </a:cubicBezTo>
                  <a:cubicBezTo>
                    <a:pt x="132207" y="211169"/>
                    <a:pt x="145923" y="208216"/>
                    <a:pt x="157353" y="202216"/>
                  </a:cubicBezTo>
                  <a:cubicBezTo>
                    <a:pt x="168783" y="196310"/>
                    <a:pt x="179261" y="188404"/>
                    <a:pt x="188786" y="178594"/>
                  </a:cubicBezTo>
                  <a:lnTo>
                    <a:pt x="210217" y="197834"/>
                  </a:lnTo>
                  <a:cubicBezTo>
                    <a:pt x="198596" y="210979"/>
                    <a:pt x="185356" y="221361"/>
                    <a:pt x="170497" y="229267"/>
                  </a:cubicBezTo>
                  <a:cubicBezTo>
                    <a:pt x="155638"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583" y="0"/>
                    <a:pt x="110680"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356" y="106299"/>
                  </a:moveTo>
                  <a:cubicBezTo>
                    <a:pt x="182499" y="95917"/>
                    <a:pt x="180213" y="86106"/>
                    <a:pt x="176689" y="76771"/>
                  </a:cubicBezTo>
                  <a:cubicBezTo>
                    <a:pt x="173069" y="67437"/>
                    <a:pt x="168307" y="59245"/>
                    <a:pt x="162211" y="52101"/>
                  </a:cubicBezTo>
                  <a:cubicBezTo>
                    <a:pt x="156115" y="44958"/>
                    <a:pt x="148685" y="39338"/>
                    <a:pt x="139922" y="35242"/>
                  </a:cubicBezTo>
                  <a:cubicBezTo>
                    <a:pt x="131159" y="31147"/>
                    <a:pt x="121063" y="29051"/>
                    <a:pt x="109823" y="29051"/>
                  </a:cubicBezTo>
                  <a:cubicBezTo>
                    <a:pt x="100013" y="29051"/>
                    <a:pt x="90773" y="30956"/>
                    <a:pt x="82105" y="34766"/>
                  </a:cubicBezTo>
                  <a:cubicBezTo>
                    <a:pt x="73438" y="38671"/>
                    <a:pt x="65913" y="44005"/>
                    <a:pt x="59341" y="50959"/>
                  </a:cubicBezTo>
                  <a:cubicBezTo>
                    <a:pt x="52769" y="57912"/>
                    <a:pt x="47339" y="66103"/>
                    <a:pt x="43053" y="75628"/>
                  </a:cubicBezTo>
                  <a:cubicBezTo>
                    <a:pt x="38767" y="85058"/>
                    <a:pt x="36004" y="95345"/>
                    <a:pt x="34766" y="106204"/>
                  </a:cubicBezTo>
                  <a:lnTo>
                    <a:pt x="183356" y="106204"/>
                  </a:lnTo>
                  <a:close/>
                </a:path>
              </a:pathLst>
            </a:custGeom>
            <a:solidFill>
              <a:srgbClr val="44505E"/>
            </a:solidFill>
            <a:ln w="9525" cap="flat">
              <a:noFill/>
              <a:prstDash val="solid"/>
              <a:miter/>
            </a:ln>
          </p:spPr>
          <p:txBody>
            <a:bodyPr rtlCol="0" anchor="ctr"/>
            <a:lstStyle/>
            <a:p>
              <a:endParaRPr lang="pt-BR" noProof="0"/>
            </a:p>
          </p:txBody>
        </p:sp>
        <p:sp>
          <p:nvSpPr>
            <p:cNvPr id="44" name="Freeform: Shape 43">
              <a:extLst>
                <a:ext uri="{FF2B5EF4-FFF2-40B4-BE49-F238E27FC236}">
                  <a16:creationId xmlns:a16="http://schemas.microsoft.com/office/drawing/2014/main" id="{AEE11CB7-7D59-E8B4-B17A-A3245D8C05A9}"/>
                </a:ext>
              </a:extLst>
            </p:cNvPr>
            <p:cNvSpPr/>
            <p:nvPr/>
          </p:nvSpPr>
          <p:spPr>
            <a:xfrm>
              <a:off x="5994910" y="924268"/>
              <a:ext cx="44680" cy="60195"/>
            </a:xfrm>
            <a:custGeom>
              <a:avLst/>
              <a:gdLst>
                <a:gd name="connsiteX0" fmla="*/ 95536 w 177736"/>
                <a:gd name="connsiteY0" fmla="*/ 239268 h 239458"/>
                <a:gd name="connsiteX1" fmla="*/ 45053 w 177736"/>
                <a:gd name="connsiteY1" fmla="*/ 230124 h 239458"/>
                <a:gd name="connsiteX2" fmla="*/ 0 w 177736"/>
                <a:gd name="connsiteY2" fmla="*/ 205359 h 239458"/>
                <a:gd name="connsiteX3" fmla="*/ 17431 w 177736"/>
                <a:gd name="connsiteY3" fmla="*/ 180785 h 239458"/>
                <a:gd name="connsiteX4" fmla="*/ 56483 w 177736"/>
                <a:gd name="connsiteY4" fmla="*/ 202692 h 239458"/>
                <a:gd name="connsiteX5" fmla="*/ 97346 w 177736"/>
                <a:gd name="connsiteY5" fmla="*/ 210217 h 239458"/>
                <a:gd name="connsiteX6" fmla="*/ 131731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730 w 177736"/>
                <a:gd name="connsiteY10" fmla="*/ 147066 h 239458"/>
                <a:gd name="connsiteX11" fmla="*/ 109252 w 177736"/>
                <a:gd name="connsiteY11" fmla="*/ 138779 h 239458"/>
                <a:gd name="connsiteX12" fmla="*/ 87630 w 177736"/>
                <a:gd name="connsiteY12" fmla="*/ 132112 h 239458"/>
                <a:gd name="connsiteX13" fmla="*/ 60674 w 177736"/>
                <a:gd name="connsiteY13" fmla="*/ 123444 h 239458"/>
                <a:gd name="connsiteX14" fmla="*/ 36100 w 177736"/>
                <a:gd name="connsiteY14" fmla="*/ 111633 h 239458"/>
                <a:gd name="connsiteX15" fmla="*/ 18193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60 w 177736"/>
                <a:gd name="connsiteY22" fmla="*/ 6953 h 239458"/>
                <a:gd name="connsiteX23" fmla="*/ 172879 w 177736"/>
                <a:gd name="connsiteY23" fmla="*/ 25527 h 239458"/>
                <a:gd name="connsiteX24" fmla="*/ 157258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4 w 177736"/>
                <a:gd name="connsiteY32" fmla="*/ 96203 h 239458"/>
                <a:gd name="connsiteX33" fmla="*/ 103632 w 177736"/>
                <a:gd name="connsiteY33" fmla="*/ 103346 h 239458"/>
                <a:gd name="connsiteX34" fmla="*/ 130207 w 177736"/>
                <a:gd name="connsiteY34" fmla="*/ 112300 h 239458"/>
                <a:gd name="connsiteX35" fmla="*/ 154114 w 177736"/>
                <a:gd name="connsiteY35" fmla="*/ 124778 h 239458"/>
                <a:gd name="connsiteX36" fmla="*/ 171260 w 177736"/>
                <a:gd name="connsiteY36" fmla="*/ 143066 h 239458"/>
                <a:gd name="connsiteX37" fmla="*/ 177737 w 177736"/>
                <a:gd name="connsiteY37" fmla="*/ 169450 h 239458"/>
                <a:gd name="connsiteX38" fmla="*/ 177737 w 177736"/>
                <a:gd name="connsiteY38" fmla="*/ 170307 h 239458"/>
                <a:gd name="connsiteX39" fmla="*/ 171260 w 177736"/>
                <a:gd name="connsiteY39" fmla="*/ 199549 h 239458"/>
                <a:gd name="connsiteX40" fmla="*/ 153829 w 177736"/>
                <a:gd name="connsiteY40" fmla="*/ 221171 h 239458"/>
                <a:gd name="connsiteX41" fmla="*/ 127921 w 177736"/>
                <a:gd name="connsiteY41" fmla="*/ 234791 h 239458"/>
                <a:gd name="connsiteX42" fmla="*/ 95536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6" y="239268"/>
                  </a:moveTo>
                  <a:cubicBezTo>
                    <a:pt x="78867" y="239268"/>
                    <a:pt x="62008" y="236220"/>
                    <a:pt x="45053" y="230124"/>
                  </a:cubicBezTo>
                  <a:cubicBezTo>
                    <a:pt x="28099" y="224028"/>
                    <a:pt x="13049" y="215741"/>
                    <a:pt x="0" y="205359"/>
                  </a:cubicBezTo>
                  <a:lnTo>
                    <a:pt x="17431" y="180785"/>
                  </a:lnTo>
                  <a:cubicBezTo>
                    <a:pt x="29909"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637" y="162211"/>
                    <a:pt x="140494" y="158020"/>
                  </a:cubicBezTo>
                  <a:cubicBezTo>
                    <a:pt x="137351" y="153829"/>
                    <a:pt x="133160" y="150209"/>
                    <a:pt x="127730" y="147066"/>
                  </a:cubicBezTo>
                  <a:cubicBezTo>
                    <a:pt x="122396" y="143923"/>
                    <a:pt x="116205" y="141161"/>
                    <a:pt x="109252" y="138779"/>
                  </a:cubicBezTo>
                  <a:cubicBezTo>
                    <a:pt x="102299" y="136398"/>
                    <a:pt x="95060" y="134207"/>
                    <a:pt x="87630" y="132112"/>
                  </a:cubicBezTo>
                  <a:cubicBezTo>
                    <a:pt x="78677" y="129445"/>
                    <a:pt x="69723" y="126492"/>
                    <a:pt x="60674" y="123444"/>
                  </a:cubicBezTo>
                  <a:cubicBezTo>
                    <a:pt x="51626" y="120301"/>
                    <a:pt x="43434" y="116396"/>
                    <a:pt x="36100" y="111633"/>
                  </a:cubicBezTo>
                  <a:cubicBezTo>
                    <a:pt x="28766" y="106871"/>
                    <a:pt x="22860" y="100870"/>
                    <a:pt x="18193" y="93726"/>
                  </a:cubicBezTo>
                  <a:cubicBezTo>
                    <a:pt x="13621" y="86582"/>
                    <a:pt x="11239" y="77629"/>
                    <a:pt x="11239" y="66961"/>
                  </a:cubicBezTo>
                  <a:lnTo>
                    <a:pt x="11239" y="66008"/>
                  </a:lnTo>
                  <a:cubicBezTo>
                    <a:pt x="11239" y="56198"/>
                    <a:pt x="13145" y="47149"/>
                    <a:pt x="17050" y="39053"/>
                  </a:cubicBezTo>
                  <a:cubicBezTo>
                    <a:pt x="20860" y="30861"/>
                    <a:pt x="26289" y="23908"/>
                    <a:pt x="33338" y="18098"/>
                  </a:cubicBezTo>
                  <a:cubicBezTo>
                    <a:pt x="40291" y="12287"/>
                    <a:pt x="48673" y="7811"/>
                    <a:pt x="58388" y="4667"/>
                  </a:cubicBezTo>
                  <a:cubicBezTo>
                    <a:pt x="68009" y="1524"/>
                    <a:pt x="78581" y="0"/>
                    <a:pt x="89821" y="0"/>
                  </a:cubicBezTo>
                  <a:cubicBezTo>
                    <a:pt x="104108" y="0"/>
                    <a:pt x="118491" y="2286"/>
                    <a:pt x="133160" y="6953"/>
                  </a:cubicBezTo>
                  <a:cubicBezTo>
                    <a:pt x="147733" y="11621"/>
                    <a:pt x="160972" y="17717"/>
                    <a:pt x="172879" y="25527"/>
                  </a:cubicBezTo>
                  <a:lnTo>
                    <a:pt x="157258" y="51435"/>
                  </a:lnTo>
                  <a:cubicBezTo>
                    <a:pt x="146495" y="44577"/>
                    <a:pt x="135350" y="39148"/>
                    <a:pt x="123539" y="35147"/>
                  </a:cubicBezTo>
                  <a:cubicBezTo>
                    <a:pt x="111824" y="31147"/>
                    <a:pt x="100298" y="29146"/>
                    <a:pt x="88963" y="29146"/>
                  </a:cubicBezTo>
                  <a:cubicBezTo>
                    <a:pt x="75247" y="29146"/>
                    <a:pt x="64389" y="32385"/>
                    <a:pt x="56388" y="38767"/>
                  </a:cubicBezTo>
                  <a:cubicBezTo>
                    <a:pt x="48387" y="45149"/>
                    <a:pt x="44291" y="53150"/>
                    <a:pt x="44291" y="62675"/>
                  </a:cubicBezTo>
                  <a:lnTo>
                    <a:pt x="44291" y="63627"/>
                  </a:lnTo>
                  <a:cubicBezTo>
                    <a:pt x="44291" y="68961"/>
                    <a:pt x="45911" y="73628"/>
                    <a:pt x="49244" y="77724"/>
                  </a:cubicBezTo>
                  <a:cubicBezTo>
                    <a:pt x="52483" y="81725"/>
                    <a:pt x="56960" y="85249"/>
                    <a:pt x="62389" y="88202"/>
                  </a:cubicBezTo>
                  <a:cubicBezTo>
                    <a:pt x="67913" y="91154"/>
                    <a:pt x="74200" y="93821"/>
                    <a:pt x="81344" y="96203"/>
                  </a:cubicBezTo>
                  <a:cubicBezTo>
                    <a:pt x="88487" y="98584"/>
                    <a:pt x="95917" y="100965"/>
                    <a:pt x="103632" y="103346"/>
                  </a:cubicBezTo>
                  <a:cubicBezTo>
                    <a:pt x="112586" y="106013"/>
                    <a:pt x="121444" y="108966"/>
                    <a:pt x="130207" y="112300"/>
                  </a:cubicBezTo>
                  <a:cubicBezTo>
                    <a:pt x="138970" y="115538"/>
                    <a:pt x="146971" y="119729"/>
                    <a:pt x="154114" y="124778"/>
                  </a:cubicBezTo>
                  <a:cubicBezTo>
                    <a:pt x="161258" y="129826"/>
                    <a:pt x="166973" y="135922"/>
                    <a:pt x="171260" y="143066"/>
                  </a:cubicBezTo>
                  <a:cubicBezTo>
                    <a:pt x="175546" y="150209"/>
                    <a:pt x="177737" y="158972"/>
                    <a:pt x="177737" y="169450"/>
                  </a:cubicBezTo>
                  <a:lnTo>
                    <a:pt x="177737" y="170307"/>
                  </a:lnTo>
                  <a:cubicBezTo>
                    <a:pt x="177737" y="181356"/>
                    <a:pt x="175546" y="191071"/>
                    <a:pt x="171260" y="199549"/>
                  </a:cubicBezTo>
                  <a:cubicBezTo>
                    <a:pt x="166973" y="208026"/>
                    <a:pt x="161163" y="215265"/>
                    <a:pt x="153829" y="221171"/>
                  </a:cubicBezTo>
                  <a:cubicBezTo>
                    <a:pt x="146495" y="227171"/>
                    <a:pt x="137922" y="231648"/>
                    <a:pt x="127921" y="234791"/>
                  </a:cubicBezTo>
                  <a:cubicBezTo>
                    <a:pt x="117920" y="237935"/>
                    <a:pt x="107156" y="239459"/>
                    <a:pt x="95536" y="239459"/>
                  </a:cubicBezTo>
                  <a:close/>
                </a:path>
              </a:pathLst>
            </a:custGeom>
            <a:solidFill>
              <a:srgbClr val="44505E"/>
            </a:solidFill>
            <a:ln w="9525" cap="flat">
              <a:noFill/>
              <a:prstDash val="solid"/>
              <a:miter/>
            </a:ln>
          </p:spPr>
          <p:txBody>
            <a:bodyPr rtlCol="0" anchor="ctr"/>
            <a:lstStyle/>
            <a:p>
              <a:endParaRPr lang="pt-BR" noProof="0"/>
            </a:p>
          </p:txBody>
        </p:sp>
        <p:sp>
          <p:nvSpPr>
            <p:cNvPr id="45" name="Freeform: Shape 44">
              <a:extLst>
                <a:ext uri="{FF2B5EF4-FFF2-40B4-BE49-F238E27FC236}">
                  <a16:creationId xmlns:a16="http://schemas.microsoft.com/office/drawing/2014/main" id="{900B026A-EF04-2FC7-1EC3-98775A929D2B}"/>
                </a:ext>
              </a:extLst>
            </p:cNvPr>
            <p:cNvSpPr/>
            <p:nvPr/>
          </p:nvSpPr>
          <p:spPr>
            <a:xfrm>
              <a:off x="605122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4 w 202977"/>
                <a:gd name="connsiteY30" fmla="*/ 174593 h 239267"/>
                <a:gd name="connsiteX31" fmla="*/ 169735 w 202977"/>
                <a:gd name="connsiteY31" fmla="*/ 149447 h 239267"/>
                <a:gd name="connsiteX32" fmla="*/ 169735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0" y="90964"/>
                    <a:pt x="98584" y="90964"/>
                  </a:cubicBezTo>
                  <a:cubicBezTo>
                    <a:pt x="113157" y="90964"/>
                    <a:pt x="126301"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1" y="33147"/>
                    <a:pt x="63436" y="36100"/>
                  </a:cubicBezTo>
                  <a:cubicBezTo>
                    <a:pt x="52292" y="39053"/>
                    <a:pt x="41338" y="43053"/>
                    <a:pt x="30671" y="48196"/>
                  </a:cubicBezTo>
                  <a:lnTo>
                    <a:pt x="20383" y="19907"/>
                  </a:lnTo>
                  <a:cubicBezTo>
                    <a:pt x="33147" y="13906"/>
                    <a:pt x="46101" y="9049"/>
                    <a:pt x="59246" y="5429"/>
                  </a:cubicBezTo>
                  <a:cubicBezTo>
                    <a:pt x="72295"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1" y="239173"/>
                  </a:cubicBezTo>
                  <a:close/>
                  <a:moveTo>
                    <a:pt x="93154" y="211169"/>
                  </a:moveTo>
                  <a:cubicBezTo>
                    <a:pt x="103822" y="211169"/>
                    <a:pt x="113728" y="209740"/>
                    <a:pt x="122967" y="206788"/>
                  </a:cubicBezTo>
                  <a:cubicBezTo>
                    <a:pt x="132207" y="203835"/>
                    <a:pt x="140208" y="199644"/>
                    <a:pt x="147256" y="194120"/>
                  </a:cubicBezTo>
                  <a:cubicBezTo>
                    <a:pt x="154209" y="188595"/>
                    <a:pt x="159734" y="182118"/>
                    <a:pt x="163734" y="174593"/>
                  </a:cubicBezTo>
                  <a:cubicBezTo>
                    <a:pt x="167735" y="167068"/>
                    <a:pt x="169735" y="158687"/>
                    <a:pt x="169735" y="149447"/>
                  </a:cubicBezTo>
                  <a:lnTo>
                    <a:pt x="169735" y="128111"/>
                  </a:lnTo>
                  <a:cubicBezTo>
                    <a:pt x="161163" y="125730"/>
                    <a:pt x="151352" y="123539"/>
                    <a:pt x="140398" y="121444"/>
                  </a:cubicBezTo>
                  <a:cubicBezTo>
                    <a:pt x="129445" y="119348"/>
                    <a:pt x="116872"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46" name="Freeform: Shape 45">
              <a:extLst>
                <a:ext uri="{FF2B5EF4-FFF2-40B4-BE49-F238E27FC236}">
                  <a16:creationId xmlns:a16="http://schemas.microsoft.com/office/drawing/2014/main" id="{900B4BC6-8977-A413-D87B-E5F949E387CD}"/>
                </a:ext>
              </a:extLst>
            </p:cNvPr>
            <p:cNvSpPr/>
            <p:nvPr/>
          </p:nvSpPr>
          <p:spPr>
            <a:xfrm>
              <a:off x="6121359" y="901377"/>
              <a:ext cx="8644" cy="81913"/>
            </a:xfrm>
            <a:custGeom>
              <a:avLst/>
              <a:gdLst>
                <a:gd name="connsiteX0" fmla="*/ 0 w 34385"/>
                <a:gd name="connsiteY0" fmla="*/ 0 h 325850"/>
                <a:gd name="connsiteX1" fmla="*/ 34385 w 34385"/>
                <a:gd name="connsiteY1" fmla="*/ 0 h 325850"/>
                <a:gd name="connsiteX2" fmla="*/ 34385 w 34385"/>
                <a:gd name="connsiteY2" fmla="*/ 325850 h 325850"/>
                <a:gd name="connsiteX3" fmla="*/ 0 w 34385"/>
                <a:gd name="connsiteY3" fmla="*/ 325850 h 325850"/>
                <a:gd name="connsiteX4" fmla="*/ 0 w 34385"/>
                <a:gd name="connsiteY4" fmla="*/ 0 h 32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 h="325850">
                  <a:moveTo>
                    <a:pt x="0" y="0"/>
                  </a:moveTo>
                  <a:lnTo>
                    <a:pt x="34385" y="0"/>
                  </a:lnTo>
                  <a:lnTo>
                    <a:pt x="34385" y="325850"/>
                  </a:lnTo>
                  <a:lnTo>
                    <a:pt x="0" y="325850"/>
                  </a:lnTo>
                  <a:lnTo>
                    <a:pt x="0" y="0"/>
                  </a:lnTo>
                  <a:close/>
                </a:path>
              </a:pathLst>
            </a:custGeom>
            <a:solidFill>
              <a:srgbClr val="44505E"/>
            </a:solidFill>
            <a:ln w="9525" cap="flat">
              <a:noFill/>
              <a:prstDash val="solid"/>
              <a:miter/>
            </a:ln>
          </p:spPr>
          <p:txBody>
            <a:bodyPr rtlCol="0" anchor="ctr"/>
            <a:lstStyle/>
            <a:p>
              <a:endParaRPr lang="pt-BR" noProof="0"/>
            </a:p>
          </p:txBody>
        </p:sp>
        <p:sp>
          <p:nvSpPr>
            <p:cNvPr id="47" name="Freeform: Shape 46">
              <a:extLst>
                <a:ext uri="{FF2B5EF4-FFF2-40B4-BE49-F238E27FC236}">
                  <a16:creationId xmlns:a16="http://schemas.microsoft.com/office/drawing/2014/main" id="{9C3AA59D-E09D-5CFC-F82D-7DB0D6C53001}"/>
                </a:ext>
              </a:extLst>
            </p:cNvPr>
            <p:cNvSpPr/>
            <p:nvPr/>
          </p:nvSpPr>
          <p:spPr>
            <a:xfrm>
              <a:off x="6144346" y="925273"/>
              <a:ext cx="58016" cy="58448"/>
            </a:xfrm>
            <a:custGeom>
              <a:avLst/>
              <a:gdLst>
                <a:gd name="connsiteX0" fmla="*/ 95 w 230790"/>
                <a:gd name="connsiteY0" fmla="*/ 0 h 232505"/>
                <a:gd name="connsiteX1" fmla="*/ 38005 w 230790"/>
                <a:gd name="connsiteY1" fmla="*/ 0 h 232505"/>
                <a:gd name="connsiteX2" fmla="*/ 115634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4"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48" name="Freeform: Shape 47">
              <a:extLst>
                <a:ext uri="{FF2B5EF4-FFF2-40B4-BE49-F238E27FC236}">
                  <a16:creationId xmlns:a16="http://schemas.microsoft.com/office/drawing/2014/main" id="{5FE2373B-3911-D7DE-508D-C0535A7E9AF7}"/>
                </a:ext>
              </a:extLst>
            </p:cNvPr>
            <p:cNvSpPr/>
            <p:nvPr/>
          </p:nvSpPr>
          <p:spPr>
            <a:xfrm>
              <a:off x="621155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8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338 w 202977"/>
                <a:gd name="connsiteY36" fmla="*/ 164497 h 239267"/>
                <a:gd name="connsiteX37" fmla="*/ 35338 w 202977"/>
                <a:gd name="connsiteY37" fmla="*/ 165449 h 239267"/>
                <a:gd name="connsiteX38" fmla="*/ 40005 w 202977"/>
                <a:gd name="connsiteY38" fmla="*/ 184785 h 239267"/>
                <a:gd name="connsiteX39" fmla="*/ 52673 w 202977"/>
                <a:gd name="connsiteY39" fmla="*/ 199263 h 239267"/>
                <a:gd name="connsiteX40" fmla="*/ 71152 w 202977"/>
                <a:gd name="connsiteY40" fmla="*/ 208121 h 239267"/>
                <a:gd name="connsiteX41" fmla="*/ 93154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438" y="239268"/>
                    <a:pt x="64961"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1" y="90964"/>
                    <a:pt x="98584" y="90964"/>
                  </a:cubicBezTo>
                  <a:cubicBezTo>
                    <a:pt x="113157" y="90964"/>
                    <a:pt x="126302" y="91821"/>
                    <a:pt x="137160" y="93631"/>
                  </a:cubicBezTo>
                  <a:cubicBezTo>
                    <a:pt x="148019" y="95440"/>
                    <a:pt x="158687" y="97822"/>
                    <a:pt x="169069" y="100774"/>
                  </a:cubicBezTo>
                  <a:lnTo>
                    <a:pt x="169069" y="93726"/>
                  </a:lnTo>
                  <a:cubicBezTo>
                    <a:pt x="169069" y="73342"/>
                    <a:pt x="163068" y="57912"/>
                    <a:pt x="151162" y="47339"/>
                  </a:cubicBezTo>
                  <a:cubicBezTo>
                    <a:pt x="139255" y="36862"/>
                    <a:pt x="122491" y="31623"/>
                    <a:pt x="100679" y="31623"/>
                  </a:cubicBezTo>
                  <a:cubicBezTo>
                    <a:pt x="86963" y="31623"/>
                    <a:pt x="74581" y="33147"/>
                    <a:pt x="63437" y="36100"/>
                  </a:cubicBezTo>
                  <a:cubicBezTo>
                    <a:pt x="52292" y="39053"/>
                    <a:pt x="41338" y="43053"/>
                    <a:pt x="30671" y="48196"/>
                  </a:cubicBezTo>
                  <a:lnTo>
                    <a:pt x="20383" y="19907"/>
                  </a:lnTo>
                  <a:cubicBezTo>
                    <a:pt x="33147" y="13906"/>
                    <a:pt x="46101" y="9049"/>
                    <a:pt x="59246" y="5429"/>
                  </a:cubicBezTo>
                  <a:cubicBezTo>
                    <a:pt x="72390"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04" y="239173"/>
                    <a:pt x="86011" y="239173"/>
                  </a:cubicBezTo>
                  <a:close/>
                  <a:moveTo>
                    <a:pt x="93154" y="211169"/>
                  </a:moveTo>
                  <a:cubicBezTo>
                    <a:pt x="103822" y="211169"/>
                    <a:pt x="113824" y="209740"/>
                    <a:pt x="122968" y="206788"/>
                  </a:cubicBezTo>
                  <a:cubicBezTo>
                    <a:pt x="132112"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5" y="119348"/>
                    <a:pt x="116777" y="118300"/>
                    <a:pt x="102584" y="118300"/>
                  </a:cubicBezTo>
                  <a:cubicBezTo>
                    <a:pt x="81248" y="118300"/>
                    <a:pt x="64675" y="122491"/>
                    <a:pt x="52959" y="130969"/>
                  </a:cubicBezTo>
                  <a:cubicBezTo>
                    <a:pt x="41243" y="139446"/>
                    <a:pt x="35338" y="150590"/>
                    <a:pt x="35338" y="164497"/>
                  </a:cubicBezTo>
                  <a:lnTo>
                    <a:pt x="35338" y="165449"/>
                  </a:lnTo>
                  <a:cubicBezTo>
                    <a:pt x="35338" y="172498"/>
                    <a:pt x="36862" y="178975"/>
                    <a:pt x="40005" y="184785"/>
                  </a:cubicBezTo>
                  <a:cubicBezTo>
                    <a:pt x="43148" y="190500"/>
                    <a:pt x="47339" y="195358"/>
                    <a:pt x="52673" y="199263"/>
                  </a:cubicBezTo>
                  <a:cubicBezTo>
                    <a:pt x="58007" y="203073"/>
                    <a:pt x="64198" y="206026"/>
                    <a:pt x="71152" y="208121"/>
                  </a:cubicBezTo>
                  <a:cubicBezTo>
                    <a:pt x="78105" y="210217"/>
                    <a:pt x="85439" y="211169"/>
                    <a:pt x="93154" y="211169"/>
                  </a:cubicBezTo>
                  <a:close/>
                </a:path>
              </a:pathLst>
            </a:custGeom>
            <a:solidFill>
              <a:srgbClr val="44505E"/>
            </a:solidFill>
            <a:ln w="9525" cap="flat">
              <a:noFill/>
              <a:prstDash val="solid"/>
              <a:miter/>
            </a:ln>
          </p:spPr>
          <p:txBody>
            <a:bodyPr rtlCol="0" anchor="ctr"/>
            <a:lstStyle/>
            <a:p>
              <a:endParaRPr lang="pt-BR" noProof="0"/>
            </a:p>
          </p:txBody>
        </p:sp>
        <p:sp>
          <p:nvSpPr>
            <p:cNvPr id="49" name="Freeform: Shape 48">
              <a:extLst>
                <a:ext uri="{FF2B5EF4-FFF2-40B4-BE49-F238E27FC236}">
                  <a16:creationId xmlns:a16="http://schemas.microsoft.com/office/drawing/2014/main" id="{79E7687F-CFB6-E39C-BF7F-E5A40EC0CF8D}"/>
                </a:ext>
              </a:extLst>
            </p:cNvPr>
            <p:cNvSpPr/>
            <p:nvPr/>
          </p:nvSpPr>
          <p:spPr>
            <a:xfrm>
              <a:off x="6280899" y="923980"/>
              <a:ext cx="87995" cy="59238"/>
            </a:xfrm>
            <a:custGeom>
              <a:avLst/>
              <a:gdLst>
                <a:gd name="connsiteX0" fmla="*/ 0 w 350043"/>
                <a:gd name="connsiteY0" fmla="*/ 5144 h 235648"/>
                <a:gd name="connsiteX1" fmla="*/ 34385 w 350043"/>
                <a:gd name="connsiteY1" fmla="*/ 5144 h 235648"/>
                <a:gd name="connsiteX2" fmla="*/ 34385 w 350043"/>
                <a:gd name="connsiteY2" fmla="*/ 44005 h 235648"/>
                <a:gd name="connsiteX3" fmla="*/ 47149 w 350043"/>
                <a:gd name="connsiteY3" fmla="*/ 27432 h 235648"/>
                <a:gd name="connsiteX4" fmla="*/ 62960 w 350043"/>
                <a:gd name="connsiteY4" fmla="*/ 13335 h 235648"/>
                <a:gd name="connsiteX5" fmla="*/ 83058 w 350043"/>
                <a:gd name="connsiteY5" fmla="*/ 3715 h 235648"/>
                <a:gd name="connsiteX6" fmla="*/ 108966 w 350043"/>
                <a:gd name="connsiteY6" fmla="*/ 95 h 235648"/>
                <a:gd name="connsiteX7" fmla="*/ 155448 w 350043"/>
                <a:gd name="connsiteY7" fmla="*/ 13240 h 235648"/>
                <a:gd name="connsiteX8" fmla="*/ 183166 w 350043"/>
                <a:gd name="connsiteY8" fmla="*/ 46006 h 235648"/>
                <a:gd name="connsiteX9" fmla="*/ 197168 w 350043"/>
                <a:gd name="connsiteY9" fmla="*/ 28194 h 235648"/>
                <a:gd name="connsiteX10" fmla="*/ 214789 w 350043"/>
                <a:gd name="connsiteY10" fmla="*/ 13430 h 235648"/>
                <a:gd name="connsiteX11" fmla="*/ 236887 w 350043"/>
                <a:gd name="connsiteY11" fmla="*/ 3620 h 235648"/>
                <a:gd name="connsiteX12" fmla="*/ 264319 w 350043"/>
                <a:gd name="connsiteY12" fmla="*/ 0 h 235648"/>
                <a:gd name="connsiteX13" fmla="*/ 327279 w 350043"/>
                <a:gd name="connsiteY13" fmla="*/ 24765 h 235648"/>
                <a:gd name="connsiteX14" fmla="*/ 350044 w 350043"/>
                <a:gd name="connsiteY14" fmla="*/ 92773 h 235648"/>
                <a:gd name="connsiteX15" fmla="*/ 350044 w 350043"/>
                <a:gd name="connsiteY15" fmla="*/ 235648 h 235648"/>
                <a:gd name="connsiteX16" fmla="*/ 315659 w 350043"/>
                <a:gd name="connsiteY16" fmla="*/ 235648 h 235648"/>
                <a:gd name="connsiteX17" fmla="*/ 315659 w 350043"/>
                <a:gd name="connsiteY17" fmla="*/ 101155 h 235648"/>
                <a:gd name="connsiteX18" fmla="*/ 299847 w 350043"/>
                <a:gd name="connsiteY18" fmla="*/ 49721 h 235648"/>
                <a:gd name="connsiteX19" fmla="*/ 255937 w 350043"/>
                <a:gd name="connsiteY19" fmla="*/ 31718 h 235648"/>
                <a:gd name="connsiteX20" fmla="*/ 231362 w 350043"/>
                <a:gd name="connsiteY20" fmla="*/ 36386 h 235648"/>
                <a:gd name="connsiteX21" fmla="*/ 211074 w 350043"/>
                <a:gd name="connsiteY21" fmla="*/ 50197 h 235648"/>
                <a:gd name="connsiteX22" fmla="*/ 197263 w 350043"/>
                <a:gd name="connsiteY22" fmla="*/ 72676 h 235648"/>
                <a:gd name="connsiteX23" fmla="*/ 192119 w 350043"/>
                <a:gd name="connsiteY23" fmla="*/ 102965 h 235648"/>
                <a:gd name="connsiteX24" fmla="*/ 192119 w 350043"/>
                <a:gd name="connsiteY24" fmla="*/ 235648 h 235648"/>
                <a:gd name="connsiteX25" fmla="*/ 158210 w 350043"/>
                <a:gd name="connsiteY25" fmla="*/ 235648 h 235648"/>
                <a:gd name="connsiteX26" fmla="*/ 158210 w 350043"/>
                <a:gd name="connsiteY26" fmla="*/ 100298 h 235648"/>
                <a:gd name="connsiteX27" fmla="*/ 142399 w 350043"/>
                <a:gd name="connsiteY27" fmla="*/ 49721 h 235648"/>
                <a:gd name="connsiteX28" fmla="*/ 98870 w 350043"/>
                <a:gd name="connsiteY28" fmla="*/ 31718 h 235648"/>
                <a:gd name="connsiteX29" fmla="*/ 73438 w 350043"/>
                <a:gd name="connsiteY29" fmla="*/ 37052 h 235648"/>
                <a:gd name="connsiteX30" fmla="*/ 53150 w 350043"/>
                <a:gd name="connsiteY30" fmla="*/ 52197 h 235648"/>
                <a:gd name="connsiteX31" fmla="*/ 39529 w 350043"/>
                <a:gd name="connsiteY31" fmla="*/ 75152 h 235648"/>
                <a:gd name="connsiteX32" fmla="*/ 34576 w 350043"/>
                <a:gd name="connsiteY32" fmla="*/ 104299 h 235648"/>
                <a:gd name="connsiteX33" fmla="*/ 34576 w 350043"/>
                <a:gd name="connsiteY33" fmla="*/ 235648 h 235648"/>
                <a:gd name="connsiteX34" fmla="*/ 190 w 350043"/>
                <a:gd name="connsiteY34" fmla="*/ 235648 h 235648"/>
                <a:gd name="connsiteX35" fmla="*/ 190 w 350043"/>
                <a:gd name="connsiteY35" fmla="*/ 485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0043" h="235648">
                  <a:moveTo>
                    <a:pt x="0" y="5144"/>
                  </a:moveTo>
                  <a:lnTo>
                    <a:pt x="34385" y="5144"/>
                  </a:lnTo>
                  <a:lnTo>
                    <a:pt x="34385" y="44005"/>
                  </a:lnTo>
                  <a:cubicBezTo>
                    <a:pt x="38290" y="38386"/>
                    <a:pt x="42481" y="32861"/>
                    <a:pt x="47149" y="27432"/>
                  </a:cubicBezTo>
                  <a:cubicBezTo>
                    <a:pt x="51721" y="22098"/>
                    <a:pt x="57055" y="17431"/>
                    <a:pt x="62960" y="13335"/>
                  </a:cubicBezTo>
                  <a:cubicBezTo>
                    <a:pt x="68866" y="9335"/>
                    <a:pt x="75629" y="6096"/>
                    <a:pt x="83058" y="3715"/>
                  </a:cubicBezTo>
                  <a:cubicBezTo>
                    <a:pt x="90488" y="1334"/>
                    <a:pt x="99155" y="95"/>
                    <a:pt x="108966" y="95"/>
                  </a:cubicBezTo>
                  <a:cubicBezTo>
                    <a:pt x="127730" y="95"/>
                    <a:pt x="143161" y="4477"/>
                    <a:pt x="155448" y="13240"/>
                  </a:cubicBezTo>
                  <a:cubicBezTo>
                    <a:pt x="167640" y="22003"/>
                    <a:pt x="176879" y="32956"/>
                    <a:pt x="183166" y="46006"/>
                  </a:cubicBezTo>
                  <a:cubicBezTo>
                    <a:pt x="187357" y="39719"/>
                    <a:pt x="192024" y="33814"/>
                    <a:pt x="197168" y="28194"/>
                  </a:cubicBezTo>
                  <a:cubicBezTo>
                    <a:pt x="202406" y="22574"/>
                    <a:pt x="208217" y="17621"/>
                    <a:pt x="214789" y="13430"/>
                  </a:cubicBezTo>
                  <a:cubicBezTo>
                    <a:pt x="221361" y="9239"/>
                    <a:pt x="228695" y="6001"/>
                    <a:pt x="236887" y="3620"/>
                  </a:cubicBezTo>
                  <a:cubicBezTo>
                    <a:pt x="245078" y="1238"/>
                    <a:pt x="254222" y="0"/>
                    <a:pt x="264319" y="0"/>
                  </a:cubicBezTo>
                  <a:cubicBezTo>
                    <a:pt x="291084" y="0"/>
                    <a:pt x="312039" y="8287"/>
                    <a:pt x="327279" y="24765"/>
                  </a:cubicBezTo>
                  <a:cubicBezTo>
                    <a:pt x="342519" y="41243"/>
                    <a:pt x="350044" y="63913"/>
                    <a:pt x="350044" y="92773"/>
                  </a:cubicBezTo>
                  <a:lnTo>
                    <a:pt x="350044" y="235648"/>
                  </a:lnTo>
                  <a:lnTo>
                    <a:pt x="315659" y="235648"/>
                  </a:lnTo>
                  <a:lnTo>
                    <a:pt x="315659" y="101155"/>
                  </a:lnTo>
                  <a:cubicBezTo>
                    <a:pt x="315659" y="78867"/>
                    <a:pt x="310420" y="61722"/>
                    <a:pt x="299847" y="49721"/>
                  </a:cubicBezTo>
                  <a:cubicBezTo>
                    <a:pt x="289274" y="37719"/>
                    <a:pt x="274606" y="31718"/>
                    <a:pt x="255937" y="31718"/>
                  </a:cubicBezTo>
                  <a:cubicBezTo>
                    <a:pt x="247269" y="31718"/>
                    <a:pt x="239078" y="33242"/>
                    <a:pt x="231362" y="36386"/>
                  </a:cubicBezTo>
                  <a:cubicBezTo>
                    <a:pt x="223647" y="39529"/>
                    <a:pt x="216884" y="44101"/>
                    <a:pt x="211074" y="50197"/>
                  </a:cubicBezTo>
                  <a:cubicBezTo>
                    <a:pt x="205264" y="56293"/>
                    <a:pt x="200692" y="63818"/>
                    <a:pt x="197263" y="72676"/>
                  </a:cubicBezTo>
                  <a:cubicBezTo>
                    <a:pt x="193834" y="81629"/>
                    <a:pt x="192119" y="91726"/>
                    <a:pt x="192119" y="102965"/>
                  </a:cubicBezTo>
                  <a:lnTo>
                    <a:pt x="192119" y="235648"/>
                  </a:lnTo>
                  <a:lnTo>
                    <a:pt x="158210" y="235648"/>
                  </a:lnTo>
                  <a:lnTo>
                    <a:pt x="158210" y="100298"/>
                  </a:lnTo>
                  <a:cubicBezTo>
                    <a:pt x="158210" y="78677"/>
                    <a:pt x="152971" y="61817"/>
                    <a:pt x="142399" y="49721"/>
                  </a:cubicBezTo>
                  <a:cubicBezTo>
                    <a:pt x="131826" y="37719"/>
                    <a:pt x="117348" y="31718"/>
                    <a:pt x="98870" y="31718"/>
                  </a:cubicBezTo>
                  <a:cubicBezTo>
                    <a:pt x="89630" y="31718"/>
                    <a:pt x="81153" y="33528"/>
                    <a:pt x="73438" y="37052"/>
                  </a:cubicBezTo>
                  <a:cubicBezTo>
                    <a:pt x="65722" y="40672"/>
                    <a:pt x="58960" y="45720"/>
                    <a:pt x="53150" y="52197"/>
                  </a:cubicBezTo>
                  <a:cubicBezTo>
                    <a:pt x="47339" y="58769"/>
                    <a:pt x="42767" y="66389"/>
                    <a:pt x="39529" y="75152"/>
                  </a:cubicBezTo>
                  <a:cubicBezTo>
                    <a:pt x="36290" y="83915"/>
                    <a:pt x="34576" y="93631"/>
                    <a:pt x="34576" y="104299"/>
                  </a:cubicBezTo>
                  <a:lnTo>
                    <a:pt x="34576" y="235648"/>
                  </a:lnTo>
                  <a:lnTo>
                    <a:pt x="190" y="235648"/>
                  </a:lnTo>
                  <a:lnTo>
                    <a:pt x="190" y="4858"/>
                  </a:lnTo>
                  <a:close/>
                </a:path>
              </a:pathLst>
            </a:custGeom>
            <a:solidFill>
              <a:srgbClr val="44505E"/>
            </a:solidFill>
            <a:ln w="9525" cap="flat">
              <a:noFill/>
              <a:prstDash val="solid"/>
              <a:miter/>
            </a:ln>
          </p:spPr>
          <p:txBody>
            <a:bodyPr rtlCol="0" anchor="ctr"/>
            <a:lstStyle/>
            <a:p>
              <a:endParaRPr lang="pt-BR" noProof="0"/>
            </a:p>
          </p:txBody>
        </p:sp>
        <p:sp>
          <p:nvSpPr>
            <p:cNvPr id="50" name="Freeform: Shape 49">
              <a:extLst>
                <a:ext uri="{FF2B5EF4-FFF2-40B4-BE49-F238E27FC236}">
                  <a16:creationId xmlns:a16="http://schemas.microsoft.com/office/drawing/2014/main" id="{F1E8ED3A-0933-EF65-5112-AF9E7D8A5879}"/>
                </a:ext>
              </a:extLst>
            </p:cNvPr>
            <p:cNvSpPr/>
            <p:nvPr/>
          </p:nvSpPr>
          <p:spPr>
            <a:xfrm>
              <a:off x="6415537" y="925273"/>
              <a:ext cx="58016" cy="58448"/>
            </a:xfrm>
            <a:custGeom>
              <a:avLst/>
              <a:gdLst>
                <a:gd name="connsiteX0" fmla="*/ 95 w 230790"/>
                <a:gd name="connsiteY0" fmla="*/ 0 h 232505"/>
                <a:gd name="connsiteX1" fmla="*/ 38005 w 230790"/>
                <a:gd name="connsiteY1" fmla="*/ 0 h 232505"/>
                <a:gd name="connsiteX2" fmla="*/ 115633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3"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51" name="Freeform: Shape 50">
              <a:extLst>
                <a:ext uri="{FF2B5EF4-FFF2-40B4-BE49-F238E27FC236}">
                  <a16:creationId xmlns:a16="http://schemas.microsoft.com/office/drawing/2014/main" id="{C084329B-F2BB-B4AD-97DF-678D3DE7DCCA}"/>
                </a:ext>
              </a:extLst>
            </p:cNvPr>
            <p:cNvSpPr/>
            <p:nvPr/>
          </p:nvSpPr>
          <p:spPr>
            <a:xfrm>
              <a:off x="6487369"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286 w 39242"/>
                <a:gd name="connsiteY5" fmla="*/ 88392 h 319182"/>
                <a:gd name="connsiteX6" fmla="*/ 36671 w 39242"/>
                <a:gd name="connsiteY6" fmla="*/ 88392 h 319182"/>
                <a:gd name="connsiteX7" fmla="*/ 36671 w 39242"/>
                <a:gd name="connsiteY7" fmla="*/ 319183 h 319182"/>
                <a:gd name="connsiteX8" fmla="*/ 2286 w 39242"/>
                <a:gd name="connsiteY8" fmla="*/ 319183 h 319182"/>
                <a:gd name="connsiteX9" fmla="*/ 2286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286" y="88392"/>
                  </a:moveTo>
                  <a:lnTo>
                    <a:pt x="36671" y="88392"/>
                  </a:lnTo>
                  <a:lnTo>
                    <a:pt x="36671" y="319183"/>
                  </a:lnTo>
                  <a:lnTo>
                    <a:pt x="2286" y="319183"/>
                  </a:lnTo>
                  <a:lnTo>
                    <a:pt x="2286" y="88392"/>
                  </a:lnTo>
                  <a:close/>
                </a:path>
              </a:pathLst>
            </a:custGeom>
            <a:solidFill>
              <a:srgbClr val="44505E"/>
            </a:solidFill>
            <a:ln w="9525" cap="flat">
              <a:noFill/>
              <a:prstDash val="solid"/>
              <a:miter/>
            </a:ln>
          </p:spPr>
          <p:txBody>
            <a:bodyPr rtlCol="0" anchor="ctr"/>
            <a:lstStyle/>
            <a:p>
              <a:endParaRPr lang="pt-BR" noProof="0"/>
            </a:p>
          </p:txBody>
        </p:sp>
        <p:sp>
          <p:nvSpPr>
            <p:cNvPr id="52" name="Freeform: Shape 51">
              <a:extLst>
                <a:ext uri="{FF2B5EF4-FFF2-40B4-BE49-F238E27FC236}">
                  <a16:creationId xmlns:a16="http://schemas.microsoft.com/office/drawing/2014/main" id="{44D9900D-A20F-74B9-6D33-C5AC9246AB67}"/>
                </a:ext>
              </a:extLst>
            </p:cNvPr>
            <p:cNvSpPr/>
            <p:nvPr/>
          </p:nvSpPr>
          <p:spPr>
            <a:xfrm>
              <a:off x="6513253" y="901353"/>
              <a:ext cx="58615" cy="83182"/>
            </a:xfrm>
            <a:custGeom>
              <a:avLst/>
              <a:gdLst>
                <a:gd name="connsiteX0" fmla="*/ 110394 w 233171"/>
                <a:gd name="connsiteY0" fmla="*/ 330898 h 330898"/>
                <a:gd name="connsiteX1" fmla="*/ 69723 w 233171"/>
                <a:gd name="connsiteY1" fmla="*/ 322897 h 330898"/>
                <a:gd name="connsiteX2" fmla="*/ 34480 w 233171"/>
                <a:gd name="connsiteY2" fmla="*/ 299466 h 330898"/>
                <a:gd name="connsiteX3" fmla="*/ 9430 w 233171"/>
                <a:gd name="connsiteY3" fmla="*/ 261938 h 330898"/>
                <a:gd name="connsiteX4" fmla="*/ 0 w 233171"/>
                <a:gd name="connsiteY4" fmla="*/ 211264 h 330898"/>
                <a:gd name="connsiteX5" fmla="*/ 0 w 233171"/>
                <a:gd name="connsiteY5" fmla="*/ 210407 h 330898"/>
                <a:gd name="connsiteX6" fmla="*/ 9430 w 233171"/>
                <a:gd name="connsiteY6" fmla="*/ 159925 h 330898"/>
                <a:gd name="connsiteX7" fmla="*/ 34480 w 233171"/>
                <a:gd name="connsiteY7" fmla="*/ 122206 h 330898"/>
                <a:gd name="connsiteX8" fmla="*/ 69723 w 233171"/>
                <a:gd name="connsiteY8" fmla="*/ 98488 h 330898"/>
                <a:gd name="connsiteX9" fmla="*/ 110394 w 233171"/>
                <a:gd name="connsiteY9" fmla="*/ 90202 h 330898"/>
                <a:gd name="connsiteX10" fmla="*/ 139827 w 233171"/>
                <a:gd name="connsiteY10" fmla="*/ 94202 h 330898"/>
                <a:gd name="connsiteX11" fmla="*/ 163925 w 233171"/>
                <a:gd name="connsiteY11" fmla="*/ 104870 h 330898"/>
                <a:gd name="connsiteX12" fmla="*/ 183356 w 233171"/>
                <a:gd name="connsiteY12" fmla="*/ 120491 h 330898"/>
                <a:gd name="connsiteX13" fmla="*/ 198787 w 233171"/>
                <a:gd name="connsiteY13" fmla="*/ 139255 h 330898"/>
                <a:gd name="connsiteX14" fmla="*/ 198787 w 233171"/>
                <a:gd name="connsiteY14" fmla="*/ 0 h 330898"/>
                <a:gd name="connsiteX15" fmla="*/ 233172 w 233171"/>
                <a:gd name="connsiteY15" fmla="*/ 0 h 330898"/>
                <a:gd name="connsiteX16" fmla="*/ 233172 w 233171"/>
                <a:gd name="connsiteY16" fmla="*/ 325850 h 330898"/>
                <a:gd name="connsiteX17" fmla="*/ 198787 w 233171"/>
                <a:gd name="connsiteY17" fmla="*/ 325850 h 330898"/>
                <a:gd name="connsiteX18" fmla="*/ 198787 w 233171"/>
                <a:gd name="connsiteY18" fmla="*/ 279463 h 330898"/>
                <a:gd name="connsiteX19" fmla="*/ 182975 w 233171"/>
                <a:gd name="connsiteY19" fmla="*/ 299085 h 330898"/>
                <a:gd name="connsiteX20" fmla="*/ 163544 w 233171"/>
                <a:gd name="connsiteY20" fmla="*/ 315658 h 330898"/>
                <a:gd name="connsiteX21" fmla="*/ 139636 w 233171"/>
                <a:gd name="connsiteY21" fmla="*/ 326803 h 330898"/>
                <a:gd name="connsiteX22" fmla="*/ 110394 w 233171"/>
                <a:gd name="connsiteY22" fmla="*/ 330803 h 330898"/>
                <a:gd name="connsiteX23" fmla="*/ 116681 w 233171"/>
                <a:gd name="connsiteY23" fmla="*/ 300133 h 330898"/>
                <a:gd name="connsiteX24" fmla="*/ 147733 w 233171"/>
                <a:gd name="connsiteY24" fmla="*/ 293656 h 330898"/>
                <a:gd name="connsiteX25" fmla="*/ 174498 w 233171"/>
                <a:gd name="connsiteY25" fmla="*/ 275368 h 330898"/>
                <a:gd name="connsiteX26" fmla="*/ 193262 w 233171"/>
                <a:gd name="connsiteY26" fmla="*/ 247269 h 330898"/>
                <a:gd name="connsiteX27" fmla="*/ 200216 w 233171"/>
                <a:gd name="connsiteY27" fmla="*/ 210883 h 330898"/>
                <a:gd name="connsiteX28" fmla="*/ 200216 w 233171"/>
                <a:gd name="connsiteY28" fmla="*/ 210026 h 330898"/>
                <a:gd name="connsiteX29" fmla="*/ 193262 w 233171"/>
                <a:gd name="connsiteY29" fmla="*/ 173641 h 330898"/>
                <a:gd name="connsiteX30" fmla="*/ 174498 w 233171"/>
                <a:gd name="connsiteY30" fmla="*/ 145732 h 330898"/>
                <a:gd name="connsiteX31" fmla="*/ 147733 w 233171"/>
                <a:gd name="connsiteY31" fmla="*/ 127635 h 330898"/>
                <a:gd name="connsiteX32" fmla="*/ 116681 w 233171"/>
                <a:gd name="connsiteY32" fmla="*/ 121158 h 330898"/>
                <a:gd name="connsiteX33" fmla="*/ 84963 w 233171"/>
                <a:gd name="connsiteY33" fmla="*/ 127159 h 330898"/>
                <a:gd name="connsiteX34" fmla="*/ 59341 w 233171"/>
                <a:gd name="connsiteY34" fmla="*/ 144589 h 330898"/>
                <a:gd name="connsiteX35" fmla="*/ 41910 w 233171"/>
                <a:gd name="connsiteY35" fmla="*/ 172498 h 330898"/>
                <a:gd name="connsiteX36" fmla="*/ 35433 w 233171"/>
                <a:gd name="connsiteY36" fmla="*/ 210026 h 330898"/>
                <a:gd name="connsiteX37" fmla="*/ 35433 w 233171"/>
                <a:gd name="connsiteY37" fmla="*/ 210883 h 330898"/>
                <a:gd name="connsiteX38" fmla="*/ 41910 w 233171"/>
                <a:gd name="connsiteY38" fmla="*/ 247936 h 330898"/>
                <a:gd name="connsiteX39" fmla="*/ 59531 w 233171"/>
                <a:gd name="connsiteY39" fmla="*/ 276034 h 330898"/>
                <a:gd name="connsiteX40" fmla="*/ 85439 w 233171"/>
                <a:gd name="connsiteY40" fmla="*/ 293941 h 330898"/>
                <a:gd name="connsiteX41" fmla="*/ 116681 w 23317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3171" h="330898">
                  <a:moveTo>
                    <a:pt x="110394" y="330898"/>
                  </a:moveTo>
                  <a:cubicBezTo>
                    <a:pt x="96393" y="330898"/>
                    <a:pt x="82868" y="328231"/>
                    <a:pt x="69723" y="322897"/>
                  </a:cubicBezTo>
                  <a:cubicBezTo>
                    <a:pt x="56674" y="317563"/>
                    <a:pt x="44863" y="309753"/>
                    <a:pt x="34480" y="299466"/>
                  </a:cubicBezTo>
                  <a:cubicBezTo>
                    <a:pt x="24003" y="289179"/>
                    <a:pt x="15716" y="276701"/>
                    <a:pt x="9430" y="261938"/>
                  </a:cubicBezTo>
                  <a:cubicBezTo>
                    <a:pt x="3143" y="247174"/>
                    <a:pt x="0" y="230314"/>
                    <a:pt x="0" y="211264"/>
                  </a:cubicBezTo>
                  <a:lnTo>
                    <a:pt x="0" y="210407"/>
                  </a:lnTo>
                  <a:cubicBezTo>
                    <a:pt x="0" y="191643"/>
                    <a:pt x="3143" y="174879"/>
                    <a:pt x="9430" y="159925"/>
                  </a:cubicBezTo>
                  <a:cubicBezTo>
                    <a:pt x="15716" y="145066"/>
                    <a:pt x="24003" y="132493"/>
                    <a:pt x="34480" y="122206"/>
                  </a:cubicBezTo>
                  <a:cubicBezTo>
                    <a:pt x="44863" y="111919"/>
                    <a:pt x="56674" y="104013"/>
                    <a:pt x="69723" y="98488"/>
                  </a:cubicBezTo>
                  <a:cubicBezTo>
                    <a:pt x="82868" y="92964"/>
                    <a:pt x="96393" y="90202"/>
                    <a:pt x="110394" y="90202"/>
                  </a:cubicBezTo>
                  <a:cubicBezTo>
                    <a:pt x="121158" y="90202"/>
                    <a:pt x="130969" y="91535"/>
                    <a:pt x="139827" y="94202"/>
                  </a:cubicBezTo>
                  <a:cubicBezTo>
                    <a:pt x="148780" y="96869"/>
                    <a:pt x="156782" y="100489"/>
                    <a:pt x="163925" y="104870"/>
                  </a:cubicBezTo>
                  <a:cubicBezTo>
                    <a:pt x="171069" y="109347"/>
                    <a:pt x="177546" y="114586"/>
                    <a:pt x="183356" y="120491"/>
                  </a:cubicBezTo>
                  <a:cubicBezTo>
                    <a:pt x="189166" y="126492"/>
                    <a:pt x="194310" y="132683"/>
                    <a:pt x="198787" y="139255"/>
                  </a:cubicBezTo>
                  <a:lnTo>
                    <a:pt x="198787" y="0"/>
                  </a:lnTo>
                  <a:lnTo>
                    <a:pt x="233172" y="0"/>
                  </a:lnTo>
                  <a:lnTo>
                    <a:pt x="233172" y="325850"/>
                  </a:lnTo>
                  <a:lnTo>
                    <a:pt x="198787" y="325850"/>
                  </a:lnTo>
                  <a:lnTo>
                    <a:pt x="198787" y="279463"/>
                  </a:lnTo>
                  <a:cubicBezTo>
                    <a:pt x="194024" y="286321"/>
                    <a:pt x="188786" y="292894"/>
                    <a:pt x="182975" y="299085"/>
                  </a:cubicBezTo>
                  <a:cubicBezTo>
                    <a:pt x="177165" y="305371"/>
                    <a:pt x="170688" y="310896"/>
                    <a:pt x="163544" y="315658"/>
                  </a:cubicBezTo>
                  <a:cubicBezTo>
                    <a:pt x="156400" y="320421"/>
                    <a:pt x="148494" y="324136"/>
                    <a:pt x="139636" y="326803"/>
                  </a:cubicBezTo>
                  <a:cubicBezTo>
                    <a:pt x="130873" y="329470"/>
                    <a:pt x="121158" y="330803"/>
                    <a:pt x="110394" y="330803"/>
                  </a:cubicBezTo>
                  <a:close/>
                  <a:moveTo>
                    <a:pt x="116681" y="300133"/>
                  </a:moveTo>
                  <a:cubicBezTo>
                    <a:pt x="127445" y="300133"/>
                    <a:pt x="137732" y="297942"/>
                    <a:pt x="147733" y="293656"/>
                  </a:cubicBezTo>
                  <a:cubicBezTo>
                    <a:pt x="157734" y="289369"/>
                    <a:pt x="166592" y="283273"/>
                    <a:pt x="174498" y="275368"/>
                  </a:cubicBezTo>
                  <a:cubicBezTo>
                    <a:pt x="182404" y="267462"/>
                    <a:pt x="188595" y="258127"/>
                    <a:pt x="193262" y="247269"/>
                  </a:cubicBezTo>
                  <a:cubicBezTo>
                    <a:pt x="197834" y="236410"/>
                    <a:pt x="200216" y="224314"/>
                    <a:pt x="200216" y="210883"/>
                  </a:cubicBezTo>
                  <a:lnTo>
                    <a:pt x="200216" y="210026"/>
                  </a:lnTo>
                  <a:cubicBezTo>
                    <a:pt x="200216" y="196596"/>
                    <a:pt x="197929" y="184499"/>
                    <a:pt x="193262" y="173641"/>
                  </a:cubicBezTo>
                  <a:cubicBezTo>
                    <a:pt x="188595" y="162782"/>
                    <a:pt x="182404" y="153448"/>
                    <a:pt x="174498" y="145732"/>
                  </a:cubicBezTo>
                  <a:cubicBezTo>
                    <a:pt x="166592" y="138017"/>
                    <a:pt x="157639" y="132016"/>
                    <a:pt x="147733" y="127635"/>
                  </a:cubicBezTo>
                  <a:cubicBezTo>
                    <a:pt x="137732" y="123349"/>
                    <a:pt x="127445" y="121158"/>
                    <a:pt x="116681" y="121158"/>
                  </a:cubicBezTo>
                  <a:cubicBezTo>
                    <a:pt x="105346" y="121158"/>
                    <a:pt x="94774" y="123158"/>
                    <a:pt x="84963" y="127159"/>
                  </a:cubicBezTo>
                  <a:cubicBezTo>
                    <a:pt x="75152" y="131159"/>
                    <a:pt x="66580" y="136969"/>
                    <a:pt x="59341" y="144589"/>
                  </a:cubicBezTo>
                  <a:cubicBezTo>
                    <a:pt x="52007" y="152114"/>
                    <a:pt x="46291" y="161449"/>
                    <a:pt x="41910" y="172498"/>
                  </a:cubicBezTo>
                  <a:cubicBezTo>
                    <a:pt x="37624" y="183451"/>
                    <a:pt x="35433" y="196024"/>
                    <a:pt x="35433" y="210026"/>
                  </a:cubicBezTo>
                  <a:lnTo>
                    <a:pt x="35433" y="210883"/>
                  </a:lnTo>
                  <a:cubicBezTo>
                    <a:pt x="35433" y="224599"/>
                    <a:pt x="37624" y="236982"/>
                    <a:pt x="41910" y="247936"/>
                  </a:cubicBezTo>
                  <a:cubicBezTo>
                    <a:pt x="46196" y="258984"/>
                    <a:pt x="52101" y="268319"/>
                    <a:pt x="59531" y="276034"/>
                  </a:cubicBezTo>
                  <a:cubicBezTo>
                    <a:pt x="66960" y="283750"/>
                    <a:pt x="75629" y="289750"/>
                    <a:pt x="85439" y="293941"/>
                  </a:cubicBezTo>
                  <a:cubicBezTo>
                    <a:pt x="95250" y="298132"/>
                    <a:pt x="105632" y="300228"/>
                    <a:pt x="116681" y="300228"/>
                  </a:cubicBezTo>
                  <a:close/>
                </a:path>
              </a:pathLst>
            </a:custGeom>
            <a:solidFill>
              <a:srgbClr val="44505E"/>
            </a:solidFill>
            <a:ln w="9525" cap="flat">
              <a:noFill/>
              <a:prstDash val="solid"/>
              <a:miter/>
            </a:ln>
          </p:spPr>
          <p:txBody>
            <a:bodyPr rtlCol="0" anchor="ctr"/>
            <a:lstStyle/>
            <a:p>
              <a:endParaRPr lang="pt-BR" noProof="0"/>
            </a:p>
          </p:txBody>
        </p:sp>
        <p:sp>
          <p:nvSpPr>
            <p:cNvPr id="53" name="Freeform: Shape 52">
              <a:extLst>
                <a:ext uri="{FF2B5EF4-FFF2-40B4-BE49-F238E27FC236}">
                  <a16:creationId xmlns:a16="http://schemas.microsoft.com/office/drawing/2014/main" id="{A4B44985-53C4-6622-DA10-361981D11E04}"/>
                </a:ext>
              </a:extLst>
            </p:cNvPr>
            <p:cNvSpPr/>
            <p:nvPr/>
          </p:nvSpPr>
          <p:spPr>
            <a:xfrm>
              <a:off x="6586762"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0 w 202977"/>
                <a:gd name="connsiteY16" fmla="*/ 48196 h 239267"/>
                <a:gd name="connsiteX17" fmla="*/ 20383 w 202977"/>
                <a:gd name="connsiteY17" fmla="*/ 19907 h 239267"/>
                <a:gd name="connsiteX18" fmla="*/ 59245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0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1"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675" y="92678"/>
                    <a:pt x="84011" y="90964"/>
                    <a:pt x="98584" y="90964"/>
                  </a:cubicBezTo>
                  <a:cubicBezTo>
                    <a:pt x="113157" y="90964"/>
                    <a:pt x="126302"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0" y="33147"/>
                    <a:pt x="63436" y="36100"/>
                  </a:cubicBezTo>
                  <a:cubicBezTo>
                    <a:pt x="52292" y="39053"/>
                    <a:pt x="41338" y="43053"/>
                    <a:pt x="30670" y="48196"/>
                  </a:cubicBezTo>
                  <a:lnTo>
                    <a:pt x="20383" y="19907"/>
                  </a:lnTo>
                  <a:cubicBezTo>
                    <a:pt x="33147" y="13906"/>
                    <a:pt x="46101" y="9049"/>
                    <a:pt x="59245" y="5429"/>
                  </a:cubicBezTo>
                  <a:cubicBezTo>
                    <a:pt x="72294" y="1810"/>
                    <a:pt x="87344" y="0"/>
                    <a:pt x="104299" y="0"/>
                  </a:cubicBezTo>
                  <a:cubicBezTo>
                    <a:pt x="137064" y="0"/>
                    <a:pt x="161925" y="8477"/>
                    <a:pt x="178879" y="25432"/>
                  </a:cubicBezTo>
                  <a:cubicBezTo>
                    <a:pt x="194976"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0" y="239173"/>
                  </a:cubicBezTo>
                  <a:close/>
                  <a:moveTo>
                    <a:pt x="93154" y="211169"/>
                  </a:moveTo>
                  <a:cubicBezTo>
                    <a:pt x="103822" y="211169"/>
                    <a:pt x="113729" y="209740"/>
                    <a:pt x="122967" y="206788"/>
                  </a:cubicBezTo>
                  <a:cubicBezTo>
                    <a:pt x="132207"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4" y="119348"/>
                    <a:pt x="116871"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54" name="Freeform: Shape 53">
              <a:extLst>
                <a:ext uri="{FF2B5EF4-FFF2-40B4-BE49-F238E27FC236}">
                  <a16:creationId xmlns:a16="http://schemas.microsoft.com/office/drawing/2014/main" id="{22A2753D-8819-83BB-22EE-567B00C856E9}"/>
                </a:ext>
              </a:extLst>
            </p:cNvPr>
            <p:cNvSpPr/>
            <p:nvPr/>
          </p:nvSpPr>
          <p:spPr>
            <a:xfrm>
              <a:off x="6651291" y="924268"/>
              <a:ext cx="44680" cy="60195"/>
            </a:xfrm>
            <a:custGeom>
              <a:avLst/>
              <a:gdLst>
                <a:gd name="connsiteX0" fmla="*/ 95535 w 177736"/>
                <a:gd name="connsiteY0" fmla="*/ 239268 h 239458"/>
                <a:gd name="connsiteX1" fmla="*/ 45053 w 177736"/>
                <a:gd name="connsiteY1" fmla="*/ 230124 h 239458"/>
                <a:gd name="connsiteX2" fmla="*/ 0 w 177736"/>
                <a:gd name="connsiteY2" fmla="*/ 205359 h 239458"/>
                <a:gd name="connsiteX3" fmla="*/ 17430 w 177736"/>
                <a:gd name="connsiteY3" fmla="*/ 180785 h 239458"/>
                <a:gd name="connsiteX4" fmla="*/ 56483 w 177736"/>
                <a:gd name="connsiteY4" fmla="*/ 202692 h 239458"/>
                <a:gd name="connsiteX5" fmla="*/ 97345 w 177736"/>
                <a:gd name="connsiteY5" fmla="*/ 210217 h 239458"/>
                <a:gd name="connsiteX6" fmla="*/ 131730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825 w 177736"/>
                <a:gd name="connsiteY10" fmla="*/ 147066 h 239458"/>
                <a:gd name="connsiteX11" fmla="*/ 109251 w 177736"/>
                <a:gd name="connsiteY11" fmla="*/ 138779 h 239458"/>
                <a:gd name="connsiteX12" fmla="*/ 87630 w 177736"/>
                <a:gd name="connsiteY12" fmla="*/ 132112 h 239458"/>
                <a:gd name="connsiteX13" fmla="*/ 60579 w 177736"/>
                <a:gd name="connsiteY13" fmla="*/ 123444 h 239458"/>
                <a:gd name="connsiteX14" fmla="*/ 36004 w 177736"/>
                <a:gd name="connsiteY14" fmla="*/ 111633 h 239458"/>
                <a:gd name="connsiteX15" fmla="*/ 18192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59 w 177736"/>
                <a:gd name="connsiteY22" fmla="*/ 6953 h 239458"/>
                <a:gd name="connsiteX23" fmla="*/ 172878 w 177736"/>
                <a:gd name="connsiteY23" fmla="*/ 25527 h 239458"/>
                <a:gd name="connsiteX24" fmla="*/ 157257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3 w 177736"/>
                <a:gd name="connsiteY32" fmla="*/ 96203 h 239458"/>
                <a:gd name="connsiteX33" fmla="*/ 103631 w 177736"/>
                <a:gd name="connsiteY33" fmla="*/ 103346 h 239458"/>
                <a:gd name="connsiteX34" fmla="*/ 130207 w 177736"/>
                <a:gd name="connsiteY34" fmla="*/ 112300 h 239458"/>
                <a:gd name="connsiteX35" fmla="*/ 154114 w 177736"/>
                <a:gd name="connsiteY35" fmla="*/ 124778 h 239458"/>
                <a:gd name="connsiteX36" fmla="*/ 171259 w 177736"/>
                <a:gd name="connsiteY36" fmla="*/ 143066 h 239458"/>
                <a:gd name="connsiteX37" fmla="*/ 177736 w 177736"/>
                <a:gd name="connsiteY37" fmla="*/ 169450 h 239458"/>
                <a:gd name="connsiteX38" fmla="*/ 177736 w 177736"/>
                <a:gd name="connsiteY38" fmla="*/ 170307 h 239458"/>
                <a:gd name="connsiteX39" fmla="*/ 171259 w 177736"/>
                <a:gd name="connsiteY39" fmla="*/ 199549 h 239458"/>
                <a:gd name="connsiteX40" fmla="*/ 153828 w 177736"/>
                <a:gd name="connsiteY40" fmla="*/ 221171 h 239458"/>
                <a:gd name="connsiteX41" fmla="*/ 127921 w 177736"/>
                <a:gd name="connsiteY41" fmla="*/ 234791 h 239458"/>
                <a:gd name="connsiteX42" fmla="*/ 95535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5" y="239268"/>
                  </a:moveTo>
                  <a:cubicBezTo>
                    <a:pt x="78867" y="239268"/>
                    <a:pt x="62007" y="236220"/>
                    <a:pt x="45053" y="230124"/>
                  </a:cubicBezTo>
                  <a:cubicBezTo>
                    <a:pt x="28098" y="224028"/>
                    <a:pt x="13049" y="215741"/>
                    <a:pt x="0" y="205359"/>
                  </a:cubicBezTo>
                  <a:lnTo>
                    <a:pt x="17430" y="180785"/>
                  </a:lnTo>
                  <a:cubicBezTo>
                    <a:pt x="29908" y="190310"/>
                    <a:pt x="42957" y="197644"/>
                    <a:pt x="56483" y="202692"/>
                  </a:cubicBezTo>
                  <a:cubicBezTo>
                    <a:pt x="70009" y="207740"/>
                    <a:pt x="83629" y="210217"/>
                    <a:pt x="97345" y="210217"/>
                  </a:cubicBezTo>
                  <a:cubicBezTo>
                    <a:pt x="111061" y="210217"/>
                    <a:pt x="122777" y="206978"/>
                    <a:pt x="131730" y="200406"/>
                  </a:cubicBezTo>
                  <a:cubicBezTo>
                    <a:pt x="140684" y="193834"/>
                    <a:pt x="145161" y="184976"/>
                    <a:pt x="145161" y="173641"/>
                  </a:cubicBezTo>
                  <a:lnTo>
                    <a:pt x="145161" y="172784"/>
                  </a:lnTo>
                  <a:cubicBezTo>
                    <a:pt x="145161" y="167164"/>
                    <a:pt x="143541" y="162211"/>
                    <a:pt x="140494" y="158020"/>
                  </a:cubicBezTo>
                  <a:cubicBezTo>
                    <a:pt x="137350" y="153829"/>
                    <a:pt x="133159" y="150209"/>
                    <a:pt x="127825" y="147066"/>
                  </a:cubicBezTo>
                  <a:cubicBezTo>
                    <a:pt x="122491" y="143923"/>
                    <a:pt x="116300" y="141161"/>
                    <a:pt x="109251" y="138779"/>
                  </a:cubicBezTo>
                  <a:cubicBezTo>
                    <a:pt x="102298" y="136398"/>
                    <a:pt x="95059" y="134207"/>
                    <a:pt x="87630" y="132112"/>
                  </a:cubicBezTo>
                  <a:cubicBezTo>
                    <a:pt x="78676" y="129445"/>
                    <a:pt x="69722" y="126492"/>
                    <a:pt x="60579" y="123444"/>
                  </a:cubicBezTo>
                  <a:cubicBezTo>
                    <a:pt x="51530" y="120301"/>
                    <a:pt x="43339" y="116396"/>
                    <a:pt x="36004" y="111633"/>
                  </a:cubicBezTo>
                  <a:cubicBezTo>
                    <a:pt x="28670" y="106871"/>
                    <a:pt x="22764" y="100870"/>
                    <a:pt x="18192" y="93726"/>
                  </a:cubicBezTo>
                  <a:cubicBezTo>
                    <a:pt x="13525" y="86582"/>
                    <a:pt x="11239" y="77629"/>
                    <a:pt x="11239" y="66961"/>
                  </a:cubicBezTo>
                  <a:lnTo>
                    <a:pt x="11239" y="66008"/>
                  </a:lnTo>
                  <a:cubicBezTo>
                    <a:pt x="11239" y="56198"/>
                    <a:pt x="13144" y="47149"/>
                    <a:pt x="17050" y="39053"/>
                  </a:cubicBezTo>
                  <a:cubicBezTo>
                    <a:pt x="20955" y="30861"/>
                    <a:pt x="26384" y="23908"/>
                    <a:pt x="33338" y="18098"/>
                  </a:cubicBezTo>
                  <a:cubicBezTo>
                    <a:pt x="40291" y="12287"/>
                    <a:pt x="48673" y="7811"/>
                    <a:pt x="58388" y="4667"/>
                  </a:cubicBezTo>
                  <a:cubicBezTo>
                    <a:pt x="68008" y="1524"/>
                    <a:pt x="78581" y="0"/>
                    <a:pt x="89821" y="0"/>
                  </a:cubicBezTo>
                  <a:cubicBezTo>
                    <a:pt x="104108" y="0"/>
                    <a:pt x="118586" y="2286"/>
                    <a:pt x="133159" y="6953"/>
                  </a:cubicBezTo>
                  <a:cubicBezTo>
                    <a:pt x="147732" y="11621"/>
                    <a:pt x="160972" y="17717"/>
                    <a:pt x="172878" y="25527"/>
                  </a:cubicBezTo>
                  <a:lnTo>
                    <a:pt x="157257" y="51435"/>
                  </a:lnTo>
                  <a:cubicBezTo>
                    <a:pt x="146494" y="44577"/>
                    <a:pt x="135255" y="39148"/>
                    <a:pt x="123539" y="35147"/>
                  </a:cubicBezTo>
                  <a:cubicBezTo>
                    <a:pt x="111823" y="31147"/>
                    <a:pt x="100203" y="29146"/>
                    <a:pt x="88963" y="29146"/>
                  </a:cubicBezTo>
                  <a:cubicBezTo>
                    <a:pt x="75247" y="29146"/>
                    <a:pt x="64389" y="32385"/>
                    <a:pt x="56388" y="38767"/>
                  </a:cubicBezTo>
                  <a:cubicBezTo>
                    <a:pt x="48291" y="45149"/>
                    <a:pt x="44291" y="53150"/>
                    <a:pt x="44291" y="62675"/>
                  </a:cubicBezTo>
                  <a:lnTo>
                    <a:pt x="44291" y="63627"/>
                  </a:lnTo>
                  <a:cubicBezTo>
                    <a:pt x="44291" y="68961"/>
                    <a:pt x="45910" y="73628"/>
                    <a:pt x="49244" y="77724"/>
                  </a:cubicBezTo>
                  <a:cubicBezTo>
                    <a:pt x="52482" y="81725"/>
                    <a:pt x="56864" y="85249"/>
                    <a:pt x="62389" y="88202"/>
                  </a:cubicBezTo>
                  <a:cubicBezTo>
                    <a:pt x="67913" y="91154"/>
                    <a:pt x="74200" y="93821"/>
                    <a:pt x="81343" y="96203"/>
                  </a:cubicBezTo>
                  <a:cubicBezTo>
                    <a:pt x="88487" y="98584"/>
                    <a:pt x="95916" y="100965"/>
                    <a:pt x="103631" y="103346"/>
                  </a:cubicBezTo>
                  <a:cubicBezTo>
                    <a:pt x="112585" y="106013"/>
                    <a:pt x="121444" y="108966"/>
                    <a:pt x="130207" y="112300"/>
                  </a:cubicBezTo>
                  <a:cubicBezTo>
                    <a:pt x="138969" y="115538"/>
                    <a:pt x="146971" y="119729"/>
                    <a:pt x="154114" y="124778"/>
                  </a:cubicBezTo>
                  <a:cubicBezTo>
                    <a:pt x="161258" y="129826"/>
                    <a:pt x="166973" y="135922"/>
                    <a:pt x="171259" y="143066"/>
                  </a:cubicBezTo>
                  <a:cubicBezTo>
                    <a:pt x="175546" y="150209"/>
                    <a:pt x="177736" y="158972"/>
                    <a:pt x="177736" y="169450"/>
                  </a:cubicBezTo>
                  <a:lnTo>
                    <a:pt x="177736" y="170307"/>
                  </a:lnTo>
                  <a:cubicBezTo>
                    <a:pt x="177736" y="181356"/>
                    <a:pt x="175546" y="191071"/>
                    <a:pt x="171259" y="199549"/>
                  </a:cubicBezTo>
                  <a:cubicBezTo>
                    <a:pt x="166973" y="208026"/>
                    <a:pt x="161163" y="215265"/>
                    <a:pt x="153828" y="221171"/>
                  </a:cubicBezTo>
                  <a:cubicBezTo>
                    <a:pt x="146589" y="227171"/>
                    <a:pt x="137922" y="231648"/>
                    <a:pt x="127921" y="234791"/>
                  </a:cubicBezTo>
                  <a:cubicBezTo>
                    <a:pt x="117919" y="237935"/>
                    <a:pt x="107156" y="239459"/>
                    <a:pt x="95535" y="239459"/>
                  </a:cubicBezTo>
                  <a:close/>
                </a:path>
              </a:pathLst>
            </a:custGeom>
            <a:solidFill>
              <a:srgbClr val="44505E"/>
            </a:solidFill>
            <a:ln w="9525" cap="flat">
              <a:noFill/>
              <a:prstDash val="solid"/>
              <a:miter/>
            </a:ln>
          </p:spPr>
          <p:txBody>
            <a:bodyPr rtlCol="0" anchor="ctr"/>
            <a:lstStyle/>
            <a:p>
              <a:endParaRPr lang="pt-BR" noProof="0"/>
            </a:p>
          </p:txBody>
        </p:sp>
        <p:sp>
          <p:nvSpPr>
            <p:cNvPr id="55" name="Freeform: Shape 54">
              <a:extLst>
                <a:ext uri="{FF2B5EF4-FFF2-40B4-BE49-F238E27FC236}">
                  <a16:creationId xmlns:a16="http://schemas.microsoft.com/office/drawing/2014/main" id="{0AF598C4-52A2-D2D9-8D62-0A69622961D2}"/>
                </a:ext>
              </a:extLst>
            </p:cNvPr>
            <p:cNvSpPr/>
            <p:nvPr/>
          </p:nvSpPr>
          <p:spPr>
            <a:xfrm>
              <a:off x="5250320" y="846952"/>
              <a:ext cx="1459036" cy="16186"/>
            </a:xfrm>
            <a:custGeom>
              <a:avLst/>
              <a:gdLst>
                <a:gd name="connsiteX0" fmla="*/ 0 w 5804058"/>
                <a:gd name="connsiteY0" fmla="*/ 0 h 64388"/>
                <a:gd name="connsiteX1" fmla="*/ 5804059 w 5804058"/>
                <a:gd name="connsiteY1" fmla="*/ 0 h 64388"/>
                <a:gd name="connsiteX2" fmla="*/ 5804059 w 5804058"/>
                <a:gd name="connsiteY2" fmla="*/ 64389 h 64388"/>
                <a:gd name="connsiteX3" fmla="*/ 0 w 5804058"/>
                <a:gd name="connsiteY3" fmla="*/ 64389 h 64388"/>
              </a:gdLst>
              <a:ahLst/>
              <a:cxnLst>
                <a:cxn ang="0">
                  <a:pos x="connsiteX0" y="connsiteY0"/>
                </a:cxn>
                <a:cxn ang="0">
                  <a:pos x="connsiteX1" y="connsiteY1"/>
                </a:cxn>
                <a:cxn ang="0">
                  <a:pos x="connsiteX2" y="connsiteY2"/>
                </a:cxn>
                <a:cxn ang="0">
                  <a:pos x="connsiteX3" y="connsiteY3"/>
                </a:cxn>
              </a:cxnLst>
              <a:rect l="l" t="t" r="r" b="b"/>
              <a:pathLst>
                <a:path w="5804058" h="64388">
                  <a:moveTo>
                    <a:pt x="0" y="0"/>
                  </a:moveTo>
                  <a:lnTo>
                    <a:pt x="5804059" y="0"/>
                  </a:lnTo>
                  <a:lnTo>
                    <a:pt x="5804059" y="64389"/>
                  </a:lnTo>
                  <a:lnTo>
                    <a:pt x="0" y="64389"/>
                  </a:lnTo>
                  <a:close/>
                </a:path>
              </a:pathLst>
            </a:custGeom>
            <a:solidFill>
              <a:srgbClr val="44505E"/>
            </a:solidFill>
            <a:ln w="9525" cap="flat">
              <a:noFill/>
              <a:prstDash val="solid"/>
              <a:miter/>
            </a:ln>
          </p:spPr>
          <p:txBody>
            <a:bodyPr rtlCol="0" anchor="ctr"/>
            <a:lstStyle/>
            <a:p>
              <a:endParaRPr lang="pt-BR" noProof="0"/>
            </a:p>
          </p:txBody>
        </p:sp>
        <p:sp>
          <p:nvSpPr>
            <p:cNvPr id="56" name="Freeform: Shape 55">
              <a:extLst>
                <a:ext uri="{FF2B5EF4-FFF2-40B4-BE49-F238E27FC236}">
                  <a16:creationId xmlns:a16="http://schemas.microsoft.com/office/drawing/2014/main" id="{A476678E-D4C4-945B-1AD9-EB7C5004B440}"/>
                </a:ext>
              </a:extLst>
            </p:cNvPr>
            <p:cNvSpPr/>
            <p:nvPr/>
          </p:nvSpPr>
          <p:spPr>
            <a:xfrm>
              <a:off x="6902633" y="268821"/>
              <a:ext cx="273418" cy="601046"/>
            </a:xfrm>
            <a:custGeom>
              <a:avLst/>
              <a:gdLst>
                <a:gd name="connsiteX0" fmla="*/ 0 w 1087659"/>
                <a:gd name="connsiteY0" fmla="*/ 210979 h 2390965"/>
                <a:gd name="connsiteX1" fmla="*/ 125063 w 1087659"/>
                <a:gd name="connsiteY1" fmla="*/ 103442 h 2390965"/>
                <a:gd name="connsiteX2" fmla="*/ 250031 w 1087659"/>
                <a:gd name="connsiteY2" fmla="*/ 210979 h 2390965"/>
                <a:gd name="connsiteX3" fmla="*/ 250031 w 1087659"/>
                <a:gd name="connsiteY3" fmla="*/ 1922717 h 2390965"/>
                <a:gd name="connsiteX4" fmla="*/ 249841 w 1087659"/>
                <a:gd name="connsiteY4" fmla="*/ 1922717 h 2390965"/>
                <a:gd name="connsiteX5" fmla="*/ 249841 w 1087659"/>
                <a:gd name="connsiteY5" fmla="*/ 1925955 h 2390965"/>
                <a:gd name="connsiteX6" fmla="*/ 333756 w 1087659"/>
                <a:gd name="connsiteY6" fmla="*/ 2100263 h 2390965"/>
                <a:gd name="connsiteX7" fmla="*/ 335566 w 1087659"/>
                <a:gd name="connsiteY7" fmla="*/ 2101787 h 2390965"/>
                <a:gd name="connsiteX8" fmla="*/ 336042 w 1087659"/>
                <a:gd name="connsiteY8" fmla="*/ 2102168 h 2390965"/>
                <a:gd name="connsiteX9" fmla="*/ 543877 w 1087659"/>
                <a:gd name="connsiteY9" fmla="*/ 2175891 h 2390965"/>
                <a:gd name="connsiteX10" fmla="*/ 749998 w 1087659"/>
                <a:gd name="connsiteY10" fmla="*/ 2103692 h 2390965"/>
                <a:gd name="connsiteX11" fmla="*/ 751713 w 1087659"/>
                <a:gd name="connsiteY11" fmla="*/ 2102168 h 2390965"/>
                <a:gd name="connsiteX12" fmla="*/ 752189 w 1087659"/>
                <a:gd name="connsiteY12" fmla="*/ 2101787 h 2390965"/>
                <a:gd name="connsiteX13" fmla="*/ 837819 w 1087659"/>
                <a:gd name="connsiteY13" fmla="*/ 1922812 h 2390965"/>
                <a:gd name="connsiteX14" fmla="*/ 837819 w 1087659"/>
                <a:gd name="connsiteY14" fmla="*/ 107537 h 2390965"/>
                <a:gd name="connsiteX15" fmla="*/ 962787 w 1087659"/>
                <a:gd name="connsiteY15" fmla="*/ 0 h 2390965"/>
                <a:gd name="connsiteX16" fmla="*/ 1087660 w 1087659"/>
                <a:gd name="connsiteY16" fmla="*/ 107537 h 2390965"/>
                <a:gd name="connsiteX17" fmla="*/ 1087660 w 1087659"/>
                <a:gd name="connsiteY17" fmla="*/ 1922621 h 2390965"/>
                <a:gd name="connsiteX18" fmla="*/ 928307 w 1087659"/>
                <a:gd name="connsiteY18" fmla="*/ 2253234 h 2390965"/>
                <a:gd name="connsiteX19" fmla="*/ 928116 w 1087659"/>
                <a:gd name="connsiteY19" fmla="*/ 2253424 h 2390965"/>
                <a:gd name="connsiteX20" fmla="*/ 927830 w 1087659"/>
                <a:gd name="connsiteY20" fmla="*/ 2253710 h 2390965"/>
                <a:gd name="connsiteX21" fmla="*/ 927354 w 1087659"/>
                <a:gd name="connsiteY21" fmla="*/ 2254187 h 2390965"/>
                <a:gd name="connsiteX22" fmla="*/ 543783 w 1087659"/>
                <a:gd name="connsiteY22" fmla="*/ 2390966 h 2390965"/>
                <a:gd name="connsiteX23" fmla="*/ 159734 w 1087659"/>
                <a:gd name="connsiteY23" fmla="*/ 2253710 h 2390965"/>
                <a:gd name="connsiteX24" fmla="*/ 159734 w 1087659"/>
                <a:gd name="connsiteY24" fmla="*/ 2253424 h 2390965"/>
                <a:gd name="connsiteX25" fmla="*/ 159353 w 1087659"/>
                <a:gd name="connsiteY25" fmla="*/ 2253234 h 2390965"/>
                <a:gd name="connsiteX26" fmla="*/ 158877 w 1087659"/>
                <a:gd name="connsiteY26" fmla="*/ 2252948 h 2390965"/>
                <a:gd name="connsiteX27" fmla="*/ 0 w 1087659"/>
                <a:gd name="connsiteY27" fmla="*/ 1922621 h 2390965"/>
                <a:gd name="connsiteX28" fmla="*/ 0 w 1087659"/>
                <a:gd name="connsiteY28" fmla="*/ 1922621 h 2390965"/>
                <a:gd name="connsiteX29" fmla="*/ 0 w 1087659"/>
                <a:gd name="connsiteY29" fmla="*/ 210979 h 239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87659" h="2390965">
                  <a:moveTo>
                    <a:pt x="0" y="210979"/>
                  </a:moveTo>
                  <a:cubicBezTo>
                    <a:pt x="0" y="151638"/>
                    <a:pt x="56007" y="103442"/>
                    <a:pt x="125063" y="103442"/>
                  </a:cubicBezTo>
                  <a:cubicBezTo>
                    <a:pt x="194120" y="103442"/>
                    <a:pt x="250031" y="151638"/>
                    <a:pt x="250031" y="210979"/>
                  </a:cubicBezTo>
                  <a:lnTo>
                    <a:pt x="250031" y="1922717"/>
                  </a:lnTo>
                  <a:lnTo>
                    <a:pt x="249841" y="1922717"/>
                  </a:lnTo>
                  <a:lnTo>
                    <a:pt x="249841" y="1925955"/>
                  </a:lnTo>
                  <a:cubicBezTo>
                    <a:pt x="250793" y="1994059"/>
                    <a:pt x="282797" y="2055495"/>
                    <a:pt x="333756" y="2100263"/>
                  </a:cubicBezTo>
                  <a:lnTo>
                    <a:pt x="335566" y="2101787"/>
                  </a:lnTo>
                  <a:lnTo>
                    <a:pt x="336042" y="2102168"/>
                  </a:lnTo>
                  <a:cubicBezTo>
                    <a:pt x="388906" y="2147697"/>
                    <a:pt x="462343" y="2175891"/>
                    <a:pt x="543877" y="2175891"/>
                  </a:cubicBezTo>
                  <a:cubicBezTo>
                    <a:pt x="625411" y="2175891"/>
                    <a:pt x="697420" y="2148364"/>
                    <a:pt x="749998" y="2103692"/>
                  </a:cubicBezTo>
                  <a:lnTo>
                    <a:pt x="751713" y="2102168"/>
                  </a:lnTo>
                  <a:lnTo>
                    <a:pt x="752189" y="2101787"/>
                  </a:lnTo>
                  <a:cubicBezTo>
                    <a:pt x="805053" y="2056352"/>
                    <a:pt x="837819" y="1993011"/>
                    <a:pt x="837819" y="1922812"/>
                  </a:cubicBezTo>
                  <a:lnTo>
                    <a:pt x="837819" y="107537"/>
                  </a:lnTo>
                  <a:cubicBezTo>
                    <a:pt x="837819" y="48196"/>
                    <a:pt x="893731" y="0"/>
                    <a:pt x="962787" y="0"/>
                  </a:cubicBezTo>
                  <a:cubicBezTo>
                    <a:pt x="1031843" y="0"/>
                    <a:pt x="1087660" y="48196"/>
                    <a:pt x="1087660" y="107537"/>
                  </a:cubicBezTo>
                  <a:lnTo>
                    <a:pt x="1087660" y="1922621"/>
                  </a:lnTo>
                  <a:cubicBezTo>
                    <a:pt x="1087660" y="2051399"/>
                    <a:pt x="1026795" y="2168366"/>
                    <a:pt x="928307" y="2253234"/>
                  </a:cubicBezTo>
                  <a:lnTo>
                    <a:pt x="928116" y="2253424"/>
                  </a:lnTo>
                  <a:lnTo>
                    <a:pt x="927830" y="2253710"/>
                  </a:lnTo>
                  <a:lnTo>
                    <a:pt x="927354" y="2254187"/>
                  </a:lnTo>
                  <a:cubicBezTo>
                    <a:pt x="828770" y="2338673"/>
                    <a:pt x="693134" y="2390966"/>
                    <a:pt x="543783" y="2390966"/>
                  </a:cubicBezTo>
                  <a:cubicBezTo>
                    <a:pt x="394430" y="2390966"/>
                    <a:pt x="258413" y="2338483"/>
                    <a:pt x="159734" y="2253710"/>
                  </a:cubicBezTo>
                  <a:lnTo>
                    <a:pt x="159734" y="2253424"/>
                  </a:lnTo>
                  <a:cubicBezTo>
                    <a:pt x="159734" y="2253424"/>
                    <a:pt x="159353" y="2253234"/>
                    <a:pt x="159353" y="2253234"/>
                  </a:cubicBezTo>
                  <a:lnTo>
                    <a:pt x="158877" y="2252948"/>
                  </a:lnTo>
                  <a:cubicBezTo>
                    <a:pt x="60770" y="2167985"/>
                    <a:pt x="0" y="2051304"/>
                    <a:pt x="0" y="1922621"/>
                  </a:cubicBezTo>
                  <a:lnTo>
                    <a:pt x="0" y="1922621"/>
                  </a:lnTo>
                  <a:lnTo>
                    <a:pt x="0" y="210979"/>
                  </a:lnTo>
                  <a:close/>
                </a:path>
              </a:pathLst>
            </a:custGeom>
            <a:solidFill>
              <a:srgbClr val="8FC640"/>
            </a:solidFill>
            <a:ln w="9525" cap="flat">
              <a:noFill/>
              <a:prstDash val="solid"/>
              <a:miter/>
            </a:ln>
          </p:spPr>
          <p:txBody>
            <a:bodyPr rtlCol="0" anchor="ctr"/>
            <a:lstStyle/>
            <a:p>
              <a:endParaRPr lang="pt-BR" noProof="0"/>
            </a:p>
          </p:txBody>
        </p:sp>
        <p:sp>
          <p:nvSpPr>
            <p:cNvPr id="57" name="Freeform: Shape 56">
              <a:extLst>
                <a:ext uri="{FF2B5EF4-FFF2-40B4-BE49-F238E27FC236}">
                  <a16:creationId xmlns:a16="http://schemas.microsoft.com/office/drawing/2014/main" id="{1676F03F-6FC3-FAC8-42AA-E1FB26C7D9C4}"/>
                </a:ext>
              </a:extLst>
            </p:cNvPr>
            <p:cNvSpPr/>
            <p:nvPr/>
          </p:nvSpPr>
          <p:spPr>
            <a:xfrm>
              <a:off x="7013590" y="213965"/>
              <a:ext cx="54018" cy="562280"/>
            </a:xfrm>
            <a:custGeom>
              <a:avLst/>
              <a:gdLst>
                <a:gd name="connsiteX0" fmla="*/ 0 w 214883"/>
                <a:gd name="connsiteY0" fmla="*/ 107537 h 2236755"/>
                <a:gd name="connsiteX1" fmla="*/ 107537 w 214883"/>
                <a:gd name="connsiteY1" fmla="*/ 0 h 2236755"/>
                <a:gd name="connsiteX2" fmla="*/ 214884 w 214883"/>
                <a:gd name="connsiteY2" fmla="*/ 107537 h 2236755"/>
                <a:gd name="connsiteX3" fmla="*/ 214884 w 214883"/>
                <a:gd name="connsiteY3" fmla="*/ 2129219 h 2236755"/>
                <a:gd name="connsiteX4" fmla="*/ 107537 w 214883"/>
                <a:gd name="connsiteY4" fmla="*/ 2236756 h 2236755"/>
                <a:gd name="connsiteX5" fmla="*/ 0 w 214883"/>
                <a:gd name="connsiteY5" fmla="*/ 2129219 h 2236755"/>
                <a:gd name="connsiteX6" fmla="*/ 0 w 214883"/>
                <a:gd name="connsiteY6" fmla="*/ 107537 h 223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 h="2236755">
                  <a:moveTo>
                    <a:pt x="0" y="107537"/>
                  </a:moveTo>
                  <a:cubicBezTo>
                    <a:pt x="0" y="48197"/>
                    <a:pt x="48101" y="0"/>
                    <a:pt x="107537" y="0"/>
                  </a:cubicBezTo>
                  <a:cubicBezTo>
                    <a:pt x="166973" y="0"/>
                    <a:pt x="214884" y="48197"/>
                    <a:pt x="214884" y="107537"/>
                  </a:cubicBezTo>
                  <a:lnTo>
                    <a:pt x="214884" y="2129219"/>
                  </a:lnTo>
                  <a:cubicBezTo>
                    <a:pt x="214884" y="2188559"/>
                    <a:pt x="166782" y="2236756"/>
                    <a:pt x="107537" y="2236756"/>
                  </a:cubicBezTo>
                  <a:cubicBezTo>
                    <a:pt x="48291" y="2236756"/>
                    <a:pt x="0" y="2188559"/>
                    <a:pt x="0" y="2129219"/>
                  </a:cubicBezTo>
                  <a:lnTo>
                    <a:pt x="0" y="107537"/>
                  </a:lnTo>
                  <a:close/>
                </a:path>
              </a:pathLst>
            </a:custGeom>
            <a:solidFill>
              <a:srgbClr val="3698B0"/>
            </a:solidFill>
            <a:ln w="9525" cap="flat">
              <a:noFill/>
              <a:prstDash val="solid"/>
              <a:miter/>
            </a:ln>
          </p:spPr>
          <p:txBody>
            <a:bodyPr rtlCol="0" anchor="ctr"/>
            <a:lstStyle/>
            <a:p>
              <a:endParaRPr lang="pt-BR" noProof="0"/>
            </a:p>
          </p:txBody>
        </p:sp>
        <p:sp>
          <p:nvSpPr>
            <p:cNvPr id="58" name="Freeform: Shape 57">
              <a:extLst>
                <a:ext uri="{FF2B5EF4-FFF2-40B4-BE49-F238E27FC236}">
                  <a16:creationId xmlns:a16="http://schemas.microsoft.com/office/drawing/2014/main" id="{DE19AC22-FE68-5F19-03B8-5EF99DD35C0C}"/>
                </a:ext>
              </a:extLst>
            </p:cNvPr>
            <p:cNvSpPr/>
            <p:nvPr/>
          </p:nvSpPr>
          <p:spPr>
            <a:xfrm>
              <a:off x="6795770" y="332991"/>
              <a:ext cx="485994" cy="649437"/>
            </a:xfrm>
            <a:custGeom>
              <a:avLst/>
              <a:gdLst>
                <a:gd name="connsiteX0" fmla="*/ 1933290 w 1933289"/>
                <a:gd name="connsiteY0" fmla="*/ 138017 h 2583465"/>
                <a:gd name="connsiteX1" fmla="*/ 1933290 w 1933289"/>
                <a:gd name="connsiteY1" fmla="*/ 1734122 h 2583465"/>
                <a:gd name="connsiteX2" fmla="*/ 1796606 w 1933289"/>
                <a:gd name="connsiteY2" fmla="*/ 2229136 h 2583465"/>
                <a:gd name="connsiteX3" fmla="*/ 977742 w 1933289"/>
                <a:gd name="connsiteY3" fmla="*/ 2583466 h 2583465"/>
                <a:gd name="connsiteX4" fmla="*/ 955357 w 1933289"/>
                <a:gd name="connsiteY4" fmla="*/ 2583466 h 2583465"/>
                <a:gd name="connsiteX5" fmla="*/ 136589 w 1933289"/>
                <a:gd name="connsiteY5" fmla="*/ 2229136 h 2583465"/>
                <a:gd name="connsiteX6" fmla="*/ 0 w 1933289"/>
                <a:gd name="connsiteY6" fmla="*/ 1734122 h 2583465"/>
                <a:gd name="connsiteX7" fmla="*/ 0 w 1933289"/>
                <a:gd name="connsiteY7" fmla="*/ 794194 h 2583465"/>
                <a:gd name="connsiteX8" fmla="*/ 137827 w 1933289"/>
                <a:gd name="connsiteY8" fmla="*/ 656273 h 2583465"/>
                <a:gd name="connsiteX9" fmla="*/ 275463 w 1933289"/>
                <a:gd name="connsiteY9" fmla="*/ 794194 h 2583465"/>
                <a:gd name="connsiteX10" fmla="*/ 275463 w 1933289"/>
                <a:gd name="connsiteY10" fmla="*/ 1734122 h 2583465"/>
                <a:gd name="connsiteX11" fmla="*/ 354235 w 1933289"/>
                <a:gd name="connsiteY11" fmla="*/ 2059686 h 2583465"/>
                <a:gd name="connsiteX12" fmla="*/ 958215 w 1933289"/>
                <a:gd name="connsiteY12" fmla="*/ 2307527 h 2583465"/>
                <a:gd name="connsiteX13" fmla="*/ 974789 w 1933289"/>
                <a:gd name="connsiteY13" fmla="*/ 2307527 h 2583465"/>
                <a:gd name="connsiteX14" fmla="*/ 1578959 w 1933289"/>
                <a:gd name="connsiteY14" fmla="*/ 2059686 h 2583465"/>
                <a:gd name="connsiteX15" fmla="*/ 1657636 w 1933289"/>
                <a:gd name="connsiteY15" fmla="*/ 1734122 h 2583465"/>
                <a:gd name="connsiteX16" fmla="*/ 1657636 w 1933289"/>
                <a:gd name="connsiteY16" fmla="*/ 138017 h 2583465"/>
                <a:gd name="connsiteX17" fmla="*/ 1795463 w 1933289"/>
                <a:gd name="connsiteY17" fmla="*/ 0 h 2583465"/>
                <a:gd name="connsiteX18" fmla="*/ 1933290 w 1933289"/>
                <a:gd name="connsiteY18" fmla="*/ 138017 h 25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3289" h="2583465">
                  <a:moveTo>
                    <a:pt x="1933290" y="138017"/>
                  </a:moveTo>
                  <a:lnTo>
                    <a:pt x="1933290" y="1734122"/>
                  </a:lnTo>
                  <a:cubicBezTo>
                    <a:pt x="1933290" y="1870996"/>
                    <a:pt x="1919002" y="2071211"/>
                    <a:pt x="1796606" y="2229136"/>
                  </a:cubicBezTo>
                  <a:cubicBezTo>
                    <a:pt x="1634395" y="2438305"/>
                    <a:pt x="1432084" y="2578703"/>
                    <a:pt x="977742" y="2583466"/>
                  </a:cubicBezTo>
                  <a:lnTo>
                    <a:pt x="955357" y="2583466"/>
                  </a:lnTo>
                  <a:cubicBezTo>
                    <a:pt x="501015" y="2578703"/>
                    <a:pt x="298704" y="2438400"/>
                    <a:pt x="136589" y="2229136"/>
                  </a:cubicBezTo>
                  <a:cubicBezTo>
                    <a:pt x="14192" y="2071211"/>
                    <a:pt x="0" y="1870996"/>
                    <a:pt x="0" y="1734122"/>
                  </a:cubicBezTo>
                  <a:lnTo>
                    <a:pt x="0" y="794194"/>
                  </a:lnTo>
                  <a:cubicBezTo>
                    <a:pt x="0" y="718185"/>
                    <a:pt x="61436" y="656273"/>
                    <a:pt x="137827" y="656273"/>
                  </a:cubicBezTo>
                  <a:cubicBezTo>
                    <a:pt x="214217" y="656273"/>
                    <a:pt x="275463" y="718185"/>
                    <a:pt x="275463" y="794194"/>
                  </a:cubicBezTo>
                  <a:lnTo>
                    <a:pt x="275463" y="1734122"/>
                  </a:lnTo>
                  <a:cubicBezTo>
                    <a:pt x="275463" y="1887188"/>
                    <a:pt x="300324" y="1990630"/>
                    <a:pt x="354235" y="2059686"/>
                  </a:cubicBezTo>
                  <a:cubicBezTo>
                    <a:pt x="476250" y="2217611"/>
                    <a:pt x="609791" y="2304479"/>
                    <a:pt x="958215" y="2307527"/>
                  </a:cubicBezTo>
                  <a:lnTo>
                    <a:pt x="974789" y="2307527"/>
                  </a:lnTo>
                  <a:cubicBezTo>
                    <a:pt x="1323499" y="2304479"/>
                    <a:pt x="1456563" y="2217611"/>
                    <a:pt x="1578959" y="2059686"/>
                  </a:cubicBezTo>
                  <a:cubicBezTo>
                    <a:pt x="1632490" y="1990630"/>
                    <a:pt x="1657636" y="1887093"/>
                    <a:pt x="1657636" y="1734122"/>
                  </a:cubicBezTo>
                  <a:lnTo>
                    <a:pt x="1657636" y="138017"/>
                  </a:lnTo>
                  <a:cubicBezTo>
                    <a:pt x="1657636" y="61531"/>
                    <a:pt x="1719453" y="0"/>
                    <a:pt x="1795463" y="0"/>
                  </a:cubicBezTo>
                  <a:cubicBezTo>
                    <a:pt x="1871472" y="0"/>
                    <a:pt x="1933290" y="61531"/>
                    <a:pt x="1933290" y="138017"/>
                  </a:cubicBezTo>
                </a:path>
              </a:pathLst>
            </a:custGeom>
            <a:solidFill>
              <a:srgbClr val="49306E"/>
            </a:solidFill>
            <a:ln w="9525" cap="flat">
              <a:noFill/>
              <a:prstDash val="solid"/>
              <a:miter/>
            </a:ln>
          </p:spPr>
          <p:txBody>
            <a:bodyPr rtlCol="0" anchor="ctr"/>
            <a:lstStyle/>
            <a:p>
              <a:endParaRPr lang="pt-BR" noProof="0"/>
            </a:p>
          </p:txBody>
        </p:sp>
      </p:grpSp>
      <p:sp>
        <p:nvSpPr>
          <p:cNvPr id="5" name="Rectangle 3">
            <a:extLst>
              <a:ext uri="{FF2B5EF4-FFF2-40B4-BE49-F238E27FC236}">
                <a16:creationId xmlns:a16="http://schemas.microsoft.com/office/drawing/2014/main" id="{D09BC5E5-9058-D846-0F95-065C3CFF9DE6}"/>
              </a:ext>
            </a:extLst>
          </p:cNvPr>
          <p:cNvSpPr>
            <a:spLocks noChangeArrowheads="1"/>
          </p:cNvSpPr>
          <p:nvPr/>
        </p:nvSpPr>
        <p:spPr bwMode="auto">
          <a:xfrm>
            <a:off x="428153" y="692497"/>
            <a:ext cx="264816" cy="2862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p:txBody>
      </p:sp>
      <p:sp>
        <p:nvSpPr>
          <p:cNvPr id="8" name="CaixaDeTexto 7">
            <a:extLst>
              <a:ext uri="{FF2B5EF4-FFF2-40B4-BE49-F238E27FC236}">
                <a16:creationId xmlns:a16="http://schemas.microsoft.com/office/drawing/2014/main" id="{FC8901B0-6348-DB40-2C67-4CFE0A908284}"/>
              </a:ext>
            </a:extLst>
          </p:cNvPr>
          <p:cNvSpPr txBox="1"/>
          <p:nvPr/>
        </p:nvSpPr>
        <p:spPr>
          <a:xfrm>
            <a:off x="5569576" y="1546035"/>
            <a:ext cx="1741715" cy="461665"/>
          </a:xfrm>
          <a:prstGeom prst="rect">
            <a:avLst/>
          </a:prstGeom>
          <a:noFill/>
        </p:spPr>
        <p:txBody>
          <a:bodyPr wrap="square" rtlCol="0">
            <a:spAutoFit/>
          </a:bodyPr>
          <a:lstStyle/>
          <a:p>
            <a:r>
              <a:rPr lang="pt-BR" sz="2400" b="1" noProof="0">
                <a:solidFill>
                  <a:schemeClr val="bg1"/>
                </a:solidFill>
              </a:rPr>
              <a:t>Envelope 2</a:t>
            </a:r>
          </a:p>
        </p:txBody>
      </p:sp>
    </p:spTree>
    <p:extLst>
      <p:ext uri="{BB962C8B-B14F-4D97-AF65-F5344CB8AC3E}">
        <p14:creationId xmlns:p14="http://schemas.microsoft.com/office/powerpoint/2010/main" val="26130290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18258B-4B4A-CC8C-7976-89E05D13B092}"/>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5364313C-3FAE-323D-DED7-298AEB5F841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8" progId="TCLayout.ActiveDocument.1">
                  <p:embed/>
                </p:oleObj>
              </mc:Choice>
              <mc:Fallback>
                <p:oleObj name="think-cell Slide" r:id="rId4" imgW="306" imgH="308" progId="TCLayout.ActiveDocument.1">
                  <p:embed/>
                  <p:pic>
                    <p:nvPicPr>
                      <p:cNvPr id="12" name="think-cell data - do not delete" hidden="1">
                        <a:extLst>
                          <a:ext uri="{FF2B5EF4-FFF2-40B4-BE49-F238E27FC236}">
                            <a16:creationId xmlns:a16="http://schemas.microsoft.com/office/drawing/2014/main" id="{5364313C-3FAE-323D-DED7-298AEB5F84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3" name="Group 12">
            <a:extLst>
              <a:ext uri="{FF2B5EF4-FFF2-40B4-BE49-F238E27FC236}">
                <a16:creationId xmlns:a16="http://schemas.microsoft.com/office/drawing/2014/main" id="{89AD7BF1-B019-D166-2250-90E7F1AF7377}"/>
              </a:ext>
            </a:extLst>
          </p:cNvPr>
          <p:cNvGrpSpPr/>
          <p:nvPr/>
        </p:nvGrpSpPr>
        <p:grpSpPr>
          <a:xfrm>
            <a:off x="304800" y="249455"/>
            <a:ext cx="1193800" cy="462985"/>
            <a:chOff x="5245100" y="211355"/>
            <a:chExt cx="2036664" cy="789869"/>
          </a:xfrm>
        </p:grpSpPr>
        <p:sp>
          <p:nvSpPr>
            <p:cNvPr id="14" name="Freeform: Shape 13">
              <a:extLst>
                <a:ext uri="{FF2B5EF4-FFF2-40B4-BE49-F238E27FC236}">
                  <a16:creationId xmlns:a16="http://schemas.microsoft.com/office/drawing/2014/main" id="{94844F8A-35FE-F32A-5CB9-D683C5ADEAAC}"/>
                </a:ext>
              </a:extLst>
            </p:cNvPr>
            <p:cNvSpPr/>
            <p:nvPr/>
          </p:nvSpPr>
          <p:spPr>
            <a:xfrm>
              <a:off x="5245100" y="308520"/>
              <a:ext cx="247894" cy="322815"/>
            </a:xfrm>
            <a:custGeom>
              <a:avLst/>
              <a:gdLst>
                <a:gd name="connsiteX0" fmla="*/ 529590 w 986123"/>
                <a:gd name="connsiteY0" fmla="*/ 1284160 h 1284160"/>
                <a:gd name="connsiteX1" fmla="*/ 249650 w 986123"/>
                <a:gd name="connsiteY1" fmla="*/ 1235107 h 1284160"/>
                <a:gd name="connsiteX2" fmla="*/ 0 w 986123"/>
                <a:gd name="connsiteY2" fmla="*/ 1084421 h 1284160"/>
                <a:gd name="connsiteX3" fmla="*/ 162306 w 986123"/>
                <a:gd name="connsiteY3" fmla="*/ 890016 h 1284160"/>
                <a:gd name="connsiteX4" fmla="*/ 337947 w 986123"/>
                <a:gd name="connsiteY4" fmla="*/ 1000601 h 1284160"/>
                <a:gd name="connsiteX5" fmla="*/ 535019 w 986123"/>
                <a:gd name="connsiteY5" fmla="*/ 1041654 h 1284160"/>
                <a:gd name="connsiteX6" fmla="*/ 667893 w 986123"/>
                <a:gd name="connsiteY6" fmla="*/ 1010412 h 1284160"/>
                <a:gd name="connsiteX7" fmla="*/ 715137 w 986123"/>
                <a:gd name="connsiteY7" fmla="*/ 923925 h 1284160"/>
                <a:gd name="connsiteX8" fmla="*/ 715137 w 986123"/>
                <a:gd name="connsiteY8" fmla="*/ 920305 h 1284160"/>
                <a:gd name="connsiteX9" fmla="*/ 705326 w 986123"/>
                <a:gd name="connsiteY9" fmla="*/ 873062 h 1284160"/>
                <a:gd name="connsiteX10" fmla="*/ 667798 w 986123"/>
                <a:gd name="connsiteY10" fmla="*/ 834676 h 1284160"/>
                <a:gd name="connsiteX11" fmla="*/ 590931 w 986123"/>
                <a:gd name="connsiteY11" fmla="*/ 798957 h 1284160"/>
                <a:gd name="connsiteX12" fmla="*/ 463106 w 986123"/>
                <a:gd name="connsiteY12" fmla="*/ 761524 h 1284160"/>
                <a:gd name="connsiteX13" fmla="*/ 291465 w 986123"/>
                <a:gd name="connsiteY13" fmla="*/ 709803 h 1284160"/>
                <a:gd name="connsiteX14" fmla="*/ 160973 w 986123"/>
                <a:gd name="connsiteY14" fmla="*/ 639318 h 1284160"/>
                <a:gd name="connsiteX15" fmla="*/ 77819 w 986123"/>
                <a:gd name="connsiteY15" fmla="*/ 535019 h 1284160"/>
                <a:gd name="connsiteX16" fmla="*/ 48292 w 986123"/>
                <a:gd name="connsiteY16" fmla="*/ 379857 h 1284160"/>
                <a:gd name="connsiteX17" fmla="*/ 48292 w 986123"/>
                <a:gd name="connsiteY17" fmla="*/ 376238 h 1284160"/>
                <a:gd name="connsiteX18" fmla="*/ 80201 w 986123"/>
                <a:gd name="connsiteY18" fmla="*/ 222028 h 1284160"/>
                <a:gd name="connsiteX19" fmla="*/ 169640 w 986123"/>
                <a:gd name="connsiteY19" fmla="*/ 103441 h 1284160"/>
                <a:gd name="connsiteX20" fmla="*/ 307181 w 986123"/>
                <a:gd name="connsiteY20" fmla="*/ 26765 h 1284160"/>
                <a:gd name="connsiteX21" fmla="*/ 483394 w 986123"/>
                <a:gd name="connsiteY21" fmla="*/ 0 h 1284160"/>
                <a:gd name="connsiteX22" fmla="*/ 735711 w 986123"/>
                <a:gd name="connsiteY22" fmla="*/ 41053 h 1284160"/>
                <a:gd name="connsiteX23" fmla="*/ 946976 w 986123"/>
                <a:gd name="connsiteY23" fmla="*/ 158687 h 1284160"/>
                <a:gd name="connsiteX24" fmla="*/ 804291 w 986123"/>
                <a:gd name="connsiteY24" fmla="*/ 365569 h 1284160"/>
                <a:gd name="connsiteX25" fmla="*/ 640271 w 986123"/>
                <a:gd name="connsiteY25" fmla="*/ 275558 h 1284160"/>
                <a:gd name="connsiteX26" fmla="*/ 479774 w 986123"/>
                <a:gd name="connsiteY26" fmla="*/ 242602 h 1284160"/>
                <a:gd name="connsiteX27" fmla="*/ 359378 w 986123"/>
                <a:gd name="connsiteY27" fmla="*/ 273844 h 1284160"/>
                <a:gd name="connsiteX28" fmla="*/ 319278 w 986123"/>
                <a:gd name="connsiteY28" fmla="*/ 351377 h 1284160"/>
                <a:gd name="connsiteX29" fmla="*/ 319278 w 986123"/>
                <a:gd name="connsiteY29" fmla="*/ 354997 h 1284160"/>
                <a:gd name="connsiteX30" fmla="*/ 330899 w 986123"/>
                <a:gd name="connsiteY30" fmla="*/ 407575 h 1284160"/>
                <a:gd name="connsiteX31" fmla="*/ 372904 w 986123"/>
                <a:gd name="connsiteY31" fmla="*/ 447675 h 1284160"/>
                <a:gd name="connsiteX32" fmla="*/ 456057 w 986123"/>
                <a:gd name="connsiteY32" fmla="*/ 481489 h 1284160"/>
                <a:gd name="connsiteX33" fmla="*/ 589217 w 986123"/>
                <a:gd name="connsiteY33" fmla="*/ 518922 h 1284160"/>
                <a:gd name="connsiteX34" fmla="*/ 758190 w 986123"/>
                <a:gd name="connsiteY34" fmla="*/ 575120 h 1284160"/>
                <a:gd name="connsiteX35" fmla="*/ 883349 w 986123"/>
                <a:gd name="connsiteY35" fmla="*/ 649986 h 1284160"/>
                <a:gd name="connsiteX36" fmla="*/ 960215 w 986123"/>
                <a:gd name="connsiteY36" fmla="*/ 752570 h 1284160"/>
                <a:gd name="connsiteX37" fmla="*/ 986123 w 986123"/>
                <a:gd name="connsiteY37" fmla="*/ 893445 h 1284160"/>
                <a:gd name="connsiteX38" fmla="*/ 986123 w 986123"/>
                <a:gd name="connsiteY38" fmla="*/ 897064 h 1284160"/>
                <a:gd name="connsiteX39" fmla="*/ 952500 w 986123"/>
                <a:gd name="connsiteY39" fmla="*/ 1062038 h 1284160"/>
                <a:gd name="connsiteX40" fmla="*/ 858584 w 986123"/>
                <a:gd name="connsiteY40" fmla="*/ 1183291 h 1284160"/>
                <a:gd name="connsiteX41" fmla="*/ 714851 w 986123"/>
                <a:gd name="connsiteY41" fmla="*/ 1258157 h 1284160"/>
                <a:gd name="connsiteX42" fmla="*/ 529685 w 986123"/>
                <a:gd name="connsiteY42" fmla="*/ 1284065 h 128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6123" h="1284160">
                  <a:moveTo>
                    <a:pt x="529590" y="1284160"/>
                  </a:moveTo>
                  <a:cubicBezTo>
                    <a:pt x="434435" y="1284160"/>
                    <a:pt x="341186" y="1267777"/>
                    <a:pt x="249650" y="1235107"/>
                  </a:cubicBezTo>
                  <a:cubicBezTo>
                    <a:pt x="158115" y="1202436"/>
                    <a:pt x="74867" y="1152239"/>
                    <a:pt x="0" y="1084421"/>
                  </a:cubicBezTo>
                  <a:lnTo>
                    <a:pt x="162306" y="890016"/>
                  </a:lnTo>
                  <a:cubicBezTo>
                    <a:pt x="219361" y="936403"/>
                    <a:pt x="277844" y="973264"/>
                    <a:pt x="337947" y="1000601"/>
                  </a:cubicBezTo>
                  <a:cubicBezTo>
                    <a:pt x="397955" y="1027938"/>
                    <a:pt x="463677" y="1041654"/>
                    <a:pt x="535019" y="1041654"/>
                  </a:cubicBezTo>
                  <a:cubicBezTo>
                    <a:pt x="592074" y="1041654"/>
                    <a:pt x="636365" y="1031272"/>
                    <a:pt x="667893" y="1010412"/>
                  </a:cubicBezTo>
                  <a:cubicBezTo>
                    <a:pt x="699421" y="989647"/>
                    <a:pt x="715137" y="960787"/>
                    <a:pt x="715137" y="923925"/>
                  </a:cubicBezTo>
                  <a:lnTo>
                    <a:pt x="715137" y="920305"/>
                  </a:lnTo>
                  <a:cubicBezTo>
                    <a:pt x="715137" y="902494"/>
                    <a:pt x="711803" y="886777"/>
                    <a:pt x="705326" y="873062"/>
                  </a:cubicBezTo>
                  <a:cubicBezTo>
                    <a:pt x="698754" y="859441"/>
                    <a:pt x="686276" y="846582"/>
                    <a:pt x="667798" y="834676"/>
                  </a:cubicBezTo>
                  <a:cubicBezTo>
                    <a:pt x="649319" y="822770"/>
                    <a:pt x="623697" y="810863"/>
                    <a:pt x="590931" y="798957"/>
                  </a:cubicBezTo>
                  <a:cubicBezTo>
                    <a:pt x="558165" y="787146"/>
                    <a:pt x="515493" y="774573"/>
                    <a:pt x="463106" y="761524"/>
                  </a:cubicBezTo>
                  <a:cubicBezTo>
                    <a:pt x="399955" y="746093"/>
                    <a:pt x="342710" y="728853"/>
                    <a:pt x="291465" y="709803"/>
                  </a:cubicBezTo>
                  <a:cubicBezTo>
                    <a:pt x="240221" y="690753"/>
                    <a:pt x="196691" y="667322"/>
                    <a:pt x="160973" y="639318"/>
                  </a:cubicBezTo>
                  <a:cubicBezTo>
                    <a:pt x="125159" y="611410"/>
                    <a:pt x="97536" y="576644"/>
                    <a:pt x="77819" y="535019"/>
                  </a:cubicBezTo>
                  <a:cubicBezTo>
                    <a:pt x="58103" y="493395"/>
                    <a:pt x="48292" y="441674"/>
                    <a:pt x="48292" y="379857"/>
                  </a:cubicBezTo>
                  <a:lnTo>
                    <a:pt x="48292" y="376238"/>
                  </a:lnTo>
                  <a:cubicBezTo>
                    <a:pt x="48292" y="319183"/>
                    <a:pt x="58865" y="267748"/>
                    <a:pt x="80201" y="222028"/>
                  </a:cubicBezTo>
                  <a:cubicBezTo>
                    <a:pt x="101441" y="176308"/>
                    <a:pt x="131255" y="136779"/>
                    <a:pt x="169640" y="103441"/>
                  </a:cubicBezTo>
                  <a:cubicBezTo>
                    <a:pt x="208026" y="70199"/>
                    <a:pt x="253841" y="44577"/>
                    <a:pt x="307181" y="26765"/>
                  </a:cubicBezTo>
                  <a:cubicBezTo>
                    <a:pt x="360426" y="8953"/>
                    <a:pt x="419195" y="0"/>
                    <a:pt x="483394" y="0"/>
                  </a:cubicBezTo>
                  <a:cubicBezTo>
                    <a:pt x="574929" y="0"/>
                    <a:pt x="659035" y="13716"/>
                    <a:pt x="735711" y="41053"/>
                  </a:cubicBezTo>
                  <a:cubicBezTo>
                    <a:pt x="812387" y="68389"/>
                    <a:pt x="882777" y="107632"/>
                    <a:pt x="946976" y="158687"/>
                  </a:cubicBezTo>
                  <a:lnTo>
                    <a:pt x="804291" y="365569"/>
                  </a:lnTo>
                  <a:cubicBezTo>
                    <a:pt x="748379" y="327565"/>
                    <a:pt x="693706" y="297561"/>
                    <a:pt x="640271" y="275558"/>
                  </a:cubicBezTo>
                  <a:cubicBezTo>
                    <a:pt x="586740" y="253555"/>
                    <a:pt x="533305" y="242602"/>
                    <a:pt x="479774" y="242602"/>
                  </a:cubicBezTo>
                  <a:cubicBezTo>
                    <a:pt x="426244" y="242602"/>
                    <a:pt x="386144" y="252984"/>
                    <a:pt x="359378" y="273844"/>
                  </a:cubicBezTo>
                  <a:cubicBezTo>
                    <a:pt x="332613" y="294608"/>
                    <a:pt x="319278" y="320516"/>
                    <a:pt x="319278" y="351377"/>
                  </a:cubicBezTo>
                  <a:lnTo>
                    <a:pt x="319278" y="354997"/>
                  </a:lnTo>
                  <a:cubicBezTo>
                    <a:pt x="319278" y="375190"/>
                    <a:pt x="323183" y="392716"/>
                    <a:pt x="330899" y="407575"/>
                  </a:cubicBezTo>
                  <a:cubicBezTo>
                    <a:pt x="338614" y="422434"/>
                    <a:pt x="352616" y="435864"/>
                    <a:pt x="372904" y="447675"/>
                  </a:cubicBezTo>
                  <a:cubicBezTo>
                    <a:pt x="393192" y="459581"/>
                    <a:pt x="420910" y="470821"/>
                    <a:pt x="456057" y="481489"/>
                  </a:cubicBezTo>
                  <a:cubicBezTo>
                    <a:pt x="491204" y="492157"/>
                    <a:pt x="535591" y="504730"/>
                    <a:pt x="589217" y="518922"/>
                  </a:cubicBezTo>
                  <a:cubicBezTo>
                    <a:pt x="652367" y="535591"/>
                    <a:pt x="708660" y="554260"/>
                    <a:pt x="758190" y="575120"/>
                  </a:cubicBezTo>
                  <a:cubicBezTo>
                    <a:pt x="807625" y="595979"/>
                    <a:pt x="849344" y="620935"/>
                    <a:pt x="883349" y="649986"/>
                  </a:cubicBezTo>
                  <a:cubicBezTo>
                    <a:pt x="917353" y="679132"/>
                    <a:pt x="942975" y="713327"/>
                    <a:pt x="960215" y="752570"/>
                  </a:cubicBezTo>
                  <a:cubicBezTo>
                    <a:pt x="977456" y="791813"/>
                    <a:pt x="986123" y="838772"/>
                    <a:pt x="986123" y="893445"/>
                  </a:cubicBezTo>
                  <a:lnTo>
                    <a:pt x="986123" y="897064"/>
                  </a:lnTo>
                  <a:cubicBezTo>
                    <a:pt x="986123" y="958882"/>
                    <a:pt x="974884" y="1013841"/>
                    <a:pt x="952500" y="1062038"/>
                  </a:cubicBezTo>
                  <a:cubicBezTo>
                    <a:pt x="930021" y="1110139"/>
                    <a:pt x="898779" y="1150620"/>
                    <a:pt x="858584" y="1183291"/>
                  </a:cubicBezTo>
                  <a:cubicBezTo>
                    <a:pt x="818388" y="1216057"/>
                    <a:pt x="770477" y="1241012"/>
                    <a:pt x="714851" y="1258157"/>
                  </a:cubicBezTo>
                  <a:cubicBezTo>
                    <a:pt x="659130" y="1275398"/>
                    <a:pt x="597503" y="1284065"/>
                    <a:pt x="529685" y="1284065"/>
                  </a:cubicBezTo>
                  <a:close/>
                </a:path>
              </a:pathLst>
            </a:custGeom>
            <a:solidFill>
              <a:srgbClr val="44505E"/>
            </a:solidFill>
            <a:ln w="9525" cap="flat">
              <a:noFill/>
              <a:prstDash val="solid"/>
              <a:miter/>
            </a:ln>
          </p:spPr>
          <p:txBody>
            <a:bodyPr rtlCol="0" anchor="ctr"/>
            <a:lstStyle/>
            <a:p>
              <a:endParaRPr lang="pt-BR" noProof="0"/>
            </a:p>
          </p:txBody>
        </p:sp>
        <p:sp>
          <p:nvSpPr>
            <p:cNvPr id="17" name="Freeform: Shape 16">
              <a:extLst>
                <a:ext uri="{FF2B5EF4-FFF2-40B4-BE49-F238E27FC236}">
                  <a16:creationId xmlns:a16="http://schemas.microsoft.com/office/drawing/2014/main" id="{F008C7E4-38A6-75EC-3AA2-074EB5134612}"/>
                </a:ext>
              </a:extLst>
            </p:cNvPr>
            <p:cNvSpPr/>
            <p:nvPr/>
          </p:nvSpPr>
          <p:spPr>
            <a:xfrm>
              <a:off x="5492084" y="310867"/>
              <a:ext cx="332584" cy="315991"/>
            </a:xfrm>
            <a:custGeom>
              <a:avLst/>
              <a:gdLst>
                <a:gd name="connsiteX0" fmla="*/ 534924 w 1323022"/>
                <a:gd name="connsiteY0" fmla="*/ 0 h 1257014"/>
                <a:gd name="connsiteX1" fmla="*/ 788099 w 1323022"/>
                <a:gd name="connsiteY1" fmla="*/ 0 h 1257014"/>
                <a:gd name="connsiteX2" fmla="*/ 1323023 w 1323022"/>
                <a:gd name="connsiteY2" fmla="*/ 1257014 h 1257014"/>
                <a:gd name="connsiteX3" fmla="*/ 1035939 w 1323022"/>
                <a:gd name="connsiteY3" fmla="*/ 1257014 h 1257014"/>
                <a:gd name="connsiteX4" fmla="*/ 921829 w 1323022"/>
                <a:gd name="connsiteY4" fmla="*/ 977075 h 1257014"/>
                <a:gd name="connsiteX5" fmla="*/ 394049 w 1323022"/>
                <a:gd name="connsiteY5" fmla="*/ 977075 h 1257014"/>
                <a:gd name="connsiteX6" fmla="*/ 279940 w 1323022"/>
                <a:gd name="connsiteY6" fmla="*/ 1257014 h 1257014"/>
                <a:gd name="connsiteX7" fmla="*/ 0 w 1323022"/>
                <a:gd name="connsiteY7" fmla="*/ 1257014 h 1257014"/>
                <a:gd name="connsiteX8" fmla="*/ 534924 w 1323022"/>
                <a:gd name="connsiteY8" fmla="*/ 0 h 1257014"/>
                <a:gd name="connsiteX9" fmla="*/ 823817 w 1323022"/>
                <a:gd name="connsiteY9" fmla="*/ 734568 h 1257014"/>
                <a:gd name="connsiteX10" fmla="*/ 657987 w 1323022"/>
                <a:gd name="connsiteY10" fmla="*/ 329851 h 1257014"/>
                <a:gd name="connsiteX11" fmla="*/ 492157 w 1323022"/>
                <a:gd name="connsiteY11" fmla="*/ 734568 h 1257014"/>
                <a:gd name="connsiteX12" fmla="*/ 823817 w 1323022"/>
                <a:gd name="connsiteY12" fmla="*/ 734568 h 125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022" h="1257014">
                  <a:moveTo>
                    <a:pt x="534924" y="0"/>
                  </a:moveTo>
                  <a:lnTo>
                    <a:pt x="788099" y="0"/>
                  </a:lnTo>
                  <a:lnTo>
                    <a:pt x="1323023" y="1257014"/>
                  </a:lnTo>
                  <a:lnTo>
                    <a:pt x="1035939" y="1257014"/>
                  </a:lnTo>
                  <a:lnTo>
                    <a:pt x="921829" y="977075"/>
                  </a:lnTo>
                  <a:lnTo>
                    <a:pt x="394049" y="977075"/>
                  </a:lnTo>
                  <a:lnTo>
                    <a:pt x="279940" y="1257014"/>
                  </a:lnTo>
                  <a:lnTo>
                    <a:pt x="0" y="1257014"/>
                  </a:lnTo>
                  <a:lnTo>
                    <a:pt x="534924" y="0"/>
                  </a:lnTo>
                  <a:close/>
                  <a:moveTo>
                    <a:pt x="823817" y="734568"/>
                  </a:moveTo>
                  <a:lnTo>
                    <a:pt x="657987" y="329851"/>
                  </a:lnTo>
                  <a:lnTo>
                    <a:pt x="492157" y="734568"/>
                  </a:lnTo>
                  <a:lnTo>
                    <a:pt x="823817" y="734568"/>
                  </a:lnTo>
                  <a:close/>
                </a:path>
              </a:pathLst>
            </a:custGeom>
            <a:solidFill>
              <a:srgbClr val="44505E"/>
            </a:solidFill>
            <a:ln w="9525" cap="flat">
              <a:noFill/>
              <a:prstDash val="solid"/>
              <a:miter/>
            </a:ln>
          </p:spPr>
          <p:txBody>
            <a:bodyPr rtlCol="0" anchor="ctr"/>
            <a:lstStyle/>
            <a:p>
              <a:endParaRPr lang="pt-BR" noProof="0"/>
            </a:p>
          </p:txBody>
        </p:sp>
        <p:sp>
          <p:nvSpPr>
            <p:cNvPr id="18" name="Freeform: Shape 17">
              <a:extLst>
                <a:ext uri="{FF2B5EF4-FFF2-40B4-BE49-F238E27FC236}">
                  <a16:creationId xmlns:a16="http://schemas.microsoft.com/office/drawing/2014/main" id="{AD3F8E61-4DCA-5E3B-7338-AC777C62DFD0}"/>
                </a:ext>
              </a:extLst>
            </p:cNvPr>
            <p:cNvSpPr/>
            <p:nvPr/>
          </p:nvSpPr>
          <p:spPr>
            <a:xfrm>
              <a:off x="5834078" y="211355"/>
              <a:ext cx="273442" cy="420435"/>
            </a:xfrm>
            <a:custGeom>
              <a:avLst/>
              <a:gdLst>
                <a:gd name="connsiteX0" fmla="*/ 540258 w 1087754"/>
                <a:gd name="connsiteY0" fmla="*/ 1672495 h 1672494"/>
                <a:gd name="connsiteX1" fmla="*/ 144399 w 1087754"/>
                <a:gd name="connsiteY1" fmla="*/ 1533430 h 1672494"/>
                <a:gd name="connsiteX2" fmla="*/ 0 w 1087754"/>
                <a:gd name="connsiteY2" fmla="*/ 1117949 h 1672494"/>
                <a:gd name="connsiteX3" fmla="*/ 0 w 1087754"/>
                <a:gd name="connsiteY3" fmla="*/ 404717 h 1672494"/>
                <a:gd name="connsiteX4" fmla="*/ 274606 w 1087754"/>
                <a:gd name="connsiteY4" fmla="*/ 404717 h 1672494"/>
                <a:gd name="connsiteX5" fmla="*/ 274606 w 1087754"/>
                <a:gd name="connsiteY5" fmla="*/ 1110806 h 1672494"/>
                <a:gd name="connsiteX6" fmla="*/ 345948 w 1087754"/>
                <a:gd name="connsiteY6" fmla="*/ 1341692 h 1672494"/>
                <a:gd name="connsiteX7" fmla="*/ 543877 w 1087754"/>
                <a:gd name="connsiteY7" fmla="*/ 1419225 h 1672494"/>
                <a:gd name="connsiteX8" fmla="*/ 741807 w 1087754"/>
                <a:gd name="connsiteY8" fmla="*/ 1344359 h 1672494"/>
                <a:gd name="connsiteX9" fmla="*/ 813149 w 1087754"/>
                <a:gd name="connsiteY9" fmla="*/ 1119664 h 1672494"/>
                <a:gd name="connsiteX10" fmla="*/ 813149 w 1087754"/>
                <a:gd name="connsiteY10" fmla="*/ 404717 h 1672494"/>
                <a:gd name="connsiteX11" fmla="*/ 1087755 w 1087754"/>
                <a:gd name="connsiteY11" fmla="*/ 404717 h 1672494"/>
                <a:gd name="connsiteX12" fmla="*/ 1087755 w 1087754"/>
                <a:gd name="connsiteY12" fmla="*/ 1108996 h 1672494"/>
                <a:gd name="connsiteX13" fmla="*/ 1049369 w 1087754"/>
                <a:gd name="connsiteY13" fmla="*/ 1356836 h 1672494"/>
                <a:gd name="connsiteX14" fmla="*/ 939737 w 1087754"/>
                <a:gd name="connsiteY14" fmla="*/ 1532477 h 1672494"/>
                <a:gd name="connsiteX15" fmla="*/ 766763 w 1087754"/>
                <a:gd name="connsiteY15" fmla="*/ 1637729 h 1672494"/>
                <a:gd name="connsiteX16" fmla="*/ 540353 w 1087754"/>
                <a:gd name="connsiteY16" fmla="*/ 1672495 h 1672494"/>
                <a:gd name="connsiteX17" fmla="*/ 622268 w 1087754"/>
                <a:gd name="connsiteY17" fmla="*/ 0 h 1672494"/>
                <a:gd name="connsiteX18" fmla="*/ 855821 w 1087754"/>
                <a:gd name="connsiteY18" fmla="*/ 101632 h 1672494"/>
                <a:gd name="connsiteX19" fmla="*/ 627602 w 1087754"/>
                <a:gd name="connsiteY19" fmla="*/ 315563 h 1672494"/>
                <a:gd name="connsiteX20" fmla="*/ 420719 w 1087754"/>
                <a:gd name="connsiteY20" fmla="*/ 315563 h 1672494"/>
                <a:gd name="connsiteX21" fmla="*/ 622268 w 1087754"/>
                <a:gd name="connsiteY21" fmla="*/ 0 h 16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754" h="1672494">
                  <a:moveTo>
                    <a:pt x="540258" y="1672495"/>
                  </a:moveTo>
                  <a:cubicBezTo>
                    <a:pt x="372618" y="1672495"/>
                    <a:pt x="240697" y="1626108"/>
                    <a:pt x="144399" y="1533430"/>
                  </a:cubicBezTo>
                  <a:cubicBezTo>
                    <a:pt x="48101" y="1440752"/>
                    <a:pt x="0" y="1302258"/>
                    <a:pt x="0" y="1117949"/>
                  </a:cubicBezTo>
                  <a:lnTo>
                    <a:pt x="0" y="404717"/>
                  </a:lnTo>
                  <a:lnTo>
                    <a:pt x="274606" y="404717"/>
                  </a:lnTo>
                  <a:lnTo>
                    <a:pt x="274606" y="1110806"/>
                  </a:lnTo>
                  <a:cubicBezTo>
                    <a:pt x="274606" y="1213009"/>
                    <a:pt x="298418" y="1289971"/>
                    <a:pt x="345948" y="1341692"/>
                  </a:cubicBezTo>
                  <a:cubicBezTo>
                    <a:pt x="393478" y="1393412"/>
                    <a:pt x="459486" y="1419225"/>
                    <a:pt x="543877" y="1419225"/>
                  </a:cubicBezTo>
                  <a:cubicBezTo>
                    <a:pt x="628269" y="1419225"/>
                    <a:pt x="694277" y="1394270"/>
                    <a:pt x="741807" y="1344359"/>
                  </a:cubicBezTo>
                  <a:cubicBezTo>
                    <a:pt x="789337" y="1294448"/>
                    <a:pt x="813149" y="1219581"/>
                    <a:pt x="813149" y="1119664"/>
                  </a:cubicBezTo>
                  <a:lnTo>
                    <a:pt x="813149" y="404717"/>
                  </a:lnTo>
                  <a:lnTo>
                    <a:pt x="1087755" y="404717"/>
                  </a:lnTo>
                  <a:lnTo>
                    <a:pt x="1087755" y="1108996"/>
                  </a:lnTo>
                  <a:cubicBezTo>
                    <a:pt x="1087755" y="1204151"/>
                    <a:pt x="1074992" y="1286732"/>
                    <a:pt x="1049369" y="1356836"/>
                  </a:cubicBezTo>
                  <a:cubicBezTo>
                    <a:pt x="1023747" y="1426940"/>
                    <a:pt x="987266" y="1485519"/>
                    <a:pt x="939737" y="1532477"/>
                  </a:cubicBezTo>
                  <a:cubicBezTo>
                    <a:pt x="892207" y="1579436"/>
                    <a:pt x="834485" y="1614488"/>
                    <a:pt x="766763" y="1637729"/>
                  </a:cubicBezTo>
                  <a:cubicBezTo>
                    <a:pt x="699040" y="1660874"/>
                    <a:pt x="623507" y="1672495"/>
                    <a:pt x="540353" y="1672495"/>
                  </a:cubicBezTo>
                  <a:close/>
                  <a:moveTo>
                    <a:pt x="622268" y="0"/>
                  </a:moveTo>
                  <a:lnTo>
                    <a:pt x="855821" y="101632"/>
                  </a:lnTo>
                  <a:lnTo>
                    <a:pt x="627602" y="315563"/>
                  </a:lnTo>
                  <a:lnTo>
                    <a:pt x="420719" y="315563"/>
                  </a:lnTo>
                  <a:lnTo>
                    <a:pt x="622268" y="0"/>
                  </a:lnTo>
                  <a:close/>
                </a:path>
              </a:pathLst>
            </a:custGeom>
            <a:solidFill>
              <a:srgbClr val="44505E"/>
            </a:solidFill>
            <a:ln w="9525" cap="flat">
              <a:noFill/>
              <a:prstDash val="solid"/>
              <a:miter/>
            </a:ln>
          </p:spPr>
          <p:txBody>
            <a:bodyPr rtlCol="0" anchor="ctr"/>
            <a:lstStyle/>
            <a:p>
              <a:endParaRPr lang="pt-BR" noProof="0"/>
            </a:p>
          </p:txBody>
        </p:sp>
        <p:sp>
          <p:nvSpPr>
            <p:cNvPr id="19" name="Freeform: Shape 18">
              <a:extLst>
                <a:ext uri="{FF2B5EF4-FFF2-40B4-BE49-F238E27FC236}">
                  <a16:creationId xmlns:a16="http://schemas.microsoft.com/office/drawing/2014/main" id="{48C766D1-FC79-AB19-456D-71831E873A7E}"/>
                </a:ext>
              </a:extLst>
            </p:cNvPr>
            <p:cNvSpPr/>
            <p:nvPr/>
          </p:nvSpPr>
          <p:spPr>
            <a:xfrm>
              <a:off x="6143795" y="313094"/>
              <a:ext cx="289101" cy="313764"/>
            </a:xfrm>
            <a:custGeom>
              <a:avLst/>
              <a:gdLst>
                <a:gd name="connsiteX0" fmla="*/ 0 w 1150048"/>
                <a:gd name="connsiteY0" fmla="*/ 0 h 1248155"/>
                <a:gd name="connsiteX1" fmla="*/ 486728 w 1150048"/>
                <a:gd name="connsiteY1" fmla="*/ 0 h 1248155"/>
                <a:gd name="connsiteX2" fmla="*/ 755047 w 1150048"/>
                <a:gd name="connsiteY2" fmla="*/ 47244 h 1248155"/>
                <a:gd name="connsiteX3" fmla="*/ 965454 w 1150048"/>
                <a:gd name="connsiteY3" fmla="*/ 178308 h 1248155"/>
                <a:gd name="connsiteX4" fmla="*/ 1101852 w 1150048"/>
                <a:gd name="connsiteY4" fmla="*/ 375380 h 1248155"/>
                <a:gd name="connsiteX5" fmla="*/ 1150049 w 1150048"/>
                <a:gd name="connsiteY5" fmla="*/ 620554 h 1248155"/>
                <a:gd name="connsiteX6" fmla="*/ 1150049 w 1150048"/>
                <a:gd name="connsiteY6" fmla="*/ 624173 h 1248155"/>
                <a:gd name="connsiteX7" fmla="*/ 1101852 w 1150048"/>
                <a:gd name="connsiteY7" fmla="*/ 870204 h 1248155"/>
                <a:gd name="connsiteX8" fmla="*/ 965454 w 1150048"/>
                <a:gd name="connsiteY8" fmla="*/ 1068134 h 1248155"/>
                <a:gd name="connsiteX9" fmla="*/ 755047 w 1150048"/>
                <a:gd name="connsiteY9" fmla="*/ 1200055 h 1248155"/>
                <a:gd name="connsiteX10" fmla="*/ 486728 w 1150048"/>
                <a:gd name="connsiteY10" fmla="*/ 1248156 h 1248155"/>
                <a:gd name="connsiteX11" fmla="*/ 0 w 1150048"/>
                <a:gd name="connsiteY11" fmla="*/ 1248156 h 1248155"/>
                <a:gd name="connsiteX12" fmla="*/ 0 w 1150048"/>
                <a:gd name="connsiteY12" fmla="*/ 0 h 1248155"/>
                <a:gd name="connsiteX13" fmla="*/ 486728 w 1150048"/>
                <a:gd name="connsiteY13" fmla="*/ 1000315 h 1248155"/>
                <a:gd name="connsiteX14" fmla="*/ 640080 w 1150048"/>
                <a:gd name="connsiteY14" fmla="*/ 973550 h 1248155"/>
                <a:gd name="connsiteX15" fmla="*/ 758667 w 1150048"/>
                <a:gd name="connsiteY15" fmla="*/ 896874 h 1248155"/>
                <a:gd name="connsiteX16" fmla="*/ 835343 w 1150048"/>
                <a:gd name="connsiteY16" fmla="*/ 779240 h 1248155"/>
                <a:gd name="connsiteX17" fmla="*/ 862965 w 1150048"/>
                <a:gd name="connsiteY17" fmla="*/ 627698 h 1248155"/>
                <a:gd name="connsiteX18" fmla="*/ 862965 w 1150048"/>
                <a:gd name="connsiteY18" fmla="*/ 624078 h 1248155"/>
                <a:gd name="connsiteX19" fmla="*/ 835343 w 1150048"/>
                <a:gd name="connsiteY19" fmla="*/ 472535 h 1248155"/>
                <a:gd name="connsiteX20" fmla="*/ 758667 w 1150048"/>
                <a:gd name="connsiteY20" fmla="*/ 353092 h 1248155"/>
                <a:gd name="connsiteX21" fmla="*/ 640080 w 1150048"/>
                <a:gd name="connsiteY21" fmla="*/ 275558 h 1248155"/>
                <a:gd name="connsiteX22" fmla="*/ 486728 w 1150048"/>
                <a:gd name="connsiteY22" fmla="*/ 247936 h 1248155"/>
                <a:gd name="connsiteX23" fmla="*/ 274511 w 1150048"/>
                <a:gd name="connsiteY23" fmla="*/ 247936 h 1248155"/>
                <a:gd name="connsiteX24" fmla="*/ 274511 w 1150048"/>
                <a:gd name="connsiteY24" fmla="*/ 1000411 h 1248155"/>
                <a:gd name="connsiteX25" fmla="*/ 486728 w 1150048"/>
                <a:gd name="connsiteY25" fmla="*/ 1000411 h 124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50048" h="1248155">
                  <a:moveTo>
                    <a:pt x="0" y="0"/>
                  </a:moveTo>
                  <a:lnTo>
                    <a:pt x="486728" y="0"/>
                  </a:lnTo>
                  <a:cubicBezTo>
                    <a:pt x="584168" y="0"/>
                    <a:pt x="673608" y="15811"/>
                    <a:pt x="755047" y="47244"/>
                  </a:cubicBezTo>
                  <a:cubicBezTo>
                    <a:pt x="836486" y="78772"/>
                    <a:pt x="906590" y="122396"/>
                    <a:pt x="965454" y="178308"/>
                  </a:cubicBezTo>
                  <a:cubicBezTo>
                    <a:pt x="1024319" y="234220"/>
                    <a:pt x="1069753" y="299847"/>
                    <a:pt x="1101852" y="375380"/>
                  </a:cubicBezTo>
                  <a:cubicBezTo>
                    <a:pt x="1133951" y="450914"/>
                    <a:pt x="1150049" y="532543"/>
                    <a:pt x="1150049" y="620554"/>
                  </a:cubicBezTo>
                  <a:lnTo>
                    <a:pt x="1150049" y="624173"/>
                  </a:lnTo>
                  <a:cubicBezTo>
                    <a:pt x="1150049" y="712184"/>
                    <a:pt x="1133951" y="794195"/>
                    <a:pt x="1101852" y="870204"/>
                  </a:cubicBezTo>
                  <a:cubicBezTo>
                    <a:pt x="1069753" y="946309"/>
                    <a:pt x="1024319" y="1012222"/>
                    <a:pt x="965454" y="1068134"/>
                  </a:cubicBezTo>
                  <a:cubicBezTo>
                    <a:pt x="906590" y="1124045"/>
                    <a:pt x="836486" y="1167956"/>
                    <a:pt x="755047" y="1200055"/>
                  </a:cubicBezTo>
                  <a:cubicBezTo>
                    <a:pt x="673608" y="1232154"/>
                    <a:pt x="584168" y="1248156"/>
                    <a:pt x="486728" y="1248156"/>
                  </a:cubicBezTo>
                  <a:lnTo>
                    <a:pt x="0" y="1248156"/>
                  </a:lnTo>
                  <a:lnTo>
                    <a:pt x="0" y="0"/>
                  </a:lnTo>
                  <a:close/>
                  <a:moveTo>
                    <a:pt x="486728" y="1000315"/>
                  </a:moveTo>
                  <a:cubicBezTo>
                    <a:pt x="542639" y="1000315"/>
                    <a:pt x="593693" y="991457"/>
                    <a:pt x="640080" y="973550"/>
                  </a:cubicBezTo>
                  <a:cubicBezTo>
                    <a:pt x="686467" y="955739"/>
                    <a:pt x="725900" y="930211"/>
                    <a:pt x="758667" y="896874"/>
                  </a:cubicBezTo>
                  <a:cubicBezTo>
                    <a:pt x="791337" y="863632"/>
                    <a:pt x="816864" y="824389"/>
                    <a:pt x="835343" y="779240"/>
                  </a:cubicBezTo>
                  <a:cubicBezTo>
                    <a:pt x="853726" y="734092"/>
                    <a:pt x="862965" y="683609"/>
                    <a:pt x="862965" y="627698"/>
                  </a:cubicBezTo>
                  <a:lnTo>
                    <a:pt x="862965" y="624078"/>
                  </a:lnTo>
                  <a:cubicBezTo>
                    <a:pt x="862965" y="569404"/>
                    <a:pt x="853726" y="518827"/>
                    <a:pt x="835343" y="472535"/>
                  </a:cubicBezTo>
                  <a:cubicBezTo>
                    <a:pt x="816864" y="426149"/>
                    <a:pt x="791337" y="386334"/>
                    <a:pt x="758667" y="353092"/>
                  </a:cubicBezTo>
                  <a:cubicBezTo>
                    <a:pt x="725996" y="319849"/>
                    <a:pt x="686467" y="293941"/>
                    <a:pt x="640080" y="275558"/>
                  </a:cubicBezTo>
                  <a:cubicBezTo>
                    <a:pt x="593693" y="257175"/>
                    <a:pt x="542639" y="247936"/>
                    <a:pt x="486728" y="247936"/>
                  </a:cubicBezTo>
                  <a:lnTo>
                    <a:pt x="274511" y="247936"/>
                  </a:lnTo>
                  <a:lnTo>
                    <a:pt x="274511" y="1000411"/>
                  </a:lnTo>
                  <a:lnTo>
                    <a:pt x="486728" y="1000411"/>
                  </a:lnTo>
                  <a:close/>
                </a:path>
              </a:pathLst>
            </a:custGeom>
            <a:solidFill>
              <a:srgbClr val="44505E"/>
            </a:solidFill>
            <a:ln w="9525" cap="flat">
              <a:noFill/>
              <a:prstDash val="solid"/>
              <a:miter/>
            </a:ln>
          </p:spPr>
          <p:txBody>
            <a:bodyPr rtlCol="0" anchor="ctr"/>
            <a:lstStyle/>
            <a:p>
              <a:endParaRPr lang="pt-BR" noProof="0"/>
            </a:p>
          </p:txBody>
        </p:sp>
        <p:sp>
          <p:nvSpPr>
            <p:cNvPr id="20" name="Freeform: Shape 19">
              <a:extLst>
                <a:ext uri="{FF2B5EF4-FFF2-40B4-BE49-F238E27FC236}">
                  <a16:creationId xmlns:a16="http://schemas.microsoft.com/office/drawing/2014/main" id="{76877709-171D-BDBB-135A-ADD812FD8C53}"/>
                </a:ext>
              </a:extLst>
            </p:cNvPr>
            <p:cNvSpPr/>
            <p:nvPr/>
          </p:nvSpPr>
          <p:spPr>
            <a:xfrm>
              <a:off x="6460217" y="313094"/>
              <a:ext cx="238459" cy="313788"/>
            </a:xfrm>
            <a:custGeom>
              <a:avLst/>
              <a:gdLst>
                <a:gd name="connsiteX0" fmla="*/ 95 w 948594"/>
                <a:gd name="connsiteY0" fmla="*/ 0 h 1248251"/>
                <a:gd name="connsiteX1" fmla="*/ 939737 w 948594"/>
                <a:gd name="connsiteY1" fmla="*/ 0 h 1248251"/>
                <a:gd name="connsiteX2" fmla="*/ 939737 w 948594"/>
                <a:gd name="connsiteY2" fmla="*/ 244316 h 1248251"/>
                <a:gd name="connsiteX3" fmla="*/ 271081 w 948594"/>
                <a:gd name="connsiteY3" fmla="*/ 244316 h 1248251"/>
                <a:gd name="connsiteX4" fmla="*/ 271081 w 948594"/>
                <a:gd name="connsiteY4" fmla="*/ 497491 h 1248251"/>
                <a:gd name="connsiteX5" fmla="*/ 859441 w 948594"/>
                <a:gd name="connsiteY5" fmla="*/ 497491 h 1248251"/>
                <a:gd name="connsiteX6" fmla="*/ 859441 w 948594"/>
                <a:gd name="connsiteY6" fmla="*/ 741807 h 1248251"/>
                <a:gd name="connsiteX7" fmla="*/ 271081 w 948594"/>
                <a:gd name="connsiteY7" fmla="*/ 741807 h 1248251"/>
                <a:gd name="connsiteX8" fmla="*/ 271081 w 948594"/>
                <a:gd name="connsiteY8" fmla="*/ 1003935 h 1248251"/>
                <a:gd name="connsiteX9" fmla="*/ 948595 w 948594"/>
                <a:gd name="connsiteY9" fmla="*/ 1003935 h 1248251"/>
                <a:gd name="connsiteX10" fmla="*/ 948595 w 948594"/>
                <a:gd name="connsiteY10" fmla="*/ 1248251 h 1248251"/>
                <a:gd name="connsiteX11" fmla="*/ 0 w 948594"/>
                <a:gd name="connsiteY11" fmla="*/ 1248251 h 1248251"/>
                <a:gd name="connsiteX12" fmla="*/ 0 w 948594"/>
                <a:gd name="connsiteY12" fmla="*/ 0 h 124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594" h="1248251">
                  <a:moveTo>
                    <a:pt x="95" y="0"/>
                  </a:moveTo>
                  <a:lnTo>
                    <a:pt x="939737" y="0"/>
                  </a:lnTo>
                  <a:lnTo>
                    <a:pt x="939737" y="244316"/>
                  </a:lnTo>
                  <a:lnTo>
                    <a:pt x="271081" y="244316"/>
                  </a:lnTo>
                  <a:lnTo>
                    <a:pt x="271081" y="497491"/>
                  </a:lnTo>
                  <a:lnTo>
                    <a:pt x="859441" y="497491"/>
                  </a:lnTo>
                  <a:lnTo>
                    <a:pt x="859441" y="741807"/>
                  </a:lnTo>
                  <a:lnTo>
                    <a:pt x="271081" y="741807"/>
                  </a:lnTo>
                  <a:lnTo>
                    <a:pt x="271081" y="1003935"/>
                  </a:lnTo>
                  <a:lnTo>
                    <a:pt x="948595" y="1003935"/>
                  </a:lnTo>
                  <a:lnTo>
                    <a:pt x="948595" y="1248251"/>
                  </a:lnTo>
                  <a:lnTo>
                    <a:pt x="0" y="1248251"/>
                  </a:lnTo>
                  <a:lnTo>
                    <a:pt x="0" y="0"/>
                  </a:lnTo>
                  <a:close/>
                </a:path>
              </a:pathLst>
            </a:custGeom>
            <a:solidFill>
              <a:srgbClr val="44505E"/>
            </a:solidFill>
            <a:ln w="9525" cap="flat">
              <a:noFill/>
              <a:prstDash val="solid"/>
              <a:miter/>
            </a:ln>
          </p:spPr>
          <p:txBody>
            <a:bodyPr rtlCol="0" anchor="ctr"/>
            <a:lstStyle/>
            <a:p>
              <a:endParaRPr lang="pt-BR" noProof="0"/>
            </a:p>
          </p:txBody>
        </p:sp>
        <p:sp>
          <p:nvSpPr>
            <p:cNvPr id="21" name="Freeform: Shape 20">
              <a:extLst>
                <a:ext uri="{FF2B5EF4-FFF2-40B4-BE49-F238E27FC236}">
                  <a16:creationId xmlns:a16="http://schemas.microsoft.com/office/drawing/2014/main" id="{DC141078-5E49-B73E-CF00-A9334454AFC7}"/>
                </a:ext>
              </a:extLst>
            </p:cNvPr>
            <p:cNvSpPr/>
            <p:nvPr/>
          </p:nvSpPr>
          <p:spPr>
            <a:xfrm>
              <a:off x="5253193" y="699983"/>
              <a:ext cx="90796" cy="97883"/>
            </a:xfrm>
            <a:custGeom>
              <a:avLst/>
              <a:gdLst>
                <a:gd name="connsiteX0" fmla="*/ 191548 w 361187"/>
                <a:gd name="connsiteY0" fmla="*/ 389382 h 389381"/>
                <a:gd name="connsiteX1" fmla="*/ 116300 w 361187"/>
                <a:gd name="connsiteY1" fmla="*/ 375285 h 389381"/>
                <a:gd name="connsiteX2" fmla="*/ 55531 w 361187"/>
                <a:gd name="connsiteY2" fmla="*/ 335756 h 389381"/>
                <a:gd name="connsiteX3" fmla="*/ 14859 w 361187"/>
                <a:gd name="connsiteY3" fmla="*/ 274606 h 389381"/>
                <a:gd name="connsiteX4" fmla="*/ 0 w 361187"/>
                <a:gd name="connsiteY4" fmla="*/ 195834 h 389381"/>
                <a:gd name="connsiteX5" fmla="*/ 0 w 361187"/>
                <a:gd name="connsiteY5" fmla="*/ 194405 h 389381"/>
                <a:gd name="connsiteX6" fmla="*/ 13430 w 361187"/>
                <a:gd name="connsiteY6" fmla="*/ 118777 h 389381"/>
                <a:gd name="connsiteX7" fmla="*/ 51245 w 361187"/>
                <a:gd name="connsiteY7" fmla="*/ 56959 h 389381"/>
                <a:gd name="connsiteX8" fmla="*/ 108871 w 361187"/>
                <a:gd name="connsiteY8" fmla="*/ 15240 h 389381"/>
                <a:gd name="connsiteX9" fmla="*/ 182404 w 361187"/>
                <a:gd name="connsiteY9" fmla="*/ 0 h 389381"/>
                <a:gd name="connsiteX10" fmla="*/ 260509 w 361187"/>
                <a:gd name="connsiteY10" fmla="*/ 16288 h 389381"/>
                <a:gd name="connsiteX11" fmla="*/ 316325 w 361187"/>
                <a:gd name="connsiteY11" fmla="*/ 60103 h 389381"/>
                <a:gd name="connsiteX12" fmla="*/ 349853 w 361187"/>
                <a:gd name="connsiteY12" fmla="*/ 124015 h 389381"/>
                <a:gd name="connsiteX13" fmla="*/ 361188 w 361187"/>
                <a:gd name="connsiteY13" fmla="*/ 200692 h 389381"/>
                <a:gd name="connsiteX14" fmla="*/ 360807 w 361187"/>
                <a:gd name="connsiteY14" fmla="*/ 212312 h 389381"/>
                <a:gd name="connsiteX15" fmla="*/ 359759 w 361187"/>
                <a:gd name="connsiteY15" fmla="*/ 224695 h 389381"/>
                <a:gd name="connsiteX16" fmla="*/ 85534 w 361187"/>
                <a:gd name="connsiteY16" fmla="*/ 224695 h 389381"/>
                <a:gd name="connsiteX17" fmla="*/ 121920 w 361187"/>
                <a:gd name="connsiteY17" fmla="*/ 294989 h 389381"/>
                <a:gd name="connsiteX18" fmla="*/ 192977 w 361187"/>
                <a:gd name="connsiteY18" fmla="*/ 319373 h 389381"/>
                <a:gd name="connsiteX19" fmla="*/ 248126 w 361187"/>
                <a:gd name="connsiteY19" fmla="*/ 308038 h 389381"/>
                <a:gd name="connsiteX20" fmla="*/ 294037 w 361187"/>
                <a:gd name="connsiteY20" fmla="*/ 274796 h 389381"/>
                <a:gd name="connsiteX21" fmla="*/ 344234 w 361187"/>
                <a:gd name="connsiteY21" fmla="*/ 319278 h 389381"/>
                <a:gd name="connsiteX22" fmla="*/ 280226 w 361187"/>
                <a:gd name="connsiteY22" fmla="*/ 370141 h 389381"/>
                <a:gd name="connsiteX23" fmla="*/ 191548 w 361187"/>
                <a:gd name="connsiteY23" fmla="*/ 389191 h 389381"/>
                <a:gd name="connsiteX24" fmla="*/ 276320 w 361187"/>
                <a:gd name="connsiteY24" fmla="*/ 168211 h 389381"/>
                <a:gd name="connsiteX25" fmla="*/ 267176 w 361187"/>
                <a:gd name="connsiteY25" fmla="*/ 129730 h 389381"/>
                <a:gd name="connsiteX26" fmla="*/ 248126 w 361187"/>
                <a:gd name="connsiteY26" fmla="*/ 98679 h 389381"/>
                <a:gd name="connsiteX27" fmla="*/ 219551 w 361187"/>
                <a:gd name="connsiteY27" fmla="*/ 77819 h 389381"/>
                <a:gd name="connsiteX28" fmla="*/ 181737 w 361187"/>
                <a:gd name="connsiteY28" fmla="*/ 70009 h 389381"/>
                <a:gd name="connsiteX29" fmla="*/ 116396 w 361187"/>
                <a:gd name="connsiteY29" fmla="*/ 97250 h 389381"/>
                <a:gd name="connsiteX30" fmla="*/ 84963 w 361187"/>
                <a:gd name="connsiteY30" fmla="*/ 168307 h 389381"/>
                <a:gd name="connsiteX31" fmla="*/ 276511 w 361187"/>
                <a:gd name="connsiteY31" fmla="*/ 168307 h 38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187" h="389381">
                  <a:moveTo>
                    <a:pt x="191548" y="389382"/>
                  </a:moveTo>
                  <a:cubicBezTo>
                    <a:pt x="164687" y="389382"/>
                    <a:pt x="139637" y="384715"/>
                    <a:pt x="116300" y="375285"/>
                  </a:cubicBezTo>
                  <a:cubicBezTo>
                    <a:pt x="92964" y="365855"/>
                    <a:pt x="72771" y="352711"/>
                    <a:pt x="55531" y="335756"/>
                  </a:cubicBezTo>
                  <a:cubicBezTo>
                    <a:pt x="38291" y="318802"/>
                    <a:pt x="24765" y="298418"/>
                    <a:pt x="14859" y="274606"/>
                  </a:cubicBezTo>
                  <a:cubicBezTo>
                    <a:pt x="4953" y="250793"/>
                    <a:pt x="0" y="224599"/>
                    <a:pt x="0" y="195834"/>
                  </a:cubicBezTo>
                  <a:lnTo>
                    <a:pt x="0" y="194405"/>
                  </a:lnTo>
                  <a:cubicBezTo>
                    <a:pt x="0" y="167545"/>
                    <a:pt x="4477" y="142399"/>
                    <a:pt x="13430" y="118777"/>
                  </a:cubicBezTo>
                  <a:cubicBezTo>
                    <a:pt x="22384" y="95250"/>
                    <a:pt x="34957" y="74581"/>
                    <a:pt x="51245" y="56959"/>
                  </a:cubicBezTo>
                  <a:cubicBezTo>
                    <a:pt x="67532" y="39338"/>
                    <a:pt x="86677" y="25432"/>
                    <a:pt x="108871" y="15240"/>
                  </a:cubicBezTo>
                  <a:cubicBezTo>
                    <a:pt x="131064" y="5143"/>
                    <a:pt x="155543" y="0"/>
                    <a:pt x="182404" y="0"/>
                  </a:cubicBezTo>
                  <a:cubicBezTo>
                    <a:pt x="212122" y="0"/>
                    <a:pt x="238125" y="5429"/>
                    <a:pt x="260509" y="16288"/>
                  </a:cubicBezTo>
                  <a:cubicBezTo>
                    <a:pt x="282893" y="27146"/>
                    <a:pt x="301466" y="41719"/>
                    <a:pt x="316325" y="60103"/>
                  </a:cubicBezTo>
                  <a:cubicBezTo>
                    <a:pt x="331184" y="78486"/>
                    <a:pt x="342329" y="99822"/>
                    <a:pt x="349853" y="124015"/>
                  </a:cubicBezTo>
                  <a:cubicBezTo>
                    <a:pt x="357378" y="148304"/>
                    <a:pt x="361188" y="173831"/>
                    <a:pt x="361188" y="200692"/>
                  </a:cubicBezTo>
                  <a:cubicBezTo>
                    <a:pt x="361188" y="204502"/>
                    <a:pt x="361093" y="208312"/>
                    <a:pt x="360807" y="212312"/>
                  </a:cubicBezTo>
                  <a:cubicBezTo>
                    <a:pt x="360521" y="216313"/>
                    <a:pt x="360236" y="220409"/>
                    <a:pt x="359759" y="224695"/>
                  </a:cubicBezTo>
                  <a:lnTo>
                    <a:pt x="85534" y="224695"/>
                  </a:lnTo>
                  <a:cubicBezTo>
                    <a:pt x="90202" y="255365"/>
                    <a:pt x="102394" y="278797"/>
                    <a:pt x="121920" y="294989"/>
                  </a:cubicBezTo>
                  <a:cubicBezTo>
                    <a:pt x="141446" y="311277"/>
                    <a:pt x="165164" y="319373"/>
                    <a:pt x="192977" y="319373"/>
                  </a:cubicBezTo>
                  <a:cubicBezTo>
                    <a:pt x="214217" y="319373"/>
                    <a:pt x="232505" y="315563"/>
                    <a:pt x="248126" y="308038"/>
                  </a:cubicBezTo>
                  <a:cubicBezTo>
                    <a:pt x="263652" y="300514"/>
                    <a:pt x="278987" y="289465"/>
                    <a:pt x="294037" y="274796"/>
                  </a:cubicBezTo>
                  <a:lnTo>
                    <a:pt x="344234" y="319278"/>
                  </a:lnTo>
                  <a:cubicBezTo>
                    <a:pt x="326327" y="340519"/>
                    <a:pt x="304991" y="357473"/>
                    <a:pt x="280226" y="370141"/>
                  </a:cubicBezTo>
                  <a:cubicBezTo>
                    <a:pt x="255461" y="382810"/>
                    <a:pt x="225933" y="389191"/>
                    <a:pt x="191548" y="389191"/>
                  </a:cubicBezTo>
                  <a:close/>
                  <a:moveTo>
                    <a:pt x="276320" y="168211"/>
                  </a:moveTo>
                  <a:cubicBezTo>
                    <a:pt x="274892" y="154591"/>
                    <a:pt x="271844" y="141732"/>
                    <a:pt x="267176" y="129730"/>
                  </a:cubicBezTo>
                  <a:cubicBezTo>
                    <a:pt x="262414" y="117729"/>
                    <a:pt x="256127" y="107347"/>
                    <a:pt x="248126" y="98679"/>
                  </a:cubicBezTo>
                  <a:cubicBezTo>
                    <a:pt x="240125" y="89916"/>
                    <a:pt x="230600" y="82963"/>
                    <a:pt x="219551" y="77819"/>
                  </a:cubicBezTo>
                  <a:cubicBezTo>
                    <a:pt x="208502" y="72676"/>
                    <a:pt x="195834" y="70009"/>
                    <a:pt x="181737" y="70009"/>
                  </a:cubicBezTo>
                  <a:cubicBezTo>
                    <a:pt x="155353" y="70009"/>
                    <a:pt x="133541" y="79057"/>
                    <a:pt x="116396" y="97250"/>
                  </a:cubicBezTo>
                  <a:cubicBezTo>
                    <a:pt x="99155" y="115348"/>
                    <a:pt x="88678" y="139065"/>
                    <a:pt x="84963" y="168307"/>
                  </a:cubicBezTo>
                  <a:lnTo>
                    <a:pt x="276511" y="168307"/>
                  </a:lnTo>
                  <a:close/>
                </a:path>
              </a:pathLst>
            </a:custGeom>
            <a:solidFill>
              <a:srgbClr val="44505E"/>
            </a:solidFill>
            <a:ln w="9525" cap="flat">
              <a:noFill/>
              <a:prstDash val="solid"/>
              <a:miter/>
            </a:ln>
          </p:spPr>
          <p:txBody>
            <a:bodyPr rtlCol="0" anchor="ctr"/>
            <a:lstStyle/>
            <a:p>
              <a:endParaRPr lang="pt-BR" noProof="0"/>
            </a:p>
          </p:txBody>
        </p:sp>
        <p:sp>
          <p:nvSpPr>
            <p:cNvPr id="22" name="Freeform: Shape 21">
              <a:extLst>
                <a:ext uri="{FF2B5EF4-FFF2-40B4-BE49-F238E27FC236}">
                  <a16:creationId xmlns:a16="http://schemas.microsoft.com/office/drawing/2014/main" id="{F0E900A9-DA6E-997E-0CBD-DC7B6F10522F}"/>
                </a:ext>
              </a:extLst>
            </p:cNvPr>
            <p:cNvSpPr/>
            <p:nvPr/>
          </p:nvSpPr>
          <p:spPr>
            <a:xfrm>
              <a:off x="5365659"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5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8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3 w 568166"/>
                <a:gd name="connsiteY21" fmla="*/ 381000 h 381000"/>
                <a:gd name="connsiteX22" fmla="*/ 240983 w 568166"/>
                <a:gd name="connsiteY22" fmla="*/ 168783 h 381000"/>
                <a:gd name="connsiteX23" fmla="*/ 221266 w 568166"/>
                <a:gd name="connsiteY23" fmla="*/ 101822 h 381000"/>
                <a:gd name="connsiteX24" fmla="*/ 165640 w 568166"/>
                <a:gd name="connsiteY24" fmla="*/ 78581 h 381000"/>
                <a:gd name="connsiteX25" fmla="*/ 108014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70" y="48196"/>
                    <a:pt x="105918" y="40576"/>
                  </a:cubicBezTo>
                  <a:cubicBezTo>
                    <a:pt x="112967" y="32956"/>
                    <a:pt x="121063" y="26099"/>
                    <a:pt x="130207" y="19907"/>
                  </a:cubicBezTo>
                  <a:cubicBezTo>
                    <a:pt x="139351" y="13716"/>
                    <a:pt x="149733" y="8858"/>
                    <a:pt x="161163" y="5334"/>
                  </a:cubicBezTo>
                  <a:cubicBezTo>
                    <a:pt x="172688" y="1714"/>
                    <a:pt x="185452" y="0"/>
                    <a:pt x="199549" y="0"/>
                  </a:cubicBezTo>
                  <a:cubicBezTo>
                    <a:pt x="226314" y="0"/>
                    <a:pt x="248984" y="6096"/>
                    <a:pt x="267557" y="18193"/>
                  </a:cubicBezTo>
                  <a:cubicBezTo>
                    <a:pt x="286131" y="30289"/>
                    <a:pt x="300323" y="46387"/>
                    <a:pt x="310134" y="66294"/>
                  </a:cubicBezTo>
                  <a:cubicBezTo>
                    <a:pt x="325279" y="46387"/>
                    <a:pt x="343091" y="30289"/>
                    <a:pt x="363665" y="18193"/>
                  </a:cubicBezTo>
                  <a:cubicBezTo>
                    <a:pt x="384239" y="6096"/>
                    <a:pt x="408718" y="0"/>
                    <a:pt x="437007" y="0"/>
                  </a:cubicBezTo>
                  <a:cubicBezTo>
                    <a:pt x="478060"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8" y="78486"/>
                  </a:cubicBezTo>
                  <a:cubicBezTo>
                    <a:pt x="382810" y="78486"/>
                    <a:pt x="364141" y="86392"/>
                    <a:pt x="349377" y="102108"/>
                  </a:cubicBezTo>
                  <a:cubicBezTo>
                    <a:pt x="334613" y="117824"/>
                    <a:pt x="327184" y="140779"/>
                    <a:pt x="327184" y="170879"/>
                  </a:cubicBezTo>
                  <a:lnTo>
                    <a:pt x="327184" y="381000"/>
                  </a:lnTo>
                  <a:lnTo>
                    <a:pt x="240983" y="381000"/>
                  </a:lnTo>
                  <a:lnTo>
                    <a:pt x="240983" y="168783"/>
                  </a:lnTo>
                  <a:cubicBezTo>
                    <a:pt x="240983" y="139637"/>
                    <a:pt x="234410" y="117348"/>
                    <a:pt x="221266" y="101822"/>
                  </a:cubicBezTo>
                  <a:cubicBezTo>
                    <a:pt x="208121" y="86296"/>
                    <a:pt x="189643" y="78581"/>
                    <a:pt x="165640" y="78581"/>
                  </a:cubicBezTo>
                  <a:cubicBezTo>
                    <a:pt x="141637" y="78581"/>
                    <a:pt x="122492" y="86773"/>
                    <a:pt x="108014"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23" name="Freeform: Shape 22">
              <a:extLst>
                <a:ext uri="{FF2B5EF4-FFF2-40B4-BE49-F238E27FC236}">
                  <a16:creationId xmlns:a16="http://schemas.microsoft.com/office/drawing/2014/main" id="{85B18B1B-A25C-D99D-E5E5-91EA0EFB0982}"/>
                </a:ext>
              </a:extLst>
            </p:cNvPr>
            <p:cNvSpPr/>
            <p:nvPr/>
          </p:nvSpPr>
          <p:spPr>
            <a:xfrm>
              <a:off x="5587693" y="700007"/>
              <a:ext cx="84211" cy="95752"/>
            </a:xfrm>
            <a:custGeom>
              <a:avLst/>
              <a:gdLst>
                <a:gd name="connsiteX0" fmla="*/ 95 w 334994"/>
                <a:gd name="connsiteY0" fmla="*/ 7715 h 380904"/>
                <a:gd name="connsiteX1" fmla="*/ 86296 w 334994"/>
                <a:gd name="connsiteY1" fmla="*/ 7715 h 380904"/>
                <a:gd name="connsiteX2" fmla="*/ 86296 w 334994"/>
                <a:gd name="connsiteY2" fmla="*/ 66294 h 380904"/>
                <a:gd name="connsiteX3" fmla="*/ 106394 w 334994"/>
                <a:gd name="connsiteY3" fmla="*/ 40958 h 380904"/>
                <a:gd name="connsiteX4" fmla="*/ 131731 w 334994"/>
                <a:gd name="connsiteY4" fmla="*/ 19907 h 380904"/>
                <a:gd name="connsiteX5" fmla="*/ 163449 w 334994"/>
                <a:gd name="connsiteY5" fmla="*/ 5334 h 380904"/>
                <a:gd name="connsiteX6" fmla="*/ 202597 w 334994"/>
                <a:gd name="connsiteY6" fmla="*/ 0 h 380904"/>
                <a:gd name="connsiteX7" fmla="*/ 300514 w 334994"/>
                <a:gd name="connsiteY7" fmla="*/ 38862 h 380904"/>
                <a:gd name="connsiteX8" fmla="*/ 334994 w 334994"/>
                <a:gd name="connsiteY8" fmla="*/ 143446 h 380904"/>
                <a:gd name="connsiteX9" fmla="*/ 334994 w 334994"/>
                <a:gd name="connsiteY9" fmla="*/ 380905 h 380904"/>
                <a:gd name="connsiteX10" fmla="*/ 248793 w 334994"/>
                <a:gd name="connsiteY10" fmla="*/ 380905 h 380904"/>
                <a:gd name="connsiteX11" fmla="*/ 248793 w 334994"/>
                <a:gd name="connsiteY11" fmla="*/ 169450 h 380904"/>
                <a:gd name="connsiteX12" fmla="*/ 228124 w 334994"/>
                <a:gd name="connsiteY12" fmla="*/ 102108 h 380904"/>
                <a:gd name="connsiteX13" fmla="*/ 169640 w 334994"/>
                <a:gd name="connsiteY13" fmla="*/ 78486 h 380904"/>
                <a:gd name="connsiteX14" fmla="*/ 109347 w 334994"/>
                <a:gd name="connsiteY14" fmla="*/ 102775 h 380904"/>
                <a:gd name="connsiteX15" fmla="*/ 86201 w 334994"/>
                <a:gd name="connsiteY15" fmla="*/ 170783 h 380904"/>
                <a:gd name="connsiteX16" fmla="*/ 86201 w 334994"/>
                <a:gd name="connsiteY16" fmla="*/ 380905 h 380904"/>
                <a:gd name="connsiteX17" fmla="*/ 0 w 334994"/>
                <a:gd name="connsiteY17" fmla="*/ 380905 h 380904"/>
                <a:gd name="connsiteX18" fmla="*/ 0 w 334994"/>
                <a:gd name="connsiteY18" fmla="*/ 7810 h 38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94" h="380904">
                  <a:moveTo>
                    <a:pt x="95" y="7715"/>
                  </a:moveTo>
                  <a:lnTo>
                    <a:pt x="86296" y="7715"/>
                  </a:lnTo>
                  <a:lnTo>
                    <a:pt x="86296" y="66294"/>
                  </a:lnTo>
                  <a:cubicBezTo>
                    <a:pt x="92392" y="57245"/>
                    <a:pt x="99060" y="48863"/>
                    <a:pt x="106394" y="40958"/>
                  </a:cubicBezTo>
                  <a:cubicBezTo>
                    <a:pt x="113633" y="33147"/>
                    <a:pt x="122110" y="26099"/>
                    <a:pt x="131731" y="19907"/>
                  </a:cubicBezTo>
                  <a:cubicBezTo>
                    <a:pt x="141351" y="13716"/>
                    <a:pt x="151924" y="8858"/>
                    <a:pt x="163449" y="5334"/>
                  </a:cubicBezTo>
                  <a:cubicBezTo>
                    <a:pt x="174974" y="1714"/>
                    <a:pt x="188024" y="0"/>
                    <a:pt x="202597" y="0"/>
                  </a:cubicBezTo>
                  <a:cubicBezTo>
                    <a:pt x="244888" y="0"/>
                    <a:pt x="277559" y="12954"/>
                    <a:pt x="300514" y="38862"/>
                  </a:cubicBezTo>
                  <a:cubicBezTo>
                    <a:pt x="323564" y="64770"/>
                    <a:pt x="334994" y="99631"/>
                    <a:pt x="334994" y="143446"/>
                  </a:cubicBezTo>
                  <a:lnTo>
                    <a:pt x="334994" y="380905"/>
                  </a:lnTo>
                  <a:lnTo>
                    <a:pt x="248793" y="380905"/>
                  </a:lnTo>
                  <a:lnTo>
                    <a:pt x="248793" y="169450"/>
                  </a:lnTo>
                  <a:cubicBezTo>
                    <a:pt x="248793" y="140303"/>
                    <a:pt x="241935" y="117824"/>
                    <a:pt x="228124" y="102108"/>
                  </a:cubicBezTo>
                  <a:cubicBezTo>
                    <a:pt x="214313" y="86392"/>
                    <a:pt x="194881" y="78486"/>
                    <a:pt x="169640" y="78486"/>
                  </a:cubicBezTo>
                  <a:cubicBezTo>
                    <a:pt x="144399" y="78486"/>
                    <a:pt x="124777" y="86582"/>
                    <a:pt x="109347" y="102775"/>
                  </a:cubicBezTo>
                  <a:cubicBezTo>
                    <a:pt x="93917" y="118967"/>
                    <a:pt x="86201" y="141637"/>
                    <a:pt x="86201" y="170783"/>
                  </a:cubicBezTo>
                  <a:lnTo>
                    <a:pt x="86201" y="380905"/>
                  </a:lnTo>
                  <a:lnTo>
                    <a:pt x="0" y="380905"/>
                  </a:lnTo>
                  <a:lnTo>
                    <a:pt x="0" y="7810"/>
                  </a:lnTo>
                  <a:close/>
                </a:path>
              </a:pathLst>
            </a:custGeom>
            <a:solidFill>
              <a:srgbClr val="44505E"/>
            </a:solidFill>
            <a:ln w="9525" cap="flat">
              <a:noFill/>
              <a:prstDash val="solid"/>
              <a:miter/>
            </a:ln>
          </p:spPr>
          <p:txBody>
            <a:bodyPr rtlCol="0" anchor="ctr"/>
            <a:lstStyle/>
            <a:p>
              <a:endParaRPr lang="pt-BR" noProof="0"/>
            </a:p>
          </p:txBody>
        </p:sp>
        <p:sp>
          <p:nvSpPr>
            <p:cNvPr id="24" name="Freeform: Shape 23">
              <a:extLst>
                <a:ext uri="{FF2B5EF4-FFF2-40B4-BE49-F238E27FC236}">
                  <a16:creationId xmlns:a16="http://schemas.microsoft.com/office/drawing/2014/main" id="{958C6E84-5703-0F53-0DF6-76ED316C845D}"/>
                </a:ext>
              </a:extLst>
            </p:cNvPr>
            <p:cNvSpPr/>
            <p:nvPr/>
          </p:nvSpPr>
          <p:spPr>
            <a:xfrm>
              <a:off x="5692712" y="699959"/>
              <a:ext cx="100015" cy="97908"/>
            </a:xfrm>
            <a:custGeom>
              <a:avLst/>
              <a:gdLst>
                <a:gd name="connsiteX0" fmla="*/ 197834 w 397859"/>
                <a:gd name="connsiteY0" fmla="*/ 389477 h 389477"/>
                <a:gd name="connsiteX1" fmla="*/ 119063 w 397859"/>
                <a:gd name="connsiteY1" fmla="*/ 374237 h 389477"/>
                <a:gd name="connsiteX2" fmla="*/ 56197 w 397859"/>
                <a:gd name="connsiteY2" fmla="*/ 332899 h 389477"/>
                <a:gd name="connsiteX3" fmla="*/ 14859 w 397859"/>
                <a:gd name="connsiteY3" fmla="*/ 271463 h 389477"/>
                <a:gd name="connsiteX4" fmla="*/ 0 w 397859"/>
                <a:gd name="connsiteY4" fmla="*/ 196501 h 389477"/>
                <a:gd name="connsiteX5" fmla="*/ 0 w 397859"/>
                <a:gd name="connsiteY5" fmla="*/ 195072 h 389477"/>
                <a:gd name="connsiteX6" fmla="*/ 15145 w 397859"/>
                <a:gd name="connsiteY6" fmla="*/ 119444 h 389477"/>
                <a:gd name="connsiteX7" fmla="*/ 56864 w 397859"/>
                <a:gd name="connsiteY7" fmla="*/ 57626 h 389477"/>
                <a:gd name="connsiteX8" fmla="*/ 119729 w 397859"/>
                <a:gd name="connsiteY8" fmla="*/ 15526 h 389477"/>
                <a:gd name="connsiteX9" fmla="*/ 199263 w 397859"/>
                <a:gd name="connsiteY9" fmla="*/ 0 h 389477"/>
                <a:gd name="connsiteX10" fmla="*/ 278797 w 397859"/>
                <a:gd name="connsiteY10" fmla="*/ 15240 h 389477"/>
                <a:gd name="connsiteX11" fmla="*/ 341662 w 397859"/>
                <a:gd name="connsiteY11" fmla="*/ 56959 h 389477"/>
                <a:gd name="connsiteX12" fmla="*/ 383000 w 397859"/>
                <a:gd name="connsiteY12" fmla="*/ 118396 h 389477"/>
                <a:gd name="connsiteX13" fmla="*/ 397859 w 397859"/>
                <a:gd name="connsiteY13" fmla="*/ 193643 h 389477"/>
                <a:gd name="connsiteX14" fmla="*/ 397859 w 397859"/>
                <a:gd name="connsiteY14" fmla="*/ 195072 h 389477"/>
                <a:gd name="connsiteX15" fmla="*/ 382619 w 397859"/>
                <a:gd name="connsiteY15" fmla="*/ 270034 h 389477"/>
                <a:gd name="connsiteX16" fmla="*/ 340900 w 397859"/>
                <a:gd name="connsiteY16" fmla="*/ 331851 h 389477"/>
                <a:gd name="connsiteX17" fmla="*/ 277654 w 397859"/>
                <a:gd name="connsiteY17" fmla="*/ 373856 h 389477"/>
                <a:gd name="connsiteX18" fmla="*/ 197834 w 397859"/>
                <a:gd name="connsiteY18" fmla="*/ 389382 h 389477"/>
                <a:gd name="connsiteX19" fmla="*/ 199263 w 397859"/>
                <a:gd name="connsiteY19" fmla="*/ 315278 h 389477"/>
                <a:gd name="connsiteX20" fmla="*/ 245935 w 397859"/>
                <a:gd name="connsiteY20" fmla="*/ 305753 h 389477"/>
                <a:gd name="connsiteX21" fmla="*/ 281368 w 397859"/>
                <a:gd name="connsiteY21" fmla="*/ 279940 h 389477"/>
                <a:gd name="connsiteX22" fmla="*/ 303847 w 397859"/>
                <a:gd name="connsiteY22" fmla="*/ 242125 h 389477"/>
                <a:gd name="connsiteX23" fmla="*/ 311563 w 397859"/>
                <a:gd name="connsiteY23" fmla="*/ 196501 h 389477"/>
                <a:gd name="connsiteX24" fmla="*/ 311563 w 397859"/>
                <a:gd name="connsiteY24" fmla="*/ 195072 h 389477"/>
                <a:gd name="connsiteX25" fmla="*/ 303181 w 397859"/>
                <a:gd name="connsiteY25" fmla="*/ 148400 h 389477"/>
                <a:gd name="connsiteX26" fmla="*/ 279654 w 397859"/>
                <a:gd name="connsiteY26" fmla="*/ 110204 h 389477"/>
                <a:gd name="connsiteX27" fmla="*/ 243840 w 397859"/>
                <a:gd name="connsiteY27" fmla="*/ 84392 h 389477"/>
                <a:gd name="connsiteX28" fmla="*/ 197834 w 397859"/>
                <a:gd name="connsiteY28" fmla="*/ 74867 h 389477"/>
                <a:gd name="connsiteX29" fmla="*/ 151829 w 397859"/>
                <a:gd name="connsiteY29" fmla="*/ 84392 h 389477"/>
                <a:gd name="connsiteX30" fmla="*/ 116396 w 397859"/>
                <a:gd name="connsiteY30" fmla="*/ 109823 h 389477"/>
                <a:gd name="connsiteX31" fmla="*/ 93917 w 397859"/>
                <a:gd name="connsiteY31" fmla="*/ 147638 h 389477"/>
                <a:gd name="connsiteX32" fmla="*/ 86201 w 397859"/>
                <a:gd name="connsiteY32" fmla="*/ 193548 h 389477"/>
                <a:gd name="connsiteX33" fmla="*/ 86201 w 397859"/>
                <a:gd name="connsiteY33" fmla="*/ 194977 h 389477"/>
                <a:gd name="connsiteX34" fmla="*/ 94583 w 397859"/>
                <a:gd name="connsiteY34" fmla="*/ 241268 h 389477"/>
                <a:gd name="connsiteX35" fmla="*/ 118110 w 397859"/>
                <a:gd name="connsiteY35" fmla="*/ 279463 h 389477"/>
                <a:gd name="connsiteX36" fmla="*/ 153924 w 397859"/>
                <a:gd name="connsiteY36" fmla="*/ 305562 h 389477"/>
                <a:gd name="connsiteX37" fmla="*/ 199263 w 397859"/>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859" h="389477">
                  <a:moveTo>
                    <a:pt x="197834" y="389477"/>
                  </a:moveTo>
                  <a:cubicBezTo>
                    <a:pt x="169545" y="389477"/>
                    <a:pt x="143351" y="384429"/>
                    <a:pt x="119063" y="374237"/>
                  </a:cubicBezTo>
                  <a:cubicBezTo>
                    <a:pt x="94774" y="364141"/>
                    <a:pt x="73819" y="350330"/>
                    <a:pt x="56197" y="332899"/>
                  </a:cubicBezTo>
                  <a:cubicBezTo>
                    <a:pt x="38481" y="315468"/>
                    <a:pt x="24765" y="294989"/>
                    <a:pt x="14859" y="271463"/>
                  </a:cubicBezTo>
                  <a:cubicBezTo>
                    <a:pt x="4953" y="247936"/>
                    <a:pt x="0" y="222980"/>
                    <a:pt x="0" y="196501"/>
                  </a:cubicBezTo>
                  <a:lnTo>
                    <a:pt x="0" y="195072"/>
                  </a:lnTo>
                  <a:cubicBezTo>
                    <a:pt x="0" y="168212"/>
                    <a:pt x="5048" y="143066"/>
                    <a:pt x="15145" y="119444"/>
                  </a:cubicBezTo>
                  <a:cubicBezTo>
                    <a:pt x="25241" y="95917"/>
                    <a:pt x="39148" y="75248"/>
                    <a:pt x="56864" y="57626"/>
                  </a:cubicBezTo>
                  <a:cubicBezTo>
                    <a:pt x="74581" y="39910"/>
                    <a:pt x="95536" y="25908"/>
                    <a:pt x="119729" y="15526"/>
                  </a:cubicBezTo>
                  <a:cubicBezTo>
                    <a:pt x="144018" y="5144"/>
                    <a:pt x="170497" y="0"/>
                    <a:pt x="199263" y="0"/>
                  </a:cubicBezTo>
                  <a:cubicBezTo>
                    <a:pt x="228029" y="0"/>
                    <a:pt x="254508" y="5048"/>
                    <a:pt x="278797" y="15240"/>
                  </a:cubicBezTo>
                  <a:cubicBezTo>
                    <a:pt x="303085" y="25337"/>
                    <a:pt x="324041" y="39243"/>
                    <a:pt x="341662" y="56959"/>
                  </a:cubicBezTo>
                  <a:cubicBezTo>
                    <a:pt x="359378" y="74676"/>
                    <a:pt x="373094" y="95155"/>
                    <a:pt x="383000" y="118396"/>
                  </a:cubicBezTo>
                  <a:cubicBezTo>
                    <a:pt x="392906" y="141732"/>
                    <a:pt x="397859" y="166783"/>
                    <a:pt x="397859" y="193643"/>
                  </a:cubicBezTo>
                  <a:lnTo>
                    <a:pt x="397859" y="195072"/>
                  </a:lnTo>
                  <a:cubicBezTo>
                    <a:pt x="397859" y="221456"/>
                    <a:pt x="392811" y="246412"/>
                    <a:pt x="382619" y="270034"/>
                  </a:cubicBezTo>
                  <a:cubicBezTo>
                    <a:pt x="372523" y="293561"/>
                    <a:pt x="358616" y="314230"/>
                    <a:pt x="340900" y="331851"/>
                  </a:cubicBezTo>
                  <a:cubicBezTo>
                    <a:pt x="323183" y="349472"/>
                    <a:pt x="302133" y="363569"/>
                    <a:pt x="277654" y="373856"/>
                  </a:cubicBezTo>
                  <a:cubicBezTo>
                    <a:pt x="253175" y="384238"/>
                    <a:pt x="226504" y="389382"/>
                    <a:pt x="197834" y="389382"/>
                  </a:cubicBezTo>
                  <a:close/>
                  <a:moveTo>
                    <a:pt x="199263" y="315278"/>
                  </a:moveTo>
                  <a:cubicBezTo>
                    <a:pt x="216598" y="315278"/>
                    <a:pt x="232124" y="312039"/>
                    <a:pt x="245935" y="305753"/>
                  </a:cubicBezTo>
                  <a:cubicBezTo>
                    <a:pt x="259747" y="299371"/>
                    <a:pt x="271558" y="290798"/>
                    <a:pt x="281368" y="279940"/>
                  </a:cubicBezTo>
                  <a:cubicBezTo>
                    <a:pt x="291179" y="269081"/>
                    <a:pt x="298704" y="256508"/>
                    <a:pt x="303847" y="242125"/>
                  </a:cubicBezTo>
                  <a:cubicBezTo>
                    <a:pt x="308991" y="227743"/>
                    <a:pt x="311563" y="212598"/>
                    <a:pt x="311563" y="196501"/>
                  </a:cubicBezTo>
                  <a:lnTo>
                    <a:pt x="311563" y="195072"/>
                  </a:lnTo>
                  <a:cubicBezTo>
                    <a:pt x="311563" y="178594"/>
                    <a:pt x="308800" y="163068"/>
                    <a:pt x="303181" y="148400"/>
                  </a:cubicBezTo>
                  <a:cubicBezTo>
                    <a:pt x="297561" y="133826"/>
                    <a:pt x="289750" y="121063"/>
                    <a:pt x="279654" y="110204"/>
                  </a:cubicBezTo>
                  <a:cubicBezTo>
                    <a:pt x="269558" y="99346"/>
                    <a:pt x="257651" y="90773"/>
                    <a:pt x="243840" y="84392"/>
                  </a:cubicBezTo>
                  <a:cubicBezTo>
                    <a:pt x="230029" y="78010"/>
                    <a:pt x="214693" y="74867"/>
                    <a:pt x="197834" y="74867"/>
                  </a:cubicBezTo>
                  <a:cubicBezTo>
                    <a:pt x="180975" y="74867"/>
                    <a:pt x="165640" y="78010"/>
                    <a:pt x="151829" y="84392"/>
                  </a:cubicBezTo>
                  <a:cubicBezTo>
                    <a:pt x="138017" y="90773"/>
                    <a:pt x="126206" y="99250"/>
                    <a:pt x="116396" y="109823"/>
                  </a:cubicBezTo>
                  <a:cubicBezTo>
                    <a:pt x="106585" y="120396"/>
                    <a:pt x="99060" y="133064"/>
                    <a:pt x="93917" y="147638"/>
                  </a:cubicBezTo>
                  <a:cubicBezTo>
                    <a:pt x="88773" y="162211"/>
                    <a:pt x="86201" y="177546"/>
                    <a:pt x="86201" y="193548"/>
                  </a:cubicBezTo>
                  <a:lnTo>
                    <a:pt x="86201" y="194977"/>
                  </a:lnTo>
                  <a:cubicBezTo>
                    <a:pt x="86201" y="211455"/>
                    <a:pt x="88963" y="226886"/>
                    <a:pt x="94583" y="241268"/>
                  </a:cubicBezTo>
                  <a:cubicBezTo>
                    <a:pt x="100203" y="255651"/>
                    <a:pt x="108013" y="268319"/>
                    <a:pt x="118110" y="279463"/>
                  </a:cubicBezTo>
                  <a:cubicBezTo>
                    <a:pt x="128206" y="290513"/>
                    <a:pt x="140113" y="299275"/>
                    <a:pt x="153924" y="305562"/>
                  </a:cubicBezTo>
                  <a:cubicBezTo>
                    <a:pt x="167735" y="311944"/>
                    <a:pt x="182880"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25" name="Freeform: Shape 24">
              <a:extLst>
                <a:ext uri="{FF2B5EF4-FFF2-40B4-BE49-F238E27FC236}">
                  <a16:creationId xmlns:a16="http://schemas.microsoft.com/office/drawing/2014/main" id="{25CB9FCC-BC05-EDF7-ACE0-9FA1CD9B66FC}"/>
                </a:ext>
              </a:extLst>
            </p:cNvPr>
            <p:cNvSpPr/>
            <p:nvPr/>
          </p:nvSpPr>
          <p:spPr>
            <a:xfrm>
              <a:off x="5806925"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2 w 296894"/>
                <a:gd name="connsiteY36" fmla="*/ 224980 h 386714"/>
                <a:gd name="connsiteX37" fmla="*/ 296894 w 296894"/>
                <a:gd name="connsiteY37" fmla="*/ 267938 h 386714"/>
                <a:gd name="connsiteX38" fmla="*/ 296894 w 296894"/>
                <a:gd name="connsiteY38" fmla="*/ 269367 h 386714"/>
                <a:gd name="connsiteX39" fmla="*/ 286322 w 296894"/>
                <a:gd name="connsiteY39" fmla="*/ 320897 h 386714"/>
                <a:gd name="connsiteX40" fmla="*/ 256984 w 296894"/>
                <a:gd name="connsiteY40" fmla="*/ 357188 h 386714"/>
                <a:gd name="connsiteX41" fmla="*/ 212789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8" y="298704"/>
                    <a:pt x="100013" y="306514"/>
                  </a:cubicBezTo>
                  <a:cubicBezTo>
                    <a:pt x="120967" y="314325"/>
                    <a:pt x="141161" y="318135"/>
                    <a:pt x="160401" y="318135"/>
                  </a:cubicBezTo>
                  <a:cubicBezTo>
                    <a:pt x="179642" y="318135"/>
                    <a:pt x="192976"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2" y="241078"/>
                    <a:pt x="176498" y="237553"/>
                    <a:pt x="166402" y="234220"/>
                  </a:cubicBezTo>
                  <a:cubicBezTo>
                    <a:pt x="156305" y="230886"/>
                    <a:pt x="145733" y="227647"/>
                    <a:pt x="134969" y="224314"/>
                  </a:cubicBezTo>
                  <a:cubicBezTo>
                    <a:pt x="121253" y="220599"/>
                    <a:pt x="107537" y="216122"/>
                    <a:pt x="93631" y="210884"/>
                  </a:cubicBezTo>
                  <a:cubicBezTo>
                    <a:pt x="79724" y="205740"/>
                    <a:pt x="67246" y="198977"/>
                    <a:pt x="56197" y="190786"/>
                  </a:cubicBezTo>
                  <a:cubicBezTo>
                    <a:pt x="45149" y="182594"/>
                    <a:pt x="36100" y="172307"/>
                    <a:pt x="28956" y="160115"/>
                  </a:cubicBezTo>
                  <a:cubicBezTo>
                    <a:pt x="21908"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5"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7" y="156210"/>
                    <a:pt x="180975" y="159448"/>
                  </a:cubicBezTo>
                  <a:cubicBezTo>
                    <a:pt x="194596" y="163639"/>
                    <a:pt x="208312" y="168592"/>
                    <a:pt x="222028" y="174212"/>
                  </a:cubicBezTo>
                  <a:cubicBezTo>
                    <a:pt x="235649" y="179832"/>
                    <a:pt x="248031" y="186785"/>
                    <a:pt x="259080" y="194977"/>
                  </a:cubicBezTo>
                  <a:cubicBezTo>
                    <a:pt x="270129" y="203168"/>
                    <a:pt x="279273" y="213169"/>
                    <a:pt x="286322" y="224980"/>
                  </a:cubicBezTo>
                  <a:cubicBezTo>
                    <a:pt x="293370" y="236696"/>
                    <a:pt x="296894" y="251079"/>
                    <a:pt x="296894" y="267938"/>
                  </a:cubicBezTo>
                  <a:lnTo>
                    <a:pt x="296894" y="269367"/>
                  </a:lnTo>
                  <a:cubicBezTo>
                    <a:pt x="296894" y="289084"/>
                    <a:pt x="293370" y="306229"/>
                    <a:pt x="286322" y="320897"/>
                  </a:cubicBezTo>
                  <a:cubicBezTo>
                    <a:pt x="279273" y="335470"/>
                    <a:pt x="269462" y="347567"/>
                    <a:pt x="256984" y="357188"/>
                  </a:cubicBezTo>
                  <a:cubicBezTo>
                    <a:pt x="244507" y="366808"/>
                    <a:pt x="229743" y="374142"/>
                    <a:pt x="212789"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6" name="Freeform: Shape 25">
              <a:extLst>
                <a:ext uri="{FF2B5EF4-FFF2-40B4-BE49-F238E27FC236}">
                  <a16:creationId xmlns:a16="http://schemas.microsoft.com/office/drawing/2014/main" id="{7F93653D-A5D0-0830-644A-8F8ADEEC20EA}"/>
                </a:ext>
              </a:extLst>
            </p:cNvPr>
            <p:cNvSpPr/>
            <p:nvPr/>
          </p:nvSpPr>
          <p:spPr>
            <a:xfrm>
              <a:off x="589573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6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160" y="318135"/>
                    <a:pt x="160401" y="318135"/>
                  </a:cubicBezTo>
                  <a:cubicBezTo>
                    <a:pt x="179641" y="318135"/>
                    <a:pt x="192976"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4"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792"/>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7" name="Freeform: Shape 26">
              <a:extLst>
                <a:ext uri="{FF2B5EF4-FFF2-40B4-BE49-F238E27FC236}">
                  <a16:creationId xmlns:a16="http://schemas.microsoft.com/office/drawing/2014/main" id="{25276F53-230F-832B-4699-3A2A0841C2D7}"/>
                </a:ext>
              </a:extLst>
            </p:cNvPr>
            <p:cNvSpPr/>
            <p:nvPr/>
          </p:nvSpPr>
          <p:spPr>
            <a:xfrm>
              <a:off x="5985812" y="700558"/>
              <a:ext cx="85097" cy="97141"/>
            </a:xfrm>
            <a:custGeom>
              <a:avLst/>
              <a:gdLst>
                <a:gd name="connsiteX0" fmla="*/ 253651 w 338518"/>
                <a:gd name="connsiteY0" fmla="*/ 378619 h 386429"/>
                <a:gd name="connsiteX1" fmla="*/ 253651 w 338518"/>
                <a:gd name="connsiteY1" fmla="*/ 332708 h 386429"/>
                <a:gd name="connsiteX2" fmla="*/ 204883 w 338518"/>
                <a:gd name="connsiteY2" fmla="*/ 370904 h 386429"/>
                <a:gd name="connsiteX3" fmla="*/ 132779 w 338518"/>
                <a:gd name="connsiteY3" fmla="*/ 386429 h 386429"/>
                <a:gd name="connsiteX4" fmla="*/ 81915 w 338518"/>
                <a:gd name="connsiteY4" fmla="*/ 379000 h 386429"/>
                <a:gd name="connsiteX5" fmla="*/ 39910 w 338518"/>
                <a:gd name="connsiteY5" fmla="*/ 357092 h 386429"/>
                <a:gd name="connsiteX6" fmla="*/ 10954 w 338518"/>
                <a:gd name="connsiteY6" fmla="*/ 321088 h 386429"/>
                <a:gd name="connsiteX7" fmla="*/ 0 w 338518"/>
                <a:gd name="connsiteY7" fmla="*/ 271272 h 386429"/>
                <a:gd name="connsiteX8" fmla="*/ 0 w 338518"/>
                <a:gd name="connsiteY8" fmla="*/ 269843 h 386429"/>
                <a:gd name="connsiteX9" fmla="*/ 11335 w 338518"/>
                <a:gd name="connsiteY9" fmla="*/ 215741 h 386429"/>
                <a:gd name="connsiteX10" fmla="*/ 42767 w 338518"/>
                <a:gd name="connsiteY10" fmla="*/ 177546 h 386429"/>
                <a:gd name="connsiteX11" fmla="*/ 90773 w 338518"/>
                <a:gd name="connsiteY11" fmla="*/ 154972 h 386429"/>
                <a:gd name="connsiteX12" fmla="*/ 151162 w 338518"/>
                <a:gd name="connsiteY12" fmla="*/ 147542 h 386429"/>
                <a:gd name="connsiteX13" fmla="*/ 208788 w 338518"/>
                <a:gd name="connsiteY13" fmla="*/ 151829 h 386429"/>
                <a:gd name="connsiteX14" fmla="*/ 254413 w 338518"/>
                <a:gd name="connsiteY14" fmla="*/ 163163 h 386429"/>
                <a:gd name="connsiteX15" fmla="*/ 254413 w 338518"/>
                <a:gd name="connsiteY15" fmla="*/ 156115 h 386429"/>
                <a:gd name="connsiteX16" fmla="*/ 230696 w 338518"/>
                <a:gd name="connsiteY16" fmla="*/ 96774 h 386429"/>
                <a:gd name="connsiteX17" fmla="*/ 162496 w 338518"/>
                <a:gd name="connsiteY17" fmla="*/ 76295 h 386429"/>
                <a:gd name="connsiteX18" fmla="*/ 106013 w 338518"/>
                <a:gd name="connsiteY18" fmla="*/ 82677 h 386429"/>
                <a:gd name="connsiteX19" fmla="*/ 55816 w 338518"/>
                <a:gd name="connsiteY19" fmla="*/ 99632 h 386429"/>
                <a:gd name="connsiteX20" fmla="*/ 32480 w 338518"/>
                <a:gd name="connsiteY20" fmla="*/ 31052 h 386429"/>
                <a:gd name="connsiteX21" fmla="*/ 96107 w 338518"/>
                <a:gd name="connsiteY21" fmla="*/ 8477 h 386429"/>
                <a:gd name="connsiteX22" fmla="*/ 174593 w 338518"/>
                <a:gd name="connsiteY22" fmla="*/ 0 h 386429"/>
                <a:gd name="connsiteX23" fmla="*/ 298228 w 338518"/>
                <a:gd name="connsiteY23" fmla="*/ 41338 h 386429"/>
                <a:gd name="connsiteX24" fmla="*/ 338519 w 338518"/>
                <a:gd name="connsiteY24" fmla="*/ 157544 h 386429"/>
                <a:gd name="connsiteX25" fmla="*/ 338519 w 338518"/>
                <a:gd name="connsiteY25" fmla="*/ 378714 h 386429"/>
                <a:gd name="connsiteX26" fmla="*/ 253746 w 338518"/>
                <a:gd name="connsiteY26" fmla="*/ 378714 h 386429"/>
                <a:gd name="connsiteX27" fmla="*/ 255746 w 338518"/>
                <a:gd name="connsiteY27" fmla="*/ 222409 h 386429"/>
                <a:gd name="connsiteX28" fmla="*/ 217265 w 338518"/>
                <a:gd name="connsiteY28" fmla="*/ 211836 h 386429"/>
                <a:gd name="connsiteX29" fmla="*/ 170307 w 338518"/>
                <a:gd name="connsiteY29" fmla="*/ 207550 h 386429"/>
                <a:gd name="connsiteX30" fmla="*/ 107442 w 338518"/>
                <a:gd name="connsiteY30" fmla="*/ 223075 h 386429"/>
                <a:gd name="connsiteX31" fmla="*/ 84868 w 338518"/>
                <a:gd name="connsiteY31" fmla="*/ 265462 h 386429"/>
                <a:gd name="connsiteX32" fmla="*/ 84868 w 338518"/>
                <a:gd name="connsiteY32" fmla="*/ 266891 h 386429"/>
                <a:gd name="connsiteX33" fmla="*/ 105728 w 338518"/>
                <a:gd name="connsiteY33" fmla="*/ 307848 h 386429"/>
                <a:gd name="connsiteX34" fmla="*/ 156972 w 338518"/>
                <a:gd name="connsiteY34" fmla="*/ 321945 h 386429"/>
                <a:gd name="connsiteX35" fmla="*/ 196215 w 338518"/>
                <a:gd name="connsiteY35" fmla="*/ 316325 h 386429"/>
                <a:gd name="connsiteX36" fmla="*/ 227647 w 338518"/>
                <a:gd name="connsiteY36" fmla="*/ 300419 h 386429"/>
                <a:gd name="connsiteX37" fmla="*/ 248507 w 338518"/>
                <a:gd name="connsiteY37" fmla="*/ 275654 h 386429"/>
                <a:gd name="connsiteX38" fmla="*/ 255937 w 338518"/>
                <a:gd name="connsiteY38" fmla="*/ 243459 h 386429"/>
                <a:gd name="connsiteX39" fmla="*/ 255937 w 338518"/>
                <a:gd name="connsiteY39" fmla="*/ 222218 h 3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8518" h="386429">
                  <a:moveTo>
                    <a:pt x="253651" y="378619"/>
                  </a:moveTo>
                  <a:lnTo>
                    <a:pt x="253651" y="332708"/>
                  </a:lnTo>
                  <a:cubicBezTo>
                    <a:pt x="240887" y="347758"/>
                    <a:pt x="224695" y="360521"/>
                    <a:pt x="204883" y="370904"/>
                  </a:cubicBezTo>
                  <a:cubicBezTo>
                    <a:pt x="185071" y="381286"/>
                    <a:pt x="161068" y="386429"/>
                    <a:pt x="132779" y="386429"/>
                  </a:cubicBezTo>
                  <a:cubicBezTo>
                    <a:pt x="114871" y="386429"/>
                    <a:pt x="97917" y="383953"/>
                    <a:pt x="81915" y="379000"/>
                  </a:cubicBezTo>
                  <a:cubicBezTo>
                    <a:pt x="65913" y="374047"/>
                    <a:pt x="51911" y="366713"/>
                    <a:pt x="39910" y="357092"/>
                  </a:cubicBezTo>
                  <a:cubicBezTo>
                    <a:pt x="27908" y="347472"/>
                    <a:pt x="18193" y="335471"/>
                    <a:pt x="10954" y="321088"/>
                  </a:cubicBezTo>
                  <a:cubicBezTo>
                    <a:pt x="3620" y="306705"/>
                    <a:pt x="0" y="290132"/>
                    <a:pt x="0" y="271272"/>
                  </a:cubicBezTo>
                  <a:lnTo>
                    <a:pt x="0" y="269843"/>
                  </a:lnTo>
                  <a:cubicBezTo>
                    <a:pt x="0" y="249079"/>
                    <a:pt x="3810" y="231077"/>
                    <a:pt x="11335" y="215741"/>
                  </a:cubicBezTo>
                  <a:cubicBezTo>
                    <a:pt x="18859" y="200406"/>
                    <a:pt x="29337" y="187738"/>
                    <a:pt x="42767" y="177546"/>
                  </a:cubicBezTo>
                  <a:cubicBezTo>
                    <a:pt x="56197" y="167450"/>
                    <a:pt x="72199" y="159925"/>
                    <a:pt x="90773" y="154972"/>
                  </a:cubicBezTo>
                  <a:cubicBezTo>
                    <a:pt x="109347" y="150019"/>
                    <a:pt x="129540" y="147542"/>
                    <a:pt x="151162" y="147542"/>
                  </a:cubicBezTo>
                  <a:cubicBezTo>
                    <a:pt x="172783" y="147542"/>
                    <a:pt x="192976" y="148971"/>
                    <a:pt x="208788" y="151829"/>
                  </a:cubicBezTo>
                  <a:cubicBezTo>
                    <a:pt x="224599" y="154686"/>
                    <a:pt x="239744" y="158401"/>
                    <a:pt x="254413" y="163163"/>
                  </a:cubicBezTo>
                  <a:lnTo>
                    <a:pt x="254413" y="156115"/>
                  </a:lnTo>
                  <a:cubicBezTo>
                    <a:pt x="254413" y="130207"/>
                    <a:pt x="246507" y="110395"/>
                    <a:pt x="230696" y="96774"/>
                  </a:cubicBezTo>
                  <a:cubicBezTo>
                    <a:pt x="214884" y="83153"/>
                    <a:pt x="192214" y="76295"/>
                    <a:pt x="162496" y="76295"/>
                  </a:cubicBezTo>
                  <a:cubicBezTo>
                    <a:pt x="141351" y="76295"/>
                    <a:pt x="122491" y="78391"/>
                    <a:pt x="106013" y="82677"/>
                  </a:cubicBezTo>
                  <a:cubicBezTo>
                    <a:pt x="89535" y="86963"/>
                    <a:pt x="72771" y="92583"/>
                    <a:pt x="55816" y="99632"/>
                  </a:cubicBezTo>
                  <a:lnTo>
                    <a:pt x="32480" y="31052"/>
                  </a:lnTo>
                  <a:cubicBezTo>
                    <a:pt x="53149" y="21622"/>
                    <a:pt x="74390" y="14097"/>
                    <a:pt x="96107" y="8477"/>
                  </a:cubicBezTo>
                  <a:cubicBezTo>
                    <a:pt x="117729" y="2858"/>
                    <a:pt x="143923" y="0"/>
                    <a:pt x="174593" y="0"/>
                  </a:cubicBezTo>
                  <a:cubicBezTo>
                    <a:pt x="230124" y="0"/>
                    <a:pt x="271367" y="13811"/>
                    <a:pt x="298228" y="41338"/>
                  </a:cubicBezTo>
                  <a:cubicBezTo>
                    <a:pt x="325088" y="68866"/>
                    <a:pt x="338519" y="107633"/>
                    <a:pt x="338519" y="157544"/>
                  </a:cubicBezTo>
                  <a:lnTo>
                    <a:pt x="338519" y="378714"/>
                  </a:lnTo>
                  <a:lnTo>
                    <a:pt x="253746" y="378714"/>
                  </a:lnTo>
                  <a:close/>
                  <a:moveTo>
                    <a:pt x="255746" y="222409"/>
                  </a:moveTo>
                  <a:cubicBezTo>
                    <a:pt x="244888" y="218123"/>
                    <a:pt x="232029" y="214598"/>
                    <a:pt x="217265" y="211836"/>
                  </a:cubicBezTo>
                  <a:cubicBezTo>
                    <a:pt x="202406" y="208979"/>
                    <a:pt x="186785" y="207550"/>
                    <a:pt x="170307" y="207550"/>
                  </a:cubicBezTo>
                  <a:cubicBezTo>
                    <a:pt x="143446" y="207550"/>
                    <a:pt x="122491" y="212693"/>
                    <a:pt x="107442" y="223075"/>
                  </a:cubicBezTo>
                  <a:cubicBezTo>
                    <a:pt x="92392" y="233458"/>
                    <a:pt x="84868" y="247555"/>
                    <a:pt x="84868" y="265462"/>
                  </a:cubicBezTo>
                  <a:lnTo>
                    <a:pt x="84868" y="266891"/>
                  </a:lnTo>
                  <a:cubicBezTo>
                    <a:pt x="84868" y="284798"/>
                    <a:pt x="91821" y="298418"/>
                    <a:pt x="105728" y="307848"/>
                  </a:cubicBezTo>
                  <a:cubicBezTo>
                    <a:pt x="119634" y="317278"/>
                    <a:pt x="136684" y="321945"/>
                    <a:pt x="156972" y="321945"/>
                  </a:cubicBezTo>
                  <a:cubicBezTo>
                    <a:pt x="171069" y="321945"/>
                    <a:pt x="184213" y="320040"/>
                    <a:pt x="196215" y="316325"/>
                  </a:cubicBezTo>
                  <a:cubicBezTo>
                    <a:pt x="208216" y="312515"/>
                    <a:pt x="218694" y="307277"/>
                    <a:pt x="227647" y="300419"/>
                  </a:cubicBezTo>
                  <a:cubicBezTo>
                    <a:pt x="236601" y="293561"/>
                    <a:pt x="243554" y="285369"/>
                    <a:pt x="248507" y="275654"/>
                  </a:cubicBezTo>
                  <a:cubicBezTo>
                    <a:pt x="253460" y="266033"/>
                    <a:pt x="255937" y="255270"/>
                    <a:pt x="255937" y="243459"/>
                  </a:cubicBezTo>
                  <a:lnTo>
                    <a:pt x="255937" y="222218"/>
                  </a:lnTo>
                  <a:close/>
                </a:path>
              </a:pathLst>
            </a:custGeom>
            <a:solidFill>
              <a:srgbClr val="44505E"/>
            </a:solidFill>
            <a:ln w="9525" cap="flat">
              <a:noFill/>
              <a:prstDash val="solid"/>
              <a:miter/>
            </a:ln>
          </p:spPr>
          <p:txBody>
            <a:bodyPr rtlCol="0" anchor="ctr"/>
            <a:lstStyle/>
            <a:p>
              <a:endParaRPr lang="pt-BR" noProof="0"/>
            </a:p>
          </p:txBody>
        </p:sp>
        <p:sp>
          <p:nvSpPr>
            <p:cNvPr id="28" name="Freeform: Shape 27">
              <a:extLst>
                <a:ext uri="{FF2B5EF4-FFF2-40B4-BE49-F238E27FC236}">
                  <a16:creationId xmlns:a16="http://schemas.microsoft.com/office/drawing/2014/main" id="{F771D839-B80C-43DE-7819-78CE3B703292}"/>
                </a:ext>
              </a:extLst>
            </p:cNvPr>
            <p:cNvSpPr/>
            <p:nvPr/>
          </p:nvSpPr>
          <p:spPr>
            <a:xfrm>
              <a:off x="6088843" y="700318"/>
              <a:ext cx="74610" cy="97213"/>
            </a:xfrm>
            <a:custGeom>
              <a:avLst/>
              <a:gdLst>
                <a:gd name="connsiteX0" fmla="*/ 158305 w 296799"/>
                <a:gd name="connsiteY0" fmla="*/ 386715 h 386714"/>
                <a:gd name="connsiteX1" fmla="*/ 76676 w 296799"/>
                <a:gd name="connsiteY1" fmla="*/ 372427 h 386714"/>
                <a:gd name="connsiteX2" fmla="*/ 0 w 296799"/>
                <a:gd name="connsiteY2" fmla="*/ 330327 h 386714"/>
                <a:gd name="connsiteX3" fmla="*/ 38195 w 296799"/>
                <a:gd name="connsiteY3" fmla="*/ 272224 h 386714"/>
                <a:gd name="connsiteX4" fmla="*/ 100013 w 296799"/>
                <a:gd name="connsiteY4" fmla="*/ 306514 h 386714"/>
                <a:gd name="connsiteX5" fmla="*/ 160401 w 296799"/>
                <a:gd name="connsiteY5" fmla="*/ 318135 h 386714"/>
                <a:gd name="connsiteX6" fmla="*/ 203168 w 296799"/>
                <a:gd name="connsiteY6" fmla="*/ 307181 h 386714"/>
                <a:gd name="connsiteX7" fmla="*/ 218408 w 296799"/>
                <a:gd name="connsiteY7" fmla="*/ 277939 h 386714"/>
                <a:gd name="connsiteX8" fmla="*/ 218408 w 296799"/>
                <a:gd name="connsiteY8" fmla="*/ 276511 h 386714"/>
                <a:gd name="connsiteX9" fmla="*/ 211646 w 296799"/>
                <a:gd name="connsiteY9" fmla="*/ 258223 h 386714"/>
                <a:gd name="connsiteX10" fmla="*/ 193262 w 296799"/>
                <a:gd name="connsiteY10" fmla="*/ 244792 h 386714"/>
                <a:gd name="connsiteX11" fmla="*/ 166402 w 296799"/>
                <a:gd name="connsiteY11" fmla="*/ 234220 h 386714"/>
                <a:gd name="connsiteX12" fmla="*/ 134969 w 296799"/>
                <a:gd name="connsiteY12" fmla="*/ 224314 h 386714"/>
                <a:gd name="connsiteX13" fmla="*/ 93631 w 296799"/>
                <a:gd name="connsiteY13" fmla="*/ 210884 h 386714"/>
                <a:gd name="connsiteX14" fmla="*/ 56197 w 296799"/>
                <a:gd name="connsiteY14" fmla="*/ 190786 h 386714"/>
                <a:gd name="connsiteX15" fmla="*/ 28956 w 296799"/>
                <a:gd name="connsiteY15" fmla="*/ 160115 h 386714"/>
                <a:gd name="connsiteX16" fmla="*/ 18383 w 296799"/>
                <a:gd name="connsiteY16" fmla="*/ 114967 h 386714"/>
                <a:gd name="connsiteX17" fmla="*/ 18383 w 296799"/>
                <a:gd name="connsiteY17" fmla="*/ 113538 h 386714"/>
                <a:gd name="connsiteX18" fmla="*/ 28575 w 296799"/>
                <a:gd name="connsiteY18" fmla="*/ 66294 h 386714"/>
                <a:gd name="connsiteX19" fmla="*/ 56864 w 296799"/>
                <a:gd name="connsiteY19" fmla="*/ 30385 h 386714"/>
                <a:gd name="connsiteX20" fmla="*/ 99250 w 296799"/>
                <a:gd name="connsiteY20" fmla="*/ 7810 h 386714"/>
                <a:gd name="connsiteX21" fmla="*/ 151162 w 296799"/>
                <a:gd name="connsiteY21" fmla="*/ 0 h 386714"/>
                <a:gd name="connsiteX22" fmla="*/ 222504 w 296799"/>
                <a:gd name="connsiteY22" fmla="*/ 11430 h 386714"/>
                <a:gd name="connsiteX23" fmla="*/ 288227 w 296799"/>
                <a:gd name="connsiteY23" fmla="*/ 42863 h 386714"/>
                <a:gd name="connsiteX24" fmla="*/ 254317 w 296799"/>
                <a:gd name="connsiteY24" fmla="*/ 103918 h 386714"/>
                <a:gd name="connsiteX25" fmla="*/ 199930 w 296799"/>
                <a:gd name="connsiteY25" fmla="*/ 78105 h 386714"/>
                <a:gd name="connsiteX26" fmla="*/ 149066 w 296799"/>
                <a:gd name="connsiteY26" fmla="*/ 68580 h 386714"/>
                <a:gd name="connsiteX27" fmla="*/ 110585 w 296799"/>
                <a:gd name="connsiteY27" fmla="*/ 79153 h 386714"/>
                <a:gd name="connsiteX28" fmla="*/ 96774 w 296799"/>
                <a:gd name="connsiteY28" fmla="*/ 105918 h 386714"/>
                <a:gd name="connsiteX29" fmla="*/ 96774 w 296799"/>
                <a:gd name="connsiteY29" fmla="*/ 107347 h 386714"/>
                <a:gd name="connsiteX30" fmla="*/ 103822 w 296799"/>
                <a:gd name="connsiteY30" fmla="*/ 124587 h 386714"/>
                <a:gd name="connsiteX31" fmla="*/ 122587 w 296799"/>
                <a:gd name="connsiteY31" fmla="*/ 138017 h 386714"/>
                <a:gd name="connsiteX32" fmla="*/ 149447 w 296799"/>
                <a:gd name="connsiteY32" fmla="*/ 149257 h 386714"/>
                <a:gd name="connsiteX33" fmla="*/ 180880 w 296799"/>
                <a:gd name="connsiteY33" fmla="*/ 159448 h 386714"/>
                <a:gd name="connsiteX34" fmla="*/ 221837 w 296799"/>
                <a:gd name="connsiteY34" fmla="*/ 174212 h 386714"/>
                <a:gd name="connsiteX35" fmla="*/ 258985 w 296799"/>
                <a:gd name="connsiteY35" fmla="*/ 194977 h 386714"/>
                <a:gd name="connsiteX36" fmla="*/ 286226 w 296799"/>
                <a:gd name="connsiteY36" fmla="*/ 224980 h 386714"/>
                <a:gd name="connsiteX37" fmla="*/ 296799 w 296799"/>
                <a:gd name="connsiteY37" fmla="*/ 267938 h 386714"/>
                <a:gd name="connsiteX38" fmla="*/ 296799 w 296799"/>
                <a:gd name="connsiteY38" fmla="*/ 269367 h 386714"/>
                <a:gd name="connsiteX39" fmla="*/ 286226 w 296799"/>
                <a:gd name="connsiteY39" fmla="*/ 320897 h 386714"/>
                <a:gd name="connsiteX40" fmla="*/ 256889 w 296799"/>
                <a:gd name="connsiteY40" fmla="*/ 357188 h 386714"/>
                <a:gd name="connsiteX41" fmla="*/ 212693 w 296799"/>
                <a:gd name="connsiteY41" fmla="*/ 379095 h 386714"/>
                <a:gd name="connsiteX42" fmla="*/ 158305 w 296799"/>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799"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065" y="318135"/>
                    <a:pt x="160401" y="318135"/>
                  </a:cubicBezTo>
                  <a:cubicBezTo>
                    <a:pt x="179737" y="318135"/>
                    <a:pt x="193072"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828" y="227647"/>
                    <a:pt x="134969" y="224314"/>
                  </a:cubicBezTo>
                  <a:cubicBezTo>
                    <a:pt x="121348" y="220599"/>
                    <a:pt x="107537" y="216122"/>
                    <a:pt x="93631" y="210884"/>
                  </a:cubicBezTo>
                  <a:cubicBezTo>
                    <a:pt x="79724" y="205740"/>
                    <a:pt x="67246" y="198977"/>
                    <a:pt x="56197" y="190786"/>
                  </a:cubicBezTo>
                  <a:cubicBezTo>
                    <a:pt x="45148" y="182594"/>
                    <a:pt x="36004"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874" y="0"/>
                    <a:pt x="151162" y="0"/>
                  </a:cubicBezTo>
                  <a:cubicBezTo>
                    <a:pt x="174688" y="0"/>
                    <a:pt x="198501" y="3810"/>
                    <a:pt x="222504" y="11430"/>
                  </a:cubicBezTo>
                  <a:cubicBezTo>
                    <a:pt x="246507" y="19050"/>
                    <a:pt x="268414" y="29527"/>
                    <a:pt x="288227" y="42863"/>
                  </a:cubicBezTo>
                  <a:lnTo>
                    <a:pt x="254317"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774" y="95155"/>
                    <a:pt x="96774" y="105918"/>
                  </a:cubicBezTo>
                  <a:lnTo>
                    <a:pt x="96774" y="107347"/>
                  </a:lnTo>
                  <a:cubicBezTo>
                    <a:pt x="96774" y="113919"/>
                    <a:pt x="99155" y="119634"/>
                    <a:pt x="103822" y="124587"/>
                  </a:cubicBezTo>
                  <a:cubicBezTo>
                    <a:pt x="108490" y="129540"/>
                    <a:pt x="114776" y="134017"/>
                    <a:pt x="122587" y="138017"/>
                  </a:cubicBezTo>
                  <a:cubicBezTo>
                    <a:pt x="130397" y="142018"/>
                    <a:pt x="139351" y="145732"/>
                    <a:pt x="149447" y="149257"/>
                  </a:cubicBezTo>
                  <a:cubicBezTo>
                    <a:pt x="159544" y="152781"/>
                    <a:pt x="170021" y="156210"/>
                    <a:pt x="180880" y="159448"/>
                  </a:cubicBezTo>
                  <a:cubicBezTo>
                    <a:pt x="194500" y="163639"/>
                    <a:pt x="208216" y="168592"/>
                    <a:pt x="221837" y="174212"/>
                  </a:cubicBezTo>
                  <a:cubicBezTo>
                    <a:pt x="235458" y="179832"/>
                    <a:pt x="247840" y="186785"/>
                    <a:pt x="258985" y="194977"/>
                  </a:cubicBezTo>
                  <a:cubicBezTo>
                    <a:pt x="270034" y="203168"/>
                    <a:pt x="279178" y="213169"/>
                    <a:pt x="286226" y="224980"/>
                  </a:cubicBezTo>
                  <a:cubicBezTo>
                    <a:pt x="293275" y="236696"/>
                    <a:pt x="296799" y="251079"/>
                    <a:pt x="296799" y="267938"/>
                  </a:cubicBezTo>
                  <a:lnTo>
                    <a:pt x="296799" y="269367"/>
                  </a:lnTo>
                  <a:cubicBezTo>
                    <a:pt x="296799" y="289084"/>
                    <a:pt x="293275" y="306229"/>
                    <a:pt x="286226" y="320897"/>
                  </a:cubicBezTo>
                  <a:cubicBezTo>
                    <a:pt x="279178" y="335470"/>
                    <a:pt x="269367" y="347567"/>
                    <a:pt x="256889" y="357188"/>
                  </a:cubicBezTo>
                  <a:cubicBezTo>
                    <a:pt x="244412" y="366808"/>
                    <a:pt x="229648" y="374142"/>
                    <a:pt x="212693" y="379095"/>
                  </a:cubicBezTo>
                  <a:cubicBezTo>
                    <a:pt x="195739" y="384048"/>
                    <a:pt x="177641" y="386524"/>
                    <a:pt x="158305" y="386524"/>
                  </a:cubicBezTo>
                  <a:close/>
                </a:path>
              </a:pathLst>
            </a:custGeom>
            <a:solidFill>
              <a:srgbClr val="44505E"/>
            </a:solidFill>
            <a:ln w="9525" cap="flat">
              <a:noFill/>
              <a:prstDash val="solid"/>
              <a:miter/>
            </a:ln>
          </p:spPr>
          <p:txBody>
            <a:bodyPr rtlCol="0" anchor="ctr"/>
            <a:lstStyle/>
            <a:p>
              <a:endParaRPr lang="pt-BR" noProof="0"/>
            </a:p>
          </p:txBody>
        </p:sp>
        <p:sp>
          <p:nvSpPr>
            <p:cNvPr id="29" name="Freeform: Shape 28">
              <a:extLst>
                <a:ext uri="{FF2B5EF4-FFF2-40B4-BE49-F238E27FC236}">
                  <a16:creationId xmlns:a16="http://schemas.microsoft.com/office/drawing/2014/main" id="{2BF32691-986D-3B7E-6AB9-E49CFBF6B116}"/>
                </a:ext>
              </a:extLst>
            </p:cNvPr>
            <p:cNvSpPr/>
            <p:nvPr/>
          </p:nvSpPr>
          <p:spPr>
            <a:xfrm>
              <a:off x="6238590"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4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7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2 w 568166"/>
                <a:gd name="connsiteY21" fmla="*/ 381000 h 381000"/>
                <a:gd name="connsiteX22" fmla="*/ 240982 w 568166"/>
                <a:gd name="connsiteY22" fmla="*/ 168783 h 381000"/>
                <a:gd name="connsiteX23" fmla="*/ 221266 w 568166"/>
                <a:gd name="connsiteY23" fmla="*/ 101822 h 381000"/>
                <a:gd name="connsiteX24" fmla="*/ 165640 w 568166"/>
                <a:gd name="connsiteY24" fmla="*/ 78581 h 381000"/>
                <a:gd name="connsiteX25" fmla="*/ 108013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69" y="48196"/>
                    <a:pt x="105918" y="40576"/>
                  </a:cubicBezTo>
                  <a:cubicBezTo>
                    <a:pt x="112966" y="32956"/>
                    <a:pt x="121063" y="26099"/>
                    <a:pt x="130207" y="19907"/>
                  </a:cubicBezTo>
                  <a:cubicBezTo>
                    <a:pt x="139351" y="13716"/>
                    <a:pt x="149638" y="8858"/>
                    <a:pt x="161163" y="5334"/>
                  </a:cubicBezTo>
                  <a:cubicBezTo>
                    <a:pt x="172688" y="1714"/>
                    <a:pt x="185452" y="0"/>
                    <a:pt x="199549" y="0"/>
                  </a:cubicBezTo>
                  <a:cubicBezTo>
                    <a:pt x="226314" y="0"/>
                    <a:pt x="248983" y="6096"/>
                    <a:pt x="267557" y="18193"/>
                  </a:cubicBezTo>
                  <a:cubicBezTo>
                    <a:pt x="286131" y="30289"/>
                    <a:pt x="300323" y="46387"/>
                    <a:pt x="310134" y="66294"/>
                  </a:cubicBezTo>
                  <a:cubicBezTo>
                    <a:pt x="325279" y="46387"/>
                    <a:pt x="343090" y="30289"/>
                    <a:pt x="363664" y="18193"/>
                  </a:cubicBezTo>
                  <a:cubicBezTo>
                    <a:pt x="384238" y="6096"/>
                    <a:pt x="408718" y="0"/>
                    <a:pt x="437007" y="0"/>
                  </a:cubicBezTo>
                  <a:cubicBezTo>
                    <a:pt x="478155"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7" y="78486"/>
                  </a:cubicBezTo>
                  <a:cubicBezTo>
                    <a:pt x="382809" y="78486"/>
                    <a:pt x="364141" y="86392"/>
                    <a:pt x="349377" y="102108"/>
                  </a:cubicBezTo>
                  <a:cubicBezTo>
                    <a:pt x="334613" y="117824"/>
                    <a:pt x="327184" y="140779"/>
                    <a:pt x="327184" y="170879"/>
                  </a:cubicBezTo>
                  <a:lnTo>
                    <a:pt x="327184" y="381000"/>
                  </a:lnTo>
                  <a:lnTo>
                    <a:pt x="240982" y="381000"/>
                  </a:lnTo>
                  <a:lnTo>
                    <a:pt x="240982" y="168783"/>
                  </a:lnTo>
                  <a:cubicBezTo>
                    <a:pt x="240982" y="139637"/>
                    <a:pt x="234410" y="117348"/>
                    <a:pt x="221266" y="101822"/>
                  </a:cubicBezTo>
                  <a:cubicBezTo>
                    <a:pt x="208121" y="86296"/>
                    <a:pt x="189547" y="78581"/>
                    <a:pt x="165640" y="78581"/>
                  </a:cubicBezTo>
                  <a:cubicBezTo>
                    <a:pt x="141732" y="78581"/>
                    <a:pt x="122491" y="86773"/>
                    <a:pt x="108013"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30" name="Freeform: Shape 29">
              <a:extLst>
                <a:ext uri="{FF2B5EF4-FFF2-40B4-BE49-F238E27FC236}">
                  <a16:creationId xmlns:a16="http://schemas.microsoft.com/office/drawing/2014/main" id="{C1B6171F-75B0-811A-5BC6-59BE945BCEB2}"/>
                </a:ext>
              </a:extLst>
            </p:cNvPr>
            <p:cNvSpPr/>
            <p:nvPr/>
          </p:nvSpPr>
          <p:spPr>
            <a:xfrm>
              <a:off x="6400979" y="664258"/>
              <a:ext cx="85097" cy="133441"/>
            </a:xfrm>
            <a:custGeom>
              <a:avLst/>
              <a:gdLst>
                <a:gd name="connsiteX0" fmla="*/ 253651 w 338518"/>
                <a:gd name="connsiteY0" fmla="*/ 523018 h 530828"/>
                <a:gd name="connsiteX1" fmla="*/ 253651 w 338518"/>
                <a:gd name="connsiteY1" fmla="*/ 477107 h 530828"/>
                <a:gd name="connsiteX2" fmla="*/ 204883 w 338518"/>
                <a:gd name="connsiteY2" fmla="*/ 515303 h 530828"/>
                <a:gd name="connsiteX3" fmla="*/ 132779 w 338518"/>
                <a:gd name="connsiteY3" fmla="*/ 530828 h 530828"/>
                <a:gd name="connsiteX4" fmla="*/ 81915 w 338518"/>
                <a:gd name="connsiteY4" fmla="*/ 523399 h 530828"/>
                <a:gd name="connsiteX5" fmla="*/ 39910 w 338518"/>
                <a:gd name="connsiteY5" fmla="*/ 501491 h 530828"/>
                <a:gd name="connsiteX6" fmla="*/ 10954 w 338518"/>
                <a:gd name="connsiteY6" fmla="*/ 465487 h 530828"/>
                <a:gd name="connsiteX7" fmla="*/ 0 w 338518"/>
                <a:gd name="connsiteY7" fmla="*/ 415671 h 530828"/>
                <a:gd name="connsiteX8" fmla="*/ 0 w 338518"/>
                <a:gd name="connsiteY8" fmla="*/ 414242 h 530828"/>
                <a:gd name="connsiteX9" fmla="*/ 11335 w 338518"/>
                <a:gd name="connsiteY9" fmla="*/ 360140 h 530828"/>
                <a:gd name="connsiteX10" fmla="*/ 42767 w 338518"/>
                <a:gd name="connsiteY10" fmla="*/ 321945 h 530828"/>
                <a:gd name="connsiteX11" fmla="*/ 90773 w 338518"/>
                <a:gd name="connsiteY11" fmla="*/ 299371 h 530828"/>
                <a:gd name="connsiteX12" fmla="*/ 151162 w 338518"/>
                <a:gd name="connsiteY12" fmla="*/ 291941 h 530828"/>
                <a:gd name="connsiteX13" fmla="*/ 208788 w 338518"/>
                <a:gd name="connsiteY13" fmla="*/ 296228 h 530828"/>
                <a:gd name="connsiteX14" fmla="*/ 254413 w 338518"/>
                <a:gd name="connsiteY14" fmla="*/ 307562 h 530828"/>
                <a:gd name="connsiteX15" fmla="*/ 254413 w 338518"/>
                <a:gd name="connsiteY15" fmla="*/ 300514 h 530828"/>
                <a:gd name="connsiteX16" fmla="*/ 230696 w 338518"/>
                <a:gd name="connsiteY16" fmla="*/ 241173 h 530828"/>
                <a:gd name="connsiteX17" fmla="*/ 162496 w 338518"/>
                <a:gd name="connsiteY17" fmla="*/ 220694 h 530828"/>
                <a:gd name="connsiteX18" fmla="*/ 106013 w 338518"/>
                <a:gd name="connsiteY18" fmla="*/ 227076 h 530828"/>
                <a:gd name="connsiteX19" fmla="*/ 55817 w 338518"/>
                <a:gd name="connsiteY19" fmla="*/ 244031 h 530828"/>
                <a:gd name="connsiteX20" fmla="*/ 32480 w 338518"/>
                <a:gd name="connsiteY20" fmla="*/ 175451 h 530828"/>
                <a:gd name="connsiteX21" fmla="*/ 96107 w 338518"/>
                <a:gd name="connsiteY21" fmla="*/ 152876 h 530828"/>
                <a:gd name="connsiteX22" fmla="*/ 174593 w 338518"/>
                <a:gd name="connsiteY22" fmla="*/ 144399 h 530828"/>
                <a:gd name="connsiteX23" fmla="*/ 298228 w 338518"/>
                <a:gd name="connsiteY23" fmla="*/ 185738 h 530828"/>
                <a:gd name="connsiteX24" fmla="*/ 338519 w 338518"/>
                <a:gd name="connsiteY24" fmla="*/ 301943 h 530828"/>
                <a:gd name="connsiteX25" fmla="*/ 338519 w 338518"/>
                <a:gd name="connsiteY25" fmla="*/ 523113 h 530828"/>
                <a:gd name="connsiteX26" fmla="*/ 253746 w 338518"/>
                <a:gd name="connsiteY26" fmla="*/ 523113 h 530828"/>
                <a:gd name="connsiteX27" fmla="*/ 45911 w 338518"/>
                <a:gd name="connsiteY27" fmla="*/ 95441 h 530828"/>
                <a:gd name="connsiteX28" fmla="*/ 75248 w 338518"/>
                <a:gd name="connsiteY28" fmla="*/ 29718 h 530828"/>
                <a:gd name="connsiteX29" fmla="*/ 125063 w 338518"/>
                <a:gd name="connsiteY29" fmla="*/ 7144 h 530828"/>
                <a:gd name="connsiteX30" fmla="*/ 154019 w 338518"/>
                <a:gd name="connsiteY30" fmla="*/ 11716 h 530828"/>
                <a:gd name="connsiteX31" fmla="*/ 181261 w 338518"/>
                <a:gd name="connsiteY31" fmla="*/ 21622 h 530828"/>
                <a:gd name="connsiteX32" fmla="*/ 205645 w 338518"/>
                <a:gd name="connsiteY32" fmla="*/ 31147 h 530828"/>
                <a:gd name="connsiteX33" fmla="*/ 226790 w 338518"/>
                <a:gd name="connsiteY33" fmla="*/ 35338 h 530828"/>
                <a:gd name="connsiteX34" fmla="*/ 250127 w 338518"/>
                <a:gd name="connsiteY34" fmla="*/ 26861 h 530828"/>
                <a:gd name="connsiteX35" fmla="*/ 265652 w 338518"/>
                <a:gd name="connsiteY35" fmla="*/ 0 h 530828"/>
                <a:gd name="connsiteX36" fmla="*/ 312991 w 338518"/>
                <a:gd name="connsiteY36" fmla="*/ 14859 h 530828"/>
                <a:gd name="connsiteX37" fmla="*/ 283655 w 338518"/>
                <a:gd name="connsiteY37" fmla="*/ 79820 h 530828"/>
                <a:gd name="connsiteX38" fmla="*/ 233839 w 338518"/>
                <a:gd name="connsiteY38" fmla="*/ 102394 h 530828"/>
                <a:gd name="connsiteX39" fmla="*/ 204883 w 338518"/>
                <a:gd name="connsiteY39" fmla="*/ 98203 h 530828"/>
                <a:gd name="connsiteX40" fmla="*/ 177641 w 338518"/>
                <a:gd name="connsiteY40" fmla="*/ 88678 h 530828"/>
                <a:gd name="connsiteX41" fmla="*/ 152876 w 338518"/>
                <a:gd name="connsiteY41" fmla="*/ 78772 h 530828"/>
                <a:gd name="connsiteX42" fmla="*/ 132017 w 338518"/>
                <a:gd name="connsiteY42" fmla="*/ 74200 h 530828"/>
                <a:gd name="connsiteX43" fmla="*/ 108680 w 338518"/>
                <a:gd name="connsiteY43" fmla="*/ 82677 h 530828"/>
                <a:gd name="connsiteX44" fmla="*/ 93154 w 338518"/>
                <a:gd name="connsiteY44" fmla="*/ 109538 h 530828"/>
                <a:gd name="connsiteX45" fmla="*/ 45815 w 338518"/>
                <a:gd name="connsiteY45" fmla="*/ 95441 h 530828"/>
                <a:gd name="connsiteX46" fmla="*/ 255842 w 338518"/>
                <a:gd name="connsiteY46" fmla="*/ 366808 h 530828"/>
                <a:gd name="connsiteX47" fmla="*/ 217361 w 338518"/>
                <a:gd name="connsiteY47" fmla="*/ 356235 h 530828"/>
                <a:gd name="connsiteX48" fmla="*/ 170402 w 338518"/>
                <a:gd name="connsiteY48" fmla="*/ 351949 h 530828"/>
                <a:gd name="connsiteX49" fmla="*/ 107537 w 338518"/>
                <a:gd name="connsiteY49" fmla="*/ 367475 h 530828"/>
                <a:gd name="connsiteX50" fmla="*/ 84963 w 338518"/>
                <a:gd name="connsiteY50" fmla="*/ 409861 h 530828"/>
                <a:gd name="connsiteX51" fmla="*/ 84963 w 338518"/>
                <a:gd name="connsiteY51" fmla="*/ 411290 h 530828"/>
                <a:gd name="connsiteX52" fmla="*/ 105823 w 338518"/>
                <a:gd name="connsiteY52" fmla="*/ 452247 h 530828"/>
                <a:gd name="connsiteX53" fmla="*/ 157067 w 338518"/>
                <a:gd name="connsiteY53" fmla="*/ 466344 h 530828"/>
                <a:gd name="connsiteX54" fmla="*/ 196310 w 338518"/>
                <a:gd name="connsiteY54" fmla="*/ 460724 h 530828"/>
                <a:gd name="connsiteX55" fmla="*/ 227743 w 338518"/>
                <a:gd name="connsiteY55" fmla="*/ 444818 h 530828"/>
                <a:gd name="connsiteX56" fmla="*/ 248603 w 338518"/>
                <a:gd name="connsiteY56" fmla="*/ 420053 h 530828"/>
                <a:gd name="connsiteX57" fmla="*/ 256032 w 338518"/>
                <a:gd name="connsiteY57" fmla="*/ 387858 h 530828"/>
                <a:gd name="connsiteX58" fmla="*/ 256032 w 338518"/>
                <a:gd name="connsiteY58" fmla="*/ 366617 h 5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8518" h="530828">
                  <a:moveTo>
                    <a:pt x="253651" y="523018"/>
                  </a:moveTo>
                  <a:lnTo>
                    <a:pt x="253651" y="477107"/>
                  </a:lnTo>
                  <a:cubicBezTo>
                    <a:pt x="240887" y="492157"/>
                    <a:pt x="224695" y="504920"/>
                    <a:pt x="204883" y="515303"/>
                  </a:cubicBezTo>
                  <a:cubicBezTo>
                    <a:pt x="185071" y="525685"/>
                    <a:pt x="161068" y="530828"/>
                    <a:pt x="132779" y="530828"/>
                  </a:cubicBezTo>
                  <a:cubicBezTo>
                    <a:pt x="114871" y="530828"/>
                    <a:pt x="97917" y="528352"/>
                    <a:pt x="81915" y="523399"/>
                  </a:cubicBezTo>
                  <a:cubicBezTo>
                    <a:pt x="65913" y="518446"/>
                    <a:pt x="51911" y="511112"/>
                    <a:pt x="39910" y="501491"/>
                  </a:cubicBezTo>
                  <a:cubicBezTo>
                    <a:pt x="27908" y="491871"/>
                    <a:pt x="18193" y="479870"/>
                    <a:pt x="10954" y="465487"/>
                  </a:cubicBezTo>
                  <a:cubicBezTo>
                    <a:pt x="3620" y="451104"/>
                    <a:pt x="0" y="434531"/>
                    <a:pt x="0" y="415671"/>
                  </a:cubicBezTo>
                  <a:lnTo>
                    <a:pt x="0" y="414242"/>
                  </a:lnTo>
                  <a:cubicBezTo>
                    <a:pt x="0" y="393478"/>
                    <a:pt x="3810" y="375476"/>
                    <a:pt x="11335" y="360140"/>
                  </a:cubicBezTo>
                  <a:cubicBezTo>
                    <a:pt x="18860" y="344805"/>
                    <a:pt x="29337" y="332137"/>
                    <a:pt x="42767" y="321945"/>
                  </a:cubicBezTo>
                  <a:cubicBezTo>
                    <a:pt x="56198" y="311849"/>
                    <a:pt x="72200" y="304324"/>
                    <a:pt x="90773" y="299371"/>
                  </a:cubicBezTo>
                  <a:cubicBezTo>
                    <a:pt x="109347" y="294418"/>
                    <a:pt x="129540" y="291941"/>
                    <a:pt x="151162" y="291941"/>
                  </a:cubicBezTo>
                  <a:cubicBezTo>
                    <a:pt x="172784" y="291941"/>
                    <a:pt x="192977" y="293370"/>
                    <a:pt x="208788" y="296228"/>
                  </a:cubicBezTo>
                  <a:cubicBezTo>
                    <a:pt x="224600" y="299085"/>
                    <a:pt x="239744" y="302800"/>
                    <a:pt x="254413" y="307562"/>
                  </a:cubicBezTo>
                  <a:lnTo>
                    <a:pt x="254413" y="300514"/>
                  </a:lnTo>
                  <a:cubicBezTo>
                    <a:pt x="254413" y="274606"/>
                    <a:pt x="246507" y="254794"/>
                    <a:pt x="230696" y="241173"/>
                  </a:cubicBezTo>
                  <a:cubicBezTo>
                    <a:pt x="214884" y="227552"/>
                    <a:pt x="192215" y="220694"/>
                    <a:pt x="162496" y="220694"/>
                  </a:cubicBezTo>
                  <a:cubicBezTo>
                    <a:pt x="141351" y="220694"/>
                    <a:pt x="122492" y="222790"/>
                    <a:pt x="106013" y="227076"/>
                  </a:cubicBezTo>
                  <a:cubicBezTo>
                    <a:pt x="89535" y="231362"/>
                    <a:pt x="72771" y="236982"/>
                    <a:pt x="55817" y="244031"/>
                  </a:cubicBezTo>
                  <a:lnTo>
                    <a:pt x="32480" y="175451"/>
                  </a:lnTo>
                  <a:cubicBezTo>
                    <a:pt x="53150" y="166021"/>
                    <a:pt x="74390" y="158496"/>
                    <a:pt x="96107" y="152876"/>
                  </a:cubicBezTo>
                  <a:cubicBezTo>
                    <a:pt x="117729" y="147257"/>
                    <a:pt x="143923" y="144399"/>
                    <a:pt x="174593" y="144399"/>
                  </a:cubicBezTo>
                  <a:cubicBezTo>
                    <a:pt x="230124" y="144399"/>
                    <a:pt x="271367" y="158210"/>
                    <a:pt x="298228" y="185738"/>
                  </a:cubicBezTo>
                  <a:cubicBezTo>
                    <a:pt x="325088" y="213265"/>
                    <a:pt x="338519" y="252032"/>
                    <a:pt x="338519" y="301943"/>
                  </a:cubicBezTo>
                  <a:lnTo>
                    <a:pt x="338519" y="523113"/>
                  </a:lnTo>
                  <a:lnTo>
                    <a:pt x="253746" y="523113"/>
                  </a:lnTo>
                  <a:close/>
                  <a:moveTo>
                    <a:pt x="45911" y="95441"/>
                  </a:moveTo>
                  <a:cubicBezTo>
                    <a:pt x="53912" y="66675"/>
                    <a:pt x="63722" y="44768"/>
                    <a:pt x="75248" y="29718"/>
                  </a:cubicBezTo>
                  <a:cubicBezTo>
                    <a:pt x="86773" y="14669"/>
                    <a:pt x="103442" y="7144"/>
                    <a:pt x="125063" y="7144"/>
                  </a:cubicBezTo>
                  <a:cubicBezTo>
                    <a:pt x="134969" y="7144"/>
                    <a:pt x="144590" y="8668"/>
                    <a:pt x="154019" y="11716"/>
                  </a:cubicBezTo>
                  <a:cubicBezTo>
                    <a:pt x="163449" y="14764"/>
                    <a:pt x="172498" y="18098"/>
                    <a:pt x="181261" y="21622"/>
                  </a:cubicBezTo>
                  <a:cubicBezTo>
                    <a:pt x="189929" y="25146"/>
                    <a:pt x="198120" y="28385"/>
                    <a:pt x="205645" y="31147"/>
                  </a:cubicBezTo>
                  <a:cubicBezTo>
                    <a:pt x="213170" y="34004"/>
                    <a:pt x="220218" y="35338"/>
                    <a:pt x="226790" y="35338"/>
                  </a:cubicBezTo>
                  <a:cubicBezTo>
                    <a:pt x="237173" y="35338"/>
                    <a:pt x="244888" y="32480"/>
                    <a:pt x="250127" y="26861"/>
                  </a:cubicBezTo>
                  <a:cubicBezTo>
                    <a:pt x="255270" y="21241"/>
                    <a:pt x="260509" y="12287"/>
                    <a:pt x="265652" y="0"/>
                  </a:cubicBezTo>
                  <a:lnTo>
                    <a:pt x="312991" y="14859"/>
                  </a:lnTo>
                  <a:cubicBezTo>
                    <a:pt x="304991" y="43148"/>
                    <a:pt x="295180" y="64770"/>
                    <a:pt x="283655" y="79820"/>
                  </a:cubicBezTo>
                  <a:cubicBezTo>
                    <a:pt x="272129" y="94869"/>
                    <a:pt x="255461" y="102394"/>
                    <a:pt x="233839" y="102394"/>
                  </a:cubicBezTo>
                  <a:cubicBezTo>
                    <a:pt x="223933" y="102394"/>
                    <a:pt x="214313" y="100965"/>
                    <a:pt x="204883" y="98203"/>
                  </a:cubicBezTo>
                  <a:cubicBezTo>
                    <a:pt x="195453" y="95345"/>
                    <a:pt x="186404" y="92202"/>
                    <a:pt x="177641" y="88678"/>
                  </a:cubicBezTo>
                  <a:cubicBezTo>
                    <a:pt x="168878" y="85154"/>
                    <a:pt x="160687" y="81820"/>
                    <a:pt x="152876" y="78772"/>
                  </a:cubicBezTo>
                  <a:cubicBezTo>
                    <a:pt x="145066" y="75724"/>
                    <a:pt x="138113" y="74200"/>
                    <a:pt x="132017" y="74200"/>
                  </a:cubicBezTo>
                  <a:cubicBezTo>
                    <a:pt x="121634" y="74200"/>
                    <a:pt x="113919" y="77057"/>
                    <a:pt x="108680" y="82677"/>
                  </a:cubicBezTo>
                  <a:cubicBezTo>
                    <a:pt x="103537" y="88297"/>
                    <a:pt x="98298" y="97250"/>
                    <a:pt x="93154" y="109538"/>
                  </a:cubicBezTo>
                  <a:lnTo>
                    <a:pt x="45815" y="95441"/>
                  </a:lnTo>
                  <a:close/>
                  <a:moveTo>
                    <a:pt x="255842" y="366808"/>
                  </a:moveTo>
                  <a:cubicBezTo>
                    <a:pt x="244983" y="362522"/>
                    <a:pt x="232124" y="358997"/>
                    <a:pt x="217361" y="356235"/>
                  </a:cubicBezTo>
                  <a:cubicBezTo>
                    <a:pt x="202502" y="353378"/>
                    <a:pt x="186880" y="351949"/>
                    <a:pt x="170402" y="351949"/>
                  </a:cubicBezTo>
                  <a:cubicBezTo>
                    <a:pt x="143542" y="351949"/>
                    <a:pt x="122587" y="357092"/>
                    <a:pt x="107537" y="367475"/>
                  </a:cubicBezTo>
                  <a:cubicBezTo>
                    <a:pt x="92488" y="377857"/>
                    <a:pt x="84963" y="391954"/>
                    <a:pt x="84963" y="409861"/>
                  </a:cubicBezTo>
                  <a:lnTo>
                    <a:pt x="84963" y="411290"/>
                  </a:lnTo>
                  <a:cubicBezTo>
                    <a:pt x="84963" y="429197"/>
                    <a:pt x="91916" y="442817"/>
                    <a:pt x="105823" y="452247"/>
                  </a:cubicBezTo>
                  <a:cubicBezTo>
                    <a:pt x="119729" y="461677"/>
                    <a:pt x="136779" y="466344"/>
                    <a:pt x="157067" y="466344"/>
                  </a:cubicBezTo>
                  <a:cubicBezTo>
                    <a:pt x="171164" y="466344"/>
                    <a:pt x="184309" y="464439"/>
                    <a:pt x="196310" y="460724"/>
                  </a:cubicBezTo>
                  <a:cubicBezTo>
                    <a:pt x="208312" y="456914"/>
                    <a:pt x="218789" y="451676"/>
                    <a:pt x="227743" y="444818"/>
                  </a:cubicBezTo>
                  <a:cubicBezTo>
                    <a:pt x="236696" y="437960"/>
                    <a:pt x="243650" y="429768"/>
                    <a:pt x="248603" y="420053"/>
                  </a:cubicBezTo>
                  <a:cubicBezTo>
                    <a:pt x="253555" y="410432"/>
                    <a:pt x="256032" y="399669"/>
                    <a:pt x="256032" y="387858"/>
                  </a:cubicBezTo>
                  <a:lnTo>
                    <a:pt x="256032" y="366617"/>
                  </a:lnTo>
                  <a:close/>
                </a:path>
              </a:pathLst>
            </a:custGeom>
            <a:solidFill>
              <a:srgbClr val="44505E"/>
            </a:solidFill>
            <a:ln w="9525" cap="flat">
              <a:noFill/>
              <a:prstDash val="solid"/>
              <a:miter/>
            </a:ln>
          </p:spPr>
          <p:txBody>
            <a:bodyPr rtlCol="0" anchor="ctr"/>
            <a:lstStyle/>
            <a:p>
              <a:endParaRPr lang="pt-BR" noProof="0"/>
            </a:p>
          </p:txBody>
        </p:sp>
        <p:sp>
          <p:nvSpPr>
            <p:cNvPr id="31" name="Freeform: Shape 30">
              <a:extLst>
                <a:ext uri="{FF2B5EF4-FFF2-40B4-BE49-F238E27FC236}">
                  <a16:creationId xmlns:a16="http://schemas.microsoft.com/office/drawing/2014/main" id="{7DF26166-19DB-7361-9D18-A0D9DBAE56F4}"/>
                </a:ext>
              </a:extLst>
            </p:cNvPr>
            <p:cNvSpPr/>
            <p:nvPr/>
          </p:nvSpPr>
          <p:spPr>
            <a:xfrm>
              <a:off x="6506477" y="699959"/>
              <a:ext cx="100038" cy="97908"/>
            </a:xfrm>
            <a:custGeom>
              <a:avLst/>
              <a:gdLst>
                <a:gd name="connsiteX0" fmla="*/ 197834 w 397954"/>
                <a:gd name="connsiteY0" fmla="*/ 389477 h 389477"/>
                <a:gd name="connsiteX1" fmla="*/ 119063 w 397954"/>
                <a:gd name="connsiteY1" fmla="*/ 374237 h 389477"/>
                <a:gd name="connsiteX2" fmla="*/ 56198 w 397954"/>
                <a:gd name="connsiteY2" fmla="*/ 332899 h 389477"/>
                <a:gd name="connsiteX3" fmla="*/ 14859 w 397954"/>
                <a:gd name="connsiteY3" fmla="*/ 271463 h 389477"/>
                <a:gd name="connsiteX4" fmla="*/ 0 w 397954"/>
                <a:gd name="connsiteY4" fmla="*/ 196501 h 389477"/>
                <a:gd name="connsiteX5" fmla="*/ 0 w 397954"/>
                <a:gd name="connsiteY5" fmla="*/ 195072 h 389477"/>
                <a:gd name="connsiteX6" fmla="*/ 15240 w 397954"/>
                <a:gd name="connsiteY6" fmla="*/ 119444 h 389477"/>
                <a:gd name="connsiteX7" fmla="*/ 56960 w 397954"/>
                <a:gd name="connsiteY7" fmla="*/ 57626 h 389477"/>
                <a:gd name="connsiteX8" fmla="*/ 119825 w 397954"/>
                <a:gd name="connsiteY8" fmla="*/ 15526 h 389477"/>
                <a:gd name="connsiteX9" fmla="*/ 199358 w 397954"/>
                <a:gd name="connsiteY9" fmla="*/ 0 h 389477"/>
                <a:gd name="connsiteX10" fmla="*/ 278892 w 397954"/>
                <a:gd name="connsiteY10" fmla="*/ 15240 h 389477"/>
                <a:gd name="connsiteX11" fmla="*/ 341757 w 397954"/>
                <a:gd name="connsiteY11" fmla="*/ 56959 h 389477"/>
                <a:gd name="connsiteX12" fmla="*/ 383096 w 397954"/>
                <a:gd name="connsiteY12" fmla="*/ 118396 h 389477"/>
                <a:gd name="connsiteX13" fmla="*/ 397955 w 397954"/>
                <a:gd name="connsiteY13" fmla="*/ 193643 h 389477"/>
                <a:gd name="connsiteX14" fmla="*/ 397955 w 397954"/>
                <a:gd name="connsiteY14" fmla="*/ 195072 h 389477"/>
                <a:gd name="connsiteX15" fmla="*/ 382714 w 397954"/>
                <a:gd name="connsiteY15" fmla="*/ 270034 h 389477"/>
                <a:gd name="connsiteX16" fmla="*/ 340995 w 397954"/>
                <a:gd name="connsiteY16" fmla="*/ 331851 h 389477"/>
                <a:gd name="connsiteX17" fmla="*/ 277749 w 397954"/>
                <a:gd name="connsiteY17" fmla="*/ 373856 h 389477"/>
                <a:gd name="connsiteX18" fmla="*/ 197834 w 397954"/>
                <a:gd name="connsiteY18" fmla="*/ 389382 h 389477"/>
                <a:gd name="connsiteX19" fmla="*/ 199263 w 397954"/>
                <a:gd name="connsiteY19" fmla="*/ 315278 h 389477"/>
                <a:gd name="connsiteX20" fmla="*/ 245936 w 397954"/>
                <a:gd name="connsiteY20" fmla="*/ 305753 h 389477"/>
                <a:gd name="connsiteX21" fmla="*/ 281369 w 397954"/>
                <a:gd name="connsiteY21" fmla="*/ 279940 h 389477"/>
                <a:gd name="connsiteX22" fmla="*/ 303848 w 397954"/>
                <a:gd name="connsiteY22" fmla="*/ 242125 h 389477"/>
                <a:gd name="connsiteX23" fmla="*/ 311563 w 397954"/>
                <a:gd name="connsiteY23" fmla="*/ 196501 h 389477"/>
                <a:gd name="connsiteX24" fmla="*/ 311563 w 397954"/>
                <a:gd name="connsiteY24" fmla="*/ 195072 h 389477"/>
                <a:gd name="connsiteX25" fmla="*/ 303181 w 397954"/>
                <a:gd name="connsiteY25" fmla="*/ 148400 h 389477"/>
                <a:gd name="connsiteX26" fmla="*/ 279654 w 397954"/>
                <a:gd name="connsiteY26" fmla="*/ 110204 h 389477"/>
                <a:gd name="connsiteX27" fmla="*/ 243840 w 397954"/>
                <a:gd name="connsiteY27" fmla="*/ 84392 h 389477"/>
                <a:gd name="connsiteX28" fmla="*/ 197834 w 397954"/>
                <a:gd name="connsiteY28" fmla="*/ 74867 h 389477"/>
                <a:gd name="connsiteX29" fmla="*/ 151829 w 397954"/>
                <a:gd name="connsiteY29" fmla="*/ 84392 h 389477"/>
                <a:gd name="connsiteX30" fmla="*/ 116396 w 397954"/>
                <a:gd name="connsiteY30" fmla="*/ 109823 h 389477"/>
                <a:gd name="connsiteX31" fmla="*/ 93916 w 397954"/>
                <a:gd name="connsiteY31" fmla="*/ 147638 h 389477"/>
                <a:gd name="connsiteX32" fmla="*/ 86201 w 397954"/>
                <a:gd name="connsiteY32" fmla="*/ 193548 h 389477"/>
                <a:gd name="connsiteX33" fmla="*/ 86201 w 397954"/>
                <a:gd name="connsiteY33" fmla="*/ 194977 h 389477"/>
                <a:gd name="connsiteX34" fmla="*/ 94583 w 397954"/>
                <a:gd name="connsiteY34" fmla="*/ 241268 h 389477"/>
                <a:gd name="connsiteX35" fmla="*/ 118110 w 397954"/>
                <a:gd name="connsiteY35" fmla="*/ 279463 h 389477"/>
                <a:gd name="connsiteX36" fmla="*/ 153924 w 397954"/>
                <a:gd name="connsiteY36" fmla="*/ 305562 h 389477"/>
                <a:gd name="connsiteX37" fmla="*/ 199263 w 397954"/>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954" h="389477">
                  <a:moveTo>
                    <a:pt x="197834" y="389477"/>
                  </a:moveTo>
                  <a:cubicBezTo>
                    <a:pt x="169545" y="389477"/>
                    <a:pt x="143351" y="384429"/>
                    <a:pt x="119063" y="374237"/>
                  </a:cubicBezTo>
                  <a:cubicBezTo>
                    <a:pt x="94774" y="364141"/>
                    <a:pt x="73819" y="350330"/>
                    <a:pt x="56198" y="332899"/>
                  </a:cubicBezTo>
                  <a:cubicBezTo>
                    <a:pt x="38576" y="315468"/>
                    <a:pt x="24765" y="294989"/>
                    <a:pt x="14859" y="271463"/>
                  </a:cubicBezTo>
                  <a:cubicBezTo>
                    <a:pt x="4953" y="247936"/>
                    <a:pt x="0" y="222980"/>
                    <a:pt x="0" y="196501"/>
                  </a:cubicBezTo>
                  <a:lnTo>
                    <a:pt x="0" y="195072"/>
                  </a:lnTo>
                  <a:cubicBezTo>
                    <a:pt x="0" y="168212"/>
                    <a:pt x="5049" y="143066"/>
                    <a:pt x="15240" y="119444"/>
                  </a:cubicBezTo>
                  <a:cubicBezTo>
                    <a:pt x="25337" y="95917"/>
                    <a:pt x="39243" y="75248"/>
                    <a:pt x="56960" y="57626"/>
                  </a:cubicBezTo>
                  <a:cubicBezTo>
                    <a:pt x="74676" y="39910"/>
                    <a:pt x="95631" y="25908"/>
                    <a:pt x="119825" y="15526"/>
                  </a:cubicBezTo>
                  <a:cubicBezTo>
                    <a:pt x="144113" y="5144"/>
                    <a:pt x="170593" y="0"/>
                    <a:pt x="199358" y="0"/>
                  </a:cubicBezTo>
                  <a:cubicBezTo>
                    <a:pt x="228124" y="0"/>
                    <a:pt x="254604" y="5048"/>
                    <a:pt x="278892" y="15240"/>
                  </a:cubicBezTo>
                  <a:cubicBezTo>
                    <a:pt x="303181" y="25337"/>
                    <a:pt x="324136" y="39243"/>
                    <a:pt x="341757" y="56959"/>
                  </a:cubicBezTo>
                  <a:cubicBezTo>
                    <a:pt x="359379" y="74676"/>
                    <a:pt x="373189" y="95155"/>
                    <a:pt x="383096" y="118396"/>
                  </a:cubicBezTo>
                  <a:cubicBezTo>
                    <a:pt x="393002" y="141732"/>
                    <a:pt x="397955" y="166783"/>
                    <a:pt x="397955" y="193643"/>
                  </a:cubicBezTo>
                  <a:lnTo>
                    <a:pt x="397955" y="195072"/>
                  </a:lnTo>
                  <a:cubicBezTo>
                    <a:pt x="397955" y="221456"/>
                    <a:pt x="392906" y="246412"/>
                    <a:pt x="382714" y="270034"/>
                  </a:cubicBezTo>
                  <a:cubicBezTo>
                    <a:pt x="372618" y="293561"/>
                    <a:pt x="358712" y="314230"/>
                    <a:pt x="340995" y="331851"/>
                  </a:cubicBezTo>
                  <a:cubicBezTo>
                    <a:pt x="323279" y="349472"/>
                    <a:pt x="302229" y="363569"/>
                    <a:pt x="277749" y="373856"/>
                  </a:cubicBezTo>
                  <a:cubicBezTo>
                    <a:pt x="253270" y="384238"/>
                    <a:pt x="226600" y="389382"/>
                    <a:pt x="197834" y="389382"/>
                  </a:cubicBezTo>
                  <a:close/>
                  <a:moveTo>
                    <a:pt x="199263" y="315278"/>
                  </a:moveTo>
                  <a:cubicBezTo>
                    <a:pt x="216598" y="315278"/>
                    <a:pt x="232124" y="312039"/>
                    <a:pt x="245936" y="305753"/>
                  </a:cubicBezTo>
                  <a:cubicBezTo>
                    <a:pt x="259747" y="299371"/>
                    <a:pt x="271558" y="290798"/>
                    <a:pt x="281369" y="279940"/>
                  </a:cubicBezTo>
                  <a:cubicBezTo>
                    <a:pt x="291179" y="269081"/>
                    <a:pt x="298704" y="256508"/>
                    <a:pt x="303848" y="242125"/>
                  </a:cubicBezTo>
                  <a:cubicBezTo>
                    <a:pt x="308991" y="227743"/>
                    <a:pt x="311563" y="212598"/>
                    <a:pt x="311563" y="196501"/>
                  </a:cubicBezTo>
                  <a:lnTo>
                    <a:pt x="311563" y="195072"/>
                  </a:lnTo>
                  <a:cubicBezTo>
                    <a:pt x="311563" y="178594"/>
                    <a:pt x="308706" y="163068"/>
                    <a:pt x="303181" y="148400"/>
                  </a:cubicBezTo>
                  <a:cubicBezTo>
                    <a:pt x="297561" y="133826"/>
                    <a:pt x="289750" y="121063"/>
                    <a:pt x="279654" y="110204"/>
                  </a:cubicBezTo>
                  <a:cubicBezTo>
                    <a:pt x="269557" y="99346"/>
                    <a:pt x="257651" y="90773"/>
                    <a:pt x="243840" y="84392"/>
                  </a:cubicBezTo>
                  <a:cubicBezTo>
                    <a:pt x="230029" y="78010"/>
                    <a:pt x="214694" y="74867"/>
                    <a:pt x="197834" y="74867"/>
                  </a:cubicBezTo>
                  <a:cubicBezTo>
                    <a:pt x="180975" y="74867"/>
                    <a:pt x="165640" y="78010"/>
                    <a:pt x="151829" y="84392"/>
                  </a:cubicBezTo>
                  <a:cubicBezTo>
                    <a:pt x="138017" y="90773"/>
                    <a:pt x="126206" y="99250"/>
                    <a:pt x="116396" y="109823"/>
                  </a:cubicBezTo>
                  <a:cubicBezTo>
                    <a:pt x="106585" y="120396"/>
                    <a:pt x="99060" y="133064"/>
                    <a:pt x="93916" y="147638"/>
                  </a:cubicBezTo>
                  <a:cubicBezTo>
                    <a:pt x="88773" y="162211"/>
                    <a:pt x="86201" y="177546"/>
                    <a:pt x="86201" y="193548"/>
                  </a:cubicBezTo>
                  <a:lnTo>
                    <a:pt x="86201" y="194977"/>
                  </a:lnTo>
                  <a:cubicBezTo>
                    <a:pt x="86201" y="211455"/>
                    <a:pt x="89059" y="226886"/>
                    <a:pt x="94583" y="241268"/>
                  </a:cubicBezTo>
                  <a:cubicBezTo>
                    <a:pt x="100203" y="255651"/>
                    <a:pt x="108014" y="268319"/>
                    <a:pt x="118110" y="279463"/>
                  </a:cubicBezTo>
                  <a:cubicBezTo>
                    <a:pt x="128207" y="290608"/>
                    <a:pt x="140113" y="299275"/>
                    <a:pt x="153924" y="305562"/>
                  </a:cubicBezTo>
                  <a:cubicBezTo>
                    <a:pt x="167735" y="311944"/>
                    <a:pt x="182785"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32" name="Freeform: Shape 31">
              <a:extLst>
                <a:ext uri="{FF2B5EF4-FFF2-40B4-BE49-F238E27FC236}">
                  <a16:creationId xmlns:a16="http://schemas.microsoft.com/office/drawing/2014/main" id="{3990226A-F401-F876-A543-6B43ADEC184B}"/>
                </a:ext>
              </a:extLst>
            </p:cNvPr>
            <p:cNvSpPr/>
            <p:nvPr/>
          </p:nvSpPr>
          <p:spPr>
            <a:xfrm>
              <a:off x="662071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1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7 w 296894"/>
                <a:gd name="connsiteY23" fmla="*/ 42863 h 386714"/>
                <a:gd name="connsiteX24" fmla="*/ 254318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7 w 296894"/>
                <a:gd name="connsiteY30" fmla="*/ 124587 h 386714"/>
                <a:gd name="connsiteX31" fmla="*/ 122682 w 296894"/>
                <a:gd name="connsiteY31" fmla="*/ 138017 h 386714"/>
                <a:gd name="connsiteX32" fmla="*/ 149543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6" y="348901"/>
                    <a:pt x="0" y="330327"/>
                  </a:cubicBezTo>
                  <a:lnTo>
                    <a:pt x="38195" y="272224"/>
                  </a:lnTo>
                  <a:cubicBezTo>
                    <a:pt x="58484" y="287274"/>
                    <a:pt x="79057" y="298704"/>
                    <a:pt x="100013" y="306514"/>
                  </a:cubicBezTo>
                  <a:cubicBezTo>
                    <a:pt x="120968" y="314325"/>
                    <a:pt x="141161" y="318135"/>
                    <a:pt x="160401" y="318135"/>
                  </a:cubicBezTo>
                  <a:cubicBezTo>
                    <a:pt x="179641" y="318135"/>
                    <a:pt x="192977"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1" y="241078"/>
                    <a:pt x="176498" y="237553"/>
                    <a:pt x="166401"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2" y="40195"/>
                    <a:pt x="56864" y="30385"/>
                  </a:cubicBezTo>
                  <a:cubicBezTo>
                    <a:pt x="68866" y="20479"/>
                    <a:pt x="82962" y="12954"/>
                    <a:pt x="99250" y="7810"/>
                  </a:cubicBezTo>
                  <a:cubicBezTo>
                    <a:pt x="115538" y="2667"/>
                    <a:pt x="132779" y="0"/>
                    <a:pt x="151162" y="0"/>
                  </a:cubicBezTo>
                  <a:cubicBezTo>
                    <a:pt x="174688" y="0"/>
                    <a:pt x="198501" y="3810"/>
                    <a:pt x="222504" y="11430"/>
                  </a:cubicBezTo>
                  <a:cubicBezTo>
                    <a:pt x="246507" y="19050"/>
                    <a:pt x="268414" y="29527"/>
                    <a:pt x="288227" y="42863"/>
                  </a:cubicBezTo>
                  <a:lnTo>
                    <a:pt x="254318"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7" y="124587"/>
                  </a:cubicBezTo>
                  <a:cubicBezTo>
                    <a:pt x="108585" y="129540"/>
                    <a:pt x="114871" y="134017"/>
                    <a:pt x="122682" y="138017"/>
                  </a:cubicBezTo>
                  <a:cubicBezTo>
                    <a:pt x="130493" y="142018"/>
                    <a:pt x="139351" y="145732"/>
                    <a:pt x="149543"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696"/>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33" name="Freeform: Shape 32">
              <a:extLst>
                <a:ext uri="{FF2B5EF4-FFF2-40B4-BE49-F238E27FC236}">
                  <a16:creationId xmlns:a16="http://schemas.microsoft.com/office/drawing/2014/main" id="{BBFB95F9-B105-3F91-620D-1EDCCC2B1A87}"/>
                </a:ext>
              </a:extLst>
            </p:cNvPr>
            <p:cNvSpPr/>
            <p:nvPr/>
          </p:nvSpPr>
          <p:spPr>
            <a:xfrm>
              <a:off x="526693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4 w 202977"/>
                <a:gd name="connsiteY17" fmla="*/ 19907 h 239267"/>
                <a:gd name="connsiteX18" fmla="*/ 59246 w 202977"/>
                <a:gd name="connsiteY18" fmla="*/ 5429 h 239267"/>
                <a:gd name="connsiteX19" fmla="*/ 104299 w 202977"/>
                <a:gd name="connsiteY19" fmla="*/ 0 h 239267"/>
                <a:gd name="connsiteX20" fmla="*/ 178880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5 w 202977"/>
                <a:gd name="connsiteY27" fmla="*/ 211169 h 239267"/>
                <a:gd name="connsiteX28" fmla="*/ 122968 w 202977"/>
                <a:gd name="connsiteY28" fmla="*/ 206788 h 239267"/>
                <a:gd name="connsiteX29" fmla="*/ 147257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9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9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3" y="99155"/>
                    <a:pt x="58674" y="95917"/>
                  </a:cubicBezTo>
                  <a:cubicBezTo>
                    <a:pt x="70771" y="92678"/>
                    <a:pt x="84011" y="90964"/>
                    <a:pt x="98584" y="90964"/>
                  </a:cubicBezTo>
                  <a:cubicBezTo>
                    <a:pt x="113157" y="90964"/>
                    <a:pt x="126301" y="91821"/>
                    <a:pt x="137160" y="93631"/>
                  </a:cubicBezTo>
                  <a:cubicBezTo>
                    <a:pt x="148019" y="95440"/>
                    <a:pt x="158687" y="97822"/>
                    <a:pt x="169069" y="100774"/>
                  </a:cubicBezTo>
                  <a:lnTo>
                    <a:pt x="169069" y="93726"/>
                  </a:lnTo>
                  <a:cubicBezTo>
                    <a:pt x="169069" y="73342"/>
                    <a:pt x="163068" y="57912"/>
                    <a:pt x="151162" y="47339"/>
                  </a:cubicBezTo>
                  <a:cubicBezTo>
                    <a:pt x="139256" y="36862"/>
                    <a:pt x="122492" y="31623"/>
                    <a:pt x="100679" y="31623"/>
                  </a:cubicBezTo>
                  <a:cubicBezTo>
                    <a:pt x="86963" y="31623"/>
                    <a:pt x="74581" y="33147"/>
                    <a:pt x="63437" y="36100"/>
                  </a:cubicBezTo>
                  <a:cubicBezTo>
                    <a:pt x="52292" y="39053"/>
                    <a:pt x="41339" y="43053"/>
                    <a:pt x="30671" y="48196"/>
                  </a:cubicBezTo>
                  <a:lnTo>
                    <a:pt x="20384" y="19907"/>
                  </a:lnTo>
                  <a:cubicBezTo>
                    <a:pt x="33147" y="13906"/>
                    <a:pt x="46101" y="9049"/>
                    <a:pt x="59246" y="5429"/>
                  </a:cubicBezTo>
                  <a:cubicBezTo>
                    <a:pt x="72295" y="1810"/>
                    <a:pt x="87344" y="0"/>
                    <a:pt x="104299" y="0"/>
                  </a:cubicBezTo>
                  <a:cubicBezTo>
                    <a:pt x="137065" y="0"/>
                    <a:pt x="161925" y="8477"/>
                    <a:pt x="178880"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99" y="239173"/>
                    <a:pt x="86011" y="239173"/>
                  </a:cubicBezTo>
                  <a:close/>
                  <a:moveTo>
                    <a:pt x="93155" y="211169"/>
                  </a:moveTo>
                  <a:cubicBezTo>
                    <a:pt x="103823" y="211169"/>
                    <a:pt x="113728" y="209740"/>
                    <a:pt x="122968" y="206788"/>
                  </a:cubicBezTo>
                  <a:cubicBezTo>
                    <a:pt x="132207" y="203835"/>
                    <a:pt x="140208" y="199644"/>
                    <a:pt x="147257"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9" y="121444"/>
                  </a:cubicBezTo>
                  <a:cubicBezTo>
                    <a:pt x="129445" y="119348"/>
                    <a:pt x="116776"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244" y="190500"/>
                    <a:pt x="47435" y="195358"/>
                    <a:pt x="52769" y="199263"/>
                  </a:cubicBezTo>
                  <a:cubicBezTo>
                    <a:pt x="58103" y="203073"/>
                    <a:pt x="64294" y="206026"/>
                    <a:pt x="71247" y="208121"/>
                  </a:cubicBezTo>
                  <a:cubicBezTo>
                    <a:pt x="78200" y="210217"/>
                    <a:pt x="85535"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34" name="Freeform: Shape 33">
              <a:extLst>
                <a:ext uri="{FF2B5EF4-FFF2-40B4-BE49-F238E27FC236}">
                  <a16:creationId xmlns:a16="http://schemas.microsoft.com/office/drawing/2014/main" id="{53B1BCEC-D2AA-A523-F7DB-61F9F1E551C9}"/>
                </a:ext>
              </a:extLst>
            </p:cNvPr>
            <p:cNvSpPr/>
            <p:nvPr/>
          </p:nvSpPr>
          <p:spPr>
            <a:xfrm>
              <a:off x="5331227"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9" y="303276"/>
                    <a:pt x="71438" y="300895"/>
                  </a:cubicBezTo>
                  <a:cubicBezTo>
                    <a:pt x="63437"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2"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5" name="Freeform: Shape 34">
              <a:extLst>
                <a:ext uri="{FF2B5EF4-FFF2-40B4-BE49-F238E27FC236}">
                  <a16:creationId xmlns:a16="http://schemas.microsoft.com/office/drawing/2014/main" id="{D29761D0-454E-6821-8AC9-991117A2781C}"/>
                </a:ext>
              </a:extLst>
            </p:cNvPr>
            <p:cNvSpPr/>
            <p:nvPr/>
          </p:nvSpPr>
          <p:spPr>
            <a:xfrm>
              <a:off x="5381845"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191 w 39242"/>
                <a:gd name="connsiteY5" fmla="*/ 88392 h 319182"/>
                <a:gd name="connsiteX6" fmla="*/ 36576 w 39242"/>
                <a:gd name="connsiteY6" fmla="*/ 88392 h 319182"/>
                <a:gd name="connsiteX7" fmla="*/ 36576 w 39242"/>
                <a:gd name="connsiteY7" fmla="*/ 319183 h 319182"/>
                <a:gd name="connsiteX8" fmla="*/ 2191 w 39242"/>
                <a:gd name="connsiteY8" fmla="*/ 319183 h 319182"/>
                <a:gd name="connsiteX9" fmla="*/ 2191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191" y="88392"/>
                  </a:moveTo>
                  <a:lnTo>
                    <a:pt x="36576" y="88392"/>
                  </a:lnTo>
                  <a:lnTo>
                    <a:pt x="36576" y="319183"/>
                  </a:lnTo>
                  <a:lnTo>
                    <a:pt x="2191" y="319183"/>
                  </a:lnTo>
                  <a:lnTo>
                    <a:pt x="2191" y="88392"/>
                  </a:lnTo>
                  <a:close/>
                </a:path>
              </a:pathLst>
            </a:custGeom>
            <a:solidFill>
              <a:srgbClr val="44505E"/>
            </a:solidFill>
            <a:ln w="9525" cap="flat">
              <a:noFill/>
              <a:prstDash val="solid"/>
              <a:miter/>
            </a:ln>
          </p:spPr>
          <p:txBody>
            <a:bodyPr rtlCol="0" anchor="ctr"/>
            <a:lstStyle/>
            <a:p>
              <a:endParaRPr lang="pt-BR" noProof="0"/>
            </a:p>
          </p:txBody>
        </p:sp>
        <p:sp>
          <p:nvSpPr>
            <p:cNvPr id="36" name="Freeform: Shape 35">
              <a:extLst>
                <a:ext uri="{FF2B5EF4-FFF2-40B4-BE49-F238E27FC236}">
                  <a16:creationId xmlns:a16="http://schemas.microsoft.com/office/drawing/2014/main" id="{785C7962-B149-E4A1-A0CC-4A6CCE094BA8}"/>
                </a:ext>
              </a:extLst>
            </p:cNvPr>
            <p:cNvSpPr/>
            <p:nvPr/>
          </p:nvSpPr>
          <p:spPr>
            <a:xfrm>
              <a:off x="5406076"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8" y="303276"/>
                    <a:pt x="71438" y="300895"/>
                  </a:cubicBezTo>
                  <a:cubicBezTo>
                    <a:pt x="63436"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1"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7" name="Freeform: Shape 36">
              <a:extLst>
                <a:ext uri="{FF2B5EF4-FFF2-40B4-BE49-F238E27FC236}">
                  <a16:creationId xmlns:a16="http://schemas.microsoft.com/office/drawing/2014/main" id="{68F3A74A-71AC-EED1-438C-929F6C3393A5}"/>
                </a:ext>
              </a:extLst>
            </p:cNvPr>
            <p:cNvSpPr/>
            <p:nvPr/>
          </p:nvSpPr>
          <p:spPr>
            <a:xfrm>
              <a:off x="5455545" y="925297"/>
              <a:ext cx="50594" cy="59238"/>
            </a:xfrm>
            <a:custGeom>
              <a:avLst/>
              <a:gdLst>
                <a:gd name="connsiteX0" fmla="*/ 88392 w 201263"/>
                <a:gd name="connsiteY0" fmla="*/ 235648 h 235648"/>
                <a:gd name="connsiteX1" fmla="*/ 51149 w 201263"/>
                <a:gd name="connsiteY1" fmla="*/ 228981 h 235648"/>
                <a:gd name="connsiteX2" fmla="*/ 23431 w 201263"/>
                <a:gd name="connsiteY2" fmla="*/ 210026 h 235648"/>
                <a:gd name="connsiteX3" fmla="*/ 6001 w 201263"/>
                <a:gd name="connsiteY3" fmla="*/ 180784 h 235648"/>
                <a:gd name="connsiteX4" fmla="*/ 0 w 201263"/>
                <a:gd name="connsiteY4" fmla="*/ 143256 h 235648"/>
                <a:gd name="connsiteX5" fmla="*/ 0 w 201263"/>
                <a:gd name="connsiteY5" fmla="*/ 0 h 235648"/>
                <a:gd name="connsiteX6" fmla="*/ 34385 w 201263"/>
                <a:gd name="connsiteY6" fmla="*/ 0 h 235648"/>
                <a:gd name="connsiteX7" fmla="*/ 34385 w 201263"/>
                <a:gd name="connsiteY7" fmla="*/ 134493 h 235648"/>
                <a:gd name="connsiteX8" fmla="*/ 50864 w 201263"/>
                <a:gd name="connsiteY8" fmla="*/ 185261 h 235648"/>
                <a:gd name="connsiteX9" fmla="*/ 98203 w 201263"/>
                <a:gd name="connsiteY9" fmla="*/ 203930 h 235648"/>
                <a:gd name="connsiteX10" fmla="*/ 125635 w 201263"/>
                <a:gd name="connsiteY10" fmla="*/ 198787 h 235648"/>
                <a:gd name="connsiteX11" fmla="*/ 147542 w 201263"/>
                <a:gd name="connsiteY11" fmla="*/ 184118 h 235648"/>
                <a:gd name="connsiteX12" fmla="*/ 162020 w 201263"/>
                <a:gd name="connsiteY12" fmla="*/ 161163 h 235648"/>
                <a:gd name="connsiteX13" fmla="*/ 167354 w 201263"/>
                <a:gd name="connsiteY13" fmla="*/ 131826 h 235648"/>
                <a:gd name="connsiteX14" fmla="*/ 167354 w 201263"/>
                <a:gd name="connsiteY14" fmla="*/ 0 h 235648"/>
                <a:gd name="connsiteX15" fmla="*/ 201263 w 201263"/>
                <a:gd name="connsiteY15" fmla="*/ 0 h 235648"/>
                <a:gd name="connsiteX16" fmla="*/ 201263 w 201263"/>
                <a:gd name="connsiteY16" fmla="*/ 230791 h 235648"/>
                <a:gd name="connsiteX17" fmla="*/ 167354 w 201263"/>
                <a:gd name="connsiteY17" fmla="*/ 230791 h 235648"/>
                <a:gd name="connsiteX18" fmla="*/ 167354 w 201263"/>
                <a:gd name="connsiteY18" fmla="*/ 190595 h 235648"/>
                <a:gd name="connsiteX19" fmla="*/ 136969 w 201263"/>
                <a:gd name="connsiteY19" fmla="*/ 222504 h 235648"/>
                <a:gd name="connsiteX20" fmla="*/ 88297 w 201263"/>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263" h="235648">
                  <a:moveTo>
                    <a:pt x="88392" y="235648"/>
                  </a:moveTo>
                  <a:cubicBezTo>
                    <a:pt x="74390" y="235648"/>
                    <a:pt x="62008" y="233363"/>
                    <a:pt x="51149" y="228981"/>
                  </a:cubicBezTo>
                  <a:cubicBezTo>
                    <a:pt x="40291" y="224504"/>
                    <a:pt x="31052" y="218218"/>
                    <a:pt x="23431"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864" y="185261"/>
                  </a:cubicBezTo>
                  <a:cubicBezTo>
                    <a:pt x="61913" y="197739"/>
                    <a:pt x="77629" y="203930"/>
                    <a:pt x="98203" y="203930"/>
                  </a:cubicBezTo>
                  <a:cubicBezTo>
                    <a:pt x="108014" y="203930"/>
                    <a:pt x="117158" y="202216"/>
                    <a:pt x="125635" y="198787"/>
                  </a:cubicBezTo>
                  <a:cubicBezTo>
                    <a:pt x="134112" y="195358"/>
                    <a:pt x="141351" y="190500"/>
                    <a:pt x="147542" y="184118"/>
                  </a:cubicBezTo>
                  <a:cubicBezTo>
                    <a:pt x="153638" y="177736"/>
                    <a:pt x="158496" y="170116"/>
                    <a:pt x="162020" y="161163"/>
                  </a:cubicBezTo>
                  <a:cubicBezTo>
                    <a:pt x="165640" y="152305"/>
                    <a:pt x="167354" y="142494"/>
                    <a:pt x="167354" y="131826"/>
                  </a:cubicBezTo>
                  <a:lnTo>
                    <a:pt x="167354" y="0"/>
                  </a:lnTo>
                  <a:lnTo>
                    <a:pt x="201263" y="0"/>
                  </a:lnTo>
                  <a:lnTo>
                    <a:pt x="201263" y="230791"/>
                  </a:lnTo>
                  <a:lnTo>
                    <a:pt x="167354" y="230791"/>
                  </a:lnTo>
                  <a:lnTo>
                    <a:pt x="167354" y="190595"/>
                  </a:lnTo>
                  <a:cubicBezTo>
                    <a:pt x="159639" y="203073"/>
                    <a:pt x="149447" y="213741"/>
                    <a:pt x="136969" y="222504"/>
                  </a:cubicBezTo>
                  <a:cubicBezTo>
                    <a:pt x="124492" y="231267"/>
                    <a:pt x="108299" y="235648"/>
                    <a:pt x="88297" y="235648"/>
                  </a:cubicBezTo>
                  <a:close/>
                </a:path>
              </a:pathLst>
            </a:custGeom>
            <a:solidFill>
              <a:srgbClr val="44505E"/>
            </a:solidFill>
            <a:ln w="9525" cap="flat">
              <a:noFill/>
              <a:prstDash val="solid"/>
              <a:miter/>
            </a:ln>
          </p:spPr>
          <p:txBody>
            <a:bodyPr rtlCol="0" anchor="ctr"/>
            <a:lstStyle/>
            <a:p>
              <a:endParaRPr lang="pt-BR" noProof="0"/>
            </a:p>
          </p:txBody>
        </p:sp>
        <p:sp>
          <p:nvSpPr>
            <p:cNvPr id="38" name="Freeform: Shape 37">
              <a:extLst>
                <a:ext uri="{FF2B5EF4-FFF2-40B4-BE49-F238E27FC236}">
                  <a16:creationId xmlns:a16="http://schemas.microsoft.com/office/drawing/2014/main" id="{E7F06CE9-D161-9D6E-63C9-742B81690469}"/>
                </a:ext>
              </a:extLst>
            </p:cNvPr>
            <p:cNvSpPr/>
            <p:nvPr/>
          </p:nvSpPr>
          <p:spPr>
            <a:xfrm>
              <a:off x="5522205" y="901353"/>
              <a:ext cx="58567" cy="83182"/>
            </a:xfrm>
            <a:custGeom>
              <a:avLst/>
              <a:gdLst>
                <a:gd name="connsiteX0" fmla="*/ 110204 w 232981"/>
                <a:gd name="connsiteY0" fmla="*/ 330898 h 330898"/>
                <a:gd name="connsiteX1" fmla="*/ 69628 w 232981"/>
                <a:gd name="connsiteY1" fmla="*/ 322897 h 330898"/>
                <a:gd name="connsiteX2" fmla="*/ 34385 w 232981"/>
                <a:gd name="connsiteY2" fmla="*/ 299466 h 330898"/>
                <a:gd name="connsiteX3" fmla="*/ 9334 w 232981"/>
                <a:gd name="connsiteY3" fmla="*/ 261938 h 330898"/>
                <a:gd name="connsiteX4" fmla="*/ 0 w 232981"/>
                <a:gd name="connsiteY4" fmla="*/ 211264 h 330898"/>
                <a:gd name="connsiteX5" fmla="*/ 0 w 232981"/>
                <a:gd name="connsiteY5" fmla="*/ 210407 h 330898"/>
                <a:gd name="connsiteX6" fmla="*/ 9334 w 232981"/>
                <a:gd name="connsiteY6" fmla="*/ 159925 h 330898"/>
                <a:gd name="connsiteX7" fmla="*/ 34385 w 232981"/>
                <a:gd name="connsiteY7" fmla="*/ 122206 h 330898"/>
                <a:gd name="connsiteX8" fmla="*/ 69628 w 232981"/>
                <a:gd name="connsiteY8" fmla="*/ 98488 h 330898"/>
                <a:gd name="connsiteX9" fmla="*/ 110204 w 232981"/>
                <a:gd name="connsiteY9" fmla="*/ 90202 h 330898"/>
                <a:gd name="connsiteX10" fmla="*/ 139636 w 232981"/>
                <a:gd name="connsiteY10" fmla="*/ 94202 h 330898"/>
                <a:gd name="connsiteX11" fmla="*/ 163735 w 232981"/>
                <a:gd name="connsiteY11" fmla="*/ 104870 h 330898"/>
                <a:gd name="connsiteX12" fmla="*/ 183166 w 232981"/>
                <a:gd name="connsiteY12" fmla="*/ 120491 h 330898"/>
                <a:gd name="connsiteX13" fmla="*/ 198596 w 232981"/>
                <a:gd name="connsiteY13" fmla="*/ 139255 h 330898"/>
                <a:gd name="connsiteX14" fmla="*/ 198596 w 232981"/>
                <a:gd name="connsiteY14" fmla="*/ 0 h 330898"/>
                <a:gd name="connsiteX15" fmla="*/ 232981 w 232981"/>
                <a:gd name="connsiteY15" fmla="*/ 0 h 330898"/>
                <a:gd name="connsiteX16" fmla="*/ 232981 w 232981"/>
                <a:gd name="connsiteY16" fmla="*/ 325850 h 330898"/>
                <a:gd name="connsiteX17" fmla="*/ 198596 w 232981"/>
                <a:gd name="connsiteY17" fmla="*/ 325850 h 330898"/>
                <a:gd name="connsiteX18" fmla="*/ 198596 w 232981"/>
                <a:gd name="connsiteY18" fmla="*/ 279463 h 330898"/>
                <a:gd name="connsiteX19" fmla="*/ 182785 w 232981"/>
                <a:gd name="connsiteY19" fmla="*/ 299085 h 330898"/>
                <a:gd name="connsiteX20" fmla="*/ 163354 w 232981"/>
                <a:gd name="connsiteY20" fmla="*/ 315658 h 330898"/>
                <a:gd name="connsiteX21" fmla="*/ 139446 w 232981"/>
                <a:gd name="connsiteY21" fmla="*/ 326803 h 330898"/>
                <a:gd name="connsiteX22" fmla="*/ 110204 w 232981"/>
                <a:gd name="connsiteY22" fmla="*/ 330803 h 330898"/>
                <a:gd name="connsiteX23" fmla="*/ 116491 w 232981"/>
                <a:gd name="connsiteY23" fmla="*/ 300133 h 330898"/>
                <a:gd name="connsiteX24" fmla="*/ 147542 w 232981"/>
                <a:gd name="connsiteY24" fmla="*/ 293656 h 330898"/>
                <a:gd name="connsiteX25" fmla="*/ 174307 w 232981"/>
                <a:gd name="connsiteY25" fmla="*/ 275368 h 330898"/>
                <a:gd name="connsiteX26" fmla="*/ 193072 w 232981"/>
                <a:gd name="connsiteY26" fmla="*/ 247269 h 330898"/>
                <a:gd name="connsiteX27" fmla="*/ 200025 w 232981"/>
                <a:gd name="connsiteY27" fmla="*/ 210883 h 330898"/>
                <a:gd name="connsiteX28" fmla="*/ 200025 w 232981"/>
                <a:gd name="connsiteY28" fmla="*/ 210026 h 330898"/>
                <a:gd name="connsiteX29" fmla="*/ 193072 w 232981"/>
                <a:gd name="connsiteY29" fmla="*/ 173641 h 330898"/>
                <a:gd name="connsiteX30" fmla="*/ 174307 w 232981"/>
                <a:gd name="connsiteY30" fmla="*/ 145732 h 330898"/>
                <a:gd name="connsiteX31" fmla="*/ 147542 w 232981"/>
                <a:gd name="connsiteY31" fmla="*/ 127635 h 330898"/>
                <a:gd name="connsiteX32" fmla="*/ 116491 w 232981"/>
                <a:gd name="connsiteY32" fmla="*/ 121158 h 330898"/>
                <a:gd name="connsiteX33" fmla="*/ 84772 w 232981"/>
                <a:gd name="connsiteY33" fmla="*/ 127159 h 330898"/>
                <a:gd name="connsiteX34" fmla="*/ 59150 w 232981"/>
                <a:gd name="connsiteY34" fmla="*/ 144589 h 330898"/>
                <a:gd name="connsiteX35" fmla="*/ 41719 w 232981"/>
                <a:gd name="connsiteY35" fmla="*/ 172498 h 330898"/>
                <a:gd name="connsiteX36" fmla="*/ 35242 w 232981"/>
                <a:gd name="connsiteY36" fmla="*/ 210026 h 330898"/>
                <a:gd name="connsiteX37" fmla="*/ 35242 w 232981"/>
                <a:gd name="connsiteY37" fmla="*/ 210883 h 330898"/>
                <a:gd name="connsiteX38" fmla="*/ 41719 w 232981"/>
                <a:gd name="connsiteY38" fmla="*/ 247936 h 330898"/>
                <a:gd name="connsiteX39" fmla="*/ 59341 w 232981"/>
                <a:gd name="connsiteY39" fmla="*/ 276034 h 330898"/>
                <a:gd name="connsiteX40" fmla="*/ 85249 w 232981"/>
                <a:gd name="connsiteY40" fmla="*/ 293941 h 330898"/>
                <a:gd name="connsiteX41" fmla="*/ 116491 w 23298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30898">
                  <a:moveTo>
                    <a:pt x="110204" y="330898"/>
                  </a:moveTo>
                  <a:cubicBezTo>
                    <a:pt x="96202" y="330898"/>
                    <a:pt x="82677" y="328231"/>
                    <a:pt x="69628" y="322897"/>
                  </a:cubicBezTo>
                  <a:cubicBezTo>
                    <a:pt x="56578" y="317563"/>
                    <a:pt x="44767" y="309753"/>
                    <a:pt x="34385" y="299466"/>
                  </a:cubicBezTo>
                  <a:cubicBezTo>
                    <a:pt x="24003" y="289179"/>
                    <a:pt x="15621" y="276701"/>
                    <a:pt x="9334" y="261938"/>
                  </a:cubicBezTo>
                  <a:cubicBezTo>
                    <a:pt x="3048" y="247174"/>
                    <a:pt x="0" y="230314"/>
                    <a:pt x="0" y="211264"/>
                  </a:cubicBezTo>
                  <a:lnTo>
                    <a:pt x="0" y="210407"/>
                  </a:lnTo>
                  <a:cubicBezTo>
                    <a:pt x="0" y="191643"/>
                    <a:pt x="3143" y="174879"/>
                    <a:pt x="9334" y="159925"/>
                  </a:cubicBezTo>
                  <a:cubicBezTo>
                    <a:pt x="15621" y="145066"/>
                    <a:pt x="23908" y="132493"/>
                    <a:pt x="34385" y="122206"/>
                  </a:cubicBezTo>
                  <a:cubicBezTo>
                    <a:pt x="44767" y="111919"/>
                    <a:pt x="56578" y="104013"/>
                    <a:pt x="69628" y="98488"/>
                  </a:cubicBezTo>
                  <a:cubicBezTo>
                    <a:pt x="82677" y="92964"/>
                    <a:pt x="96298" y="90202"/>
                    <a:pt x="110204" y="90202"/>
                  </a:cubicBezTo>
                  <a:cubicBezTo>
                    <a:pt x="120967" y="90202"/>
                    <a:pt x="130778" y="91535"/>
                    <a:pt x="139636" y="94202"/>
                  </a:cubicBezTo>
                  <a:cubicBezTo>
                    <a:pt x="148590" y="96869"/>
                    <a:pt x="156591" y="100489"/>
                    <a:pt x="163735" y="104870"/>
                  </a:cubicBezTo>
                  <a:cubicBezTo>
                    <a:pt x="170878" y="109347"/>
                    <a:pt x="177356" y="114586"/>
                    <a:pt x="183166" y="120491"/>
                  </a:cubicBezTo>
                  <a:cubicBezTo>
                    <a:pt x="188976" y="126492"/>
                    <a:pt x="194119" y="132683"/>
                    <a:pt x="198596" y="139255"/>
                  </a:cubicBezTo>
                  <a:lnTo>
                    <a:pt x="198596" y="0"/>
                  </a:lnTo>
                  <a:lnTo>
                    <a:pt x="232981" y="0"/>
                  </a:lnTo>
                  <a:lnTo>
                    <a:pt x="232981" y="325850"/>
                  </a:lnTo>
                  <a:lnTo>
                    <a:pt x="198596" y="325850"/>
                  </a:lnTo>
                  <a:lnTo>
                    <a:pt x="198596" y="279463"/>
                  </a:lnTo>
                  <a:cubicBezTo>
                    <a:pt x="193834" y="286321"/>
                    <a:pt x="188595" y="292894"/>
                    <a:pt x="182785" y="299085"/>
                  </a:cubicBezTo>
                  <a:cubicBezTo>
                    <a:pt x="176974" y="305371"/>
                    <a:pt x="170498" y="310896"/>
                    <a:pt x="163354" y="315658"/>
                  </a:cubicBezTo>
                  <a:cubicBezTo>
                    <a:pt x="156210" y="320421"/>
                    <a:pt x="148209" y="324136"/>
                    <a:pt x="139446" y="326803"/>
                  </a:cubicBezTo>
                  <a:cubicBezTo>
                    <a:pt x="130683" y="329470"/>
                    <a:pt x="120967" y="330803"/>
                    <a:pt x="110204" y="330803"/>
                  </a:cubicBezTo>
                  <a:close/>
                  <a:moveTo>
                    <a:pt x="116491" y="300133"/>
                  </a:moveTo>
                  <a:cubicBezTo>
                    <a:pt x="127159" y="300133"/>
                    <a:pt x="137541" y="297942"/>
                    <a:pt x="147542" y="293656"/>
                  </a:cubicBezTo>
                  <a:cubicBezTo>
                    <a:pt x="157544" y="289369"/>
                    <a:pt x="166402" y="283273"/>
                    <a:pt x="174307" y="275368"/>
                  </a:cubicBezTo>
                  <a:cubicBezTo>
                    <a:pt x="182213" y="267462"/>
                    <a:pt x="188404" y="258127"/>
                    <a:pt x="193072" y="247269"/>
                  </a:cubicBezTo>
                  <a:cubicBezTo>
                    <a:pt x="197644" y="236410"/>
                    <a:pt x="200025" y="224314"/>
                    <a:pt x="200025" y="210883"/>
                  </a:cubicBezTo>
                  <a:lnTo>
                    <a:pt x="200025" y="210026"/>
                  </a:lnTo>
                  <a:cubicBezTo>
                    <a:pt x="200025" y="196596"/>
                    <a:pt x="197739" y="184499"/>
                    <a:pt x="193072" y="173641"/>
                  </a:cubicBezTo>
                  <a:cubicBezTo>
                    <a:pt x="188500" y="162782"/>
                    <a:pt x="182213" y="153448"/>
                    <a:pt x="174307" y="145732"/>
                  </a:cubicBezTo>
                  <a:cubicBezTo>
                    <a:pt x="166402" y="138017"/>
                    <a:pt x="157448" y="132016"/>
                    <a:pt x="147542" y="127635"/>
                  </a:cubicBezTo>
                  <a:cubicBezTo>
                    <a:pt x="137541" y="123349"/>
                    <a:pt x="127254" y="121158"/>
                    <a:pt x="116491" y="121158"/>
                  </a:cubicBezTo>
                  <a:cubicBezTo>
                    <a:pt x="105156" y="121158"/>
                    <a:pt x="94583" y="123158"/>
                    <a:pt x="84772" y="127159"/>
                  </a:cubicBezTo>
                  <a:cubicBezTo>
                    <a:pt x="74962" y="131159"/>
                    <a:pt x="66389" y="136969"/>
                    <a:pt x="59150" y="144589"/>
                  </a:cubicBezTo>
                  <a:cubicBezTo>
                    <a:pt x="51816" y="152114"/>
                    <a:pt x="46101" y="161449"/>
                    <a:pt x="41719" y="172498"/>
                  </a:cubicBezTo>
                  <a:cubicBezTo>
                    <a:pt x="37433" y="183451"/>
                    <a:pt x="35242" y="196024"/>
                    <a:pt x="35242" y="210026"/>
                  </a:cubicBezTo>
                  <a:lnTo>
                    <a:pt x="35242" y="210883"/>
                  </a:lnTo>
                  <a:cubicBezTo>
                    <a:pt x="35242" y="224599"/>
                    <a:pt x="37433" y="236982"/>
                    <a:pt x="41719" y="247936"/>
                  </a:cubicBezTo>
                  <a:cubicBezTo>
                    <a:pt x="46006" y="258984"/>
                    <a:pt x="51911" y="268319"/>
                    <a:pt x="59341" y="276034"/>
                  </a:cubicBezTo>
                  <a:cubicBezTo>
                    <a:pt x="66770" y="283750"/>
                    <a:pt x="75438" y="289750"/>
                    <a:pt x="85249" y="293941"/>
                  </a:cubicBezTo>
                  <a:cubicBezTo>
                    <a:pt x="95059" y="298132"/>
                    <a:pt x="105442" y="300228"/>
                    <a:pt x="116491" y="300228"/>
                  </a:cubicBezTo>
                  <a:close/>
                </a:path>
              </a:pathLst>
            </a:custGeom>
            <a:solidFill>
              <a:srgbClr val="44505E"/>
            </a:solidFill>
            <a:ln w="9525" cap="flat">
              <a:noFill/>
              <a:prstDash val="solid"/>
              <a:miter/>
            </a:ln>
          </p:spPr>
          <p:txBody>
            <a:bodyPr rtlCol="0" anchor="ctr"/>
            <a:lstStyle/>
            <a:p>
              <a:endParaRPr lang="pt-BR" noProof="0"/>
            </a:p>
          </p:txBody>
        </p:sp>
        <p:sp>
          <p:nvSpPr>
            <p:cNvPr id="39" name="Freeform: Shape 38">
              <a:extLst>
                <a:ext uri="{FF2B5EF4-FFF2-40B4-BE49-F238E27FC236}">
                  <a16:creationId xmlns:a16="http://schemas.microsoft.com/office/drawing/2014/main" id="{36572BA2-CB55-115C-BC0A-E0A44D8913EB}"/>
                </a:ext>
              </a:extLst>
            </p:cNvPr>
            <p:cNvSpPr/>
            <p:nvPr/>
          </p:nvSpPr>
          <p:spPr>
            <a:xfrm>
              <a:off x="5596504"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6963 w 218217"/>
                <a:gd name="connsiteY3" fmla="*/ 206026 h 241077"/>
                <a:gd name="connsiteX4" fmla="*/ 116015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8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1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452 w 218217"/>
                <a:gd name="connsiteY25" fmla="*/ 106299 h 241077"/>
                <a:gd name="connsiteX26" fmla="*/ 176784 w 218217"/>
                <a:gd name="connsiteY26" fmla="*/ 76771 h 241077"/>
                <a:gd name="connsiteX27" fmla="*/ 162306 w 218217"/>
                <a:gd name="connsiteY27" fmla="*/ 52101 h 241077"/>
                <a:gd name="connsiteX28" fmla="*/ 140018 w 218217"/>
                <a:gd name="connsiteY28" fmla="*/ 35242 h 241077"/>
                <a:gd name="connsiteX29" fmla="*/ 109919 w 218217"/>
                <a:gd name="connsiteY29" fmla="*/ 29051 h 241077"/>
                <a:gd name="connsiteX30" fmla="*/ 82201 w 218217"/>
                <a:gd name="connsiteY30" fmla="*/ 34766 h 241077"/>
                <a:gd name="connsiteX31" fmla="*/ 59436 w 218217"/>
                <a:gd name="connsiteY31" fmla="*/ 50959 h 241077"/>
                <a:gd name="connsiteX32" fmla="*/ 43148 w 218217"/>
                <a:gd name="connsiteY32" fmla="*/ 75628 h 241077"/>
                <a:gd name="connsiteX33" fmla="*/ 34862 w 218217"/>
                <a:gd name="connsiteY33" fmla="*/ 106204 h 241077"/>
                <a:gd name="connsiteX34" fmla="*/ 183547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724" y="202597"/>
                    <a:pt x="86963" y="206026"/>
                  </a:cubicBezTo>
                  <a:cubicBezTo>
                    <a:pt x="96203" y="209455"/>
                    <a:pt x="105823" y="211169"/>
                    <a:pt x="116015" y="211169"/>
                  </a:cubicBezTo>
                  <a:cubicBezTo>
                    <a:pt x="132112" y="211169"/>
                    <a:pt x="145828" y="208216"/>
                    <a:pt x="157353" y="202216"/>
                  </a:cubicBezTo>
                  <a:cubicBezTo>
                    <a:pt x="168783" y="196310"/>
                    <a:pt x="179261" y="188404"/>
                    <a:pt x="188786" y="178594"/>
                  </a:cubicBezTo>
                  <a:lnTo>
                    <a:pt x="210217" y="197834"/>
                  </a:lnTo>
                  <a:cubicBezTo>
                    <a:pt x="198596" y="210979"/>
                    <a:pt x="185357" y="221361"/>
                    <a:pt x="170498" y="229267"/>
                  </a:cubicBezTo>
                  <a:cubicBezTo>
                    <a:pt x="155639"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679" y="0"/>
                    <a:pt x="110681"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452" y="106299"/>
                  </a:moveTo>
                  <a:cubicBezTo>
                    <a:pt x="182594" y="95917"/>
                    <a:pt x="180308" y="86106"/>
                    <a:pt x="176784" y="76771"/>
                  </a:cubicBezTo>
                  <a:cubicBezTo>
                    <a:pt x="173165" y="67437"/>
                    <a:pt x="168402" y="59245"/>
                    <a:pt x="162306" y="52101"/>
                  </a:cubicBezTo>
                  <a:cubicBezTo>
                    <a:pt x="156210" y="44958"/>
                    <a:pt x="148781" y="39338"/>
                    <a:pt x="140018" y="35242"/>
                  </a:cubicBezTo>
                  <a:cubicBezTo>
                    <a:pt x="131254" y="31147"/>
                    <a:pt x="121158" y="29051"/>
                    <a:pt x="109919" y="29051"/>
                  </a:cubicBezTo>
                  <a:cubicBezTo>
                    <a:pt x="100108" y="29051"/>
                    <a:pt x="90869" y="30956"/>
                    <a:pt x="82201" y="34766"/>
                  </a:cubicBezTo>
                  <a:cubicBezTo>
                    <a:pt x="73533" y="38671"/>
                    <a:pt x="66008" y="44005"/>
                    <a:pt x="59436" y="50959"/>
                  </a:cubicBezTo>
                  <a:cubicBezTo>
                    <a:pt x="52864" y="57912"/>
                    <a:pt x="47435" y="66103"/>
                    <a:pt x="43148" y="75628"/>
                  </a:cubicBezTo>
                  <a:cubicBezTo>
                    <a:pt x="38862" y="85058"/>
                    <a:pt x="36100" y="95345"/>
                    <a:pt x="34862" y="106204"/>
                  </a:cubicBezTo>
                  <a:lnTo>
                    <a:pt x="183547" y="106204"/>
                  </a:lnTo>
                  <a:close/>
                </a:path>
              </a:pathLst>
            </a:custGeom>
            <a:solidFill>
              <a:srgbClr val="44505E"/>
            </a:solidFill>
            <a:ln w="9525" cap="flat">
              <a:noFill/>
              <a:prstDash val="solid"/>
              <a:miter/>
            </a:ln>
          </p:spPr>
          <p:txBody>
            <a:bodyPr rtlCol="0" anchor="ctr"/>
            <a:lstStyle/>
            <a:p>
              <a:endParaRPr lang="pt-BR" noProof="0"/>
            </a:p>
          </p:txBody>
        </p:sp>
        <p:sp>
          <p:nvSpPr>
            <p:cNvPr id="40" name="Freeform: Shape 39">
              <a:extLst>
                <a:ext uri="{FF2B5EF4-FFF2-40B4-BE49-F238E27FC236}">
                  <a16:creationId xmlns:a16="http://schemas.microsoft.com/office/drawing/2014/main" id="{6CB8C8D0-7A14-EA9E-6BE3-5D4B89104791}"/>
                </a:ext>
              </a:extLst>
            </p:cNvPr>
            <p:cNvSpPr/>
            <p:nvPr/>
          </p:nvSpPr>
          <p:spPr>
            <a:xfrm>
              <a:off x="5661680" y="924268"/>
              <a:ext cx="44656" cy="60195"/>
            </a:xfrm>
            <a:custGeom>
              <a:avLst/>
              <a:gdLst>
                <a:gd name="connsiteX0" fmla="*/ 95536 w 177641"/>
                <a:gd name="connsiteY0" fmla="*/ 239268 h 239458"/>
                <a:gd name="connsiteX1" fmla="*/ 45053 w 177641"/>
                <a:gd name="connsiteY1" fmla="*/ 230124 h 239458"/>
                <a:gd name="connsiteX2" fmla="*/ 0 w 177641"/>
                <a:gd name="connsiteY2" fmla="*/ 205359 h 239458"/>
                <a:gd name="connsiteX3" fmla="*/ 17431 w 177641"/>
                <a:gd name="connsiteY3" fmla="*/ 180785 h 239458"/>
                <a:gd name="connsiteX4" fmla="*/ 56483 w 177641"/>
                <a:gd name="connsiteY4" fmla="*/ 202692 h 239458"/>
                <a:gd name="connsiteX5" fmla="*/ 97346 w 177641"/>
                <a:gd name="connsiteY5" fmla="*/ 210217 h 239458"/>
                <a:gd name="connsiteX6" fmla="*/ 131731 w 177641"/>
                <a:gd name="connsiteY6" fmla="*/ 200406 h 239458"/>
                <a:gd name="connsiteX7" fmla="*/ 145161 w 177641"/>
                <a:gd name="connsiteY7" fmla="*/ 173641 h 239458"/>
                <a:gd name="connsiteX8" fmla="*/ 145161 w 177641"/>
                <a:gd name="connsiteY8" fmla="*/ 172784 h 239458"/>
                <a:gd name="connsiteX9" fmla="*/ 140494 w 177641"/>
                <a:gd name="connsiteY9" fmla="*/ 158020 h 239458"/>
                <a:gd name="connsiteX10" fmla="*/ 127730 w 177641"/>
                <a:gd name="connsiteY10" fmla="*/ 147066 h 239458"/>
                <a:gd name="connsiteX11" fmla="*/ 109157 w 177641"/>
                <a:gd name="connsiteY11" fmla="*/ 138779 h 239458"/>
                <a:gd name="connsiteX12" fmla="*/ 87535 w 177641"/>
                <a:gd name="connsiteY12" fmla="*/ 132112 h 239458"/>
                <a:gd name="connsiteX13" fmla="*/ 60484 w 177641"/>
                <a:gd name="connsiteY13" fmla="*/ 123444 h 239458"/>
                <a:gd name="connsiteX14" fmla="*/ 35909 w 177641"/>
                <a:gd name="connsiteY14" fmla="*/ 111633 h 239458"/>
                <a:gd name="connsiteX15" fmla="*/ 18098 w 177641"/>
                <a:gd name="connsiteY15" fmla="*/ 93726 h 239458"/>
                <a:gd name="connsiteX16" fmla="*/ 11144 w 177641"/>
                <a:gd name="connsiteY16" fmla="*/ 66961 h 239458"/>
                <a:gd name="connsiteX17" fmla="*/ 11144 w 177641"/>
                <a:gd name="connsiteY17" fmla="*/ 66008 h 239458"/>
                <a:gd name="connsiteX18" fmla="*/ 16954 w 177641"/>
                <a:gd name="connsiteY18" fmla="*/ 39053 h 239458"/>
                <a:gd name="connsiteX19" fmla="*/ 33242 w 177641"/>
                <a:gd name="connsiteY19" fmla="*/ 18098 h 239458"/>
                <a:gd name="connsiteX20" fmla="*/ 58293 w 177641"/>
                <a:gd name="connsiteY20" fmla="*/ 4667 h 239458"/>
                <a:gd name="connsiteX21" fmla="*/ 89725 w 177641"/>
                <a:gd name="connsiteY21" fmla="*/ 0 h 239458"/>
                <a:gd name="connsiteX22" fmla="*/ 133064 w 177641"/>
                <a:gd name="connsiteY22" fmla="*/ 6953 h 239458"/>
                <a:gd name="connsiteX23" fmla="*/ 172784 w 177641"/>
                <a:gd name="connsiteY23" fmla="*/ 25527 h 239458"/>
                <a:gd name="connsiteX24" fmla="*/ 157163 w 177641"/>
                <a:gd name="connsiteY24" fmla="*/ 51435 h 239458"/>
                <a:gd name="connsiteX25" fmla="*/ 123444 w 177641"/>
                <a:gd name="connsiteY25" fmla="*/ 35147 h 239458"/>
                <a:gd name="connsiteX26" fmla="*/ 88868 w 177641"/>
                <a:gd name="connsiteY26" fmla="*/ 29146 h 239458"/>
                <a:gd name="connsiteX27" fmla="*/ 56293 w 177641"/>
                <a:gd name="connsiteY27" fmla="*/ 38767 h 239458"/>
                <a:gd name="connsiteX28" fmla="*/ 44196 w 177641"/>
                <a:gd name="connsiteY28" fmla="*/ 62675 h 239458"/>
                <a:gd name="connsiteX29" fmla="*/ 44196 w 177641"/>
                <a:gd name="connsiteY29" fmla="*/ 63627 h 239458"/>
                <a:gd name="connsiteX30" fmla="*/ 49149 w 177641"/>
                <a:gd name="connsiteY30" fmla="*/ 77724 h 239458"/>
                <a:gd name="connsiteX31" fmla="*/ 62294 w 177641"/>
                <a:gd name="connsiteY31" fmla="*/ 88202 h 239458"/>
                <a:gd name="connsiteX32" fmla="*/ 81248 w 177641"/>
                <a:gd name="connsiteY32" fmla="*/ 96203 h 239458"/>
                <a:gd name="connsiteX33" fmla="*/ 103537 w 177641"/>
                <a:gd name="connsiteY33" fmla="*/ 103346 h 239458"/>
                <a:gd name="connsiteX34" fmla="*/ 130112 w 177641"/>
                <a:gd name="connsiteY34" fmla="*/ 112300 h 239458"/>
                <a:gd name="connsiteX35" fmla="*/ 154019 w 177641"/>
                <a:gd name="connsiteY35" fmla="*/ 124778 h 239458"/>
                <a:gd name="connsiteX36" fmla="*/ 171164 w 177641"/>
                <a:gd name="connsiteY36" fmla="*/ 143066 h 239458"/>
                <a:gd name="connsiteX37" fmla="*/ 177641 w 177641"/>
                <a:gd name="connsiteY37" fmla="*/ 169450 h 239458"/>
                <a:gd name="connsiteX38" fmla="*/ 177641 w 177641"/>
                <a:gd name="connsiteY38" fmla="*/ 170307 h 239458"/>
                <a:gd name="connsiteX39" fmla="*/ 171164 w 177641"/>
                <a:gd name="connsiteY39" fmla="*/ 199549 h 239458"/>
                <a:gd name="connsiteX40" fmla="*/ 153734 w 177641"/>
                <a:gd name="connsiteY40" fmla="*/ 221171 h 239458"/>
                <a:gd name="connsiteX41" fmla="*/ 127825 w 177641"/>
                <a:gd name="connsiteY41" fmla="*/ 234791 h 239458"/>
                <a:gd name="connsiteX42" fmla="*/ 95441 w 177641"/>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641" h="239458">
                  <a:moveTo>
                    <a:pt x="95536" y="239268"/>
                  </a:moveTo>
                  <a:cubicBezTo>
                    <a:pt x="78867" y="239268"/>
                    <a:pt x="62008" y="236220"/>
                    <a:pt x="45053" y="230124"/>
                  </a:cubicBezTo>
                  <a:cubicBezTo>
                    <a:pt x="28099" y="224028"/>
                    <a:pt x="13049" y="215741"/>
                    <a:pt x="0" y="205359"/>
                  </a:cubicBezTo>
                  <a:lnTo>
                    <a:pt x="17431" y="180785"/>
                  </a:lnTo>
                  <a:cubicBezTo>
                    <a:pt x="29908"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542" y="162211"/>
                    <a:pt x="140494" y="158020"/>
                  </a:cubicBezTo>
                  <a:cubicBezTo>
                    <a:pt x="137350" y="153829"/>
                    <a:pt x="133160" y="150209"/>
                    <a:pt x="127730" y="147066"/>
                  </a:cubicBezTo>
                  <a:cubicBezTo>
                    <a:pt x="122396" y="143923"/>
                    <a:pt x="116205" y="141161"/>
                    <a:pt x="109157" y="138779"/>
                  </a:cubicBezTo>
                  <a:cubicBezTo>
                    <a:pt x="102203" y="136398"/>
                    <a:pt x="94964" y="134207"/>
                    <a:pt x="87535" y="132112"/>
                  </a:cubicBezTo>
                  <a:cubicBezTo>
                    <a:pt x="78581" y="129445"/>
                    <a:pt x="69628" y="126492"/>
                    <a:pt x="60484" y="123444"/>
                  </a:cubicBezTo>
                  <a:cubicBezTo>
                    <a:pt x="51435" y="120301"/>
                    <a:pt x="43244" y="116396"/>
                    <a:pt x="35909" y="111633"/>
                  </a:cubicBezTo>
                  <a:cubicBezTo>
                    <a:pt x="28575" y="106871"/>
                    <a:pt x="22670" y="100870"/>
                    <a:pt x="18098" y="93726"/>
                  </a:cubicBezTo>
                  <a:cubicBezTo>
                    <a:pt x="13525" y="86582"/>
                    <a:pt x="11144" y="77629"/>
                    <a:pt x="11144" y="66961"/>
                  </a:cubicBezTo>
                  <a:lnTo>
                    <a:pt x="11144" y="66008"/>
                  </a:lnTo>
                  <a:cubicBezTo>
                    <a:pt x="11144" y="56198"/>
                    <a:pt x="13049" y="47149"/>
                    <a:pt x="16954" y="39053"/>
                  </a:cubicBezTo>
                  <a:cubicBezTo>
                    <a:pt x="20860" y="30861"/>
                    <a:pt x="26289" y="23908"/>
                    <a:pt x="33242" y="18098"/>
                  </a:cubicBezTo>
                  <a:cubicBezTo>
                    <a:pt x="40196" y="12287"/>
                    <a:pt x="48578" y="7811"/>
                    <a:pt x="58293" y="4667"/>
                  </a:cubicBezTo>
                  <a:cubicBezTo>
                    <a:pt x="67913" y="1524"/>
                    <a:pt x="78486" y="0"/>
                    <a:pt x="89725" y="0"/>
                  </a:cubicBezTo>
                  <a:cubicBezTo>
                    <a:pt x="104013" y="0"/>
                    <a:pt x="118396" y="2286"/>
                    <a:pt x="133064" y="6953"/>
                  </a:cubicBezTo>
                  <a:cubicBezTo>
                    <a:pt x="147638" y="11621"/>
                    <a:pt x="160877" y="17717"/>
                    <a:pt x="172784" y="25527"/>
                  </a:cubicBezTo>
                  <a:lnTo>
                    <a:pt x="157163" y="51435"/>
                  </a:lnTo>
                  <a:cubicBezTo>
                    <a:pt x="146399" y="44577"/>
                    <a:pt x="135255" y="39148"/>
                    <a:pt x="123444" y="35147"/>
                  </a:cubicBezTo>
                  <a:cubicBezTo>
                    <a:pt x="111728" y="31147"/>
                    <a:pt x="100203" y="29146"/>
                    <a:pt x="88868" y="29146"/>
                  </a:cubicBezTo>
                  <a:cubicBezTo>
                    <a:pt x="75152" y="29146"/>
                    <a:pt x="64294" y="32385"/>
                    <a:pt x="56293" y="38767"/>
                  </a:cubicBezTo>
                  <a:cubicBezTo>
                    <a:pt x="48292" y="45149"/>
                    <a:pt x="44196" y="53150"/>
                    <a:pt x="44196" y="62675"/>
                  </a:cubicBezTo>
                  <a:lnTo>
                    <a:pt x="44196" y="63627"/>
                  </a:lnTo>
                  <a:cubicBezTo>
                    <a:pt x="44196" y="68961"/>
                    <a:pt x="45815" y="73628"/>
                    <a:pt x="49149" y="77724"/>
                  </a:cubicBezTo>
                  <a:cubicBezTo>
                    <a:pt x="52388" y="81725"/>
                    <a:pt x="56769" y="85249"/>
                    <a:pt x="62294" y="88202"/>
                  </a:cubicBezTo>
                  <a:cubicBezTo>
                    <a:pt x="67818" y="91154"/>
                    <a:pt x="74104" y="93821"/>
                    <a:pt x="81248" y="96203"/>
                  </a:cubicBezTo>
                  <a:cubicBezTo>
                    <a:pt x="88392" y="98584"/>
                    <a:pt x="95821" y="100965"/>
                    <a:pt x="103537" y="103346"/>
                  </a:cubicBezTo>
                  <a:cubicBezTo>
                    <a:pt x="112490" y="106013"/>
                    <a:pt x="121349" y="108966"/>
                    <a:pt x="130112" y="112300"/>
                  </a:cubicBezTo>
                  <a:cubicBezTo>
                    <a:pt x="138875" y="115538"/>
                    <a:pt x="146875" y="119729"/>
                    <a:pt x="154019" y="124778"/>
                  </a:cubicBezTo>
                  <a:cubicBezTo>
                    <a:pt x="161163" y="129826"/>
                    <a:pt x="166878" y="135922"/>
                    <a:pt x="171164" y="143066"/>
                  </a:cubicBezTo>
                  <a:cubicBezTo>
                    <a:pt x="175450" y="150209"/>
                    <a:pt x="177641" y="158972"/>
                    <a:pt x="177641" y="169450"/>
                  </a:cubicBezTo>
                  <a:lnTo>
                    <a:pt x="177641" y="170307"/>
                  </a:lnTo>
                  <a:cubicBezTo>
                    <a:pt x="177641" y="181356"/>
                    <a:pt x="175450" y="191071"/>
                    <a:pt x="171164" y="199549"/>
                  </a:cubicBezTo>
                  <a:cubicBezTo>
                    <a:pt x="166878" y="208026"/>
                    <a:pt x="161068" y="215265"/>
                    <a:pt x="153734" y="221171"/>
                  </a:cubicBezTo>
                  <a:cubicBezTo>
                    <a:pt x="146495" y="227171"/>
                    <a:pt x="137827" y="231648"/>
                    <a:pt x="127825" y="234791"/>
                  </a:cubicBezTo>
                  <a:cubicBezTo>
                    <a:pt x="117824" y="237935"/>
                    <a:pt x="107061" y="239459"/>
                    <a:pt x="95441" y="239459"/>
                  </a:cubicBezTo>
                  <a:close/>
                </a:path>
              </a:pathLst>
            </a:custGeom>
            <a:solidFill>
              <a:srgbClr val="44505E"/>
            </a:solidFill>
            <a:ln w="9525" cap="flat">
              <a:noFill/>
              <a:prstDash val="solid"/>
              <a:miter/>
            </a:ln>
          </p:spPr>
          <p:txBody>
            <a:bodyPr rtlCol="0" anchor="ctr"/>
            <a:lstStyle/>
            <a:p>
              <a:endParaRPr lang="pt-BR" noProof="0"/>
            </a:p>
          </p:txBody>
        </p:sp>
        <p:sp>
          <p:nvSpPr>
            <p:cNvPr id="41" name="Freeform: Shape 40">
              <a:extLst>
                <a:ext uri="{FF2B5EF4-FFF2-40B4-BE49-F238E27FC236}">
                  <a16:creationId xmlns:a16="http://schemas.microsoft.com/office/drawing/2014/main" id="{EB0EE7BE-CE5E-90A9-389F-EE9788E071A5}"/>
                </a:ext>
              </a:extLst>
            </p:cNvPr>
            <p:cNvSpPr/>
            <p:nvPr/>
          </p:nvSpPr>
          <p:spPr>
            <a:xfrm>
              <a:off x="5752668" y="924028"/>
              <a:ext cx="58567" cy="77196"/>
            </a:xfrm>
            <a:custGeom>
              <a:avLst/>
              <a:gdLst>
                <a:gd name="connsiteX0" fmla="*/ 198596 w 232981"/>
                <a:gd name="connsiteY0" fmla="*/ 189357 h 307085"/>
                <a:gd name="connsiteX1" fmla="*/ 182785 w 232981"/>
                <a:gd name="connsiteY1" fmla="*/ 208978 h 307085"/>
                <a:gd name="connsiteX2" fmla="*/ 163354 w 232981"/>
                <a:gd name="connsiteY2" fmla="*/ 225552 h 307085"/>
                <a:gd name="connsiteX3" fmla="*/ 139446 w 232981"/>
                <a:gd name="connsiteY3" fmla="*/ 236696 h 307085"/>
                <a:gd name="connsiteX4" fmla="*/ 110204 w 232981"/>
                <a:gd name="connsiteY4" fmla="*/ 240697 h 307085"/>
                <a:gd name="connsiteX5" fmla="*/ 69628 w 232981"/>
                <a:gd name="connsiteY5" fmla="*/ 232696 h 307085"/>
                <a:gd name="connsiteX6" fmla="*/ 34385 w 232981"/>
                <a:gd name="connsiteY6" fmla="*/ 209264 h 307085"/>
                <a:gd name="connsiteX7" fmla="*/ 9335 w 232981"/>
                <a:gd name="connsiteY7" fmla="*/ 171736 h 307085"/>
                <a:gd name="connsiteX8" fmla="*/ 0 w 232981"/>
                <a:gd name="connsiteY8" fmla="*/ 121063 h 307085"/>
                <a:gd name="connsiteX9" fmla="*/ 0 w 232981"/>
                <a:gd name="connsiteY9" fmla="*/ 120205 h 307085"/>
                <a:gd name="connsiteX10" fmla="*/ 9335 w 232981"/>
                <a:gd name="connsiteY10" fmla="*/ 69723 h 307085"/>
                <a:gd name="connsiteX11" fmla="*/ 34385 w 232981"/>
                <a:gd name="connsiteY11" fmla="*/ 32004 h 307085"/>
                <a:gd name="connsiteX12" fmla="*/ 69628 w 232981"/>
                <a:gd name="connsiteY12" fmla="*/ 8287 h 307085"/>
                <a:gd name="connsiteX13" fmla="*/ 110204 w 232981"/>
                <a:gd name="connsiteY13" fmla="*/ 0 h 307085"/>
                <a:gd name="connsiteX14" fmla="*/ 139637 w 232981"/>
                <a:gd name="connsiteY14" fmla="*/ 4000 h 307085"/>
                <a:gd name="connsiteX15" fmla="*/ 163735 w 232981"/>
                <a:gd name="connsiteY15" fmla="*/ 14668 h 307085"/>
                <a:gd name="connsiteX16" fmla="*/ 183166 w 232981"/>
                <a:gd name="connsiteY16" fmla="*/ 30289 h 307085"/>
                <a:gd name="connsiteX17" fmla="*/ 198596 w 232981"/>
                <a:gd name="connsiteY17" fmla="*/ 49054 h 307085"/>
                <a:gd name="connsiteX18" fmla="*/ 198596 w 232981"/>
                <a:gd name="connsiteY18" fmla="*/ 4858 h 307085"/>
                <a:gd name="connsiteX19" fmla="*/ 232982 w 232981"/>
                <a:gd name="connsiteY19" fmla="*/ 4858 h 307085"/>
                <a:gd name="connsiteX20" fmla="*/ 232982 w 232981"/>
                <a:gd name="connsiteY20" fmla="*/ 307086 h 307085"/>
                <a:gd name="connsiteX21" fmla="*/ 198596 w 232981"/>
                <a:gd name="connsiteY21" fmla="*/ 307086 h 307085"/>
                <a:gd name="connsiteX22" fmla="*/ 198596 w 232981"/>
                <a:gd name="connsiteY22" fmla="*/ 189262 h 307085"/>
                <a:gd name="connsiteX23" fmla="*/ 116491 w 232981"/>
                <a:gd name="connsiteY23" fmla="*/ 209931 h 307085"/>
                <a:gd name="connsiteX24" fmla="*/ 147542 w 232981"/>
                <a:gd name="connsiteY24" fmla="*/ 203454 h 307085"/>
                <a:gd name="connsiteX25" fmla="*/ 174308 w 232981"/>
                <a:gd name="connsiteY25" fmla="*/ 185166 h 307085"/>
                <a:gd name="connsiteX26" fmla="*/ 193072 w 232981"/>
                <a:gd name="connsiteY26" fmla="*/ 157067 h 307085"/>
                <a:gd name="connsiteX27" fmla="*/ 200025 w 232981"/>
                <a:gd name="connsiteY27" fmla="*/ 120682 h 307085"/>
                <a:gd name="connsiteX28" fmla="*/ 200025 w 232981"/>
                <a:gd name="connsiteY28" fmla="*/ 119824 h 307085"/>
                <a:gd name="connsiteX29" fmla="*/ 193072 w 232981"/>
                <a:gd name="connsiteY29" fmla="*/ 83439 h 307085"/>
                <a:gd name="connsiteX30" fmla="*/ 174308 w 232981"/>
                <a:gd name="connsiteY30" fmla="*/ 55531 h 307085"/>
                <a:gd name="connsiteX31" fmla="*/ 147542 w 232981"/>
                <a:gd name="connsiteY31" fmla="*/ 37433 h 307085"/>
                <a:gd name="connsiteX32" fmla="*/ 116491 w 232981"/>
                <a:gd name="connsiteY32" fmla="*/ 30956 h 307085"/>
                <a:gd name="connsiteX33" fmla="*/ 84773 w 232981"/>
                <a:gd name="connsiteY33" fmla="*/ 36957 h 307085"/>
                <a:gd name="connsiteX34" fmla="*/ 59150 w 232981"/>
                <a:gd name="connsiteY34" fmla="*/ 54388 h 307085"/>
                <a:gd name="connsiteX35" fmla="*/ 41720 w 232981"/>
                <a:gd name="connsiteY35" fmla="*/ 82296 h 307085"/>
                <a:gd name="connsiteX36" fmla="*/ 35242 w 232981"/>
                <a:gd name="connsiteY36" fmla="*/ 119824 h 307085"/>
                <a:gd name="connsiteX37" fmla="*/ 35242 w 232981"/>
                <a:gd name="connsiteY37" fmla="*/ 120682 h 307085"/>
                <a:gd name="connsiteX38" fmla="*/ 41720 w 232981"/>
                <a:gd name="connsiteY38" fmla="*/ 157734 h 307085"/>
                <a:gd name="connsiteX39" fmla="*/ 59341 w 232981"/>
                <a:gd name="connsiteY39" fmla="*/ 185833 h 307085"/>
                <a:gd name="connsiteX40" fmla="*/ 85249 w 232981"/>
                <a:gd name="connsiteY40" fmla="*/ 203740 h 307085"/>
                <a:gd name="connsiteX41" fmla="*/ 116491 w 232981"/>
                <a:gd name="connsiteY41" fmla="*/ 210026 h 30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07085">
                  <a:moveTo>
                    <a:pt x="198596" y="189357"/>
                  </a:moveTo>
                  <a:cubicBezTo>
                    <a:pt x="193834" y="196215"/>
                    <a:pt x="188595" y="202787"/>
                    <a:pt x="182785" y="208978"/>
                  </a:cubicBezTo>
                  <a:cubicBezTo>
                    <a:pt x="176975" y="215265"/>
                    <a:pt x="170498" y="220789"/>
                    <a:pt x="163354" y="225552"/>
                  </a:cubicBezTo>
                  <a:cubicBezTo>
                    <a:pt x="156210" y="230314"/>
                    <a:pt x="148209" y="234029"/>
                    <a:pt x="139446" y="236696"/>
                  </a:cubicBezTo>
                  <a:cubicBezTo>
                    <a:pt x="130683" y="239363"/>
                    <a:pt x="120967" y="240697"/>
                    <a:pt x="110204" y="240697"/>
                  </a:cubicBezTo>
                  <a:cubicBezTo>
                    <a:pt x="96203" y="240697"/>
                    <a:pt x="82677" y="238030"/>
                    <a:pt x="69628" y="232696"/>
                  </a:cubicBezTo>
                  <a:cubicBezTo>
                    <a:pt x="56579" y="227362"/>
                    <a:pt x="44767" y="219551"/>
                    <a:pt x="34385" y="209264"/>
                  </a:cubicBezTo>
                  <a:cubicBezTo>
                    <a:pt x="24003" y="198977"/>
                    <a:pt x="15621" y="186499"/>
                    <a:pt x="9335" y="171736"/>
                  </a:cubicBezTo>
                  <a:cubicBezTo>
                    <a:pt x="3048" y="156972"/>
                    <a:pt x="0" y="140113"/>
                    <a:pt x="0" y="121063"/>
                  </a:cubicBezTo>
                  <a:lnTo>
                    <a:pt x="0" y="120205"/>
                  </a:lnTo>
                  <a:cubicBezTo>
                    <a:pt x="0" y="101441"/>
                    <a:pt x="3143" y="84677"/>
                    <a:pt x="9335" y="69723"/>
                  </a:cubicBezTo>
                  <a:cubicBezTo>
                    <a:pt x="15621" y="54864"/>
                    <a:pt x="23908" y="42291"/>
                    <a:pt x="34385" y="32004"/>
                  </a:cubicBezTo>
                  <a:cubicBezTo>
                    <a:pt x="44767" y="21717"/>
                    <a:pt x="56579" y="13811"/>
                    <a:pt x="69628" y="8287"/>
                  </a:cubicBezTo>
                  <a:cubicBezTo>
                    <a:pt x="82677" y="2762"/>
                    <a:pt x="96298" y="0"/>
                    <a:pt x="110204" y="0"/>
                  </a:cubicBezTo>
                  <a:cubicBezTo>
                    <a:pt x="120967" y="0"/>
                    <a:pt x="130778" y="1333"/>
                    <a:pt x="139637" y="4000"/>
                  </a:cubicBezTo>
                  <a:cubicBezTo>
                    <a:pt x="148590" y="6667"/>
                    <a:pt x="156591" y="10287"/>
                    <a:pt x="163735" y="14668"/>
                  </a:cubicBezTo>
                  <a:cubicBezTo>
                    <a:pt x="170879" y="19145"/>
                    <a:pt x="177356" y="24384"/>
                    <a:pt x="183166" y="30289"/>
                  </a:cubicBezTo>
                  <a:cubicBezTo>
                    <a:pt x="188976" y="36290"/>
                    <a:pt x="194120" y="42481"/>
                    <a:pt x="198596" y="49054"/>
                  </a:cubicBezTo>
                  <a:lnTo>
                    <a:pt x="198596" y="4858"/>
                  </a:lnTo>
                  <a:lnTo>
                    <a:pt x="232982" y="4858"/>
                  </a:lnTo>
                  <a:lnTo>
                    <a:pt x="232982" y="307086"/>
                  </a:lnTo>
                  <a:lnTo>
                    <a:pt x="198596" y="307086"/>
                  </a:lnTo>
                  <a:lnTo>
                    <a:pt x="198596" y="189262"/>
                  </a:lnTo>
                  <a:close/>
                  <a:moveTo>
                    <a:pt x="116491" y="209931"/>
                  </a:moveTo>
                  <a:cubicBezTo>
                    <a:pt x="127159" y="209931"/>
                    <a:pt x="137541" y="207740"/>
                    <a:pt x="147542" y="203454"/>
                  </a:cubicBezTo>
                  <a:cubicBezTo>
                    <a:pt x="157544" y="199168"/>
                    <a:pt x="166402" y="193072"/>
                    <a:pt x="174308" y="185166"/>
                  </a:cubicBezTo>
                  <a:cubicBezTo>
                    <a:pt x="182213" y="177260"/>
                    <a:pt x="188404" y="167926"/>
                    <a:pt x="193072" y="157067"/>
                  </a:cubicBezTo>
                  <a:cubicBezTo>
                    <a:pt x="197739" y="146209"/>
                    <a:pt x="200025" y="134112"/>
                    <a:pt x="200025" y="120682"/>
                  </a:cubicBezTo>
                  <a:lnTo>
                    <a:pt x="200025" y="119824"/>
                  </a:lnTo>
                  <a:cubicBezTo>
                    <a:pt x="200025" y="106394"/>
                    <a:pt x="197739" y="94297"/>
                    <a:pt x="193072" y="83439"/>
                  </a:cubicBezTo>
                  <a:cubicBezTo>
                    <a:pt x="188500" y="72580"/>
                    <a:pt x="182213" y="63246"/>
                    <a:pt x="174308" y="55531"/>
                  </a:cubicBezTo>
                  <a:cubicBezTo>
                    <a:pt x="166402" y="47815"/>
                    <a:pt x="157544" y="41815"/>
                    <a:pt x="147542" y="37433"/>
                  </a:cubicBezTo>
                  <a:cubicBezTo>
                    <a:pt x="137541" y="33147"/>
                    <a:pt x="127254" y="30956"/>
                    <a:pt x="116491" y="30956"/>
                  </a:cubicBezTo>
                  <a:cubicBezTo>
                    <a:pt x="105156" y="30956"/>
                    <a:pt x="94583" y="32956"/>
                    <a:pt x="84773" y="36957"/>
                  </a:cubicBezTo>
                  <a:cubicBezTo>
                    <a:pt x="74962" y="40957"/>
                    <a:pt x="66389" y="46767"/>
                    <a:pt x="59150" y="54388"/>
                  </a:cubicBezTo>
                  <a:cubicBezTo>
                    <a:pt x="51816" y="61913"/>
                    <a:pt x="46101" y="71247"/>
                    <a:pt x="41720" y="82296"/>
                  </a:cubicBezTo>
                  <a:cubicBezTo>
                    <a:pt x="37433" y="93250"/>
                    <a:pt x="35242" y="105823"/>
                    <a:pt x="35242" y="119824"/>
                  </a:cubicBezTo>
                  <a:lnTo>
                    <a:pt x="35242" y="120682"/>
                  </a:lnTo>
                  <a:cubicBezTo>
                    <a:pt x="35242" y="134398"/>
                    <a:pt x="37433" y="146780"/>
                    <a:pt x="41720" y="157734"/>
                  </a:cubicBezTo>
                  <a:cubicBezTo>
                    <a:pt x="46006" y="168783"/>
                    <a:pt x="51911" y="178117"/>
                    <a:pt x="59341" y="185833"/>
                  </a:cubicBezTo>
                  <a:cubicBezTo>
                    <a:pt x="66770" y="193548"/>
                    <a:pt x="75438" y="199549"/>
                    <a:pt x="85249" y="203740"/>
                  </a:cubicBezTo>
                  <a:cubicBezTo>
                    <a:pt x="95060" y="207931"/>
                    <a:pt x="105442" y="210026"/>
                    <a:pt x="116491" y="210026"/>
                  </a:cubicBezTo>
                  <a:close/>
                </a:path>
              </a:pathLst>
            </a:custGeom>
            <a:solidFill>
              <a:srgbClr val="44505E"/>
            </a:solidFill>
            <a:ln w="9525" cap="flat">
              <a:noFill/>
              <a:prstDash val="solid"/>
              <a:miter/>
            </a:ln>
          </p:spPr>
          <p:txBody>
            <a:bodyPr rtlCol="0" anchor="ctr"/>
            <a:lstStyle/>
            <a:p>
              <a:endParaRPr lang="pt-BR" noProof="0"/>
            </a:p>
          </p:txBody>
        </p:sp>
        <p:sp>
          <p:nvSpPr>
            <p:cNvPr id="42" name="Freeform: Shape 41">
              <a:extLst>
                <a:ext uri="{FF2B5EF4-FFF2-40B4-BE49-F238E27FC236}">
                  <a16:creationId xmlns:a16="http://schemas.microsoft.com/office/drawing/2014/main" id="{B0E4B58C-F34C-309D-BB41-820F9009AB9B}"/>
                </a:ext>
              </a:extLst>
            </p:cNvPr>
            <p:cNvSpPr/>
            <p:nvPr/>
          </p:nvSpPr>
          <p:spPr>
            <a:xfrm>
              <a:off x="5829624" y="925297"/>
              <a:ext cx="50618" cy="59238"/>
            </a:xfrm>
            <a:custGeom>
              <a:avLst/>
              <a:gdLst>
                <a:gd name="connsiteX0" fmla="*/ 88392 w 201358"/>
                <a:gd name="connsiteY0" fmla="*/ 235648 h 235648"/>
                <a:gd name="connsiteX1" fmla="*/ 51149 w 201358"/>
                <a:gd name="connsiteY1" fmla="*/ 228981 h 235648"/>
                <a:gd name="connsiteX2" fmla="*/ 23432 w 201358"/>
                <a:gd name="connsiteY2" fmla="*/ 210026 h 235648"/>
                <a:gd name="connsiteX3" fmla="*/ 6001 w 201358"/>
                <a:gd name="connsiteY3" fmla="*/ 180784 h 235648"/>
                <a:gd name="connsiteX4" fmla="*/ 0 w 201358"/>
                <a:gd name="connsiteY4" fmla="*/ 143256 h 235648"/>
                <a:gd name="connsiteX5" fmla="*/ 0 w 201358"/>
                <a:gd name="connsiteY5" fmla="*/ 0 h 235648"/>
                <a:gd name="connsiteX6" fmla="*/ 34385 w 201358"/>
                <a:gd name="connsiteY6" fmla="*/ 0 h 235648"/>
                <a:gd name="connsiteX7" fmla="*/ 34385 w 201358"/>
                <a:gd name="connsiteY7" fmla="*/ 134493 h 235648"/>
                <a:gd name="connsiteX8" fmla="*/ 50959 w 201358"/>
                <a:gd name="connsiteY8" fmla="*/ 185261 h 235648"/>
                <a:gd name="connsiteX9" fmla="*/ 98298 w 201358"/>
                <a:gd name="connsiteY9" fmla="*/ 203930 h 235648"/>
                <a:gd name="connsiteX10" fmla="*/ 125730 w 201358"/>
                <a:gd name="connsiteY10" fmla="*/ 198787 h 235648"/>
                <a:gd name="connsiteX11" fmla="*/ 147638 w 201358"/>
                <a:gd name="connsiteY11" fmla="*/ 184118 h 235648"/>
                <a:gd name="connsiteX12" fmla="*/ 162116 w 201358"/>
                <a:gd name="connsiteY12" fmla="*/ 161163 h 235648"/>
                <a:gd name="connsiteX13" fmla="*/ 167450 w 201358"/>
                <a:gd name="connsiteY13" fmla="*/ 131826 h 235648"/>
                <a:gd name="connsiteX14" fmla="*/ 167450 w 201358"/>
                <a:gd name="connsiteY14" fmla="*/ 0 h 235648"/>
                <a:gd name="connsiteX15" fmla="*/ 201359 w 201358"/>
                <a:gd name="connsiteY15" fmla="*/ 0 h 235648"/>
                <a:gd name="connsiteX16" fmla="*/ 201359 w 201358"/>
                <a:gd name="connsiteY16" fmla="*/ 230791 h 235648"/>
                <a:gd name="connsiteX17" fmla="*/ 167450 w 201358"/>
                <a:gd name="connsiteY17" fmla="*/ 230791 h 235648"/>
                <a:gd name="connsiteX18" fmla="*/ 167450 w 201358"/>
                <a:gd name="connsiteY18" fmla="*/ 190595 h 235648"/>
                <a:gd name="connsiteX19" fmla="*/ 137065 w 201358"/>
                <a:gd name="connsiteY19" fmla="*/ 222504 h 235648"/>
                <a:gd name="connsiteX20" fmla="*/ 88392 w 201358"/>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358" h="235648">
                  <a:moveTo>
                    <a:pt x="88392" y="235648"/>
                  </a:moveTo>
                  <a:cubicBezTo>
                    <a:pt x="74390" y="235648"/>
                    <a:pt x="62008" y="233363"/>
                    <a:pt x="51149" y="228981"/>
                  </a:cubicBezTo>
                  <a:cubicBezTo>
                    <a:pt x="40291" y="224504"/>
                    <a:pt x="31052" y="218218"/>
                    <a:pt x="23432"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959" y="185261"/>
                  </a:cubicBezTo>
                  <a:cubicBezTo>
                    <a:pt x="61913" y="197739"/>
                    <a:pt x="77724" y="203930"/>
                    <a:pt x="98298" y="203930"/>
                  </a:cubicBezTo>
                  <a:cubicBezTo>
                    <a:pt x="108109" y="203930"/>
                    <a:pt x="117253" y="202216"/>
                    <a:pt x="125730" y="198787"/>
                  </a:cubicBezTo>
                  <a:cubicBezTo>
                    <a:pt x="134207" y="195358"/>
                    <a:pt x="141446" y="190500"/>
                    <a:pt x="147638" y="184118"/>
                  </a:cubicBezTo>
                  <a:cubicBezTo>
                    <a:pt x="153734" y="177736"/>
                    <a:pt x="158591" y="170116"/>
                    <a:pt x="162116" y="161163"/>
                  </a:cubicBezTo>
                  <a:cubicBezTo>
                    <a:pt x="165735" y="152305"/>
                    <a:pt x="167450" y="142494"/>
                    <a:pt x="167450" y="131826"/>
                  </a:cubicBezTo>
                  <a:lnTo>
                    <a:pt x="167450" y="0"/>
                  </a:lnTo>
                  <a:lnTo>
                    <a:pt x="201359" y="0"/>
                  </a:lnTo>
                  <a:lnTo>
                    <a:pt x="201359" y="230791"/>
                  </a:lnTo>
                  <a:lnTo>
                    <a:pt x="167450" y="230791"/>
                  </a:lnTo>
                  <a:lnTo>
                    <a:pt x="167450" y="190595"/>
                  </a:lnTo>
                  <a:cubicBezTo>
                    <a:pt x="159734" y="203073"/>
                    <a:pt x="149543" y="213741"/>
                    <a:pt x="137065" y="222504"/>
                  </a:cubicBezTo>
                  <a:cubicBezTo>
                    <a:pt x="124587" y="231267"/>
                    <a:pt x="108395" y="235648"/>
                    <a:pt x="88392" y="235648"/>
                  </a:cubicBezTo>
                  <a:close/>
                </a:path>
              </a:pathLst>
            </a:custGeom>
            <a:solidFill>
              <a:srgbClr val="44505E"/>
            </a:solidFill>
            <a:ln w="9525" cap="flat">
              <a:noFill/>
              <a:prstDash val="solid"/>
              <a:miter/>
            </a:ln>
          </p:spPr>
          <p:txBody>
            <a:bodyPr rtlCol="0" anchor="ctr"/>
            <a:lstStyle/>
            <a:p>
              <a:endParaRPr lang="pt-BR" noProof="0"/>
            </a:p>
          </p:txBody>
        </p:sp>
        <p:sp>
          <p:nvSpPr>
            <p:cNvPr id="43" name="Freeform: Shape 42">
              <a:extLst>
                <a:ext uri="{FF2B5EF4-FFF2-40B4-BE49-F238E27FC236}">
                  <a16:creationId xmlns:a16="http://schemas.microsoft.com/office/drawing/2014/main" id="{41AEAC4E-486C-03BD-C887-3B1DD0AE0831}"/>
                </a:ext>
              </a:extLst>
            </p:cNvPr>
            <p:cNvSpPr/>
            <p:nvPr/>
          </p:nvSpPr>
          <p:spPr>
            <a:xfrm>
              <a:off x="5896069"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7059 w 218217"/>
                <a:gd name="connsiteY3" fmla="*/ 206026 h 241077"/>
                <a:gd name="connsiteX4" fmla="*/ 116110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7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0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356 w 218217"/>
                <a:gd name="connsiteY25" fmla="*/ 106299 h 241077"/>
                <a:gd name="connsiteX26" fmla="*/ 176689 w 218217"/>
                <a:gd name="connsiteY26" fmla="*/ 76771 h 241077"/>
                <a:gd name="connsiteX27" fmla="*/ 162211 w 218217"/>
                <a:gd name="connsiteY27" fmla="*/ 52101 h 241077"/>
                <a:gd name="connsiteX28" fmla="*/ 139922 w 218217"/>
                <a:gd name="connsiteY28" fmla="*/ 35242 h 241077"/>
                <a:gd name="connsiteX29" fmla="*/ 109823 w 218217"/>
                <a:gd name="connsiteY29" fmla="*/ 29051 h 241077"/>
                <a:gd name="connsiteX30" fmla="*/ 82105 w 218217"/>
                <a:gd name="connsiteY30" fmla="*/ 34766 h 241077"/>
                <a:gd name="connsiteX31" fmla="*/ 59341 w 218217"/>
                <a:gd name="connsiteY31" fmla="*/ 50959 h 241077"/>
                <a:gd name="connsiteX32" fmla="*/ 43053 w 218217"/>
                <a:gd name="connsiteY32" fmla="*/ 75628 h 241077"/>
                <a:gd name="connsiteX33" fmla="*/ 34766 w 218217"/>
                <a:gd name="connsiteY33" fmla="*/ 106204 h 241077"/>
                <a:gd name="connsiteX34" fmla="*/ 183356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819" y="202597"/>
                    <a:pt x="87059" y="206026"/>
                  </a:cubicBezTo>
                  <a:cubicBezTo>
                    <a:pt x="96298" y="209455"/>
                    <a:pt x="105918" y="211169"/>
                    <a:pt x="116110" y="211169"/>
                  </a:cubicBezTo>
                  <a:cubicBezTo>
                    <a:pt x="132207" y="211169"/>
                    <a:pt x="145923" y="208216"/>
                    <a:pt x="157353" y="202216"/>
                  </a:cubicBezTo>
                  <a:cubicBezTo>
                    <a:pt x="168783" y="196310"/>
                    <a:pt x="179261" y="188404"/>
                    <a:pt x="188786" y="178594"/>
                  </a:cubicBezTo>
                  <a:lnTo>
                    <a:pt x="210217" y="197834"/>
                  </a:lnTo>
                  <a:cubicBezTo>
                    <a:pt x="198596" y="210979"/>
                    <a:pt x="185356" y="221361"/>
                    <a:pt x="170497" y="229267"/>
                  </a:cubicBezTo>
                  <a:cubicBezTo>
                    <a:pt x="155638"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583" y="0"/>
                    <a:pt x="110680"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356" y="106299"/>
                  </a:moveTo>
                  <a:cubicBezTo>
                    <a:pt x="182499" y="95917"/>
                    <a:pt x="180213" y="86106"/>
                    <a:pt x="176689" y="76771"/>
                  </a:cubicBezTo>
                  <a:cubicBezTo>
                    <a:pt x="173069" y="67437"/>
                    <a:pt x="168307" y="59245"/>
                    <a:pt x="162211" y="52101"/>
                  </a:cubicBezTo>
                  <a:cubicBezTo>
                    <a:pt x="156115" y="44958"/>
                    <a:pt x="148685" y="39338"/>
                    <a:pt x="139922" y="35242"/>
                  </a:cubicBezTo>
                  <a:cubicBezTo>
                    <a:pt x="131159" y="31147"/>
                    <a:pt x="121063" y="29051"/>
                    <a:pt x="109823" y="29051"/>
                  </a:cubicBezTo>
                  <a:cubicBezTo>
                    <a:pt x="100013" y="29051"/>
                    <a:pt x="90773" y="30956"/>
                    <a:pt x="82105" y="34766"/>
                  </a:cubicBezTo>
                  <a:cubicBezTo>
                    <a:pt x="73438" y="38671"/>
                    <a:pt x="65913" y="44005"/>
                    <a:pt x="59341" y="50959"/>
                  </a:cubicBezTo>
                  <a:cubicBezTo>
                    <a:pt x="52769" y="57912"/>
                    <a:pt x="47339" y="66103"/>
                    <a:pt x="43053" y="75628"/>
                  </a:cubicBezTo>
                  <a:cubicBezTo>
                    <a:pt x="38767" y="85058"/>
                    <a:pt x="36004" y="95345"/>
                    <a:pt x="34766" y="106204"/>
                  </a:cubicBezTo>
                  <a:lnTo>
                    <a:pt x="183356" y="106204"/>
                  </a:lnTo>
                  <a:close/>
                </a:path>
              </a:pathLst>
            </a:custGeom>
            <a:solidFill>
              <a:srgbClr val="44505E"/>
            </a:solidFill>
            <a:ln w="9525" cap="flat">
              <a:noFill/>
              <a:prstDash val="solid"/>
              <a:miter/>
            </a:ln>
          </p:spPr>
          <p:txBody>
            <a:bodyPr rtlCol="0" anchor="ctr"/>
            <a:lstStyle/>
            <a:p>
              <a:endParaRPr lang="pt-BR" noProof="0"/>
            </a:p>
          </p:txBody>
        </p:sp>
        <p:sp>
          <p:nvSpPr>
            <p:cNvPr id="44" name="Freeform: Shape 43">
              <a:extLst>
                <a:ext uri="{FF2B5EF4-FFF2-40B4-BE49-F238E27FC236}">
                  <a16:creationId xmlns:a16="http://schemas.microsoft.com/office/drawing/2014/main" id="{B6726DE8-0504-23B8-D349-C1F3C7227850}"/>
                </a:ext>
              </a:extLst>
            </p:cNvPr>
            <p:cNvSpPr/>
            <p:nvPr/>
          </p:nvSpPr>
          <p:spPr>
            <a:xfrm>
              <a:off x="5994910" y="924268"/>
              <a:ext cx="44680" cy="60195"/>
            </a:xfrm>
            <a:custGeom>
              <a:avLst/>
              <a:gdLst>
                <a:gd name="connsiteX0" fmla="*/ 95536 w 177736"/>
                <a:gd name="connsiteY0" fmla="*/ 239268 h 239458"/>
                <a:gd name="connsiteX1" fmla="*/ 45053 w 177736"/>
                <a:gd name="connsiteY1" fmla="*/ 230124 h 239458"/>
                <a:gd name="connsiteX2" fmla="*/ 0 w 177736"/>
                <a:gd name="connsiteY2" fmla="*/ 205359 h 239458"/>
                <a:gd name="connsiteX3" fmla="*/ 17431 w 177736"/>
                <a:gd name="connsiteY3" fmla="*/ 180785 h 239458"/>
                <a:gd name="connsiteX4" fmla="*/ 56483 w 177736"/>
                <a:gd name="connsiteY4" fmla="*/ 202692 h 239458"/>
                <a:gd name="connsiteX5" fmla="*/ 97346 w 177736"/>
                <a:gd name="connsiteY5" fmla="*/ 210217 h 239458"/>
                <a:gd name="connsiteX6" fmla="*/ 131731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730 w 177736"/>
                <a:gd name="connsiteY10" fmla="*/ 147066 h 239458"/>
                <a:gd name="connsiteX11" fmla="*/ 109252 w 177736"/>
                <a:gd name="connsiteY11" fmla="*/ 138779 h 239458"/>
                <a:gd name="connsiteX12" fmla="*/ 87630 w 177736"/>
                <a:gd name="connsiteY12" fmla="*/ 132112 h 239458"/>
                <a:gd name="connsiteX13" fmla="*/ 60674 w 177736"/>
                <a:gd name="connsiteY13" fmla="*/ 123444 h 239458"/>
                <a:gd name="connsiteX14" fmla="*/ 36100 w 177736"/>
                <a:gd name="connsiteY14" fmla="*/ 111633 h 239458"/>
                <a:gd name="connsiteX15" fmla="*/ 18193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60 w 177736"/>
                <a:gd name="connsiteY22" fmla="*/ 6953 h 239458"/>
                <a:gd name="connsiteX23" fmla="*/ 172879 w 177736"/>
                <a:gd name="connsiteY23" fmla="*/ 25527 h 239458"/>
                <a:gd name="connsiteX24" fmla="*/ 157258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4 w 177736"/>
                <a:gd name="connsiteY32" fmla="*/ 96203 h 239458"/>
                <a:gd name="connsiteX33" fmla="*/ 103632 w 177736"/>
                <a:gd name="connsiteY33" fmla="*/ 103346 h 239458"/>
                <a:gd name="connsiteX34" fmla="*/ 130207 w 177736"/>
                <a:gd name="connsiteY34" fmla="*/ 112300 h 239458"/>
                <a:gd name="connsiteX35" fmla="*/ 154114 w 177736"/>
                <a:gd name="connsiteY35" fmla="*/ 124778 h 239458"/>
                <a:gd name="connsiteX36" fmla="*/ 171260 w 177736"/>
                <a:gd name="connsiteY36" fmla="*/ 143066 h 239458"/>
                <a:gd name="connsiteX37" fmla="*/ 177737 w 177736"/>
                <a:gd name="connsiteY37" fmla="*/ 169450 h 239458"/>
                <a:gd name="connsiteX38" fmla="*/ 177737 w 177736"/>
                <a:gd name="connsiteY38" fmla="*/ 170307 h 239458"/>
                <a:gd name="connsiteX39" fmla="*/ 171260 w 177736"/>
                <a:gd name="connsiteY39" fmla="*/ 199549 h 239458"/>
                <a:gd name="connsiteX40" fmla="*/ 153829 w 177736"/>
                <a:gd name="connsiteY40" fmla="*/ 221171 h 239458"/>
                <a:gd name="connsiteX41" fmla="*/ 127921 w 177736"/>
                <a:gd name="connsiteY41" fmla="*/ 234791 h 239458"/>
                <a:gd name="connsiteX42" fmla="*/ 95536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6" y="239268"/>
                  </a:moveTo>
                  <a:cubicBezTo>
                    <a:pt x="78867" y="239268"/>
                    <a:pt x="62008" y="236220"/>
                    <a:pt x="45053" y="230124"/>
                  </a:cubicBezTo>
                  <a:cubicBezTo>
                    <a:pt x="28099" y="224028"/>
                    <a:pt x="13049" y="215741"/>
                    <a:pt x="0" y="205359"/>
                  </a:cubicBezTo>
                  <a:lnTo>
                    <a:pt x="17431" y="180785"/>
                  </a:lnTo>
                  <a:cubicBezTo>
                    <a:pt x="29909"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637" y="162211"/>
                    <a:pt x="140494" y="158020"/>
                  </a:cubicBezTo>
                  <a:cubicBezTo>
                    <a:pt x="137351" y="153829"/>
                    <a:pt x="133160" y="150209"/>
                    <a:pt x="127730" y="147066"/>
                  </a:cubicBezTo>
                  <a:cubicBezTo>
                    <a:pt x="122396" y="143923"/>
                    <a:pt x="116205" y="141161"/>
                    <a:pt x="109252" y="138779"/>
                  </a:cubicBezTo>
                  <a:cubicBezTo>
                    <a:pt x="102299" y="136398"/>
                    <a:pt x="95060" y="134207"/>
                    <a:pt x="87630" y="132112"/>
                  </a:cubicBezTo>
                  <a:cubicBezTo>
                    <a:pt x="78677" y="129445"/>
                    <a:pt x="69723" y="126492"/>
                    <a:pt x="60674" y="123444"/>
                  </a:cubicBezTo>
                  <a:cubicBezTo>
                    <a:pt x="51626" y="120301"/>
                    <a:pt x="43434" y="116396"/>
                    <a:pt x="36100" y="111633"/>
                  </a:cubicBezTo>
                  <a:cubicBezTo>
                    <a:pt x="28766" y="106871"/>
                    <a:pt x="22860" y="100870"/>
                    <a:pt x="18193" y="93726"/>
                  </a:cubicBezTo>
                  <a:cubicBezTo>
                    <a:pt x="13621" y="86582"/>
                    <a:pt x="11239" y="77629"/>
                    <a:pt x="11239" y="66961"/>
                  </a:cubicBezTo>
                  <a:lnTo>
                    <a:pt x="11239" y="66008"/>
                  </a:lnTo>
                  <a:cubicBezTo>
                    <a:pt x="11239" y="56198"/>
                    <a:pt x="13145" y="47149"/>
                    <a:pt x="17050" y="39053"/>
                  </a:cubicBezTo>
                  <a:cubicBezTo>
                    <a:pt x="20860" y="30861"/>
                    <a:pt x="26289" y="23908"/>
                    <a:pt x="33338" y="18098"/>
                  </a:cubicBezTo>
                  <a:cubicBezTo>
                    <a:pt x="40291" y="12287"/>
                    <a:pt x="48673" y="7811"/>
                    <a:pt x="58388" y="4667"/>
                  </a:cubicBezTo>
                  <a:cubicBezTo>
                    <a:pt x="68009" y="1524"/>
                    <a:pt x="78581" y="0"/>
                    <a:pt x="89821" y="0"/>
                  </a:cubicBezTo>
                  <a:cubicBezTo>
                    <a:pt x="104108" y="0"/>
                    <a:pt x="118491" y="2286"/>
                    <a:pt x="133160" y="6953"/>
                  </a:cubicBezTo>
                  <a:cubicBezTo>
                    <a:pt x="147733" y="11621"/>
                    <a:pt x="160972" y="17717"/>
                    <a:pt x="172879" y="25527"/>
                  </a:cubicBezTo>
                  <a:lnTo>
                    <a:pt x="157258" y="51435"/>
                  </a:lnTo>
                  <a:cubicBezTo>
                    <a:pt x="146495" y="44577"/>
                    <a:pt x="135350" y="39148"/>
                    <a:pt x="123539" y="35147"/>
                  </a:cubicBezTo>
                  <a:cubicBezTo>
                    <a:pt x="111824" y="31147"/>
                    <a:pt x="100298" y="29146"/>
                    <a:pt x="88963" y="29146"/>
                  </a:cubicBezTo>
                  <a:cubicBezTo>
                    <a:pt x="75247" y="29146"/>
                    <a:pt x="64389" y="32385"/>
                    <a:pt x="56388" y="38767"/>
                  </a:cubicBezTo>
                  <a:cubicBezTo>
                    <a:pt x="48387" y="45149"/>
                    <a:pt x="44291" y="53150"/>
                    <a:pt x="44291" y="62675"/>
                  </a:cubicBezTo>
                  <a:lnTo>
                    <a:pt x="44291" y="63627"/>
                  </a:lnTo>
                  <a:cubicBezTo>
                    <a:pt x="44291" y="68961"/>
                    <a:pt x="45911" y="73628"/>
                    <a:pt x="49244" y="77724"/>
                  </a:cubicBezTo>
                  <a:cubicBezTo>
                    <a:pt x="52483" y="81725"/>
                    <a:pt x="56960" y="85249"/>
                    <a:pt x="62389" y="88202"/>
                  </a:cubicBezTo>
                  <a:cubicBezTo>
                    <a:pt x="67913" y="91154"/>
                    <a:pt x="74200" y="93821"/>
                    <a:pt x="81344" y="96203"/>
                  </a:cubicBezTo>
                  <a:cubicBezTo>
                    <a:pt x="88487" y="98584"/>
                    <a:pt x="95917" y="100965"/>
                    <a:pt x="103632" y="103346"/>
                  </a:cubicBezTo>
                  <a:cubicBezTo>
                    <a:pt x="112586" y="106013"/>
                    <a:pt x="121444" y="108966"/>
                    <a:pt x="130207" y="112300"/>
                  </a:cubicBezTo>
                  <a:cubicBezTo>
                    <a:pt x="138970" y="115538"/>
                    <a:pt x="146971" y="119729"/>
                    <a:pt x="154114" y="124778"/>
                  </a:cubicBezTo>
                  <a:cubicBezTo>
                    <a:pt x="161258" y="129826"/>
                    <a:pt x="166973" y="135922"/>
                    <a:pt x="171260" y="143066"/>
                  </a:cubicBezTo>
                  <a:cubicBezTo>
                    <a:pt x="175546" y="150209"/>
                    <a:pt x="177737" y="158972"/>
                    <a:pt x="177737" y="169450"/>
                  </a:cubicBezTo>
                  <a:lnTo>
                    <a:pt x="177737" y="170307"/>
                  </a:lnTo>
                  <a:cubicBezTo>
                    <a:pt x="177737" y="181356"/>
                    <a:pt x="175546" y="191071"/>
                    <a:pt x="171260" y="199549"/>
                  </a:cubicBezTo>
                  <a:cubicBezTo>
                    <a:pt x="166973" y="208026"/>
                    <a:pt x="161163" y="215265"/>
                    <a:pt x="153829" y="221171"/>
                  </a:cubicBezTo>
                  <a:cubicBezTo>
                    <a:pt x="146495" y="227171"/>
                    <a:pt x="137922" y="231648"/>
                    <a:pt x="127921" y="234791"/>
                  </a:cubicBezTo>
                  <a:cubicBezTo>
                    <a:pt x="117920" y="237935"/>
                    <a:pt x="107156" y="239459"/>
                    <a:pt x="95536" y="239459"/>
                  </a:cubicBezTo>
                  <a:close/>
                </a:path>
              </a:pathLst>
            </a:custGeom>
            <a:solidFill>
              <a:srgbClr val="44505E"/>
            </a:solidFill>
            <a:ln w="9525" cap="flat">
              <a:noFill/>
              <a:prstDash val="solid"/>
              <a:miter/>
            </a:ln>
          </p:spPr>
          <p:txBody>
            <a:bodyPr rtlCol="0" anchor="ctr"/>
            <a:lstStyle/>
            <a:p>
              <a:endParaRPr lang="pt-BR" noProof="0"/>
            </a:p>
          </p:txBody>
        </p:sp>
        <p:sp>
          <p:nvSpPr>
            <p:cNvPr id="45" name="Freeform: Shape 44">
              <a:extLst>
                <a:ext uri="{FF2B5EF4-FFF2-40B4-BE49-F238E27FC236}">
                  <a16:creationId xmlns:a16="http://schemas.microsoft.com/office/drawing/2014/main" id="{33F3019F-9178-A402-C1C1-9E12821EC6B9}"/>
                </a:ext>
              </a:extLst>
            </p:cNvPr>
            <p:cNvSpPr/>
            <p:nvPr/>
          </p:nvSpPr>
          <p:spPr>
            <a:xfrm>
              <a:off x="605122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4 w 202977"/>
                <a:gd name="connsiteY30" fmla="*/ 174593 h 239267"/>
                <a:gd name="connsiteX31" fmla="*/ 169735 w 202977"/>
                <a:gd name="connsiteY31" fmla="*/ 149447 h 239267"/>
                <a:gd name="connsiteX32" fmla="*/ 169735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0" y="90964"/>
                    <a:pt x="98584" y="90964"/>
                  </a:cubicBezTo>
                  <a:cubicBezTo>
                    <a:pt x="113157" y="90964"/>
                    <a:pt x="126301"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1" y="33147"/>
                    <a:pt x="63436" y="36100"/>
                  </a:cubicBezTo>
                  <a:cubicBezTo>
                    <a:pt x="52292" y="39053"/>
                    <a:pt x="41338" y="43053"/>
                    <a:pt x="30671" y="48196"/>
                  </a:cubicBezTo>
                  <a:lnTo>
                    <a:pt x="20383" y="19907"/>
                  </a:lnTo>
                  <a:cubicBezTo>
                    <a:pt x="33147" y="13906"/>
                    <a:pt x="46101" y="9049"/>
                    <a:pt x="59246" y="5429"/>
                  </a:cubicBezTo>
                  <a:cubicBezTo>
                    <a:pt x="72295"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1" y="239173"/>
                  </a:cubicBezTo>
                  <a:close/>
                  <a:moveTo>
                    <a:pt x="93154" y="211169"/>
                  </a:moveTo>
                  <a:cubicBezTo>
                    <a:pt x="103822" y="211169"/>
                    <a:pt x="113728" y="209740"/>
                    <a:pt x="122967" y="206788"/>
                  </a:cubicBezTo>
                  <a:cubicBezTo>
                    <a:pt x="132207" y="203835"/>
                    <a:pt x="140208" y="199644"/>
                    <a:pt x="147256" y="194120"/>
                  </a:cubicBezTo>
                  <a:cubicBezTo>
                    <a:pt x="154209" y="188595"/>
                    <a:pt x="159734" y="182118"/>
                    <a:pt x="163734" y="174593"/>
                  </a:cubicBezTo>
                  <a:cubicBezTo>
                    <a:pt x="167735" y="167068"/>
                    <a:pt x="169735" y="158687"/>
                    <a:pt x="169735" y="149447"/>
                  </a:cubicBezTo>
                  <a:lnTo>
                    <a:pt x="169735" y="128111"/>
                  </a:lnTo>
                  <a:cubicBezTo>
                    <a:pt x="161163" y="125730"/>
                    <a:pt x="151352" y="123539"/>
                    <a:pt x="140398" y="121444"/>
                  </a:cubicBezTo>
                  <a:cubicBezTo>
                    <a:pt x="129445" y="119348"/>
                    <a:pt x="116872"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46" name="Freeform: Shape 45">
              <a:extLst>
                <a:ext uri="{FF2B5EF4-FFF2-40B4-BE49-F238E27FC236}">
                  <a16:creationId xmlns:a16="http://schemas.microsoft.com/office/drawing/2014/main" id="{3A87D604-2228-408E-7F2A-67F4B6AD4B3C}"/>
                </a:ext>
              </a:extLst>
            </p:cNvPr>
            <p:cNvSpPr/>
            <p:nvPr/>
          </p:nvSpPr>
          <p:spPr>
            <a:xfrm>
              <a:off x="6121359" y="901377"/>
              <a:ext cx="8644" cy="81913"/>
            </a:xfrm>
            <a:custGeom>
              <a:avLst/>
              <a:gdLst>
                <a:gd name="connsiteX0" fmla="*/ 0 w 34385"/>
                <a:gd name="connsiteY0" fmla="*/ 0 h 325850"/>
                <a:gd name="connsiteX1" fmla="*/ 34385 w 34385"/>
                <a:gd name="connsiteY1" fmla="*/ 0 h 325850"/>
                <a:gd name="connsiteX2" fmla="*/ 34385 w 34385"/>
                <a:gd name="connsiteY2" fmla="*/ 325850 h 325850"/>
                <a:gd name="connsiteX3" fmla="*/ 0 w 34385"/>
                <a:gd name="connsiteY3" fmla="*/ 325850 h 325850"/>
                <a:gd name="connsiteX4" fmla="*/ 0 w 34385"/>
                <a:gd name="connsiteY4" fmla="*/ 0 h 32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 h="325850">
                  <a:moveTo>
                    <a:pt x="0" y="0"/>
                  </a:moveTo>
                  <a:lnTo>
                    <a:pt x="34385" y="0"/>
                  </a:lnTo>
                  <a:lnTo>
                    <a:pt x="34385" y="325850"/>
                  </a:lnTo>
                  <a:lnTo>
                    <a:pt x="0" y="325850"/>
                  </a:lnTo>
                  <a:lnTo>
                    <a:pt x="0" y="0"/>
                  </a:lnTo>
                  <a:close/>
                </a:path>
              </a:pathLst>
            </a:custGeom>
            <a:solidFill>
              <a:srgbClr val="44505E"/>
            </a:solidFill>
            <a:ln w="9525" cap="flat">
              <a:noFill/>
              <a:prstDash val="solid"/>
              <a:miter/>
            </a:ln>
          </p:spPr>
          <p:txBody>
            <a:bodyPr rtlCol="0" anchor="ctr"/>
            <a:lstStyle/>
            <a:p>
              <a:endParaRPr lang="pt-BR" noProof="0"/>
            </a:p>
          </p:txBody>
        </p:sp>
        <p:sp>
          <p:nvSpPr>
            <p:cNvPr id="47" name="Freeform: Shape 46">
              <a:extLst>
                <a:ext uri="{FF2B5EF4-FFF2-40B4-BE49-F238E27FC236}">
                  <a16:creationId xmlns:a16="http://schemas.microsoft.com/office/drawing/2014/main" id="{3C2AC9C5-BB62-5B81-FDEC-500F37C6492B}"/>
                </a:ext>
              </a:extLst>
            </p:cNvPr>
            <p:cNvSpPr/>
            <p:nvPr/>
          </p:nvSpPr>
          <p:spPr>
            <a:xfrm>
              <a:off x="6144346" y="925273"/>
              <a:ext cx="58016" cy="58448"/>
            </a:xfrm>
            <a:custGeom>
              <a:avLst/>
              <a:gdLst>
                <a:gd name="connsiteX0" fmla="*/ 95 w 230790"/>
                <a:gd name="connsiteY0" fmla="*/ 0 h 232505"/>
                <a:gd name="connsiteX1" fmla="*/ 38005 w 230790"/>
                <a:gd name="connsiteY1" fmla="*/ 0 h 232505"/>
                <a:gd name="connsiteX2" fmla="*/ 115634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4"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48" name="Freeform: Shape 47">
              <a:extLst>
                <a:ext uri="{FF2B5EF4-FFF2-40B4-BE49-F238E27FC236}">
                  <a16:creationId xmlns:a16="http://schemas.microsoft.com/office/drawing/2014/main" id="{BD9CA591-F91A-A9C8-02EB-421BEC9BACD6}"/>
                </a:ext>
              </a:extLst>
            </p:cNvPr>
            <p:cNvSpPr/>
            <p:nvPr/>
          </p:nvSpPr>
          <p:spPr>
            <a:xfrm>
              <a:off x="621155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8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338 w 202977"/>
                <a:gd name="connsiteY36" fmla="*/ 164497 h 239267"/>
                <a:gd name="connsiteX37" fmla="*/ 35338 w 202977"/>
                <a:gd name="connsiteY37" fmla="*/ 165449 h 239267"/>
                <a:gd name="connsiteX38" fmla="*/ 40005 w 202977"/>
                <a:gd name="connsiteY38" fmla="*/ 184785 h 239267"/>
                <a:gd name="connsiteX39" fmla="*/ 52673 w 202977"/>
                <a:gd name="connsiteY39" fmla="*/ 199263 h 239267"/>
                <a:gd name="connsiteX40" fmla="*/ 71152 w 202977"/>
                <a:gd name="connsiteY40" fmla="*/ 208121 h 239267"/>
                <a:gd name="connsiteX41" fmla="*/ 93154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438" y="239268"/>
                    <a:pt x="64961"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1" y="90964"/>
                    <a:pt x="98584" y="90964"/>
                  </a:cubicBezTo>
                  <a:cubicBezTo>
                    <a:pt x="113157" y="90964"/>
                    <a:pt x="126302" y="91821"/>
                    <a:pt x="137160" y="93631"/>
                  </a:cubicBezTo>
                  <a:cubicBezTo>
                    <a:pt x="148019" y="95440"/>
                    <a:pt x="158687" y="97822"/>
                    <a:pt x="169069" y="100774"/>
                  </a:cubicBezTo>
                  <a:lnTo>
                    <a:pt x="169069" y="93726"/>
                  </a:lnTo>
                  <a:cubicBezTo>
                    <a:pt x="169069" y="73342"/>
                    <a:pt x="163068" y="57912"/>
                    <a:pt x="151162" y="47339"/>
                  </a:cubicBezTo>
                  <a:cubicBezTo>
                    <a:pt x="139255" y="36862"/>
                    <a:pt x="122491" y="31623"/>
                    <a:pt x="100679" y="31623"/>
                  </a:cubicBezTo>
                  <a:cubicBezTo>
                    <a:pt x="86963" y="31623"/>
                    <a:pt x="74581" y="33147"/>
                    <a:pt x="63437" y="36100"/>
                  </a:cubicBezTo>
                  <a:cubicBezTo>
                    <a:pt x="52292" y="39053"/>
                    <a:pt x="41338" y="43053"/>
                    <a:pt x="30671" y="48196"/>
                  </a:cubicBezTo>
                  <a:lnTo>
                    <a:pt x="20383" y="19907"/>
                  </a:lnTo>
                  <a:cubicBezTo>
                    <a:pt x="33147" y="13906"/>
                    <a:pt x="46101" y="9049"/>
                    <a:pt x="59246" y="5429"/>
                  </a:cubicBezTo>
                  <a:cubicBezTo>
                    <a:pt x="72390"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04" y="239173"/>
                    <a:pt x="86011" y="239173"/>
                  </a:cubicBezTo>
                  <a:close/>
                  <a:moveTo>
                    <a:pt x="93154" y="211169"/>
                  </a:moveTo>
                  <a:cubicBezTo>
                    <a:pt x="103822" y="211169"/>
                    <a:pt x="113824" y="209740"/>
                    <a:pt x="122968" y="206788"/>
                  </a:cubicBezTo>
                  <a:cubicBezTo>
                    <a:pt x="132112"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5" y="119348"/>
                    <a:pt x="116777" y="118300"/>
                    <a:pt x="102584" y="118300"/>
                  </a:cubicBezTo>
                  <a:cubicBezTo>
                    <a:pt x="81248" y="118300"/>
                    <a:pt x="64675" y="122491"/>
                    <a:pt x="52959" y="130969"/>
                  </a:cubicBezTo>
                  <a:cubicBezTo>
                    <a:pt x="41243" y="139446"/>
                    <a:pt x="35338" y="150590"/>
                    <a:pt x="35338" y="164497"/>
                  </a:cubicBezTo>
                  <a:lnTo>
                    <a:pt x="35338" y="165449"/>
                  </a:lnTo>
                  <a:cubicBezTo>
                    <a:pt x="35338" y="172498"/>
                    <a:pt x="36862" y="178975"/>
                    <a:pt x="40005" y="184785"/>
                  </a:cubicBezTo>
                  <a:cubicBezTo>
                    <a:pt x="43148" y="190500"/>
                    <a:pt x="47339" y="195358"/>
                    <a:pt x="52673" y="199263"/>
                  </a:cubicBezTo>
                  <a:cubicBezTo>
                    <a:pt x="58007" y="203073"/>
                    <a:pt x="64198" y="206026"/>
                    <a:pt x="71152" y="208121"/>
                  </a:cubicBezTo>
                  <a:cubicBezTo>
                    <a:pt x="78105" y="210217"/>
                    <a:pt x="85439" y="211169"/>
                    <a:pt x="93154" y="211169"/>
                  </a:cubicBezTo>
                  <a:close/>
                </a:path>
              </a:pathLst>
            </a:custGeom>
            <a:solidFill>
              <a:srgbClr val="44505E"/>
            </a:solidFill>
            <a:ln w="9525" cap="flat">
              <a:noFill/>
              <a:prstDash val="solid"/>
              <a:miter/>
            </a:ln>
          </p:spPr>
          <p:txBody>
            <a:bodyPr rtlCol="0" anchor="ctr"/>
            <a:lstStyle/>
            <a:p>
              <a:endParaRPr lang="pt-BR" noProof="0"/>
            </a:p>
          </p:txBody>
        </p:sp>
        <p:sp>
          <p:nvSpPr>
            <p:cNvPr id="49" name="Freeform: Shape 48">
              <a:extLst>
                <a:ext uri="{FF2B5EF4-FFF2-40B4-BE49-F238E27FC236}">
                  <a16:creationId xmlns:a16="http://schemas.microsoft.com/office/drawing/2014/main" id="{10AC0D7D-A869-581A-282A-51964A7A7F36}"/>
                </a:ext>
              </a:extLst>
            </p:cNvPr>
            <p:cNvSpPr/>
            <p:nvPr/>
          </p:nvSpPr>
          <p:spPr>
            <a:xfrm>
              <a:off x="6280899" y="923980"/>
              <a:ext cx="87995" cy="59238"/>
            </a:xfrm>
            <a:custGeom>
              <a:avLst/>
              <a:gdLst>
                <a:gd name="connsiteX0" fmla="*/ 0 w 350043"/>
                <a:gd name="connsiteY0" fmla="*/ 5144 h 235648"/>
                <a:gd name="connsiteX1" fmla="*/ 34385 w 350043"/>
                <a:gd name="connsiteY1" fmla="*/ 5144 h 235648"/>
                <a:gd name="connsiteX2" fmla="*/ 34385 w 350043"/>
                <a:gd name="connsiteY2" fmla="*/ 44005 h 235648"/>
                <a:gd name="connsiteX3" fmla="*/ 47149 w 350043"/>
                <a:gd name="connsiteY3" fmla="*/ 27432 h 235648"/>
                <a:gd name="connsiteX4" fmla="*/ 62960 w 350043"/>
                <a:gd name="connsiteY4" fmla="*/ 13335 h 235648"/>
                <a:gd name="connsiteX5" fmla="*/ 83058 w 350043"/>
                <a:gd name="connsiteY5" fmla="*/ 3715 h 235648"/>
                <a:gd name="connsiteX6" fmla="*/ 108966 w 350043"/>
                <a:gd name="connsiteY6" fmla="*/ 95 h 235648"/>
                <a:gd name="connsiteX7" fmla="*/ 155448 w 350043"/>
                <a:gd name="connsiteY7" fmla="*/ 13240 h 235648"/>
                <a:gd name="connsiteX8" fmla="*/ 183166 w 350043"/>
                <a:gd name="connsiteY8" fmla="*/ 46006 h 235648"/>
                <a:gd name="connsiteX9" fmla="*/ 197168 w 350043"/>
                <a:gd name="connsiteY9" fmla="*/ 28194 h 235648"/>
                <a:gd name="connsiteX10" fmla="*/ 214789 w 350043"/>
                <a:gd name="connsiteY10" fmla="*/ 13430 h 235648"/>
                <a:gd name="connsiteX11" fmla="*/ 236887 w 350043"/>
                <a:gd name="connsiteY11" fmla="*/ 3620 h 235648"/>
                <a:gd name="connsiteX12" fmla="*/ 264319 w 350043"/>
                <a:gd name="connsiteY12" fmla="*/ 0 h 235648"/>
                <a:gd name="connsiteX13" fmla="*/ 327279 w 350043"/>
                <a:gd name="connsiteY13" fmla="*/ 24765 h 235648"/>
                <a:gd name="connsiteX14" fmla="*/ 350044 w 350043"/>
                <a:gd name="connsiteY14" fmla="*/ 92773 h 235648"/>
                <a:gd name="connsiteX15" fmla="*/ 350044 w 350043"/>
                <a:gd name="connsiteY15" fmla="*/ 235648 h 235648"/>
                <a:gd name="connsiteX16" fmla="*/ 315659 w 350043"/>
                <a:gd name="connsiteY16" fmla="*/ 235648 h 235648"/>
                <a:gd name="connsiteX17" fmla="*/ 315659 w 350043"/>
                <a:gd name="connsiteY17" fmla="*/ 101155 h 235648"/>
                <a:gd name="connsiteX18" fmla="*/ 299847 w 350043"/>
                <a:gd name="connsiteY18" fmla="*/ 49721 h 235648"/>
                <a:gd name="connsiteX19" fmla="*/ 255937 w 350043"/>
                <a:gd name="connsiteY19" fmla="*/ 31718 h 235648"/>
                <a:gd name="connsiteX20" fmla="*/ 231362 w 350043"/>
                <a:gd name="connsiteY20" fmla="*/ 36386 h 235648"/>
                <a:gd name="connsiteX21" fmla="*/ 211074 w 350043"/>
                <a:gd name="connsiteY21" fmla="*/ 50197 h 235648"/>
                <a:gd name="connsiteX22" fmla="*/ 197263 w 350043"/>
                <a:gd name="connsiteY22" fmla="*/ 72676 h 235648"/>
                <a:gd name="connsiteX23" fmla="*/ 192119 w 350043"/>
                <a:gd name="connsiteY23" fmla="*/ 102965 h 235648"/>
                <a:gd name="connsiteX24" fmla="*/ 192119 w 350043"/>
                <a:gd name="connsiteY24" fmla="*/ 235648 h 235648"/>
                <a:gd name="connsiteX25" fmla="*/ 158210 w 350043"/>
                <a:gd name="connsiteY25" fmla="*/ 235648 h 235648"/>
                <a:gd name="connsiteX26" fmla="*/ 158210 w 350043"/>
                <a:gd name="connsiteY26" fmla="*/ 100298 h 235648"/>
                <a:gd name="connsiteX27" fmla="*/ 142399 w 350043"/>
                <a:gd name="connsiteY27" fmla="*/ 49721 h 235648"/>
                <a:gd name="connsiteX28" fmla="*/ 98870 w 350043"/>
                <a:gd name="connsiteY28" fmla="*/ 31718 h 235648"/>
                <a:gd name="connsiteX29" fmla="*/ 73438 w 350043"/>
                <a:gd name="connsiteY29" fmla="*/ 37052 h 235648"/>
                <a:gd name="connsiteX30" fmla="*/ 53150 w 350043"/>
                <a:gd name="connsiteY30" fmla="*/ 52197 h 235648"/>
                <a:gd name="connsiteX31" fmla="*/ 39529 w 350043"/>
                <a:gd name="connsiteY31" fmla="*/ 75152 h 235648"/>
                <a:gd name="connsiteX32" fmla="*/ 34576 w 350043"/>
                <a:gd name="connsiteY32" fmla="*/ 104299 h 235648"/>
                <a:gd name="connsiteX33" fmla="*/ 34576 w 350043"/>
                <a:gd name="connsiteY33" fmla="*/ 235648 h 235648"/>
                <a:gd name="connsiteX34" fmla="*/ 190 w 350043"/>
                <a:gd name="connsiteY34" fmla="*/ 235648 h 235648"/>
                <a:gd name="connsiteX35" fmla="*/ 190 w 350043"/>
                <a:gd name="connsiteY35" fmla="*/ 485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0043" h="235648">
                  <a:moveTo>
                    <a:pt x="0" y="5144"/>
                  </a:moveTo>
                  <a:lnTo>
                    <a:pt x="34385" y="5144"/>
                  </a:lnTo>
                  <a:lnTo>
                    <a:pt x="34385" y="44005"/>
                  </a:lnTo>
                  <a:cubicBezTo>
                    <a:pt x="38290" y="38386"/>
                    <a:pt x="42481" y="32861"/>
                    <a:pt x="47149" y="27432"/>
                  </a:cubicBezTo>
                  <a:cubicBezTo>
                    <a:pt x="51721" y="22098"/>
                    <a:pt x="57055" y="17431"/>
                    <a:pt x="62960" y="13335"/>
                  </a:cubicBezTo>
                  <a:cubicBezTo>
                    <a:pt x="68866" y="9335"/>
                    <a:pt x="75629" y="6096"/>
                    <a:pt x="83058" y="3715"/>
                  </a:cubicBezTo>
                  <a:cubicBezTo>
                    <a:pt x="90488" y="1334"/>
                    <a:pt x="99155" y="95"/>
                    <a:pt x="108966" y="95"/>
                  </a:cubicBezTo>
                  <a:cubicBezTo>
                    <a:pt x="127730" y="95"/>
                    <a:pt x="143161" y="4477"/>
                    <a:pt x="155448" y="13240"/>
                  </a:cubicBezTo>
                  <a:cubicBezTo>
                    <a:pt x="167640" y="22003"/>
                    <a:pt x="176879" y="32956"/>
                    <a:pt x="183166" y="46006"/>
                  </a:cubicBezTo>
                  <a:cubicBezTo>
                    <a:pt x="187357" y="39719"/>
                    <a:pt x="192024" y="33814"/>
                    <a:pt x="197168" y="28194"/>
                  </a:cubicBezTo>
                  <a:cubicBezTo>
                    <a:pt x="202406" y="22574"/>
                    <a:pt x="208217" y="17621"/>
                    <a:pt x="214789" y="13430"/>
                  </a:cubicBezTo>
                  <a:cubicBezTo>
                    <a:pt x="221361" y="9239"/>
                    <a:pt x="228695" y="6001"/>
                    <a:pt x="236887" y="3620"/>
                  </a:cubicBezTo>
                  <a:cubicBezTo>
                    <a:pt x="245078" y="1238"/>
                    <a:pt x="254222" y="0"/>
                    <a:pt x="264319" y="0"/>
                  </a:cubicBezTo>
                  <a:cubicBezTo>
                    <a:pt x="291084" y="0"/>
                    <a:pt x="312039" y="8287"/>
                    <a:pt x="327279" y="24765"/>
                  </a:cubicBezTo>
                  <a:cubicBezTo>
                    <a:pt x="342519" y="41243"/>
                    <a:pt x="350044" y="63913"/>
                    <a:pt x="350044" y="92773"/>
                  </a:cubicBezTo>
                  <a:lnTo>
                    <a:pt x="350044" y="235648"/>
                  </a:lnTo>
                  <a:lnTo>
                    <a:pt x="315659" y="235648"/>
                  </a:lnTo>
                  <a:lnTo>
                    <a:pt x="315659" y="101155"/>
                  </a:lnTo>
                  <a:cubicBezTo>
                    <a:pt x="315659" y="78867"/>
                    <a:pt x="310420" y="61722"/>
                    <a:pt x="299847" y="49721"/>
                  </a:cubicBezTo>
                  <a:cubicBezTo>
                    <a:pt x="289274" y="37719"/>
                    <a:pt x="274606" y="31718"/>
                    <a:pt x="255937" y="31718"/>
                  </a:cubicBezTo>
                  <a:cubicBezTo>
                    <a:pt x="247269" y="31718"/>
                    <a:pt x="239078" y="33242"/>
                    <a:pt x="231362" y="36386"/>
                  </a:cubicBezTo>
                  <a:cubicBezTo>
                    <a:pt x="223647" y="39529"/>
                    <a:pt x="216884" y="44101"/>
                    <a:pt x="211074" y="50197"/>
                  </a:cubicBezTo>
                  <a:cubicBezTo>
                    <a:pt x="205264" y="56293"/>
                    <a:pt x="200692" y="63818"/>
                    <a:pt x="197263" y="72676"/>
                  </a:cubicBezTo>
                  <a:cubicBezTo>
                    <a:pt x="193834" y="81629"/>
                    <a:pt x="192119" y="91726"/>
                    <a:pt x="192119" y="102965"/>
                  </a:cubicBezTo>
                  <a:lnTo>
                    <a:pt x="192119" y="235648"/>
                  </a:lnTo>
                  <a:lnTo>
                    <a:pt x="158210" y="235648"/>
                  </a:lnTo>
                  <a:lnTo>
                    <a:pt x="158210" y="100298"/>
                  </a:lnTo>
                  <a:cubicBezTo>
                    <a:pt x="158210" y="78677"/>
                    <a:pt x="152971" y="61817"/>
                    <a:pt x="142399" y="49721"/>
                  </a:cubicBezTo>
                  <a:cubicBezTo>
                    <a:pt x="131826" y="37719"/>
                    <a:pt x="117348" y="31718"/>
                    <a:pt x="98870" y="31718"/>
                  </a:cubicBezTo>
                  <a:cubicBezTo>
                    <a:pt x="89630" y="31718"/>
                    <a:pt x="81153" y="33528"/>
                    <a:pt x="73438" y="37052"/>
                  </a:cubicBezTo>
                  <a:cubicBezTo>
                    <a:pt x="65722" y="40672"/>
                    <a:pt x="58960" y="45720"/>
                    <a:pt x="53150" y="52197"/>
                  </a:cubicBezTo>
                  <a:cubicBezTo>
                    <a:pt x="47339" y="58769"/>
                    <a:pt x="42767" y="66389"/>
                    <a:pt x="39529" y="75152"/>
                  </a:cubicBezTo>
                  <a:cubicBezTo>
                    <a:pt x="36290" y="83915"/>
                    <a:pt x="34576" y="93631"/>
                    <a:pt x="34576" y="104299"/>
                  </a:cubicBezTo>
                  <a:lnTo>
                    <a:pt x="34576" y="235648"/>
                  </a:lnTo>
                  <a:lnTo>
                    <a:pt x="190" y="235648"/>
                  </a:lnTo>
                  <a:lnTo>
                    <a:pt x="190" y="4858"/>
                  </a:lnTo>
                  <a:close/>
                </a:path>
              </a:pathLst>
            </a:custGeom>
            <a:solidFill>
              <a:srgbClr val="44505E"/>
            </a:solidFill>
            <a:ln w="9525" cap="flat">
              <a:noFill/>
              <a:prstDash val="solid"/>
              <a:miter/>
            </a:ln>
          </p:spPr>
          <p:txBody>
            <a:bodyPr rtlCol="0" anchor="ctr"/>
            <a:lstStyle/>
            <a:p>
              <a:endParaRPr lang="pt-BR" noProof="0"/>
            </a:p>
          </p:txBody>
        </p:sp>
        <p:sp>
          <p:nvSpPr>
            <p:cNvPr id="50" name="Freeform: Shape 49">
              <a:extLst>
                <a:ext uri="{FF2B5EF4-FFF2-40B4-BE49-F238E27FC236}">
                  <a16:creationId xmlns:a16="http://schemas.microsoft.com/office/drawing/2014/main" id="{5EC9CF4B-D849-B3EE-FBBE-39EC0A8913B1}"/>
                </a:ext>
              </a:extLst>
            </p:cNvPr>
            <p:cNvSpPr/>
            <p:nvPr/>
          </p:nvSpPr>
          <p:spPr>
            <a:xfrm>
              <a:off x="6415537" y="925273"/>
              <a:ext cx="58016" cy="58448"/>
            </a:xfrm>
            <a:custGeom>
              <a:avLst/>
              <a:gdLst>
                <a:gd name="connsiteX0" fmla="*/ 95 w 230790"/>
                <a:gd name="connsiteY0" fmla="*/ 0 h 232505"/>
                <a:gd name="connsiteX1" fmla="*/ 38005 w 230790"/>
                <a:gd name="connsiteY1" fmla="*/ 0 h 232505"/>
                <a:gd name="connsiteX2" fmla="*/ 115633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3"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51" name="Freeform: Shape 50">
              <a:extLst>
                <a:ext uri="{FF2B5EF4-FFF2-40B4-BE49-F238E27FC236}">
                  <a16:creationId xmlns:a16="http://schemas.microsoft.com/office/drawing/2014/main" id="{4C103A1D-11A9-91AC-8FF1-DE18BE85FF19}"/>
                </a:ext>
              </a:extLst>
            </p:cNvPr>
            <p:cNvSpPr/>
            <p:nvPr/>
          </p:nvSpPr>
          <p:spPr>
            <a:xfrm>
              <a:off x="6487369"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286 w 39242"/>
                <a:gd name="connsiteY5" fmla="*/ 88392 h 319182"/>
                <a:gd name="connsiteX6" fmla="*/ 36671 w 39242"/>
                <a:gd name="connsiteY6" fmla="*/ 88392 h 319182"/>
                <a:gd name="connsiteX7" fmla="*/ 36671 w 39242"/>
                <a:gd name="connsiteY7" fmla="*/ 319183 h 319182"/>
                <a:gd name="connsiteX8" fmla="*/ 2286 w 39242"/>
                <a:gd name="connsiteY8" fmla="*/ 319183 h 319182"/>
                <a:gd name="connsiteX9" fmla="*/ 2286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286" y="88392"/>
                  </a:moveTo>
                  <a:lnTo>
                    <a:pt x="36671" y="88392"/>
                  </a:lnTo>
                  <a:lnTo>
                    <a:pt x="36671" y="319183"/>
                  </a:lnTo>
                  <a:lnTo>
                    <a:pt x="2286" y="319183"/>
                  </a:lnTo>
                  <a:lnTo>
                    <a:pt x="2286" y="88392"/>
                  </a:lnTo>
                  <a:close/>
                </a:path>
              </a:pathLst>
            </a:custGeom>
            <a:solidFill>
              <a:srgbClr val="44505E"/>
            </a:solidFill>
            <a:ln w="9525" cap="flat">
              <a:noFill/>
              <a:prstDash val="solid"/>
              <a:miter/>
            </a:ln>
          </p:spPr>
          <p:txBody>
            <a:bodyPr rtlCol="0" anchor="ctr"/>
            <a:lstStyle/>
            <a:p>
              <a:endParaRPr lang="pt-BR" noProof="0"/>
            </a:p>
          </p:txBody>
        </p:sp>
        <p:sp>
          <p:nvSpPr>
            <p:cNvPr id="52" name="Freeform: Shape 51">
              <a:extLst>
                <a:ext uri="{FF2B5EF4-FFF2-40B4-BE49-F238E27FC236}">
                  <a16:creationId xmlns:a16="http://schemas.microsoft.com/office/drawing/2014/main" id="{916CEDF2-62E0-77DE-BA81-D1E13F8F2CE3}"/>
                </a:ext>
              </a:extLst>
            </p:cNvPr>
            <p:cNvSpPr/>
            <p:nvPr/>
          </p:nvSpPr>
          <p:spPr>
            <a:xfrm>
              <a:off x="6513253" y="901353"/>
              <a:ext cx="58615" cy="83182"/>
            </a:xfrm>
            <a:custGeom>
              <a:avLst/>
              <a:gdLst>
                <a:gd name="connsiteX0" fmla="*/ 110394 w 233171"/>
                <a:gd name="connsiteY0" fmla="*/ 330898 h 330898"/>
                <a:gd name="connsiteX1" fmla="*/ 69723 w 233171"/>
                <a:gd name="connsiteY1" fmla="*/ 322897 h 330898"/>
                <a:gd name="connsiteX2" fmla="*/ 34480 w 233171"/>
                <a:gd name="connsiteY2" fmla="*/ 299466 h 330898"/>
                <a:gd name="connsiteX3" fmla="*/ 9430 w 233171"/>
                <a:gd name="connsiteY3" fmla="*/ 261938 h 330898"/>
                <a:gd name="connsiteX4" fmla="*/ 0 w 233171"/>
                <a:gd name="connsiteY4" fmla="*/ 211264 h 330898"/>
                <a:gd name="connsiteX5" fmla="*/ 0 w 233171"/>
                <a:gd name="connsiteY5" fmla="*/ 210407 h 330898"/>
                <a:gd name="connsiteX6" fmla="*/ 9430 w 233171"/>
                <a:gd name="connsiteY6" fmla="*/ 159925 h 330898"/>
                <a:gd name="connsiteX7" fmla="*/ 34480 w 233171"/>
                <a:gd name="connsiteY7" fmla="*/ 122206 h 330898"/>
                <a:gd name="connsiteX8" fmla="*/ 69723 w 233171"/>
                <a:gd name="connsiteY8" fmla="*/ 98488 h 330898"/>
                <a:gd name="connsiteX9" fmla="*/ 110394 w 233171"/>
                <a:gd name="connsiteY9" fmla="*/ 90202 h 330898"/>
                <a:gd name="connsiteX10" fmla="*/ 139827 w 233171"/>
                <a:gd name="connsiteY10" fmla="*/ 94202 h 330898"/>
                <a:gd name="connsiteX11" fmla="*/ 163925 w 233171"/>
                <a:gd name="connsiteY11" fmla="*/ 104870 h 330898"/>
                <a:gd name="connsiteX12" fmla="*/ 183356 w 233171"/>
                <a:gd name="connsiteY12" fmla="*/ 120491 h 330898"/>
                <a:gd name="connsiteX13" fmla="*/ 198787 w 233171"/>
                <a:gd name="connsiteY13" fmla="*/ 139255 h 330898"/>
                <a:gd name="connsiteX14" fmla="*/ 198787 w 233171"/>
                <a:gd name="connsiteY14" fmla="*/ 0 h 330898"/>
                <a:gd name="connsiteX15" fmla="*/ 233172 w 233171"/>
                <a:gd name="connsiteY15" fmla="*/ 0 h 330898"/>
                <a:gd name="connsiteX16" fmla="*/ 233172 w 233171"/>
                <a:gd name="connsiteY16" fmla="*/ 325850 h 330898"/>
                <a:gd name="connsiteX17" fmla="*/ 198787 w 233171"/>
                <a:gd name="connsiteY17" fmla="*/ 325850 h 330898"/>
                <a:gd name="connsiteX18" fmla="*/ 198787 w 233171"/>
                <a:gd name="connsiteY18" fmla="*/ 279463 h 330898"/>
                <a:gd name="connsiteX19" fmla="*/ 182975 w 233171"/>
                <a:gd name="connsiteY19" fmla="*/ 299085 h 330898"/>
                <a:gd name="connsiteX20" fmla="*/ 163544 w 233171"/>
                <a:gd name="connsiteY20" fmla="*/ 315658 h 330898"/>
                <a:gd name="connsiteX21" fmla="*/ 139636 w 233171"/>
                <a:gd name="connsiteY21" fmla="*/ 326803 h 330898"/>
                <a:gd name="connsiteX22" fmla="*/ 110394 w 233171"/>
                <a:gd name="connsiteY22" fmla="*/ 330803 h 330898"/>
                <a:gd name="connsiteX23" fmla="*/ 116681 w 233171"/>
                <a:gd name="connsiteY23" fmla="*/ 300133 h 330898"/>
                <a:gd name="connsiteX24" fmla="*/ 147733 w 233171"/>
                <a:gd name="connsiteY24" fmla="*/ 293656 h 330898"/>
                <a:gd name="connsiteX25" fmla="*/ 174498 w 233171"/>
                <a:gd name="connsiteY25" fmla="*/ 275368 h 330898"/>
                <a:gd name="connsiteX26" fmla="*/ 193262 w 233171"/>
                <a:gd name="connsiteY26" fmla="*/ 247269 h 330898"/>
                <a:gd name="connsiteX27" fmla="*/ 200216 w 233171"/>
                <a:gd name="connsiteY27" fmla="*/ 210883 h 330898"/>
                <a:gd name="connsiteX28" fmla="*/ 200216 w 233171"/>
                <a:gd name="connsiteY28" fmla="*/ 210026 h 330898"/>
                <a:gd name="connsiteX29" fmla="*/ 193262 w 233171"/>
                <a:gd name="connsiteY29" fmla="*/ 173641 h 330898"/>
                <a:gd name="connsiteX30" fmla="*/ 174498 w 233171"/>
                <a:gd name="connsiteY30" fmla="*/ 145732 h 330898"/>
                <a:gd name="connsiteX31" fmla="*/ 147733 w 233171"/>
                <a:gd name="connsiteY31" fmla="*/ 127635 h 330898"/>
                <a:gd name="connsiteX32" fmla="*/ 116681 w 233171"/>
                <a:gd name="connsiteY32" fmla="*/ 121158 h 330898"/>
                <a:gd name="connsiteX33" fmla="*/ 84963 w 233171"/>
                <a:gd name="connsiteY33" fmla="*/ 127159 h 330898"/>
                <a:gd name="connsiteX34" fmla="*/ 59341 w 233171"/>
                <a:gd name="connsiteY34" fmla="*/ 144589 h 330898"/>
                <a:gd name="connsiteX35" fmla="*/ 41910 w 233171"/>
                <a:gd name="connsiteY35" fmla="*/ 172498 h 330898"/>
                <a:gd name="connsiteX36" fmla="*/ 35433 w 233171"/>
                <a:gd name="connsiteY36" fmla="*/ 210026 h 330898"/>
                <a:gd name="connsiteX37" fmla="*/ 35433 w 233171"/>
                <a:gd name="connsiteY37" fmla="*/ 210883 h 330898"/>
                <a:gd name="connsiteX38" fmla="*/ 41910 w 233171"/>
                <a:gd name="connsiteY38" fmla="*/ 247936 h 330898"/>
                <a:gd name="connsiteX39" fmla="*/ 59531 w 233171"/>
                <a:gd name="connsiteY39" fmla="*/ 276034 h 330898"/>
                <a:gd name="connsiteX40" fmla="*/ 85439 w 233171"/>
                <a:gd name="connsiteY40" fmla="*/ 293941 h 330898"/>
                <a:gd name="connsiteX41" fmla="*/ 116681 w 23317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3171" h="330898">
                  <a:moveTo>
                    <a:pt x="110394" y="330898"/>
                  </a:moveTo>
                  <a:cubicBezTo>
                    <a:pt x="96393" y="330898"/>
                    <a:pt x="82868" y="328231"/>
                    <a:pt x="69723" y="322897"/>
                  </a:cubicBezTo>
                  <a:cubicBezTo>
                    <a:pt x="56674" y="317563"/>
                    <a:pt x="44863" y="309753"/>
                    <a:pt x="34480" y="299466"/>
                  </a:cubicBezTo>
                  <a:cubicBezTo>
                    <a:pt x="24003" y="289179"/>
                    <a:pt x="15716" y="276701"/>
                    <a:pt x="9430" y="261938"/>
                  </a:cubicBezTo>
                  <a:cubicBezTo>
                    <a:pt x="3143" y="247174"/>
                    <a:pt x="0" y="230314"/>
                    <a:pt x="0" y="211264"/>
                  </a:cubicBezTo>
                  <a:lnTo>
                    <a:pt x="0" y="210407"/>
                  </a:lnTo>
                  <a:cubicBezTo>
                    <a:pt x="0" y="191643"/>
                    <a:pt x="3143" y="174879"/>
                    <a:pt x="9430" y="159925"/>
                  </a:cubicBezTo>
                  <a:cubicBezTo>
                    <a:pt x="15716" y="145066"/>
                    <a:pt x="24003" y="132493"/>
                    <a:pt x="34480" y="122206"/>
                  </a:cubicBezTo>
                  <a:cubicBezTo>
                    <a:pt x="44863" y="111919"/>
                    <a:pt x="56674" y="104013"/>
                    <a:pt x="69723" y="98488"/>
                  </a:cubicBezTo>
                  <a:cubicBezTo>
                    <a:pt x="82868" y="92964"/>
                    <a:pt x="96393" y="90202"/>
                    <a:pt x="110394" y="90202"/>
                  </a:cubicBezTo>
                  <a:cubicBezTo>
                    <a:pt x="121158" y="90202"/>
                    <a:pt x="130969" y="91535"/>
                    <a:pt x="139827" y="94202"/>
                  </a:cubicBezTo>
                  <a:cubicBezTo>
                    <a:pt x="148780" y="96869"/>
                    <a:pt x="156782" y="100489"/>
                    <a:pt x="163925" y="104870"/>
                  </a:cubicBezTo>
                  <a:cubicBezTo>
                    <a:pt x="171069" y="109347"/>
                    <a:pt x="177546" y="114586"/>
                    <a:pt x="183356" y="120491"/>
                  </a:cubicBezTo>
                  <a:cubicBezTo>
                    <a:pt x="189166" y="126492"/>
                    <a:pt x="194310" y="132683"/>
                    <a:pt x="198787" y="139255"/>
                  </a:cubicBezTo>
                  <a:lnTo>
                    <a:pt x="198787" y="0"/>
                  </a:lnTo>
                  <a:lnTo>
                    <a:pt x="233172" y="0"/>
                  </a:lnTo>
                  <a:lnTo>
                    <a:pt x="233172" y="325850"/>
                  </a:lnTo>
                  <a:lnTo>
                    <a:pt x="198787" y="325850"/>
                  </a:lnTo>
                  <a:lnTo>
                    <a:pt x="198787" y="279463"/>
                  </a:lnTo>
                  <a:cubicBezTo>
                    <a:pt x="194024" y="286321"/>
                    <a:pt x="188786" y="292894"/>
                    <a:pt x="182975" y="299085"/>
                  </a:cubicBezTo>
                  <a:cubicBezTo>
                    <a:pt x="177165" y="305371"/>
                    <a:pt x="170688" y="310896"/>
                    <a:pt x="163544" y="315658"/>
                  </a:cubicBezTo>
                  <a:cubicBezTo>
                    <a:pt x="156400" y="320421"/>
                    <a:pt x="148494" y="324136"/>
                    <a:pt x="139636" y="326803"/>
                  </a:cubicBezTo>
                  <a:cubicBezTo>
                    <a:pt x="130873" y="329470"/>
                    <a:pt x="121158" y="330803"/>
                    <a:pt x="110394" y="330803"/>
                  </a:cubicBezTo>
                  <a:close/>
                  <a:moveTo>
                    <a:pt x="116681" y="300133"/>
                  </a:moveTo>
                  <a:cubicBezTo>
                    <a:pt x="127445" y="300133"/>
                    <a:pt x="137732" y="297942"/>
                    <a:pt x="147733" y="293656"/>
                  </a:cubicBezTo>
                  <a:cubicBezTo>
                    <a:pt x="157734" y="289369"/>
                    <a:pt x="166592" y="283273"/>
                    <a:pt x="174498" y="275368"/>
                  </a:cubicBezTo>
                  <a:cubicBezTo>
                    <a:pt x="182404" y="267462"/>
                    <a:pt x="188595" y="258127"/>
                    <a:pt x="193262" y="247269"/>
                  </a:cubicBezTo>
                  <a:cubicBezTo>
                    <a:pt x="197834" y="236410"/>
                    <a:pt x="200216" y="224314"/>
                    <a:pt x="200216" y="210883"/>
                  </a:cubicBezTo>
                  <a:lnTo>
                    <a:pt x="200216" y="210026"/>
                  </a:lnTo>
                  <a:cubicBezTo>
                    <a:pt x="200216" y="196596"/>
                    <a:pt x="197929" y="184499"/>
                    <a:pt x="193262" y="173641"/>
                  </a:cubicBezTo>
                  <a:cubicBezTo>
                    <a:pt x="188595" y="162782"/>
                    <a:pt x="182404" y="153448"/>
                    <a:pt x="174498" y="145732"/>
                  </a:cubicBezTo>
                  <a:cubicBezTo>
                    <a:pt x="166592" y="138017"/>
                    <a:pt x="157639" y="132016"/>
                    <a:pt x="147733" y="127635"/>
                  </a:cubicBezTo>
                  <a:cubicBezTo>
                    <a:pt x="137732" y="123349"/>
                    <a:pt x="127445" y="121158"/>
                    <a:pt x="116681" y="121158"/>
                  </a:cubicBezTo>
                  <a:cubicBezTo>
                    <a:pt x="105346" y="121158"/>
                    <a:pt x="94774" y="123158"/>
                    <a:pt x="84963" y="127159"/>
                  </a:cubicBezTo>
                  <a:cubicBezTo>
                    <a:pt x="75152" y="131159"/>
                    <a:pt x="66580" y="136969"/>
                    <a:pt x="59341" y="144589"/>
                  </a:cubicBezTo>
                  <a:cubicBezTo>
                    <a:pt x="52007" y="152114"/>
                    <a:pt x="46291" y="161449"/>
                    <a:pt x="41910" y="172498"/>
                  </a:cubicBezTo>
                  <a:cubicBezTo>
                    <a:pt x="37624" y="183451"/>
                    <a:pt x="35433" y="196024"/>
                    <a:pt x="35433" y="210026"/>
                  </a:cubicBezTo>
                  <a:lnTo>
                    <a:pt x="35433" y="210883"/>
                  </a:lnTo>
                  <a:cubicBezTo>
                    <a:pt x="35433" y="224599"/>
                    <a:pt x="37624" y="236982"/>
                    <a:pt x="41910" y="247936"/>
                  </a:cubicBezTo>
                  <a:cubicBezTo>
                    <a:pt x="46196" y="258984"/>
                    <a:pt x="52101" y="268319"/>
                    <a:pt x="59531" y="276034"/>
                  </a:cubicBezTo>
                  <a:cubicBezTo>
                    <a:pt x="66960" y="283750"/>
                    <a:pt x="75629" y="289750"/>
                    <a:pt x="85439" y="293941"/>
                  </a:cubicBezTo>
                  <a:cubicBezTo>
                    <a:pt x="95250" y="298132"/>
                    <a:pt x="105632" y="300228"/>
                    <a:pt x="116681" y="300228"/>
                  </a:cubicBezTo>
                  <a:close/>
                </a:path>
              </a:pathLst>
            </a:custGeom>
            <a:solidFill>
              <a:srgbClr val="44505E"/>
            </a:solidFill>
            <a:ln w="9525" cap="flat">
              <a:noFill/>
              <a:prstDash val="solid"/>
              <a:miter/>
            </a:ln>
          </p:spPr>
          <p:txBody>
            <a:bodyPr rtlCol="0" anchor="ctr"/>
            <a:lstStyle/>
            <a:p>
              <a:endParaRPr lang="pt-BR" noProof="0"/>
            </a:p>
          </p:txBody>
        </p:sp>
        <p:sp>
          <p:nvSpPr>
            <p:cNvPr id="53" name="Freeform: Shape 52">
              <a:extLst>
                <a:ext uri="{FF2B5EF4-FFF2-40B4-BE49-F238E27FC236}">
                  <a16:creationId xmlns:a16="http://schemas.microsoft.com/office/drawing/2014/main" id="{4067B834-DA5D-EC1A-D1D8-964228310DE0}"/>
                </a:ext>
              </a:extLst>
            </p:cNvPr>
            <p:cNvSpPr/>
            <p:nvPr/>
          </p:nvSpPr>
          <p:spPr>
            <a:xfrm>
              <a:off x="6586762"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0 w 202977"/>
                <a:gd name="connsiteY16" fmla="*/ 48196 h 239267"/>
                <a:gd name="connsiteX17" fmla="*/ 20383 w 202977"/>
                <a:gd name="connsiteY17" fmla="*/ 19907 h 239267"/>
                <a:gd name="connsiteX18" fmla="*/ 59245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0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1"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675" y="92678"/>
                    <a:pt x="84011" y="90964"/>
                    <a:pt x="98584" y="90964"/>
                  </a:cubicBezTo>
                  <a:cubicBezTo>
                    <a:pt x="113157" y="90964"/>
                    <a:pt x="126302"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0" y="33147"/>
                    <a:pt x="63436" y="36100"/>
                  </a:cubicBezTo>
                  <a:cubicBezTo>
                    <a:pt x="52292" y="39053"/>
                    <a:pt x="41338" y="43053"/>
                    <a:pt x="30670" y="48196"/>
                  </a:cubicBezTo>
                  <a:lnTo>
                    <a:pt x="20383" y="19907"/>
                  </a:lnTo>
                  <a:cubicBezTo>
                    <a:pt x="33147" y="13906"/>
                    <a:pt x="46101" y="9049"/>
                    <a:pt x="59245" y="5429"/>
                  </a:cubicBezTo>
                  <a:cubicBezTo>
                    <a:pt x="72294" y="1810"/>
                    <a:pt x="87344" y="0"/>
                    <a:pt x="104299" y="0"/>
                  </a:cubicBezTo>
                  <a:cubicBezTo>
                    <a:pt x="137064" y="0"/>
                    <a:pt x="161925" y="8477"/>
                    <a:pt x="178879" y="25432"/>
                  </a:cubicBezTo>
                  <a:cubicBezTo>
                    <a:pt x="194976"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0" y="239173"/>
                  </a:cubicBezTo>
                  <a:close/>
                  <a:moveTo>
                    <a:pt x="93154" y="211169"/>
                  </a:moveTo>
                  <a:cubicBezTo>
                    <a:pt x="103822" y="211169"/>
                    <a:pt x="113729" y="209740"/>
                    <a:pt x="122967" y="206788"/>
                  </a:cubicBezTo>
                  <a:cubicBezTo>
                    <a:pt x="132207"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4" y="119348"/>
                    <a:pt x="116871"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54" name="Freeform: Shape 53">
              <a:extLst>
                <a:ext uri="{FF2B5EF4-FFF2-40B4-BE49-F238E27FC236}">
                  <a16:creationId xmlns:a16="http://schemas.microsoft.com/office/drawing/2014/main" id="{A5BFB2F2-621F-1FEF-D01B-7E7E276C70F5}"/>
                </a:ext>
              </a:extLst>
            </p:cNvPr>
            <p:cNvSpPr/>
            <p:nvPr/>
          </p:nvSpPr>
          <p:spPr>
            <a:xfrm>
              <a:off x="6651291" y="924268"/>
              <a:ext cx="44680" cy="60195"/>
            </a:xfrm>
            <a:custGeom>
              <a:avLst/>
              <a:gdLst>
                <a:gd name="connsiteX0" fmla="*/ 95535 w 177736"/>
                <a:gd name="connsiteY0" fmla="*/ 239268 h 239458"/>
                <a:gd name="connsiteX1" fmla="*/ 45053 w 177736"/>
                <a:gd name="connsiteY1" fmla="*/ 230124 h 239458"/>
                <a:gd name="connsiteX2" fmla="*/ 0 w 177736"/>
                <a:gd name="connsiteY2" fmla="*/ 205359 h 239458"/>
                <a:gd name="connsiteX3" fmla="*/ 17430 w 177736"/>
                <a:gd name="connsiteY3" fmla="*/ 180785 h 239458"/>
                <a:gd name="connsiteX4" fmla="*/ 56483 w 177736"/>
                <a:gd name="connsiteY4" fmla="*/ 202692 h 239458"/>
                <a:gd name="connsiteX5" fmla="*/ 97345 w 177736"/>
                <a:gd name="connsiteY5" fmla="*/ 210217 h 239458"/>
                <a:gd name="connsiteX6" fmla="*/ 131730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825 w 177736"/>
                <a:gd name="connsiteY10" fmla="*/ 147066 h 239458"/>
                <a:gd name="connsiteX11" fmla="*/ 109251 w 177736"/>
                <a:gd name="connsiteY11" fmla="*/ 138779 h 239458"/>
                <a:gd name="connsiteX12" fmla="*/ 87630 w 177736"/>
                <a:gd name="connsiteY12" fmla="*/ 132112 h 239458"/>
                <a:gd name="connsiteX13" fmla="*/ 60579 w 177736"/>
                <a:gd name="connsiteY13" fmla="*/ 123444 h 239458"/>
                <a:gd name="connsiteX14" fmla="*/ 36004 w 177736"/>
                <a:gd name="connsiteY14" fmla="*/ 111633 h 239458"/>
                <a:gd name="connsiteX15" fmla="*/ 18192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59 w 177736"/>
                <a:gd name="connsiteY22" fmla="*/ 6953 h 239458"/>
                <a:gd name="connsiteX23" fmla="*/ 172878 w 177736"/>
                <a:gd name="connsiteY23" fmla="*/ 25527 h 239458"/>
                <a:gd name="connsiteX24" fmla="*/ 157257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3 w 177736"/>
                <a:gd name="connsiteY32" fmla="*/ 96203 h 239458"/>
                <a:gd name="connsiteX33" fmla="*/ 103631 w 177736"/>
                <a:gd name="connsiteY33" fmla="*/ 103346 h 239458"/>
                <a:gd name="connsiteX34" fmla="*/ 130207 w 177736"/>
                <a:gd name="connsiteY34" fmla="*/ 112300 h 239458"/>
                <a:gd name="connsiteX35" fmla="*/ 154114 w 177736"/>
                <a:gd name="connsiteY35" fmla="*/ 124778 h 239458"/>
                <a:gd name="connsiteX36" fmla="*/ 171259 w 177736"/>
                <a:gd name="connsiteY36" fmla="*/ 143066 h 239458"/>
                <a:gd name="connsiteX37" fmla="*/ 177736 w 177736"/>
                <a:gd name="connsiteY37" fmla="*/ 169450 h 239458"/>
                <a:gd name="connsiteX38" fmla="*/ 177736 w 177736"/>
                <a:gd name="connsiteY38" fmla="*/ 170307 h 239458"/>
                <a:gd name="connsiteX39" fmla="*/ 171259 w 177736"/>
                <a:gd name="connsiteY39" fmla="*/ 199549 h 239458"/>
                <a:gd name="connsiteX40" fmla="*/ 153828 w 177736"/>
                <a:gd name="connsiteY40" fmla="*/ 221171 h 239458"/>
                <a:gd name="connsiteX41" fmla="*/ 127921 w 177736"/>
                <a:gd name="connsiteY41" fmla="*/ 234791 h 239458"/>
                <a:gd name="connsiteX42" fmla="*/ 95535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5" y="239268"/>
                  </a:moveTo>
                  <a:cubicBezTo>
                    <a:pt x="78867" y="239268"/>
                    <a:pt x="62007" y="236220"/>
                    <a:pt x="45053" y="230124"/>
                  </a:cubicBezTo>
                  <a:cubicBezTo>
                    <a:pt x="28098" y="224028"/>
                    <a:pt x="13049" y="215741"/>
                    <a:pt x="0" y="205359"/>
                  </a:cubicBezTo>
                  <a:lnTo>
                    <a:pt x="17430" y="180785"/>
                  </a:lnTo>
                  <a:cubicBezTo>
                    <a:pt x="29908" y="190310"/>
                    <a:pt x="42957" y="197644"/>
                    <a:pt x="56483" y="202692"/>
                  </a:cubicBezTo>
                  <a:cubicBezTo>
                    <a:pt x="70009" y="207740"/>
                    <a:pt x="83629" y="210217"/>
                    <a:pt x="97345" y="210217"/>
                  </a:cubicBezTo>
                  <a:cubicBezTo>
                    <a:pt x="111061" y="210217"/>
                    <a:pt x="122777" y="206978"/>
                    <a:pt x="131730" y="200406"/>
                  </a:cubicBezTo>
                  <a:cubicBezTo>
                    <a:pt x="140684" y="193834"/>
                    <a:pt x="145161" y="184976"/>
                    <a:pt x="145161" y="173641"/>
                  </a:cubicBezTo>
                  <a:lnTo>
                    <a:pt x="145161" y="172784"/>
                  </a:lnTo>
                  <a:cubicBezTo>
                    <a:pt x="145161" y="167164"/>
                    <a:pt x="143541" y="162211"/>
                    <a:pt x="140494" y="158020"/>
                  </a:cubicBezTo>
                  <a:cubicBezTo>
                    <a:pt x="137350" y="153829"/>
                    <a:pt x="133159" y="150209"/>
                    <a:pt x="127825" y="147066"/>
                  </a:cubicBezTo>
                  <a:cubicBezTo>
                    <a:pt x="122491" y="143923"/>
                    <a:pt x="116300" y="141161"/>
                    <a:pt x="109251" y="138779"/>
                  </a:cubicBezTo>
                  <a:cubicBezTo>
                    <a:pt x="102298" y="136398"/>
                    <a:pt x="95059" y="134207"/>
                    <a:pt x="87630" y="132112"/>
                  </a:cubicBezTo>
                  <a:cubicBezTo>
                    <a:pt x="78676" y="129445"/>
                    <a:pt x="69722" y="126492"/>
                    <a:pt x="60579" y="123444"/>
                  </a:cubicBezTo>
                  <a:cubicBezTo>
                    <a:pt x="51530" y="120301"/>
                    <a:pt x="43339" y="116396"/>
                    <a:pt x="36004" y="111633"/>
                  </a:cubicBezTo>
                  <a:cubicBezTo>
                    <a:pt x="28670" y="106871"/>
                    <a:pt x="22764" y="100870"/>
                    <a:pt x="18192" y="93726"/>
                  </a:cubicBezTo>
                  <a:cubicBezTo>
                    <a:pt x="13525" y="86582"/>
                    <a:pt x="11239" y="77629"/>
                    <a:pt x="11239" y="66961"/>
                  </a:cubicBezTo>
                  <a:lnTo>
                    <a:pt x="11239" y="66008"/>
                  </a:lnTo>
                  <a:cubicBezTo>
                    <a:pt x="11239" y="56198"/>
                    <a:pt x="13144" y="47149"/>
                    <a:pt x="17050" y="39053"/>
                  </a:cubicBezTo>
                  <a:cubicBezTo>
                    <a:pt x="20955" y="30861"/>
                    <a:pt x="26384" y="23908"/>
                    <a:pt x="33338" y="18098"/>
                  </a:cubicBezTo>
                  <a:cubicBezTo>
                    <a:pt x="40291" y="12287"/>
                    <a:pt x="48673" y="7811"/>
                    <a:pt x="58388" y="4667"/>
                  </a:cubicBezTo>
                  <a:cubicBezTo>
                    <a:pt x="68008" y="1524"/>
                    <a:pt x="78581" y="0"/>
                    <a:pt x="89821" y="0"/>
                  </a:cubicBezTo>
                  <a:cubicBezTo>
                    <a:pt x="104108" y="0"/>
                    <a:pt x="118586" y="2286"/>
                    <a:pt x="133159" y="6953"/>
                  </a:cubicBezTo>
                  <a:cubicBezTo>
                    <a:pt x="147732" y="11621"/>
                    <a:pt x="160972" y="17717"/>
                    <a:pt x="172878" y="25527"/>
                  </a:cubicBezTo>
                  <a:lnTo>
                    <a:pt x="157257" y="51435"/>
                  </a:lnTo>
                  <a:cubicBezTo>
                    <a:pt x="146494" y="44577"/>
                    <a:pt x="135255" y="39148"/>
                    <a:pt x="123539" y="35147"/>
                  </a:cubicBezTo>
                  <a:cubicBezTo>
                    <a:pt x="111823" y="31147"/>
                    <a:pt x="100203" y="29146"/>
                    <a:pt x="88963" y="29146"/>
                  </a:cubicBezTo>
                  <a:cubicBezTo>
                    <a:pt x="75247" y="29146"/>
                    <a:pt x="64389" y="32385"/>
                    <a:pt x="56388" y="38767"/>
                  </a:cubicBezTo>
                  <a:cubicBezTo>
                    <a:pt x="48291" y="45149"/>
                    <a:pt x="44291" y="53150"/>
                    <a:pt x="44291" y="62675"/>
                  </a:cubicBezTo>
                  <a:lnTo>
                    <a:pt x="44291" y="63627"/>
                  </a:lnTo>
                  <a:cubicBezTo>
                    <a:pt x="44291" y="68961"/>
                    <a:pt x="45910" y="73628"/>
                    <a:pt x="49244" y="77724"/>
                  </a:cubicBezTo>
                  <a:cubicBezTo>
                    <a:pt x="52482" y="81725"/>
                    <a:pt x="56864" y="85249"/>
                    <a:pt x="62389" y="88202"/>
                  </a:cubicBezTo>
                  <a:cubicBezTo>
                    <a:pt x="67913" y="91154"/>
                    <a:pt x="74200" y="93821"/>
                    <a:pt x="81343" y="96203"/>
                  </a:cubicBezTo>
                  <a:cubicBezTo>
                    <a:pt x="88487" y="98584"/>
                    <a:pt x="95916" y="100965"/>
                    <a:pt x="103631" y="103346"/>
                  </a:cubicBezTo>
                  <a:cubicBezTo>
                    <a:pt x="112585" y="106013"/>
                    <a:pt x="121444" y="108966"/>
                    <a:pt x="130207" y="112300"/>
                  </a:cubicBezTo>
                  <a:cubicBezTo>
                    <a:pt x="138969" y="115538"/>
                    <a:pt x="146971" y="119729"/>
                    <a:pt x="154114" y="124778"/>
                  </a:cubicBezTo>
                  <a:cubicBezTo>
                    <a:pt x="161258" y="129826"/>
                    <a:pt x="166973" y="135922"/>
                    <a:pt x="171259" y="143066"/>
                  </a:cubicBezTo>
                  <a:cubicBezTo>
                    <a:pt x="175546" y="150209"/>
                    <a:pt x="177736" y="158972"/>
                    <a:pt x="177736" y="169450"/>
                  </a:cubicBezTo>
                  <a:lnTo>
                    <a:pt x="177736" y="170307"/>
                  </a:lnTo>
                  <a:cubicBezTo>
                    <a:pt x="177736" y="181356"/>
                    <a:pt x="175546" y="191071"/>
                    <a:pt x="171259" y="199549"/>
                  </a:cubicBezTo>
                  <a:cubicBezTo>
                    <a:pt x="166973" y="208026"/>
                    <a:pt x="161163" y="215265"/>
                    <a:pt x="153828" y="221171"/>
                  </a:cubicBezTo>
                  <a:cubicBezTo>
                    <a:pt x="146589" y="227171"/>
                    <a:pt x="137922" y="231648"/>
                    <a:pt x="127921" y="234791"/>
                  </a:cubicBezTo>
                  <a:cubicBezTo>
                    <a:pt x="117919" y="237935"/>
                    <a:pt x="107156" y="239459"/>
                    <a:pt x="95535" y="239459"/>
                  </a:cubicBezTo>
                  <a:close/>
                </a:path>
              </a:pathLst>
            </a:custGeom>
            <a:solidFill>
              <a:srgbClr val="44505E"/>
            </a:solidFill>
            <a:ln w="9525" cap="flat">
              <a:noFill/>
              <a:prstDash val="solid"/>
              <a:miter/>
            </a:ln>
          </p:spPr>
          <p:txBody>
            <a:bodyPr rtlCol="0" anchor="ctr"/>
            <a:lstStyle/>
            <a:p>
              <a:endParaRPr lang="pt-BR" noProof="0"/>
            </a:p>
          </p:txBody>
        </p:sp>
        <p:sp>
          <p:nvSpPr>
            <p:cNvPr id="55" name="Freeform: Shape 54">
              <a:extLst>
                <a:ext uri="{FF2B5EF4-FFF2-40B4-BE49-F238E27FC236}">
                  <a16:creationId xmlns:a16="http://schemas.microsoft.com/office/drawing/2014/main" id="{3CEE132D-B6BF-89D7-F4B3-3FE30358DEC5}"/>
                </a:ext>
              </a:extLst>
            </p:cNvPr>
            <p:cNvSpPr/>
            <p:nvPr/>
          </p:nvSpPr>
          <p:spPr>
            <a:xfrm>
              <a:off x="5250320" y="846952"/>
              <a:ext cx="1459036" cy="16186"/>
            </a:xfrm>
            <a:custGeom>
              <a:avLst/>
              <a:gdLst>
                <a:gd name="connsiteX0" fmla="*/ 0 w 5804058"/>
                <a:gd name="connsiteY0" fmla="*/ 0 h 64388"/>
                <a:gd name="connsiteX1" fmla="*/ 5804059 w 5804058"/>
                <a:gd name="connsiteY1" fmla="*/ 0 h 64388"/>
                <a:gd name="connsiteX2" fmla="*/ 5804059 w 5804058"/>
                <a:gd name="connsiteY2" fmla="*/ 64389 h 64388"/>
                <a:gd name="connsiteX3" fmla="*/ 0 w 5804058"/>
                <a:gd name="connsiteY3" fmla="*/ 64389 h 64388"/>
              </a:gdLst>
              <a:ahLst/>
              <a:cxnLst>
                <a:cxn ang="0">
                  <a:pos x="connsiteX0" y="connsiteY0"/>
                </a:cxn>
                <a:cxn ang="0">
                  <a:pos x="connsiteX1" y="connsiteY1"/>
                </a:cxn>
                <a:cxn ang="0">
                  <a:pos x="connsiteX2" y="connsiteY2"/>
                </a:cxn>
                <a:cxn ang="0">
                  <a:pos x="connsiteX3" y="connsiteY3"/>
                </a:cxn>
              </a:cxnLst>
              <a:rect l="l" t="t" r="r" b="b"/>
              <a:pathLst>
                <a:path w="5804058" h="64388">
                  <a:moveTo>
                    <a:pt x="0" y="0"/>
                  </a:moveTo>
                  <a:lnTo>
                    <a:pt x="5804059" y="0"/>
                  </a:lnTo>
                  <a:lnTo>
                    <a:pt x="5804059" y="64389"/>
                  </a:lnTo>
                  <a:lnTo>
                    <a:pt x="0" y="64389"/>
                  </a:lnTo>
                  <a:close/>
                </a:path>
              </a:pathLst>
            </a:custGeom>
            <a:solidFill>
              <a:srgbClr val="44505E"/>
            </a:solidFill>
            <a:ln w="9525" cap="flat">
              <a:noFill/>
              <a:prstDash val="solid"/>
              <a:miter/>
            </a:ln>
          </p:spPr>
          <p:txBody>
            <a:bodyPr rtlCol="0" anchor="ctr"/>
            <a:lstStyle/>
            <a:p>
              <a:endParaRPr lang="pt-BR" noProof="0"/>
            </a:p>
          </p:txBody>
        </p:sp>
        <p:sp>
          <p:nvSpPr>
            <p:cNvPr id="56" name="Freeform: Shape 55">
              <a:extLst>
                <a:ext uri="{FF2B5EF4-FFF2-40B4-BE49-F238E27FC236}">
                  <a16:creationId xmlns:a16="http://schemas.microsoft.com/office/drawing/2014/main" id="{894BDEBB-4825-B86B-87FD-0C444EC6BE1F}"/>
                </a:ext>
              </a:extLst>
            </p:cNvPr>
            <p:cNvSpPr/>
            <p:nvPr/>
          </p:nvSpPr>
          <p:spPr>
            <a:xfrm>
              <a:off x="6902633" y="268821"/>
              <a:ext cx="273418" cy="601046"/>
            </a:xfrm>
            <a:custGeom>
              <a:avLst/>
              <a:gdLst>
                <a:gd name="connsiteX0" fmla="*/ 0 w 1087659"/>
                <a:gd name="connsiteY0" fmla="*/ 210979 h 2390965"/>
                <a:gd name="connsiteX1" fmla="*/ 125063 w 1087659"/>
                <a:gd name="connsiteY1" fmla="*/ 103442 h 2390965"/>
                <a:gd name="connsiteX2" fmla="*/ 250031 w 1087659"/>
                <a:gd name="connsiteY2" fmla="*/ 210979 h 2390965"/>
                <a:gd name="connsiteX3" fmla="*/ 250031 w 1087659"/>
                <a:gd name="connsiteY3" fmla="*/ 1922717 h 2390965"/>
                <a:gd name="connsiteX4" fmla="*/ 249841 w 1087659"/>
                <a:gd name="connsiteY4" fmla="*/ 1922717 h 2390965"/>
                <a:gd name="connsiteX5" fmla="*/ 249841 w 1087659"/>
                <a:gd name="connsiteY5" fmla="*/ 1925955 h 2390965"/>
                <a:gd name="connsiteX6" fmla="*/ 333756 w 1087659"/>
                <a:gd name="connsiteY6" fmla="*/ 2100263 h 2390965"/>
                <a:gd name="connsiteX7" fmla="*/ 335566 w 1087659"/>
                <a:gd name="connsiteY7" fmla="*/ 2101787 h 2390965"/>
                <a:gd name="connsiteX8" fmla="*/ 336042 w 1087659"/>
                <a:gd name="connsiteY8" fmla="*/ 2102168 h 2390965"/>
                <a:gd name="connsiteX9" fmla="*/ 543877 w 1087659"/>
                <a:gd name="connsiteY9" fmla="*/ 2175891 h 2390965"/>
                <a:gd name="connsiteX10" fmla="*/ 749998 w 1087659"/>
                <a:gd name="connsiteY10" fmla="*/ 2103692 h 2390965"/>
                <a:gd name="connsiteX11" fmla="*/ 751713 w 1087659"/>
                <a:gd name="connsiteY11" fmla="*/ 2102168 h 2390965"/>
                <a:gd name="connsiteX12" fmla="*/ 752189 w 1087659"/>
                <a:gd name="connsiteY12" fmla="*/ 2101787 h 2390965"/>
                <a:gd name="connsiteX13" fmla="*/ 837819 w 1087659"/>
                <a:gd name="connsiteY13" fmla="*/ 1922812 h 2390965"/>
                <a:gd name="connsiteX14" fmla="*/ 837819 w 1087659"/>
                <a:gd name="connsiteY14" fmla="*/ 107537 h 2390965"/>
                <a:gd name="connsiteX15" fmla="*/ 962787 w 1087659"/>
                <a:gd name="connsiteY15" fmla="*/ 0 h 2390965"/>
                <a:gd name="connsiteX16" fmla="*/ 1087660 w 1087659"/>
                <a:gd name="connsiteY16" fmla="*/ 107537 h 2390965"/>
                <a:gd name="connsiteX17" fmla="*/ 1087660 w 1087659"/>
                <a:gd name="connsiteY17" fmla="*/ 1922621 h 2390965"/>
                <a:gd name="connsiteX18" fmla="*/ 928307 w 1087659"/>
                <a:gd name="connsiteY18" fmla="*/ 2253234 h 2390965"/>
                <a:gd name="connsiteX19" fmla="*/ 928116 w 1087659"/>
                <a:gd name="connsiteY19" fmla="*/ 2253424 h 2390965"/>
                <a:gd name="connsiteX20" fmla="*/ 927830 w 1087659"/>
                <a:gd name="connsiteY20" fmla="*/ 2253710 h 2390965"/>
                <a:gd name="connsiteX21" fmla="*/ 927354 w 1087659"/>
                <a:gd name="connsiteY21" fmla="*/ 2254187 h 2390965"/>
                <a:gd name="connsiteX22" fmla="*/ 543783 w 1087659"/>
                <a:gd name="connsiteY22" fmla="*/ 2390966 h 2390965"/>
                <a:gd name="connsiteX23" fmla="*/ 159734 w 1087659"/>
                <a:gd name="connsiteY23" fmla="*/ 2253710 h 2390965"/>
                <a:gd name="connsiteX24" fmla="*/ 159734 w 1087659"/>
                <a:gd name="connsiteY24" fmla="*/ 2253424 h 2390965"/>
                <a:gd name="connsiteX25" fmla="*/ 159353 w 1087659"/>
                <a:gd name="connsiteY25" fmla="*/ 2253234 h 2390965"/>
                <a:gd name="connsiteX26" fmla="*/ 158877 w 1087659"/>
                <a:gd name="connsiteY26" fmla="*/ 2252948 h 2390965"/>
                <a:gd name="connsiteX27" fmla="*/ 0 w 1087659"/>
                <a:gd name="connsiteY27" fmla="*/ 1922621 h 2390965"/>
                <a:gd name="connsiteX28" fmla="*/ 0 w 1087659"/>
                <a:gd name="connsiteY28" fmla="*/ 1922621 h 2390965"/>
                <a:gd name="connsiteX29" fmla="*/ 0 w 1087659"/>
                <a:gd name="connsiteY29" fmla="*/ 210979 h 239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87659" h="2390965">
                  <a:moveTo>
                    <a:pt x="0" y="210979"/>
                  </a:moveTo>
                  <a:cubicBezTo>
                    <a:pt x="0" y="151638"/>
                    <a:pt x="56007" y="103442"/>
                    <a:pt x="125063" y="103442"/>
                  </a:cubicBezTo>
                  <a:cubicBezTo>
                    <a:pt x="194120" y="103442"/>
                    <a:pt x="250031" y="151638"/>
                    <a:pt x="250031" y="210979"/>
                  </a:cubicBezTo>
                  <a:lnTo>
                    <a:pt x="250031" y="1922717"/>
                  </a:lnTo>
                  <a:lnTo>
                    <a:pt x="249841" y="1922717"/>
                  </a:lnTo>
                  <a:lnTo>
                    <a:pt x="249841" y="1925955"/>
                  </a:lnTo>
                  <a:cubicBezTo>
                    <a:pt x="250793" y="1994059"/>
                    <a:pt x="282797" y="2055495"/>
                    <a:pt x="333756" y="2100263"/>
                  </a:cubicBezTo>
                  <a:lnTo>
                    <a:pt x="335566" y="2101787"/>
                  </a:lnTo>
                  <a:lnTo>
                    <a:pt x="336042" y="2102168"/>
                  </a:lnTo>
                  <a:cubicBezTo>
                    <a:pt x="388906" y="2147697"/>
                    <a:pt x="462343" y="2175891"/>
                    <a:pt x="543877" y="2175891"/>
                  </a:cubicBezTo>
                  <a:cubicBezTo>
                    <a:pt x="625411" y="2175891"/>
                    <a:pt x="697420" y="2148364"/>
                    <a:pt x="749998" y="2103692"/>
                  </a:cubicBezTo>
                  <a:lnTo>
                    <a:pt x="751713" y="2102168"/>
                  </a:lnTo>
                  <a:lnTo>
                    <a:pt x="752189" y="2101787"/>
                  </a:lnTo>
                  <a:cubicBezTo>
                    <a:pt x="805053" y="2056352"/>
                    <a:pt x="837819" y="1993011"/>
                    <a:pt x="837819" y="1922812"/>
                  </a:cubicBezTo>
                  <a:lnTo>
                    <a:pt x="837819" y="107537"/>
                  </a:lnTo>
                  <a:cubicBezTo>
                    <a:pt x="837819" y="48196"/>
                    <a:pt x="893731" y="0"/>
                    <a:pt x="962787" y="0"/>
                  </a:cubicBezTo>
                  <a:cubicBezTo>
                    <a:pt x="1031843" y="0"/>
                    <a:pt x="1087660" y="48196"/>
                    <a:pt x="1087660" y="107537"/>
                  </a:cubicBezTo>
                  <a:lnTo>
                    <a:pt x="1087660" y="1922621"/>
                  </a:lnTo>
                  <a:cubicBezTo>
                    <a:pt x="1087660" y="2051399"/>
                    <a:pt x="1026795" y="2168366"/>
                    <a:pt x="928307" y="2253234"/>
                  </a:cubicBezTo>
                  <a:lnTo>
                    <a:pt x="928116" y="2253424"/>
                  </a:lnTo>
                  <a:lnTo>
                    <a:pt x="927830" y="2253710"/>
                  </a:lnTo>
                  <a:lnTo>
                    <a:pt x="927354" y="2254187"/>
                  </a:lnTo>
                  <a:cubicBezTo>
                    <a:pt x="828770" y="2338673"/>
                    <a:pt x="693134" y="2390966"/>
                    <a:pt x="543783" y="2390966"/>
                  </a:cubicBezTo>
                  <a:cubicBezTo>
                    <a:pt x="394430" y="2390966"/>
                    <a:pt x="258413" y="2338483"/>
                    <a:pt x="159734" y="2253710"/>
                  </a:cubicBezTo>
                  <a:lnTo>
                    <a:pt x="159734" y="2253424"/>
                  </a:lnTo>
                  <a:cubicBezTo>
                    <a:pt x="159734" y="2253424"/>
                    <a:pt x="159353" y="2253234"/>
                    <a:pt x="159353" y="2253234"/>
                  </a:cubicBezTo>
                  <a:lnTo>
                    <a:pt x="158877" y="2252948"/>
                  </a:lnTo>
                  <a:cubicBezTo>
                    <a:pt x="60770" y="2167985"/>
                    <a:pt x="0" y="2051304"/>
                    <a:pt x="0" y="1922621"/>
                  </a:cubicBezTo>
                  <a:lnTo>
                    <a:pt x="0" y="1922621"/>
                  </a:lnTo>
                  <a:lnTo>
                    <a:pt x="0" y="210979"/>
                  </a:lnTo>
                  <a:close/>
                </a:path>
              </a:pathLst>
            </a:custGeom>
            <a:solidFill>
              <a:srgbClr val="8FC640"/>
            </a:solidFill>
            <a:ln w="9525" cap="flat">
              <a:noFill/>
              <a:prstDash val="solid"/>
              <a:miter/>
            </a:ln>
          </p:spPr>
          <p:txBody>
            <a:bodyPr rtlCol="0" anchor="ctr"/>
            <a:lstStyle/>
            <a:p>
              <a:endParaRPr lang="pt-BR" noProof="0"/>
            </a:p>
          </p:txBody>
        </p:sp>
        <p:sp>
          <p:nvSpPr>
            <p:cNvPr id="57" name="Freeform: Shape 56">
              <a:extLst>
                <a:ext uri="{FF2B5EF4-FFF2-40B4-BE49-F238E27FC236}">
                  <a16:creationId xmlns:a16="http://schemas.microsoft.com/office/drawing/2014/main" id="{DF7A9459-07C9-42E7-F128-7AF1B64AB962}"/>
                </a:ext>
              </a:extLst>
            </p:cNvPr>
            <p:cNvSpPr/>
            <p:nvPr/>
          </p:nvSpPr>
          <p:spPr>
            <a:xfrm>
              <a:off x="7013590" y="213965"/>
              <a:ext cx="54018" cy="562280"/>
            </a:xfrm>
            <a:custGeom>
              <a:avLst/>
              <a:gdLst>
                <a:gd name="connsiteX0" fmla="*/ 0 w 214883"/>
                <a:gd name="connsiteY0" fmla="*/ 107537 h 2236755"/>
                <a:gd name="connsiteX1" fmla="*/ 107537 w 214883"/>
                <a:gd name="connsiteY1" fmla="*/ 0 h 2236755"/>
                <a:gd name="connsiteX2" fmla="*/ 214884 w 214883"/>
                <a:gd name="connsiteY2" fmla="*/ 107537 h 2236755"/>
                <a:gd name="connsiteX3" fmla="*/ 214884 w 214883"/>
                <a:gd name="connsiteY3" fmla="*/ 2129219 h 2236755"/>
                <a:gd name="connsiteX4" fmla="*/ 107537 w 214883"/>
                <a:gd name="connsiteY4" fmla="*/ 2236756 h 2236755"/>
                <a:gd name="connsiteX5" fmla="*/ 0 w 214883"/>
                <a:gd name="connsiteY5" fmla="*/ 2129219 h 2236755"/>
                <a:gd name="connsiteX6" fmla="*/ 0 w 214883"/>
                <a:gd name="connsiteY6" fmla="*/ 107537 h 223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 h="2236755">
                  <a:moveTo>
                    <a:pt x="0" y="107537"/>
                  </a:moveTo>
                  <a:cubicBezTo>
                    <a:pt x="0" y="48197"/>
                    <a:pt x="48101" y="0"/>
                    <a:pt x="107537" y="0"/>
                  </a:cubicBezTo>
                  <a:cubicBezTo>
                    <a:pt x="166973" y="0"/>
                    <a:pt x="214884" y="48197"/>
                    <a:pt x="214884" y="107537"/>
                  </a:cubicBezTo>
                  <a:lnTo>
                    <a:pt x="214884" y="2129219"/>
                  </a:lnTo>
                  <a:cubicBezTo>
                    <a:pt x="214884" y="2188559"/>
                    <a:pt x="166782" y="2236756"/>
                    <a:pt x="107537" y="2236756"/>
                  </a:cubicBezTo>
                  <a:cubicBezTo>
                    <a:pt x="48291" y="2236756"/>
                    <a:pt x="0" y="2188559"/>
                    <a:pt x="0" y="2129219"/>
                  </a:cubicBezTo>
                  <a:lnTo>
                    <a:pt x="0" y="107537"/>
                  </a:lnTo>
                  <a:close/>
                </a:path>
              </a:pathLst>
            </a:custGeom>
            <a:solidFill>
              <a:srgbClr val="3698B0"/>
            </a:solidFill>
            <a:ln w="9525" cap="flat">
              <a:noFill/>
              <a:prstDash val="solid"/>
              <a:miter/>
            </a:ln>
          </p:spPr>
          <p:txBody>
            <a:bodyPr rtlCol="0" anchor="ctr"/>
            <a:lstStyle/>
            <a:p>
              <a:endParaRPr lang="pt-BR" noProof="0"/>
            </a:p>
          </p:txBody>
        </p:sp>
        <p:sp>
          <p:nvSpPr>
            <p:cNvPr id="58" name="Freeform: Shape 57">
              <a:extLst>
                <a:ext uri="{FF2B5EF4-FFF2-40B4-BE49-F238E27FC236}">
                  <a16:creationId xmlns:a16="http://schemas.microsoft.com/office/drawing/2014/main" id="{C922B032-DA25-32C7-479C-F9BD932F6D7D}"/>
                </a:ext>
              </a:extLst>
            </p:cNvPr>
            <p:cNvSpPr/>
            <p:nvPr/>
          </p:nvSpPr>
          <p:spPr>
            <a:xfrm>
              <a:off x="6795770" y="332991"/>
              <a:ext cx="485994" cy="649437"/>
            </a:xfrm>
            <a:custGeom>
              <a:avLst/>
              <a:gdLst>
                <a:gd name="connsiteX0" fmla="*/ 1933290 w 1933289"/>
                <a:gd name="connsiteY0" fmla="*/ 138017 h 2583465"/>
                <a:gd name="connsiteX1" fmla="*/ 1933290 w 1933289"/>
                <a:gd name="connsiteY1" fmla="*/ 1734122 h 2583465"/>
                <a:gd name="connsiteX2" fmla="*/ 1796606 w 1933289"/>
                <a:gd name="connsiteY2" fmla="*/ 2229136 h 2583465"/>
                <a:gd name="connsiteX3" fmla="*/ 977742 w 1933289"/>
                <a:gd name="connsiteY3" fmla="*/ 2583466 h 2583465"/>
                <a:gd name="connsiteX4" fmla="*/ 955357 w 1933289"/>
                <a:gd name="connsiteY4" fmla="*/ 2583466 h 2583465"/>
                <a:gd name="connsiteX5" fmla="*/ 136589 w 1933289"/>
                <a:gd name="connsiteY5" fmla="*/ 2229136 h 2583465"/>
                <a:gd name="connsiteX6" fmla="*/ 0 w 1933289"/>
                <a:gd name="connsiteY6" fmla="*/ 1734122 h 2583465"/>
                <a:gd name="connsiteX7" fmla="*/ 0 w 1933289"/>
                <a:gd name="connsiteY7" fmla="*/ 794194 h 2583465"/>
                <a:gd name="connsiteX8" fmla="*/ 137827 w 1933289"/>
                <a:gd name="connsiteY8" fmla="*/ 656273 h 2583465"/>
                <a:gd name="connsiteX9" fmla="*/ 275463 w 1933289"/>
                <a:gd name="connsiteY9" fmla="*/ 794194 h 2583465"/>
                <a:gd name="connsiteX10" fmla="*/ 275463 w 1933289"/>
                <a:gd name="connsiteY10" fmla="*/ 1734122 h 2583465"/>
                <a:gd name="connsiteX11" fmla="*/ 354235 w 1933289"/>
                <a:gd name="connsiteY11" fmla="*/ 2059686 h 2583465"/>
                <a:gd name="connsiteX12" fmla="*/ 958215 w 1933289"/>
                <a:gd name="connsiteY12" fmla="*/ 2307527 h 2583465"/>
                <a:gd name="connsiteX13" fmla="*/ 974789 w 1933289"/>
                <a:gd name="connsiteY13" fmla="*/ 2307527 h 2583465"/>
                <a:gd name="connsiteX14" fmla="*/ 1578959 w 1933289"/>
                <a:gd name="connsiteY14" fmla="*/ 2059686 h 2583465"/>
                <a:gd name="connsiteX15" fmla="*/ 1657636 w 1933289"/>
                <a:gd name="connsiteY15" fmla="*/ 1734122 h 2583465"/>
                <a:gd name="connsiteX16" fmla="*/ 1657636 w 1933289"/>
                <a:gd name="connsiteY16" fmla="*/ 138017 h 2583465"/>
                <a:gd name="connsiteX17" fmla="*/ 1795463 w 1933289"/>
                <a:gd name="connsiteY17" fmla="*/ 0 h 2583465"/>
                <a:gd name="connsiteX18" fmla="*/ 1933290 w 1933289"/>
                <a:gd name="connsiteY18" fmla="*/ 138017 h 25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3289" h="2583465">
                  <a:moveTo>
                    <a:pt x="1933290" y="138017"/>
                  </a:moveTo>
                  <a:lnTo>
                    <a:pt x="1933290" y="1734122"/>
                  </a:lnTo>
                  <a:cubicBezTo>
                    <a:pt x="1933290" y="1870996"/>
                    <a:pt x="1919002" y="2071211"/>
                    <a:pt x="1796606" y="2229136"/>
                  </a:cubicBezTo>
                  <a:cubicBezTo>
                    <a:pt x="1634395" y="2438305"/>
                    <a:pt x="1432084" y="2578703"/>
                    <a:pt x="977742" y="2583466"/>
                  </a:cubicBezTo>
                  <a:lnTo>
                    <a:pt x="955357" y="2583466"/>
                  </a:lnTo>
                  <a:cubicBezTo>
                    <a:pt x="501015" y="2578703"/>
                    <a:pt x="298704" y="2438400"/>
                    <a:pt x="136589" y="2229136"/>
                  </a:cubicBezTo>
                  <a:cubicBezTo>
                    <a:pt x="14192" y="2071211"/>
                    <a:pt x="0" y="1870996"/>
                    <a:pt x="0" y="1734122"/>
                  </a:cubicBezTo>
                  <a:lnTo>
                    <a:pt x="0" y="794194"/>
                  </a:lnTo>
                  <a:cubicBezTo>
                    <a:pt x="0" y="718185"/>
                    <a:pt x="61436" y="656273"/>
                    <a:pt x="137827" y="656273"/>
                  </a:cubicBezTo>
                  <a:cubicBezTo>
                    <a:pt x="214217" y="656273"/>
                    <a:pt x="275463" y="718185"/>
                    <a:pt x="275463" y="794194"/>
                  </a:cubicBezTo>
                  <a:lnTo>
                    <a:pt x="275463" y="1734122"/>
                  </a:lnTo>
                  <a:cubicBezTo>
                    <a:pt x="275463" y="1887188"/>
                    <a:pt x="300324" y="1990630"/>
                    <a:pt x="354235" y="2059686"/>
                  </a:cubicBezTo>
                  <a:cubicBezTo>
                    <a:pt x="476250" y="2217611"/>
                    <a:pt x="609791" y="2304479"/>
                    <a:pt x="958215" y="2307527"/>
                  </a:cubicBezTo>
                  <a:lnTo>
                    <a:pt x="974789" y="2307527"/>
                  </a:lnTo>
                  <a:cubicBezTo>
                    <a:pt x="1323499" y="2304479"/>
                    <a:pt x="1456563" y="2217611"/>
                    <a:pt x="1578959" y="2059686"/>
                  </a:cubicBezTo>
                  <a:cubicBezTo>
                    <a:pt x="1632490" y="1990630"/>
                    <a:pt x="1657636" y="1887093"/>
                    <a:pt x="1657636" y="1734122"/>
                  </a:cubicBezTo>
                  <a:lnTo>
                    <a:pt x="1657636" y="138017"/>
                  </a:lnTo>
                  <a:cubicBezTo>
                    <a:pt x="1657636" y="61531"/>
                    <a:pt x="1719453" y="0"/>
                    <a:pt x="1795463" y="0"/>
                  </a:cubicBezTo>
                  <a:cubicBezTo>
                    <a:pt x="1871472" y="0"/>
                    <a:pt x="1933290" y="61531"/>
                    <a:pt x="1933290" y="138017"/>
                  </a:cubicBezTo>
                </a:path>
              </a:pathLst>
            </a:custGeom>
            <a:solidFill>
              <a:srgbClr val="49306E"/>
            </a:solidFill>
            <a:ln w="9525" cap="flat">
              <a:noFill/>
              <a:prstDash val="solid"/>
              <a:miter/>
            </a:ln>
          </p:spPr>
          <p:txBody>
            <a:bodyPr rtlCol="0" anchor="ctr"/>
            <a:lstStyle/>
            <a:p>
              <a:endParaRPr lang="pt-BR" noProof="0"/>
            </a:p>
          </p:txBody>
        </p:sp>
      </p:grpSp>
      <p:sp>
        <p:nvSpPr>
          <p:cNvPr id="5" name="Rectangle 3">
            <a:extLst>
              <a:ext uri="{FF2B5EF4-FFF2-40B4-BE49-F238E27FC236}">
                <a16:creationId xmlns:a16="http://schemas.microsoft.com/office/drawing/2014/main" id="{EC89B127-86ED-85D6-1E06-A8A4A6982182}"/>
              </a:ext>
            </a:extLst>
          </p:cNvPr>
          <p:cNvSpPr>
            <a:spLocks noChangeArrowheads="1"/>
          </p:cNvSpPr>
          <p:nvPr/>
        </p:nvSpPr>
        <p:spPr bwMode="auto">
          <a:xfrm>
            <a:off x="428153" y="692497"/>
            <a:ext cx="264816" cy="2862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p:txBody>
      </p:sp>
      <p:sp>
        <p:nvSpPr>
          <p:cNvPr id="3" name="CaixaDeTexto 2">
            <a:extLst>
              <a:ext uri="{FF2B5EF4-FFF2-40B4-BE49-F238E27FC236}">
                <a16:creationId xmlns:a16="http://schemas.microsoft.com/office/drawing/2014/main" id="{382B9437-4B4B-5F61-48D3-705CC391C0E5}"/>
              </a:ext>
            </a:extLst>
          </p:cNvPr>
          <p:cNvSpPr txBox="1"/>
          <p:nvPr/>
        </p:nvSpPr>
        <p:spPr>
          <a:xfrm>
            <a:off x="5735262" y="970986"/>
            <a:ext cx="6316326" cy="3016210"/>
          </a:xfrm>
          <a:prstGeom prst="rect">
            <a:avLst/>
          </a:prstGeom>
          <a:noFill/>
        </p:spPr>
        <p:txBody>
          <a:bodyPr wrap="square" rtlCol="0">
            <a:spAutoFit/>
          </a:bodyPr>
          <a:lstStyle/>
          <a:p>
            <a:pPr>
              <a:lnSpc>
                <a:spcPct val="150000"/>
              </a:lnSpc>
            </a:pPr>
            <a:r>
              <a:rPr lang="pt-BR" sz="2000" b="1" noProof="0" dirty="0"/>
              <a:t>8º dia de internação</a:t>
            </a:r>
          </a:p>
          <a:p>
            <a:endParaRPr lang="pt-BR" sz="2000" dirty="0"/>
          </a:p>
          <a:p>
            <a:pPr marL="342900" indent="-342900">
              <a:buFont typeface="Arial" panose="020B0604020202020204" pitchFamily="34" charset="0"/>
              <a:buChar char="•"/>
            </a:pPr>
            <a:r>
              <a:rPr lang="pt-BR" sz="2000" dirty="0"/>
              <a:t>Piora do padrão respiratório, com roncos e sibilos</a:t>
            </a:r>
          </a:p>
          <a:p>
            <a:pPr marL="342900" indent="-342900">
              <a:buFont typeface="Arial" panose="020B0604020202020204" pitchFamily="34" charset="0"/>
              <a:buChar char="•"/>
            </a:pPr>
            <a:endParaRPr lang="pt-BR" sz="2000" dirty="0"/>
          </a:p>
          <a:p>
            <a:pPr marL="342900" indent="-342900">
              <a:buFont typeface="Arial" panose="020B0604020202020204" pitchFamily="34" charset="0"/>
              <a:buChar char="•"/>
            </a:pPr>
            <a:r>
              <a:rPr lang="pt-BR" sz="2000" dirty="0"/>
              <a:t>Secreção traqueal espessa em maior quantidade (esverdeada) há 2 dias</a:t>
            </a:r>
          </a:p>
          <a:p>
            <a:pPr marL="342900" indent="-342900">
              <a:buFont typeface="Arial" panose="020B0604020202020204" pitchFamily="34" charset="0"/>
              <a:buChar char="•"/>
            </a:pPr>
            <a:endParaRPr lang="pt-BR" sz="2000" dirty="0"/>
          </a:p>
          <a:p>
            <a:pPr marL="342900" indent="-342900">
              <a:buFont typeface="Arial" panose="020B0604020202020204" pitchFamily="34" charset="0"/>
              <a:buChar char="•"/>
            </a:pPr>
            <a:r>
              <a:rPr lang="pt-BR" sz="2000" dirty="0"/>
              <a:t>Coletado hemocultura, urocultura, cultura de aspirado traqueal </a:t>
            </a:r>
          </a:p>
        </p:txBody>
      </p:sp>
      <p:pic>
        <p:nvPicPr>
          <p:cNvPr id="6" name="Picture 2" descr="Vetores de Ilustração Em Vetor De Uma Pessoa Abrindo Um ...">
            <a:extLst>
              <a:ext uri="{FF2B5EF4-FFF2-40B4-BE49-F238E27FC236}">
                <a16:creationId xmlns:a16="http://schemas.microsoft.com/office/drawing/2014/main" id="{9C456EBE-93BD-E9A8-AD6A-573CA011541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8153" y="1443134"/>
            <a:ext cx="4295189" cy="3717474"/>
          </a:xfrm>
          <a:prstGeom prst="rect">
            <a:avLst/>
          </a:prstGeom>
          <a:noFill/>
          <a:extLst>
            <a:ext uri="{909E8E84-426E-40DD-AFC4-6F175D3DCCD1}">
              <a14:hiddenFill xmlns:a14="http://schemas.microsoft.com/office/drawing/2010/main">
                <a:solidFill>
                  <a:srgbClr val="FFFFFF"/>
                </a:solidFill>
              </a14:hiddenFill>
            </a:ext>
          </a:extLst>
        </p:spPr>
      </p:pic>
      <p:sp>
        <p:nvSpPr>
          <p:cNvPr id="7" name="CaixaDeTexto 6">
            <a:extLst>
              <a:ext uri="{FF2B5EF4-FFF2-40B4-BE49-F238E27FC236}">
                <a16:creationId xmlns:a16="http://schemas.microsoft.com/office/drawing/2014/main" id="{890F116D-F4C8-F7F8-CCB7-4E5FDEB23C55}"/>
              </a:ext>
            </a:extLst>
          </p:cNvPr>
          <p:cNvSpPr txBox="1"/>
          <p:nvPr/>
        </p:nvSpPr>
        <p:spPr>
          <a:xfrm>
            <a:off x="1704889" y="2760656"/>
            <a:ext cx="1741715" cy="461665"/>
          </a:xfrm>
          <a:prstGeom prst="rect">
            <a:avLst/>
          </a:prstGeom>
          <a:noFill/>
        </p:spPr>
        <p:txBody>
          <a:bodyPr wrap="square" rtlCol="0">
            <a:spAutoFit/>
          </a:bodyPr>
          <a:lstStyle/>
          <a:p>
            <a:r>
              <a:rPr lang="pt-BR" sz="2400" b="1" noProof="0"/>
              <a:t>Envelope 2</a:t>
            </a:r>
          </a:p>
        </p:txBody>
      </p:sp>
      <p:sp>
        <p:nvSpPr>
          <p:cNvPr id="8" name="Seta: para Baixo 7">
            <a:extLst>
              <a:ext uri="{FF2B5EF4-FFF2-40B4-BE49-F238E27FC236}">
                <a16:creationId xmlns:a16="http://schemas.microsoft.com/office/drawing/2014/main" id="{B2F4D9B7-B4CE-DEE6-EF75-F6DDFF4C575F}"/>
              </a:ext>
            </a:extLst>
          </p:cNvPr>
          <p:cNvSpPr/>
          <p:nvPr/>
        </p:nvSpPr>
        <p:spPr>
          <a:xfrm rot="16200000">
            <a:off x="5007544" y="1298171"/>
            <a:ext cx="457200" cy="542417"/>
          </a:xfrm>
          <a:prstGeom prst="downArrow">
            <a:avLst/>
          </a:prstGeom>
          <a:solidFill>
            <a:srgbClr val="D9D9D9"/>
          </a:solidFill>
          <a:ln w="19050">
            <a:solidFill>
              <a:srgbClr val="7F3D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lgn="just">
              <a:buFont typeface="Arial" panose="020B0604020202020204" pitchFamily="34" charset="0"/>
              <a:buChar char="•"/>
            </a:pPr>
            <a:endParaRPr lang="pt-BR" sz="1800" noProof="0"/>
          </a:p>
        </p:txBody>
      </p:sp>
      <p:sp>
        <p:nvSpPr>
          <p:cNvPr id="9" name="Seta: para Baixo 8">
            <a:extLst>
              <a:ext uri="{FF2B5EF4-FFF2-40B4-BE49-F238E27FC236}">
                <a16:creationId xmlns:a16="http://schemas.microsoft.com/office/drawing/2014/main" id="{DEB9D6F1-4260-D5B8-EF04-59B879E3D942}"/>
              </a:ext>
            </a:extLst>
          </p:cNvPr>
          <p:cNvSpPr/>
          <p:nvPr/>
        </p:nvSpPr>
        <p:spPr>
          <a:xfrm rot="16200000">
            <a:off x="11148857" y="5968106"/>
            <a:ext cx="457200" cy="542417"/>
          </a:xfrm>
          <a:prstGeom prst="downArrow">
            <a:avLst/>
          </a:prstGeom>
          <a:solidFill>
            <a:srgbClr val="D9D9D9"/>
          </a:solidFill>
          <a:ln w="19050">
            <a:solidFill>
              <a:srgbClr val="7F3D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lgn="just">
              <a:buFont typeface="Arial" panose="020B0604020202020204" pitchFamily="34" charset="0"/>
              <a:buChar char="•"/>
            </a:pPr>
            <a:endParaRPr lang="pt-BR" sz="1800" noProof="0"/>
          </a:p>
        </p:txBody>
      </p:sp>
    </p:spTree>
    <p:extLst>
      <p:ext uri="{BB962C8B-B14F-4D97-AF65-F5344CB8AC3E}">
        <p14:creationId xmlns:p14="http://schemas.microsoft.com/office/powerpoint/2010/main" val="8458255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 grpId="0" animBg="1"/>
      <p:bldP spid="9"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8236E1-460E-B9C1-EC74-E8BD5FFA266A}"/>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67014BFB-B533-7795-5BA8-4620C84AE60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8" progId="TCLayout.ActiveDocument.1">
                  <p:embed/>
                </p:oleObj>
              </mc:Choice>
              <mc:Fallback>
                <p:oleObj name="think-cell Slide" r:id="rId4" imgW="306" imgH="308" progId="TCLayout.ActiveDocument.1">
                  <p:embed/>
                  <p:pic>
                    <p:nvPicPr>
                      <p:cNvPr id="12" name="think-cell data - do not delete" hidden="1">
                        <a:extLst>
                          <a:ext uri="{FF2B5EF4-FFF2-40B4-BE49-F238E27FC236}">
                            <a16:creationId xmlns:a16="http://schemas.microsoft.com/office/drawing/2014/main" id="{67014BFB-B533-7795-5BA8-4620C84AE6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3" name="Group 12">
            <a:extLst>
              <a:ext uri="{FF2B5EF4-FFF2-40B4-BE49-F238E27FC236}">
                <a16:creationId xmlns:a16="http://schemas.microsoft.com/office/drawing/2014/main" id="{1238B09C-EADF-2A8E-83EB-CC59F5FD4D29}"/>
              </a:ext>
            </a:extLst>
          </p:cNvPr>
          <p:cNvGrpSpPr/>
          <p:nvPr/>
        </p:nvGrpSpPr>
        <p:grpSpPr>
          <a:xfrm>
            <a:off x="304800" y="249455"/>
            <a:ext cx="1193800" cy="462985"/>
            <a:chOff x="5245100" y="211355"/>
            <a:chExt cx="2036664" cy="789869"/>
          </a:xfrm>
        </p:grpSpPr>
        <p:sp>
          <p:nvSpPr>
            <p:cNvPr id="14" name="Freeform: Shape 13">
              <a:extLst>
                <a:ext uri="{FF2B5EF4-FFF2-40B4-BE49-F238E27FC236}">
                  <a16:creationId xmlns:a16="http://schemas.microsoft.com/office/drawing/2014/main" id="{5BBEEC2A-88D1-9588-3789-638B30D79368}"/>
                </a:ext>
              </a:extLst>
            </p:cNvPr>
            <p:cNvSpPr/>
            <p:nvPr/>
          </p:nvSpPr>
          <p:spPr>
            <a:xfrm>
              <a:off x="5245100" y="308520"/>
              <a:ext cx="247894" cy="322815"/>
            </a:xfrm>
            <a:custGeom>
              <a:avLst/>
              <a:gdLst>
                <a:gd name="connsiteX0" fmla="*/ 529590 w 986123"/>
                <a:gd name="connsiteY0" fmla="*/ 1284160 h 1284160"/>
                <a:gd name="connsiteX1" fmla="*/ 249650 w 986123"/>
                <a:gd name="connsiteY1" fmla="*/ 1235107 h 1284160"/>
                <a:gd name="connsiteX2" fmla="*/ 0 w 986123"/>
                <a:gd name="connsiteY2" fmla="*/ 1084421 h 1284160"/>
                <a:gd name="connsiteX3" fmla="*/ 162306 w 986123"/>
                <a:gd name="connsiteY3" fmla="*/ 890016 h 1284160"/>
                <a:gd name="connsiteX4" fmla="*/ 337947 w 986123"/>
                <a:gd name="connsiteY4" fmla="*/ 1000601 h 1284160"/>
                <a:gd name="connsiteX5" fmla="*/ 535019 w 986123"/>
                <a:gd name="connsiteY5" fmla="*/ 1041654 h 1284160"/>
                <a:gd name="connsiteX6" fmla="*/ 667893 w 986123"/>
                <a:gd name="connsiteY6" fmla="*/ 1010412 h 1284160"/>
                <a:gd name="connsiteX7" fmla="*/ 715137 w 986123"/>
                <a:gd name="connsiteY7" fmla="*/ 923925 h 1284160"/>
                <a:gd name="connsiteX8" fmla="*/ 715137 w 986123"/>
                <a:gd name="connsiteY8" fmla="*/ 920305 h 1284160"/>
                <a:gd name="connsiteX9" fmla="*/ 705326 w 986123"/>
                <a:gd name="connsiteY9" fmla="*/ 873062 h 1284160"/>
                <a:gd name="connsiteX10" fmla="*/ 667798 w 986123"/>
                <a:gd name="connsiteY10" fmla="*/ 834676 h 1284160"/>
                <a:gd name="connsiteX11" fmla="*/ 590931 w 986123"/>
                <a:gd name="connsiteY11" fmla="*/ 798957 h 1284160"/>
                <a:gd name="connsiteX12" fmla="*/ 463106 w 986123"/>
                <a:gd name="connsiteY12" fmla="*/ 761524 h 1284160"/>
                <a:gd name="connsiteX13" fmla="*/ 291465 w 986123"/>
                <a:gd name="connsiteY13" fmla="*/ 709803 h 1284160"/>
                <a:gd name="connsiteX14" fmla="*/ 160973 w 986123"/>
                <a:gd name="connsiteY14" fmla="*/ 639318 h 1284160"/>
                <a:gd name="connsiteX15" fmla="*/ 77819 w 986123"/>
                <a:gd name="connsiteY15" fmla="*/ 535019 h 1284160"/>
                <a:gd name="connsiteX16" fmla="*/ 48292 w 986123"/>
                <a:gd name="connsiteY16" fmla="*/ 379857 h 1284160"/>
                <a:gd name="connsiteX17" fmla="*/ 48292 w 986123"/>
                <a:gd name="connsiteY17" fmla="*/ 376238 h 1284160"/>
                <a:gd name="connsiteX18" fmla="*/ 80201 w 986123"/>
                <a:gd name="connsiteY18" fmla="*/ 222028 h 1284160"/>
                <a:gd name="connsiteX19" fmla="*/ 169640 w 986123"/>
                <a:gd name="connsiteY19" fmla="*/ 103441 h 1284160"/>
                <a:gd name="connsiteX20" fmla="*/ 307181 w 986123"/>
                <a:gd name="connsiteY20" fmla="*/ 26765 h 1284160"/>
                <a:gd name="connsiteX21" fmla="*/ 483394 w 986123"/>
                <a:gd name="connsiteY21" fmla="*/ 0 h 1284160"/>
                <a:gd name="connsiteX22" fmla="*/ 735711 w 986123"/>
                <a:gd name="connsiteY22" fmla="*/ 41053 h 1284160"/>
                <a:gd name="connsiteX23" fmla="*/ 946976 w 986123"/>
                <a:gd name="connsiteY23" fmla="*/ 158687 h 1284160"/>
                <a:gd name="connsiteX24" fmla="*/ 804291 w 986123"/>
                <a:gd name="connsiteY24" fmla="*/ 365569 h 1284160"/>
                <a:gd name="connsiteX25" fmla="*/ 640271 w 986123"/>
                <a:gd name="connsiteY25" fmla="*/ 275558 h 1284160"/>
                <a:gd name="connsiteX26" fmla="*/ 479774 w 986123"/>
                <a:gd name="connsiteY26" fmla="*/ 242602 h 1284160"/>
                <a:gd name="connsiteX27" fmla="*/ 359378 w 986123"/>
                <a:gd name="connsiteY27" fmla="*/ 273844 h 1284160"/>
                <a:gd name="connsiteX28" fmla="*/ 319278 w 986123"/>
                <a:gd name="connsiteY28" fmla="*/ 351377 h 1284160"/>
                <a:gd name="connsiteX29" fmla="*/ 319278 w 986123"/>
                <a:gd name="connsiteY29" fmla="*/ 354997 h 1284160"/>
                <a:gd name="connsiteX30" fmla="*/ 330899 w 986123"/>
                <a:gd name="connsiteY30" fmla="*/ 407575 h 1284160"/>
                <a:gd name="connsiteX31" fmla="*/ 372904 w 986123"/>
                <a:gd name="connsiteY31" fmla="*/ 447675 h 1284160"/>
                <a:gd name="connsiteX32" fmla="*/ 456057 w 986123"/>
                <a:gd name="connsiteY32" fmla="*/ 481489 h 1284160"/>
                <a:gd name="connsiteX33" fmla="*/ 589217 w 986123"/>
                <a:gd name="connsiteY33" fmla="*/ 518922 h 1284160"/>
                <a:gd name="connsiteX34" fmla="*/ 758190 w 986123"/>
                <a:gd name="connsiteY34" fmla="*/ 575120 h 1284160"/>
                <a:gd name="connsiteX35" fmla="*/ 883349 w 986123"/>
                <a:gd name="connsiteY35" fmla="*/ 649986 h 1284160"/>
                <a:gd name="connsiteX36" fmla="*/ 960215 w 986123"/>
                <a:gd name="connsiteY36" fmla="*/ 752570 h 1284160"/>
                <a:gd name="connsiteX37" fmla="*/ 986123 w 986123"/>
                <a:gd name="connsiteY37" fmla="*/ 893445 h 1284160"/>
                <a:gd name="connsiteX38" fmla="*/ 986123 w 986123"/>
                <a:gd name="connsiteY38" fmla="*/ 897064 h 1284160"/>
                <a:gd name="connsiteX39" fmla="*/ 952500 w 986123"/>
                <a:gd name="connsiteY39" fmla="*/ 1062038 h 1284160"/>
                <a:gd name="connsiteX40" fmla="*/ 858584 w 986123"/>
                <a:gd name="connsiteY40" fmla="*/ 1183291 h 1284160"/>
                <a:gd name="connsiteX41" fmla="*/ 714851 w 986123"/>
                <a:gd name="connsiteY41" fmla="*/ 1258157 h 1284160"/>
                <a:gd name="connsiteX42" fmla="*/ 529685 w 986123"/>
                <a:gd name="connsiteY42" fmla="*/ 1284065 h 128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6123" h="1284160">
                  <a:moveTo>
                    <a:pt x="529590" y="1284160"/>
                  </a:moveTo>
                  <a:cubicBezTo>
                    <a:pt x="434435" y="1284160"/>
                    <a:pt x="341186" y="1267777"/>
                    <a:pt x="249650" y="1235107"/>
                  </a:cubicBezTo>
                  <a:cubicBezTo>
                    <a:pt x="158115" y="1202436"/>
                    <a:pt x="74867" y="1152239"/>
                    <a:pt x="0" y="1084421"/>
                  </a:cubicBezTo>
                  <a:lnTo>
                    <a:pt x="162306" y="890016"/>
                  </a:lnTo>
                  <a:cubicBezTo>
                    <a:pt x="219361" y="936403"/>
                    <a:pt x="277844" y="973264"/>
                    <a:pt x="337947" y="1000601"/>
                  </a:cubicBezTo>
                  <a:cubicBezTo>
                    <a:pt x="397955" y="1027938"/>
                    <a:pt x="463677" y="1041654"/>
                    <a:pt x="535019" y="1041654"/>
                  </a:cubicBezTo>
                  <a:cubicBezTo>
                    <a:pt x="592074" y="1041654"/>
                    <a:pt x="636365" y="1031272"/>
                    <a:pt x="667893" y="1010412"/>
                  </a:cubicBezTo>
                  <a:cubicBezTo>
                    <a:pt x="699421" y="989647"/>
                    <a:pt x="715137" y="960787"/>
                    <a:pt x="715137" y="923925"/>
                  </a:cubicBezTo>
                  <a:lnTo>
                    <a:pt x="715137" y="920305"/>
                  </a:lnTo>
                  <a:cubicBezTo>
                    <a:pt x="715137" y="902494"/>
                    <a:pt x="711803" y="886777"/>
                    <a:pt x="705326" y="873062"/>
                  </a:cubicBezTo>
                  <a:cubicBezTo>
                    <a:pt x="698754" y="859441"/>
                    <a:pt x="686276" y="846582"/>
                    <a:pt x="667798" y="834676"/>
                  </a:cubicBezTo>
                  <a:cubicBezTo>
                    <a:pt x="649319" y="822770"/>
                    <a:pt x="623697" y="810863"/>
                    <a:pt x="590931" y="798957"/>
                  </a:cubicBezTo>
                  <a:cubicBezTo>
                    <a:pt x="558165" y="787146"/>
                    <a:pt x="515493" y="774573"/>
                    <a:pt x="463106" y="761524"/>
                  </a:cubicBezTo>
                  <a:cubicBezTo>
                    <a:pt x="399955" y="746093"/>
                    <a:pt x="342710" y="728853"/>
                    <a:pt x="291465" y="709803"/>
                  </a:cubicBezTo>
                  <a:cubicBezTo>
                    <a:pt x="240221" y="690753"/>
                    <a:pt x="196691" y="667322"/>
                    <a:pt x="160973" y="639318"/>
                  </a:cubicBezTo>
                  <a:cubicBezTo>
                    <a:pt x="125159" y="611410"/>
                    <a:pt x="97536" y="576644"/>
                    <a:pt x="77819" y="535019"/>
                  </a:cubicBezTo>
                  <a:cubicBezTo>
                    <a:pt x="58103" y="493395"/>
                    <a:pt x="48292" y="441674"/>
                    <a:pt x="48292" y="379857"/>
                  </a:cubicBezTo>
                  <a:lnTo>
                    <a:pt x="48292" y="376238"/>
                  </a:lnTo>
                  <a:cubicBezTo>
                    <a:pt x="48292" y="319183"/>
                    <a:pt x="58865" y="267748"/>
                    <a:pt x="80201" y="222028"/>
                  </a:cubicBezTo>
                  <a:cubicBezTo>
                    <a:pt x="101441" y="176308"/>
                    <a:pt x="131255" y="136779"/>
                    <a:pt x="169640" y="103441"/>
                  </a:cubicBezTo>
                  <a:cubicBezTo>
                    <a:pt x="208026" y="70199"/>
                    <a:pt x="253841" y="44577"/>
                    <a:pt x="307181" y="26765"/>
                  </a:cubicBezTo>
                  <a:cubicBezTo>
                    <a:pt x="360426" y="8953"/>
                    <a:pt x="419195" y="0"/>
                    <a:pt x="483394" y="0"/>
                  </a:cubicBezTo>
                  <a:cubicBezTo>
                    <a:pt x="574929" y="0"/>
                    <a:pt x="659035" y="13716"/>
                    <a:pt x="735711" y="41053"/>
                  </a:cubicBezTo>
                  <a:cubicBezTo>
                    <a:pt x="812387" y="68389"/>
                    <a:pt x="882777" y="107632"/>
                    <a:pt x="946976" y="158687"/>
                  </a:cubicBezTo>
                  <a:lnTo>
                    <a:pt x="804291" y="365569"/>
                  </a:lnTo>
                  <a:cubicBezTo>
                    <a:pt x="748379" y="327565"/>
                    <a:pt x="693706" y="297561"/>
                    <a:pt x="640271" y="275558"/>
                  </a:cubicBezTo>
                  <a:cubicBezTo>
                    <a:pt x="586740" y="253555"/>
                    <a:pt x="533305" y="242602"/>
                    <a:pt x="479774" y="242602"/>
                  </a:cubicBezTo>
                  <a:cubicBezTo>
                    <a:pt x="426244" y="242602"/>
                    <a:pt x="386144" y="252984"/>
                    <a:pt x="359378" y="273844"/>
                  </a:cubicBezTo>
                  <a:cubicBezTo>
                    <a:pt x="332613" y="294608"/>
                    <a:pt x="319278" y="320516"/>
                    <a:pt x="319278" y="351377"/>
                  </a:cubicBezTo>
                  <a:lnTo>
                    <a:pt x="319278" y="354997"/>
                  </a:lnTo>
                  <a:cubicBezTo>
                    <a:pt x="319278" y="375190"/>
                    <a:pt x="323183" y="392716"/>
                    <a:pt x="330899" y="407575"/>
                  </a:cubicBezTo>
                  <a:cubicBezTo>
                    <a:pt x="338614" y="422434"/>
                    <a:pt x="352616" y="435864"/>
                    <a:pt x="372904" y="447675"/>
                  </a:cubicBezTo>
                  <a:cubicBezTo>
                    <a:pt x="393192" y="459581"/>
                    <a:pt x="420910" y="470821"/>
                    <a:pt x="456057" y="481489"/>
                  </a:cubicBezTo>
                  <a:cubicBezTo>
                    <a:pt x="491204" y="492157"/>
                    <a:pt x="535591" y="504730"/>
                    <a:pt x="589217" y="518922"/>
                  </a:cubicBezTo>
                  <a:cubicBezTo>
                    <a:pt x="652367" y="535591"/>
                    <a:pt x="708660" y="554260"/>
                    <a:pt x="758190" y="575120"/>
                  </a:cubicBezTo>
                  <a:cubicBezTo>
                    <a:pt x="807625" y="595979"/>
                    <a:pt x="849344" y="620935"/>
                    <a:pt x="883349" y="649986"/>
                  </a:cubicBezTo>
                  <a:cubicBezTo>
                    <a:pt x="917353" y="679132"/>
                    <a:pt x="942975" y="713327"/>
                    <a:pt x="960215" y="752570"/>
                  </a:cubicBezTo>
                  <a:cubicBezTo>
                    <a:pt x="977456" y="791813"/>
                    <a:pt x="986123" y="838772"/>
                    <a:pt x="986123" y="893445"/>
                  </a:cubicBezTo>
                  <a:lnTo>
                    <a:pt x="986123" y="897064"/>
                  </a:lnTo>
                  <a:cubicBezTo>
                    <a:pt x="986123" y="958882"/>
                    <a:pt x="974884" y="1013841"/>
                    <a:pt x="952500" y="1062038"/>
                  </a:cubicBezTo>
                  <a:cubicBezTo>
                    <a:pt x="930021" y="1110139"/>
                    <a:pt x="898779" y="1150620"/>
                    <a:pt x="858584" y="1183291"/>
                  </a:cubicBezTo>
                  <a:cubicBezTo>
                    <a:pt x="818388" y="1216057"/>
                    <a:pt x="770477" y="1241012"/>
                    <a:pt x="714851" y="1258157"/>
                  </a:cubicBezTo>
                  <a:cubicBezTo>
                    <a:pt x="659130" y="1275398"/>
                    <a:pt x="597503" y="1284065"/>
                    <a:pt x="529685" y="1284065"/>
                  </a:cubicBezTo>
                  <a:close/>
                </a:path>
              </a:pathLst>
            </a:custGeom>
            <a:solidFill>
              <a:srgbClr val="44505E"/>
            </a:solidFill>
            <a:ln w="9525" cap="flat">
              <a:noFill/>
              <a:prstDash val="solid"/>
              <a:miter/>
            </a:ln>
          </p:spPr>
          <p:txBody>
            <a:bodyPr rtlCol="0" anchor="ctr"/>
            <a:lstStyle/>
            <a:p>
              <a:endParaRPr lang="pt-BR" noProof="0"/>
            </a:p>
          </p:txBody>
        </p:sp>
        <p:sp>
          <p:nvSpPr>
            <p:cNvPr id="17" name="Freeform: Shape 16">
              <a:extLst>
                <a:ext uri="{FF2B5EF4-FFF2-40B4-BE49-F238E27FC236}">
                  <a16:creationId xmlns:a16="http://schemas.microsoft.com/office/drawing/2014/main" id="{6243E30E-A0EF-5AD6-0907-760CAFBEB6AE}"/>
                </a:ext>
              </a:extLst>
            </p:cNvPr>
            <p:cNvSpPr/>
            <p:nvPr/>
          </p:nvSpPr>
          <p:spPr>
            <a:xfrm>
              <a:off x="5492084" y="310867"/>
              <a:ext cx="332584" cy="315991"/>
            </a:xfrm>
            <a:custGeom>
              <a:avLst/>
              <a:gdLst>
                <a:gd name="connsiteX0" fmla="*/ 534924 w 1323022"/>
                <a:gd name="connsiteY0" fmla="*/ 0 h 1257014"/>
                <a:gd name="connsiteX1" fmla="*/ 788099 w 1323022"/>
                <a:gd name="connsiteY1" fmla="*/ 0 h 1257014"/>
                <a:gd name="connsiteX2" fmla="*/ 1323023 w 1323022"/>
                <a:gd name="connsiteY2" fmla="*/ 1257014 h 1257014"/>
                <a:gd name="connsiteX3" fmla="*/ 1035939 w 1323022"/>
                <a:gd name="connsiteY3" fmla="*/ 1257014 h 1257014"/>
                <a:gd name="connsiteX4" fmla="*/ 921829 w 1323022"/>
                <a:gd name="connsiteY4" fmla="*/ 977075 h 1257014"/>
                <a:gd name="connsiteX5" fmla="*/ 394049 w 1323022"/>
                <a:gd name="connsiteY5" fmla="*/ 977075 h 1257014"/>
                <a:gd name="connsiteX6" fmla="*/ 279940 w 1323022"/>
                <a:gd name="connsiteY6" fmla="*/ 1257014 h 1257014"/>
                <a:gd name="connsiteX7" fmla="*/ 0 w 1323022"/>
                <a:gd name="connsiteY7" fmla="*/ 1257014 h 1257014"/>
                <a:gd name="connsiteX8" fmla="*/ 534924 w 1323022"/>
                <a:gd name="connsiteY8" fmla="*/ 0 h 1257014"/>
                <a:gd name="connsiteX9" fmla="*/ 823817 w 1323022"/>
                <a:gd name="connsiteY9" fmla="*/ 734568 h 1257014"/>
                <a:gd name="connsiteX10" fmla="*/ 657987 w 1323022"/>
                <a:gd name="connsiteY10" fmla="*/ 329851 h 1257014"/>
                <a:gd name="connsiteX11" fmla="*/ 492157 w 1323022"/>
                <a:gd name="connsiteY11" fmla="*/ 734568 h 1257014"/>
                <a:gd name="connsiteX12" fmla="*/ 823817 w 1323022"/>
                <a:gd name="connsiteY12" fmla="*/ 734568 h 125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022" h="1257014">
                  <a:moveTo>
                    <a:pt x="534924" y="0"/>
                  </a:moveTo>
                  <a:lnTo>
                    <a:pt x="788099" y="0"/>
                  </a:lnTo>
                  <a:lnTo>
                    <a:pt x="1323023" y="1257014"/>
                  </a:lnTo>
                  <a:lnTo>
                    <a:pt x="1035939" y="1257014"/>
                  </a:lnTo>
                  <a:lnTo>
                    <a:pt x="921829" y="977075"/>
                  </a:lnTo>
                  <a:lnTo>
                    <a:pt x="394049" y="977075"/>
                  </a:lnTo>
                  <a:lnTo>
                    <a:pt x="279940" y="1257014"/>
                  </a:lnTo>
                  <a:lnTo>
                    <a:pt x="0" y="1257014"/>
                  </a:lnTo>
                  <a:lnTo>
                    <a:pt x="534924" y="0"/>
                  </a:lnTo>
                  <a:close/>
                  <a:moveTo>
                    <a:pt x="823817" y="734568"/>
                  </a:moveTo>
                  <a:lnTo>
                    <a:pt x="657987" y="329851"/>
                  </a:lnTo>
                  <a:lnTo>
                    <a:pt x="492157" y="734568"/>
                  </a:lnTo>
                  <a:lnTo>
                    <a:pt x="823817" y="734568"/>
                  </a:lnTo>
                  <a:close/>
                </a:path>
              </a:pathLst>
            </a:custGeom>
            <a:solidFill>
              <a:srgbClr val="44505E"/>
            </a:solidFill>
            <a:ln w="9525" cap="flat">
              <a:noFill/>
              <a:prstDash val="solid"/>
              <a:miter/>
            </a:ln>
          </p:spPr>
          <p:txBody>
            <a:bodyPr rtlCol="0" anchor="ctr"/>
            <a:lstStyle/>
            <a:p>
              <a:endParaRPr lang="pt-BR" noProof="0"/>
            </a:p>
          </p:txBody>
        </p:sp>
        <p:sp>
          <p:nvSpPr>
            <p:cNvPr id="18" name="Freeform: Shape 17">
              <a:extLst>
                <a:ext uri="{FF2B5EF4-FFF2-40B4-BE49-F238E27FC236}">
                  <a16:creationId xmlns:a16="http://schemas.microsoft.com/office/drawing/2014/main" id="{A47F9F35-14DF-7460-07F3-92D839CC9B13}"/>
                </a:ext>
              </a:extLst>
            </p:cNvPr>
            <p:cNvSpPr/>
            <p:nvPr/>
          </p:nvSpPr>
          <p:spPr>
            <a:xfrm>
              <a:off x="5834078" y="211355"/>
              <a:ext cx="273442" cy="420435"/>
            </a:xfrm>
            <a:custGeom>
              <a:avLst/>
              <a:gdLst>
                <a:gd name="connsiteX0" fmla="*/ 540258 w 1087754"/>
                <a:gd name="connsiteY0" fmla="*/ 1672495 h 1672494"/>
                <a:gd name="connsiteX1" fmla="*/ 144399 w 1087754"/>
                <a:gd name="connsiteY1" fmla="*/ 1533430 h 1672494"/>
                <a:gd name="connsiteX2" fmla="*/ 0 w 1087754"/>
                <a:gd name="connsiteY2" fmla="*/ 1117949 h 1672494"/>
                <a:gd name="connsiteX3" fmla="*/ 0 w 1087754"/>
                <a:gd name="connsiteY3" fmla="*/ 404717 h 1672494"/>
                <a:gd name="connsiteX4" fmla="*/ 274606 w 1087754"/>
                <a:gd name="connsiteY4" fmla="*/ 404717 h 1672494"/>
                <a:gd name="connsiteX5" fmla="*/ 274606 w 1087754"/>
                <a:gd name="connsiteY5" fmla="*/ 1110806 h 1672494"/>
                <a:gd name="connsiteX6" fmla="*/ 345948 w 1087754"/>
                <a:gd name="connsiteY6" fmla="*/ 1341692 h 1672494"/>
                <a:gd name="connsiteX7" fmla="*/ 543877 w 1087754"/>
                <a:gd name="connsiteY7" fmla="*/ 1419225 h 1672494"/>
                <a:gd name="connsiteX8" fmla="*/ 741807 w 1087754"/>
                <a:gd name="connsiteY8" fmla="*/ 1344359 h 1672494"/>
                <a:gd name="connsiteX9" fmla="*/ 813149 w 1087754"/>
                <a:gd name="connsiteY9" fmla="*/ 1119664 h 1672494"/>
                <a:gd name="connsiteX10" fmla="*/ 813149 w 1087754"/>
                <a:gd name="connsiteY10" fmla="*/ 404717 h 1672494"/>
                <a:gd name="connsiteX11" fmla="*/ 1087755 w 1087754"/>
                <a:gd name="connsiteY11" fmla="*/ 404717 h 1672494"/>
                <a:gd name="connsiteX12" fmla="*/ 1087755 w 1087754"/>
                <a:gd name="connsiteY12" fmla="*/ 1108996 h 1672494"/>
                <a:gd name="connsiteX13" fmla="*/ 1049369 w 1087754"/>
                <a:gd name="connsiteY13" fmla="*/ 1356836 h 1672494"/>
                <a:gd name="connsiteX14" fmla="*/ 939737 w 1087754"/>
                <a:gd name="connsiteY14" fmla="*/ 1532477 h 1672494"/>
                <a:gd name="connsiteX15" fmla="*/ 766763 w 1087754"/>
                <a:gd name="connsiteY15" fmla="*/ 1637729 h 1672494"/>
                <a:gd name="connsiteX16" fmla="*/ 540353 w 1087754"/>
                <a:gd name="connsiteY16" fmla="*/ 1672495 h 1672494"/>
                <a:gd name="connsiteX17" fmla="*/ 622268 w 1087754"/>
                <a:gd name="connsiteY17" fmla="*/ 0 h 1672494"/>
                <a:gd name="connsiteX18" fmla="*/ 855821 w 1087754"/>
                <a:gd name="connsiteY18" fmla="*/ 101632 h 1672494"/>
                <a:gd name="connsiteX19" fmla="*/ 627602 w 1087754"/>
                <a:gd name="connsiteY19" fmla="*/ 315563 h 1672494"/>
                <a:gd name="connsiteX20" fmla="*/ 420719 w 1087754"/>
                <a:gd name="connsiteY20" fmla="*/ 315563 h 1672494"/>
                <a:gd name="connsiteX21" fmla="*/ 622268 w 1087754"/>
                <a:gd name="connsiteY21" fmla="*/ 0 h 16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754" h="1672494">
                  <a:moveTo>
                    <a:pt x="540258" y="1672495"/>
                  </a:moveTo>
                  <a:cubicBezTo>
                    <a:pt x="372618" y="1672495"/>
                    <a:pt x="240697" y="1626108"/>
                    <a:pt x="144399" y="1533430"/>
                  </a:cubicBezTo>
                  <a:cubicBezTo>
                    <a:pt x="48101" y="1440752"/>
                    <a:pt x="0" y="1302258"/>
                    <a:pt x="0" y="1117949"/>
                  </a:cubicBezTo>
                  <a:lnTo>
                    <a:pt x="0" y="404717"/>
                  </a:lnTo>
                  <a:lnTo>
                    <a:pt x="274606" y="404717"/>
                  </a:lnTo>
                  <a:lnTo>
                    <a:pt x="274606" y="1110806"/>
                  </a:lnTo>
                  <a:cubicBezTo>
                    <a:pt x="274606" y="1213009"/>
                    <a:pt x="298418" y="1289971"/>
                    <a:pt x="345948" y="1341692"/>
                  </a:cubicBezTo>
                  <a:cubicBezTo>
                    <a:pt x="393478" y="1393412"/>
                    <a:pt x="459486" y="1419225"/>
                    <a:pt x="543877" y="1419225"/>
                  </a:cubicBezTo>
                  <a:cubicBezTo>
                    <a:pt x="628269" y="1419225"/>
                    <a:pt x="694277" y="1394270"/>
                    <a:pt x="741807" y="1344359"/>
                  </a:cubicBezTo>
                  <a:cubicBezTo>
                    <a:pt x="789337" y="1294448"/>
                    <a:pt x="813149" y="1219581"/>
                    <a:pt x="813149" y="1119664"/>
                  </a:cubicBezTo>
                  <a:lnTo>
                    <a:pt x="813149" y="404717"/>
                  </a:lnTo>
                  <a:lnTo>
                    <a:pt x="1087755" y="404717"/>
                  </a:lnTo>
                  <a:lnTo>
                    <a:pt x="1087755" y="1108996"/>
                  </a:lnTo>
                  <a:cubicBezTo>
                    <a:pt x="1087755" y="1204151"/>
                    <a:pt x="1074992" y="1286732"/>
                    <a:pt x="1049369" y="1356836"/>
                  </a:cubicBezTo>
                  <a:cubicBezTo>
                    <a:pt x="1023747" y="1426940"/>
                    <a:pt x="987266" y="1485519"/>
                    <a:pt x="939737" y="1532477"/>
                  </a:cubicBezTo>
                  <a:cubicBezTo>
                    <a:pt x="892207" y="1579436"/>
                    <a:pt x="834485" y="1614488"/>
                    <a:pt x="766763" y="1637729"/>
                  </a:cubicBezTo>
                  <a:cubicBezTo>
                    <a:pt x="699040" y="1660874"/>
                    <a:pt x="623507" y="1672495"/>
                    <a:pt x="540353" y="1672495"/>
                  </a:cubicBezTo>
                  <a:close/>
                  <a:moveTo>
                    <a:pt x="622268" y="0"/>
                  </a:moveTo>
                  <a:lnTo>
                    <a:pt x="855821" y="101632"/>
                  </a:lnTo>
                  <a:lnTo>
                    <a:pt x="627602" y="315563"/>
                  </a:lnTo>
                  <a:lnTo>
                    <a:pt x="420719" y="315563"/>
                  </a:lnTo>
                  <a:lnTo>
                    <a:pt x="622268" y="0"/>
                  </a:lnTo>
                  <a:close/>
                </a:path>
              </a:pathLst>
            </a:custGeom>
            <a:solidFill>
              <a:srgbClr val="44505E"/>
            </a:solidFill>
            <a:ln w="9525" cap="flat">
              <a:noFill/>
              <a:prstDash val="solid"/>
              <a:miter/>
            </a:ln>
          </p:spPr>
          <p:txBody>
            <a:bodyPr rtlCol="0" anchor="ctr"/>
            <a:lstStyle/>
            <a:p>
              <a:endParaRPr lang="pt-BR" noProof="0"/>
            </a:p>
          </p:txBody>
        </p:sp>
        <p:sp>
          <p:nvSpPr>
            <p:cNvPr id="19" name="Freeform: Shape 18">
              <a:extLst>
                <a:ext uri="{FF2B5EF4-FFF2-40B4-BE49-F238E27FC236}">
                  <a16:creationId xmlns:a16="http://schemas.microsoft.com/office/drawing/2014/main" id="{BFE79CE1-0DDF-BB6C-1F5A-AEEB79EDAA8C}"/>
                </a:ext>
              </a:extLst>
            </p:cNvPr>
            <p:cNvSpPr/>
            <p:nvPr/>
          </p:nvSpPr>
          <p:spPr>
            <a:xfrm>
              <a:off x="6143795" y="313094"/>
              <a:ext cx="289101" cy="313764"/>
            </a:xfrm>
            <a:custGeom>
              <a:avLst/>
              <a:gdLst>
                <a:gd name="connsiteX0" fmla="*/ 0 w 1150048"/>
                <a:gd name="connsiteY0" fmla="*/ 0 h 1248155"/>
                <a:gd name="connsiteX1" fmla="*/ 486728 w 1150048"/>
                <a:gd name="connsiteY1" fmla="*/ 0 h 1248155"/>
                <a:gd name="connsiteX2" fmla="*/ 755047 w 1150048"/>
                <a:gd name="connsiteY2" fmla="*/ 47244 h 1248155"/>
                <a:gd name="connsiteX3" fmla="*/ 965454 w 1150048"/>
                <a:gd name="connsiteY3" fmla="*/ 178308 h 1248155"/>
                <a:gd name="connsiteX4" fmla="*/ 1101852 w 1150048"/>
                <a:gd name="connsiteY4" fmla="*/ 375380 h 1248155"/>
                <a:gd name="connsiteX5" fmla="*/ 1150049 w 1150048"/>
                <a:gd name="connsiteY5" fmla="*/ 620554 h 1248155"/>
                <a:gd name="connsiteX6" fmla="*/ 1150049 w 1150048"/>
                <a:gd name="connsiteY6" fmla="*/ 624173 h 1248155"/>
                <a:gd name="connsiteX7" fmla="*/ 1101852 w 1150048"/>
                <a:gd name="connsiteY7" fmla="*/ 870204 h 1248155"/>
                <a:gd name="connsiteX8" fmla="*/ 965454 w 1150048"/>
                <a:gd name="connsiteY8" fmla="*/ 1068134 h 1248155"/>
                <a:gd name="connsiteX9" fmla="*/ 755047 w 1150048"/>
                <a:gd name="connsiteY9" fmla="*/ 1200055 h 1248155"/>
                <a:gd name="connsiteX10" fmla="*/ 486728 w 1150048"/>
                <a:gd name="connsiteY10" fmla="*/ 1248156 h 1248155"/>
                <a:gd name="connsiteX11" fmla="*/ 0 w 1150048"/>
                <a:gd name="connsiteY11" fmla="*/ 1248156 h 1248155"/>
                <a:gd name="connsiteX12" fmla="*/ 0 w 1150048"/>
                <a:gd name="connsiteY12" fmla="*/ 0 h 1248155"/>
                <a:gd name="connsiteX13" fmla="*/ 486728 w 1150048"/>
                <a:gd name="connsiteY13" fmla="*/ 1000315 h 1248155"/>
                <a:gd name="connsiteX14" fmla="*/ 640080 w 1150048"/>
                <a:gd name="connsiteY14" fmla="*/ 973550 h 1248155"/>
                <a:gd name="connsiteX15" fmla="*/ 758667 w 1150048"/>
                <a:gd name="connsiteY15" fmla="*/ 896874 h 1248155"/>
                <a:gd name="connsiteX16" fmla="*/ 835343 w 1150048"/>
                <a:gd name="connsiteY16" fmla="*/ 779240 h 1248155"/>
                <a:gd name="connsiteX17" fmla="*/ 862965 w 1150048"/>
                <a:gd name="connsiteY17" fmla="*/ 627698 h 1248155"/>
                <a:gd name="connsiteX18" fmla="*/ 862965 w 1150048"/>
                <a:gd name="connsiteY18" fmla="*/ 624078 h 1248155"/>
                <a:gd name="connsiteX19" fmla="*/ 835343 w 1150048"/>
                <a:gd name="connsiteY19" fmla="*/ 472535 h 1248155"/>
                <a:gd name="connsiteX20" fmla="*/ 758667 w 1150048"/>
                <a:gd name="connsiteY20" fmla="*/ 353092 h 1248155"/>
                <a:gd name="connsiteX21" fmla="*/ 640080 w 1150048"/>
                <a:gd name="connsiteY21" fmla="*/ 275558 h 1248155"/>
                <a:gd name="connsiteX22" fmla="*/ 486728 w 1150048"/>
                <a:gd name="connsiteY22" fmla="*/ 247936 h 1248155"/>
                <a:gd name="connsiteX23" fmla="*/ 274511 w 1150048"/>
                <a:gd name="connsiteY23" fmla="*/ 247936 h 1248155"/>
                <a:gd name="connsiteX24" fmla="*/ 274511 w 1150048"/>
                <a:gd name="connsiteY24" fmla="*/ 1000411 h 1248155"/>
                <a:gd name="connsiteX25" fmla="*/ 486728 w 1150048"/>
                <a:gd name="connsiteY25" fmla="*/ 1000411 h 124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50048" h="1248155">
                  <a:moveTo>
                    <a:pt x="0" y="0"/>
                  </a:moveTo>
                  <a:lnTo>
                    <a:pt x="486728" y="0"/>
                  </a:lnTo>
                  <a:cubicBezTo>
                    <a:pt x="584168" y="0"/>
                    <a:pt x="673608" y="15811"/>
                    <a:pt x="755047" y="47244"/>
                  </a:cubicBezTo>
                  <a:cubicBezTo>
                    <a:pt x="836486" y="78772"/>
                    <a:pt x="906590" y="122396"/>
                    <a:pt x="965454" y="178308"/>
                  </a:cubicBezTo>
                  <a:cubicBezTo>
                    <a:pt x="1024319" y="234220"/>
                    <a:pt x="1069753" y="299847"/>
                    <a:pt x="1101852" y="375380"/>
                  </a:cubicBezTo>
                  <a:cubicBezTo>
                    <a:pt x="1133951" y="450914"/>
                    <a:pt x="1150049" y="532543"/>
                    <a:pt x="1150049" y="620554"/>
                  </a:cubicBezTo>
                  <a:lnTo>
                    <a:pt x="1150049" y="624173"/>
                  </a:lnTo>
                  <a:cubicBezTo>
                    <a:pt x="1150049" y="712184"/>
                    <a:pt x="1133951" y="794195"/>
                    <a:pt x="1101852" y="870204"/>
                  </a:cubicBezTo>
                  <a:cubicBezTo>
                    <a:pt x="1069753" y="946309"/>
                    <a:pt x="1024319" y="1012222"/>
                    <a:pt x="965454" y="1068134"/>
                  </a:cubicBezTo>
                  <a:cubicBezTo>
                    <a:pt x="906590" y="1124045"/>
                    <a:pt x="836486" y="1167956"/>
                    <a:pt x="755047" y="1200055"/>
                  </a:cubicBezTo>
                  <a:cubicBezTo>
                    <a:pt x="673608" y="1232154"/>
                    <a:pt x="584168" y="1248156"/>
                    <a:pt x="486728" y="1248156"/>
                  </a:cubicBezTo>
                  <a:lnTo>
                    <a:pt x="0" y="1248156"/>
                  </a:lnTo>
                  <a:lnTo>
                    <a:pt x="0" y="0"/>
                  </a:lnTo>
                  <a:close/>
                  <a:moveTo>
                    <a:pt x="486728" y="1000315"/>
                  </a:moveTo>
                  <a:cubicBezTo>
                    <a:pt x="542639" y="1000315"/>
                    <a:pt x="593693" y="991457"/>
                    <a:pt x="640080" y="973550"/>
                  </a:cubicBezTo>
                  <a:cubicBezTo>
                    <a:pt x="686467" y="955739"/>
                    <a:pt x="725900" y="930211"/>
                    <a:pt x="758667" y="896874"/>
                  </a:cubicBezTo>
                  <a:cubicBezTo>
                    <a:pt x="791337" y="863632"/>
                    <a:pt x="816864" y="824389"/>
                    <a:pt x="835343" y="779240"/>
                  </a:cubicBezTo>
                  <a:cubicBezTo>
                    <a:pt x="853726" y="734092"/>
                    <a:pt x="862965" y="683609"/>
                    <a:pt x="862965" y="627698"/>
                  </a:cubicBezTo>
                  <a:lnTo>
                    <a:pt x="862965" y="624078"/>
                  </a:lnTo>
                  <a:cubicBezTo>
                    <a:pt x="862965" y="569404"/>
                    <a:pt x="853726" y="518827"/>
                    <a:pt x="835343" y="472535"/>
                  </a:cubicBezTo>
                  <a:cubicBezTo>
                    <a:pt x="816864" y="426149"/>
                    <a:pt x="791337" y="386334"/>
                    <a:pt x="758667" y="353092"/>
                  </a:cubicBezTo>
                  <a:cubicBezTo>
                    <a:pt x="725996" y="319849"/>
                    <a:pt x="686467" y="293941"/>
                    <a:pt x="640080" y="275558"/>
                  </a:cubicBezTo>
                  <a:cubicBezTo>
                    <a:pt x="593693" y="257175"/>
                    <a:pt x="542639" y="247936"/>
                    <a:pt x="486728" y="247936"/>
                  </a:cubicBezTo>
                  <a:lnTo>
                    <a:pt x="274511" y="247936"/>
                  </a:lnTo>
                  <a:lnTo>
                    <a:pt x="274511" y="1000411"/>
                  </a:lnTo>
                  <a:lnTo>
                    <a:pt x="486728" y="1000411"/>
                  </a:lnTo>
                  <a:close/>
                </a:path>
              </a:pathLst>
            </a:custGeom>
            <a:solidFill>
              <a:srgbClr val="44505E"/>
            </a:solidFill>
            <a:ln w="9525" cap="flat">
              <a:noFill/>
              <a:prstDash val="solid"/>
              <a:miter/>
            </a:ln>
          </p:spPr>
          <p:txBody>
            <a:bodyPr rtlCol="0" anchor="ctr"/>
            <a:lstStyle/>
            <a:p>
              <a:endParaRPr lang="pt-BR" noProof="0"/>
            </a:p>
          </p:txBody>
        </p:sp>
        <p:sp>
          <p:nvSpPr>
            <p:cNvPr id="20" name="Freeform: Shape 19">
              <a:extLst>
                <a:ext uri="{FF2B5EF4-FFF2-40B4-BE49-F238E27FC236}">
                  <a16:creationId xmlns:a16="http://schemas.microsoft.com/office/drawing/2014/main" id="{87003A17-C4D1-F0B0-A3B6-96AD04D7DCB6}"/>
                </a:ext>
              </a:extLst>
            </p:cNvPr>
            <p:cNvSpPr/>
            <p:nvPr/>
          </p:nvSpPr>
          <p:spPr>
            <a:xfrm>
              <a:off x="6460217" y="313094"/>
              <a:ext cx="238459" cy="313788"/>
            </a:xfrm>
            <a:custGeom>
              <a:avLst/>
              <a:gdLst>
                <a:gd name="connsiteX0" fmla="*/ 95 w 948594"/>
                <a:gd name="connsiteY0" fmla="*/ 0 h 1248251"/>
                <a:gd name="connsiteX1" fmla="*/ 939737 w 948594"/>
                <a:gd name="connsiteY1" fmla="*/ 0 h 1248251"/>
                <a:gd name="connsiteX2" fmla="*/ 939737 w 948594"/>
                <a:gd name="connsiteY2" fmla="*/ 244316 h 1248251"/>
                <a:gd name="connsiteX3" fmla="*/ 271081 w 948594"/>
                <a:gd name="connsiteY3" fmla="*/ 244316 h 1248251"/>
                <a:gd name="connsiteX4" fmla="*/ 271081 w 948594"/>
                <a:gd name="connsiteY4" fmla="*/ 497491 h 1248251"/>
                <a:gd name="connsiteX5" fmla="*/ 859441 w 948594"/>
                <a:gd name="connsiteY5" fmla="*/ 497491 h 1248251"/>
                <a:gd name="connsiteX6" fmla="*/ 859441 w 948594"/>
                <a:gd name="connsiteY6" fmla="*/ 741807 h 1248251"/>
                <a:gd name="connsiteX7" fmla="*/ 271081 w 948594"/>
                <a:gd name="connsiteY7" fmla="*/ 741807 h 1248251"/>
                <a:gd name="connsiteX8" fmla="*/ 271081 w 948594"/>
                <a:gd name="connsiteY8" fmla="*/ 1003935 h 1248251"/>
                <a:gd name="connsiteX9" fmla="*/ 948595 w 948594"/>
                <a:gd name="connsiteY9" fmla="*/ 1003935 h 1248251"/>
                <a:gd name="connsiteX10" fmla="*/ 948595 w 948594"/>
                <a:gd name="connsiteY10" fmla="*/ 1248251 h 1248251"/>
                <a:gd name="connsiteX11" fmla="*/ 0 w 948594"/>
                <a:gd name="connsiteY11" fmla="*/ 1248251 h 1248251"/>
                <a:gd name="connsiteX12" fmla="*/ 0 w 948594"/>
                <a:gd name="connsiteY12" fmla="*/ 0 h 124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594" h="1248251">
                  <a:moveTo>
                    <a:pt x="95" y="0"/>
                  </a:moveTo>
                  <a:lnTo>
                    <a:pt x="939737" y="0"/>
                  </a:lnTo>
                  <a:lnTo>
                    <a:pt x="939737" y="244316"/>
                  </a:lnTo>
                  <a:lnTo>
                    <a:pt x="271081" y="244316"/>
                  </a:lnTo>
                  <a:lnTo>
                    <a:pt x="271081" y="497491"/>
                  </a:lnTo>
                  <a:lnTo>
                    <a:pt x="859441" y="497491"/>
                  </a:lnTo>
                  <a:lnTo>
                    <a:pt x="859441" y="741807"/>
                  </a:lnTo>
                  <a:lnTo>
                    <a:pt x="271081" y="741807"/>
                  </a:lnTo>
                  <a:lnTo>
                    <a:pt x="271081" y="1003935"/>
                  </a:lnTo>
                  <a:lnTo>
                    <a:pt x="948595" y="1003935"/>
                  </a:lnTo>
                  <a:lnTo>
                    <a:pt x="948595" y="1248251"/>
                  </a:lnTo>
                  <a:lnTo>
                    <a:pt x="0" y="1248251"/>
                  </a:lnTo>
                  <a:lnTo>
                    <a:pt x="0" y="0"/>
                  </a:lnTo>
                  <a:close/>
                </a:path>
              </a:pathLst>
            </a:custGeom>
            <a:solidFill>
              <a:srgbClr val="44505E"/>
            </a:solidFill>
            <a:ln w="9525" cap="flat">
              <a:noFill/>
              <a:prstDash val="solid"/>
              <a:miter/>
            </a:ln>
          </p:spPr>
          <p:txBody>
            <a:bodyPr rtlCol="0" anchor="ctr"/>
            <a:lstStyle/>
            <a:p>
              <a:endParaRPr lang="pt-BR" noProof="0"/>
            </a:p>
          </p:txBody>
        </p:sp>
        <p:sp>
          <p:nvSpPr>
            <p:cNvPr id="21" name="Freeform: Shape 20">
              <a:extLst>
                <a:ext uri="{FF2B5EF4-FFF2-40B4-BE49-F238E27FC236}">
                  <a16:creationId xmlns:a16="http://schemas.microsoft.com/office/drawing/2014/main" id="{ED62B934-8A36-BDA9-4669-182DDA56DB43}"/>
                </a:ext>
              </a:extLst>
            </p:cNvPr>
            <p:cNvSpPr/>
            <p:nvPr/>
          </p:nvSpPr>
          <p:spPr>
            <a:xfrm>
              <a:off x="5253193" y="699983"/>
              <a:ext cx="90796" cy="97883"/>
            </a:xfrm>
            <a:custGeom>
              <a:avLst/>
              <a:gdLst>
                <a:gd name="connsiteX0" fmla="*/ 191548 w 361187"/>
                <a:gd name="connsiteY0" fmla="*/ 389382 h 389381"/>
                <a:gd name="connsiteX1" fmla="*/ 116300 w 361187"/>
                <a:gd name="connsiteY1" fmla="*/ 375285 h 389381"/>
                <a:gd name="connsiteX2" fmla="*/ 55531 w 361187"/>
                <a:gd name="connsiteY2" fmla="*/ 335756 h 389381"/>
                <a:gd name="connsiteX3" fmla="*/ 14859 w 361187"/>
                <a:gd name="connsiteY3" fmla="*/ 274606 h 389381"/>
                <a:gd name="connsiteX4" fmla="*/ 0 w 361187"/>
                <a:gd name="connsiteY4" fmla="*/ 195834 h 389381"/>
                <a:gd name="connsiteX5" fmla="*/ 0 w 361187"/>
                <a:gd name="connsiteY5" fmla="*/ 194405 h 389381"/>
                <a:gd name="connsiteX6" fmla="*/ 13430 w 361187"/>
                <a:gd name="connsiteY6" fmla="*/ 118777 h 389381"/>
                <a:gd name="connsiteX7" fmla="*/ 51245 w 361187"/>
                <a:gd name="connsiteY7" fmla="*/ 56959 h 389381"/>
                <a:gd name="connsiteX8" fmla="*/ 108871 w 361187"/>
                <a:gd name="connsiteY8" fmla="*/ 15240 h 389381"/>
                <a:gd name="connsiteX9" fmla="*/ 182404 w 361187"/>
                <a:gd name="connsiteY9" fmla="*/ 0 h 389381"/>
                <a:gd name="connsiteX10" fmla="*/ 260509 w 361187"/>
                <a:gd name="connsiteY10" fmla="*/ 16288 h 389381"/>
                <a:gd name="connsiteX11" fmla="*/ 316325 w 361187"/>
                <a:gd name="connsiteY11" fmla="*/ 60103 h 389381"/>
                <a:gd name="connsiteX12" fmla="*/ 349853 w 361187"/>
                <a:gd name="connsiteY12" fmla="*/ 124015 h 389381"/>
                <a:gd name="connsiteX13" fmla="*/ 361188 w 361187"/>
                <a:gd name="connsiteY13" fmla="*/ 200692 h 389381"/>
                <a:gd name="connsiteX14" fmla="*/ 360807 w 361187"/>
                <a:gd name="connsiteY14" fmla="*/ 212312 h 389381"/>
                <a:gd name="connsiteX15" fmla="*/ 359759 w 361187"/>
                <a:gd name="connsiteY15" fmla="*/ 224695 h 389381"/>
                <a:gd name="connsiteX16" fmla="*/ 85534 w 361187"/>
                <a:gd name="connsiteY16" fmla="*/ 224695 h 389381"/>
                <a:gd name="connsiteX17" fmla="*/ 121920 w 361187"/>
                <a:gd name="connsiteY17" fmla="*/ 294989 h 389381"/>
                <a:gd name="connsiteX18" fmla="*/ 192977 w 361187"/>
                <a:gd name="connsiteY18" fmla="*/ 319373 h 389381"/>
                <a:gd name="connsiteX19" fmla="*/ 248126 w 361187"/>
                <a:gd name="connsiteY19" fmla="*/ 308038 h 389381"/>
                <a:gd name="connsiteX20" fmla="*/ 294037 w 361187"/>
                <a:gd name="connsiteY20" fmla="*/ 274796 h 389381"/>
                <a:gd name="connsiteX21" fmla="*/ 344234 w 361187"/>
                <a:gd name="connsiteY21" fmla="*/ 319278 h 389381"/>
                <a:gd name="connsiteX22" fmla="*/ 280226 w 361187"/>
                <a:gd name="connsiteY22" fmla="*/ 370141 h 389381"/>
                <a:gd name="connsiteX23" fmla="*/ 191548 w 361187"/>
                <a:gd name="connsiteY23" fmla="*/ 389191 h 389381"/>
                <a:gd name="connsiteX24" fmla="*/ 276320 w 361187"/>
                <a:gd name="connsiteY24" fmla="*/ 168211 h 389381"/>
                <a:gd name="connsiteX25" fmla="*/ 267176 w 361187"/>
                <a:gd name="connsiteY25" fmla="*/ 129730 h 389381"/>
                <a:gd name="connsiteX26" fmla="*/ 248126 w 361187"/>
                <a:gd name="connsiteY26" fmla="*/ 98679 h 389381"/>
                <a:gd name="connsiteX27" fmla="*/ 219551 w 361187"/>
                <a:gd name="connsiteY27" fmla="*/ 77819 h 389381"/>
                <a:gd name="connsiteX28" fmla="*/ 181737 w 361187"/>
                <a:gd name="connsiteY28" fmla="*/ 70009 h 389381"/>
                <a:gd name="connsiteX29" fmla="*/ 116396 w 361187"/>
                <a:gd name="connsiteY29" fmla="*/ 97250 h 389381"/>
                <a:gd name="connsiteX30" fmla="*/ 84963 w 361187"/>
                <a:gd name="connsiteY30" fmla="*/ 168307 h 389381"/>
                <a:gd name="connsiteX31" fmla="*/ 276511 w 361187"/>
                <a:gd name="connsiteY31" fmla="*/ 168307 h 38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187" h="389381">
                  <a:moveTo>
                    <a:pt x="191548" y="389382"/>
                  </a:moveTo>
                  <a:cubicBezTo>
                    <a:pt x="164687" y="389382"/>
                    <a:pt x="139637" y="384715"/>
                    <a:pt x="116300" y="375285"/>
                  </a:cubicBezTo>
                  <a:cubicBezTo>
                    <a:pt x="92964" y="365855"/>
                    <a:pt x="72771" y="352711"/>
                    <a:pt x="55531" y="335756"/>
                  </a:cubicBezTo>
                  <a:cubicBezTo>
                    <a:pt x="38291" y="318802"/>
                    <a:pt x="24765" y="298418"/>
                    <a:pt x="14859" y="274606"/>
                  </a:cubicBezTo>
                  <a:cubicBezTo>
                    <a:pt x="4953" y="250793"/>
                    <a:pt x="0" y="224599"/>
                    <a:pt x="0" y="195834"/>
                  </a:cubicBezTo>
                  <a:lnTo>
                    <a:pt x="0" y="194405"/>
                  </a:lnTo>
                  <a:cubicBezTo>
                    <a:pt x="0" y="167545"/>
                    <a:pt x="4477" y="142399"/>
                    <a:pt x="13430" y="118777"/>
                  </a:cubicBezTo>
                  <a:cubicBezTo>
                    <a:pt x="22384" y="95250"/>
                    <a:pt x="34957" y="74581"/>
                    <a:pt x="51245" y="56959"/>
                  </a:cubicBezTo>
                  <a:cubicBezTo>
                    <a:pt x="67532" y="39338"/>
                    <a:pt x="86677" y="25432"/>
                    <a:pt x="108871" y="15240"/>
                  </a:cubicBezTo>
                  <a:cubicBezTo>
                    <a:pt x="131064" y="5143"/>
                    <a:pt x="155543" y="0"/>
                    <a:pt x="182404" y="0"/>
                  </a:cubicBezTo>
                  <a:cubicBezTo>
                    <a:pt x="212122" y="0"/>
                    <a:pt x="238125" y="5429"/>
                    <a:pt x="260509" y="16288"/>
                  </a:cubicBezTo>
                  <a:cubicBezTo>
                    <a:pt x="282893" y="27146"/>
                    <a:pt x="301466" y="41719"/>
                    <a:pt x="316325" y="60103"/>
                  </a:cubicBezTo>
                  <a:cubicBezTo>
                    <a:pt x="331184" y="78486"/>
                    <a:pt x="342329" y="99822"/>
                    <a:pt x="349853" y="124015"/>
                  </a:cubicBezTo>
                  <a:cubicBezTo>
                    <a:pt x="357378" y="148304"/>
                    <a:pt x="361188" y="173831"/>
                    <a:pt x="361188" y="200692"/>
                  </a:cubicBezTo>
                  <a:cubicBezTo>
                    <a:pt x="361188" y="204502"/>
                    <a:pt x="361093" y="208312"/>
                    <a:pt x="360807" y="212312"/>
                  </a:cubicBezTo>
                  <a:cubicBezTo>
                    <a:pt x="360521" y="216313"/>
                    <a:pt x="360236" y="220409"/>
                    <a:pt x="359759" y="224695"/>
                  </a:cubicBezTo>
                  <a:lnTo>
                    <a:pt x="85534" y="224695"/>
                  </a:lnTo>
                  <a:cubicBezTo>
                    <a:pt x="90202" y="255365"/>
                    <a:pt x="102394" y="278797"/>
                    <a:pt x="121920" y="294989"/>
                  </a:cubicBezTo>
                  <a:cubicBezTo>
                    <a:pt x="141446" y="311277"/>
                    <a:pt x="165164" y="319373"/>
                    <a:pt x="192977" y="319373"/>
                  </a:cubicBezTo>
                  <a:cubicBezTo>
                    <a:pt x="214217" y="319373"/>
                    <a:pt x="232505" y="315563"/>
                    <a:pt x="248126" y="308038"/>
                  </a:cubicBezTo>
                  <a:cubicBezTo>
                    <a:pt x="263652" y="300514"/>
                    <a:pt x="278987" y="289465"/>
                    <a:pt x="294037" y="274796"/>
                  </a:cubicBezTo>
                  <a:lnTo>
                    <a:pt x="344234" y="319278"/>
                  </a:lnTo>
                  <a:cubicBezTo>
                    <a:pt x="326327" y="340519"/>
                    <a:pt x="304991" y="357473"/>
                    <a:pt x="280226" y="370141"/>
                  </a:cubicBezTo>
                  <a:cubicBezTo>
                    <a:pt x="255461" y="382810"/>
                    <a:pt x="225933" y="389191"/>
                    <a:pt x="191548" y="389191"/>
                  </a:cubicBezTo>
                  <a:close/>
                  <a:moveTo>
                    <a:pt x="276320" y="168211"/>
                  </a:moveTo>
                  <a:cubicBezTo>
                    <a:pt x="274892" y="154591"/>
                    <a:pt x="271844" y="141732"/>
                    <a:pt x="267176" y="129730"/>
                  </a:cubicBezTo>
                  <a:cubicBezTo>
                    <a:pt x="262414" y="117729"/>
                    <a:pt x="256127" y="107347"/>
                    <a:pt x="248126" y="98679"/>
                  </a:cubicBezTo>
                  <a:cubicBezTo>
                    <a:pt x="240125" y="89916"/>
                    <a:pt x="230600" y="82963"/>
                    <a:pt x="219551" y="77819"/>
                  </a:cubicBezTo>
                  <a:cubicBezTo>
                    <a:pt x="208502" y="72676"/>
                    <a:pt x="195834" y="70009"/>
                    <a:pt x="181737" y="70009"/>
                  </a:cubicBezTo>
                  <a:cubicBezTo>
                    <a:pt x="155353" y="70009"/>
                    <a:pt x="133541" y="79057"/>
                    <a:pt x="116396" y="97250"/>
                  </a:cubicBezTo>
                  <a:cubicBezTo>
                    <a:pt x="99155" y="115348"/>
                    <a:pt x="88678" y="139065"/>
                    <a:pt x="84963" y="168307"/>
                  </a:cubicBezTo>
                  <a:lnTo>
                    <a:pt x="276511" y="168307"/>
                  </a:lnTo>
                  <a:close/>
                </a:path>
              </a:pathLst>
            </a:custGeom>
            <a:solidFill>
              <a:srgbClr val="44505E"/>
            </a:solidFill>
            <a:ln w="9525" cap="flat">
              <a:noFill/>
              <a:prstDash val="solid"/>
              <a:miter/>
            </a:ln>
          </p:spPr>
          <p:txBody>
            <a:bodyPr rtlCol="0" anchor="ctr"/>
            <a:lstStyle/>
            <a:p>
              <a:endParaRPr lang="pt-BR" noProof="0"/>
            </a:p>
          </p:txBody>
        </p:sp>
        <p:sp>
          <p:nvSpPr>
            <p:cNvPr id="22" name="Freeform: Shape 21">
              <a:extLst>
                <a:ext uri="{FF2B5EF4-FFF2-40B4-BE49-F238E27FC236}">
                  <a16:creationId xmlns:a16="http://schemas.microsoft.com/office/drawing/2014/main" id="{23A6EF73-F8F5-8A0B-E41C-F3DF28DDE2BE}"/>
                </a:ext>
              </a:extLst>
            </p:cNvPr>
            <p:cNvSpPr/>
            <p:nvPr/>
          </p:nvSpPr>
          <p:spPr>
            <a:xfrm>
              <a:off x="5365659"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5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8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3 w 568166"/>
                <a:gd name="connsiteY21" fmla="*/ 381000 h 381000"/>
                <a:gd name="connsiteX22" fmla="*/ 240983 w 568166"/>
                <a:gd name="connsiteY22" fmla="*/ 168783 h 381000"/>
                <a:gd name="connsiteX23" fmla="*/ 221266 w 568166"/>
                <a:gd name="connsiteY23" fmla="*/ 101822 h 381000"/>
                <a:gd name="connsiteX24" fmla="*/ 165640 w 568166"/>
                <a:gd name="connsiteY24" fmla="*/ 78581 h 381000"/>
                <a:gd name="connsiteX25" fmla="*/ 108014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70" y="48196"/>
                    <a:pt x="105918" y="40576"/>
                  </a:cubicBezTo>
                  <a:cubicBezTo>
                    <a:pt x="112967" y="32956"/>
                    <a:pt x="121063" y="26099"/>
                    <a:pt x="130207" y="19907"/>
                  </a:cubicBezTo>
                  <a:cubicBezTo>
                    <a:pt x="139351" y="13716"/>
                    <a:pt x="149733" y="8858"/>
                    <a:pt x="161163" y="5334"/>
                  </a:cubicBezTo>
                  <a:cubicBezTo>
                    <a:pt x="172688" y="1714"/>
                    <a:pt x="185452" y="0"/>
                    <a:pt x="199549" y="0"/>
                  </a:cubicBezTo>
                  <a:cubicBezTo>
                    <a:pt x="226314" y="0"/>
                    <a:pt x="248984" y="6096"/>
                    <a:pt x="267557" y="18193"/>
                  </a:cubicBezTo>
                  <a:cubicBezTo>
                    <a:pt x="286131" y="30289"/>
                    <a:pt x="300323" y="46387"/>
                    <a:pt x="310134" y="66294"/>
                  </a:cubicBezTo>
                  <a:cubicBezTo>
                    <a:pt x="325279" y="46387"/>
                    <a:pt x="343091" y="30289"/>
                    <a:pt x="363665" y="18193"/>
                  </a:cubicBezTo>
                  <a:cubicBezTo>
                    <a:pt x="384239" y="6096"/>
                    <a:pt x="408718" y="0"/>
                    <a:pt x="437007" y="0"/>
                  </a:cubicBezTo>
                  <a:cubicBezTo>
                    <a:pt x="478060"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8" y="78486"/>
                  </a:cubicBezTo>
                  <a:cubicBezTo>
                    <a:pt x="382810" y="78486"/>
                    <a:pt x="364141" y="86392"/>
                    <a:pt x="349377" y="102108"/>
                  </a:cubicBezTo>
                  <a:cubicBezTo>
                    <a:pt x="334613" y="117824"/>
                    <a:pt x="327184" y="140779"/>
                    <a:pt x="327184" y="170879"/>
                  </a:cubicBezTo>
                  <a:lnTo>
                    <a:pt x="327184" y="381000"/>
                  </a:lnTo>
                  <a:lnTo>
                    <a:pt x="240983" y="381000"/>
                  </a:lnTo>
                  <a:lnTo>
                    <a:pt x="240983" y="168783"/>
                  </a:lnTo>
                  <a:cubicBezTo>
                    <a:pt x="240983" y="139637"/>
                    <a:pt x="234410" y="117348"/>
                    <a:pt x="221266" y="101822"/>
                  </a:cubicBezTo>
                  <a:cubicBezTo>
                    <a:pt x="208121" y="86296"/>
                    <a:pt x="189643" y="78581"/>
                    <a:pt x="165640" y="78581"/>
                  </a:cubicBezTo>
                  <a:cubicBezTo>
                    <a:pt x="141637" y="78581"/>
                    <a:pt x="122492" y="86773"/>
                    <a:pt x="108014"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23" name="Freeform: Shape 22">
              <a:extLst>
                <a:ext uri="{FF2B5EF4-FFF2-40B4-BE49-F238E27FC236}">
                  <a16:creationId xmlns:a16="http://schemas.microsoft.com/office/drawing/2014/main" id="{A8572498-27AF-8EC8-ACD5-B8C4E26421A6}"/>
                </a:ext>
              </a:extLst>
            </p:cNvPr>
            <p:cNvSpPr/>
            <p:nvPr/>
          </p:nvSpPr>
          <p:spPr>
            <a:xfrm>
              <a:off x="5587693" y="700007"/>
              <a:ext cx="84211" cy="95752"/>
            </a:xfrm>
            <a:custGeom>
              <a:avLst/>
              <a:gdLst>
                <a:gd name="connsiteX0" fmla="*/ 95 w 334994"/>
                <a:gd name="connsiteY0" fmla="*/ 7715 h 380904"/>
                <a:gd name="connsiteX1" fmla="*/ 86296 w 334994"/>
                <a:gd name="connsiteY1" fmla="*/ 7715 h 380904"/>
                <a:gd name="connsiteX2" fmla="*/ 86296 w 334994"/>
                <a:gd name="connsiteY2" fmla="*/ 66294 h 380904"/>
                <a:gd name="connsiteX3" fmla="*/ 106394 w 334994"/>
                <a:gd name="connsiteY3" fmla="*/ 40958 h 380904"/>
                <a:gd name="connsiteX4" fmla="*/ 131731 w 334994"/>
                <a:gd name="connsiteY4" fmla="*/ 19907 h 380904"/>
                <a:gd name="connsiteX5" fmla="*/ 163449 w 334994"/>
                <a:gd name="connsiteY5" fmla="*/ 5334 h 380904"/>
                <a:gd name="connsiteX6" fmla="*/ 202597 w 334994"/>
                <a:gd name="connsiteY6" fmla="*/ 0 h 380904"/>
                <a:gd name="connsiteX7" fmla="*/ 300514 w 334994"/>
                <a:gd name="connsiteY7" fmla="*/ 38862 h 380904"/>
                <a:gd name="connsiteX8" fmla="*/ 334994 w 334994"/>
                <a:gd name="connsiteY8" fmla="*/ 143446 h 380904"/>
                <a:gd name="connsiteX9" fmla="*/ 334994 w 334994"/>
                <a:gd name="connsiteY9" fmla="*/ 380905 h 380904"/>
                <a:gd name="connsiteX10" fmla="*/ 248793 w 334994"/>
                <a:gd name="connsiteY10" fmla="*/ 380905 h 380904"/>
                <a:gd name="connsiteX11" fmla="*/ 248793 w 334994"/>
                <a:gd name="connsiteY11" fmla="*/ 169450 h 380904"/>
                <a:gd name="connsiteX12" fmla="*/ 228124 w 334994"/>
                <a:gd name="connsiteY12" fmla="*/ 102108 h 380904"/>
                <a:gd name="connsiteX13" fmla="*/ 169640 w 334994"/>
                <a:gd name="connsiteY13" fmla="*/ 78486 h 380904"/>
                <a:gd name="connsiteX14" fmla="*/ 109347 w 334994"/>
                <a:gd name="connsiteY14" fmla="*/ 102775 h 380904"/>
                <a:gd name="connsiteX15" fmla="*/ 86201 w 334994"/>
                <a:gd name="connsiteY15" fmla="*/ 170783 h 380904"/>
                <a:gd name="connsiteX16" fmla="*/ 86201 w 334994"/>
                <a:gd name="connsiteY16" fmla="*/ 380905 h 380904"/>
                <a:gd name="connsiteX17" fmla="*/ 0 w 334994"/>
                <a:gd name="connsiteY17" fmla="*/ 380905 h 380904"/>
                <a:gd name="connsiteX18" fmla="*/ 0 w 334994"/>
                <a:gd name="connsiteY18" fmla="*/ 7810 h 38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94" h="380904">
                  <a:moveTo>
                    <a:pt x="95" y="7715"/>
                  </a:moveTo>
                  <a:lnTo>
                    <a:pt x="86296" y="7715"/>
                  </a:lnTo>
                  <a:lnTo>
                    <a:pt x="86296" y="66294"/>
                  </a:lnTo>
                  <a:cubicBezTo>
                    <a:pt x="92392" y="57245"/>
                    <a:pt x="99060" y="48863"/>
                    <a:pt x="106394" y="40958"/>
                  </a:cubicBezTo>
                  <a:cubicBezTo>
                    <a:pt x="113633" y="33147"/>
                    <a:pt x="122110" y="26099"/>
                    <a:pt x="131731" y="19907"/>
                  </a:cubicBezTo>
                  <a:cubicBezTo>
                    <a:pt x="141351" y="13716"/>
                    <a:pt x="151924" y="8858"/>
                    <a:pt x="163449" y="5334"/>
                  </a:cubicBezTo>
                  <a:cubicBezTo>
                    <a:pt x="174974" y="1714"/>
                    <a:pt x="188024" y="0"/>
                    <a:pt x="202597" y="0"/>
                  </a:cubicBezTo>
                  <a:cubicBezTo>
                    <a:pt x="244888" y="0"/>
                    <a:pt x="277559" y="12954"/>
                    <a:pt x="300514" y="38862"/>
                  </a:cubicBezTo>
                  <a:cubicBezTo>
                    <a:pt x="323564" y="64770"/>
                    <a:pt x="334994" y="99631"/>
                    <a:pt x="334994" y="143446"/>
                  </a:cubicBezTo>
                  <a:lnTo>
                    <a:pt x="334994" y="380905"/>
                  </a:lnTo>
                  <a:lnTo>
                    <a:pt x="248793" y="380905"/>
                  </a:lnTo>
                  <a:lnTo>
                    <a:pt x="248793" y="169450"/>
                  </a:lnTo>
                  <a:cubicBezTo>
                    <a:pt x="248793" y="140303"/>
                    <a:pt x="241935" y="117824"/>
                    <a:pt x="228124" y="102108"/>
                  </a:cubicBezTo>
                  <a:cubicBezTo>
                    <a:pt x="214313" y="86392"/>
                    <a:pt x="194881" y="78486"/>
                    <a:pt x="169640" y="78486"/>
                  </a:cubicBezTo>
                  <a:cubicBezTo>
                    <a:pt x="144399" y="78486"/>
                    <a:pt x="124777" y="86582"/>
                    <a:pt x="109347" y="102775"/>
                  </a:cubicBezTo>
                  <a:cubicBezTo>
                    <a:pt x="93917" y="118967"/>
                    <a:pt x="86201" y="141637"/>
                    <a:pt x="86201" y="170783"/>
                  </a:cubicBezTo>
                  <a:lnTo>
                    <a:pt x="86201" y="380905"/>
                  </a:lnTo>
                  <a:lnTo>
                    <a:pt x="0" y="380905"/>
                  </a:lnTo>
                  <a:lnTo>
                    <a:pt x="0" y="7810"/>
                  </a:lnTo>
                  <a:close/>
                </a:path>
              </a:pathLst>
            </a:custGeom>
            <a:solidFill>
              <a:srgbClr val="44505E"/>
            </a:solidFill>
            <a:ln w="9525" cap="flat">
              <a:noFill/>
              <a:prstDash val="solid"/>
              <a:miter/>
            </a:ln>
          </p:spPr>
          <p:txBody>
            <a:bodyPr rtlCol="0" anchor="ctr"/>
            <a:lstStyle/>
            <a:p>
              <a:endParaRPr lang="pt-BR" noProof="0"/>
            </a:p>
          </p:txBody>
        </p:sp>
        <p:sp>
          <p:nvSpPr>
            <p:cNvPr id="24" name="Freeform: Shape 23">
              <a:extLst>
                <a:ext uri="{FF2B5EF4-FFF2-40B4-BE49-F238E27FC236}">
                  <a16:creationId xmlns:a16="http://schemas.microsoft.com/office/drawing/2014/main" id="{DF72BDBE-8362-4AE9-FC8F-22316D5F695A}"/>
                </a:ext>
              </a:extLst>
            </p:cNvPr>
            <p:cNvSpPr/>
            <p:nvPr/>
          </p:nvSpPr>
          <p:spPr>
            <a:xfrm>
              <a:off x="5692712" y="699959"/>
              <a:ext cx="100015" cy="97908"/>
            </a:xfrm>
            <a:custGeom>
              <a:avLst/>
              <a:gdLst>
                <a:gd name="connsiteX0" fmla="*/ 197834 w 397859"/>
                <a:gd name="connsiteY0" fmla="*/ 389477 h 389477"/>
                <a:gd name="connsiteX1" fmla="*/ 119063 w 397859"/>
                <a:gd name="connsiteY1" fmla="*/ 374237 h 389477"/>
                <a:gd name="connsiteX2" fmla="*/ 56197 w 397859"/>
                <a:gd name="connsiteY2" fmla="*/ 332899 h 389477"/>
                <a:gd name="connsiteX3" fmla="*/ 14859 w 397859"/>
                <a:gd name="connsiteY3" fmla="*/ 271463 h 389477"/>
                <a:gd name="connsiteX4" fmla="*/ 0 w 397859"/>
                <a:gd name="connsiteY4" fmla="*/ 196501 h 389477"/>
                <a:gd name="connsiteX5" fmla="*/ 0 w 397859"/>
                <a:gd name="connsiteY5" fmla="*/ 195072 h 389477"/>
                <a:gd name="connsiteX6" fmla="*/ 15145 w 397859"/>
                <a:gd name="connsiteY6" fmla="*/ 119444 h 389477"/>
                <a:gd name="connsiteX7" fmla="*/ 56864 w 397859"/>
                <a:gd name="connsiteY7" fmla="*/ 57626 h 389477"/>
                <a:gd name="connsiteX8" fmla="*/ 119729 w 397859"/>
                <a:gd name="connsiteY8" fmla="*/ 15526 h 389477"/>
                <a:gd name="connsiteX9" fmla="*/ 199263 w 397859"/>
                <a:gd name="connsiteY9" fmla="*/ 0 h 389477"/>
                <a:gd name="connsiteX10" fmla="*/ 278797 w 397859"/>
                <a:gd name="connsiteY10" fmla="*/ 15240 h 389477"/>
                <a:gd name="connsiteX11" fmla="*/ 341662 w 397859"/>
                <a:gd name="connsiteY11" fmla="*/ 56959 h 389477"/>
                <a:gd name="connsiteX12" fmla="*/ 383000 w 397859"/>
                <a:gd name="connsiteY12" fmla="*/ 118396 h 389477"/>
                <a:gd name="connsiteX13" fmla="*/ 397859 w 397859"/>
                <a:gd name="connsiteY13" fmla="*/ 193643 h 389477"/>
                <a:gd name="connsiteX14" fmla="*/ 397859 w 397859"/>
                <a:gd name="connsiteY14" fmla="*/ 195072 h 389477"/>
                <a:gd name="connsiteX15" fmla="*/ 382619 w 397859"/>
                <a:gd name="connsiteY15" fmla="*/ 270034 h 389477"/>
                <a:gd name="connsiteX16" fmla="*/ 340900 w 397859"/>
                <a:gd name="connsiteY16" fmla="*/ 331851 h 389477"/>
                <a:gd name="connsiteX17" fmla="*/ 277654 w 397859"/>
                <a:gd name="connsiteY17" fmla="*/ 373856 h 389477"/>
                <a:gd name="connsiteX18" fmla="*/ 197834 w 397859"/>
                <a:gd name="connsiteY18" fmla="*/ 389382 h 389477"/>
                <a:gd name="connsiteX19" fmla="*/ 199263 w 397859"/>
                <a:gd name="connsiteY19" fmla="*/ 315278 h 389477"/>
                <a:gd name="connsiteX20" fmla="*/ 245935 w 397859"/>
                <a:gd name="connsiteY20" fmla="*/ 305753 h 389477"/>
                <a:gd name="connsiteX21" fmla="*/ 281368 w 397859"/>
                <a:gd name="connsiteY21" fmla="*/ 279940 h 389477"/>
                <a:gd name="connsiteX22" fmla="*/ 303847 w 397859"/>
                <a:gd name="connsiteY22" fmla="*/ 242125 h 389477"/>
                <a:gd name="connsiteX23" fmla="*/ 311563 w 397859"/>
                <a:gd name="connsiteY23" fmla="*/ 196501 h 389477"/>
                <a:gd name="connsiteX24" fmla="*/ 311563 w 397859"/>
                <a:gd name="connsiteY24" fmla="*/ 195072 h 389477"/>
                <a:gd name="connsiteX25" fmla="*/ 303181 w 397859"/>
                <a:gd name="connsiteY25" fmla="*/ 148400 h 389477"/>
                <a:gd name="connsiteX26" fmla="*/ 279654 w 397859"/>
                <a:gd name="connsiteY26" fmla="*/ 110204 h 389477"/>
                <a:gd name="connsiteX27" fmla="*/ 243840 w 397859"/>
                <a:gd name="connsiteY27" fmla="*/ 84392 h 389477"/>
                <a:gd name="connsiteX28" fmla="*/ 197834 w 397859"/>
                <a:gd name="connsiteY28" fmla="*/ 74867 h 389477"/>
                <a:gd name="connsiteX29" fmla="*/ 151829 w 397859"/>
                <a:gd name="connsiteY29" fmla="*/ 84392 h 389477"/>
                <a:gd name="connsiteX30" fmla="*/ 116396 w 397859"/>
                <a:gd name="connsiteY30" fmla="*/ 109823 h 389477"/>
                <a:gd name="connsiteX31" fmla="*/ 93917 w 397859"/>
                <a:gd name="connsiteY31" fmla="*/ 147638 h 389477"/>
                <a:gd name="connsiteX32" fmla="*/ 86201 w 397859"/>
                <a:gd name="connsiteY32" fmla="*/ 193548 h 389477"/>
                <a:gd name="connsiteX33" fmla="*/ 86201 w 397859"/>
                <a:gd name="connsiteY33" fmla="*/ 194977 h 389477"/>
                <a:gd name="connsiteX34" fmla="*/ 94583 w 397859"/>
                <a:gd name="connsiteY34" fmla="*/ 241268 h 389477"/>
                <a:gd name="connsiteX35" fmla="*/ 118110 w 397859"/>
                <a:gd name="connsiteY35" fmla="*/ 279463 h 389477"/>
                <a:gd name="connsiteX36" fmla="*/ 153924 w 397859"/>
                <a:gd name="connsiteY36" fmla="*/ 305562 h 389477"/>
                <a:gd name="connsiteX37" fmla="*/ 199263 w 397859"/>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859" h="389477">
                  <a:moveTo>
                    <a:pt x="197834" y="389477"/>
                  </a:moveTo>
                  <a:cubicBezTo>
                    <a:pt x="169545" y="389477"/>
                    <a:pt x="143351" y="384429"/>
                    <a:pt x="119063" y="374237"/>
                  </a:cubicBezTo>
                  <a:cubicBezTo>
                    <a:pt x="94774" y="364141"/>
                    <a:pt x="73819" y="350330"/>
                    <a:pt x="56197" y="332899"/>
                  </a:cubicBezTo>
                  <a:cubicBezTo>
                    <a:pt x="38481" y="315468"/>
                    <a:pt x="24765" y="294989"/>
                    <a:pt x="14859" y="271463"/>
                  </a:cubicBezTo>
                  <a:cubicBezTo>
                    <a:pt x="4953" y="247936"/>
                    <a:pt x="0" y="222980"/>
                    <a:pt x="0" y="196501"/>
                  </a:cubicBezTo>
                  <a:lnTo>
                    <a:pt x="0" y="195072"/>
                  </a:lnTo>
                  <a:cubicBezTo>
                    <a:pt x="0" y="168212"/>
                    <a:pt x="5048" y="143066"/>
                    <a:pt x="15145" y="119444"/>
                  </a:cubicBezTo>
                  <a:cubicBezTo>
                    <a:pt x="25241" y="95917"/>
                    <a:pt x="39148" y="75248"/>
                    <a:pt x="56864" y="57626"/>
                  </a:cubicBezTo>
                  <a:cubicBezTo>
                    <a:pt x="74581" y="39910"/>
                    <a:pt x="95536" y="25908"/>
                    <a:pt x="119729" y="15526"/>
                  </a:cubicBezTo>
                  <a:cubicBezTo>
                    <a:pt x="144018" y="5144"/>
                    <a:pt x="170497" y="0"/>
                    <a:pt x="199263" y="0"/>
                  </a:cubicBezTo>
                  <a:cubicBezTo>
                    <a:pt x="228029" y="0"/>
                    <a:pt x="254508" y="5048"/>
                    <a:pt x="278797" y="15240"/>
                  </a:cubicBezTo>
                  <a:cubicBezTo>
                    <a:pt x="303085" y="25337"/>
                    <a:pt x="324041" y="39243"/>
                    <a:pt x="341662" y="56959"/>
                  </a:cubicBezTo>
                  <a:cubicBezTo>
                    <a:pt x="359378" y="74676"/>
                    <a:pt x="373094" y="95155"/>
                    <a:pt x="383000" y="118396"/>
                  </a:cubicBezTo>
                  <a:cubicBezTo>
                    <a:pt x="392906" y="141732"/>
                    <a:pt x="397859" y="166783"/>
                    <a:pt x="397859" y="193643"/>
                  </a:cubicBezTo>
                  <a:lnTo>
                    <a:pt x="397859" y="195072"/>
                  </a:lnTo>
                  <a:cubicBezTo>
                    <a:pt x="397859" y="221456"/>
                    <a:pt x="392811" y="246412"/>
                    <a:pt x="382619" y="270034"/>
                  </a:cubicBezTo>
                  <a:cubicBezTo>
                    <a:pt x="372523" y="293561"/>
                    <a:pt x="358616" y="314230"/>
                    <a:pt x="340900" y="331851"/>
                  </a:cubicBezTo>
                  <a:cubicBezTo>
                    <a:pt x="323183" y="349472"/>
                    <a:pt x="302133" y="363569"/>
                    <a:pt x="277654" y="373856"/>
                  </a:cubicBezTo>
                  <a:cubicBezTo>
                    <a:pt x="253175" y="384238"/>
                    <a:pt x="226504" y="389382"/>
                    <a:pt x="197834" y="389382"/>
                  </a:cubicBezTo>
                  <a:close/>
                  <a:moveTo>
                    <a:pt x="199263" y="315278"/>
                  </a:moveTo>
                  <a:cubicBezTo>
                    <a:pt x="216598" y="315278"/>
                    <a:pt x="232124" y="312039"/>
                    <a:pt x="245935" y="305753"/>
                  </a:cubicBezTo>
                  <a:cubicBezTo>
                    <a:pt x="259747" y="299371"/>
                    <a:pt x="271558" y="290798"/>
                    <a:pt x="281368" y="279940"/>
                  </a:cubicBezTo>
                  <a:cubicBezTo>
                    <a:pt x="291179" y="269081"/>
                    <a:pt x="298704" y="256508"/>
                    <a:pt x="303847" y="242125"/>
                  </a:cubicBezTo>
                  <a:cubicBezTo>
                    <a:pt x="308991" y="227743"/>
                    <a:pt x="311563" y="212598"/>
                    <a:pt x="311563" y="196501"/>
                  </a:cubicBezTo>
                  <a:lnTo>
                    <a:pt x="311563" y="195072"/>
                  </a:lnTo>
                  <a:cubicBezTo>
                    <a:pt x="311563" y="178594"/>
                    <a:pt x="308800" y="163068"/>
                    <a:pt x="303181" y="148400"/>
                  </a:cubicBezTo>
                  <a:cubicBezTo>
                    <a:pt x="297561" y="133826"/>
                    <a:pt x="289750" y="121063"/>
                    <a:pt x="279654" y="110204"/>
                  </a:cubicBezTo>
                  <a:cubicBezTo>
                    <a:pt x="269558" y="99346"/>
                    <a:pt x="257651" y="90773"/>
                    <a:pt x="243840" y="84392"/>
                  </a:cubicBezTo>
                  <a:cubicBezTo>
                    <a:pt x="230029" y="78010"/>
                    <a:pt x="214693" y="74867"/>
                    <a:pt x="197834" y="74867"/>
                  </a:cubicBezTo>
                  <a:cubicBezTo>
                    <a:pt x="180975" y="74867"/>
                    <a:pt x="165640" y="78010"/>
                    <a:pt x="151829" y="84392"/>
                  </a:cubicBezTo>
                  <a:cubicBezTo>
                    <a:pt x="138017" y="90773"/>
                    <a:pt x="126206" y="99250"/>
                    <a:pt x="116396" y="109823"/>
                  </a:cubicBezTo>
                  <a:cubicBezTo>
                    <a:pt x="106585" y="120396"/>
                    <a:pt x="99060" y="133064"/>
                    <a:pt x="93917" y="147638"/>
                  </a:cubicBezTo>
                  <a:cubicBezTo>
                    <a:pt x="88773" y="162211"/>
                    <a:pt x="86201" y="177546"/>
                    <a:pt x="86201" y="193548"/>
                  </a:cubicBezTo>
                  <a:lnTo>
                    <a:pt x="86201" y="194977"/>
                  </a:lnTo>
                  <a:cubicBezTo>
                    <a:pt x="86201" y="211455"/>
                    <a:pt x="88963" y="226886"/>
                    <a:pt x="94583" y="241268"/>
                  </a:cubicBezTo>
                  <a:cubicBezTo>
                    <a:pt x="100203" y="255651"/>
                    <a:pt x="108013" y="268319"/>
                    <a:pt x="118110" y="279463"/>
                  </a:cubicBezTo>
                  <a:cubicBezTo>
                    <a:pt x="128206" y="290513"/>
                    <a:pt x="140113" y="299275"/>
                    <a:pt x="153924" y="305562"/>
                  </a:cubicBezTo>
                  <a:cubicBezTo>
                    <a:pt x="167735" y="311944"/>
                    <a:pt x="182880"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25" name="Freeform: Shape 24">
              <a:extLst>
                <a:ext uri="{FF2B5EF4-FFF2-40B4-BE49-F238E27FC236}">
                  <a16:creationId xmlns:a16="http://schemas.microsoft.com/office/drawing/2014/main" id="{0DEB0778-DA54-38EA-82FB-12185F2D92B8}"/>
                </a:ext>
              </a:extLst>
            </p:cNvPr>
            <p:cNvSpPr/>
            <p:nvPr/>
          </p:nvSpPr>
          <p:spPr>
            <a:xfrm>
              <a:off x="5806925"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2 w 296894"/>
                <a:gd name="connsiteY36" fmla="*/ 224980 h 386714"/>
                <a:gd name="connsiteX37" fmla="*/ 296894 w 296894"/>
                <a:gd name="connsiteY37" fmla="*/ 267938 h 386714"/>
                <a:gd name="connsiteX38" fmla="*/ 296894 w 296894"/>
                <a:gd name="connsiteY38" fmla="*/ 269367 h 386714"/>
                <a:gd name="connsiteX39" fmla="*/ 286322 w 296894"/>
                <a:gd name="connsiteY39" fmla="*/ 320897 h 386714"/>
                <a:gd name="connsiteX40" fmla="*/ 256984 w 296894"/>
                <a:gd name="connsiteY40" fmla="*/ 357188 h 386714"/>
                <a:gd name="connsiteX41" fmla="*/ 212789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8" y="298704"/>
                    <a:pt x="100013" y="306514"/>
                  </a:cubicBezTo>
                  <a:cubicBezTo>
                    <a:pt x="120967" y="314325"/>
                    <a:pt x="141161" y="318135"/>
                    <a:pt x="160401" y="318135"/>
                  </a:cubicBezTo>
                  <a:cubicBezTo>
                    <a:pt x="179642" y="318135"/>
                    <a:pt x="192976"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2" y="241078"/>
                    <a:pt x="176498" y="237553"/>
                    <a:pt x="166402" y="234220"/>
                  </a:cubicBezTo>
                  <a:cubicBezTo>
                    <a:pt x="156305" y="230886"/>
                    <a:pt x="145733" y="227647"/>
                    <a:pt x="134969" y="224314"/>
                  </a:cubicBezTo>
                  <a:cubicBezTo>
                    <a:pt x="121253" y="220599"/>
                    <a:pt x="107537" y="216122"/>
                    <a:pt x="93631" y="210884"/>
                  </a:cubicBezTo>
                  <a:cubicBezTo>
                    <a:pt x="79724" y="205740"/>
                    <a:pt x="67246" y="198977"/>
                    <a:pt x="56197" y="190786"/>
                  </a:cubicBezTo>
                  <a:cubicBezTo>
                    <a:pt x="45149" y="182594"/>
                    <a:pt x="36100" y="172307"/>
                    <a:pt x="28956" y="160115"/>
                  </a:cubicBezTo>
                  <a:cubicBezTo>
                    <a:pt x="21908"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5"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7" y="156210"/>
                    <a:pt x="180975" y="159448"/>
                  </a:cubicBezTo>
                  <a:cubicBezTo>
                    <a:pt x="194596" y="163639"/>
                    <a:pt x="208312" y="168592"/>
                    <a:pt x="222028" y="174212"/>
                  </a:cubicBezTo>
                  <a:cubicBezTo>
                    <a:pt x="235649" y="179832"/>
                    <a:pt x="248031" y="186785"/>
                    <a:pt x="259080" y="194977"/>
                  </a:cubicBezTo>
                  <a:cubicBezTo>
                    <a:pt x="270129" y="203168"/>
                    <a:pt x="279273" y="213169"/>
                    <a:pt x="286322" y="224980"/>
                  </a:cubicBezTo>
                  <a:cubicBezTo>
                    <a:pt x="293370" y="236696"/>
                    <a:pt x="296894" y="251079"/>
                    <a:pt x="296894" y="267938"/>
                  </a:cubicBezTo>
                  <a:lnTo>
                    <a:pt x="296894" y="269367"/>
                  </a:lnTo>
                  <a:cubicBezTo>
                    <a:pt x="296894" y="289084"/>
                    <a:pt x="293370" y="306229"/>
                    <a:pt x="286322" y="320897"/>
                  </a:cubicBezTo>
                  <a:cubicBezTo>
                    <a:pt x="279273" y="335470"/>
                    <a:pt x="269462" y="347567"/>
                    <a:pt x="256984" y="357188"/>
                  </a:cubicBezTo>
                  <a:cubicBezTo>
                    <a:pt x="244507" y="366808"/>
                    <a:pt x="229743" y="374142"/>
                    <a:pt x="212789"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6" name="Freeform: Shape 25">
              <a:extLst>
                <a:ext uri="{FF2B5EF4-FFF2-40B4-BE49-F238E27FC236}">
                  <a16:creationId xmlns:a16="http://schemas.microsoft.com/office/drawing/2014/main" id="{3094A6A3-D349-BDA1-1BE7-87CC081B96A5}"/>
                </a:ext>
              </a:extLst>
            </p:cNvPr>
            <p:cNvSpPr/>
            <p:nvPr/>
          </p:nvSpPr>
          <p:spPr>
            <a:xfrm>
              <a:off x="589573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6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160" y="318135"/>
                    <a:pt x="160401" y="318135"/>
                  </a:cubicBezTo>
                  <a:cubicBezTo>
                    <a:pt x="179641" y="318135"/>
                    <a:pt x="192976"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4"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792"/>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7" name="Freeform: Shape 26">
              <a:extLst>
                <a:ext uri="{FF2B5EF4-FFF2-40B4-BE49-F238E27FC236}">
                  <a16:creationId xmlns:a16="http://schemas.microsoft.com/office/drawing/2014/main" id="{FC47D559-599E-8D77-3D35-7450D29C302F}"/>
                </a:ext>
              </a:extLst>
            </p:cNvPr>
            <p:cNvSpPr/>
            <p:nvPr/>
          </p:nvSpPr>
          <p:spPr>
            <a:xfrm>
              <a:off x="5985812" y="700558"/>
              <a:ext cx="85097" cy="97141"/>
            </a:xfrm>
            <a:custGeom>
              <a:avLst/>
              <a:gdLst>
                <a:gd name="connsiteX0" fmla="*/ 253651 w 338518"/>
                <a:gd name="connsiteY0" fmla="*/ 378619 h 386429"/>
                <a:gd name="connsiteX1" fmla="*/ 253651 w 338518"/>
                <a:gd name="connsiteY1" fmla="*/ 332708 h 386429"/>
                <a:gd name="connsiteX2" fmla="*/ 204883 w 338518"/>
                <a:gd name="connsiteY2" fmla="*/ 370904 h 386429"/>
                <a:gd name="connsiteX3" fmla="*/ 132779 w 338518"/>
                <a:gd name="connsiteY3" fmla="*/ 386429 h 386429"/>
                <a:gd name="connsiteX4" fmla="*/ 81915 w 338518"/>
                <a:gd name="connsiteY4" fmla="*/ 379000 h 386429"/>
                <a:gd name="connsiteX5" fmla="*/ 39910 w 338518"/>
                <a:gd name="connsiteY5" fmla="*/ 357092 h 386429"/>
                <a:gd name="connsiteX6" fmla="*/ 10954 w 338518"/>
                <a:gd name="connsiteY6" fmla="*/ 321088 h 386429"/>
                <a:gd name="connsiteX7" fmla="*/ 0 w 338518"/>
                <a:gd name="connsiteY7" fmla="*/ 271272 h 386429"/>
                <a:gd name="connsiteX8" fmla="*/ 0 w 338518"/>
                <a:gd name="connsiteY8" fmla="*/ 269843 h 386429"/>
                <a:gd name="connsiteX9" fmla="*/ 11335 w 338518"/>
                <a:gd name="connsiteY9" fmla="*/ 215741 h 386429"/>
                <a:gd name="connsiteX10" fmla="*/ 42767 w 338518"/>
                <a:gd name="connsiteY10" fmla="*/ 177546 h 386429"/>
                <a:gd name="connsiteX11" fmla="*/ 90773 w 338518"/>
                <a:gd name="connsiteY11" fmla="*/ 154972 h 386429"/>
                <a:gd name="connsiteX12" fmla="*/ 151162 w 338518"/>
                <a:gd name="connsiteY12" fmla="*/ 147542 h 386429"/>
                <a:gd name="connsiteX13" fmla="*/ 208788 w 338518"/>
                <a:gd name="connsiteY13" fmla="*/ 151829 h 386429"/>
                <a:gd name="connsiteX14" fmla="*/ 254413 w 338518"/>
                <a:gd name="connsiteY14" fmla="*/ 163163 h 386429"/>
                <a:gd name="connsiteX15" fmla="*/ 254413 w 338518"/>
                <a:gd name="connsiteY15" fmla="*/ 156115 h 386429"/>
                <a:gd name="connsiteX16" fmla="*/ 230696 w 338518"/>
                <a:gd name="connsiteY16" fmla="*/ 96774 h 386429"/>
                <a:gd name="connsiteX17" fmla="*/ 162496 w 338518"/>
                <a:gd name="connsiteY17" fmla="*/ 76295 h 386429"/>
                <a:gd name="connsiteX18" fmla="*/ 106013 w 338518"/>
                <a:gd name="connsiteY18" fmla="*/ 82677 h 386429"/>
                <a:gd name="connsiteX19" fmla="*/ 55816 w 338518"/>
                <a:gd name="connsiteY19" fmla="*/ 99632 h 386429"/>
                <a:gd name="connsiteX20" fmla="*/ 32480 w 338518"/>
                <a:gd name="connsiteY20" fmla="*/ 31052 h 386429"/>
                <a:gd name="connsiteX21" fmla="*/ 96107 w 338518"/>
                <a:gd name="connsiteY21" fmla="*/ 8477 h 386429"/>
                <a:gd name="connsiteX22" fmla="*/ 174593 w 338518"/>
                <a:gd name="connsiteY22" fmla="*/ 0 h 386429"/>
                <a:gd name="connsiteX23" fmla="*/ 298228 w 338518"/>
                <a:gd name="connsiteY23" fmla="*/ 41338 h 386429"/>
                <a:gd name="connsiteX24" fmla="*/ 338519 w 338518"/>
                <a:gd name="connsiteY24" fmla="*/ 157544 h 386429"/>
                <a:gd name="connsiteX25" fmla="*/ 338519 w 338518"/>
                <a:gd name="connsiteY25" fmla="*/ 378714 h 386429"/>
                <a:gd name="connsiteX26" fmla="*/ 253746 w 338518"/>
                <a:gd name="connsiteY26" fmla="*/ 378714 h 386429"/>
                <a:gd name="connsiteX27" fmla="*/ 255746 w 338518"/>
                <a:gd name="connsiteY27" fmla="*/ 222409 h 386429"/>
                <a:gd name="connsiteX28" fmla="*/ 217265 w 338518"/>
                <a:gd name="connsiteY28" fmla="*/ 211836 h 386429"/>
                <a:gd name="connsiteX29" fmla="*/ 170307 w 338518"/>
                <a:gd name="connsiteY29" fmla="*/ 207550 h 386429"/>
                <a:gd name="connsiteX30" fmla="*/ 107442 w 338518"/>
                <a:gd name="connsiteY30" fmla="*/ 223075 h 386429"/>
                <a:gd name="connsiteX31" fmla="*/ 84868 w 338518"/>
                <a:gd name="connsiteY31" fmla="*/ 265462 h 386429"/>
                <a:gd name="connsiteX32" fmla="*/ 84868 w 338518"/>
                <a:gd name="connsiteY32" fmla="*/ 266891 h 386429"/>
                <a:gd name="connsiteX33" fmla="*/ 105728 w 338518"/>
                <a:gd name="connsiteY33" fmla="*/ 307848 h 386429"/>
                <a:gd name="connsiteX34" fmla="*/ 156972 w 338518"/>
                <a:gd name="connsiteY34" fmla="*/ 321945 h 386429"/>
                <a:gd name="connsiteX35" fmla="*/ 196215 w 338518"/>
                <a:gd name="connsiteY35" fmla="*/ 316325 h 386429"/>
                <a:gd name="connsiteX36" fmla="*/ 227647 w 338518"/>
                <a:gd name="connsiteY36" fmla="*/ 300419 h 386429"/>
                <a:gd name="connsiteX37" fmla="*/ 248507 w 338518"/>
                <a:gd name="connsiteY37" fmla="*/ 275654 h 386429"/>
                <a:gd name="connsiteX38" fmla="*/ 255937 w 338518"/>
                <a:gd name="connsiteY38" fmla="*/ 243459 h 386429"/>
                <a:gd name="connsiteX39" fmla="*/ 255937 w 338518"/>
                <a:gd name="connsiteY39" fmla="*/ 222218 h 3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8518" h="386429">
                  <a:moveTo>
                    <a:pt x="253651" y="378619"/>
                  </a:moveTo>
                  <a:lnTo>
                    <a:pt x="253651" y="332708"/>
                  </a:lnTo>
                  <a:cubicBezTo>
                    <a:pt x="240887" y="347758"/>
                    <a:pt x="224695" y="360521"/>
                    <a:pt x="204883" y="370904"/>
                  </a:cubicBezTo>
                  <a:cubicBezTo>
                    <a:pt x="185071" y="381286"/>
                    <a:pt x="161068" y="386429"/>
                    <a:pt x="132779" y="386429"/>
                  </a:cubicBezTo>
                  <a:cubicBezTo>
                    <a:pt x="114871" y="386429"/>
                    <a:pt x="97917" y="383953"/>
                    <a:pt x="81915" y="379000"/>
                  </a:cubicBezTo>
                  <a:cubicBezTo>
                    <a:pt x="65913" y="374047"/>
                    <a:pt x="51911" y="366713"/>
                    <a:pt x="39910" y="357092"/>
                  </a:cubicBezTo>
                  <a:cubicBezTo>
                    <a:pt x="27908" y="347472"/>
                    <a:pt x="18193" y="335471"/>
                    <a:pt x="10954" y="321088"/>
                  </a:cubicBezTo>
                  <a:cubicBezTo>
                    <a:pt x="3620" y="306705"/>
                    <a:pt x="0" y="290132"/>
                    <a:pt x="0" y="271272"/>
                  </a:cubicBezTo>
                  <a:lnTo>
                    <a:pt x="0" y="269843"/>
                  </a:lnTo>
                  <a:cubicBezTo>
                    <a:pt x="0" y="249079"/>
                    <a:pt x="3810" y="231077"/>
                    <a:pt x="11335" y="215741"/>
                  </a:cubicBezTo>
                  <a:cubicBezTo>
                    <a:pt x="18859" y="200406"/>
                    <a:pt x="29337" y="187738"/>
                    <a:pt x="42767" y="177546"/>
                  </a:cubicBezTo>
                  <a:cubicBezTo>
                    <a:pt x="56197" y="167450"/>
                    <a:pt x="72199" y="159925"/>
                    <a:pt x="90773" y="154972"/>
                  </a:cubicBezTo>
                  <a:cubicBezTo>
                    <a:pt x="109347" y="150019"/>
                    <a:pt x="129540" y="147542"/>
                    <a:pt x="151162" y="147542"/>
                  </a:cubicBezTo>
                  <a:cubicBezTo>
                    <a:pt x="172783" y="147542"/>
                    <a:pt x="192976" y="148971"/>
                    <a:pt x="208788" y="151829"/>
                  </a:cubicBezTo>
                  <a:cubicBezTo>
                    <a:pt x="224599" y="154686"/>
                    <a:pt x="239744" y="158401"/>
                    <a:pt x="254413" y="163163"/>
                  </a:cubicBezTo>
                  <a:lnTo>
                    <a:pt x="254413" y="156115"/>
                  </a:lnTo>
                  <a:cubicBezTo>
                    <a:pt x="254413" y="130207"/>
                    <a:pt x="246507" y="110395"/>
                    <a:pt x="230696" y="96774"/>
                  </a:cubicBezTo>
                  <a:cubicBezTo>
                    <a:pt x="214884" y="83153"/>
                    <a:pt x="192214" y="76295"/>
                    <a:pt x="162496" y="76295"/>
                  </a:cubicBezTo>
                  <a:cubicBezTo>
                    <a:pt x="141351" y="76295"/>
                    <a:pt x="122491" y="78391"/>
                    <a:pt x="106013" y="82677"/>
                  </a:cubicBezTo>
                  <a:cubicBezTo>
                    <a:pt x="89535" y="86963"/>
                    <a:pt x="72771" y="92583"/>
                    <a:pt x="55816" y="99632"/>
                  </a:cubicBezTo>
                  <a:lnTo>
                    <a:pt x="32480" y="31052"/>
                  </a:lnTo>
                  <a:cubicBezTo>
                    <a:pt x="53149" y="21622"/>
                    <a:pt x="74390" y="14097"/>
                    <a:pt x="96107" y="8477"/>
                  </a:cubicBezTo>
                  <a:cubicBezTo>
                    <a:pt x="117729" y="2858"/>
                    <a:pt x="143923" y="0"/>
                    <a:pt x="174593" y="0"/>
                  </a:cubicBezTo>
                  <a:cubicBezTo>
                    <a:pt x="230124" y="0"/>
                    <a:pt x="271367" y="13811"/>
                    <a:pt x="298228" y="41338"/>
                  </a:cubicBezTo>
                  <a:cubicBezTo>
                    <a:pt x="325088" y="68866"/>
                    <a:pt x="338519" y="107633"/>
                    <a:pt x="338519" y="157544"/>
                  </a:cubicBezTo>
                  <a:lnTo>
                    <a:pt x="338519" y="378714"/>
                  </a:lnTo>
                  <a:lnTo>
                    <a:pt x="253746" y="378714"/>
                  </a:lnTo>
                  <a:close/>
                  <a:moveTo>
                    <a:pt x="255746" y="222409"/>
                  </a:moveTo>
                  <a:cubicBezTo>
                    <a:pt x="244888" y="218123"/>
                    <a:pt x="232029" y="214598"/>
                    <a:pt x="217265" y="211836"/>
                  </a:cubicBezTo>
                  <a:cubicBezTo>
                    <a:pt x="202406" y="208979"/>
                    <a:pt x="186785" y="207550"/>
                    <a:pt x="170307" y="207550"/>
                  </a:cubicBezTo>
                  <a:cubicBezTo>
                    <a:pt x="143446" y="207550"/>
                    <a:pt x="122491" y="212693"/>
                    <a:pt x="107442" y="223075"/>
                  </a:cubicBezTo>
                  <a:cubicBezTo>
                    <a:pt x="92392" y="233458"/>
                    <a:pt x="84868" y="247555"/>
                    <a:pt x="84868" y="265462"/>
                  </a:cubicBezTo>
                  <a:lnTo>
                    <a:pt x="84868" y="266891"/>
                  </a:lnTo>
                  <a:cubicBezTo>
                    <a:pt x="84868" y="284798"/>
                    <a:pt x="91821" y="298418"/>
                    <a:pt x="105728" y="307848"/>
                  </a:cubicBezTo>
                  <a:cubicBezTo>
                    <a:pt x="119634" y="317278"/>
                    <a:pt x="136684" y="321945"/>
                    <a:pt x="156972" y="321945"/>
                  </a:cubicBezTo>
                  <a:cubicBezTo>
                    <a:pt x="171069" y="321945"/>
                    <a:pt x="184213" y="320040"/>
                    <a:pt x="196215" y="316325"/>
                  </a:cubicBezTo>
                  <a:cubicBezTo>
                    <a:pt x="208216" y="312515"/>
                    <a:pt x="218694" y="307277"/>
                    <a:pt x="227647" y="300419"/>
                  </a:cubicBezTo>
                  <a:cubicBezTo>
                    <a:pt x="236601" y="293561"/>
                    <a:pt x="243554" y="285369"/>
                    <a:pt x="248507" y="275654"/>
                  </a:cubicBezTo>
                  <a:cubicBezTo>
                    <a:pt x="253460" y="266033"/>
                    <a:pt x="255937" y="255270"/>
                    <a:pt x="255937" y="243459"/>
                  </a:cubicBezTo>
                  <a:lnTo>
                    <a:pt x="255937" y="222218"/>
                  </a:lnTo>
                  <a:close/>
                </a:path>
              </a:pathLst>
            </a:custGeom>
            <a:solidFill>
              <a:srgbClr val="44505E"/>
            </a:solidFill>
            <a:ln w="9525" cap="flat">
              <a:noFill/>
              <a:prstDash val="solid"/>
              <a:miter/>
            </a:ln>
          </p:spPr>
          <p:txBody>
            <a:bodyPr rtlCol="0" anchor="ctr"/>
            <a:lstStyle/>
            <a:p>
              <a:endParaRPr lang="pt-BR" noProof="0"/>
            </a:p>
          </p:txBody>
        </p:sp>
        <p:sp>
          <p:nvSpPr>
            <p:cNvPr id="28" name="Freeform: Shape 27">
              <a:extLst>
                <a:ext uri="{FF2B5EF4-FFF2-40B4-BE49-F238E27FC236}">
                  <a16:creationId xmlns:a16="http://schemas.microsoft.com/office/drawing/2014/main" id="{CF4C7681-79AC-C5DD-DB24-7F1CF0FAC28A}"/>
                </a:ext>
              </a:extLst>
            </p:cNvPr>
            <p:cNvSpPr/>
            <p:nvPr/>
          </p:nvSpPr>
          <p:spPr>
            <a:xfrm>
              <a:off x="6088843" y="700318"/>
              <a:ext cx="74610" cy="97213"/>
            </a:xfrm>
            <a:custGeom>
              <a:avLst/>
              <a:gdLst>
                <a:gd name="connsiteX0" fmla="*/ 158305 w 296799"/>
                <a:gd name="connsiteY0" fmla="*/ 386715 h 386714"/>
                <a:gd name="connsiteX1" fmla="*/ 76676 w 296799"/>
                <a:gd name="connsiteY1" fmla="*/ 372427 h 386714"/>
                <a:gd name="connsiteX2" fmla="*/ 0 w 296799"/>
                <a:gd name="connsiteY2" fmla="*/ 330327 h 386714"/>
                <a:gd name="connsiteX3" fmla="*/ 38195 w 296799"/>
                <a:gd name="connsiteY3" fmla="*/ 272224 h 386714"/>
                <a:gd name="connsiteX4" fmla="*/ 100013 w 296799"/>
                <a:gd name="connsiteY4" fmla="*/ 306514 h 386714"/>
                <a:gd name="connsiteX5" fmla="*/ 160401 w 296799"/>
                <a:gd name="connsiteY5" fmla="*/ 318135 h 386714"/>
                <a:gd name="connsiteX6" fmla="*/ 203168 w 296799"/>
                <a:gd name="connsiteY6" fmla="*/ 307181 h 386714"/>
                <a:gd name="connsiteX7" fmla="*/ 218408 w 296799"/>
                <a:gd name="connsiteY7" fmla="*/ 277939 h 386714"/>
                <a:gd name="connsiteX8" fmla="*/ 218408 w 296799"/>
                <a:gd name="connsiteY8" fmla="*/ 276511 h 386714"/>
                <a:gd name="connsiteX9" fmla="*/ 211646 w 296799"/>
                <a:gd name="connsiteY9" fmla="*/ 258223 h 386714"/>
                <a:gd name="connsiteX10" fmla="*/ 193262 w 296799"/>
                <a:gd name="connsiteY10" fmla="*/ 244792 h 386714"/>
                <a:gd name="connsiteX11" fmla="*/ 166402 w 296799"/>
                <a:gd name="connsiteY11" fmla="*/ 234220 h 386714"/>
                <a:gd name="connsiteX12" fmla="*/ 134969 w 296799"/>
                <a:gd name="connsiteY12" fmla="*/ 224314 h 386714"/>
                <a:gd name="connsiteX13" fmla="*/ 93631 w 296799"/>
                <a:gd name="connsiteY13" fmla="*/ 210884 h 386714"/>
                <a:gd name="connsiteX14" fmla="*/ 56197 w 296799"/>
                <a:gd name="connsiteY14" fmla="*/ 190786 h 386714"/>
                <a:gd name="connsiteX15" fmla="*/ 28956 w 296799"/>
                <a:gd name="connsiteY15" fmla="*/ 160115 h 386714"/>
                <a:gd name="connsiteX16" fmla="*/ 18383 w 296799"/>
                <a:gd name="connsiteY16" fmla="*/ 114967 h 386714"/>
                <a:gd name="connsiteX17" fmla="*/ 18383 w 296799"/>
                <a:gd name="connsiteY17" fmla="*/ 113538 h 386714"/>
                <a:gd name="connsiteX18" fmla="*/ 28575 w 296799"/>
                <a:gd name="connsiteY18" fmla="*/ 66294 h 386714"/>
                <a:gd name="connsiteX19" fmla="*/ 56864 w 296799"/>
                <a:gd name="connsiteY19" fmla="*/ 30385 h 386714"/>
                <a:gd name="connsiteX20" fmla="*/ 99250 w 296799"/>
                <a:gd name="connsiteY20" fmla="*/ 7810 h 386714"/>
                <a:gd name="connsiteX21" fmla="*/ 151162 w 296799"/>
                <a:gd name="connsiteY21" fmla="*/ 0 h 386714"/>
                <a:gd name="connsiteX22" fmla="*/ 222504 w 296799"/>
                <a:gd name="connsiteY22" fmla="*/ 11430 h 386714"/>
                <a:gd name="connsiteX23" fmla="*/ 288227 w 296799"/>
                <a:gd name="connsiteY23" fmla="*/ 42863 h 386714"/>
                <a:gd name="connsiteX24" fmla="*/ 254317 w 296799"/>
                <a:gd name="connsiteY24" fmla="*/ 103918 h 386714"/>
                <a:gd name="connsiteX25" fmla="*/ 199930 w 296799"/>
                <a:gd name="connsiteY25" fmla="*/ 78105 h 386714"/>
                <a:gd name="connsiteX26" fmla="*/ 149066 w 296799"/>
                <a:gd name="connsiteY26" fmla="*/ 68580 h 386714"/>
                <a:gd name="connsiteX27" fmla="*/ 110585 w 296799"/>
                <a:gd name="connsiteY27" fmla="*/ 79153 h 386714"/>
                <a:gd name="connsiteX28" fmla="*/ 96774 w 296799"/>
                <a:gd name="connsiteY28" fmla="*/ 105918 h 386714"/>
                <a:gd name="connsiteX29" fmla="*/ 96774 w 296799"/>
                <a:gd name="connsiteY29" fmla="*/ 107347 h 386714"/>
                <a:gd name="connsiteX30" fmla="*/ 103822 w 296799"/>
                <a:gd name="connsiteY30" fmla="*/ 124587 h 386714"/>
                <a:gd name="connsiteX31" fmla="*/ 122587 w 296799"/>
                <a:gd name="connsiteY31" fmla="*/ 138017 h 386714"/>
                <a:gd name="connsiteX32" fmla="*/ 149447 w 296799"/>
                <a:gd name="connsiteY32" fmla="*/ 149257 h 386714"/>
                <a:gd name="connsiteX33" fmla="*/ 180880 w 296799"/>
                <a:gd name="connsiteY33" fmla="*/ 159448 h 386714"/>
                <a:gd name="connsiteX34" fmla="*/ 221837 w 296799"/>
                <a:gd name="connsiteY34" fmla="*/ 174212 h 386714"/>
                <a:gd name="connsiteX35" fmla="*/ 258985 w 296799"/>
                <a:gd name="connsiteY35" fmla="*/ 194977 h 386714"/>
                <a:gd name="connsiteX36" fmla="*/ 286226 w 296799"/>
                <a:gd name="connsiteY36" fmla="*/ 224980 h 386714"/>
                <a:gd name="connsiteX37" fmla="*/ 296799 w 296799"/>
                <a:gd name="connsiteY37" fmla="*/ 267938 h 386714"/>
                <a:gd name="connsiteX38" fmla="*/ 296799 w 296799"/>
                <a:gd name="connsiteY38" fmla="*/ 269367 h 386714"/>
                <a:gd name="connsiteX39" fmla="*/ 286226 w 296799"/>
                <a:gd name="connsiteY39" fmla="*/ 320897 h 386714"/>
                <a:gd name="connsiteX40" fmla="*/ 256889 w 296799"/>
                <a:gd name="connsiteY40" fmla="*/ 357188 h 386714"/>
                <a:gd name="connsiteX41" fmla="*/ 212693 w 296799"/>
                <a:gd name="connsiteY41" fmla="*/ 379095 h 386714"/>
                <a:gd name="connsiteX42" fmla="*/ 158305 w 296799"/>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799"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065" y="318135"/>
                    <a:pt x="160401" y="318135"/>
                  </a:cubicBezTo>
                  <a:cubicBezTo>
                    <a:pt x="179737" y="318135"/>
                    <a:pt x="193072"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828" y="227647"/>
                    <a:pt x="134969" y="224314"/>
                  </a:cubicBezTo>
                  <a:cubicBezTo>
                    <a:pt x="121348" y="220599"/>
                    <a:pt x="107537" y="216122"/>
                    <a:pt x="93631" y="210884"/>
                  </a:cubicBezTo>
                  <a:cubicBezTo>
                    <a:pt x="79724" y="205740"/>
                    <a:pt x="67246" y="198977"/>
                    <a:pt x="56197" y="190786"/>
                  </a:cubicBezTo>
                  <a:cubicBezTo>
                    <a:pt x="45148" y="182594"/>
                    <a:pt x="36004"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874" y="0"/>
                    <a:pt x="151162" y="0"/>
                  </a:cubicBezTo>
                  <a:cubicBezTo>
                    <a:pt x="174688" y="0"/>
                    <a:pt x="198501" y="3810"/>
                    <a:pt x="222504" y="11430"/>
                  </a:cubicBezTo>
                  <a:cubicBezTo>
                    <a:pt x="246507" y="19050"/>
                    <a:pt x="268414" y="29527"/>
                    <a:pt x="288227" y="42863"/>
                  </a:cubicBezTo>
                  <a:lnTo>
                    <a:pt x="254317"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774" y="95155"/>
                    <a:pt x="96774" y="105918"/>
                  </a:cubicBezTo>
                  <a:lnTo>
                    <a:pt x="96774" y="107347"/>
                  </a:lnTo>
                  <a:cubicBezTo>
                    <a:pt x="96774" y="113919"/>
                    <a:pt x="99155" y="119634"/>
                    <a:pt x="103822" y="124587"/>
                  </a:cubicBezTo>
                  <a:cubicBezTo>
                    <a:pt x="108490" y="129540"/>
                    <a:pt x="114776" y="134017"/>
                    <a:pt x="122587" y="138017"/>
                  </a:cubicBezTo>
                  <a:cubicBezTo>
                    <a:pt x="130397" y="142018"/>
                    <a:pt x="139351" y="145732"/>
                    <a:pt x="149447" y="149257"/>
                  </a:cubicBezTo>
                  <a:cubicBezTo>
                    <a:pt x="159544" y="152781"/>
                    <a:pt x="170021" y="156210"/>
                    <a:pt x="180880" y="159448"/>
                  </a:cubicBezTo>
                  <a:cubicBezTo>
                    <a:pt x="194500" y="163639"/>
                    <a:pt x="208216" y="168592"/>
                    <a:pt x="221837" y="174212"/>
                  </a:cubicBezTo>
                  <a:cubicBezTo>
                    <a:pt x="235458" y="179832"/>
                    <a:pt x="247840" y="186785"/>
                    <a:pt x="258985" y="194977"/>
                  </a:cubicBezTo>
                  <a:cubicBezTo>
                    <a:pt x="270034" y="203168"/>
                    <a:pt x="279178" y="213169"/>
                    <a:pt x="286226" y="224980"/>
                  </a:cubicBezTo>
                  <a:cubicBezTo>
                    <a:pt x="293275" y="236696"/>
                    <a:pt x="296799" y="251079"/>
                    <a:pt x="296799" y="267938"/>
                  </a:cubicBezTo>
                  <a:lnTo>
                    <a:pt x="296799" y="269367"/>
                  </a:lnTo>
                  <a:cubicBezTo>
                    <a:pt x="296799" y="289084"/>
                    <a:pt x="293275" y="306229"/>
                    <a:pt x="286226" y="320897"/>
                  </a:cubicBezTo>
                  <a:cubicBezTo>
                    <a:pt x="279178" y="335470"/>
                    <a:pt x="269367" y="347567"/>
                    <a:pt x="256889" y="357188"/>
                  </a:cubicBezTo>
                  <a:cubicBezTo>
                    <a:pt x="244412" y="366808"/>
                    <a:pt x="229648" y="374142"/>
                    <a:pt x="212693" y="379095"/>
                  </a:cubicBezTo>
                  <a:cubicBezTo>
                    <a:pt x="195739" y="384048"/>
                    <a:pt x="177641" y="386524"/>
                    <a:pt x="158305" y="386524"/>
                  </a:cubicBezTo>
                  <a:close/>
                </a:path>
              </a:pathLst>
            </a:custGeom>
            <a:solidFill>
              <a:srgbClr val="44505E"/>
            </a:solidFill>
            <a:ln w="9525" cap="flat">
              <a:noFill/>
              <a:prstDash val="solid"/>
              <a:miter/>
            </a:ln>
          </p:spPr>
          <p:txBody>
            <a:bodyPr rtlCol="0" anchor="ctr"/>
            <a:lstStyle/>
            <a:p>
              <a:endParaRPr lang="pt-BR" noProof="0"/>
            </a:p>
          </p:txBody>
        </p:sp>
        <p:sp>
          <p:nvSpPr>
            <p:cNvPr id="29" name="Freeform: Shape 28">
              <a:extLst>
                <a:ext uri="{FF2B5EF4-FFF2-40B4-BE49-F238E27FC236}">
                  <a16:creationId xmlns:a16="http://schemas.microsoft.com/office/drawing/2014/main" id="{ACFDA662-3B57-3BAC-02CF-20D4A73A9869}"/>
                </a:ext>
              </a:extLst>
            </p:cNvPr>
            <p:cNvSpPr/>
            <p:nvPr/>
          </p:nvSpPr>
          <p:spPr>
            <a:xfrm>
              <a:off x="6238590"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4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7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2 w 568166"/>
                <a:gd name="connsiteY21" fmla="*/ 381000 h 381000"/>
                <a:gd name="connsiteX22" fmla="*/ 240982 w 568166"/>
                <a:gd name="connsiteY22" fmla="*/ 168783 h 381000"/>
                <a:gd name="connsiteX23" fmla="*/ 221266 w 568166"/>
                <a:gd name="connsiteY23" fmla="*/ 101822 h 381000"/>
                <a:gd name="connsiteX24" fmla="*/ 165640 w 568166"/>
                <a:gd name="connsiteY24" fmla="*/ 78581 h 381000"/>
                <a:gd name="connsiteX25" fmla="*/ 108013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69" y="48196"/>
                    <a:pt x="105918" y="40576"/>
                  </a:cubicBezTo>
                  <a:cubicBezTo>
                    <a:pt x="112966" y="32956"/>
                    <a:pt x="121063" y="26099"/>
                    <a:pt x="130207" y="19907"/>
                  </a:cubicBezTo>
                  <a:cubicBezTo>
                    <a:pt x="139351" y="13716"/>
                    <a:pt x="149638" y="8858"/>
                    <a:pt x="161163" y="5334"/>
                  </a:cubicBezTo>
                  <a:cubicBezTo>
                    <a:pt x="172688" y="1714"/>
                    <a:pt x="185452" y="0"/>
                    <a:pt x="199549" y="0"/>
                  </a:cubicBezTo>
                  <a:cubicBezTo>
                    <a:pt x="226314" y="0"/>
                    <a:pt x="248983" y="6096"/>
                    <a:pt x="267557" y="18193"/>
                  </a:cubicBezTo>
                  <a:cubicBezTo>
                    <a:pt x="286131" y="30289"/>
                    <a:pt x="300323" y="46387"/>
                    <a:pt x="310134" y="66294"/>
                  </a:cubicBezTo>
                  <a:cubicBezTo>
                    <a:pt x="325279" y="46387"/>
                    <a:pt x="343090" y="30289"/>
                    <a:pt x="363664" y="18193"/>
                  </a:cubicBezTo>
                  <a:cubicBezTo>
                    <a:pt x="384238" y="6096"/>
                    <a:pt x="408718" y="0"/>
                    <a:pt x="437007" y="0"/>
                  </a:cubicBezTo>
                  <a:cubicBezTo>
                    <a:pt x="478155"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7" y="78486"/>
                  </a:cubicBezTo>
                  <a:cubicBezTo>
                    <a:pt x="382809" y="78486"/>
                    <a:pt x="364141" y="86392"/>
                    <a:pt x="349377" y="102108"/>
                  </a:cubicBezTo>
                  <a:cubicBezTo>
                    <a:pt x="334613" y="117824"/>
                    <a:pt x="327184" y="140779"/>
                    <a:pt x="327184" y="170879"/>
                  </a:cubicBezTo>
                  <a:lnTo>
                    <a:pt x="327184" y="381000"/>
                  </a:lnTo>
                  <a:lnTo>
                    <a:pt x="240982" y="381000"/>
                  </a:lnTo>
                  <a:lnTo>
                    <a:pt x="240982" y="168783"/>
                  </a:lnTo>
                  <a:cubicBezTo>
                    <a:pt x="240982" y="139637"/>
                    <a:pt x="234410" y="117348"/>
                    <a:pt x="221266" y="101822"/>
                  </a:cubicBezTo>
                  <a:cubicBezTo>
                    <a:pt x="208121" y="86296"/>
                    <a:pt x="189547" y="78581"/>
                    <a:pt x="165640" y="78581"/>
                  </a:cubicBezTo>
                  <a:cubicBezTo>
                    <a:pt x="141732" y="78581"/>
                    <a:pt x="122491" y="86773"/>
                    <a:pt x="108013"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30" name="Freeform: Shape 29">
              <a:extLst>
                <a:ext uri="{FF2B5EF4-FFF2-40B4-BE49-F238E27FC236}">
                  <a16:creationId xmlns:a16="http://schemas.microsoft.com/office/drawing/2014/main" id="{EC1AEBA8-5088-D525-1852-2EBE0BF01314}"/>
                </a:ext>
              </a:extLst>
            </p:cNvPr>
            <p:cNvSpPr/>
            <p:nvPr/>
          </p:nvSpPr>
          <p:spPr>
            <a:xfrm>
              <a:off x="6400979" y="664258"/>
              <a:ext cx="85097" cy="133441"/>
            </a:xfrm>
            <a:custGeom>
              <a:avLst/>
              <a:gdLst>
                <a:gd name="connsiteX0" fmla="*/ 253651 w 338518"/>
                <a:gd name="connsiteY0" fmla="*/ 523018 h 530828"/>
                <a:gd name="connsiteX1" fmla="*/ 253651 w 338518"/>
                <a:gd name="connsiteY1" fmla="*/ 477107 h 530828"/>
                <a:gd name="connsiteX2" fmla="*/ 204883 w 338518"/>
                <a:gd name="connsiteY2" fmla="*/ 515303 h 530828"/>
                <a:gd name="connsiteX3" fmla="*/ 132779 w 338518"/>
                <a:gd name="connsiteY3" fmla="*/ 530828 h 530828"/>
                <a:gd name="connsiteX4" fmla="*/ 81915 w 338518"/>
                <a:gd name="connsiteY4" fmla="*/ 523399 h 530828"/>
                <a:gd name="connsiteX5" fmla="*/ 39910 w 338518"/>
                <a:gd name="connsiteY5" fmla="*/ 501491 h 530828"/>
                <a:gd name="connsiteX6" fmla="*/ 10954 w 338518"/>
                <a:gd name="connsiteY6" fmla="*/ 465487 h 530828"/>
                <a:gd name="connsiteX7" fmla="*/ 0 w 338518"/>
                <a:gd name="connsiteY7" fmla="*/ 415671 h 530828"/>
                <a:gd name="connsiteX8" fmla="*/ 0 w 338518"/>
                <a:gd name="connsiteY8" fmla="*/ 414242 h 530828"/>
                <a:gd name="connsiteX9" fmla="*/ 11335 w 338518"/>
                <a:gd name="connsiteY9" fmla="*/ 360140 h 530828"/>
                <a:gd name="connsiteX10" fmla="*/ 42767 w 338518"/>
                <a:gd name="connsiteY10" fmla="*/ 321945 h 530828"/>
                <a:gd name="connsiteX11" fmla="*/ 90773 w 338518"/>
                <a:gd name="connsiteY11" fmla="*/ 299371 h 530828"/>
                <a:gd name="connsiteX12" fmla="*/ 151162 w 338518"/>
                <a:gd name="connsiteY12" fmla="*/ 291941 h 530828"/>
                <a:gd name="connsiteX13" fmla="*/ 208788 w 338518"/>
                <a:gd name="connsiteY13" fmla="*/ 296228 h 530828"/>
                <a:gd name="connsiteX14" fmla="*/ 254413 w 338518"/>
                <a:gd name="connsiteY14" fmla="*/ 307562 h 530828"/>
                <a:gd name="connsiteX15" fmla="*/ 254413 w 338518"/>
                <a:gd name="connsiteY15" fmla="*/ 300514 h 530828"/>
                <a:gd name="connsiteX16" fmla="*/ 230696 w 338518"/>
                <a:gd name="connsiteY16" fmla="*/ 241173 h 530828"/>
                <a:gd name="connsiteX17" fmla="*/ 162496 w 338518"/>
                <a:gd name="connsiteY17" fmla="*/ 220694 h 530828"/>
                <a:gd name="connsiteX18" fmla="*/ 106013 w 338518"/>
                <a:gd name="connsiteY18" fmla="*/ 227076 h 530828"/>
                <a:gd name="connsiteX19" fmla="*/ 55817 w 338518"/>
                <a:gd name="connsiteY19" fmla="*/ 244031 h 530828"/>
                <a:gd name="connsiteX20" fmla="*/ 32480 w 338518"/>
                <a:gd name="connsiteY20" fmla="*/ 175451 h 530828"/>
                <a:gd name="connsiteX21" fmla="*/ 96107 w 338518"/>
                <a:gd name="connsiteY21" fmla="*/ 152876 h 530828"/>
                <a:gd name="connsiteX22" fmla="*/ 174593 w 338518"/>
                <a:gd name="connsiteY22" fmla="*/ 144399 h 530828"/>
                <a:gd name="connsiteX23" fmla="*/ 298228 w 338518"/>
                <a:gd name="connsiteY23" fmla="*/ 185738 h 530828"/>
                <a:gd name="connsiteX24" fmla="*/ 338519 w 338518"/>
                <a:gd name="connsiteY24" fmla="*/ 301943 h 530828"/>
                <a:gd name="connsiteX25" fmla="*/ 338519 w 338518"/>
                <a:gd name="connsiteY25" fmla="*/ 523113 h 530828"/>
                <a:gd name="connsiteX26" fmla="*/ 253746 w 338518"/>
                <a:gd name="connsiteY26" fmla="*/ 523113 h 530828"/>
                <a:gd name="connsiteX27" fmla="*/ 45911 w 338518"/>
                <a:gd name="connsiteY27" fmla="*/ 95441 h 530828"/>
                <a:gd name="connsiteX28" fmla="*/ 75248 w 338518"/>
                <a:gd name="connsiteY28" fmla="*/ 29718 h 530828"/>
                <a:gd name="connsiteX29" fmla="*/ 125063 w 338518"/>
                <a:gd name="connsiteY29" fmla="*/ 7144 h 530828"/>
                <a:gd name="connsiteX30" fmla="*/ 154019 w 338518"/>
                <a:gd name="connsiteY30" fmla="*/ 11716 h 530828"/>
                <a:gd name="connsiteX31" fmla="*/ 181261 w 338518"/>
                <a:gd name="connsiteY31" fmla="*/ 21622 h 530828"/>
                <a:gd name="connsiteX32" fmla="*/ 205645 w 338518"/>
                <a:gd name="connsiteY32" fmla="*/ 31147 h 530828"/>
                <a:gd name="connsiteX33" fmla="*/ 226790 w 338518"/>
                <a:gd name="connsiteY33" fmla="*/ 35338 h 530828"/>
                <a:gd name="connsiteX34" fmla="*/ 250127 w 338518"/>
                <a:gd name="connsiteY34" fmla="*/ 26861 h 530828"/>
                <a:gd name="connsiteX35" fmla="*/ 265652 w 338518"/>
                <a:gd name="connsiteY35" fmla="*/ 0 h 530828"/>
                <a:gd name="connsiteX36" fmla="*/ 312991 w 338518"/>
                <a:gd name="connsiteY36" fmla="*/ 14859 h 530828"/>
                <a:gd name="connsiteX37" fmla="*/ 283655 w 338518"/>
                <a:gd name="connsiteY37" fmla="*/ 79820 h 530828"/>
                <a:gd name="connsiteX38" fmla="*/ 233839 w 338518"/>
                <a:gd name="connsiteY38" fmla="*/ 102394 h 530828"/>
                <a:gd name="connsiteX39" fmla="*/ 204883 w 338518"/>
                <a:gd name="connsiteY39" fmla="*/ 98203 h 530828"/>
                <a:gd name="connsiteX40" fmla="*/ 177641 w 338518"/>
                <a:gd name="connsiteY40" fmla="*/ 88678 h 530828"/>
                <a:gd name="connsiteX41" fmla="*/ 152876 w 338518"/>
                <a:gd name="connsiteY41" fmla="*/ 78772 h 530828"/>
                <a:gd name="connsiteX42" fmla="*/ 132017 w 338518"/>
                <a:gd name="connsiteY42" fmla="*/ 74200 h 530828"/>
                <a:gd name="connsiteX43" fmla="*/ 108680 w 338518"/>
                <a:gd name="connsiteY43" fmla="*/ 82677 h 530828"/>
                <a:gd name="connsiteX44" fmla="*/ 93154 w 338518"/>
                <a:gd name="connsiteY44" fmla="*/ 109538 h 530828"/>
                <a:gd name="connsiteX45" fmla="*/ 45815 w 338518"/>
                <a:gd name="connsiteY45" fmla="*/ 95441 h 530828"/>
                <a:gd name="connsiteX46" fmla="*/ 255842 w 338518"/>
                <a:gd name="connsiteY46" fmla="*/ 366808 h 530828"/>
                <a:gd name="connsiteX47" fmla="*/ 217361 w 338518"/>
                <a:gd name="connsiteY47" fmla="*/ 356235 h 530828"/>
                <a:gd name="connsiteX48" fmla="*/ 170402 w 338518"/>
                <a:gd name="connsiteY48" fmla="*/ 351949 h 530828"/>
                <a:gd name="connsiteX49" fmla="*/ 107537 w 338518"/>
                <a:gd name="connsiteY49" fmla="*/ 367475 h 530828"/>
                <a:gd name="connsiteX50" fmla="*/ 84963 w 338518"/>
                <a:gd name="connsiteY50" fmla="*/ 409861 h 530828"/>
                <a:gd name="connsiteX51" fmla="*/ 84963 w 338518"/>
                <a:gd name="connsiteY51" fmla="*/ 411290 h 530828"/>
                <a:gd name="connsiteX52" fmla="*/ 105823 w 338518"/>
                <a:gd name="connsiteY52" fmla="*/ 452247 h 530828"/>
                <a:gd name="connsiteX53" fmla="*/ 157067 w 338518"/>
                <a:gd name="connsiteY53" fmla="*/ 466344 h 530828"/>
                <a:gd name="connsiteX54" fmla="*/ 196310 w 338518"/>
                <a:gd name="connsiteY54" fmla="*/ 460724 h 530828"/>
                <a:gd name="connsiteX55" fmla="*/ 227743 w 338518"/>
                <a:gd name="connsiteY55" fmla="*/ 444818 h 530828"/>
                <a:gd name="connsiteX56" fmla="*/ 248603 w 338518"/>
                <a:gd name="connsiteY56" fmla="*/ 420053 h 530828"/>
                <a:gd name="connsiteX57" fmla="*/ 256032 w 338518"/>
                <a:gd name="connsiteY57" fmla="*/ 387858 h 530828"/>
                <a:gd name="connsiteX58" fmla="*/ 256032 w 338518"/>
                <a:gd name="connsiteY58" fmla="*/ 366617 h 5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8518" h="530828">
                  <a:moveTo>
                    <a:pt x="253651" y="523018"/>
                  </a:moveTo>
                  <a:lnTo>
                    <a:pt x="253651" y="477107"/>
                  </a:lnTo>
                  <a:cubicBezTo>
                    <a:pt x="240887" y="492157"/>
                    <a:pt x="224695" y="504920"/>
                    <a:pt x="204883" y="515303"/>
                  </a:cubicBezTo>
                  <a:cubicBezTo>
                    <a:pt x="185071" y="525685"/>
                    <a:pt x="161068" y="530828"/>
                    <a:pt x="132779" y="530828"/>
                  </a:cubicBezTo>
                  <a:cubicBezTo>
                    <a:pt x="114871" y="530828"/>
                    <a:pt x="97917" y="528352"/>
                    <a:pt x="81915" y="523399"/>
                  </a:cubicBezTo>
                  <a:cubicBezTo>
                    <a:pt x="65913" y="518446"/>
                    <a:pt x="51911" y="511112"/>
                    <a:pt x="39910" y="501491"/>
                  </a:cubicBezTo>
                  <a:cubicBezTo>
                    <a:pt x="27908" y="491871"/>
                    <a:pt x="18193" y="479870"/>
                    <a:pt x="10954" y="465487"/>
                  </a:cubicBezTo>
                  <a:cubicBezTo>
                    <a:pt x="3620" y="451104"/>
                    <a:pt x="0" y="434531"/>
                    <a:pt x="0" y="415671"/>
                  </a:cubicBezTo>
                  <a:lnTo>
                    <a:pt x="0" y="414242"/>
                  </a:lnTo>
                  <a:cubicBezTo>
                    <a:pt x="0" y="393478"/>
                    <a:pt x="3810" y="375476"/>
                    <a:pt x="11335" y="360140"/>
                  </a:cubicBezTo>
                  <a:cubicBezTo>
                    <a:pt x="18860" y="344805"/>
                    <a:pt x="29337" y="332137"/>
                    <a:pt x="42767" y="321945"/>
                  </a:cubicBezTo>
                  <a:cubicBezTo>
                    <a:pt x="56198" y="311849"/>
                    <a:pt x="72200" y="304324"/>
                    <a:pt x="90773" y="299371"/>
                  </a:cubicBezTo>
                  <a:cubicBezTo>
                    <a:pt x="109347" y="294418"/>
                    <a:pt x="129540" y="291941"/>
                    <a:pt x="151162" y="291941"/>
                  </a:cubicBezTo>
                  <a:cubicBezTo>
                    <a:pt x="172784" y="291941"/>
                    <a:pt x="192977" y="293370"/>
                    <a:pt x="208788" y="296228"/>
                  </a:cubicBezTo>
                  <a:cubicBezTo>
                    <a:pt x="224600" y="299085"/>
                    <a:pt x="239744" y="302800"/>
                    <a:pt x="254413" y="307562"/>
                  </a:cubicBezTo>
                  <a:lnTo>
                    <a:pt x="254413" y="300514"/>
                  </a:lnTo>
                  <a:cubicBezTo>
                    <a:pt x="254413" y="274606"/>
                    <a:pt x="246507" y="254794"/>
                    <a:pt x="230696" y="241173"/>
                  </a:cubicBezTo>
                  <a:cubicBezTo>
                    <a:pt x="214884" y="227552"/>
                    <a:pt x="192215" y="220694"/>
                    <a:pt x="162496" y="220694"/>
                  </a:cubicBezTo>
                  <a:cubicBezTo>
                    <a:pt x="141351" y="220694"/>
                    <a:pt x="122492" y="222790"/>
                    <a:pt x="106013" y="227076"/>
                  </a:cubicBezTo>
                  <a:cubicBezTo>
                    <a:pt x="89535" y="231362"/>
                    <a:pt x="72771" y="236982"/>
                    <a:pt x="55817" y="244031"/>
                  </a:cubicBezTo>
                  <a:lnTo>
                    <a:pt x="32480" y="175451"/>
                  </a:lnTo>
                  <a:cubicBezTo>
                    <a:pt x="53150" y="166021"/>
                    <a:pt x="74390" y="158496"/>
                    <a:pt x="96107" y="152876"/>
                  </a:cubicBezTo>
                  <a:cubicBezTo>
                    <a:pt x="117729" y="147257"/>
                    <a:pt x="143923" y="144399"/>
                    <a:pt x="174593" y="144399"/>
                  </a:cubicBezTo>
                  <a:cubicBezTo>
                    <a:pt x="230124" y="144399"/>
                    <a:pt x="271367" y="158210"/>
                    <a:pt x="298228" y="185738"/>
                  </a:cubicBezTo>
                  <a:cubicBezTo>
                    <a:pt x="325088" y="213265"/>
                    <a:pt x="338519" y="252032"/>
                    <a:pt x="338519" y="301943"/>
                  </a:cubicBezTo>
                  <a:lnTo>
                    <a:pt x="338519" y="523113"/>
                  </a:lnTo>
                  <a:lnTo>
                    <a:pt x="253746" y="523113"/>
                  </a:lnTo>
                  <a:close/>
                  <a:moveTo>
                    <a:pt x="45911" y="95441"/>
                  </a:moveTo>
                  <a:cubicBezTo>
                    <a:pt x="53912" y="66675"/>
                    <a:pt x="63722" y="44768"/>
                    <a:pt x="75248" y="29718"/>
                  </a:cubicBezTo>
                  <a:cubicBezTo>
                    <a:pt x="86773" y="14669"/>
                    <a:pt x="103442" y="7144"/>
                    <a:pt x="125063" y="7144"/>
                  </a:cubicBezTo>
                  <a:cubicBezTo>
                    <a:pt x="134969" y="7144"/>
                    <a:pt x="144590" y="8668"/>
                    <a:pt x="154019" y="11716"/>
                  </a:cubicBezTo>
                  <a:cubicBezTo>
                    <a:pt x="163449" y="14764"/>
                    <a:pt x="172498" y="18098"/>
                    <a:pt x="181261" y="21622"/>
                  </a:cubicBezTo>
                  <a:cubicBezTo>
                    <a:pt x="189929" y="25146"/>
                    <a:pt x="198120" y="28385"/>
                    <a:pt x="205645" y="31147"/>
                  </a:cubicBezTo>
                  <a:cubicBezTo>
                    <a:pt x="213170" y="34004"/>
                    <a:pt x="220218" y="35338"/>
                    <a:pt x="226790" y="35338"/>
                  </a:cubicBezTo>
                  <a:cubicBezTo>
                    <a:pt x="237173" y="35338"/>
                    <a:pt x="244888" y="32480"/>
                    <a:pt x="250127" y="26861"/>
                  </a:cubicBezTo>
                  <a:cubicBezTo>
                    <a:pt x="255270" y="21241"/>
                    <a:pt x="260509" y="12287"/>
                    <a:pt x="265652" y="0"/>
                  </a:cubicBezTo>
                  <a:lnTo>
                    <a:pt x="312991" y="14859"/>
                  </a:lnTo>
                  <a:cubicBezTo>
                    <a:pt x="304991" y="43148"/>
                    <a:pt x="295180" y="64770"/>
                    <a:pt x="283655" y="79820"/>
                  </a:cubicBezTo>
                  <a:cubicBezTo>
                    <a:pt x="272129" y="94869"/>
                    <a:pt x="255461" y="102394"/>
                    <a:pt x="233839" y="102394"/>
                  </a:cubicBezTo>
                  <a:cubicBezTo>
                    <a:pt x="223933" y="102394"/>
                    <a:pt x="214313" y="100965"/>
                    <a:pt x="204883" y="98203"/>
                  </a:cubicBezTo>
                  <a:cubicBezTo>
                    <a:pt x="195453" y="95345"/>
                    <a:pt x="186404" y="92202"/>
                    <a:pt x="177641" y="88678"/>
                  </a:cubicBezTo>
                  <a:cubicBezTo>
                    <a:pt x="168878" y="85154"/>
                    <a:pt x="160687" y="81820"/>
                    <a:pt x="152876" y="78772"/>
                  </a:cubicBezTo>
                  <a:cubicBezTo>
                    <a:pt x="145066" y="75724"/>
                    <a:pt x="138113" y="74200"/>
                    <a:pt x="132017" y="74200"/>
                  </a:cubicBezTo>
                  <a:cubicBezTo>
                    <a:pt x="121634" y="74200"/>
                    <a:pt x="113919" y="77057"/>
                    <a:pt x="108680" y="82677"/>
                  </a:cubicBezTo>
                  <a:cubicBezTo>
                    <a:pt x="103537" y="88297"/>
                    <a:pt x="98298" y="97250"/>
                    <a:pt x="93154" y="109538"/>
                  </a:cubicBezTo>
                  <a:lnTo>
                    <a:pt x="45815" y="95441"/>
                  </a:lnTo>
                  <a:close/>
                  <a:moveTo>
                    <a:pt x="255842" y="366808"/>
                  </a:moveTo>
                  <a:cubicBezTo>
                    <a:pt x="244983" y="362522"/>
                    <a:pt x="232124" y="358997"/>
                    <a:pt x="217361" y="356235"/>
                  </a:cubicBezTo>
                  <a:cubicBezTo>
                    <a:pt x="202502" y="353378"/>
                    <a:pt x="186880" y="351949"/>
                    <a:pt x="170402" y="351949"/>
                  </a:cubicBezTo>
                  <a:cubicBezTo>
                    <a:pt x="143542" y="351949"/>
                    <a:pt x="122587" y="357092"/>
                    <a:pt x="107537" y="367475"/>
                  </a:cubicBezTo>
                  <a:cubicBezTo>
                    <a:pt x="92488" y="377857"/>
                    <a:pt x="84963" y="391954"/>
                    <a:pt x="84963" y="409861"/>
                  </a:cubicBezTo>
                  <a:lnTo>
                    <a:pt x="84963" y="411290"/>
                  </a:lnTo>
                  <a:cubicBezTo>
                    <a:pt x="84963" y="429197"/>
                    <a:pt x="91916" y="442817"/>
                    <a:pt x="105823" y="452247"/>
                  </a:cubicBezTo>
                  <a:cubicBezTo>
                    <a:pt x="119729" y="461677"/>
                    <a:pt x="136779" y="466344"/>
                    <a:pt x="157067" y="466344"/>
                  </a:cubicBezTo>
                  <a:cubicBezTo>
                    <a:pt x="171164" y="466344"/>
                    <a:pt x="184309" y="464439"/>
                    <a:pt x="196310" y="460724"/>
                  </a:cubicBezTo>
                  <a:cubicBezTo>
                    <a:pt x="208312" y="456914"/>
                    <a:pt x="218789" y="451676"/>
                    <a:pt x="227743" y="444818"/>
                  </a:cubicBezTo>
                  <a:cubicBezTo>
                    <a:pt x="236696" y="437960"/>
                    <a:pt x="243650" y="429768"/>
                    <a:pt x="248603" y="420053"/>
                  </a:cubicBezTo>
                  <a:cubicBezTo>
                    <a:pt x="253555" y="410432"/>
                    <a:pt x="256032" y="399669"/>
                    <a:pt x="256032" y="387858"/>
                  </a:cubicBezTo>
                  <a:lnTo>
                    <a:pt x="256032" y="366617"/>
                  </a:lnTo>
                  <a:close/>
                </a:path>
              </a:pathLst>
            </a:custGeom>
            <a:solidFill>
              <a:srgbClr val="44505E"/>
            </a:solidFill>
            <a:ln w="9525" cap="flat">
              <a:noFill/>
              <a:prstDash val="solid"/>
              <a:miter/>
            </a:ln>
          </p:spPr>
          <p:txBody>
            <a:bodyPr rtlCol="0" anchor="ctr"/>
            <a:lstStyle/>
            <a:p>
              <a:endParaRPr lang="pt-BR" noProof="0"/>
            </a:p>
          </p:txBody>
        </p:sp>
        <p:sp>
          <p:nvSpPr>
            <p:cNvPr id="31" name="Freeform: Shape 30">
              <a:extLst>
                <a:ext uri="{FF2B5EF4-FFF2-40B4-BE49-F238E27FC236}">
                  <a16:creationId xmlns:a16="http://schemas.microsoft.com/office/drawing/2014/main" id="{78A95FD7-FBB7-F6DF-4D1C-5F74CDE283E6}"/>
                </a:ext>
              </a:extLst>
            </p:cNvPr>
            <p:cNvSpPr/>
            <p:nvPr/>
          </p:nvSpPr>
          <p:spPr>
            <a:xfrm>
              <a:off x="6506477" y="699959"/>
              <a:ext cx="100038" cy="97908"/>
            </a:xfrm>
            <a:custGeom>
              <a:avLst/>
              <a:gdLst>
                <a:gd name="connsiteX0" fmla="*/ 197834 w 397954"/>
                <a:gd name="connsiteY0" fmla="*/ 389477 h 389477"/>
                <a:gd name="connsiteX1" fmla="*/ 119063 w 397954"/>
                <a:gd name="connsiteY1" fmla="*/ 374237 h 389477"/>
                <a:gd name="connsiteX2" fmla="*/ 56198 w 397954"/>
                <a:gd name="connsiteY2" fmla="*/ 332899 h 389477"/>
                <a:gd name="connsiteX3" fmla="*/ 14859 w 397954"/>
                <a:gd name="connsiteY3" fmla="*/ 271463 h 389477"/>
                <a:gd name="connsiteX4" fmla="*/ 0 w 397954"/>
                <a:gd name="connsiteY4" fmla="*/ 196501 h 389477"/>
                <a:gd name="connsiteX5" fmla="*/ 0 w 397954"/>
                <a:gd name="connsiteY5" fmla="*/ 195072 h 389477"/>
                <a:gd name="connsiteX6" fmla="*/ 15240 w 397954"/>
                <a:gd name="connsiteY6" fmla="*/ 119444 h 389477"/>
                <a:gd name="connsiteX7" fmla="*/ 56960 w 397954"/>
                <a:gd name="connsiteY7" fmla="*/ 57626 h 389477"/>
                <a:gd name="connsiteX8" fmla="*/ 119825 w 397954"/>
                <a:gd name="connsiteY8" fmla="*/ 15526 h 389477"/>
                <a:gd name="connsiteX9" fmla="*/ 199358 w 397954"/>
                <a:gd name="connsiteY9" fmla="*/ 0 h 389477"/>
                <a:gd name="connsiteX10" fmla="*/ 278892 w 397954"/>
                <a:gd name="connsiteY10" fmla="*/ 15240 h 389477"/>
                <a:gd name="connsiteX11" fmla="*/ 341757 w 397954"/>
                <a:gd name="connsiteY11" fmla="*/ 56959 h 389477"/>
                <a:gd name="connsiteX12" fmla="*/ 383096 w 397954"/>
                <a:gd name="connsiteY12" fmla="*/ 118396 h 389477"/>
                <a:gd name="connsiteX13" fmla="*/ 397955 w 397954"/>
                <a:gd name="connsiteY13" fmla="*/ 193643 h 389477"/>
                <a:gd name="connsiteX14" fmla="*/ 397955 w 397954"/>
                <a:gd name="connsiteY14" fmla="*/ 195072 h 389477"/>
                <a:gd name="connsiteX15" fmla="*/ 382714 w 397954"/>
                <a:gd name="connsiteY15" fmla="*/ 270034 h 389477"/>
                <a:gd name="connsiteX16" fmla="*/ 340995 w 397954"/>
                <a:gd name="connsiteY16" fmla="*/ 331851 h 389477"/>
                <a:gd name="connsiteX17" fmla="*/ 277749 w 397954"/>
                <a:gd name="connsiteY17" fmla="*/ 373856 h 389477"/>
                <a:gd name="connsiteX18" fmla="*/ 197834 w 397954"/>
                <a:gd name="connsiteY18" fmla="*/ 389382 h 389477"/>
                <a:gd name="connsiteX19" fmla="*/ 199263 w 397954"/>
                <a:gd name="connsiteY19" fmla="*/ 315278 h 389477"/>
                <a:gd name="connsiteX20" fmla="*/ 245936 w 397954"/>
                <a:gd name="connsiteY20" fmla="*/ 305753 h 389477"/>
                <a:gd name="connsiteX21" fmla="*/ 281369 w 397954"/>
                <a:gd name="connsiteY21" fmla="*/ 279940 h 389477"/>
                <a:gd name="connsiteX22" fmla="*/ 303848 w 397954"/>
                <a:gd name="connsiteY22" fmla="*/ 242125 h 389477"/>
                <a:gd name="connsiteX23" fmla="*/ 311563 w 397954"/>
                <a:gd name="connsiteY23" fmla="*/ 196501 h 389477"/>
                <a:gd name="connsiteX24" fmla="*/ 311563 w 397954"/>
                <a:gd name="connsiteY24" fmla="*/ 195072 h 389477"/>
                <a:gd name="connsiteX25" fmla="*/ 303181 w 397954"/>
                <a:gd name="connsiteY25" fmla="*/ 148400 h 389477"/>
                <a:gd name="connsiteX26" fmla="*/ 279654 w 397954"/>
                <a:gd name="connsiteY26" fmla="*/ 110204 h 389477"/>
                <a:gd name="connsiteX27" fmla="*/ 243840 w 397954"/>
                <a:gd name="connsiteY27" fmla="*/ 84392 h 389477"/>
                <a:gd name="connsiteX28" fmla="*/ 197834 w 397954"/>
                <a:gd name="connsiteY28" fmla="*/ 74867 h 389477"/>
                <a:gd name="connsiteX29" fmla="*/ 151829 w 397954"/>
                <a:gd name="connsiteY29" fmla="*/ 84392 h 389477"/>
                <a:gd name="connsiteX30" fmla="*/ 116396 w 397954"/>
                <a:gd name="connsiteY30" fmla="*/ 109823 h 389477"/>
                <a:gd name="connsiteX31" fmla="*/ 93916 w 397954"/>
                <a:gd name="connsiteY31" fmla="*/ 147638 h 389477"/>
                <a:gd name="connsiteX32" fmla="*/ 86201 w 397954"/>
                <a:gd name="connsiteY32" fmla="*/ 193548 h 389477"/>
                <a:gd name="connsiteX33" fmla="*/ 86201 w 397954"/>
                <a:gd name="connsiteY33" fmla="*/ 194977 h 389477"/>
                <a:gd name="connsiteX34" fmla="*/ 94583 w 397954"/>
                <a:gd name="connsiteY34" fmla="*/ 241268 h 389477"/>
                <a:gd name="connsiteX35" fmla="*/ 118110 w 397954"/>
                <a:gd name="connsiteY35" fmla="*/ 279463 h 389477"/>
                <a:gd name="connsiteX36" fmla="*/ 153924 w 397954"/>
                <a:gd name="connsiteY36" fmla="*/ 305562 h 389477"/>
                <a:gd name="connsiteX37" fmla="*/ 199263 w 397954"/>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954" h="389477">
                  <a:moveTo>
                    <a:pt x="197834" y="389477"/>
                  </a:moveTo>
                  <a:cubicBezTo>
                    <a:pt x="169545" y="389477"/>
                    <a:pt x="143351" y="384429"/>
                    <a:pt x="119063" y="374237"/>
                  </a:cubicBezTo>
                  <a:cubicBezTo>
                    <a:pt x="94774" y="364141"/>
                    <a:pt x="73819" y="350330"/>
                    <a:pt x="56198" y="332899"/>
                  </a:cubicBezTo>
                  <a:cubicBezTo>
                    <a:pt x="38576" y="315468"/>
                    <a:pt x="24765" y="294989"/>
                    <a:pt x="14859" y="271463"/>
                  </a:cubicBezTo>
                  <a:cubicBezTo>
                    <a:pt x="4953" y="247936"/>
                    <a:pt x="0" y="222980"/>
                    <a:pt x="0" y="196501"/>
                  </a:cubicBezTo>
                  <a:lnTo>
                    <a:pt x="0" y="195072"/>
                  </a:lnTo>
                  <a:cubicBezTo>
                    <a:pt x="0" y="168212"/>
                    <a:pt x="5049" y="143066"/>
                    <a:pt x="15240" y="119444"/>
                  </a:cubicBezTo>
                  <a:cubicBezTo>
                    <a:pt x="25337" y="95917"/>
                    <a:pt x="39243" y="75248"/>
                    <a:pt x="56960" y="57626"/>
                  </a:cubicBezTo>
                  <a:cubicBezTo>
                    <a:pt x="74676" y="39910"/>
                    <a:pt x="95631" y="25908"/>
                    <a:pt x="119825" y="15526"/>
                  </a:cubicBezTo>
                  <a:cubicBezTo>
                    <a:pt x="144113" y="5144"/>
                    <a:pt x="170593" y="0"/>
                    <a:pt x="199358" y="0"/>
                  </a:cubicBezTo>
                  <a:cubicBezTo>
                    <a:pt x="228124" y="0"/>
                    <a:pt x="254604" y="5048"/>
                    <a:pt x="278892" y="15240"/>
                  </a:cubicBezTo>
                  <a:cubicBezTo>
                    <a:pt x="303181" y="25337"/>
                    <a:pt x="324136" y="39243"/>
                    <a:pt x="341757" y="56959"/>
                  </a:cubicBezTo>
                  <a:cubicBezTo>
                    <a:pt x="359379" y="74676"/>
                    <a:pt x="373189" y="95155"/>
                    <a:pt x="383096" y="118396"/>
                  </a:cubicBezTo>
                  <a:cubicBezTo>
                    <a:pt x="393002" y="141732"/>
                    <a:pt x="397955" y="166783"/>
                    <a:pt x="397955" y="193643"/>
                  </a:cubicBezTo>
                  <a:lnTo>
                    <a:pt x="397955" y="195072"/>
                  </a:lnTo>
                  <a:cubicBezTo>
                    <a:pt x="397955" y="221456"/>
                    <a:pt x="392906" y="246412"/>
                    <a:pt x="382714" y="270034"/>
                  </a:cubicBezTo>
                  <a:cubicBezTo>
                    <a:pt x="372618" y="293561"/>
                    <a:pt x="358712" y="314230"/>
                    <a:pt x="340995" y="331851"/>
                  </a:cubicBezTo>
                  <a:cubicBezTo>
                    <a:pt x="323279" y="349472"/>
                    <a:pt x="302229" y="363569"/>
                    <a:pt x="277749" y="373856"/>
                  </a:cubicBezTo>
                  <a:cubicBezTo>
                    <a:pt x="253270" y="384238"/>
                    <a:pt x="226600" y="389382"/>
                    <a:pt x="197834" y="389382"/>
                  </a:cubicBezTo>
                  <a:close/>
                  <a:moveTo>
                    <a:pt x="199263" y="315278"/>
                  </a:moveTo>
                  <a:cubicBezTo>
                    <a:pt x="216598" y="315278"/>
                    <a:pt x="232124" y="312039"/>
                    <a:pt x="245936" y="305753"/>
                  </a:cubicBezTo>
                  <a:cubicBezTo>
                    <a:pt x="259747" y="299371"/>
                    <a:pt x="271558" y="290798"/>
                    <a:pt x="281369" y="279940"/>
                  </a:cubicBezTo>
                  <a:cubicBezTo>
                    <a:pt x="291179" y="269081"/>
                    <a:pt x="298704" y="256508"/>
                    <a:pt x="303848" y="242125"/>
                  </a:cubicBezTo>
                  <a:cubicBezTo>
                    <a:pt x="308991" y="227743"/>
                    <a:pt x="311563" y="212598"/>
                    <a:pt x="311563" y="196501"/>
                  </a:cubicBezTo>
                  <a:lnTo>
                    <a:pt x="311563" y="195072"/>
                  </a:lnTo>
                  <a:cubicBezTo>
                    <a:pt x="311563" y="178594"/>
                    <a:pt x="308706" y="163068"/>
                    <a:pt x="303181" y="148400"/>
                  </a:cubicBezTo>
                  <a:cubicBezTo>
                    <a:pt x="297561" y="133826"/>
                    <a:pt x="289750" y="121063"/>
                    <a:pt x="279654" y="110204"/>
                  </a:cubicBezTo>
                  <a:cubicBezTo>
                    <a:pt x="269557" y="99346"/>
                    <a:pt x="257651" y="90773"/>
                    <a:pt x="243840" y="84392"/>
                  </a:cubicBezTo>
                  <a:cubicBezTo>
                    <a:pt x="230029" y="78010"/>
                    <a:pt x="214694" y="74867"/>
                    <a:pt x="197834" y="74867"/>
                  </a:cubicBezTo>
                  <a:cubicBezTo>
                    <a:pt x="180975" y="74867"/>
                    <a:pt x="165640" y="78010"/>
                    <a:pt x="151829" y="84392"/>
                  </a:cubicBezTo>
                  <a:cubicBezTo>
                    <a:pt x="138017" y="90773"/>
                    <a:pt x="126206" y="99250"/>
                    <a:pt x="116396" y="109823"/>
                  </a:cubicBezTo>
                  <a:cubicBezTo>
                    <a:pt x="106585" y="120396"/>
                    <a:pt x="99060" y="133064"/>
                    <a:pt x="93916" y="147638"/>
                  </a:cubicBezTo>
                  <a:cubicBezTo>
                    <a:pt x="88773" y="162211"/>
                    <a:pt x="86201" y="177546"/>
                    <a:pt x="86201" y="193548"/>
                  </a:cubicBezTo>
                  <a:lnTo>
                    <a:pt x="86201" y="194977"/>
                  </a:lnTo>
                  <a:cubicBezTo>
                    <a:pt x="86201" y="211455"/>
                    <a:pt x="89059" y="226886"/>
                    <a:pt x="94583" y="241268"/>
                  </a:cubicBezTo>
                  <a:cubicBezTo>
                    <a:pt x="100203" y="255651"/>
                    <a:pt x="108014" y="268319"/>
                    <a:pt x="118110" y="279463"/>
                  </a:cubicBezTo>
                  <a:cubicBezTo>
                    <a:pt x="128207" y="290608"/>
                    <a:pt x="140113" y="299275"/>
                    <a:pt x="153924" y="305562"/>
                  </a:cubicBezTo>
                  <a:cubicBezTo>
                    <a:pt x="167735" y="311944"/>
                    <a:pt x="182785"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32" name="Freeform: Shape 31">
              <a:extLst>
                <a:ext uri="{FF2B5EF4-FFF2-40B4-BE49-F238E27FC236}">
                  <a16:creationId xmlns:a16="http://schemas.microsoft.com/office/drawing/2014/main" id="{00CC0686-D2B1-696C-79A4-FCCE0AF81FDA}"/>
                </a:ext>
              </a:extLst>
            </p:cNvPr>
            <p:cNvSpPr/>
            <p:nvPr/>
          </p:nvSpPr>
          <p:spPr>
            <a:xfrm>
              <a:off x="662071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1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7 w 296894"/>
                <a:gd name="connsiteY23" fmla="*/ 42863 h 386714"/>
                <a:gd name="connsiteX24" fmla="*/ 254318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7 w 296894"/>
                <a:gd name="connsiteY30" fmla="*/ 124587 h 386714"/>
                <a:gd name="connsiteX31" fmla="*/ 122682 w 296894"/>
                <a:gd name="connsiteY31" fmla="*/ 138017 h 386714"/>
                <a:gd name="connsiteX32" fmla="*/ 149543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6" y="348901"/>
                    <a:pt x="0" y="330327"/>
                  </a:cubicBezTo>
                  <a:lnTo>
                    <a:pt x="38195" y="272224"/>
                  </a:lnTo>
                  <a:cubicBezTo>
                    <a:pt x="58484" y="287274"/>
                    <a:pt x="79057" y="298704"/>
                    <a:pt x="100013" y="306514"/>
                  </a:cubicBezTo>
                  <a:cubicBezTo>
                    <a:pt x="120968" y="314325"/>
                    <a:pt x="141161" y="318135"/>
                    <a:pt x="160401" y="318135"/>
                  </a:cubicBezTo>
                  <a:cubicBezTo>
                    <a:pt x="179641" y="318135"/>
                    <a:pt x="192977"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1" y="241078"/>
                    <a:pt x="176498" y="237553"/>
                    <a:pt x="166401"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2" y="40195"/>
                    <a:pt x="56864" y="30385"/>
                  </a:cubicBezTo>
                  <a:cubicBezTo>
                    <a:pt x="68866" y="20479"/>
                    <a:pt x="82962" y="12954"/>
                    <a:pt x="99250" y="7810"/>
                  </a:cubicBezTo>
                  <a:cubicBezTo>
                    <a:pt x="115538" y="2667"/>
                    <a:pt x="132779" y="0"/>
                    <a:pt x="151162" y="0"/>
                  </a:cubicBezTo>
                  <a:cubicBezTo>
                    <a:pt x="174688" y="0"/>
                    <a:pt x="198501" y="3810"/>
                    <a:pt x="222504" y="11430"/>
                  </a:cubicBezTo>
                  <a:cubicBezTo>
                    <a:pt x="246507" y="19050"/>
                    <a:pt x="268414" y="29527"/>
                    <a:pt x="288227" y="42863"/>
                  </a:cubicBezTo>
                  <a:lnTo>
                    <a:pt x="254318"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7" y="124587"/>
                  </a:cubicBezTo>
                  <a:cubicBezTo>
                    <a:pt x="108585" y="129540"/>
                    <a:pt x="114871" y="134017"/>
                    <a:pt x="122682" y="138017"/>
                  </a:cubicBezTo>
                  <a:cubicBezTo>
                    <a:pt x="130493" y="142018"/>
                    <a:pt x="139351" y="145732"/>
                    <a:pt x="149543"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696"/>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33" name="Freeform: Shape 32">
              <a:extLst>
                <a:ext uri="{FF2B5EF4-FFF2-40B4-BE49-F238E27FC236}">
                  <a16:creationId xmlns:a16="http://schemas.microsoft.com/office/drawing/2014/main" id="{7963D08F-4BBB-0DDC-166B-67B6D75514B9}"/>
                </a:ext>
              </a:extLst>
            </p:cNvPr>
            <p:cNvSpPr/>
            <p:nvPr/>
          </p:nvSpPr>
          <p:spPr>
            <a:xfrm>
              <a:off x="526693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4 w 202977"/>
                <a:gd name="connsiteY17" fmla="*/ 19907 h 239267"/>
                <a:gd name="connsiteX18" fmla="*/ 59246 w 202977"/>
                <a:gd name="connsiteY18" fmla="*/ 5429 h 239267"/>
                <a:gd name="connsiteX19" fmla="*/ 104299 w 202977"/>
                <a:gd name="connsiteY19" fmla="*/ 0 h 239267"/>
                <a:gd name="connsiteX20" fmla="*/ 178880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5 w 202977"/>
                <a:gd name="connsiteY27" fmla="*/ 211169 h 239267"/>
                <a:gd name="connsiteX28" fmla="*/ 122968 w 202977"/>
                <a:gd name="connsiteY28" fmla="*/ 206788 h 239267"/>
                <a:gd name="connsiteX29" fmla="*/ 147257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9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9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3" y="99155"/>
                    <a:pt x="58674" y="95917"/>
                  </a:cubicBezTo>
                  <a:cubicBezTo>
                    <a:pt x="70771" y="92678"/>
                    <a:pt x="84011" y="90964"/>
                    <a:pt x="98584" y="90964"/>
                  </a:cubicBezTo>
                  <a:cubicBezTo>
                    <a:pt x="113157" y="90964"/>
                    <a:pt x="126301" y="91821"/>
                    <a:pt x="137160" y="93631"/>
                  </a:cubicBezTo>
                  <a:cubicBezTo>
                    <a:pt x="148019" y="95440"/>
                    <a:pt x="158687" y="97822"/>
                    <a:pt x="169069" y="100774"/>
                  </a:cubicBezTo>
                  <a:lnTo>
                    <a:pt x="169069" y="93726"/>
                  </a:lnTo>
                  <a:cubicBezTo>
                    <a:pt x="169069" y="73342"/>
                    <a:pt x="163068" y="57912"/>
                    <a:pt x="151162" y="47339"/>
                  </a:cubicBezTo>
                  <a:cubicBezTo>
                    <a:pt x="139256" y="36862"/>
                    <a:pt x="122492" y="31623"/>
                    <a:pt x="100679" y="31623"/>
                  </a:cubicBezTo>
                  <a:cubicBezTo>
                    <a:pt x="86963" y="31623"/>
                    <a:pt x="74581" y="33147"/>
                    <a:pt x="63437" y="36100"/>
                  </a:cubicBezTo>
                  <a:cubicBezTo>
                    <a:pt x="52292" y="39053"/>
                    <a:pt x="41339" y="43053"/>
                    <a:pt x="30671" y="48196"/>
                  </a:cubicBezTo>
                  <a:lnTo>
                    <a:pt x="20384" y="19907"/>
                  </a:lnTo>
                  <a:cubicBezTo>
                    <a:pt x="33147" y="13906"/>
                    <a:pt x="46101" y="9049"/>
                    <a:pt x="59246" y="5429"/>
                  </a:cubicBezTo>
                  <a:cubicBezTo>
                    <a:pt x="72295" y="1810"/>
                    <a:pt x="87344" y="0"/>
                    <a:pt x="104299" y="0"/>
                  </a:cubicBezTo>
                  <a:cubicBezTo>
                    <a:pt x="137065" y="0"/>
                    <a:pt x="161925" y="8477"/>
                    <a:pt x="178880"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99" y="239173"/>
                    <a:pt x="86011" y="239173"/>
                  </a:cubicBezTo>
                  <a:close/>
                  <a:moveTo>
                    <a:pt x="93155" y="211169"/>
                  </a:moveTo>
                  <a:cubicBezTo>
                    <a:pt x="103823" y="211169"/>
                    <a:pt x="113728" y="209740"/>
                    <a:pt x="122968" y="206788"/>
                  </a:cubicBezTo>
                  <a:cubicBezTo>
                    <a:pt x="132207" y="203835"/>
                    <a:pt x="140208" y="199644"/>
                    <a:pt x="147257"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9" y="121444"/>
                  </a:cubicBezTo>
                  <a:cubicBezTo>
                    <a:pt x="129445" y="119348"/>
                    <a:pt x="116776"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244" y="190500"/>
                    <a:pt x="47435" y="195358"/>
                    <a:pt x="52769" y="199263"/>
                  </a:cubicBezTo>
                  <a:cubicBezTo>
                    <a:pt x="58103" y="203073"/>
                    <a:pt x="64294" y="206026"/>
                    <a:pt x="71247" y="208121"/>
                  </a:cubicBezTo>
                  <a:cubicBezTo>
                    <a:pt x="78200" y="210217"/>
                    <a:pt x="85535"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34" name="Freeform: Shape 33">
              <a:extLst>
                <a:ext uri="{FF2B5EF4-FFF2-40B4-BE49-F238E27FC236}">
                  <a16:creationId xmlns:a16="http://schemas.microsoft.com/office/drawing/2014/main" id="{F1F7E0AA-2BD3-CE0E-3DF7-115922CB0D65}"/>
                </a:ext>
              </a:extLst>
            </p:cNvPr>
            <p:cNvSpPr/>
            <p:nvPr/>
          </p:nvSpPr>
          <p:spPr>
            <a:xfrm>
              <a:off x="5331227"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9" y="303276"/>
                    <a:pt x="71438" y="300895"/>
                  </a:cubicBezTo>
                  <a:cubicBezTo>
                    <a:pt x="63437"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2"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5" name="Freeform: Shape 34">
              <a:extLst>
                <a:ext uri="{FF2B5EF4-FFF2-40B4-BE49-F238E27FC236}">
                  <a16:creationId xmlns:a16="http://schemas.microsoft.com/office/drawing/2014/main" id="{7D86F8DD-8E63-714F-E5B0-9C89A00607C6}"/>
                </a:ext>
              </a:extLst>
            </p:cNvPr>
            <p:cNvSpPr/>
            <p:nvPr/>
          </p:nvSpPr>
          <p:spPr>
            <a:xfrm>
              <a:off x="5381845"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191 w 39242"/>
                <a:gd name="connsiteY5" fmla="*/ 88392 h 319182"/>
                <a:gd name="connsiteX6" fmla="*/ 36576 w 39242"/>
                <a:gd name="connsiteY6" fmla="*/ 88392 h 319182"/>
                <a:gd name="connsiteX7" fmla="*/ 36576 w 39242"/>
                <a:gd name="connsiteY7" fmla="*/ 319183 h 319182"/>
                <a:gd name="connsiteX8" fmla="*/ 2191 w 39242"/>
                <a:gd name="connsiteY8" fmla="*/ 319183 h 319182"/>
                <a:gd name="connsiteX9" fmla="*/ 2191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191" y="88392"/>
                  </a:moveTo>
                  <a:lnTo>
                    <a:pt x="36576" y="88392"/>
                  </a:lnTo>
                  <a:lnTo>
                    <a:pt x="36576" y="319183"/>
                  </a:lnTo>
                  <a:lnTo>
                    <a:pt x="2191" y="319183"/>
                  </a:lnTo>
                  <a:lnTo>
                    <a:pt x="2191" y="88392"/>
                  </a:lnTo>
                  <a:close/>
                </a:path>
              </a:pathLst>
            </a:custGeom>
            <a:solidFill>
              <a:srgbClr val="44505E"/>
            </a:solidFill>
            <a:ln w="9525" cap="flat">
              <a:noFill/>
              <a:prstDash val="solid"/>
              <a:miter/>
            </a:ln>
          </p:spPr>
          <p:txBody>
            <a:bodyPr rtlCol="0" anchor="ctr"/>
            <a:lstStyle/>
            <a:p>
              <a:endParaRPr lang="pt-BR" noProof="0"/>
            </a:p>
          </p:txBody>
        </p:sp>
        <p:sp>
          <p:nvSpPr>
            <p:cNvPr id="36" name="Freeform: Shape 35">
              <a:extLst>
                <a:ext uri="{FF2B5EF4-FFF2-40B4-BE49-F238E27FC236}">
                  <a16:creationId xmlns:a16="http://schemas.microsoft.com/office/drawing/2014/main" id="{4325BE9F-436A-1969-D862-790B3F5A5415}"/>
                </a:ext>
              </a:extLst>
            </p:cNvPr>
            <p:cNvSpPr/>
            <p:nvPr/>
          </p:nvSpPr>
          <p:spPr>
            <a:xfrm>
              <a:off x="5406076"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8" y="303276"/>
                    <a:pt x="71438" y="300895"/>
                  </a:cubicBezTo>
                  <a:cubicBezTo>
                    <a:pt x="63436"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1"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7" name="Freeform: Shape 36">
              <a:extLst>
                <a:ext uri="{FF2B5EF4-FFF2-40B4-BE49-F238E27FC236}">
                  <a16:creationId xmlns:a16="http://schemas.microsoft.com/office/drawing/2014/main" id="{90FD6CBB-95BD-B81C-D5F0-4407341520F0}"/>
                </a:ext>
              </a:extLst>
            </p:cNvPr>
            <p:cNvSpPr/>
            <p:nvPr/>
          </p:nvSpPr>
          <p:spPr>
            <a:xfrm>
              <a:off x="5455545" y="925297"/>
              <a:ext cx="50594" cy="59238"/>
            </a:xfrm>
            <a:custGeom>
              <a:avLst/>
              <a:gdLst>
                <a:gd name="connsiteX0" fmla="*/ 88392 w 201263"/>
                <a:gd name="connsiteY0" fmla="*/ 235648 h 235648"/>
                <a:gd name="connsiteX1" fmla="*/ 51149 w 201263"/>
                <a:gd name="connsiteY1" fmla="*/ 228981 h 235648"/>
                <a:gd name="connsiteX2" fmla="*/ 23431 w 201263"/>
                <a:gd name="connsiteY2" fmla="*/ 210026 h 235648"/>
                <a:gd name="connsiteX3" fmla="*/ 6001 w 201263"/>
                <a:gd name="connsiteY3" fmla="*/ 180784 h 235648"/>
                <a:gd name="connsiteX4" fmla="*/ 0 w 201263"/>
                <a:gd name="connsiteY4" fmla="*/ 143256 h 235648"/>
                <a:gd name="connsiteX5" fmla="*/ 0 w 201263"/>
                <a:gd name="connsiteY5" fmla="*/ 0 h 235648"/>
                <a:gd name="connsiteX6" fmla="*/ 34385 w 201263"/>
                <a:gd name="connsiteY6" fmla="*/ 0 h 235648"/>
                <a:gd name="connsiteX7" fmla="*/ 34385 w 201263"/>
                <a:gd name="connsiteY7" fmla="*/ 134493 h 235648"/>
                <a:gd name="connsiteX8" fmla="*/ 50864 w 201263"/>
                <a:gd name="connsiteY8" fmla="*/ 185261 h 235648"/>
                <a:gd name="connsiteX9" fmla="*/ 98203 w 201263"/>
                <a:gd name="connsiteY9" fmla="*/ 203930 h 235648"/>
                <a:gd name="connsiteX10" fmla="*/ 125635 w 201263"/>
                <a:gd name="connsiteY10" fmla="*/ 198787 h 235648"/>
                <a:gd name="connsiteX11" fmla="*/ 147542 w 201263"/>
                <a:gd name="connsiteY11" fmla="*/ 184118 h 235648"/>
                <a:gd name="connsiteX12" fmla="*/ 162020 w 201263"/>
                <a:gd name="connsiteY12" fmla="*/ 161163 h 235648"/>
                <a:gd name="connsiteX13" fmla="*/ 167354 w 201263"/>
                <a:gd name="connsiteY13" fmla="*/ 131826 h 235648"/>
                <a:gd name="connsiteX14" fmla="*/ 167354 w 201263"/>
                <a:gd name="connsiteY14" fmla="*/ 0 h 235648"/>
                <a:gd name="connsiteX15" fmla="*/ 201263 w 201263"/>
                <a:gd name="connsiteY15" fmla="*/ 0 h 235648"/>
                <a:gd name="connsiteX16" fmla="*/ 201263 w 201263"/>
                <a:gd name="connsiteY16" fmla="*/ 230791 h 235648"/>
                <a:gd name="connsiteX17" fmla="*/ 167354 w 201263"/>
                <a:gd name="connsiteY17" fmla="*/ 230791 h 235648"/>
                <a:gd name="connsiteX18" fmla="*/ 167354 w 201263"/>
                <a:gd name="connsiteY18" fmla="*/ 190595 h 235648"/>
                <a:gd name="connsiteX19" fmla="*/ 136969 w 201263"/>
                <a:gd name="connsiteY19" fmla="*/ 222504 h 235648"/>
                <a:gd name="connsiteX20" fmla="*/ 88297 w 201263"/>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263" h="235648">
                  <a:moveTo>
                    <a:pt x="88392" y="235648"/>
                  </a:moveTo>
                  <a:cubicBezTo>
                    <a:pt x="74390" y="235648"/>
                    <a:pt x="62008" y="233363"/>
                    <a:pt x="51149" y="228981"/>
                  </a:cubicBezTo>
                  <a:cubicBezTo>
                    <a:pt x="40291" y="224504"/>
                    <a:pt x="31052" y="218218"/>
                    <a:pt x="23431"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864" y="185261"/>
                  </a:cubicBezTo>
                  <a:cubicBezTo>
                    <a:pt x="61913" y="197739"/>
                    <a:pt x="77629" y="203930"/>
                    <a:pt x="98203" y="203930"/>
                  </a:cubicBezTo>
                  <a:cubicBezTo>
                    <a:pt x="108014" y="203930"/>
                    <a:pt x="117158" y="202216"/>
                    <a:pt x="125635" y="198787"/>
                  </a:cubicBezTo>
                  <a:cubicBezTo>
                    <a:pt x="134112" y="195358"/>
                    <a:pt x="141351" y="190500"/>
                    <a:pt x="147542" y="184118"/>
                  </a:cubicBezTo>
                  <a:cubicBezTo>
                    <a:pt x="153638" y="177736"/>
                    <a:pt x="158496" y="170116"/>
                    <a:pt x="162020" y="161163"/>
                  </a:cubicBezTo>
                  <a:cubicBezTo>
                    <a:pt x="165640" y="152305"/>
                    <a:pt x="167354" y="142494"/>
                    <a:pt x="167354" y="131826"/>
                  </a:cubicBezTo>
                  <a:lnTo>
                    <a:pt x="167354" y="0"/>
                  </a:lnTo>
                  <a:lnTo>
                    <a:pt x="201263" y="0"/>
                  </a:lnTo>
                  <a:lnTo>
                    <a:pt x="201263" y="230791"/>
                  </a:lnTo>
                  <a:lnTo>
                    <a:pt x="167354" y="230791"/>
                  </a:lnTo>
                  <a:lnTo>
                    <a:pt x="167354" y="190595"/>
                  </a:lnTo>
                  <a:cubicBezTo>
                    <a:pt x="159639" y="203073"/>
                    <a:pt x="149447" y="213741"/>
                    <a:pt x="136969" y="222504"/>
                  </a:cubicBezTo>
                  <a:cubicBezTo>
                    <a:pt x="124492" y="231267"/>
                    <a:pt x="108299" y="235648"/>
                    <a:pt x="88297" y="235648"/>
                  </a:cubicBezTo>
                  <a:close/>
                </a:path>
              </a:pathLst>
            </a:custGeom>
            <a:solidFill>
              <a:srgbClr val="44505E"/>
            </a:solidFill>
            <a:ln w="9525" cap="flat">
              <a:noFill/>
              <a:prstDash val="solid"/>
              <a:miter/>
            </a:ln>
          </p:spPr>
          <p:txBody>
            <a:bodyPr rtlCol="0" anchor="ctr"/>
            <a:lstStyle/>
            <a:p>
              <a:endParaRPr lang="pt-BR" noProof="0"/>
            </a:p>
          </p:txBody>
        </p:sp>
        <p:sp>
          <p:nvSpPr>
            <p:cNvPr id="38" name="Freeform: Shape 37">
              <a:extLst>
                <a:ext uri="{FF2B5EF4-FFF2-40B4-BE49-F238E27FC236}">
                  <a16:creationId xmlns:a16="http://schemas.microsoft.com/office/drawing/2014/main" id="{E8D1582B-B344-C7B7-C234-FB857C1A0EF5}"/>
                </a:ext>
              </a:extLst>
            </p:cNvPr>
            <p:cNvSpPr/>
            <p:nvPr/>
          </p:nvSpPr>
          <p:spPr>
            <a:xfrm>
              <a:off x="5522205" y="901353"/>
              <a:ext cx="58567" cy="83182"/>
            </a:xfrm>
            <a:custGeom>
              <a:avLst/>
              <a:gdLst>
                <a:gd name="connsiteX0" fmla="*/ 110204 w 232981"/>
                <a:gd name="connsiteY0" fmla="*/ 330898 h 330898"/>
                <a:gd name="connsiteX1" fmla="*/ 69628 w 232981"/>
                <a:gd name="connsiteY1" fmla="*/ 322897 h 330898"/>
                <a:gd name="connsiteX2" fmla="*/ 34385 w 232981"/>
                <a:gd name="connsiteY2" fmla="*/ 299466 h 330898"/>
                <a:gd name="connsiteX3" fmla="*/ 9334 w 232981"/>
                <a:gd name="connsiteY3" fmla="*/ 261938 h 330898"/>
                <a:gd name="connsiteX4" fmla="*/ 0 w 232981"/>
                <a:gd name="connsiteY4" fmla="*/ 211264 h 330898"/>
                <a:gd name="connsiteX5" fmla="*/ 0 w 232981"/>
                <a:gd name="connsiteY5" fmla="*/ 210407 h 330898"/>
                <a:gd name="connsiteX6" fmla="*/ 9334 w 232981"/>
                <a:gd name="connsiteY6" fmla="*/ 159925 h 330898"/>
                <a:gd name="connsiteX7" fmla="*/ 34385 w 232981"/>
                <a:gd name="connsiteY7" fmla="*/ 122206 h 330898"/>
                <a:gd name="connsiteX8" fmla="*/ 69628 w 232981"/>
                <a:gd name="connsiteY8" fmla="*/ 98488 h 330898"/>
                <a:gd name="connsiteX9" fmla="*/ 110204 w 232981"/>
                <a:gd name="connsiteY9" fmla="*/ 90202 h 330898"/>
                <a:gd name="connsiteX10" fmla="*/ 139636 w 232981"/>
                <a:gd name="connsiteY10" fmla="*/ 94202 h 330898"/>
                <a:gd name="connsiteX11" fmla="*/ 163735 w 232981"/>
                <a:gd name="connsiteY11" fmla="*/ 104870 h 330898"/>
                <a:gd name="connsiteX12" fmla="*/ 183166 w 232981"/>
                <a:gd name="connsiteY12" fmla="*/ 120491 h 330898"/>
                <a:gd name="connsiteX13" fmla="*/ 198596 w 232981"/>
                <a:gd name="connsiteY13" fmla="*/ 139255 h 330898"/>
                <a:gd name="connsiteX14" fmla="*/ 198596 w 232981"/>
                <a:gd name="connsiteY14" fmla="*/ 0 h 330898"/>
                <a:gd name="connsiteX15" fmla="*/ 232981 w 232981"/>
                <a:gd name="connsiteY15" fmla="*/ 0 h 330898"/>
                <a:gd name="connsiteX16" fmla="*/ 232981 w 232981"/>
                <a:gd name="connsiteY16" fmla="*/ 325850 h 330898"/>
                <a:gd name="connsiteX17" fmla="*/ 198596 w 232981"/>
                <a:gd name="connsiteY17" fmla="*/ 325850 h 330898"/>
                <a:gd name="connsiteX18" fmla="*/ 198596 w 232981"/>
                <a:gd name="connsiteY18" fmla="*/ 279463 h 330898"/>
                <a:gd name="connsiteX19" fmla="*/ 182785 w 232981"/>
                <a:gd name="connsiteY19" fmla="*/ 299085 h 330898"/>
                <a:gd name="connsiteX20" fmla="*/ 163354 w 232981"/>
                <a:gd name="connsiteY20" fmla="*/ 315658 h 330898"/>
                <a:gd name="connsiteX21" fmla="*/ 139446 w 232981"/>
                <a:gd name="connsiteY21" fmla="*/ 326803 h 330898"/>
                <a:gd name="connsiteX22" fmla="*/ 110204 w 232981"/>
                <a:gd name="connsiteY22" fmla="*/ 330803 h 330898"/>
                <a:gd name="connsiteX23" fmla="*/ 116491 w 232981"/>
                <a:gd name="connsiteY23" fmla="*/ 300133 h 330898"/>
                <a:gd name="connsiteX24" fmla="*/ 147542 w 232981"/>
                <a:gd name="connsiteY24" fmla="*/ 293656 h 330898"/>
                <a:gd name="connsiteX25" fmla="*/ 174307 w 232981"/>
                <a:gd name="connsiteY25" fmla="*/ 275368 h 330898"/>
                <a:gd name="connsiteX26" fmla="*/ 193072 w 232981"/>
                <a:gd name="connsiteY26" fmla="*/ 247269 h 330898"/>
                <a:gd name="connsiteX27" fmla="*/ 200025 w 232981"/>
                <a:gd name="connsiteY27" fmla="*/ 210883 h 330898"/>
                <a:gd name="connsiteX28" fmla="*/ 200025 w 232981"/>
                <a:gd name="connsiteY28" fmla="*/ 210026 h 330898"/>
                <a:gd name="connsiteX29" fmla="*/ 193072 w 232981"/>
                <a:gd name="connsiteY29" fmla="*/ 173641 h 330898"/>
                <a:gd name="connsiteX30" fmla="*/ 174307 w 232981"/>
                <a:gd name="connsiteY30" fmla="*/ 145732 h 330898"/>
                <a:gd name="connsiteX31" fmla="*/ 147542 w 232981"/>
                <a:gd name="connsiteY31" fmla="*/ 127635 h 330898"/>
                <a:gd name="connsiteX32" fmla="*/ 116491 w 232981"/>
                <a:gd name="connsiteY32" fmla="*/ 121158 h 330898"/>
                <a:gd name="connsiteX33" fmla="*/ 84772 w 232981"/>
                <a:gd name="connsiteY33" fmla="*/ 127159 h 330898"/>
                <a:gd name="connsiteX34" fmla="*/ 59150 w 232981"/>
                <a:gd name="connsiteY34" fmla="*/ 144589 h 330898"/>
                <a:gd name="connsiteX35" fmla="*/ 41719 w 232981"/>
                <a:gd name="connsiteY35" fmla="*/ 172498 h 330898"/>
                <a:gd name="connsiteX36" fmla="*/ 35242 w 232981"/>
                <a:gd name="connsiteY36" fmla="*/ 210026 h 330898"/>
                <a:gd name="connsiteX37" fmla="*/ 35242 w 232981"/>
                <a:gd name="connsiteY37" fmla="*/ 210883 h 330898"/>
                <a:gd name="connsiteX38" fmla="*/ 41719 w 232981"/>
                <a:gd name="connsiteY38" fmla="*/ 247936 h 330898"/>
                <a:gd name="connsiteX39" fmla="*/ 59341 w 232981"/>
                <a:gd name="connsiteY39" fmla="*/ 276034 h 330898"/>
                <a:gd name="connsiteX40" fmla="*/ 85249 w 232981"/>
                <a:gd name="connsiteY40" fmla="*/ 293941 h 330898"/>
                <a:gd name="connsiteX41" fmla="*/ 116491 w 23298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30898">
                  <a:moveTo>
                    <a:pt x="110204" y="330898"/>
                  </a:moveTo>
                  <a:cubicBezTo>
                    <a:pt x="96202" y="330898"/>
                    <a:pt x="82677" y="328231"/>
                    <a:pt x="69628" y="322897"/>
                  </a:cubicBezTo>
                  <a:cubicBezTo>
                    <a:pt x="56578" y="317563"/>
                    <a:pt x="44767" y="309753"/>
                    <a:pt x="34385" y="299466"/>
                  </a:cubicBezTo>
                  <a:cubicBezTo>
                    <a:pt x="24003" y="289179"/>
                    <a:pt x="15621" y="276701"/>
                    <a:pt x="9334" y="261938"/>
                  </a:cubicBezTo>
                  <a:cubicBezTo>
                    <a:pt x="3048" y="247174"/>
                    <a:pt x="0" y="230314"/>
                    <a:pt x="0" y="211264"/>
                  </a:cubicBezTo>
                  <a:lnTo>
                    <a:pt x="0" y="210407"/>
                  </a:lnTo>
                  <a:cubicBezTo>
                    <a:pt x="0" y="191643"/>
                    <a:pt x="3143" y="174879"/>
                    <a:pt x="9334" y="159925"/>
                  </a:cubicBezTo>
                  <a:cubicBezTo>
                    <a:pt x="15621" y="145066"/>
                    <a:pt x="23908" y="132493"/>
                    <a:pt x="34385" y="122206"/>
                  </a:cubicBezTo>
                  <a:cubicBezTo>
                    <a:pt x="44767" y="111919"/>
                    <a:pt x="56578" y="104013"/>
                    <a:pt x="69628" y="98488"/>
                  </a:cubicBezTo>
                  <a:cubicBezTo>
                    <a:pt x="82677" y="92964"/>
                    <a:pt x="96298" y="90202"/>
                    <a:pt x="110204" y="90202"/>
                  </a:cubicBezTo>
                  <a:cubicBezTo>
                    <a:pt x="120967" y="90202"/>
                    <a:pt x="130778" y="91535"/>
                    <a:pt x="139636" y="94202"/>
                  </a:cubicBezTo>
                  <a:cubicBezTo>
                    <a:pt x="148590" y="96869"/>
                    <a:pt x="156591" y="100489"/>
                    <a:pt x="163735" y="104870"/>
                  </a:cubicBezTo>
                  <a:cubicBezTo>
                    <a:pt x="170878" y="109347"/>
                    <a:pt x="177356" y="114586"/>
                    <a:pt x="183166" y="120491"/>
                  </a:cubicBezTo>
                  <a:cubicBezTo>
                    <a:pt x="188976" y="126492"/>
                    <a:pt x="194119" y="132683"/>
                    <a:pt x="198596" y="139255"/>
                  </a:cubicBezTo>
                  <a:lnTo>
                    <a:pt x="198596" y="0"/>
                  </a:lnTo>
                  <a:lnTo>
                    <a:pt x="232981" y="0"/>
                  </a:lnTo>
                  <a:lnTo>
                    <a:pt x="232981" y="325850"/>
                  </a:lnTo>
                  <a:lnTo>
                    <a:pt x="198596" y="325850"/>
                  </a:lnTo>
                  <a:lnTo>
                    <a:pt x="198596" y="279463"/>
                  </a:lnTo>
                  <a:cubicBezTo>
                    <a:pt x="193834" y="286321"/>
                    <a:pt x="188595" y="292894"/>
                    <a:pt x="182785" y="299085"/>
                  </a:cubicBezTo>
                  <a:cubicBezTo>
                    <a:pt x="176974" y="305371"/>
                    <a:pt x="170498" y="310896"/>
                    <a:pt x="163354" y="315658"/>
                  </a:cubicBezTo>
                  <a:cubicBezTo>
                    <a:pt x="156210" y="320421"/>
                    <a:pt x="148209" y="324136"/>
                    <a:pt x="139446" y="326803"/>
                  </a:cubicBezTo>
                  <a:cubicBezTo>
                    <a:pt x="130683" y="329470"/>
                    <a:pt x="120967" y="330803"/>
                    <a:pt x="110204" y="330803"/>
                  </a:cubicBezTo>
                  <a:close/>
                  <a:moveTo>
                    <a:pt x="116491" y="300133"/>
                  </a:moveTo>
                  <a:cubicBezTo>
                    <a:pt x="127159" y="300133"/>
                    <a:pt x="137541" y="297942"/>
                    <a:pt x="147542" y="293656"/>
                  </a:cubicBezTo>
                  <a:cubicBezTo>
                    <a:pt x="157544" y="289369"/>
                    <a:pt x="166402" y="283273"/>
                    <a:pt x="174307" y="275368"/>
                  </a:cubicBezTo>
                  <a:cubicBezTo>
                    <a:pt x="182213" y="267462"/>
                    <a:pt x="188404" y="258127"/>
                    <a:pt x="193072" y="247269"/>
                  </a:cubicBezTo>
                  <a:cubicBezTo>
                    <a:pt x="197644" y="236410"/>
                    <a:pt x="200025" y="224314"/>
                    <a:pt x="200025" y="210883"/>
                  </a:cubicBezTo>
                  <a:lnTo>
                    <a:pt x="200025" y="210026"/>
                  </a:lnTo>
                  <a:cubicBezTo>
                    <a:pt x="200025" y="196596"/>
                    <a:pt x="197739" y="184499"/>
                    <a:pt x="193072" y="173641"/>
                  </a:cubicBezTo>
                  <a:cubicBezTo>
                    <a:pt x="188500" y="162782"/>
                    <a:pt x="182213" y="153448"/>
                    <a:pt x="174307" y="145732"/>
                  </a:cubicBezTo>
                  <a:cubicBezTo>
                    <a:pt x="166402" y="138017"/>
                    <a:pt x="157448" y="132016"/>
                    <a:pt x="147542" y="127635"/>
                  </a:cubicBezTo>
                  <a:cubicBezTo>
                    <a:pt x="137541" y="123349"/>
                    <a:pt x="127254" y="121158"/>
                    <a:pt x="116491" y="121158"/>
                  </a:cubicBezTo>
                  <a:cubicBezTo>
                    <a:pt x="105156" y="121158"/>
                    <a:pt x="94583" y="123158"/>
                    <a:pt x="84772" y="127159"/>
                  </a:cubicBezTo>
                  <a:cubicBezTo>
                    <a:pt x="74962" y="131159"/>
                    <a:pt x="66389" y="136969"/>
                    <a:pt x="59150" y="144589"/>
                  </a:cubicBezTo>
                  <a:cubicBezTo>
                    <a:pt x="51816" y="152114"/>
                    <a:pt x="46101" y="161449"/>
                    <a:pt x="41719" y="172498"/>
                  </a:cubicBezTo>
                  <a:cubicBezTo>
                    <a:pt x="37433" y="183451"/>
                    <a:pt x="35242" y="196024"/>
                    <a:pt x="35242" y="210026"/>
                  </a:cubicBezTo>
                  <a:lnTo>
                    <a:pt x="35242" y="210883"/>
                  </a:lnTo>
                  <a:cubicBezTo>
                    <a:pt x="35242" y="224599"/>
                    <a:pt x="37433" y="236982"/>
                    <a:pt x="41719" y="247936"/>
                  </a:cubicBezTo>
                  <a:cubicBezTo>
                    <a:pt x="46006" y="258984"/>
                    <a:pt x="51911" y="268319"/>
                    <a:pt x="59341" y="276034"/>
                  </a:cubicBezTo>
                  <a:cubicBezTo>
                    <a:pt x="66770" y="283750"/>
                    <a:pt x="75438" y="289750"/>
                    <a:pt x="85249" y="293941"/>
                  </a:cubicBezTo>
                  <a:cubicBezTo>
                    <a:pt x="95059" y="298132"/>
                    <a:pt x="105442" y="300228"/>
                    <a:pt x="116491" y="300228"/>
                  </a:cubicBezTo>
                  <a:close/>
                </a:path>
              </a:pathLst>
            </a:custGeom>
            <a:solidFill>
              <a:srgbClr val="44505E"/>
            </a:solidFill>
            <a:ln w="9525" cap="flat">
              <a:noFill/>
              <a:prstDash val="solid"/>
              <a:miter/>
            </a:ln>
          </p:spPr>
          <p:txBody>
            <a:bodyPr rtlCol="0" anchor="ctr"/>
            <a:lstStyle/>
            <a:p>
              <a:endParaRPr lang="pt-BR" noProof="0"/>
            </a:p>
          </p:txBody>
        </p:sp>
        <p:sp>
          <p:nvSpPr>
            <p:cNvPr id="39" name="Freeform: Shape 38">
              <a:extLst>
                <a:ext uri="{FF2B5EF4-FFF2-40B4-BE49-F238E27FC236}">
                  <a16:creationId xmlns:a16="http://schemas.microsoft.com/office/drawing/2014/main" id="{6AFF9147-325F-9172-6158-B9BD6D4C7B0A}"/>
                </a:ext>
              </a:extLst>
            </p:cNvPr>
            <p:cNvSpPr/>
            <p:nvPr/>
          </p:nvSpPr>
          <p:spPr>
            <a:xfrm>
              <a:off x="5596504"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6963 w 218217"/>
                <a:gd name="connsiteY3" fmla="*/ 206026 h 241077"/>
                <a:gd name="connsiteX4" fmla="*/ 116015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8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1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452 w 218217"/>
                <a:gd name="connsiteY25" fmla="*/ 106299 h 241077"/>
                <a:gd name="connsiteX26" fmla="*/ 176784 w 218217"/>
                <a:gd name="connsiteY26" fmla="*/ 76771 h 241077"/>
                <a:gd name="connsiteX27" fmla="*/ 162306 w 218217"/>
                <a:gd name="connsiteY27" fmla="*/ 52101 h 241077"/>
                <a:gd name="connsiteX28" fmla="*/ 140018 w 218217"/>
                <a:gd name="connsiteY28" fmla="*/ 35242 h 241077"/>
                <a:gd name="connsiteX29" fmla="*/ 109919 w 218217"/>
                <a:gd name="connsiteY29" fmla="*/ 29051 h 241077"/>
                <a:gd name="connsiteX30" fmla="*/ 82201 w 218217"/>
                <a:gd name="connsiteY30" fmla="*/ 34766 h 241077"/>
                <a:gd name="connsiteX31" fmla="*/ 59436 w 218217"/>
                <a:gd name="connsiteY31" fmla="*/ 50959 h 241077"/>
                <a:gd name="connsiteX32" fmla="*/ 43148 w 218217"/>
                <a:gd name="connsiteY32" fmla="*/ 75628 h 241077"/>
                <a:gd name="connsiteX33" fmla="*/ 34862 w 218217"/>
                <a:gd name="connsiteY33" fmla="*/ 106204 h 241077"/>
                <a:gd name="connsiteX34" fmla="*/ 183547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724" y="202597"/>
                    <a:pt x="86963" y="206026"/>
                  </a:cubicBezTo>
                  <a:cubicBezTo>
                    <a:pt x="96203" y="209455"/>
                    <a:pt x="105823" y="211169"/>
                    <a:pt x="116015" y="211169"/>
                  </a:cubicBezTo>
                  <a:cubicBezTo>
                    <a:pt x="132112" y="211169"/>
                    <a:pt x="145828" y="208216"/>
                    <a:pt x="157353" y="202216"/>
                  </a:cubicBezTo>
                  <a:cubicBezTo>
                    <a:pt x="168783" y="196310"/>
                    <a:pt x="179261" y="188404"/>
                    <a:pt x="188786" y="178594"/>
                  </a:cubicBezTo>
                  <a:lnTo>
                    <a:pt x="210217" y="197834"/>
                  </a:lnTo>
                  <a:cubicBezTo>
                    <a:pt x="198596" y="210979"/>
                    <a:pt x="185357" y="221361"/>
                    <a:pt x="170498" y="229267"/>
                  </a:cubicBezTo>
                  <a:cubicBezTo>
                    <a:pt x="155639"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679" y="0"/>
                    <a:pt x="110681"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452" y="106299"/>
                  </a:moveTo>
                  <a:cubicBezTo>
                    <a:pt x="182594" y="95917"/>
                    <a:pt x="180308" y="86106"/>
                    <a:pt x="176784" y="76771"/>
                  </a:cubicBezTo>
                  <a:cubicBezTo>
                    <a:pt x="173165" y="67437"/>
                    <a:pt x="168402" y="59245"/>
                    <a:pt x="162306" y="52101"/>
                  </a:cubicBezTo>
                  <a:cubicBezTo>
                    <a:pt x="156210" y="44958"/>
                    <a:pt x="148781" y="39338"/>
                    <a:pt x="140018" y="35242"/>
                  </a:cubicBezTo>
                  <a:cubicBezTo>
                    <a:pt x="131254" y="31147"/>
                    <a:pt x="121158" y="29051"/>
                    <a:pt x="109919" y="29051"/>
                  </a:cubicBezTo>
                  <a:cubicBezTo>
                    <a:pt x="100108" y="29051"/>
                    <a:pt x="90869" y="30956"/>
                    <a:pt x="82201" y="34766"/>
                  </a:cubicBezTo>
                  <a:cubicBezTo>
                    <a:pt x="73533" y="38671"/>
                    <a:pt x="66008" y="44005"/>
                    <a:pt x="59436" y="50959"/>
                  </a:cubicBezTo>
                  <a:cubicBezTo>
                    <a:pt x="52864" y="57912"/>
                    <a:pt x="47435" y="66103"/>
                    <a:pt x="43148" y="75628"/>
                  </a:cubicBezTo>
                  <a:cubicBezTo>
                    <a:pt x="38862" y="85058"/>
                    <a:pt x="36100" y="95345"/>
                    <a:pt x="34862" y="106204"/>
                  </a:cubicBezTo>
                  <a:lnTo>
                    <a:pt x="183547" y="106204"/>
                  </a:lnTo>
                  <a:close/>
                </a:path>
              </a:pathLst>
            </a:custGeom>
            <a:solidFill>
              <a:srgbClr val="44505E"/>
            </a:solidFill>
            <a:ln w="9525" cap="flat">
              <a:noFill/>
              <a:prstDash val="solid"/>
              <a:miter/>
            </a:ln>
          </p:spPr>
          <p:txBody>
            <a:bodyPr rtlCol="0" anchor="ctr"/>
            <a:lstStyle/>
            <a:p>
              <a:endParaRPr lang="pt-BR" noProof="0"/>
            </a:p>
          </p:txBody>
        </p:sp>
        <p:sp>
          <p:nvSpPr>
            <p:cNvPr id="40" name="Freeform: Shape 39">
              <a:extLst>
                <a:ext uri="{FF2B5EF4-FFF2-40B4-BE49-F238E27FC236}">
                  <a16:creationId xmlns:a16="http://schemas.microsoft.com/office/drawing/2014/main" id="{ECC2DDFF-7A4C-DF55-A328-B8BD1792A597}"/>
                </a:ext>
              </a:extLst>
            </p:cNvPr>
            <p:cNvSpPr/>
            <p:nvPr/>
          </p:nvSpPr>
          <p:spPr>
            <a:xfrm>
              <a:off x="5661680" y="924268"/>
              <a:ext cx="44656" cy="60195"/>
            </a:xfrm>
            <a:custGeom>
              <a:avLst/>
              <a:gdLst>
                <a:gd name="connsiteX0" fmla="*/ 95536 w 177641"/>
                <a:gd name="connsiteY0" fmla="*/ 239268 h 239458"/>
                <a:gd name="connsiteX1" fmla="*/ 45053 w 177641"/>
                <a:gd name="connsiteY1" fmla="*/ 230124 h 239458"/>
                <a:gd name="connsiteX2" fmla="*/ 0 w 177641"/>
                <a:gd name="connsiteY2" fmla="*/ 205359 h 239458"/>
                <a:gd name="connsiteX3" fmla="*/ 17431 w 177641"/>
                <a:gd name="connsiteY3" fmla="*/ 180785 h 239458"/>
                <a:gd name="connsiteX4" fmla="*/ 56483 w 177641"/>
                <a:gd name="connsiteY4" fmla="*/ 202692 h 239458"/>
                <a:gd name="connsiteX5" fmla="*/ 97346 w 177641"/>
                <a:gd name="connsiteY5" fmla="*/ 210217 h 239458"/>
                <a:gd name="connsiteX6" fmla="*/ 131731 w 177641"/>
                <a:gd name="connsiteY6" fmla="*/ 200406 h 239458"/>
                <a:gd name="connsiteX7" fmla="*/ 145161 w 177641"/>
                <a:gd name="connsiteY7" fmla="*/ 173641 h 239458"/>
                <a:gd name="connsiteX8" fmla="*/ 145161 w 177641"/>
                <a:gd name="connsiteY8" fmla="*/ 172784 h 239458"/>
                <a:gd name="connsiteX9" fmla="*/ 140494 w 177641"/>
                <a:gd name="connsiteY9" fmla="*/ 158020 h 239458"/>
                <a:gd name="connsiteX10" fmla="*/ 127730 w 177641"/>
                <a:gd name="connsiteY10" fmla="*/ 147066 h 239458"/>
                <a:gd name="connsiteX11" fmla="*/ 109157 w 177641"/>
                <a:gd name="connsiteY11" fmla="*/ 138779 h 239458"/>
                <a:gd name="connsiteX12" fmla="*/ 87535 w 177641"/>
                <a:gd name="connsiteY12" fmla="*/ 132112 h 239458"/>
                <a:gd name="connsiteX13" fmla="*/ 60484 w 177641"/>
                <a:gd name="connsiteY13" fmla="*/ 123444 h 239458"/>
                <a:gd name="connsiteX14" fmla="*/ 35909 w 177641"/>
                <a:gd name="connsiteY14" fmla="*/ 111633 h 239458"/>
                <a:gd name="connsiteX15" fmla="*/ 18098 w 177641"/>
                <a:gd name="connsiteY15" fmla="*/ 93726 h 239458"/>
                <a:gd name="connsiteX16" fmla="*/ 11144 w 177641"/>
                <a:gd name="connsiteY16" fmla="*/ 66961 h 239458"/>
                <a:gd name="connsiteX17" fmla="*/ 11144 w 177641"/>
                <a:gd name="connsiteY17" fmla="*/ 66008 h 239458"/>
                <a:gd name="connsiteX18" fmla="*/ 16954 w 177641"/>
                <a:gd name="connsiteY18" fmla="*/ 39053 h 239458"/>
                <a:gd name="connsiteX19" fmla="*/ 33242 w 177641"/>
                <a:gd name="connsiteY19" fmla="*/ 18098 h 239458"/>
                <a:gd name="connsiteX20" fmla="*/ 58293 w 177641"/>
                <a:gd name="connsiteY20" fmla="*/ 4667 h 239458"/>
                <a:gd name="connsiteX21" fmla="*/ 89725 w 177641"/>
                <a:gd name="connsiteY21" fmla="*/ 0 h 239458"/>
                <a:gd name="connsiteX22" fmla="*/ 133064 w 177641"/>
                <a:gd name="connsiteY22" fmla="*/ 6953 h 239458"/>
                <a:gd name="connsiteX23" fmla="*/ 172784 w 177641"/>
                <a:gd name="connsiteY23" fmla="*/ 25527 h 239458"/>
                <a:gd name="connsiteX24" fmla="*/ 157163 w 177641"/>
                <a:gd name="connsiteY24" fmla="*/ 51435 h 239458"/>
                <a:gd name="connsiteX25" fmla="*/ 123444 w 177641"/>
                <a:gd name="connsiteY25" fmla="*/ 35147 h 239458"/>
                <a:gd name="connsiteX26" fmla="*/ 88868 w 177641"/>
                <a:gd name="connsiteY26" fmla="*/ 29146 h 239458"/>
                <a:gd name="connsiteX27" fmla="*/ 56293 w 177641"/>
                <a:gd name="connsiteY27" fmla="*/ 38767 h 239458"/>
                <a:gd name="connsiteX28" fmla="*/ 44196 w 177641"/>
                <a:gd name="connsiteY28" fmla="*/ 62675 h 239458"/>
                <a:gd name="connsiteX29" fmla="*/ 44196 w 177641"/>
                <a:gd name="connsiteY29" fmla="*/ 63627 h 239458"/>
                <a:gd name="connsiteX30" fmla="*/ 49149 w 177641"/>
                <a:gd name="connsiteY30" fmla="*/ 77724 h 239458"/>
                <a:gd name="connsiteX31" fmla="*/ 62294 w 177641"/>
                <a:gd name="connsiteY31" fmla="*/ 88202 h 239458"/>
                <a:gd name="connsiteX32" fmla="*/ 81248 w 177641"/>
                <a:gd name="connsiteY32" fmla="*/ 96203 h 239458"/>
                <a:gd name="connsiteX33" fmla="*/ 103537 w 177641"/>
                <a:gd name="connsiteY33" fmla="*/ 103346 h 239458"/>
                <a:gd name="connsiteX34" fmla="*/ 130112 w 177641"/>
                <a:gd name="connsiteY34" fmla="*/ 112300 h 239458"/>
                <a:gd name="connsiteX35" fmla="*/ 154019 w 177641"/>
                <a:gd name="connsiteY35" fmla="*/ 124778 h 239458"/>
                <a:gd name="connsiteX36" fmla="*/ 171164 w 177641"/>
                <a:gd name="connsiteY36" fmla="*/ 143066 h 239458"/>
                <a:gd name="connsiteX37" fmla="*/ 177641 w 177641"/>
                <a:gd name="connsiteY37" fmla="*/ 169450 h 239458"/>
                <a:gd name="connsiteX38" fmla="*/ 177641 w 177641"/>
                <a:gd name="connsiteY38" fmla="*/ 170307 h 239458"/>
                <a:gd name="connsiteX39" fmla="*/ 171164 w 177641"/>
                <a:gd name="connsiteY39" fmla="*/ 199549 h 239458"/>
                <a:gd name="connsiteX40" fmla="*/ 153734 w 177641"/>
                <a:gd name="connsiteY40" fmla="*/ 221171 h 239458"/>
                <a:gd name="connsiteX41" fmla="*/ 127825 w 177641"/>
                <a:gd name="connsiteY41" fmla="*/ 234791 h 239458"/>
                <a:gd name="connsiteX42" fmla="*/ 95441 w 177641"/>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641" h="239458">
                  <a:moveTo>
                    <a:pt x="95536" y="239268"/>
                  </a:moveTo>
                  <a:cubicBezTo>
                    <a:pt x="78867" y="239268"/>
                    <a:pt x="62008" y="236220"/>
                    <a:pt x="45053" y="230124"/>
                  </a:cubicBezTo>
                  <a:cubicBezTo>
                    <a:pt x="28099" y="224028"/>
                    <a:pt x="13049" y="215741"/>
                    <a:pt x="0" y="205359"/>
                  </a:cubicBezTo>
                  <a:lnTo>
                    <a:pt x="17431" y="180785"/>
                  </a:lnTo>
                  <a:cubicBezTo>
                    <a:pt x="29908"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542" y="162211"/>
                    <a:pt x="140494" y="158020"/>
                  </a:cubicBezTo>
                  <a:cubicBezTo>
                    <a:pt x="137350" y="153829"/>
                    <a:pt x="133160" y="150209"/>
                    <a:pt x="127730" y="147066"/>
                  </a:cubicBezTo>
                  <a:cubicBezTo>
                    <a:pt x="122396" y="143923"/>
                    <a:pt x="116205" y="141161"/>
                    <a:pt x="109157" y="138779"/>
                  </a:cubicBezTo>
                  <a:cubicBezTo>
                    <a:pt x="102203" y="136398"/>
                    <a:pt x="94964" y="134207"/>
                    <a:pt x="87535" y="132112"/>
                  </a:cubicBezTo>
                  <a:cubicBezTo>
                    <a:pt x="78581" y="129445"/>
                    <a:pt x="69628" y="126492"/>
                    <a:pt x="60484" y="123444"/>
                  </a:cubicBezTo>
                  <a:cubicBezTo>
                    <a:pt x="51435" y="120301"/>
                    <a:pt x="43244" y="116396"/>
                    <a:pt x="35909" y="111633"/>
                  </a:cubicBezTo>
                  <a:cubicBezTo>
                    <a:pt x="28575" y="106871"/>
                    <a:pt x="22670" y="100870"/>
                    <a:pt x="18098" y="93726"/>
                  </a:cubicBezTo>
                  <a:cubicBezTo>
                    <a:pt x="13525" y="86582"/>
                    <a:pt x="11144" y="77629"/>
                    <a:pt x="11144" y="66961"/>
                  </a:cubicBezTo>
                  <a:lnTo>
                    <a:pt x="11144" y="66008"/>
                  </a:lnTo>
                  <a:cubicBezTo>
                    <a:pt x="11144" y="56198"/>
                    <a:pt x="13049" y="47149"/>
                    <a:pt x="16954" y="39053"/>
                  </a:cubicBezTo>
                  <a:cubicBezTo>
                    <a:pt x="20860" y="30861"/>
                    <a:pt x="26289" y="23908"/>
                    <a:pt x="33242" y="18098"/>
                  </a:cubicBezTo>
                  <a:cubicBezTo>
                    <a:pt x="40196" y="12287"/>
                    <a:pt x="48578" y="7811"/>
                    <a:pt x="58293" y="4667"/>
                  </a:cubicBezTo>
                  <a:cubicBezTo>
                    <a:pt x="67913" y="1524"/>
                    <a:pt x="78486" y="0"/>
                    <a:pt x="89725" y="0"/>
                  </a:cubicBezTo>
                  <a:cubicBezTo>
                    <a:pt x="104013" y="0"/>
                    <a:pt x="118396" y="2286"/>
                    <a:pt x="133064" y="6953"/>
                  </a:cubicBezTo>
                  <a:cubicBezTo>
                    <a:pt x="147638" y="11621"/>
                    <a:pt x="160877" y="17717"/>
                    <a:pt x="172784" y="25527"/>
                  </a:cubicBezTo>
                  <a:lnTo>
                    <a:pt x="157163" y="51435"/>
                  </a:lnTo>
                  <a:cubicBezTo>
                    <a:pt x="146399" y="44577"/>
                    <a:pt x="135255" y="39148"/>
                    <a:pt x="123444" y="35147"/>
                  </a:cubicBezTo>
                  <a:cubicBezTo>
                    <a:pt x="111728" y="31147"/>
                    <a:pt x="100203" y="29146"/>
                    <a:pt x="88868" y="29146"/>
                  </a:cubicBezTo>
                  <a:cubicBezTo>
                    <a:pt x="75152" y="29146"/>
                    <a:pt x="64294" y="32385"/>
                    <a:pt x="56293" y="38767"/>
                  </a:cubicBezTo>
                  <a:cubicBezTo>
                    <a:pt x="48292" y="45149"/>
                    <a:pt x="44196" y="53150"/>
                    <a:pt x="44196" y="62675"/>
                  </a:cubicBezTo>
                  <a:lnTo>
                    <a:pt x="44196" y="63627"/>
                  </a:lnTo>
                  <a:cubicBezTo>
                    <a:pt x="44196" y="68961"/>
                    <a:pt x="45815" y="73628"/>
                    <a:pt x="49149" y="77724"/>
                  </a:cubicBezTo>
                  <a:cubicBezTo>
                    <a:pt x="52388" y="81725"/>
                    <a:pt x="56769" y="85249"/>
                    <a:pt x="62294" y="88202"/>
                  </a:cubicBezTo>
                  <a:cubicBezTo>
                    <a:pt x="67818" y="91154"/>
                    <a:pt x="74104" y="93821"/>
                    <a:pt x="81248" y="96203"/>
                  </a:cubicBezTo>
                  <a:cubicBezTo>
                    <a:pt x="88392" y="98584"/>
                    <a:pt x="95821" y="100965"/>
                    <a:pt x="103537" y="103346"/>
                  </a:cubicBezTo>
                  <a:cubicBezTo>
                    <a:pt x="112490" y="106013"/>
                    <a:pt x="121349" y="108966"/>
                    <a:pt x="130112" y="112300"/>
                  </a:cubicBezTo>
                  <a:cubicBezTo>
                    <a:pt x="138875" y="115538"/>
                    <a:pt x="146875" y="119729"/>
                    <a:pt x="154019" y="124778"/>
                  </a:cubicBezTo>
                  <a:cubicBezTo>
                    <a:pt x="161163" y="129826"/>
                    <a:pt x="166878" y="135922"/>
                    <a:pt x="171164" y="143066"/>
                  </a:cubicBezTo>
                  <a:cubicBezTo>
                    <a:pt x="175450" y="150209"/>
                    <a:pt x="177641" y="158972"/>
                    <a:pt x="177641" y="169450"/>
                  </a:cubicBezTo>
                  <a:lnTo>
                    <a:pt x="177641" y="170307"/>
                  </a:lnTo>
                  <a:cubicBezTo>
                    <a:pt x="177641" y="181356"/>
                    <a:pt x="175450" y="191071"/>
                    <a:pt x="171164" y="199549"/>
                  </a:cubicBezTo>
                  <a:cubicBezTo>
                    <a:pt x="166878" y="208026"/>
                    <a:pt x="161068" y="215265"/>
                    <a:pt x="153734" y="221171"/>
                  </a:cubicBezTo>
                  <a:cubicBezTo>
                    <a:pt x="146495" y="227171"/>
                    <a:pt x="137827" y="231648"/>
                    <a:pt x="127825" y="234791"/>
                  </a:cubicBezTo>
                  <a:cubicBezTo>
                    <a:pt x="117824" y="237935"/>
                    <a:pt x="107061" y="239459"/>
                    <a:pt x="95441" y="239459"/>
                  </a:cubicBezTo>
                  <a:close/>
                </a:path>
              </a:pathLst>
            </a:custGeom>
            <a:solidFill>
              <a:srgbClr val="44505E"/>
            </a:solidFill>
            <a:ln w="9525" cap="flat">
              <a:noFill/>
              <a:prstDash val="solid"/>
              <a:miter/>
            </a:ln>
          </p:spPr>
          <p:txBody>
            <a:bodyPr rtlCol="0" anchor="ctr"/>
            <a:lstStyle/>
            <a:p>
              <a:endParaRPr lang="pt-BR" noProof="0"/>
            </a:p>
          </p:txBody>
        </p:sp>
        <p:sp>
          <p:nvSpPr>
            <p:cNvPr id="41" name="Freeform: Shape 40">
              <a:extLst>
                <a:ext uri="{FF2B5EF4-FFF2-40B4-BE49-F238E27FC236}">
                  <a16:creationId xmlns:a16="http://schemas.microsoft.com/office/drawing/2014/main" id="{3528CBE0-C29F-53D6-0F4B-80DEA4CF0654}"/>
                </a:ext>
              </a:extLst>
            </p:cNvPr>
            <p:cNvSpPr/>
            <p:nvPr/>
          </p:nvSpPr>
          <p:spPr>
            <a:xfrm>
              <a:off x="5752668" y="924028"/>
              <a:ext cx="58567" cy="77196"/>
            </a:xfrm>
            <a:custGeom>
              <a:avLst/>
              <a:gdLst>
                <a:gd name="connsiteX0" fmla="*/ 198596 w 232981"/>
                <a:gd name="connsiteY0" fmla="*/ 189357 h 307085"/>
                <a:gd name="connsiteX1" fmla="*/ 182785 w 232981"/>
                <a:gd name="connsiteY1" fmla="*/ 208978 h 307085"/>
                <a:gd name="connsiteX2" fmla="*/ 163354 w 232981"/>
                <a:gd name="connsiteY2" fmla="*/ 225552 h 307085"/>
                <a:gd name="connsiteX3" fmla="*/ 139446 w 232981"/>
                <a:gd name="connsiteY3" fmla="*/ 236696 h 307085"/>
                <a:gd name="connsiteX4" fmla="*/ 110204 w 232981"/>
                <a:gd name="connsiteY4" fmla="*/ 240697 h 307085"/>
                <a:gd name="connsiteX5" fmla="*/ 69628 w 232981"/>
                <a:gd name="connsiteY5" fmla="*/ 232696 h 307085"/>
                <a:gd name="connsiteX6" fmla="*/ 34385 w 232981"/>
                <a:gd name="connsiteY6" fmla="*/ 209264 h 307085"/>
                <a:gd name="connsiteX7" fmla="*/ 9335 w 232981"/>
                <a:gd name="connsiteY7" fmla="*/ 171736 h 307085"/>
                <a:gd name="connsiteX8" fmla="*/ 0 w 232981"/>
                <a:gd name="connsiteY8" fmla="*/ 121063 h 307085"/>
                <a:gd name="connsiteX9" fmla="*/ 0 w 232981"/>
                <a:gd name="connsiteY9" fmla="*/ 120205 h 307085"/>
                <a:gd name="connsiteX10" fmla="*/ 9335 w 232981"/>
                <a:gd name="connsiteY10" fmla="*/ 69723 h 307085"/>
                <a:gd name="connsiteX11" fmla="*/ 34385 w 232981"/>
                <a:gd name="connsiteY11" fmla="*/ 32004 h 307085"/>
                <a:gd name="connsiteX12" fmla="*/ 69628 w 232981"/>
                <a:gd name="connsiteY12" fmla="*/ 8287 h 307085"/>
                <a:gd name="connsiteX13" fmla="*/ 110204 w 232981"/>
                <a:gd name="connsiteY13" fmla="*/ 0 h 307085"/>
                <a:gd name="connsiteX14" fmla="*/ 139637 w 232981"/>
                <a:gd name="connsiteY14" fmla="*/ 4000 h 307085"/>
                <a:gd name="connsiteX15" fmla="*/ 163735 w 232981"/>
                <a:gd name="connsiteY15" fmla="*/ 14668 h 307085"/>
                <a:gd name="connsiteX16" fmla="*/ 183166 w 232981"/>
                <a:gd name="connsiteY16" fmla="*/ 30289 h 307085"/>
                <a:gd name="connsiteX17" fmla="*/ 198596 w 232981"/>
                <a:gd name="connsiteY17" fmla="*/ 49054 h 307085"/>
                <a:gd name="connsiteX18" fmla="*/ 198596 w 232981"/>
                <a:gd name="connsiteY18" fmla="*/ 4858 h 307085"/>
                <a:gd name="connsiteX19" fmla="*/ 232982 w 232981"/>
                <a:gd name="connsiteY19" fmla="*/ 4858 h 307085"/>
                <a:gd name="connsiteX20" fmla="*/ 232982 w 232981"/>
                <a:gd name="connsiteY20" fmla="*/ 307086 h 307085"/>
                <a:gd name="connsiteX21" fmla="*/ 198596 w 232981"/>
                <a:gd name="connsiteY21" fmla="*/ 307086 h 307085"/>
                <a:gd name="connsiteX22" fmla="*/ 198596 w 232981"/>
                <a:gd name="connsiteY22" fmla="*/ 189262 h 307085"/>
                <a:gd name="connsiteX23" fmla="*/ 116491 w 232981"/>
                <a:gd name="connsiteY23" fmla="*/ 209931 h 307085"/>
                <a:gd name="connsiteX24" fmla="*/ 147542 w 232981"/>
                <a:gd name="connsiteY24" fmla="*/ 203454 h 307085"/>
                <a:gd name="connsiteX25" fmla="*/ 174308 w 232981"/>
                <a:gd name="connsiteY25" fmla="*/ 185166 h 307085"/>
                <a:gd name="connsiteX26" fmla="*/ 193072 w 232981"/>
                <a:gd name="connsiteY26" fmla="*/ 157067 h 307085"/>
                <a:gd name="connsiteX27" fmla="*/ 200025 w 232981"/>
                <a:gd name="connsiteY27" fmla="*/ 120682 h 307085"/>
                <a:gd name="connsiteX28" fmla="*/ 200025 w 232981"/>
                <a:gd name="connsiteY28" fmla="*/ 119824 h 307085"/>
                <a:gd name="connsiteX29" fmla="*/ 193072 w 232981"/>
                <a:gd name="connsiteY29" fmla="*/ 83439 h 307085"/>
                <a:gd name="connsiteX30" fmla="*/ 174308 w 232981"/>
                <a:gd name="connsiteY30" fmla="*/ 55531 h 307085"/>
                <a:gd name="connsiteX31" fmla="*/ 147542 w 232981"/>
                <a:gd name="connsiteY31" fmla="*/ 37433 h 307085"/>
                <a:gd name="connsiteX32" fmla="*/ 116491 w 232981"/>
                <a:gd name="connsiteY32" fmla="*/ 30956 h 307085"/>
                <a:gd name="connsiteX33" fmla="*/ 84773 w 232981"/>
                <a:gd name="connsiteY33" fmla="*/ 36957 h 307085"/>
                <a:gd name="connsiteX34" fmla="*/ 59150 w 232981"/>
                <a:gd name="connsiteY34" fmla="*/ 54388 h 307085"/>
                <a:gd name="connsiteX35" fmla="*/ 41720 w 232981"/>
                <a:gd name="connsiteY35" fmla="*/ 82296 h 307085"/>
                <a:gd name="connsiteX36" fmla="*/ 35242 w 232981"/>
                <a:gd name="connsiteY36" fmla="*/ 119824 h 307085"/>
                <a:gd name="connsiteX37" fmla="*/ 35242 w 232981"/>
                <a:gd name="connsiteY37" fmla="*/ 120682 h 307085"/>
                <a:gd name="connsiteX38" fmla="*/ 41720 w 232981"/>
                <a:gd name="connsiteY38" fmla="*/ 157734 h 307085"/>
                <a:gd name="connsiteX39" fmla="*/ 59341 w 232981"/>
                <a:gd name="connsiteY39" fmla="*/ 185833 h 307085"/>
                <a:gd name="connsiteX40" fmla="*/ 85249 w 232981"/>
                <a:gd name="connsiteY40" fmla="*/ 203740 h 307085"/>
                <a:gd name="connsiteX41" fmla="*/ 116491 w 232981"/>
                <a:gd name="connsiteY41" fmla="*/ 210026 h 30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07085">
                  <a:moveTo>
                    <a:pt x="198596" y="189357"/>
                  </a:moveTo>
                  <a:cubicBezTo>
                    <a:pt x="193834" y="196215"/>
                    <a:pt x="188595" y="202787"/>
                    <a:pt x="182785" y="208978"/>
                  </a:cubicBezTo>
                  <a:cubicBezTo>
                    <a:pt x="176975" y="215265"/>
                    <a:pt x="170498" y="220789"/>
                    <a:pt x="163354" y="225552"/>
                  </a:cubicBezTo>
                  <a:cubicBezTo>
                    <a:pt x="156210" y="230314"/>
                    <a:pt x="148209" y="234029"/>
                    <a:pt x="139446" y="236696"/>
                  </a:cubicBezTo>
                  <a:cubicBezTo>
                    <a:pt x="130683" y="239363"/>
                    <a:pt x="120967" y="240697"/>
                    <a:pt x="110204" y="240697"/>
                  </a:cubicBezTo>
                  <a:cubicBezTo>
                    <a:pt x="96203" y="240697"/>
                    <a:pt x="82677" y="238030"/>
                    <a:pt x="69628" y="232696"/>
                  </a:cubicBezTo>
                  <a:cubicBezTo>
                    <a:pt x="56579" y="227362"/>
                    <a:pt x="44767" y="219551"/>
                    <a:pt x="34385" y="209264"/>
                  </a:cubicBezTo>
                  <a:cubicBezTo>
                    <a:pt x="24003" y="198977"/>
                    <a:pt x="15621" y="186499"/>
                    <a:pt x="9335" y="171736"/>
                  </a:cubicBezTo>
                  <a:cubicBezTo>
                    <a:pt x="3048" y="156972"/>
                    <a:pt x="0" y="140113"/>
                    <a:pt x="0" y="121063"/>
                  </a:cubicBezTo>
                  <a:lnTo>
                    <a:pt x="0" y="120205"/>
                  </a:lnTo>
                  <a:cubicBezTo>
                    <a:pt x="0" y="101441"/>
                    <a:pt x="3143" y="84677"/>
                    <a:pt x="9335" y="69723"/>
                  </a:cubicBezTo>
                  <a:cubicBezTo>
                    <a:pt x="15621" y="54864"/>
                    <a:pt x="23908" y="42291"/>
                    <a:pt x="34385" y="32004"/>
                  </a:cubicBezTo>
                  <a:cubicBezTo>
                    <a:pt x="44767" y="21717"/>
                    <a:pt x="56579" y="13811"/>
                    <a:pt x="69628" y="8287"/>
                  </a:cubicBezTo>
                  <a:cubicBezTo>
                    <a:pt x="82677" y="2762"/>
                    <a:pt x="96298" y="0"/>
                    <a:pt x="110204" y="0"/>
                  </a:cubicBezTo>
                  <a:cubicBezTo>
                    <a:pt x="120967" y="0"/>
                    <a:pt x="130778" y="1333"/>
                    <a:pt x="139637" y="4000"/>
                  </a:cubicBezTo>
                  <a:cubicBezTo>
                    <a:pt x="148590" y="6667"/>
                    <a:pt x="156591" y="10287"/>
                    <a:pt x="163735" y="14668"/>
                  </a:cubicBezTo>
                  <a:cubicBezTo>
                    <a:pt x="170879" y="19145"/>
                    <a:pt x="177356" y="24384"/>
                    <a:pt x="183166" y="30289"/>
                  </a:cubicBezTo>
                  <a:cubicBezTo>
                    <a:pt x="188976" y="36290"/>
                    <a:pt x="194120" y="42481"/>
                    <a:pt x="198596" y="49054"/>
                  </a:cubicBezTo>
                  <a:lnTo>
                    <a:pt x="198596" y="4858"/>
                  </a:lnTo>
                  <a:lnTo>
                    <a:pt x="232982" y="4858"/>
                  </a:lnTo>
                  <a:lnTo>
                    <a:pt x="232982" y="307086"/>
                  </a:lnTo>
                  <a:lnTo>
                    <a:pt x="198596" y="307086"/>
                  </a:lnTo>
                  <a:lnTo>
                    <a:pt x="198596" y="189262"/>
                  </a:lnTo>
                  <a:close/>
                  <a:moveTo>
                    <a:pt x="116491" y="209931"/>
                  </a:moveTo>
                  <a:cubicBezTo>
                    <a:pt x="127159" y="209931"/>
                    <a:pt x="137541" y="207740"/>
                    <a:pt x="147542" y="203454"/>
                  </a:cubicBezTo>
                  <a:cubicBezTo>
                    <a:pt x="157544" y="199168"/>
                    <a:pt x="166402" y="193072"/>
                    <a:pt x="174308" y="185166"/>
                  </a:cubicBezTo>
                  <a:cubicBezTo>
                    <a:pt x="182213" y="177260"/>
                    <a:pt x="188404" y="167926"/>
                    <a:pt x="193072" y="157067"/>
                  </a:cubicBezTo>
                  <a:cubicBezTo>
                    <a:pt x="197739" y="146209"/>
                    <a:pt x="200025" y="134112"/>
                    <a:pt x="200025" y="120682"/>
                  </a:cubicBezTo>
                  <a:lnTo>
                    <a:pt x="200025" y="119824"/>
                  </a:lnTo>
                  <a:cubicBezTo>
                    <a:pt x="200025" y="106394"/>
                    <a:pt x="197739" y="94297"/>
                    <a:pt x="193072" y="83439"/>
                  </a:cubicBezTo>
                  <a:cubicBezTo>
                    <a:pt x="188500" y="72580"/>
                    <a:pt x="182213" y="63246"/>
                    <a:pt x="174308" y="55531"/>
                  </a:cubicBezTo>
                  <a:cubicBezTo>
                    <a:pt x="166402" y="47815"/>
                    <a:pt x="157544" y="41815"/>
                    <a:pt x="147542" y="37433"/>
                  </a:cubicBezTo>
                  <a:cubicBezTo>
                    <a:pt x="137541" y="33147"/>
                    <a:pt x="127254" y="30956"/>
                    <a:pt x="116491" y="30956"/>
                  </a:cubicBezTo>
                  <a:cubicBezTo>
                    <a:pt x="105156" y="30956"/>
                    <a:pt x="94583" y="32956"/>
                    <a:pt x="84773" y="36957"/>
                  </a:cubicBezTo>
                  <a:cubicBezTo>
                    <a:pt x="74962" y="40957"/>
                    <a:pt x="66389" y="46767"/>
                    <a:pt x="59150" y="54388"/>
                  </a:cubicBezTo>
                  <a:cubicBezTo>
                    <a:pt x="51816" y="61913"/>
                    <a:pt x="46101" y="71247"/>
                    <a:pt x="41720" y="82296"/>
                  </a:cubicBezTo>
                  <a:cubicBezTo>
                    <a:pt x="37433" y="93250"/>
                    <a:pt x="35242" y="105823"/>
                    <a:pt x="35242" y="119824"/>
                  </a:cubicBezTo>
                  <a:lnTo>
                    <a:pt x="35242" y="120682"/>
                  </a:lnTo>
                  <a:cubicBezTo>
                    <a:pt x="35242" y="134398"/>
                    <a:pt x="37433" y="146780"/>
                    <a:pt x="41720" y="157734"/>
                  </a:cubicBezTo>
                  <a:cubicBezTo>
                    <a:pt x="46006" y="168783"/>
                    <a:pt x="51911" y="178117"/>
                    <a:pt x="59341" y="185833"/>
                  </a:cubicBezTo>
                  <a:cubicBezTo>
                    <a:pt x="66770" y="193548"/>
                    <a:pt x="75438" y="199549"/>
                    <a:pt x="85249" y="203740"/>
                  </a:cubicBezTo>
                  <a:cubicBezTo>
                    <a:pt x="95060" y="207931"/>
                    <a:pt x="105442" y="210026"/>
                    <a:pt x="116491" y="210026"/>
                  </a:cubicBezTo>
                  <a:close/>
                </a:path>
              </a:pathLst>
            </a:custGeom>
            <a:solidFill>
              <a:srgbClr val="44505E"/>
            </a:solidFill>
            <a:ln w="9525" cap="flat">
              <a:noFill/>
              <a:prstDash val="solid"/>
              <a:miter/>
            </a:ln>
          </p:spPr>
          <p:txBody>
            <a:bodyPr rtlCol="0" anchor="ctr"/>
            <a:lstStyle/>
            <a:p>
              <a:endParaRPr lang="pt-BR" noProof="0"/>
            </a:p>
          </p:txBody>
        </p:sp>
        <p:sp>
          <p:nvSpPr>
            <p:cNvPr id="42" name="Freeform: Shape 41">
              <a:extLst>
                <a:ext uri="{FF2B5EF4-FFF2-40B4-BE49-F238E27FC236}">
                  <a16:creationId xmlns:a16="http://schemas.microsoft.com/office/drawing/2014/main" id="{3DAD070D-6FA1-E26F-8222-A76F8405060E}"/>
                </a:ext>
              </a:extLst>
            </p:cNvPr>
            <p:cNvSpPr/>
            <p:nvPr/>
          </p:nvSpPr>
          <p:spPr>
            <a:xfrm>
              <a:off x="5829624" y="925297"/>
              <a:ext cx="50618" cy="59238"/>
            </a:xfrm>
            <a:custGeom>
              <a:avLst/>
              <a:gdLst>
                <a:gd name="connsiteX0" fmla="*/ 88392 w 201358"/>
                <a:gd name="connsiteY0" fmla="*/ 235648 h 235648"/>
                <a:gd name="connsiteX1" fmla="*/ 51149 w 201358"/>
                <a:gd name="connsiteY1" fmla="*/ 228981 h 235648"/>
                <a:gd name="connsiteX2" fmla="*/ 23432 w 201358"/>
                <a:gd name="connsiteY2" fmla="*/ 210026 h 235648"/>
                <a:gd name="connsiteX3" fmla="*/ 6001 w 201358"/>
                <a:gd name="connsiteY3" fmla="*/ 180784 h 235648"/>
                <a:gd name="connsiteX4" fmla="*/ 0 w 201358"/>
                <a:gd name="connsiteY4" fmla="*/ 143256 h 235648"/>
                <a:gd name="connsiteX5" fmla="*/ 0 w 201358"/>
                <a:gd name="connsiteY5" fmla="*/ 0 h 235648"/>
                <a:gd name="connsiteX6" fmla="*/ 34385 w 201358"/>
                <a:gd name="connsiteY6" fmla="*/ 0 h 235648"/>
                <a:gd name="connsiteX7" fmla="*/ 34385 w 201358"/>
                <a:gd name="connsiteY7" fmla="*/ 134493 h 235648"/>
                <a:gd name="connsiteX8" fmla="*/ 50959 w 201358"/>
                <a:gd name="connsiteY8" fmla="*/ 185261 h 235648"/>
                <a:gd name="connsiteX9" fmla="*/ 98298 w 201358"/>
                <a:gd name="connsiteY9" fmla="*/ 203930 h 235648"/>
                <a:gd name="connsiteX10" fmla="*/ 125730 w 201358"/>
                <a:gd name="connsiteY10" fmla="*/ 198787 h 235648"/>
                <a:gd name="connsiteX11" fmla="*/ 147638 w 201358"/>
                <a:gd name="connsiteY11" fmla="*/ 184118 h 235648"/>
                <a:gd name="connsiteX12" fmla="*/ 162116 w 201358"/>
                <a:gd name="connsiteY12" fmla="*/ 161163 h 235648"/>
                <a:gd name="connsiteX13" fmla="*/ 167450 w 201358"/>
                <a:gd name="connsiteY13" fmla="*/ 131826 h 235648"/>
                <a:gd name="connsiteX14" fmla="*/ 167450 w 201358"/>
                <a:gd name="connsiteY14" fmla="*/ 0 h 235648"/>
                <a:gd name="connsiteX15" fmla="*/ 201359 w 201358"/>
                <a:gd name="connsiteY15" fmla="*/ 0 h 235648"/>
                <a:gd name="connsiteX16" fmla="*/ 201359 w 201358"/>
                <a:gd name="connsiteY16" fmla="*/ 230791 h 235648"/>
                <a:gd name="connsiteX17" fmla="*/ 167450 w 201358"/>
                <a:gd name="connsiteY17" fmla="*/ 230791 h 235648"/>
                <a:gd name="connsiteX18" fmla="*/ 167450 w 201358"/>
                <a:gd name="connsiteY18" fmla="*/ 190595 h 235648"/>
                <a:gd name="connsiteX19" fmla="*/ 137065 w 201358"/>
                <a:gd name="connsiteY19" fmla="*/ 222504 h 235648"/>
                <a:gd name="connsiteX20" fmla="*/ 88392 w 201358"/>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358" h="235648">
                  <a:moveTo>
                    <a:pt x="88392" y="235648"/>
                  </a:moveTo>
                  <a:cubicBezTo>
                    <a:pt x="74390" y="235648"/>
                    <a:pt x="62008" y="233363"/>
                    <a:pt x="51149" y="228981"/>
                  </a:cubicBezTo>
                  <a:cubicBezTo>
                    <a:pt x="40291" y="224504"/>
                    <a:pt x="31052" y="218218"/>
                    <a:pt x="23432"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959" y="185261"/>
                  </a:cubicBezTo>
                  <a:cubicBezTo>
                    <a:pt x="61913" y="197739"/>
                    <a:pt x="77724" y="203930"/>
                    <a:pt x="98298" y="203930"/>
                  </a:cubicBezTo>
                  <a:cubicBezTo>
                    <a:pt x="108109" y="203930"/>
                    <a:pt x="117253" y="202216"/>
                    <a:pt x="125730" y="198787"/>
                  </a:cubicBezTo>
                  <a:cubicBezTo>
                    <a:pt x="134207" y="195358"/>
                    <a:pt x="141446" y="190500"/>
                    <a:pt x="147638" y="184118"/>
                  </a:cubicBezTo>
                  <a:cubicBezTo>
                    <a:pt x="153734" y="177736"/>
                    <a:pt x="158591" y="170116"/>
                    <a:pt x="162116" y="161163"/>
                  </a:cubicBezTo>
                  <a:cubicBezTo>
                    <a:pt x="165735" y="152305"/>
                    <a:pt x="167450" y="142494"/>
                    <a:pt x="167450" y="131826"/>
                  </a:cubicBezTo>
                  <a:lnTo>
                    <a:pt x="167450" y="0"/>
                  </a:lnTo>
                  <a:lnTo>
                    <a:pt x="201359" y="0"/>
                  </a:lnTo>
                  <a:lnTo>
                    <a:pt x="201359" y="230791"/>
                  </a:lnTo>
                  <a:lnTo>
                    <a:pt x="167450" y="230791"/>
                  </a:lnTo>
                  <a:lnTo>
                    <a:pt x="167450" y="190595"/>
                  </a:lnTo>
                  <a:cubicBezTo>
                    <a:pt x="159734" y="203073"/>
                    <a:pt x="149543" y="213741"/>
                    <a:pt x="137065" y="222504"/>
                  </a:cubicBezTo>
                  <a:cubicBezTo>
                    <a:pt x="124587" y="231267"/>
                    <a:pt x="108395" y="235648"/>
                    <a:pt x="88392" y="235648"/>
                  </a:cubicBezTo>
                  <a:close/>
                </a:path>
              </a:pathLst>
            </a:custGeom>
            <a:solidFill>
              <a:srgbClr val="44505E"/>
            </a:solidFill>
            <a:ln w="9525" cap="flat">
              <a:noFill/>
              <a:prstDash val="solid"/>
              <a:miter/>
            </a:ln>
          </p:spPr>
          <p:txBody>
            <a:bodyPr rtlCol="0" anchor="ctr"/>
            <a:lstStyle/>
            <a:p>
              <a:endParaRPr lang="pt-BR" noProof="0"/>
            </a:p>
          </p:txBody>
        </p:sp>
        <p:sp>
          <p:nvSpPr>
            <p:cNvPr id="43" name="Freeform: Shape 42">
              <a:extLst>
                <a:ext uri="{FF2B5EF4-FFF2-40B4-BE49-F238E27FC236}">
                  <a16:creationId xmlns:a16="http://schemas.microsoft.com/office/drawing/2014/main" id="{6677F533-5E0C-007F-C8C8-F8DBC86A03A1}"/>
                </a:ext>
              </a:extLst>
            </p:cNvPr>
            <p:cNvSpPr/>
            <p:nvPr/>
          </p:nvSpPr>
          <p:spPr>
            <a:xfrm>
              <a:off x="5896069"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7059 w 218217"/>
                <a:gd name="connsiteY3" fmla="*/ 206026 h 241077"/>
                <a:gd name="connsiteX4" fmla="*/ 116110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7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0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356 w 218217"/>
                <a:gd name="connsiteY25" fmla="*/ 106299 h 241077"/>
                <a:gd name="connsiteX26" fmla="*/ 176689 w 218217"/>
                <a:gd name="connsiteY26" fmla="*/ 76771 h 241077"/>
                <a:gd name="connsiteX27" fmla="*/ 162211 w 218217"/>
                <a:gd name="connsiteY27" fmla="*/ 52101 h 241077"/>
                <a:gd name="connsiteX28" fmla="*/ 139922 w 218217"/>
                <a:gd name="connsiteY28" fmla="*/ 35242 h 241077"/>
                <a:gd name="connsiteX29" fmla="*/ 109823 w 218217"/>
                <a:gd name="connsiteY29" fmla="*/ 29051 h 241077"/>
                <a:gd name="connsiteX30" fmla="*/ 82105 w 218217"/>
                <a:gd name="connsiteY30" fmla="*/ 34766 h 241077"/>
                <a:gd name="connsiteX31" fmla="*/ 59341 w 218217"/>
                <a:gd name="connsiteY31" fmla="*/ 50959 h 241077"/>
                <a:gd name="connsiteX32" fmla="*/ 43053 w 218217"/>
                <a:gd name="connsiteY32" fmla="*/ 75628 h 241077"/>
                <a:gd name="connsiteX33" fmla="*/ 34766 w 218217"/>
                <a:gd name="connsiteY33" fmla="*/ 106204 h 241077"/>
                <a:gd name="connsiteX34" fmla="*/ 183356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819" y="202597"/>
                    <a:pt x="87059" y="206026"/>
                  </a:cubicBezTo>
                  <a:cubicBezTo>
                    <a:pt x="96298" y="209455"/>
                    <a:pt x="105918" y="211169"/>
                    <a:pt x="116110" y="211169"/>
                  </a:cubicBezTo>
                  <a:cubicBezTo>
                    <a:pt x="132207" y="211169"/>
                    <a:pt x="145923" y="208216"/>
                    <a:pt x="157353" y="202216"/>
                  </a:cubicBezTo>
                  <a:cubicBezTo>
                    <a:pt x="168783" y="196310"/>
                    <a:pt x="179261" y="188404"/>
                    <a:pt x="188786" y="178594"/>
                  </a:cubicBezTo>
                  <a:lnTo>
                    <a:pt x="210217" y="197834"/>
                  </a:lnTo>
                  <a:cubicBezTo>
                    <a:pt x="198596" y="210979"/>
                    <a:pt x="185356" y="221361"/>
                    <a:pt x="170497" y="229267"/>
                  </a:cubicBezTo>
                  <a:cubicBezTo>
                    <a:pt x="155638"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583" y="0"/>
                    <a:pt x="110680"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356" y="106299"/>
                  </a:moveTo>
                  <a:cubicBezTo>
                    <a:pt x="182499" y="95917"/>
                    <a:pt x="180213" y="86106"/>
                    <a:pt x="176689" y="76771"/>
                  </a:cubicBezTo>
                  <a:cubicBezTo>
                    <a:pt x="173069" y="67437"/>
                    <a:pt x="168307" y="59245"/>
                    <a:pt x="162211" y="52101"/>
                  </a:cubicBezTo>
                  <a:cubicBezTo>
                    <a:pt x="156115" y="44958"/>
                    <a:pt x="148685" y="39338"/>
                    <a:pt x="139922" y="35242"/>
                  </a:cubicBezTo>
                  <a:cubicBezTo>
                    <a:pt x="131159" y="31147"/>
                    <a:pt x="121063" y="29051"/>
                    <a:pt x="109823" y="29051"/>
                  </a:cubicBezTo>
                  <a:cubicBezTo>
                    <a:pt x="100013" y="29051"/>
                    <a:pt x="90773" y="30956"/>
                    <a:pt x="82105" y="34766"/>
                  </a:cubicBezTo>
                  <a:cubicBezTo>
                    <a:pt x="73438" y="38671"/>
                    <a:pt x="65913" y="44005"/>
                    <a:pt x="59341" y="50959"/>
                  </a:cubicBezTo>
                  <a:cubicBezTo>
                    <a:pt x="52769" y="57912"/>
                    <a:pt x="47339" y="66103"/>
                    <a:pt x="43053" y="75628"/>
                  </a:cubicBezTo>
                  <a:cubicBezTo>
                    <a:pt x="38767" y="85058"/>
                    <a:pt x="36004" y="95345"/>
                    <a:pt x="34766" y="106204"/>
                  </a:cubicBezTo>
                  <a:lnTo>
                    <a:pt x="183356" y="106204"/>
                  </a:lnTo>
                  <a:close/>
                </a:path>
              </a:pathLst>
            </a:custGeom>
            <a:solidFill>
              <a:srgbClr val="44505E"/>
            </a:solidFill>
            <a:ln w="9525" cap="flat">
              <a:noFill/>
              <a:prstDash val="solid"/>
              <a:miter/>
            </a:ln>
          </p:spPr>
          <p:txBody>
            <a:bodyPr rtlCol="0" anchor="ctr"/>
            <a:lstStyle/>
            <a:p>
              <a:endParaRPr lang="pt-BR" noProof="0"/>
            </a:p>
          </p:txBody>
        </p:sp>
        <p:sp>
          <p:nvSpPr>
            <p:cNvPr id="44" name="Freeform: Shape 43">
              <a:extLst>
                <a:ext uri="{FF2B5EF4-FFF2-40B4-BE49-F238E27FC236}">
                  <a16:creationId xmlns:a16="http://schemas.microsoft.com/office/drawing/2014/main" id="{34A8FEE2-D0E4-328E-842B-B71F6E67B733}"/>
                </a:ext>
              </a:extLst>
            </p:cNvPr>
            <p:cNvSpPr/>
            <p:nvPr/>
          </p:nvSpPr>
          <p:spPr>
            <a:xfrm>
              <a:off x="5994910" y="924268"/>
              <a:ext cx="44680" cy="60195"/>
            </a:xfrm>
            <a:custGeom>
              <a:avLst/>
              <a:gdLst>
                <a:gd name="connsiteX0" fmla="*/ 95536 w 177736"/>
                <a:gd name="connsiteY0" fmla="*/ 239268 h 239458"/>
                <a:gd name="connsiteX1" fmla="*/ 45053 w 177736"/>
                <a:gd name="connsiteY1" fmla="*/ 230124 h 239458"/>
                <a:gd name="connsiteX2" fmla="*/ 0 w 177736"/>
                <a:gd name="connsiteY2" fmla="*/ 205359 h 239458"/>
                <a:gd name="connsiteX3" fmla="*/ 17431 w 177736"/>
                <a:gd name="connsiteY3" fmla="*/ 180785 h 239458"/>
                <a:gd name="connsiteX4" fmla="*/ 56483 w 177736"/>
                <a:gd name="connsiteY4" fmla="*/ 202692 h 239458"/>
                <a:gd name="connsiteX5" fmla="*/ 97346 w 177736"/>
                <a:gd name="connsiteY5" fmla="*/ 210217 h 239458"/>
                <a:gd name="connsiteX6" fmla="*/ 131731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730 w 177736"/>
                <a:gd name="connsiteY10" fmla="*/ 147066 h 239458"/>
                <a:gd name="connsiteX11" fmla="*/ 109252 w 177736"/>
                <a:gd name="connsiteY11" fmla="*/ 138779 h 239458"/>
                <a:gd name="connsiteX12" fmla="*/ 87630 w 177736"/>
                <a:gd name="connsiteY12" fmla="*/ 132112 h 239458"/>
                <a:gd name="connsiteX13" fmla="*/ 60674 w 177736"/>
                <a:gd name="connsiteY13" fmla="*/ 123444 h 239458"/>
                <a:gd name="connsiteX14" fmla="*/ 36100 w 177736"/>
                <a:gd name="connsiteY14" fmla="*/ 111633 h 239458"/>
                <a:gd name="connsiteX15" fmla="*/ 18193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60 w 177736"/>
                <a:gd name="connsiteY22" fmla="*/ 6953 h 239458"/>
                <a:gd name="connsiteX23" fmla="*/ 172879 w 177736"/>
                <a:gd name="connsiteY23" fmla="*/ 25527 h 239458"/>
                <a:gd name="connsiteX24" fmla="*/ 157258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4 w 177736"/>
                <a:gd name="connsiteY32" fmla="*/ 96203 h 239458"/>
                <a:gd name="connsiteX33" fmla="*/ 103632 w 177736"/>
                <a:gd name="connsiteY33" fmla="*/ 103346 h 239458"/>
                <a:gd name="connsiteX34" fmla="*/ 130207 w 177736"/>
                <a:gd name="connsiteY34" fmla="*/ 112300 h 239458"/>
                <a:gd name="connsiteX35" fmla="*/ 154114 w 177736"/>
                <a:gd name="connsiteY35" fmla="*/ 124778 h 239458"/>
                <a:gd name="connsiteX36" fmla="*/ 171260 w 177736"/>
                <a:gd name="connsiteY36" fmla="*/ 143066 h 239458"/>
                <a:gd name="connsiteX37" fmla="*/ 177737 w 177736"/>
                <a:gd name="connsiteY37" fmla="*/ 169450 h 239458"/>
                <a:gd name="connsiteX38" fmla="*/ 177737 w 177736"/>
                <a:gd name="connsiteY38" fmla="*/ 170307 h 239458"/>
                <a:gd name="connsiteX39" fmla="*/ 171260 w 177736"/>
                <a:gd name="connsiteY39" fmla="*/ 199549 h 239458"/>
                <a:gd name="connsiteX40" fmla="*/ 153829 w 177736"/>
                <a:gd name="connsiteY40" fmla="*/ 221171 h 239458"/>
                <a:gd name="connsiteX41" fmla="*/ 127921 w 177736"/>
                <a:gd name="connsiteY41" fmla="*/ 234791 h 239458"/>
                <a:gd name="connsiteX42" fmla="*/ 95536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6" y="239268"/>
                  </a:moveTo>
                  <a:cubicBezTo>
                    <a:pt x="78867" y="239268"/>
                    <a:pt x="62008" y="236220"/>
                    <a:pt x="45053" y="230124"/>
                  </a:cubicBezTo>
                  <a:cubicBezTo>
                    <a:pt x="28099" y="224028"/>
                    <a:pt x="13049" y="215741"/>
                    <a:pt x="0" y="205359"/>
                  </a:cubicBezTo>
                  <a:lnTo>
                    <a:pt x="17431" y="180785"/>
                  </a:lnTo>
                  <a:cubicBezTo>
                    <a:pt x="29909"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637" y="162211"/>
                    <a:pt x="140494" y="158020"/>
                  </a:cubicBezTo>
                  <a:cubicBezTo>
                    <a:pt x="137351" y="153829"/>
                    <a:pt x="133160" y="150209"/>
                    <a:pt x="127730" y="147066"/>
                  </a:cubicBezTo>
                  <a:cubicBezTo>
                    <a:pt x="122396" y="143923"/>
                    <a:pt x="116205" y="141161"/>
                    <a:pt x="109252" y="138779"/>
                  </a:cubicBezTo>
                  <a:cubicBezTo>
                    <a:pt x="102299" y="136398"/>
                    <a:pt x="95060" y="134207"/>
                    <a:pt x="87630" y="132112"/>
                  </a:cubicBezTo>
                  <a:cubicBezTo>
                    <a:pt x="78677" y="129445"/>
                    <a:pt x="69723" y="126492"/>
                    <a:pt x="60674" y="123444"/>
                  </a:cubicBezTo>
                  <a:cubicBezTo>
                    <a:pt x="51626" y="120301"/>
                    <a:pt x="43434" y="116396"/>
                    <a:pt x="36100" y="111633"/>
                  </a:cubicBezTo>
                  <a:cubicBezTo>
                    <a:pt x="28766" y="106871"/>
                    <a:pt x="22860" y="100870"/>
                    <a:pt x="18193" y="93726"/>
                  </a:cubicBezTo>
                  <a:cubicBezTo>
                    <a:pt x="13621" y="86582"/>
                    <a:pt x="11239" y="77629"/>
                    <a:pt x="11239" y="66961"/>
                  </a:cubicBezTo>
                  <a:lnTo>
                    <a:pt x="11239" y="66008"/>
                  </a:lnTo>
                  <a:cubicBezTo>
                    <a:pt x="11239" y="56198"/>
                    <a:pt x="13145" y="47149"/>
                    <a:pt x="17050" y="39053"/>
                  </a:cubicBezTo>
                  <a:cubicBezTo>
                    <a:pt x="20860" y="30861"/>
                    <a:pt x="26289" y="23908"/>
                    <a:pt x="33338" y="18098"/>
                  </a:cubicBezTo>
                  <a:cubicBezTo>
                    <a:pt x="40291" y="12287"/>
                    <a:pt x="48673" y="7811"/>
                    <a:pt x="58388" y="4667"/>
                  </a:cubicBezTo>
                  <a:cubicBezTo>
                    <a:pt x="68009" y="1524"/>
                    <a:pt x="78581" y="0"/>
                    <a:pt x="89821" y="0"/>
                  </a:cubicBezTo>
                  <a:cubicBezTo>
                    <a:pt x="104108" y="0"/>
                    <a:pt x="118491" y="2286"/>
                    <a:pt x="133160" y="6953"/>
                  </a:cubicBezTo>
                  <a:cubicBezTo>
                    <a:pt x="147733" y="11621"/>
                    <a:pt x="160972" y="17717"/>
                    <a:pt x="172879" y="25527"/>
                  </a:cubicBezTo>
                  <a:lnTo>
                    <a:pt x="157258" y="51435"/>
                  </a:lnTo>
                  <a:cubicBezTo>
                    <a:pt x="146495" y="44577"/>
                    <a:pt x="135350" y="39148"/>
                    <a:pt x="123539" y="35147"/>
                  </a:cubicBezTo>
                  <a:cubicBezTo>
                    <a:pt x="111824" y="31147"/>
                    <a:pt x="100298" y="29146"/>
                    <a:pt x="88963" y="29146"/>
                  </a:cubicBezTo>
                  <a:cubicBezTo>
                    <a:pt x="75247" y="29146"/>
                    <a:pt x="64389" y="32385"/>
                    <a:pt x="56388" y="38767"/>
                  </a:cubicBezTo>
                  <a:cubicBezTo>
                    <a:pt x="48387" y="45149"/>
                    <a:pt x="44291" y="53150"/>
                    <a:pt x="44291" y="62675"/>
                  </a:cubicBezTo>
                  <a:lnTo>
                    <a:pt x="44291" y="63627"/>
                  </a:lnTo>
                  <a:cubicBezTo>
                    <a:pt x="44291" y="68961"/>
                    <a:pt x="45911" y="73628"/>
                    <a:pt x="49244" y="77724"/>
                  </a:cubicBezTo>
                  <a:cubicBezTo>
                    <a:pt x="52483" y="81725"/>
                    <a:pt x="56960" y="85249"/>
                    <a:pt x="62389" y="88202"/>
                  </a:cubicBezTo>
                  <a:cubicBezTo>
                    <a:pt x="67913" y="91154"/>
                    <a:pt x="74200" y="93821"/>
                    <a:pt x="81344" y="96203"/>
                  </a:cubicBezTo>
                  <a:cubicBezTo>
                    <a:pt x="88487" y="98584"/>
                    <a:pt x="95917" y="100965"/>
                    <a:pt x="103632" y="103346"/>
                  </a:cubicBezTo>
                  <a:cubicBezTo>
                    <a:pt x="112586" y="106013"/>
                    <a:pt x="121444" y="108966"/>
                    <a:pt x="130207" y="112300"/>
                  </a:cubicBezTo>
                  <a:cubicBezTo>
                    <a:pt x="138970" y="115538"/>
                    <a:pt x="146971" y="119729"/>
                    <a:pt x="154114" y="124778"/>
                  </a:cubicBezTo>
                  <a:cubicBezTo>
                    <a:pt x="161258" y="129826"/>
                    <a:pt x="166973" y="135922"/>
                    <a:pt x="171260" y="143066"/>
                  </a:cubicBezTo>
                  <a:cubicBezTo>
                    <a:pt x="175546" y="150209"/>
                    <a:pt x="177737" y="158972"/>
                    <a:pt x="177737" y="169450"/>
                  </a:cubicBezTo>
                  <a:lnTo>
                    <a:pt x="177737" y="170307"/>
                  </a:lnTo>
                  <a:cubicBezTo>
                    <a:pt x="177737" y="181356"/>
                    <a:pt x="175546" y="191071"/>
                    <a:pt x="171260" y="199549"/>
                  </a:cubicBezTo>
                  <a:cubicBezTo>
                    <a:pt x="166973" y="208026"/>
                    <a:pt x="161163" y="215265"/>
                    <a:pt x="153829" y="221171"/>
                  </a:cubicBezTo>
                  <a:cubicBezTo>
                    <a:pt x="146495" y="227171"/>
                    <a:pt x="137922" y="231648"/>
                    <a:pt x="127921" y="234791"/>
                  </a:cubicBezTo>
                  <a:cubicBezTo>
                    <a:pt x="117920" y="237935"/>
                    <a:pt x="107156" y="239459"/>
                    <a:pt x="95536" y="239459"/>
                  </a:cubicBezTo>
                  <a:close/>
                </a:path>
              </a:pathLst>
            </a:custGeom>
            <a:solidFill>
              <a:srgbClr val="44505E"/>
            </a:solidFill>
            <a:ln w="9525" cap="flat">
              <a:noFill/>
              <a:prstDash val="solid"/>
              <a:miter/>
            </a:ln>
          </p:spPr>
          <p:txBody>
            <a:bodyPr rtlCol="0" anchor="ctr"/>
            <a:lstStyle/>
            <a:p>
              <a:endParaRPr lang="pt-BR" noProof="0"/>
            </a:p>
          </p:txBody>
        </p:sp>
        <p:sp>
          <p:nvSpPr>
            <p:cNvPr id="45" name="Freeform: Shape 44">
              <a:extLst>
                <a:ext uri="{FF2B5EF4-FFF2-40B4-BE49-F238E27FC236}">
                  <a16:creationId xmlns:a16="http://schemas.microsoft.com/office/drawing/2014/main" id="{BE1854FA-2279-F12A-C758-31DB01CC5EDA}"/>
                </a:ext>
              </a:extLst>
            </p:cNvPr>
            <p:cNvSpPr/>
            <p:nvPr/>
          </p:nvSpPr>
          <p:spPr>
            <a:xfrm>
              <a:off x="605122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4 w 202977"/>
                <a:gd name="connsiteY30" fmla="*/ 174593 h 239267"/>
                <a:gd name="connsiteX31" fmla="*/ 169735 w 202977"/>
                <a:gd name="connsiteY31" fmla="*/ 149447 h 239267"/>
                <a:gd name="connsiteX32" fmla="*/ 169735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0" y="90964"/>
                    <a:pt x="98584" y="90964"/>
                  </a:cubicBezTo>
                  <a:cubicBezTo>
                    <a:pt x="113157" y="90964"/>
                    <a:pt x="126301"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1" y="33147"/>
                    <a:pt x="63436" y="36100"/>
                  </a:cubicBezTo>
                  <a:cubicBezTo>
                    <a:pt x="52292" y="39053"/>
                    <a:pt x="41338" y="43053"/>
                    <a:pt x="30671" y="48196"/>
                  </a:cubicBezTo>
                  <a:lnTo>
                    <a:pt x="20383" y="19907"/>
                  </a:lnTo>
                  <a:cubicBezTo>
                    <a:pt x="33147" y="13906"/>
                    <a:pt x="46101" y="9049"/>
                    <a:pt x="59246" y="5429"/>
                  </a:cubicBezTo>
                  <a:cubicBezTo>
                    <a:pt x="72295"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1" y="239173"/>
                  </a:cubicBezTo>
                  <a:close/>
                  <a:moveTo>
                    <a:pt x="93154" y="211169"/>
                  </a:moveTo>
                  <a:cubicBezTo>
                    <a:pt x="103822" y="211169"/>
                    <a:pt x="113728" y="209740"/>
                    <a:pt x="122967" y="206788"/>
                  </a:cubicBezTo>
                  <a:cubicBezTo>
                    <a:pt x="132207" y="203835"/>
                    <a:pt x="140208" y="199644"/>
                    <a:pt x="147256" y="194120"/>
                  </a:cubicBezTo>
                  <a:cubicBezTo>
                    <a:pt x="154209" y="188595"/>
                    <a:pt x="159734" y="182118"/>
                    <a:pt x="163734" y="174593"/>
                  </a:cubicBezTo>
                  <a:cubicBezTo>
                    <a:pt x="167735" y="167068"/>
                    <a:pt x="169735" y="158687"/>
                    <a:pt x="169735" y="149447"/>
                  </a:cubicBezTo>
                  <a:lnTo>
                    <a:pt x="169735" y="128111"/>
                  </a:lnTo>
                  <a:cubicBezTo>
                    <a:pt x="161163" y="125730"/>
                    <a:pt x="151352" y="123539"/>
                    <a:pt x="140398" y="121444"/>
                  </a:cubicBezTo>
                  <a:cubicBezTo>
                    <a:pt x="129445" y="119348"/>
                    <a:pt x="116872"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46" name="Freeform: Shape 45">
              <a:extLst>
                <a:ext uri="{FF2B5EF4-FFF2-40B4-BE49-F238E27FC236}">
                  <a16:creationId xmlns:a16="http://schemas.microsoft.com/office/drawing/2014/main" id="{C0A5E288-A05C-EAFA-3D98-29D56630071F}"/>
                </a:ext>
              </a:extLst>
            </p:cNvPr>
            <p:cNvSpPr/>
            <p:nvPr/>
          </p:nvSpPr>
          <p:spPr>
            <a:xfrm>
              <a:off x="6121359" y="901377"/>
              <a:ext cx="8644" cy="81913"/>
            </a:xfrm>
            <a:custGeom>
              <a:avLst/>
              <a:gdLst>
                <a:gd name="connsiteX0" fmla="*/ 0 w 34385"/>
                <a:gd name="connsiteY0" fmla="*/ 0 h 325850"/>
                <a:gd name="connsiteX1" fmla="*/ 34385 w 34385"/>
                <a:gd name="connsiteY1" fmla="*/ 0 h 325850"/>
                <a:gd name="connsiteX2" fmla="*/ 34385 w 34385"/>
                <a:gd name="connsiteY2" fmla="*/ 325850 h 325850"/>
                <a:gd name="connsiteX3" fmla="*/ 0 w 34385"/>
                <a:gd name="connsiteY3" fmla="*/ 325850 h 325850"/>
                <a:gd name="connsiteX4" fmla="*/ 0 w 34385"/>
                <a:gd name="connsiteY4" fmla="*/ 0 h 32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 h="325850">
                  <a:moveTo>
                    <a:pt x="0" y="0"/>
                  </a:moveTo>
                  <a:lnTo>
                    <a:pt x="34385" y="0"/>
                  </a:lnTo>
                  <a:lnTo>
                    <a:pt x="34385" y="325850"/>
                  </a:lnTo>
                  <a:lnTo>
                    <a:pt x="0" y="325850"/>
                  </a:lnTo>
                  <a:lnTo>
                    <a:pt x="0" y="0"/>
                  </a:lnTo>
                  <a:close/>
                </a:path>
              </a:pathLst>
            </a:custGeom>
            <a:solidFill>
              <a:srgbClr val="44505E"/>
            </a:solidFill>
            <a:ln w="9525" cap="flat">
              <a:noFill/>
              <a:prstDash val="solid"/>
              <a:miter/>
            </a:ln>
          </p:spPr>
          <p:txBody>
            <a:bodyPr rtlCol="0" anchor="ctr"/>
            <a:lstStyle/>
            <a:p>
              <a:endParaRPr lang="pt-BR" noProof="0"/>
            </a:p>
          </p:txBody>
        </p:sp>
        <p:sp>
          <p:nvSpPr>
            <p:cNvPr id="47" name="Freeform: Shape 46">
              <a:extLst>
                <a:ext uri="{FF2B5EF4-FFF2-40B4-BE49-F238E27FC236}">
                  <a16:creationId xmlns:a16="http://schemas.microsoft.com/office/drawing/2014/main" id="{222ACFFF-1834-D862-0279-A05CB4D0AE9A}"/>
                </a:ext>
              </a:extLst>
            </p:cNvPr>
            <p:cNvSpPr/>
            <p:nvPr/>
          </p:nvSpPr>
          <p:spPr>
            <a:xfrm>
              <a:off x="6144346" y="925273"/>
              <a:ext cx="58016" cy="58448"/>
            </a:xfrm>
            <a:custGeom>
              <a:avLst/>
              <a:gdLst>
                <a:gd name="connsiteX0" fmla="*/ 95 w 230790"/>
                <a:gd name="connsiteY0" fmla="*/ 0 h 232505"/>
                <a:gd name="connsiteX1" fmla="*/ 38005 w 230790"/>
                <a:gd name="connsiteY1" fmla="*/ 0 h 232505"/>
                <a:gd name="connsiteX2" fmla="*/ 115634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4"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48" name="Freeform: Shape 47">
              <a:extLst>
                <a:ext uri="{FF2B5EF4-FFF2-40B4-BE49-F238E27FC236}">
                  <a16:creationId xmlns:a16="http://schemas.microsoft.com/office/drawing/2014/main" id="{7D654277-41DB-CEEA-2621-E0DC4F5207F9}"/>
                </a:ext>
              </a:extLst>
            </p:cNvPr>
            <p:cNvSpPr/>
            <p:nvPr/>
          </p:nvSpPr>
          <p:spPr>
            <a:xfrm>
              <a:off x="621155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8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338 w 202977"/>
                <a:gd name="connsiteY36" fmla="*/ 164497 h 239267"/>
                <a:gd name="connsiteX37" fmla="*/ 35338 w 202977"/>
                <a:gd name="connsiteY37" fmla="*/ 165449 h 239267"/>
                <a:gd name="connsiteX38" fmla="*/ 40005 w 202977"/>
                <a:gd name="connsiteY38" fmla="*/ 184785 h 239267"/>
                <a:gd name="connsiteX39" fmla="*/ 52673 w 202977"/>
                <a:gd name="connsiteY39" fmla="*/ 199263 h 239267"/>
                <a:gd name="connsiteX40" fmla="*/ 71152 w 202977"/>
                <a:gd name="connsiteY40" fmla="*/ 208121 h 239267"/>
                <a:gd name="connsiteX41" fmla="*/ 93154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438" y="239268"/>
                    <a:pt x="64961"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1" y="90964"/>
                    <a:pt x="98584" y="90964"/>
                  </a:cubicBezTo>
                  <a:cubicBezTo>
                    <a:pt x="113157" y="90964"/>
                    <a:pt x="126302" y="91821"/>
                    <a:pt x="137160" y="93631"/>
                  </a:cubicBezTo>
                  <a:cubicBezTo>
                    <a:pt x="148019" y="95440"/>
                    <a:pt x="158687" y="97822"/>
                    <a:pt x="169069" y="100774"/>
                  </a:cubicBezTo>
                  <a:lnTo>
                    <a:pt x="169069" y="93726"/>
                  </a:lnTo>
                  <a:cubicBezTo>
                    <a:pt x="169069" y="73342"/>
                    <a:pt x="163068" y="57912"/>
                    <a:pt x="151162" y="47339"/>
                  </a:cubicBezTo>
                  <a:cubicBezTo>
                    <a:pt x="139255" y="36862"/>
                    <a:pt x="122491" y="31623"/>
                    <a:pt x="100679" y="31623"/>
                  </a:cubicBezTo>
                  <a:cubicBezTo>
                    <a:pt x="86963" y="31623"/>
                    <a:pt x="74581" y="33147"/>
                    <a:pt x="63437" y="36100"/>
                  </a:cubicBezTo>
                  <a:cubicBezTo>
                    <a:pt x="52292" y="39053"/>
                    <a:pt x="41338" y="43053"/>
                    <a:pt x="30671" y="48196"/>
                  </a:cubicBezTo>
                  <a:lnTo>
                    <a:pt x="20383" y="19907"/>
                  </a:lnTo>
                  <a:cubicBezTo>
                    <a:pt x="33147" y="13906"/>
                    <a:pt x="46101" y="9049"/>
                    <a:pt x="59246" y="5429"/>
                  </a:cubicBezTo>
                  <a:cubicBezTo>
                    <a:pt x="72390"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04" y="239173"/>
                    <a:pt x="86011" y="239173"/>
                  </a:cubicBezTo>
                  <a:close/>
                  <a:moveTo>
                    <a:pt x="93154" y="211169"/>
                  </a:moveTo>
                  <a:cubicBezTo>
                    <a:pt x="103822" y="211169"/>
                    <a:pt x="113824" y="209740"/>
                    <a:pt x="122968" y="206788"/>
                  </a:cubicBezTo>
                  <a:cubicBezTo>
                    <a:pt x="132112"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5" y="119348"/>
                    <a:pt x="116777" y="118300"/>
                    <a:pt x="102584" y="118300"/>
                  </a:cubicBezTo>
                  <a:cubicBezTo>
                    <a:pt x="81248" y="118300"/>
                    <a:pt x="64675" y="122491"/>
                    <a:pt x="52959" y="130969"/>
                  </a:cubicBezTo>
                  <a:cubicBezTo>
                    <a:pt x="41243" y="139446"/>
                    <a:pt x="35338" y="150590"/>
                    <a:pt x="35338" y="164497"/>
                  </a:cubicBezTo>
                  <a:lnTo>
                    <a:pt x="35338" y="165449"/>
                  </a:lnTo>
                  <a:cubicBezTo>
                    <a:pt x="35338" y="172498"/>
                    <a:pt x="36862" y="178975"/>
                    <a:pt x="40005" y="184785"/>
                  </a:cubicBezTo>
                  <a:cubicBezTo>
                    <a:pt x="43148" y="190500"/>
                    <a:pt x="47339" y="195358"/>
                    <a:pt x="52673" y="199263"/>
                  </a:cubicBezTo>
                  <a:cubicBezTo>
                    <a:pt x="58007" y="203073"/>
                    <a:pt x="64198" y="206026"/>
                    <a:pt x="71152" y="208121"/>
                  </a:cubicBezTo>
                  <a:cubicBezTo>
                    <a:pt x="78105" y="210217"/>
                    <a:pt x="85439" y="211169"/>
                    <a:pt x="93154" y="211169"/>
                  </a:cubicBezTo>
                  <a:close/>
                </a:path>
              </a:pathLst>
            </a:custGeom>
            <a:solidFill>
              <a:srgbClr val="44505E"/>
            </a:solidFill>
            <a:ln w="9525" cap="flat">
              <a:noFill/>
              <a:prstDash val="solid"/>
              <a:miter/>
            </a:ln>
          </p:spPr>
          <p:txBody>
            <a:bodyPr rtlCol="0" anchor="ctr"/>
            <a:lstStyle/>
            <a:p>
              <a:endParaRPr lang="pt-BR" noProof="0"/>
            </a:p>
          </p:txBody>
        </p:sp>
        <p:sp>
          <p:nvSpPr>
            <p:cNvPr id="49" name="Freeform: Shape 48">
              <a:extLst>
                <a:ext uri="{FF2B5EF4-FFF2-40B4-BE49-F238E27FC236}">
                  <a16:creationId xmlns:a16="http://schemas.microsoft.com/office/drawing/2014/main" id="{D7D52387-618B-C0A9-AB6F-8E205B3D6225}"/>
                </a:ext>
              </a:extLst>
            </p:cNvPr>
            <p:cNvSpPr/>
            <p:nvPr/>
          </p:nvSpPr>
          <p:spPr>
            <a:xfrm>
              <a:off x="6280899" y="923980"/>
              <a:ext cx="87995" cy="59238"/>
            </a:xfrm>
            <a:custGeom>
              <a:avLst/>
              <a:gdLst>
                <a:gd name="connsiteX0" fmla="*/ 0 w 350043"/>
                <a:gd name="connsiteY0" fmla="*/ 5144 h 235648"/>
                <a:gd name="connsiteX1" fmla="*/ 34385 w 350043"/>
                <a:gd name="connsiteY1" fmla="*/ 5144 h 235648"/>
                <a:gd name="connsiteX2" fmla="*/ 34385 w 350043"/>
                <a:gd name="connsiteY2" fmla="*/ 44005 h 235648"/>
                <a:gd name="connsiteX3" fmla="*/ 47149 w 350043"/>
                <a:gd name="connsiteY3" fmla="*/ 27432 h 235648"/>
                <a:gd name="connsiteX4" fmla="*/ 62960 w 350043"/>
                <a:gd name="connsiteY4" fmla="*/ 13335 h 235648"/>
                <a:gd name="connsiteX5" fmla="*/ 83058 w 350043"/>
                <a:gd name="connsiteY5" fmla="*/ 3715 h 235648"/>
                <a:gd name="connsiteX6" fmla="*/ 108966 w 350043"/>
                <a:gd name="connsiteY6" fmla="*/ 95 h 235648"/>
                <a:gd name="connsiteX7" fmla="*/ 155448 w 350043"/>
                <a:gd name="connsiteY7" fmla="*/ 13240 h 235648"/>
                <a:gd name="connsiteX8" fmla="*/ 183166 w 350043"/>
                <a:gd name="connsiteY8" fmla="*/ 46006 h 235648"/>
                <a:gd name="connsiteX9" fmla="*/ 197168 w 350043"/>
                <a:gd name="connsiteY9" fmla="*/ 28194 h 235648"/>
                <a:gd name="connsiteX10" fmla="*/ 214789 w 350043"/>
                <a:gd name="connsiteY10" fmla="*/ 13430 h 235648"/>
                <a:gd name="connsiteX11" fmla="*/ 236887 w 350043"/>
                <a:gd name="connsiteY11" fmla="*/ 3620 h 235648"/>
                <a:gd name="connsiteX12" fmla="*/ 264319 w 350043"/>
                <a:gd name="connsiteY12" fmla="*/ 0 h 235648"/>
                <a:gd name="connsiteX13" fmla="*/ 327279 w 350043"/>
                <a:gd name="connsiteY13" fmla="*/ 24765 h 235648"/>
                <a:gd name="connsiteX14" fmla="*/ 350044 w 350043"/>
                <a:gd name="connsiteY14" fmla="*/ 92773 h 235648"/>
                <a:gd name="connsiteX15" fmla="*/ 350044 w 350043"/>
                <a:gd name="connsiteY15" fmla="*/ 235648 h 235648"/>
                <a:gd name="connsiteX16" fmla="*/ 315659 w 350043"/>
                <a:gd name="connsiteY16" fmla="*/ 235648 h 235648"/>
                <a:gd name="connsiteX17" fmla="*/ 315659 w 350043"/>
                <a:gd name="connsiteY17" fmla="*/ 101155 h 235648"/>
                <a:gd name="connsiteX18" fmla="*/ 299847 w 350043"/>
                <a:gd name="connsiteY18" fmla="*/ 49721 h 235648"/>
                <a:gd name="connsiteX19" fmla="*/ 255937 w 350043"/>
                <a:gd name="connsiteY19" fmla="*/ 31718 h 235648"/>
                <a:gd name="connsiteX20" fmla="*/ 231362 w 350043"/>
                <a:gd name="connsiteY20" fmla="*/ 36386 h 235648"/>
                <a:gd name="connsiteX21" fmla="*/ 211074 w 350043"/>
                <a:gd name="connsiteY21" fmla="*/ 50197 h 235648"/>
                <a:gd name="connsiteX22" fmla="*/ 197263 w 350043"/>
                <a:gd name="connsiteY22" fmla="*/ 72676 h 235648"/>
                <a:gd name="connsiteX23" fmla="*/ 192119 w 350043"/>
                <a:gd name="connsiteY23" fmla="*/ 102965 h 235648"/>
                <a:gd name="connsiteX24" fmla="*/ 192119 w 350043"/>
                <a:gd name="connsiteY24" fmla="*/ 235648 h 235648"/>
                <a:gd name="connsiteX25" fmla="*/ 158210 w 350043"/>
                <a:gd name="connsiteY25" fmla="*/ 235648 h 235648"/>
                <a:gd name="connsiteX26" fmla="*/ 158210 w 350043"/>
                <a:gd name="connsiteY26" fmla="*/ 100298 h 235648"/>
                <a:gd name="connsiteX27" fmla="*/ 142399 w 350043"/>
                <a:gd name="connsiteY27" fmla="*/ 49721 h 235648"/>
                <a:gd name="connsiteX28" fmla="*/ 98870 w 350043"/>
                <a:gd name="connsiteY28" fmla="*/ 31718 h 235648"/>
                <a:gd name="connsiteX29" fmla="*/ 73438 w 350043"/>
                <a:gd name="connsiteY29" fmla="*/ 37052 h 235648"/>
                <a:gd name="connsiteX30" fmla="*/ 53150 w 350043"/>
                <a:gd name="connsiteY30" fmla="*/ 52197 h 235648"/>
                <a:gd name="connsiteX31" fmla="*/ 39529 w 350043"/>
                <a:gd name="connsiteY31" fmla="*/ 75152 h 235648"/>
                <a:gd name="connsiteX32" fmla="*/ 34576 w 350043"/>
                <a:gd name="connsiteY32" fmla="*/ 104299 h 235648"/>
                <a:gd name="connsiteX33" fmla="*/ 34576 w 350043"/>
                <a:gd name="connsiteY33" fmla="*/ 235648 h 235648"/>
                <a:gd name="connsiteX34" fmla="*/ 190 w 350043"/>
                <a:gd name="connsiteY34" fmla="*/ 235648 h 235648"/>
                <a:gd name="connsiteX35" fmla="*/ 190 w 350043"/>
                <a:gd name="connsiteY35" fmla="*/ 485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0043" h="235648">
                  <a:moveTo>
                    <a:pt x="0" y="5144"/>
                  </a:moveTo>
                  <a:lnTo>
                    <a:pt x="34385" y="5144"/>
                  </a:lnTo>
                  <a:lnTo>
                    <a:pt x="34385" y="44005"/>
                  </a:lnTo>
                  <a:cubicBezTo>
                    <a:pt x="38290" y="38386"/>
                    <a:pt x="42481" y="32861"/>
                    <a:pt x="47149" y="27432"/>
                  </a:cubicBezTo>
                  <a:cubicBezTo>
                    <a:pt x="51721" y="22098"/>
                    <a:pt x="57055" y="17431"/>
                    <a:pt x="62960" y="13335"/>
                  </a:cubicBezTo>
                  <a:cubicBezTo>
                    <a:pt x="68866" y="9335"/>
                    <a:pt x="75629" y="6096"/>
                    <a:pt x="83058" y="3715"/>
                  </a:cubicBezTo>
                  <a:cubicBezTo>
                    <a:pt x="90488" y="1334"/>
                    <a:pt x="99155" y="95"/>
                    <a:pt x="108966" y="95"/>
                  </a:cubicBezTo>
                  <a:cubicBezTo>
                    <a:pt x="127730" y="95"/>
                    <a:pt x="143161" y="4477"/>
                    <a:pt x="155448" y="13240"/>
                  </a:cubicBezTo>
                  <a:cubicBezTo>
                    <a:pt x="167640" y="22003"/>
                    <a:pt x="176879" y="32956"/>
                    <a:pt x="183166" y="46006"/>
                  </a:cubicBezTo>
                  <a:cubicBezTo>
                    <a:pt x="187357" y="39719"/>
                    <a:pt x="192024" y="33814"/>
                    <a:pt x="197168" y="28194"/>
                  </a:cubicBezTo>
                  <a:cubicBezTo>
                    <a:pt x="202406" y="22574"/>
                    <a:pt x="208217" y="17621"/>
                    <a:pt x="214789" y="13430"/>
                  </a:cubicBezTo>
                  <a:cubicBezTo>
                    <a:pt x="221361" y="9239"/>
                    <a:pt x="228695" y="6001"/>
                    <a:pt x="236887" y="3620"/>
                  </a:cubicBezTo>
                  <a:cubicBezTo>
                    <a:pt x="245078" y="1238"/>
                    <a:pt x="254222" y="0"/>
                    <a:pt x="264319" y="0"/>
                  </a:cubicBezTo>
                  <a:cubicBezTo>
                    <a:pt x="291084" y="0"/>
                    <a:pt x="312039" y="8287"/>
                    <a:pt x="327279" y="24765"/>
                  </a:cubicBezTo>
                  <a:cubicBezTo>
                    <a:pt x="342519" y="41243"/>
                    <a:pt x="350044" y="63913"/>
                    <a:pt x="350044" y="92773"/>
                  </a:cubicBezTo>
                  <a:lnTo>
                    <a:pt x="350044" y="235648"/>
                  </a:lnTo>
                  <a:lnTo>
                    <a:pt x="315659" y="235648"/>
                  </a:lnTo>
                  <a:lnTo>
                    <a:pt x="315659" y="101155"/>
                  </a:lnTo>
                  <a:cubicBezTo>
                    <a:pt x="315659" y="78867"/>
                    <a:pt x="310420" y="61722"/>
                    <a:pt x="299847" y="49721"/>
                  </a:cubicBezTo>
                  <a:cubicBezTo>
                    <a:pt x="289274" y="37719"/>
                    <a:pt x="274606" y="31718"/>
                    <a:pt x="255937" y="31718"/>
                  </a:cubicBezTo>
                  <a:cubicBezTo>
                    <a:pt x="247269" y="31718"/>
                    <a:pt x="239078" y="33242"/>
                    <a:pt x="231362" y="36386"/>
                  </a:cubicBezTo>
                  <a:cubicBezTo>
                    <a:pt x="223647" y="39529"/>
                    <a:pt x="216884" y="44101"/>
                    <a:pt x="211074" y="50197"/>
                  </a:cubicBezTo>
                  <a:cubicBezTo>
                    <a:pt x="205264" y="56293"/>
                    <a:pt x="200692" y="63818"/>
                    <a:pt x="197263" y="72676"/>
                  </a:cubicBezTo>
                  <a:cubicBezTo>
                    <a:pt x="193834" y="81629"/>
                    <a:pt x="192119" y="91726"/>
                    <a:pt x="192119" y="102965"/>
                  </a:cubicBezTo>
                  <a:lnTo>
                    <a:pt x="192119" y="235648"/>
                  </a:lnTo>
                  <a:lnTo>
                    <a:pt x="158210" y="235648"/>
                  </a:lnTo>
                  <a:lnTo>
                    <a:pt x="158210" y="100298"/>
                  </a:lnTo>
                  <a:cubicBezTo>
                    <a:pt x="158210" y="78677"/>
                    <a:pt x="152971" y="61817"/>
                    <a:pt x="142399" y="49721"/>
                  </a:cubicBezTo>
                  <a:cubicBezTo>
                    <a:pt x="131826" y="37719"/>
                    <a:pt x="117348" y="31718"/>
                    <a:pt x="98870" y="31718"/>
                  </a:cubicBezTo>
                  <a:cubicBezTo>
                    <a:pt x="89630" y="31718"/>
                    <a:pt x="81153" y="33528"/>
                    <a:pt x="73438" y="37052"/>
                  </a:cubicBezTo>
                  <a:cubicBezTo>
                    <a:pt x="65722" y="40672"/>
                    <a:pt x="58960" y="45720"/>
                    <a:pt x="53150" y="52197"/>
                  </a:cubicBezTo>
                  <a:cubicBezTo>
                    <a:pt x="47339" y="58769"/>
                    <a:pt x="42767" y="66389"/>
                    <a:pt x="39529" y="75152"/>
                  </a:cubicBezTo>
                  <a:cubicBezTo>
                    <a:pt x="36290" y="83915"/>
                    <a:pt x="34576" y="93631"/>
                    <a:pt x="34576" y="104299"/>
                  </a:cubicBezTo>
                  <a:lnTo>
                    <a:pt x="34576" y="235648"/>
                  </a:lnTo>
                  <a:lnTo>
                    <a:pt x="190" y="235648"/>
                  </a:lnTo>
                  <a:lnTo>
                    <a:pt x="190" y="4858"/>
                  </a:lnTo>
                  <a:close/>
                </a:path>
              </a:pathLst>
            </a:custGeom>
            <a:solidFill>
              <a:srgbClr val="44505E"/>
            </a:solidFill>
            <a:ln w="9525" cap="flat">
              <a:noFill/>
              <a:prstDash val="solid"/>
              <a:miter/>
            </a:ln>
          </p:spPr>
          <p:txBody>
            <a:bodyPr rtlCol="0" anchor="ctr"/>
            <a:lstStyle/>
            <a:p>
              <a:endParaRPr lang="pt-BR" noProof="0"/>
            </a:p>
          </p:txBody>
        </p:sp>
        <p:sp>
          <p:nvSpPr>
            <p:cNvPr id="50" name="Freeform: Shape 49">
              <a:extLst>
                <a:ext uri="{FF2B5EF4-FFF2-40B4-BE49-F238E27FC236}">
                  <a16:creationId xmlns:a16="http://schemas.microsoft.com/office/drawing/2014/main" id="{454EBFC7-4B75-8B69-3039-2F0252675183}"/>
                </a:ext>
              </a:extLst>
            </p:cNvPr>
            <p:cNvSpPr/>
            <p:nvPr/>
          </p:nvSpPr>
          <p:spPr>
            <a:xfrm>
              <a:off x="6415537" y="925273"/>
              <a:ext cx="58016" cy="58448"/>
            </a:xfrm>
            <a:custGeom>
              <a:avLst/>
              <a:gdLst>
                <a:gd name="connsiteX0" fmla="*/ 95 w 230790"/>
                <a:gd name="connsiteY0" fmla="*/ 0 h 232505"/>
                <a:gd name="connsiteX1" fmla="*/ 38005 w 230790"/>
                <a:gd name="connsiteY1" fmla="*/ 0 h 232505"/>
                <a:gd name="connsiteX2" fmla="*/ 115633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3"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51" name="Freeform: Shape 50">
              <a:extLst>
                <a:ext uri="{FF2B5EF4-FFF2-40B4-BE49-F238E27FC236}">
                  <a16:creationId xmlns:a16="http://schemas.microsoft.com/office/drawing/2014/main" id="{4DAB047C-9A7C-F004-B3F8-31C6196F7276}"/>
                </a:ext>
              </a:extLst>
            </p:cNvPr>
            <p:cNvSpPr/>
            <p:nvPr/>
          </p:nvSpPr>
          <p:spPr>
            <a:xfrm>
              <a:off x="6487369"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286 w 39242"/>
                <a:gd name="connsiteY5" fmla="*/ 88392 h 319182"/>
                <a:gd name="connsiteX6" fmla="*/ 36671 w 39242"/>
                <a:gd name="connsiteY6" fmla="*/ 88392 h 319182"/>
                <a:gd name="connsiteX7" fmla="*/ 36671 w 39242"/>
                <a:gd name="connsiteY7" fmla="*/ 319183 h 319182"/>
                <a:gd name="connsiteX8" fmla="*/ 2286 w 39242"/>
                <a:gd name="connsiteY8" fmla="*/ 319183 h 319182"/>
                <a:gd name="connsiteX9" fmla="*/ 2286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286" y="88392"/>
                  </a:moveTo>
                  <a:lnTo>
                    <a:pt x="36671" y="88392"/>
                  </a:lnTo>
                  <a:lnTo>
                    <a:pt x="36671" y="319183"/>
                  </a:lnTo>
                  <a:lnTo>
                    <a:pt x="2286" y="319183"/>
                  </a:lnTo>
                  <a:lnTo>
                    <a:pt x="2286" y="88392"/>
                  </a:lnTo>
                  <a:close/>
                </a:path>
              </a:pathLst>
            </a:custGeom>
            <a:solidFill>
              <a:srgbClr val="44505E"/>
            </a:solidFill>
            <a:ln w="9525" cap="flat">
              <a:noFill/>
              <a:prstDash val="solid"/>
              <a:miter/>
            </a:ln>
          </p:spPr>
          <p:txBody>
            <a:bodyPr rtlCol="0" anchor="ctr"/>
            <a:lstStyle/>
            <a:p>
              <a:endParaRPr lang="pt-BR" noProof="0"/>
            </a:p>
          </p:txBody>
        </p:sp>
        <p:sp>
          <p:nvSpPr>
            <p:cNvPr id="52" name="Freeform: Shape 51">
              <a:extLst>
                <a:ext uri="{FF2B5EF4-FFF2-40B4-BE49-F238E27FC236}">
                  <a16:creationId xmlns:a16="http://schemas.microsoft.com/office/drawing/2014/main" id="{A8C7A606-AB6F-BFA0-8082-799914C010AA}"/>
                </a:ext>
              </a:extLst>
            </p:cNvPr>
            <p:cNvSpPr/>
            <p:nvPr/>
          </p:nvSpPr>
          <p:spPr>
            <a:xfrm>
              <a:off x="6513253" y="901353"/>
              <a:ext cx="58615" cy="83182"/>
            </a:xfrm>
            <a:custGeom>
              <a:avLst/>
              <a:gdLst>
                <a:gd name="connsiteX0" fmla="*/ 110394 w 233171"/>
                <a:gd name="connsiteY0" fmla="*/ 330898 h 330898"/>
                <a:gd name="connsiteX1" fmla="*/ 69723 w 233171"/>
                <a:gd name="connsiteY1" fmla="*/ 322897 h 330898"/>
                <a:gd name="connsiteX2" fmla="*/ 34480 w 233171"/>
                <a:gd name="connsiteY2" fmla="*/ 299466 h 330898"/>
                <a:gd name="connsiteX3" fmla="*/ 9430 w 233171"/>
                <a:gd name="connsiteY3" fmla="*/ 261938 h 330898"/>
                <a:gd name="connsiteX4" fmla="*/ 0 w 233171"/>
                <a:gd name="connsiteY4" fmla="*/ 211264 h 330898"/>
                <a:gd name="connsiteX5" fmla="*/ 0 w 233171"/>
                <a:gd name="connsiteY5" fmla="*/ 210407 h 330898"/>
                <a:gd name="connsiteX6" fmla="*/ 9430 w 233171"/>
                <a:gd name="connsiteY6" fmla="*/ 159925 h 330898"/>
                <a:gd name="connsiteX7" fmla="*/ 34480 w 233171"/>
                <a:gd name="connsiteY7" fmla="*/ 122206 h 330898"/>
                <a:gd name="connsiteX8" fmla="*/ 69723 w 233171"/>
                <a:gd name="connsiteY8" fmla="*/ 98488 h 330898"/>
                <a:gd name="connsiteX9" fmla="*/ 110394 w 233171"/>
                <a:gd name="connsiteY9" fmla="*/ 90202 h 330898"/>
                <a:gd name="connsiteX10" fmla="*/ 139827 w 233171"/>
                <a:gd name="connsiteY10" fmla="*/ 94202 h 330898"/>
                <a:gd name="connsiteX11" fmla="*/ 163925 w 233171"/>
                <a:gd name="connsiteY11" fmla="*/ 104870 h 330898"/>
                <a:gd name="connsiteX12" fmla="*/ 183356 w 233171"/>
                <a:gd name="connsiteY12" fmla="*/ 120491 h 330898"/>
                <a:gd name="connsiteX13" fmla="*/ 198787 w 233171"/>
                <a:gd name="connsiteY13" fmla="*/ 139255 h 330898"/>
                <a:gd name="connsiteX14" fmla="*/ 198787 w 233171"/>
                <a:gd name="connsiteY14" fmla="*/ 0 h 330898"/>
                <a:gd name="connsiteX15" fmla="*/ 233172 w 233171"/>
                <a:gd name="connsiteY15" fmla="*/ 0 h 330898"/>
                <a:gd name="connsiteX16" fmla="*/ 233172 w 233171"/>
                <a:gd name="connsiteY16" fmla="*/ 325850 h 330898"/>
                <a:gd name="connsiteX17" fmla="*/ 198787 w 233171"/>
                <a:gd name="connsiteY17" fmla="*/ 325850 h 330898"/>
                <a:gd name="connsiteX18" fmla="*/ 198787 w 233171"/>
                <a:gd name="connsiteY18" fmla="*/ 279463 h 330898"/>
                <a:gd name="connsiteX19" fmla="*/ 182975 w 233171"/>
                <a:gd name="connsiteY19" fmla="*/ 299085 h 330898"/>
                <a:gd name="connsiteX20" fmla="*/ 163544 w 233171"/>
                <a:gd name="connsiteY20" fmla="*/ 315658 h 330898"/>
                <a:gd name="connsiteX21" fmla="*/ 139636 w 233171"/>
                <a:gd name="connsiteY21" fmla="*/ 326803 h 330898"/>
                <a:gd name="connsiteX22" fmla="*/ 110394 w 233171"/>
                <a:gd name="connsiteY22" fmla="*/ 330803 h 330898"/>
                <a:gd name="connsiteX23" fmla="*/ 116681 w 233171"/>
                <a:gd name="connsiteY23" fmla="*/ 300133 h 330898"/>
                <a:gd name="connsiteX24" fmla="*/ 147733 w 233171"/>
                <a:gd name="connsiteY24" fmla="*/ 293656 h 330898"/>
                <a:gd name="connsiteX25" fmla="*/ 174498 w 233171"/>
                <a:gd name="connsiteY25" fmla="*/ 275368 h 330898"/>
                <a:gd name="connsiteX26" fmla="*/ 193262 w 233171"/>
                <a:gd name="connsiteY26" fmla="*/ 247269 h 330898"/>
                <a:gd name="connsiteX27" fmla="*/ 200216 w 233171"/>
                <a:gd name="connsiteY27" fmla="*/ 210883 h 330898"/>
                <a:gd name="connsiteX28" fmla="*/ 200216 w 233171"/>
                <a:gd name="connsiteY28" fmla="*/ 210026 h 330898"/>
                <a:gd name="connsiteX29" fmla="*/ 193262 w 233171"/>
                <a:gd name="connsiteY29" fmla="*/ 173641 h 330898"/>
                <a:gd name="connsiteX30" fmla="*/ 174498 w 233171"/>
                <a:gd name="connsiteY30" fmla="*/ 145732 h 330898"/>
                <a:gd name="connsiteX31" fmla="*/ 147733 w 233171"/>
                <a:gd name="connsiteY31" fmla="*/ 127635 h 330898"/>
                <a:gd name="connsiteX32" fmla="*/ 116681 w 233171"/>
                <a:gd name="connsiteY32" fmla="*/ 121158 h 330898"/>
                <a:gd name="connsiteX33" fmla="*/ 84963 w 233171"/>
                <a:gd name="connsiteY33" fmla="*/ 127159 h 330898"/>
                <a:gd name="connsiteX34" fmla="*/ 59341 w 233171"/>
                <a:gd name="connsiteY34" fmla="*/ 144589 h 330898"/>
                <a:gd name="connsiteX35" fmla="*/ 41910 w 233171"/>
                <a:gd name="connsiteY35" fmla="*/ 172498 h 330898"/>
                <a:gd name="connsiteX36" fmla="*/ 35433 w 233171"/>
                <a:gd name="connsiteY36" fmla="*/ 210026 h 330898"/>
                <a:gd name="connsiteX37" fmla="*/ 35433 w 233171"/>
                <a:gd name="connsiteY37" fmla="*/ 210883 h 330898"/>
                <a:gd name="connsiteX38" fmla="*/ 41910 w 233171"/>
                <a:gd name="connsiteY38" fmla="*/ 247936 h 330898"/>
                <a:gd name="connsiteX39" fmla="*/ 59531 w 233171"/>
                <a:gd name="connsiteY39" fmla="*/ 276034 h 330898"/>
                <a:gd name="connsiteX40" fmla="*/ 85439 w 233171"/>
                <a:gd name="connsiteY40" fmla="*/ 293941 h 330898"/>
                <a:gd name="connsiteX41" fmla="*/ 116681 w 23317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3171" h="330898">
                  <a:moveTo>
                    <a:pt x="110394" y="330898"/>
                  </a:moveTo>
                  <a:cubicBezTo>
                    <a:pt x="96393" y="330898"/>
                    <a:pt x="82868" y="328231"/>
                    <a:pt x="69723" y="322897"/>
                  </a:cubicBezTo>
                  <a:cubicBezTo>
                    <a:pt x="56674" y="317563"/>
                    <a:pt x="44863" y="309753"/>
                    <a:pt x="34480" y="299466"/>
                  </a:cubicBezTo>
                  <a:cubicBezTo>
                    <a:pt x="24003" y="289179"/>
                    <a:pt x="15716" y="276701"/>
                    <a:pt x="9430" y="261938"/>
                  </a:cubicBezTo>
                  <a:cubicBezTo>
                    <a:pt x="3143" y="247174"/>
                    <a:pt x="0" y="230314"/>
                    <a:pt x="0" y="211264"/>
                  </a:cubicBezTo>
                  <a:lnTo>
                    <a:pt x="0" y="210407"/>
                  </a:lnTo>
                  <a:cubicBezTo>
                    <a:pt x="0" y="191643"/>
                    <a:pt x="3143" y="174879"/>
                    <a:pt x="9430" y="159925"/>
                  </a:cubicBezTo>
                  <a:cubicBezTo>
                    <a:pt x="15716" y="145066"/>
                    <a:pt x="24003" y="132493"/>
                    <a:pt x="34480" y="122206"/>
                  </a:cubicBezTo>
                  <a:cubicBezTo>
                    <a:pt x="44863" y="111919"/>
                    <a:pt x="56674" y="104013"/>
                    <a:pt x="69723" y="98488"/>
                  </a:cubicBezTo>
                  <a:cubicBezTo>
                    <a:pt x="82868" y="92964"/>
                    <a:pt x="96393" y="90202"/>
                    <a:pt x="110394" y="90202"/>
                  </a:cubicBezTo>
                  <a:cubicBezTo>
                    <a:pt x="121158" y="90202"/>
                    <a:pt x="130969" y="91535"/>
                    <a:pt x="139827" y="94202"/>
                  </a:cubicBezTo>
                  <a:cubicBezTo>
                    <a:pt x="148780" y="96869"/>
                    <a:pt x="156782" y="100489"/>
                    <a:pt x="163925" y="104870"/>
                  </a:cubicBezTo>
                  <a:cubicBezTo>
                    <a:pt x="171069" y="109347"/>
                    <a:pt x="177546" y="114586"/>
                    <a:pt x="183356" y="120491"/>
                  </a:cubicBezTo>
                  <a:cubicBezTo>
                    <a:pt x="189166" y="126492"/>
                    <a:pt x="194310" y="132683"/>
                    <a:pt x="198787" y="139255"/>
                  </a:cubicBezTo>
                  <a:lnTo>
                    <a:pt x="198787" y="0"/>
                  </a:lnTo>
                  <a:lnTo>
                    <a:pt x="233172" y="0"/>
                  </a:lnTo>
                  <a:lnTo>
                    <a:pt x="233172" y="325850"/>
                  </a:lnTo>
                  <a:lnTo>
                    <a:pt x="198787" y="325850"/>
                  </a:lnTo>
                  <a:lnTo>
                    <a:pt x="198787" y="279463"/>
                  </a:lnTo>
                  <a:cubicBezTo>
                    <a:pt x="194024" y="286321"/>
                    <a:pt x="188786" y="292894"/>
                    <a:pt x="182975" y="299085"/>
                  </a:cubicBezTo>
                  <a:cubicBezTo>
                    <a:pt x="177165" y="305371"/>
                    <a:pt x="170688" y="310896"/>
                    <a:pt x="163544" y="315658"/>
                  </a:cubicBezTo>
                  <a:cubicBezTo>
                    <a:pt x="156400" y="320421"/>
                    <a:pt x="148494" y="324136"/>
                    <a:pt x="139636" y="326803"/>
                  </a:cubicBezTo>
                  <a:cubicBezTo>
                    <a:pt x="130873" y="329470"/>
                    <a:pt x="121158" y="330803"/>
                    <a:pt x="110394" y="330803"/>
                  </a:cubicBezTo>
                  <a:close/>
                  <a:moveTo>
                    <a:pt x="116681" y="300133"/>
                  </a:moveTo>
                  <a:cubicBezTo>
                    <a:pt x="127445" y="300133"/>
                    <a:pt x="137732" y="297942"/>
                    <a:pt x="147733" y="293656"/>
                  </a:cubicBezTo>
                  <a:cubicBezTo>
                    <a:pt x="157734" y="289369"/>
                    <a:pt x="166592" y="283273"/>
                    <a:pt x="174498" y="275368"/>
                  </a:cubicBezTo>
                  <a:cubicBezTo>
                    <a:pt x="182404" y="267462"/>
                    <a:pt x="188595" y="258127"/>
                    <a:pt x="193262" y="247269"/>
                  </a:cubicBezTo>
                  <a:cubicBezTo>
                    <a:pt x="197834" y="236410"/>
                    <a:pt x="200216" y="224314"/>
                    <a:pt x="200216" y="210883"/>
                  </a:cubicBezTo>
                  <a:lnTo>
                    <a:pt x="200216" y="210026"/>
                  </a:lnTo>
                  <a:cubicBezTo>
                    <a:pt x="200216" y="196596"/>
                    <a:pt x="197929" y="184499"/>
                    <a:pt x="193262" y="173641"/>
                  </a:cubicBezTo>
                  <a:cubicBezTo>
                    <a:pt x="188595" y="162782"/>
                    <a:pt x="182404" y="153448"/>
                    <a:pt x="174498" y="145732"/>
                  </a:cubicBezTo>
                  <a:cubicBezTo>
                    <a:pt x="166592" y="138017"/>
                    <a:pt x="157639" y="132016"/>
                    <a:pt x="147733" y="127635"/>
                  </a:cubicBezTo>
                  <a:cubicBezTo>
                    <a:pt x="137732" y="123349"/>
                    <a:pt x="127445" y="121158"/>
                    <a:pt x="116681" y="121158"/>
                  </a:cubicBezTo>
                  <a:cubicBezTo>
                    <a:pt x="105346" y="121158"/>
                    <a:pt x="94774" y="123158"/>
                    <a:pt x="84963" y="127159"/>
                  </a:cubicBezTo>
                  <a:cubicBezTo>
                    <a:pt x="75152" y="131159"/>
                    <a:pt x="66580" y="136969"/>
                    <a:pt x="59341" y="144589"/>
                  </a:cubicBezTo>
                  <a:cubicBezTo>
                    <a:pt x="52007" y="152114"/>
                    <a:pt x="46291" y="161449"/>
                    <a:pt x="41910" y="172498"/>
                  </a:cubicBezTo>
                  <a:cubicBezTo>
                    <a:pt x="37624" y="183451"/>
                    <a:pt x="35433" y="196024"/>
                    <a:pt x="35433" y="210026"/>
                  </a:cubicBezTo>
                  <a:lnTo>
                    <a:pt x="35433" y="210883"/>
                  </a:lnTo>
                  <a:cubicBezTo>
                    <a:pt x="35433" y="224599"/>
                    <a:pt x="37624" y="236982"/>
                    <a:pt x="41910" y="247936"/>
                  </a:cubicBezTo>
                  <a:cubicBezTo>
                    <a:pt x="46196" y="258984"/>
                    <a:pt x="52101" y="268319"/>
                    <a:pt x="59531" y="276034"/>
                  </a:cubicBezTo>
                  <a:cubicBezTo>
                    <a:pt x="66960" y="283750"/>
                    <a:pt x="75629" y="289750"/>
                    <a:pt x="85439" y="293941"/>
                  </a:cubicBezTo>
                  <a:cubicBezTo>
                    <a:pt x="95250" y="298132"/>
                    <a:pt x="105632" y="300228"/>
                    <a:pt x="116681" y="300228"/>
                  </a:cubicBezTo>
                  <a:close/>
                </a:path>
              </a:pathLst>
            </a:custGeom>
            <a:solidFill>
              <a:srgbClr val="44505E"/>
            </a:solidFill>
            <a:ln w="9525" cap="flat">
              <a:noFill/>
              <a:prstDash val="solid"/>
              <a:miter/>
            </a:ln>
          </p:spPr>
          <p:txBody>
            <a:bodyPr rtlCol="0" anchor="ctr"/>
            <a:lstStyle/>
            <a:p>
              <a:endParaRPr lang="pt-BR" noProof="0"/>
            </a:p>
          </p:txBody>
        </p:sp>
        <p:sp>
          <p:nvSpPr>
            <p:cNvPr id="53" name="Freeform: Shape 52">
              <a:extLst>
                <a:ext uri="{FF2B5EF4-FFF2-40B4-BE49-F238E27FC236}">
                  <a16:creationId xmlns:a16="http://schemas.microsoft.com/office/drawing/2014/main" id="{9F6083F8-4D71-3398-DF27-E13F34ECEA80}"/>
                </a:ext>
              </a:extLst>
            </p:cNvPr>
            <p:cNvSpPr/>
            <p:nvPr/>
          </p:nvSpPr>
          <p:spPr>
            <a:xfrm>
              <a:off x="6586762"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0 w 202977"/>
                <a:gd name="connsiteY16" fmla="*/ 48196 h 239267"/>
                <a:gd name="connsiteX17" fmla="*/ 20383 w 202977"/>
                <a:gd name="connsiteY17" fmla="*/ 19907 h 239267"/>
                <a:gd name="connsiteX18" fmla="*/ 59245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0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1"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675" y="92678"/>
                    <a:pt x="84011" y="90964"/>
                    <a:pt x="98584" y="90964"/>
                  </a:cubicBezTo>
                  <a:cubicBezTo>
                    <a:pt x="113157" y="90964"/>
                    <a:pt x="126302"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0" y="33147"/>
                    <a:pt x="63436" y="36100"/>
                  </a:cubicBezTo>
                  <a:cubicBezTo>
                    <a:pt x="52292" y="39053"/>
                    <a:pt x="41338" y="43053"/>
                    <a:pt x="30670" y="48196"/>
                  </a:cubicBezTo>
                  <a:lnTo>
                    <a:pt x="20383" y="19907"/>
                  </a:lnTo>
                  <a:cubicBezTo>
                    <a:pt x="33147" y="13906"/>
                    <a:pt x="46101" y="9049"/>
                    <a:pt x="59245" y="5429"/>
                  </a:cubicBezTo>
                  <a:cubicBezTo>
                    <a:pt x="72294" y="1810"/>
                    <a:pt x="87344" y="0"/>
                    <a:pt x="104299" y="0"/>
                  </a:cubicBezTo>
                  <a:cubicBezTo>
                    <a:pt x="137064" y="0"/>
                    <a:pt x="161925" y="8477"/>
                    <a:pt x="178879" y="25432"/>
                  </a:cubicBezTo>
                  <a:cubicBezTo>
                    <a:pt x="194976"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0" y="239173"/>
                  </a:cubicBezTo>
                  <a:close/>
                  <a:moveTo>
                    <a:pt x="93154" y="211169"/>
                  </a:moveTo>
                  <a:cubicBezTo>
                    <a:pt x="103822" y="211169"/>
                    <a:pt x="113729" y="209740"/>
                    <a:pt x="122967" y="206788"/>
                  </a:cubicBezTo>
                  <a:cubicBezTo>
                    <a:pt x="132207"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4" y="119348"/>
                    <a:pt x="116871"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54" name="Freeform: Shape 53">
              <a:extLst>
                <a:ext uri="{FF2B5EF4-FFF2-40B4-BE49-F238E27FC236}">
                  <a16:creationId xmlns:a16="http://schemas.microsoft.com/office/drawing/2014/main" id="{32E961AC-92A6-2673-D8B9-449ECECD9EF2}"/>
                </a:ext>
              </a:extLst>
            </p:cNvPr>
            <p:cNvSpPr/>
            <p:nvPr/>
          </p:nvSpPr>
          <p:spPr>
            <a:xfrm>
              <a:off x="6651291" y="924268"/>
              <a:ext cx="44680" cy="60195"/>
            </a:xfrm>
            <a:custGeom>
              <a:avLst/>
              <a:gdLst>
                <a:gd name="connsiteX0" fmla="*/ 95535 w 177736"/>
                <a:gd name="connsiteY0" fmla="*/ 239268 h 239458"/>
                <a:gd name="connsiteX1" fmla="*/ 45053 w 177736"/>
                <a:gd name="connsiteY1" fmla="*/ 230124 h 239458"/>
                <a:gd name="connsiteX2" fmla="*/ 0 w 177736"/>
                <a:gd name="connsiteY2" fmla="*/ 205359 h 239458"/>
                <a:gd name="connsiteX3" fmla="*/ 17430 w 177736"/>
                <a:gd name="connsiteY3" fmla="*/ 180785 h 239458"/>
                <a:gd name="connsiteX4" fmla="*/ 56483 w 177736"/>
                <a:gd name="connsiteY4" fmla="*/ 202692 h 239458"/>
                <a:gd name="connsiteX5" fmla="*/ 97345 w 177736"/>
                <a:gd name="connsiteY5" fmla="*/ 210217 h 239458"/>
                <a:gd name="connsiteX6" fmla="*/ 131730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825 w 177736"/>
                <a:gd name="connsiteY10" fmla="*/ 147066 h 239458"/>
                <a:gd name="connsiteX11" fmla="*/ 109251 w 177736"/>
                <a:gd name="connsiteY11" fmla="*/ 138779 h 239458"/>
                <a:gd name="connsiteX12" fmla="*/ 87630 w 177736"/>
                <a:gd name="connsiteY12" fmla="*/ 132112 h 239458"/>
                <a:gd name="connsiteX13" fmla="*/ 60579 w 177736"/>
                <a:gd name="connsiteY13" fmla="*/ 123444 h 239458"/>
                <a:gd name="connsiteX14" fmla="*/ 36004 w 177736"/>
                <a:gd name="connsiteY14" fmla="*/ 111633 h 239458"/>
                <a:gd name="connsiteX15" fmla="*/ 18192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59 w 177736"/>
                <a:gd name="connsiteY22" fmla="*/ 6953 h 239458"/>
                <a:gd name="connsiteX23" fmla="*/ 172878 w 177736"/>
                <a:gd name="connsiteY23" fmla="*/ 25527 h 239458"/>
                <a:gd name="connsiteX24" fmla="*/ 157257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3 w 177736"/>
                <a:gd name="connsiteY32" fmla="*/ 96203 h 239458"/>
                <a:gd name="connsiteX33" fmla="*/ 103631 w 177736"/>
                <a:gd name="connsiteY33" fmla="*/ 103346 h 239458"/>
                <a:gd name="connsiteX34" fmla="*/ 130207 w 177736"/>
                <a:gd name="connsiteY34" fmla="*/ 112300 h 239458"/>
                <a:gd name="connsiteX35" fmla="*/ 154114 w 177736"/>
                <a:gd name="connsiteY35" fmla="*/ 124778 h 239458"/>
                <a:gd name="connsiteX36" fmla="*/ 171259 w 177736"/>
                <a:gd name="connsiteY36" fmla="*/ 143066 h 239458"/>
                <a:gd name="connsiteX37" fmla="*/ 177736 w 177736"/>
                <a:gd name="connsiteY37" fmla="*/ 169450 h 239458"/>
                <a:gd name="connsiteX38" fmla="*/ 177736 w 177736"/>
                <a:gd name="connsiteY38" fmla="*/ 170307 h 239458"/>
                <a:gd name="connsiteX39" fmla="*/ 171259 w 177736"/>
                <a:gd name="connsiteY39" fmla="*/ 199549 h 239458"/>
                <a:gd name="connsiteX40" fmla="*/ 153828 w 177736"/>
                <a:gd name="connsiteY40" fmla="*/ 221171 h 239458"/>
                <a:gd name="connsiteX41" fmla="*/ 127921 w 177736"/>
                <a:gd name="connsiteY41" fmla="*/ 234791 h 239458"/>
                <a:gd name="connsiteX42" fmla="*/ 95535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5" y="239268"/>
                  </a:moveTo>
                  <a:cubicBezTo>
                    <a:pt x="78867" y="239268"/>
                    <a:pt x="62007" y="236220"/>
                    <a:pt x="45053" y="230124"/>
                  </a:cubicBezTo>
                  <a:cubicBezTo>
                    <a:pt x="28098" y="224028"/>
                    <a:pt x="13049" y="215741"/>
                    <a:pt x="0" y="205359"/>
                  </a:cubicBezTo>
                  <a:lnTo>
                    <a:pt x="17430" y="180785"/>
                  </a:lnTo>
                  <a:cubicBezTo>
                    <a:pt x="29908" y="190310"/>
                    <a:pt x="42957" y="197644"/>
                    <a:pt x="56483" y="202692"/>
                  </a:cubicBezTo>
                  <a:cubicBezTo>
                    <a:pt x="70009" y="207740"/>
                    <a:pt x="83629" y="210217"/>
                    <a:pt x="97345" y="210217"/>
                  </a:cubicBezTo>
                  <a:cubicBezTo>
                    <a:pt x="111061" y="210217"/>
                    <a:pt x="122777" y="206978"/>
                    <a:pt x="131730" y="200406"/>
                  </a:cubicBezTo>
                  <a:cubicBezTo>
                    <a:pt x="140684" y="193834"/>
                    <a:pt x="145161" y="184976"/>
                    <a:pt x="145161" y="173641"/>
                  </a:cubicBezTo>
                  <a:lnTo>
                    <a:pt x="145161" y="172784"/>
                  </a:lnTo>
                  <a:cubicBezTo>
                    <a:pt x="145161" y="167164"/>
                    <a:pt x="143541" y="162211"/>
                    <a:pt x="140494" y="158020"/>
                  </a:cubicBezTo>
                  <a:cubicBezTo>
                    <a:pt x="137350" y="153829"/>
                    <a:pt x="133159" y="150209"/>
                    <a:pt x="127825" y="147066"/>
                  </a:cubicBezTo>
                  <a:cubicBezTo>
                    <a:pt x="122491" y="143923"/>
                    <a:pt x="116300" y="141161"/>
                    <a:pt x="109251" y="138779"/>
                  </a:cubicBezTo>
                  <a:cubicBezTo>
                    <a:pt x="102298" y="136398"/>
                    <a:pt x="95059" y="134207"/>
                    <a:pt x="87630" y="132112"/>
                  </a:cubicBezTo>
                  <a:cubicBezTo>
                    <a:pt x="78676" y="129445"/>
                    <a:pt x="69722" y="126492"/>
                    <a:pt x="60579" y="123444"/>
                  </a:cubicBezTo>
                  <a:cubicBezTo>
                    <a:pt x="51530" y="120301"/>
                    <a:pt x="43339" y="116396"/>
                    <a:pt x="36004" y="111633"/>
                  </a:cubicBezTo>
                  <a:cubicBezTo>
                    <a:pt x="28670" y="106871"/>
                    <a:pt x="22764" y="100870"/>
                    <a:pt x="18192" y="93726"/>
                  </a:cubicBezTo>
                  <a:cubicBezTo>
                    <a:pt x="13525" y="86582"/>
                    <a:pt x="11239" y="77629"/>
                    <a:pt x="11239" y="66961"/>
                  </a:cubicBezTo>
                  <a:lnTo>
                    <a:pt x="11239" y="66008"/>
                  </a:lnTo>
                  <a:cubicBezTo>
                    <a:pt x="11239" y="56198"/>
                    <a:pt x="13144" y="47149"/>
                    <a:pt x="17050" y="39053"/>
                  </a:cubicBezTo>
                  <a:cubicBezTo>
                    <a:pt x="20955" y="30861"/>
                    <a:pt x="26384" y="23908"/>
                    <a:pt x="33338" y="18098"/>
                  </a:cubicBezTo>
                  <a:cubicBezTo>
                    <a:pt x="40291" y="12287"/>
                    <a:pt x="48673" y="7811"/>
                    <a:pt x="58388" y="4667"/>
                  </a:cubicBezTo>
                  <a:cubicBezTo>
                    <a:pt x="68008" y="1524"/>
                    <a:pt x="78581" y="0"/>
                    <a:pt x="89821" y="0"/>
                  </a:cubicBezTo>
                  <a:cubicBezTo>
                    <a:pt x="104108" y="0"/>
                    <a:pt x="118586" y="2286"/>
                    <a:pt x="133159" y="6953"/>
                  </a:cubicBezTo>
                  <a:cubicBezTo>
                    <a:pt x="147732" y="11621"/>
                    <a:pt x="160972" y="17717"/>
                    <a:pt x="172878" y="25527"/>
                  </a:cubicBezTo>
                  <a:lnTo>
                    <a:pt x="157257" y="51435"/>
                  </a:lnTo>
                  <a:cubicBezTo>
                    <a:pt x="146494" y="44577"/>
                    <a:pt x="135255" y="39148"/>
                    <a:pt x="123539" y="35147"/>
                  </a:cubicBezTo>
                  <a:cubicBezTo>
                    <a:pt x="111823" y="31147"/>
                    <a:pt x="100203" y="29146"/>
                    <a:pt x="88963" y="29146"/>
                  </a:cubicBezTo>
                  <a:cubicBezTo>
                    <a:pt x="75247" y="29146"/>
                    <a:pt x="64389" y="32385"/>
                    <a:pt x="56388" y="38767"/>
                  </a:cubicBezTo>
                  <a:cubicBezTo>
                    <a:pt x="48291" y="45149"/>
                    <a:pt x="44291" y="53150"/>
                    <a:pt x="44291" y="62675"/>
                  </a:cubicBezTo>
                  <a:lnTo>
                    <a:pt x="44291" y="63627"/>
                  </a:lnTo>
                  <a:cubicBezTo>
                    <a:pt x="44291" y="68961"/>
                    <a:pt x="45910" y="73628"/>
                    <a:pt x="49244" y="77724"/>
                  </a:cubicBezTo>
                  <a:cubicBezTo>
                    <a:pt x="52482" y="81725"/>
                    <a:pt x="56864" y="85249"/>
                    <a:pt x="62389" y="88202"/>
                  </a:cubicBezTo>
                  <a:cubicBezTo>
                    <a:pt x="67913" y="91154"/>
                    <a:pt x="74200" y="93821"/>
                    <a:pt x="81343" y="96203"/>
                  </a:cubicBezTo>
                  <a:cubicBezTo>
                    <a:pt x="88487" y="98584"/>
                    <a:pt x="95916" y="100965"/>
                    <a:pt x="103631" y="103346"/>
                  </a:cubicBezTo>
                  <a:cubicBezTo>
                    <a:pt x="112585" y="106013"/>
                    <a:pt x="121444" y="108966"/>
                    <a:pt x="130207" y="112300"/>
                  </a:cubicBezTo>
                  <a:cubicBezTo>
                    <a:pt x="138969" y="115538"/>
                    <a:pt x="146971" y="119729"/>
                    <a:pt x="154114" y="124778"/>
                  </a:cubicBezTo>
                  <a:cubicBezTo>
                    <a:pt x="161258" y="129826"/>
                    <a:pt x="166973" y="135922"/>
                    <a:pt x="171259" y="143066"/>
                  </a:cubicBezTo>
                  <a:cubicBezTo>
                    <a:pt x="175546" y="150209"/>
                    <a:pt x="177736" y="158972"/>
                    <a:pt x="177736" y="169450"/>
                  </a:cubicBezTo>
                  <a:lnTo>
                    <a:pt x="177736" y="170307"/>
                  </a:lnTo>
                  <a:cubicBezTo>
                    <a:pt x="177736" y="181356"/>
                    <a:pt x="175546" y="191071"/>
                    <a:pt x="171259" y="199549"/>
                  </a:cubicBezTo>
                  <a:cubicBezTo>
                    <a:pt x="166973" y="208026"/>
                    <a:pt x="161163" y="215265"/>
                    <a:pt x="153828" y="221171"/>
                  </a:cubicBezTo>
                  <a:cubicBezTo>
                    <a:pt x="146589" y="227171"/>
                    <a:pt x="137922" y="231648"/>
                    <a:pt x="127921" y="234791"/>
                  </a:cubicBezTo>
                  <a:cubicBezTo>
                    <a:pt x="117919" y="237935"/>
                    <a:pt x="107156" y="239459"/>
                    <a:pt x="95535" y="239459"/>
                  </a:cubicBezTo>
                  <a:close/>
                </a:path>
              </a:pathLst>
            </a:custGeom>
            <a:solidFill>
              <a:srgbClr val="44505E"/>
            </a:solidFill>
            <a:ln w="9525" cap="flat">
              <a:noFill/>
              <a:prstDash val="solid"/>
              <a:miter/>
            </a:ln>
          </p:spPr>
          <p:txBody>
            <a:bodyPr rtlCol="0" anchor="ctr"/>
            <a:lstStyle/>
            <a:p>
              <a:endParaRPr lang="pt-BR" noProof="0"/>
            </a:p>
          </p:txBody>
        </p:sp>
        <p:sp>
          <p:nvSpPr>
            <p:cNvPr id="55" name="Freeform: Shape 54">
              <a:extLst>
                <a:ext uri="{FF2B5EF4-FFF2-40B4-BE49-F238E27FC236}">
                  <a16:creationId xmlns:a16="http://schemas.microsoft.com/office/drawing/2014/main" id="{994B0C21-7BD4-1E08-3367-FB1976DA4A65}"/>
                </a:ext>
              </a:extLst>
            </p:cNvPr>
            <p:cNvSpPr/>
            <p:nvPr/>
          </p:nvSpPr>
          <p:spPr>
            <a:xfrm>
              <a:off x="5250320" y="846952"/>
              <a:ext cx="1459036" cy="16186"/>
            </a:xfrm>
            <a:custGeom>
              <a:avLst/>
              <a:gdLst>
                <a:gd name="connsiteX0" fmla="*/ 0 w 5804058"/>
                <a:gd name="connsiteY0" fmla="*/ 0 h 64388"/>
                <a:gd name="connsiteX1" fmla="*/ 5804059 w 5804058"/>
                <a:gd name="connsiteY1" fmla="*/ 0 h 64388"/>
                <a:gd name="connsiteX2" fmla="*/ 5804059 w 5804058"/>
                <a:gd name="connsiteY2" fmla="*/ 64389 h 64388"/>
                <a:gd name="connsiteX3" fmla="*/ 0 w 5804058"/>
                <a:gd name="connsiteY3" fmla="*/ 64389 h 64388"/>
              </a:gdLst>
              <a:ahLst/>
              <a:cxnLst>
                <a:cxn ang="0">
                  <a:pos x="connsiteX0" y="connsiteY0"/>
                </a:cxn>
                <a:cxn ang="0">
                  <a:pos x="connsiteX1" y="connsiteY1"/>
                </a:cxn>
                <a:cxn ang="0">
                  <a:pos x="connsiteX2" y="connsiteY2"/>
                </a:cxn>
                <a:cxn ang="0">
                  <a:pos x="connsiteX3" y="connsiteY3"/>
                </a:cxn>
              </a:cxnLst>
              <a:rect l="l" t="t" r="r" b="b"/>
              <a:pathLst>
                <a:path w="5804058" h="64388">
                  <a:moveTo>
                    <a:pt x="0" y="0"/>
                  </a:moveTo>
                  <a:lnTo>
                    <a:pt x="5804059" y="0"/>
                  </a:lnTo>
                  <a:lnTo>
                    <a:pt x="5804059" y="64389"/>
                  </a:lnTo>
                  <a:lnTo>
                    <a:pt x="0" y="64389"/>
                  </a:lnTo>
                  <a:close/>
                </a:path>
              </a:pathLst>
            </a:custGeom>
            <a:solidFill>
              <a:srgbClr val="44505E"/>
            </a:solidFill>
            <a:ln w="9525" cap="flat">
              <a:noFill/>
              <a:prstDash val="solid"/>
              <a:miter/>
            </a:ln>
          </p:spPr>
          <p:txBody>
            <a:bodyPr rtlCol="0" anchor="ctr"/>
            <a:lstStyle/>
            <a:p>
              <a:endParaRPr lang="pt-BR" noProof="0"/>
            </a:p>
          </p:txBody>
        </p:sp>
        <p:sp>
          <p:nvSpPr>
            <p:cNvPr id="56" name="Freeform: Shape 55">
              <a:extLst>
                <a:ext uri="{FF2B5EF4-FFF2-40B4-BE49-F238E27FC236}">
                  <a16:creationId xmlns:a16="http://schemas.microsoft.com/office/drawing/2014/main" id="{01152F20-C339-ED04-4576-270868EEDD55}"/>
                </a:ext>
              </a:extLst>
            </p:cNvPr>
            <p:cNvSpPr/>
            <p:nvPr/>
          </p:nvSpPr>
          <p:spPr>
            <a:xfrm>
              <a:off x="6902633" y="268821"/>
              <a:ext cx="273418" cy="601046"/>
            </a:xfrm>
            <a:custGeom>
              <a:avLst/>
              <a:gdLst>
                <a:gd name="connsiteX0" fmla="*/ 0 w 1087659"/>
                <a:gd name="connsiteY0" fmla="*/ 210979 h 2390965"/>
                <a:gd name="connsiteX1" fmla="*/ 125063 w 1087659"/>
                <a:gd name="connsiteY1" fmla="*/ 103442 h 2390965"/>
                <a:gd name="connsiteX2" fmla="*/ 250031 w 1087659"/>
                <a:gd name="connsiteY2" fmla="*/ 210979 h 2390965"/>
                <a:gd name="connsiteX3" fmla="*/ 250031 w 1087659"/>
                <a:gd name="connsiteY3" fmla="*/ 1922717 h 2390965"/>
                <a:gd name="connsiteX4" fmla="*/ 249841 w 1087659"/>
                <a:gd name="connsiteY4" fmla="*/ 1922717 h 2390965"/>
                <a:gd name="connsiteX5" fmla="*/ 249841 w 1087659"/>
                <a:gd name="connsiteY5" fmla="*/ 1925955 h 2390965"/>
                <a:gd name="connsiteX6" fmla="*/ 333756 w 1087659"/>
                <a:gd name="connsiteY6" fmla="*/ 2100263 h 2390965"/>
                <a:gd name="connsiteX7" fmla="*/ 335566 w 1087659"/>
                <a:gd name="connsiteY7" fmla="*/ 2101787 h 2390965"/>
                <a:gd name="connsiteX8" fmla="*/ 336042 w 1087659"/>
                <a:gd name="connsiteY8" fmla="*/ 2102168 h 2390965"/>
                <a:gd name="connsiteX9" fmla="*/ 543877 w 1087659"/>
                <a:gd name="connsiteY9" fmla="*/ 2175891 h 2390965"/>
                <a:gd name="connsiteX10" fmla="*/ 749998 w 1087659"/>
                <a:gd name="connsiteY10" fmla="*/ 2103692 h 2390965"/>
                <a:gd name="connsiteX11" fmla="*/ 751713 w 1087659"/>
                <a:gd name="connsiteY11" fmla="*/ 2102168 h 2390965"/>
                <a:gd name="connsiteX12" fmla="*/ 752189 w 1087659"/>
                <a:gd name="connsiteY12" fmla="*/ 2101787 h 2390965"/>
                <a:gd name="connsiteX13" fmla="*/ 837819 w 1087659"/>
                <a:gd name="connsiteY13" fmla="*/ 1922812 h 2390965"/>
                <a:gd name="connsiteX14" fmla="*/ 837819 w 1087659"/>
                <a:gd name="connsiteY14" fmla="*/ 107537 h 2390965"/>
                <a:gd name="connsiteX15" fmla="*/ 962787 w 1087659"/>
                <a:gd name="connsiteY15" fmla="*/ 0 h 2390965"/>
                <a:gd name="connsiteX16" fmla="*/ 1087660 w 1087659"/>
                <a:gd name="connsiteY16" fmla="*/ 107537 h 2390965"/>
                <a:gd name="connsiteX17" fmla="*/ 1087660 w 1087659"/>
                <a:gd name="connsiteY17" fmla="*/ 1922621 h 2390965"/>
                <a:gd name="connsiteX18" fmla="*/ 928307 w 1087659"/>
                <a:gd name="connsiteY18" fmla="*/ 2253234 h 2390965"/>
                <a:gd name="connsiteX19" fmla="*/ 928116 w 1087659"/>
                <a:gd name="connsiteY19" fmla="*/ 2253424 h 2390965"/>
                <a:gd name="connsiteX20" fmla="*/ 927830 w 1087659"/>
                <a:gd name="connsiteY20" fmla="*/ 2253710 h 2390965"/>
                <a:gd name="connsiteX21" fmla="*/ 927354 w 1087659"/>
                <a:gd name="connsiteY21" fmla="*/ 2254187 h 2390965"/>
                <a:gd name="connsiteX22" fmla="*/ 543783 w 1087659"/>
                <a:gd name="connsiteY22" fmla="*/ 2390966 h 2390965"/>
                <a:gd name="connsiteX23" fmla="*/ 159734 w 1087659"/>
                <a:gd name="connsiteY23" fmla="*/ 2253710 h 2390965"/>
                <a:gd name="connsiteX24" fmla="*/ 159734 w 1087659"/>
                <a:gd name="connsiteY24" fmla="*/ 2253424 h 2390965"/>
                <a:gd name="connsiteX25" fmla="*/ 159353 w 1087659"/>
                <a:gd name="connsiteY25" fmla="*/ 2253234 h 2390965"/>
                <a:gd name="connsiteX26" fmla="*/ 158877 w 1087659"/>
                <a:gd name="connsiteY26" fmla="*/ 2252948 h 2390965"/>
                <a:gd name="connsiteX27" fmla="*/ 0 w 1087659"/>
                <a:gd name="connsiteY27" fmla="*/ 1922621 h 2390965"/>
                <a:gd name="connsiteX28" fmla="*/ 0 w 1087659"/>
                <a:gd name="connsiteY28" fmla="*/ 1922621 h 2390965"/>
                <a:gd name="connsiteX29" fmla="*/ 0 w 1087659"/>
                <a:gd name="connsiteY29" fmla="*/ 210979 h 239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87659" h="2390965">
                  <a:moveTo>
                    <a:pt x="0" y="210979"/>
                  </a:moveTo>
                  <a:cubicBezTo>
                    <a:pt x="0" y="151638"/>
                    <a:pt x="56007" y="103442"/>
                    <a:pt x="125063" y="103442"/>
                  </a:cubicBezTo>
                  <a:cubicBezTo>
                    <a:pt x="194120" y="103442"/>
                    <a:pt x="250031" y="151638"/>
                    <a:pt x="250031" y="210979"/>
                  </a:cubicBezTo>
                  <a:lnTo>
                    <a:pt x="250031" y="1922717"/>
                  </a:lnTo>
                  <a:lnTo>
                    <a:pt x="249841" y="1922717"/>
                  </a:lnTo>
                  <a:lnTo>
                    <a:pt x="249841" y="1925955"/>
                  </a:lnTo>
                  <a:cubicBezTo>
                    <a:pt x="250793" y="1994059"/>
                    <a:pt x="282797" y="2055495"/>
                    <a:pt x="333756" y="2100263"/>
                  </a:cubicBezTo>
                  <a:lnTo>
                    <a:pt x="335566" y="2101787"/>
                  </a:lnTo>
                  <a:lnTo>
                    <a:pt x="336042" y="2102168"/>
                  </a:lnTo>
                  <a:cubicBezTo>
                    <a:pt x="388906" y="2147697"/>
                    <a:pt x="462343" y="2175891"/>
                    <a:pt x="543877" y="2175891"/>
                  </a:cubicBezTo>
                  <a:cubicBezTo>
                    <a:pt x="625411" y="2175891"/>
                    <a:pt x="697420" y="2148364"/>
                    <a:pt x="749998" y="2103692"/>
                  </a:cubicBezTo>
                  <a:lnTo>
                    <a:pt x="751713" y="2102168"/>
                  </a:lnTo>
                  <a:lnTo>
                    <a:pt x="752189" y="2101787"/>
                  </a:lnTo>
                  <a:cubicBezTo>
                    <a:pt x="805053" y="2056352"/>
                    <a:pt x="837819" y="1993011"/>
                    <a:pt x="837819" y="1922812"/>
                  </a:cubicBezTo>
                  <a:lnTo>
                    <a:pt x="837819" y="107537"/>
                  </a:lnTo>
                  <a:cubicBezTo>
                    <a:pt x="837819" y="48196"/>
                    <a:pt x="893731" y="0"/>
                    <a:pt x="962787" y="0"/>
                  </a:cubicBezTo>
                  <a:cubicBezTo>
                    <a:pt x="1031843" y="0"/>
                    <a:pt x="1087660" y="48196"/>
                    <a:pt x="1087660" y="107537"/>
                  </a:cubicBezTo>
                  <a:lnTo>
                    <a:pt x="1087660" y="1922621"/>
                  </a:lnTo>
                  <a:cubicBezTo>
                    <a:pt x="1087660" y="2051399"/>
                    <a:pt x="1026795" y="2168366"/>
                    <a:pt x="928307" y="2253234"/>
                  </a:cubicBezTo>
                  <a:lnTo>
                    <a:pt x="928116" y="2253424"/>
                  </a:lnTo>
                  <a:lnTo>
                    <a:pt x="927830" y="2253710"/>
                  </a:lnTo>
                  <a:lnTo>
                    <a:pt x="927354" y="2254187"/>
                  </a:lnTo>
                  <a:cubicBezTo>
                    <a:pt x="828770" y="2338673"/>
                    <a:pt x="693134" y="2390966"/>
                    <a:pt x="543783" y="2390966"/>
                  </a:cubicBezTo>
                  <a:cubicBezTo>
                    <a:pt x="394430" y="2390966"/>
                    <a:pt x="258413" y="2338483"/>
                    <a:pt x="159734" y="2253710"/>
                  </a:cubicBezTo>
                  <a:lnTo>
                    <a:pt x="159734" y="2253424"/>
                  </a:lnTo>
                  <a:cubicBezTo>
                    <a:pt x="159734" y="2253424"/>
                    <a:pt x="159353" y="2253234"/>
                    <a:pt x="159353" y="2253234"/>
                  </a:cubicBezTo>
                  <a:lnTo>
                    <a:pt x="158877" y="2252948"/>
                  </a:lnTo>
                  <a:cubicBezTo>
                    <a:pt x="60770" y="2167985"/>
                    <a:pt x="0" y="2051304"/>
                    <a:pt x="0" y="1922621"/>
                  </a:cubicBezTo>
                  <a:lnTo>
                    <a:pt x="0" y="1922621"/>
                  </a:lnTo>
                  <a:lnTo>
                    <a:pt x="0" y="210979"/>
                  </a:lnTo>
                  <a:close/>
                </a:path>
              </a:pathLst>
            </a:custGeom>
            <a:solidFill>
              <a:srgbClr val="8FC640"/>
            </a:solidFill>
            <a:ln w="9525" cap="flat">
              <a:noFill/>
              <a:prstDash val="solid"/>
              <a:miter/>
            </a:ln>
          </p:spPr>
          <p:txBody>
            <a:bodyPr rtlCol="0" anchor="ctr"/>
            <a:lstStyle/>
            <a:p>
              <a:endParaRPr lang="pt-BR" noProof="0"/>
            </a:p>
          </p:txBody>
        </p:sp>
        <p:sp>
          <p:nvSpPr>
            <p:cNvPr id="57" name="Freeform: Shape 56">
              <a:extLst>
                <a:ext uri="{FF2B5EF4-FFF2-40B4-BE49-F238E27FC236}">
                  <a16:creationId xmlns:a16="http://schemas.microsoft.com/office/drawing/2014/main" id="{C4901FD8-0907-6FBE-A525-E500C3D572E8}"/>
                </a:ext>
              </a:extLst>
            </p:cNvPr>
            <p:cNvSpPr/>
            <p:nvPr/>
          </p:nvSpPr>
          <p:spPr>
            <a:xfrm>
              <a:off x="7013590" y="213965"/>
              <a:ext cx="54018" cy="562280"/>
            </a:xfrm>
            <a:custGeom>
              <a:avLst/>
              <a:gdLst>
                <a:gd name="connsiteX0" fmla="*/ 0 w 214883"/>
                <a:gd name="connsiteY0" fmla="*/ 107537 h 2236755"/>
                <a:gd name="connsiteX1" fmla="*/ 107537 w 214883"/>
                <a:gd name="connsiteY1" fmla="*/ 0 h 2236755"/>
                <a:gd name="connsiteX2" fmla="*/ 214884 w 214883"/>
                <a:gd name="connsiteY2" fmla="*/ 107537 h 2236755"/>
                <a:gd name="connsiteX3" fmla="*/ 214884 w 214883"/>
                <a:gd name="connsiteY3" fmla="*/ 2129219 h 2236755"/>
                <a:gd name="connsiteX4" fmla="*/ 107537 w 214883"/>
                <a:gd name="connsiteY4" fmla="*/ 2236756 h 2236755"/>
                <a:gd name="connsiteX5" fmla="*/ 0 w 214883"/>
                <a:gd name="connsiteY5" fmla="*/ 2129219 h 2236755"/>
                <a:gd name="connsiteX6" fmla="*/ 0 w 214883"/>
                <a:gd name="connsiteY6" fmla="*/ 107537 h 223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 h="2236755">
                  <a:moveTo>
                    <a:pt x="0" y="107537"/>
                  </a:moveTo>
                  <a:cubicBezTo>
                    <a:pt x="0" y="48197"/>
                    <a:pt x="48101" y="0"/>
                    <a:pt x="107537" y="0"/>
                  </a:cubicBezTo>
                  <a:cubicBezTo>
                    <a:pt x="166973" y="0"/>
                    <a:pt x="214884" y="48197"/>
                    <a:pt x="214884" y="107537"/>
                  </a:cubicBezTo>
                  <a:lnTo>
                    <a:pt x="214884" y="2129219"/>
                  </a:lnTo>
                  <a:cubicBezTo>
                    <a:pt x="214884" y="2188559"/>
                    <a:pt x="166782" y="2236756"/>
                    <a:pt x="107537" y="2236756"/>
                  </a:cubicBezTo>
                  <a:cubicBezTo>
                    <a:pt x="48291" y="2236756"/>
                    <a:pt x="0" y="2188559"/>
                    <a:pt x="0" y="2129219"/>
                  </a:cubicBezTo>
                  <a:lnTo>
                    <a:pt x="0" y="107537"/>
                  </a:lnTo>
                  <a:close/>
                </a:path>
              </a:pathLst>
            </a:custGeom>
            <a:solidFill>
              <a:srgbClr val="3698B0"/>
            </a:solidFill>
            <a:ln w="9525" cap="flat">
              <a:noFill/>
              <a:prstDash val="solid"/>
              <a:miter/>
            </a:ln>
          </p:spPr>
          <p:txBody>
            <a:bodyPr rtlCol="0" anchor="ctr"/>
            <a:lstStyle/>
            <a:p>
              <a:endParaRPr lang="pt-BR" noProof="0"/>
            </a:p>
          </p:txBody>
        </p:sp>
        <p:sp>
          <p:nvSpPr>
            <p:cNvPr id="58" name="Freeform: Shape 57">
              <a:extLst>
                <a:ext uri="{FF2B5EF4-FFF2-40B4-BE49-F238E27FC236}">
                  <a16:creationId xmlns:a16="http://schemas.microsoft.com/office/drawing/2014/main" id="{37479458-B676-078C-08CC-3366CE23E7A3}"/>
                </a:ext>
              </a:extLst>
            </p:cNvPr>
            <p:cNvSpPr/>
            <p:nvPr/>
          </p:nvSpPr>
          <p:spPr>
            <a:xfrm>
              <a:off x="6795770" y="332991"/>
              <a:ext cx="485994" cy="649437"/>
            </a:xfrm>
            <a:custGeom>
              <a:avLst/>
              <a:gdLst>
                <a:gd name="connsiteX0" fmla="*/ 1933290 w 1933289"/>
                <a:gd name="connsiteY0" fmla="*/ 138017 h 2583465"/>
                <a:gd name="connsiteX1" fmla="*/ 1933290 w 1933289"/>
                <a:gd name="connsiteY1" fmla="*/ 1734122 h 2583465"/>
                <a:gd name="connsiteX2" fmla="*/ 1796606 w 1933289"/>
                <a:gd name="connsiteY2" fmla="*/ 2229136 h 2583465"/>
                <a:gd name="connsiteX3" fmla="*/ 977742 w 1933289"/>
                <a:gd name="connsiteY3" fmla="*/ 2583466 h 2583465"/>
                <a:gd name="connsiteX4" fmla="*/ 955357 w 1933289"/>
                <a:gd name="connsiteY4" fmla="*/ 2583466 h 2583465"/>
                <a:gd name="connsiteX5" fmla="*/ 136589 w 1933289"/>
                <a:gd name="connsiteY5" fmla="*/ 2229136 h 2583465"/>
                <a:gd name="connsiteX6" fmla="*/ 0 w 1933289"/>
                <a:gd name="connsiteY6" fmla="*/ 1734122 h 2583465"/>
                <a:gd name="connsiteX7" fmla="*/ 0 w 1933289"/>
                <a:gd name="connsiteY7" fmla="*/ 794194 h 2583465"/>
                <a:gd name="connsiteX8" fmla="*/ 137827 w 1933289"/>
                <a:gd name="connsiteY8" fmla="*/ 656273 h 2583465"/>
                <a:gd name="connsiteX9" fmla="*/ 275463 w 1933289"/>
                <a:gd name="connsiteY9" fmla="*/ 794194 h 2583465"/>
                <a:gd name="connsiteX10" fmla="*/ 275463 w 1933289"/>
                <a:gd name="connsiteY10" fmla="*/ 1734122 h 2583465"/>
                <a:gd name="connsiteX11" fmla="*/ 354235 w 1933289"/>
                <a:gd name="connsiteY11" fmla="*/ 2059686 h 2583465"/>
                <a:gd name="connsiteX12" fmla="*/ 958215 w 1933289"/>
                <a:gd name="connsiteY12" fmla="*/ 2307527 h 2583465"/>
                <a:gd name="connsiteX13" fmla="*/ 974789 w 1933289"/>
                <a:gd name="connsiteY13" fmla="*/ 2307527 h 2583465"/>
                <a:gd name="connsiteX14" fmla="*/ 1578959 w 1933289"/>
                <a:gd name="connsiteY14" fmla="*/ 2059686 h 2583465"/>
                <a:gd name="connsiteX15" fmla="*/ 1657636 w 1933289"/>
                <a:gd name="connsiteY15" fmla="*/ 1734122 h 2583465"/>
                <a:gd name="connsiteX16" fmla="*/ 1657636 w 1933289"/>
                <a:gd name="connsiteY16" fmla="*/ 138017 h 2583465"/>
                <a:gd name="connsiteX17" fmla="*/ 1795463 w 1933289"/>
                <a:gd name="connsiteY17" fmla="*/ 0 h 2583465"/>
                <a:gd name="connsiteX18" fmla="*/ 1933290 w 1933289"/>
                <a:gd name="connsiteY18" fmla="*/ 138017 h 25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3289" h="2583465">
                  <a:moveTo>
                    <a:pt x="1933290" y="138017"/>
                  </a:moveTo>
                  <a:lnTo>
                    <a:pt x="1933290" y="1734122"/>
                  </a:lnTo>
                  <a:cubicBezTo>
                    <a:pt x="1933290" y="1870996"/>
                    <a:pt x="1919002" y="2071211"/>
                    <a:pt x="1796606" y="2229136"/>
                  </a:cubicBezTo>
                  <a:cubicBezTo>
                    <a:pt x="1634395" y="2438305"/>
                    <a:pt x="1432084" y="2578703"/>
                    <a:pt x="977742" y="2583466"/>
                  </a:cubicBezTo>
                  <a:lnTo>
                    <a:pt x="955357" y="2583466"/>
                  </a:lnTo>
                  <a:cubicBezTo>
                    <a:pt x="501015" y="2578703"/>
                    <a:pt x="298704" y="2438400"/>
                    <a:pt x="136589" y="2229136"/>
                  </a:cubicBezTo>
                  <a:cubicBezTo>
                    <a:pt x="14192" y="2071211"/>
                    <a:pt x="0" y="1870996"/>
                    <a:pt x="0" y="1734122"/>
                  </a:cubicBezTo>
                  <a:lnTo>
                    <a:pt x="0" y="794194"/>
                  </a:lnTo>
                  <a:cubicBezTo>
                    <a:pt x="0" y="718185"/>
                    <a:pt x="61436" y="656273"/>
                    <a:pt x="137827" y="656273"/>
                  </a:cubicBezTo>
                  <a:cubicBezTo>
                    <a:pt x="214217" y="656273"/>
                    <a:pt x="275463" y="718185"/>
                    <a:pt x="275463" y="794194"/>
                  </a:cubicBezTo>
                  <a:lnTo>
                    <a:pt x="275463" y="1734122"/>
                  </a:lnTo>
                  <a:cubicBezTo>
                    <a:pt x="275463" y="1887188"/>
                    <a:pt x="300324" y="1990630"/>
                    <a:pt x="354235" y="2059686"/>
                  </a:cubicBezTo>
                  <a:cubicBezTo>
                    <a:pt x="476250" y="2217611"/>
                    <a:pt x="609791" y="2304479"/>
                    <a:pt x="958215" y="2307527"/>
                  </a:cubicBezTo>
                  <a:lnTo>
                    <a:pt x="974789" y="2307527"/>
                  </a:lnTo>
                  <a:cubicBezTo>
                    <a:pt x="1323499" y="2304479"/>
                    <a:pt x="1456563" y="2217611"/>
                    <a:pt x="1578959" y="2059686"/>
                  </a:cubicBezTo>
                  <a:cubicBezTo>
                    <a:pt x="1632490" y="1990630"/>
                    <a:pt x="1657636" y="1887093"/>
                    <a:pt x="1657636" y="1734122"/>
                  </a:cubicBezTo>
                  <a:lnTo>
                    <a:pt x="1657636" y="138017"/>
                  </a:lnTo>
                  <a:cubicBezTo>
                    <a:pt x="1657636" y="61531"/>
                    <a:pt x="1719453" y="0"/>
                    <a:pt x="1795463" y="0"/>
                  </a:cubicBezTo>
                  <a:cubicBezTo>
                    <a:pt x="1871472" y="0"/>
                    <a:pt x="1933290" y="61531"/>
                    <a:pt x="1933290" y="138017"/>
                  </a:cubicBezTo>
                </a:path>
              </a:pathLst>
            </a:custGeom>
            <a:solidFill>
              <a:srgbClr val="49306E"/>
            </a:solidFill>
            <a:ln w="9525" cap="flat">
              <a:noFill/>
              <a:prstDash val="solid"/>
              <a:miter/>
            </a:ln>
          </p:spPr>
          <p:txBody>
            <a:bodyPr rtlCol="0" anchor="ctr"/>
            <a:lstStyle/>
            <a:p>
              <a:endParaRPr lang="pt-BR" noProof="0"/>
            </a:p>
          </p:txBody>
        </p:sp>
      </p:grpSp>
      <p:sp>
        <p:nvSpPr>
          <p:cNvPr id="5" name="Rectangle 3">
            <a:extLst>
              <a:ext uri="{FF2B5EF4-FFF2-40B4-BE49-F238E27FC236}">
                <a16:creationId xmlns:a16="http://schemas.microsoft.com/office/drawing/2014/main" id="{E06676BC-70A4-3059-E12E-E1057F821007}"/>
              </a:ext>
            </a:extLst>
          </p:cNvPr>
          <p:cNvSpPr>
            <a:spLocks noChangeArrowheads="1"/>
          </p:cNvSpPr>
          <p:nvPr/>
        </p:nvSpPr>
        <p:spPr bwMode="auto">
          <a:xfrm>
            <a:off x="428153" y="692497"/>
            <a:ext cx="264816" cy="2862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p:txBody>
      </p:sp>
      <p:sp>
        <p:nvSpPr>
          <p:cNvPr id="3" name="CaixaDeTexto 2">
            <a:extLst>
              <a:ext uri="{FF2B5EF4-FFF2-40B4-BE49-F238E27FC236}">
                <a16:creationId xmlns:a16="http://schemas.microsoft.com/office/drawing/2014/main" id="{26456706-A47A-783D-CE26-26A0D2A9C64E}"/>
              </a:ext>
            </a:extLst>
          </p:cNvPr>
          <p:cNvSpPr txBox="1"/>
          <p:nvPr/>
        </p:nvSpPr>
        <p:spPr>
          <a:xfrm>
            <a:off x="1102800" y="1318002"/>
            <a:ext cx="10301515" cy="1054712"/>
          </a:xfrm>
          <a:prstGeom prst="rect">
            <a:avLst/>
          </a:prstGeom>
          <a:noFill/>
        </p:spPr>
        <p:txBody>
          <a:bodyPr wrap="square" lIns="91440" tIns="45720" rIns="91440" bIns="45720" rtlCol="0" anchor="t">
            <a:spAutoFit/>
          </a:bodyPr>
          <a:lstStyle/>
          <a:p>
            <a:pPr>
              <a:lnSpc>
                <a:spcPct val="150000"/>
              </a:lnSpc>
            </a:pPr>
            <a:endParaRPr lang="pt-BR" sz="2000" noProof="0"/>
          </a:p>
          <a:p>
            <a:pPr>
              <a:lnSpc>
                <a:spcPct val="150000"/>
              </a:lnSpc>
            </a:pPr>
            <a:endParaRPr lang="pt-BR" sz="2400" noProof="0"/>
          </a:p>
        </p:txBody>
      </p:sp>
      <p:sp>
        <p:nvSpPr>
          <p:cNvPr id="6" name="Seta: para Baixo 5">
            <a:extLst>
              <a:ext uri="{FF2B5EF4-FFF2-40B4-BE49-F238E27FC236}">
                <a16:creationId xmlns:a16="http://schemas.microsoft.com/office/drawing/2014/main" id="{F415E1B3-7887-191B-9D39-EC86DEDD145F}"/>
              </a:ext>
            </a:extLst>
          </p:cNvPr>
          <p:cNvSpPr/>
          <p:nvPr/>
        </p:nvSpPr>
        <p:spPr>
          <a:xfrm rot="16200000">
            <a:off x="420824" y="1577797"/>
            <a:ext cx="457200" cy="542417"/>
          </a:xfrm>
          <a:prstGeom prst="downArrow">
            <a:avLst/>
          </a:prstGeom>
          <a:solidFill>
            <a:srgbClr val="D9D9D9"/>
          </a:solidFill>
          <a:ln w="19050">
            <a:solidFill>
              <a:srgbClr val="7F3D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lgn="just">
              <a:buFont typeface="Arial" panose="020B0604020202020204" pitchFamily="34" charset="0"/>
              <a:buChar char="•"/>
            </a:pPr>
            <a:endParaRPr lang="pt-BR" sz="1800" noProof="0"/>
          </a:p>
        </p:txBody>
      </p:sp>
      <p:sp>
        <p:nvSpPr>
          <p:cNvPr id="7" name="Seta: para Baixo 6">
            <a:extLst>
              <a:ext uri="{FF2B5EF4-FFF2-40B4-BE49-F238E27FC236}">
                <a16:creationId xmlns:a16="http://schemas.microsoft.com/office/drawing/2014/main" id="{526D5921-C7D0-1359-11B7-FF0DFBCB3973}"/>
              </a:ext>
            </a:extLst>
          </p:cNvPr>
          <p:cNvSpPr/>
          <p:nvPr/>
        </p:nvSpPr>
        <p:spPr>
          <a:xfrm rot="16200000">
            <a:off x="11301257" y="6120506"/>
            <a:ext cx="457200" cy="542417"/>
          </a:xfrm>
          <a:prstGeom prst="downArrow">
            <a:avLst/>
          </a:prstGeom>
          <a:solidFill>
            <a:srgbClr val="D9D9D9"/>
          </a:solidFill>
          <a:ln w="19050">
            <a:solidFill>
              <a:srgbClr val="7F3D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lgn="just">
              <a:buFont typeface="Arial" panose="020B0604020202020204" pitchFamily="34" charset="0"/>
              <a:buChar char="•"/>
            </a:pPr>
            <a:endParaRPr lang="pt-BR" sz="1800" noProof="0"/>
          </a:p>
        </p:txBody>
      </p:sp>
      <p:sp>
        <p:nvSpPr>
          <p:cNvPr id="4" name="CaixaDeTexto 3">
            <a:extLst>
              <a:ext uri="{FF2B5EF4-FFF2-40B4-BE49-F238E27FC236}">
                <a16:creationId xmlns:a16="http://schemas.microsoft.com/office/drawing/2014/main" id="{4D3F4954-C1C2-37AA-68AE-4120617E1F3C}"/>
              </a:ext>
            </a:extLst>
          </p:cNvPr>
          <p:cNvSpPr txBox="1"/>
          <p:nvPr/>
        </p:nvSpPr>
        <p:spPr>
          <a:xfrm>
            <a:off x="1498599" y="1489331"/>
            <a:ext cx="8508429" cy="2356286"/>
          </a:xfrm>
          <a:prstGeom prst="rect">
            <a:avLst/>
          </a:prstGeom>
          <a:noFill/>
        </p:spPr>
        <p:txBody>
          <a:bodyPr wrap="square">
            <a:spAutoFit/>
          </a:bodyPr>
          <a:lstStyle/>
          <a:p>
            <a:pPr marL="285750" indent="-285750">
              <a:lnSpc>
                <a:spcPct val="150000"/>
              </a:lnSpc>
              <a:buFont typeface="Arial" panose="020B0604020202020204" pitchFamily="34" charset="0"/>
              <a:buChar char="•"/>
            </a:pPr>
            <a:r>
              <a:rPr lang="pt-BR" sz="2000" noProof="0" dirty="0"/>
              <a:t>Paciente evoluiu com persistência do quadro </a:t>
            </a:r>
          </a:p>
          <a:p>
            <a:pPr marL="285750" indent="-285750">
              <a:lnSpc>
                <a:spcPct val="150000"/>
              </a:lnSpc>
              <a:buFont typeface="Arial" panose="020B0604020202020204" pitchFamily="34" charset="0"/>
              <a:buChar char="•"/>
            </a:pPr>
            <a:endParaRPr lang="pt-BR" sz="2000" dirty="0"/>
          </a:p>
          <a:p>
            <a:pPr marL="285750" indent="-285750">
              <a:lnSpc>
                <a:spcPct val="150000"/>
              </a:lnSpc>
              <a:buFont typeface="Arial" panose="020B0604020202020204" pitchFamily="34" charset="0"/>
              <a:buChar char="•"/>
            </a:pPr>
            <a:r>
              <a:rPr lang="pt-BR" sz="2000" noProof="0" dirty="0"/>
              <a:t>Necessidade de aumento dos parâmetros ventilatórios</a:t>
            </a:r>
          </a:p>
          <a:p>
            <a:pPr marL="285750" indent="-285750">
              <a:lnSpc>
                <a:spcPct val="150000"/>
              </a:lnSpc>
              <a:buFont typeface="Arial" panose="020B0604020202020204" pitchFamily="34" charset="0"/>
              <a:buChar char="•"/>
            </a:pPr>
            <a:endParaRPr lang="pt-BR" sz="2000" noProof="0" dirty="0"/>
          </a:p>
          <a:p>
            <a:pPr marL="285750" indent="-285750">
              <a:lnSpc>
                <a:spcPct val="150000"/>
              </a:lnSpc>
              <a:buFont typeface="Arial" panose="020B0604020202020204" pitchFamily="34" charset="0"/>
              <a:buChar char="•"/>
            </a:pPr>
            <a:r>
              <a:rPr lang="pt-BR" sz="2000" dirty="0"/>
              <a:t>Apresentando raio-x com condensado na base pulmonar direita</a:t>
            </a:r>
          </a:p>
        </p:txBody>
      </p:sp>
    </p:spTree>
    <p:extLst>
      <p:ext uri="{BB962C8B-B14F-4D97-AF65-F5344CB8AC3E}">
        <p14:creationId xmlns:p14="http://schemas.microsoft.com/office/powerpoint/2010/main" val="6908231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nodePh="1">
                                  <p:stCondLst>
                                    <p:cond delay="0"/>
                                  </p:stCondLst>
                                  <p:endCondLst>
                                    <p:cond evt="begin" delay="0">
                                      <p:tn val="7"/>
                                    </p:cond>
                                  </p:endCondLst>
                                  <p:childTnLst>
                                    <p:set>
                                      <p:cBhvr>
                                        <p:cTn id="8" dur="1" fill="hold">
                                          <p:stCondLst>
                                            <p:cond delay="0"/>
                                          </p:stCondLst>
                                        </p:cTn>
                                        <p:tgtEl>
                                          <p:spTgt spid="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6" grpId="0" animBg="1"/>
      <p:bldP spid="7"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675AB3-7DBC-D757-59F7-204C78BF2732}"/>
            </a:ext>
          </a:extLst>
        </p:cNvPr>
        <p:cNvGrpSpPr/>
        <p:nvPr/>
      </p:nvGrpSpPr>
      <p:grpSpPr>
        <a:xfrm>
          <a:off x="0" y="0"/>
          <a:ext cx="0" cy="0"/>
          <a:chOff x="0" y="0"/>
          <a:chExt cx="0" cy="0"/>
        </a:xfrm>
      </p:grpSpPr>
      <p:pic>
        <p:nvPicPr>
          <p:cNvPr id="4" name="Imagem 3">
            <a:extLst>
              <a:ext uri="{FF2B5EF4-FFF2-40B4-BE49-F238E27FC236}">
                <a16:creationId xmlns:a16="http://schemas.microsoft.com/office/drawing/2014/main" id="{38C45B24-5EE4-218F-75C7-D9EFA6E772DF}"/>
              </a:ext>
            </a:extLst>
          </p:cNvPr>
          <p:cNvPicPr>
            <a:picLocks noChangeAspect="1"/>
          </p:cNvPicPr>
          <p:nvPr/>
        </p:nvPicPr>
        <p:blipFill rotWithShape="1">
          <a:blip r:embed="rId4"/>
          <a:srcRect l="1" t="20620" r="1245" b="20011"/>
          <a:stretch/>
        </p:blipFill>
        <p:spPr>
          <a:xfrm>
            <a:off x="2321596" y="482985"/>
            <a:ext cx="8237677" cy="5433160"/>
          </a:xfrm>
          <a:prstGeom prst="rect">
            <a:avLst/>
          </a:prstGeom>
        </p:spPr>
      </p:pic>
      <p:graphicFrame>
        <p:nvGraphicFramePr>
          <p:cNvPr id="12" name="think-cell data - do not delete" hidden="1">
            <a:extLst>
              <a:ext uri="{FF2B5EF4-FFF2-40B4-BE49-F238E27FC236}">
                <a16:creationId xmlns:a16="http://schemas.microsoft.com/office/drawing/2014/main" id="{992F21D9-5D03-CD1A-A864-19CF2D86BC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8" progId="TCLayout.ActiveDocument.1">
                  <p:embed/>
                </p:oleObj>
              </mc:Choice>
              <mc:Fallback>
                <p:oleObj name="think-cell Slide" r:id="rId5" imgW="306" imgH="308" progId="TCLayout.ActiveDocument.1">
                  <p:embed/>
                  <p:pic>
                    <p:nvPicPr>
                      <p:cNvPr id="12" name="think-cell data - do not delete" hidden="1">
                        <a:extLst>
                          <a:ext uri="{FF2B5EF4-FFF2-40B4-BE49-F238E27FC236}">
                            <a16:creationId xmlns:a16="http://schemas.microsoft.com/office/drawing/2014/main" id="{992F21D9-5D03-CD1A-A864-19CF2D86BC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3" name="Group 12">
            <a:extLst>
              <a:ext uri="{FF2B5EF4-FFF2-40B4-BE49-F238E27FC236}">
                <a16:creationId xmlns:a16="http://schemas.microsoft.com/office/drawing/2014/main" id="{FE3EF56E-1AB6-D0A8-C7A8-0FA0A5484432}"/>
              </a:ext>
            </a:extLst>
          </p:cNvPr>
          <p:cNvGrpSpPr/>
          <p:nvPr/>
        </p:nvGrpSpPr>
        <p:grpSpPr>
          <a:xfrm>
            <a:off x="304800" y="249455"/>
            <a:ext cx="1193800" cy="462985"/>
            <a:chOff x="5245100" y="211355"/>
            <a:chExt cx="2036664" cy="789869"/>
          </a:xfrm>
        </p:grpSpPr>
        <p:sp>
          <p:nvSpPr>
            <p:cNvPr id="14" name="Freeform: Shape 13">
              <a:extLst>
                <a:ext uri="{FF2B5EF4-FFF2-40B4-BE49-F238E27FC236}">
                  <a16:creationId xmlns:a16="http://schemas.microsoft.com/office/drawing/2014/main" id="{996F5311-0687-66F1-D24F-E59613BED781}"/>
                </a:ext>
              </a:extLst>
            </p:cNvPr>
            <p:cNvSpPr/>
            <p:nvPr/>
          </p:nvSpPr>
          <p:spPr>
            <a:xfrm>
              <a:off x="5245100" y="308520"/>
              <a:ext cx="247894" cy="322815"/>
            </a:xfrm>
            <a:custGeom>
              <a:avLst/>
              <a:gdLst>
                <a:gd name="connsiteX0" fmla="*/ 529590 w 986123"/>
                <a:gd name="connsiteY0" fmla="*/ 1284160 h 1284160"/>
                <a:gd name="connsiteX1" fmla="*/ 249650 w 986123"/>
                <a:gd name="connsiteY1" fmla="*/ 1235107 h 1284160"/>
                <a:gd name="connsiteX2" fmla="*/ 0 w 986123"/>
                <a:gd name="connsiteY2" fmla="*/ 1084421 h 1284160"/>
                <a:gd name="connsiteX3" fmla="*/ 162306 w 986123"/>
                <a:gd name="connsiteY3" fmla="*/ 890016 h 1284160"/>
                <a:gd name="connsiteX4" fmla="*/ 337947 w 986123"/>
                <a:gd name="connsiteY4" fmla="*/ 1000601 h 1284160"/>
                <a:gd name="connsiteX5" fmla="*/ 535019 w 986123"/>
                <a:gd name="connsiteY5" fmla="*/ 1041654 h 1284160"/>
                <a:gd name="connsiteX6" fmla="*/ 667893 w 986123"/>
                <a:gd name="connsiteY6" fmla="*/ 1010412 h 1284160"/>
                <a:gd name="connsiteX7" fmla="*/ 715137 w 986123"/>
                <a:gd name="connsiteY7" fmla="*/ 923925 h 1284160"/>
                <a:gd name="connsiteX8" fmla="*/ 715137 w 986123"/>
                <a:gd name="connsiteY8" fmla="*/ 920305 h 1284160"/>
                <a:gd name="connsiteX9" fmla="*/ 705326 w 986123"/>
                <a:gd name="connsiteY9" fmla="*/ 873062 h 1284160"/>
                <a:gd name="connsiteX10" fmla="*/ 667798 w 986123"/>
                <a:gd name="connsiteY10" fmla="*/ 834676 h 1284160"/>
                <a:gd name="connsiteX11" fmla="*/ 590931 w 986123"/>
                <a:gd name="connsiteY11" fmla="*/ 798957 h 1284160"/>
                <a:gd name="connsiteX12" fmla="*/ 463106 w 986123"/>
                <a:gd name="connsiteY12" fmla="*/ 761524 h 1284160"/>
                <a:gd name="connsiteX13" fmla="*/ 291465 w 986123"/>
                <a:gd name="connsiteY13" fmla="*/ 709803 h 1284160"/>
                <a:gd name="connsiteX14" fmla="*/ 160973 w 986123"/>
                <a:gd name="connsiteY14" fmla="*/ 639318 h 1284160"/>
                <a:gd name="connsiteX15" fmla="*/ 77819 w 986123"/>
                <a:gd name="connsiteY15" fmla="*/ 535019 h 1284160"/>
                <a:gd name="connsiteX16" fmla="*/ 48292 w 986123"/>
                <a:gd name="connsiteY16" fmla="*/ 379857 h 1284160"/>
                <a:gd name="connsiteX17" fmla="*/ 48292 w 986123"/>
                <a:gd name="connsiteY17" fmla="*/ 376238 h 1284160"/>
                <a:gd name="connsiteX18" fmla="*/ 80201 w 986123"/>
                <a:gd name="connsiteY18" fmla="*/ 222028 h 1284160"/>
                <a:gd name="connsiteX19" fmla="*/ 169640 w 986123"/>
                <a:gd name="connsiteY19" fmla="*/ 103441 h 1284160"/>
                <a:gd name="connsiteX20" fmla="*/ 307181 w 986123"/>
                <a:gd name="connsiteY20" fmla="*/ 26765 h 1284160"/>
                <a:gd name="connsiteX21" fmla="*/ 483394 w 986123"/>
                <a:gd name="connsiteY21" fmla="*/ 0 h 1284160"/>
                <a:gd name="connsiteX22" fmla="*/ 735711 w 986123"/>
                <a:gd name="connsiteY22" fmla="*/ 41053 h 1284160"/>
                <a:gd name="connsiteX23" fmla="*/ 946976 w 986123"/>
                <a:gd name="connsiteY23" fmla="*/ 158687 h 1284160"/>
                <a:gd name="connsiteX24" fmla="*/ 804291 w 986123"/>
                <a:gd name="connsiteY24" fmla="*/ 365569 h 1284160"/>
                <a:gd name="connsiteX25" fmla="*/ 640271 w 986123"/>
                <a:gd name="connsiteY25" fmla="*/ 275558 h 1284160"/>
                <a:gd name="connsiteX26" fmla="*/ 479774 w 986123"/>
                <a:gd name="connsiteY26" fmla="*/ 242602 h 1284160"/>
                <a:gd name="connsiteX27" fmla="*/ 359378 w 986123"/>
                <a:gd name="connsiteY27" fmla="*/ 273844 h 1284160"/>
                <a:gd name="connsiteX28" fmla="*/ 319278 w 986123"/>
                <a:gd name="connsiteY28" fmla="*/ 351377 h 1284160"/>
                <a:gd name="connsiteX29" fmla="*/ 319278 w 986123"/>
                <a:gd name="connsiteY29" fmla="*/ 354997 h 1284160"/>
                <a:gd name="connsiteX30" fmla="*/ 330899 w 986123"/>
                <a:gd name="connsiteY30" fmla="*/ 407575 h 1284160"/>
                <a:gd name="connsiteX31" fmla="*/ 372904 w 986123"/>
                <a:gd name="connsiteY31" fmla="*/ 447675 h 1284160"/>
                <a:gd name="connsiteX32" fmla="*/ 456057 w 986123"/>
                <a:gd name="connsiteY32" fmla="*/ 481489 h 1284160"/>
                <a:gd name="connsiteX33" fmla="*/ 589217 w 986123"/>
                <a:gd name="connsiteY33" fmla="*/ 518922 h 1284160"/>
                <a:gd name="connsiteX34" fmla="*/ 758190 w 986123"/>
                <a:gd name="connsiteY34" fmla="*/ 575120 h 1284160"/>
                <a:gd name="connsiteX35" fmla="*/ 883349 w 986123"/>
                <a:gd name="connsiteY35" fmla="*/ 649986 h 1284160"/>
                <a:gd name="connsiteX36" fmla="*/ 960215 w 986123"/>
                <a:gd name="connsiteY36" fmla="*/ 752570 h 1284160"/>
                <a:gd name="connsiteX37" fmla="*/ 986123 w 986123"/>
                <a:gd name="connsiteY37" fmla="*/ 893445 h 1284160"/>
                <a:gd name="connsiteX38" fmla="*/ 986123 w 986123"/>
                <a:gd name="connsiteY38" fmla="*/ 897064 h 1284160"/>
                <a:gd name="connsiteX39" fmla="*/ 952500 w 986123"/>
                <a:gd name="connsiteY39" fmla="*/ 1062038 h 1284160"/>
                <a:gd name="connsiteX40" fmla="*/ 858584 w 986123"/>
                <a:gd name="connsiteY40" fmla="*/ 1183291 h 1284160"/>
                <a:gd name="connsiteX41" fmla="*/ 714851 w 986123"/>
                <a:gd name="connsiteY41" fmla="*/ 1258157 h 1284160"/>
                <a:gd name="connsiteX42" fmla="*/ 529685 w 986123"/>
                <a:gd name="connsiteY42" fmla="*/ 1284065 h 128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6123" h="1284160">
                  <a:moveTo>
                    <a:pt x="529590" y="1284160"/>
                  </a:moveTo>
                  <a:cubicBezTo>
                    <a:pt x="434435" y="1284160"/>
                    <a:pt x="341186" y="1267777"/>
                    <a:pt x="249650" y="1235107"/>
                  </a:cubicBezTo>
                  <a:cubicBezTo>
                    <a:pt x="158115" y="1202436"/>
                    <a:pt x="74867" y="1152239"/>
                    <a:pt x="0" y="1084421"/>
                  </a:cubicBezTo>
                  <a:lnTo>
                    <a:pt x="162306" y="890016"/>
                  </a:lnTo>
                  <a:cubicBezTo>
                    <a:pt x="219361" y="936403"/>
                    <a:pt x="277844" y="973264"/>
                    <a:pt x="337947" y="1000601"/>
                  </a:cubicBezTo>
                  <a:cubicBezTo>
                    <a:pt x="397955" y="1027938"/>
                    <a:pt x="463677" y="1041654"/>
                    <a:pt x="535019" y="1041654"/>
                  </a:cubicBezTo>
                  <a:cubicBezTo>
                    <a:pt x="592074" y="1041654"/>
                    <a:pt x="636365" y="1031272"/>
                    <a:pt x="667893" y="1010412"/>
                  </a:cubicBezTo>
                  <a:cubicBezTo>
                    <a:pt x="699421" y="989647"/>
                    <a:pt x="715137" y="960787"/>
                    <a:pt x="715137" y="923925"/>
                  </a:cubicBezTo>
                  <a:lnTo>
                    <a:pt x="715137" y="920305"/>
                  </a:lnTo>
                  <a:cubicBezTo>
                    <a:pt x="715137" y="902494"/>
                    <a:pt x="711803" y="886777"/>
                    <a:pt x="705326" y="873062"/>
                  </a:cubicBezTo>
                  <a:cubicBezTo>
                    <a:pt x="698754" y="859441"/>
                    <a:pt x="686276" y="846582"/>
                    <a:pt x="667798" y="834676"/>
                  </a:cubicBezTo>
                  <a:cubicBezTo>
                    <a:pt x="649319" y="822770"/>
                    <a:pt x="623697" y="810863"/>
                    <a:pt x="590931" y="798957"/>
                  </a:cubicBezTo>
                  <a:cubicBezTo>
                    <a:pt x="558165" y="787146"/>
                    <a:pt x="515493" y="774573"/>
                    <a:pt x="463106" y="761524"/>
                  </a:cubicBezTo>
                  <a:cubicBezTo>
                    <a:pt x="399955" y="746093"/>
                    <a:pt x="342710" y="728853"/>
                    <a:pt x="291465" y="709803"/>
                  </a:cubicBezTo>
                  <a:cubicBezTo>
                    <a:pt x="240221" y="690753"/>
                    <a:pt x="196691" y="667322"/>
                    <a:pt x="160973" y="639318"/>
                  </a:cubicBezTo>
                  <a:cubicBezTo>
                    <a:pt x="125159" y="611410"/>
                    <a:pt x="97536" y="576644"/>
                    <a:pt x="77819" y="535019"/>
                  </a:cubicBezTo>
                  <a:cubicBezTo>
                    <a:pt x="58103" y="493395"/>
                    <a:pt x="48292" y="441674"/>
                    <a:pt x="48292" y="379857"/>
                  </a:cubicBezTo>
                  <a:lnTo>
                    <a:pt x="48292" y="376238"/>
                  </a:lnTo>
                  <a:cubicBezTo>
                    <a:pt x="48292" y="319183"/>
                    <a:pt x="58865" y="267748"/>
                    <a:pt x="80201" y="222028"/>
                  </a:cubicBezTo>
                  <a:cubicBezTo>
                    <a:pt x="101441" y="176308"/>
                    <a:pt x="131255" y="136779"/>
                    <a:pt x="169640" y="103441"/>
                  </a:cubicBezTo>
                  <a:cubicBezTo>
                    <a:pt x="208026" y="70199"/>
                    <a:pt x="253841" y="44577"/>
                    <a:pt x="307181" y="26765"/>
                  </a:cubicBezTo>
                  <a:cubicBezTo>
                    <a:pt x="360426" y="8953"/>
                    <a:pt x="419195" y="0"/>
                    <a:pt x="483394" y="0"/>
                  </a:cubicBezTo>
                  <a:cubicBezTo>
                    <a:pt x="574929" y="0"/>
                    <a:pt x="659035" y="13716"/>
                    <a:pt x="735711" y="41053"/>
                  </a:cubicBezTo>
                  <a:cubicBezTo>
                    <a:pt x="812387" y="68389"/>
                    <a:pt x="882777" y="107632"/>
                    <a:pt x="946976" y="158687"/>
                  </a:cubicBezTo>
                  <a:lnTo>
                    <a:pt x="804291" y="365569"/>
                  </a:lnTo>
                  <a:cubicBezTo>
                    <a:pt x="748379" y="327565"/>
                    <a:pt x="693706" y="297561"/>
                    <a:pt x="640271" y="275558"/>
                  </a:cubicBezTo>
                  <a:cubicBezTo>
                    <a:pt x="586740" y="253555"/>
                    <a:pt x="533305" y="242602"/>
                    <a:pt x="479774" y="242602"/>
                  </a:cubicBezTo>
                  <a:cubicBezTo>
                    <a:pt x="426244" y="242602"/>
                    <a:pt x="386144" y="252984"/>
                    <a:pt x="359378" y="273844"/>
                  </a:cubicBezTo>
                  <a:cubicBezTo>
                    <a:pt x="332613" y="294608"/>
                    <a:pt x="319278" y="320516"/>
                    <a:pt x="319278" y="351377"/>
                  </a:cubicBezTo>
                  <a:lnTo>
                    <a:pt x="319278" y="354997"/>
                  </a:lnTo>
                  <a:cubicBezTo>
                    <a:pt x="319278" y="375190"/>
                    <a:pt x="323183" y="392716"/>
                    <a:pt x="330899" y="407575"/>
                  </a:cubicBezTo>
                  <a:cubicBezTo>
                    <a:pt x="338614" y="422434"/>
                    <a:pt x="352616" y="435864"/>
                    <a:pt x="372904" y="447675"/>
                  </a:cubicBezTo>
                  <a:cubicBezTo>
                    <a:pt x="393192" y="459581"/>
                    <a:pt x="420910" y="470821"/>
                    <a:pt x="456057" y="481489"/>
                  </a:cubicBezTo>
                  <a:cubicBezTo>
                    <a:pt x="491204" y="492157"/>
                    <a:pt x="535591" y="504730"/>
                    <a:pt x="589217" y="518922"/>
                  </a:cubicBezTo>
                  <a:cubicBezTo>
                    <a:pt x="652367" y="535591"/>
                    <a:pt x="708660" y="554260"/>
                    <a:pt x="758190" y="575120"/>
                  </a:cubicBezTo>
                  <a:cubicBezTo>
                    <a:pt x="807625" y="595979"/>
                    <a:pt x="849344" y="620935"/>
                    <a:pt x="883349" y="649986"/>
                  </a:cubicBezTo>
                  <a:cubicBezTo>
                    <a:pt x="917353" y="679132"/>
                    <a:pt x="942975" y="713327"/>
                    <a:pt x="960215" y="752570"/>
                  </a:cubicBezTo>
                  <a:cubicBezTo>
                    <a:pt x="977456" y="791813"/>
                    <a:pt x="986123" y="838772"/>
                    <a:pt x="986123" y="893445"/>
                  </a:cubicBezTo>
                  <a:lnTo>
                    <a:pt x="986123" y="897064"/>
                  </a:lnTo>
                  <a:cubicBezTo>
                    <a:pt x="986123" y="958882"/>
                    <a:pt x="974884" y="1013841"/>
                    <a:pt x="952500" y="1062038"/>
                  </a:cubicBezTo>
                  <a:cubicBezTo>
                    <a:pt x="930021" y="1110139"/>
                    <a:pt x="898779" y="1150620"/>
                    <a:pt x="858584" y="1183291"/>
                  </a:cubicBezTo>
                  <a:cubicBezTo>
                    <a:pt x="818388" y="1216057"/>
                    <a:pt x="770477" y="1241012"/>
                    <a:pt x="714851" y="1258157"/>
                  </a:cubicBezTo>
                  <a:cubicBezTo>
                    <a:pt x="659130" y="1275398"/>
                    <a:pt x="597503" y="1284065"/>
                    <a:pt x="529685" y="1284065"/>
                  </a:cubicBezTo>
                  <a:close/>
                </a:path>
              </a:pathLst>
            </a:custGeom>
            <a:solidFill>
              <a:srgbClr val="44505E"/>
            </a:solidFill>
            <a:ln w="9525" cap="flat">
              <a:noFill/>
              <a:prstDash val="solid"/>
              <a:miter/>
            </a:ln>
          </p:spPr>
          <p:txBody>
            <a:bodyPr rtlCol="0" anchor="ctr"/>
            <a:lstStyle/>
            <a:p>
              <a:endParaRPr lang="pt-BR" noProof="0"/>
            </a:p>
          </p:txBody>
        </p:sp>
        <p:sp>
          <p:nvSpPr>
            <p:cNvPr id="17" name="Freeform: Shape 16">
              <a:extLst>
                <a:ext uri="{FF2B5EF4-FFF2-40B4-BE49-F238E27FC236}">
                  <a16:creationId xmlns:a16="http://schemas.microsoft.com/office/drawing/2014/main" id="{B4B5D7D3-65E6-8477-6CA3-73125FDB2142}"/>
                </a:ext>
              </a:extLst>
            </p:cNvPr>
            <p:cNvSpPr/>
            <p:nvPr/>
          </p:nvSpPr>
          <p:spPr>
            <a:xfrm>
              <a:off x="5492084" y="310867"/>
              <a:ext cx="332584" cy="315991"/>
            </a:xfrm>
            <a:custGeom>
              <a:avLst/>
              <a:gdLst>
                <a:gd name="connsiteX0" fmla="*/ 534924 w 1323022"/>
                <a:gd name="connsiteY0" fmla="*/ 0 h 1257014"/>
                <a:gd name="connsiteX1" fmla="*/ 788099 w 1323022"/>
                <a:gd name="connsiteY1" fmla="*/ 0 h 1257014"/>
                <a:gd name="connsiteX2" fmla="*/ 1323023 w 1323022"/>
                <a:gd name="connsiteY2" fmla="*/ 1257014 h 1257014"/>
                <a:gd name="connsiteX3" fmla="*/ 1035939 w 1323022"/>
                <a:gd name="connsiteY3" fmla="*/ 1257014 h 1257014"/>
                <a:gd name="connsiteX4" fmla="*/ 921829 w 1323022"/>
                <a:gd name="connsiteY4" fmla="*/ 977075 h 1257014"/>
                <a:gd name="connsiteX5" fmla="*/ 394049 w 1323022"/>
                <a:gd name="connsiteY5" fmla="*/ 977075 h 1257014"/>
                <a:gd name="connsiteX6" fmla="*/ 279940 w 1323022"/>
                <a:gd name="connsiteY6" fmla="*/ 1257014 h 1257014"/>
                <a:gd name="connsiteX7" fmla="*/ 0 w 1323022"/>
                <a:gd name="connsiteY7" fmla="*/ 1257014 h 1257014"/>
                <a:gd name="connsiteX8" fmla="*/ 534924 w 1323022"/>
                <a:gd name="connsiteY8" fmla="*/ 0 h 1257014"/>
                <a:gd name="connsiteX9" fmla="*/ 823817 w 1323022"/>
                <a:gd name="connsiteY9" fmla="*/ 734568 h 1257014"/>
                <a:gd name="connsiteX10" fmla="*/ 657987 w 1323022"/>
                <a:gd name="connsiteY10" fmla="*/ 329851 h 1257014"/>
                <a:gd name="connsiteX11" fmla="*/ 492157 w 1323022"/>
                <a:gd name="connsiteY11" fmla="*/ 734568 h 1257014"/>
                <a:gd name="connsiteX12" fmla="*/ 823817 w 1323022"/>
                <a:gd name="connsiteY12" fmla="*/ 734568 h 125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022" h="1257014">
                  <a:moveTo>
                    <a:pt x="534924" y="0"/>
                  </a:moveTo>
                  <a:lnTo>
                    <a:pt x="788099" y="0"/>
                  </a:lnTo>
                  <a:lnTo>
                    <a:pt x="1323023" y="1257014"/>
                  </a:lnTo>
                  <a:lnTo>
                    <a:pt x="1035939" y="1257014"/>
                  </a:lnTo>
                  <a:lnTo>
                    <a:pt x="921829" y="977075"/>
                  </a:lnTo>
                  <a:lnTo>
                    <a:pt x="394049" y="977075"/>
                  </a:lnTo>
                  <a:lnTo>
                    <a:pt x="279940" y="1257014"/>
                  </a:lnTo>
                  <a:lnTo>
                    <a:pt x="0" y="1257014"/>
                  </a:lnTo>
                  <a:lnTo>
                    <a:pt x="534924" y="0"/>
                  </a:lnTo>
                  <a:close/>
                  <a:moveTo>
                    <a:pt x="823817" y="734568"/>
                  </a:moveTo>
                  <a:lnTo>
                    <a:pt x="657987" y="329851"/>
                  </a:lnTo>
                  <a:lnTo>
                    <a:pt x="492157" y="734568"/>
                  </a:lnTo>
                  <a:lnTo>
                    <a:pt x="823817" y="734568"/>
                  </a:lnTo>
                  <a:close/>
                </a:path>
              </a:pathLst>
            </a:custGeom>
            <a:solidFill>
              <a:srgbClr val="44505E"/>
            </a:solidFill>
            <a:ln w="9525" cap="flat">
              <a:noFill/>
              <a:prstDash val="solid"/>
              <a:miter/>
            </a:ln>
          </p:spPr>
          <p:txBody>
            <a:bodyPr rtlCol="0" anchor="ctr"/>
            <a:lstStyle/>
            <a:p>
              <a:endParaRPr lang="pt-BR" noProof="0"/>
            </a:p>
          </p:txBody>
        </p:sp>
        <p:sp>
          <p:nvSpPr>
            <p:cNvPr id="18" name="Freeform: Shape 17">
              <a:extLst>
                <a:ext uri="{FF2B5EF4-FFF2-40B4-BE49-F238E27FC236}">
                  <a16:creationId xmlns:a16="http://schemas.microsoft.com/office/drawing/2014/main" id="{36C56214-A878-E712-E818-C8A91B92D3A5}"/>
                </a:ext>
              </a:extLst>
            </p:cNvPr>
            <p:cNvSpPr/>
            <p:nvPr/>
          </p:nvSpPr>
          <p:spPr>
            <a:xfrm>
              <a:off x="5834078" y="211355"/>
              <a:ext cx="273442" cy="420435"/>
            </a:xfrm>
            <a:custGeom>
              <a:avLst/>
              <a:gdLst>
                <a:gd name="connsiteX0" fmla="*/ 540258 w 1087754"/>
                <a:gd name="connsiteY0" fmla="*/ 1672495 h 1672494"/>
                <a:gd name="connsiteX1" fmla="*/ 144399 w 1087754"/>
                <a:gd name="connsiteY1" fmla="*/ 1533430 h 1672494"/>
                <a:gd name="connsiteX2" fmla="*/ 0 w 1087754"/>
                <a:gd name="connsiteY2" fmla="*/ 1117949 h 1672494"/>
                <a:gd name="connsiteX3" fmla="*/ 0 w 1087754"/>
                <a:gd name="connsiteY3" fmla="*/ 404717 h 1672494"/>
                <a:gd name="connsiteX4" fmla="*/ 274606 w 1087754"/>
                <a:gd name="connsiteY4" fmla="*/ 404717 h 1672494"/>
                <a:gd name="connsiteX5" fmla="*/ 274606 w 1087754"/>
                <a:gd name="connsiteY5" fmla="*/ 1110806 h 1672494"/>
                <a:gd name="connsiteX6" fmla="*/ 345948 w 1087754"/>
                <a:gd name="connsiteY6" fmla="*/ 1341692 h 1672494"/>
                <a:gd name="connsiteX7" fmla="*/ 543877 w 1087754"/>
                <a:gd name="connsiteY7" fmla="*/ 1419225 h 1672494"/>
                <a:gd name="connsiteX8" fmla="*/ 741807 w 1087754"/>
                <a:gd name="connsiteY8" fmla="*/ 1344359 h 1672494"/>
                <a:gd name="connsiteX9" fmla="*/ 813149 w 1087754"/>
                <a:gd name="connsiteY9" fmla="*/ 1119664 h 1672494"/>
                <a:gd name="connsiteX10" fmla="*/ 813149 w 1087754"/>
                <a:gd name="connsiteY10" fmla="*/ 404717 h 1672494"/>
                <a:gd name="connsiteX11" fmla="*/ 1087755 w 1087754"/>
                <a:gd name="connsiteY11" fmla="*/ 404717 h 1672494"/>
                <a:gd name="connsiteX12" fmla="*/ 1087755 w 1087754"/>
                <a:gd name="connsiteY12" fmla="*/ 1108996 h 1672494"/>
                <a:gd name="connsiteX13" fmla="*/ 1049369 w 1087754"/>
                <a:gd name="connsiteY13" fmla="*/ 1356836 h 1672494"/>
                <a:gd name="connsiteX14" fmla="*/ 939737 w 1087754"/>
                <a:gd name="connsiteY14" fmla="*/ 1532477 h 1672494"/>
                <a:gd name="connsiteX15" fmla="*/ 766763 w 1087754"/>
                <a:gd name="connsiteY15" fmla="*/ 1637729 h 1672494"/>
                <a:gd name="connsiteX16" fmla="*/ 540353 w 1087754"/>
                <a:gd name="connsiteY16" fmla="*/ 1672495 h 1672494"/>
                <a:gd name="connsiteX17" fmla="*/ 622268 w 1087754"/>
                <a:gd name="connsiteY17" fmla="*/ 0 h 1672494"/>
                <a:gd name="connsiteX18" fmla="*/ 855821 w 1087754"/>
                <a:gd name="connsiteY18" fmla="*/ 101632 h 1672494"/>
                <a:gd name="connsiteX19" fmla="*/ 627602 w 1087754"/>
                <a:gd name="connsiteY19" fmla="*/ 315563 h 1672494"/>
                <a:gd name="connsiteX20" fmla="*/ 420719 w 1087754"/>
                <a:gd name="connsiteY20" fmla="*/ 315563 h 1672494"/>
                <a:gd name="connsiteX21" fmla="*/ 622268 w 1087754"/>
                <a:gd name="connsiteY21" fmla="*/ 0 h 16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754" h="1672494">
                  <a:moveTo>
                    <a:pt x="540258" y="1672495"/>
                  </a:moveTo>
                  <a:cubicBezTo>
                    <a:pt x="372618" y="1672495"/>
                    <a:pt x="240697" y="1626108"/>
                    <a:pt x="144399" y="1533430"/>
                  </a:cubicBezTo>
                  <a:cubicBezTo>
                    <a:pt x="48101" y="1440752"/>
                    <a:pt x="0" y="1302258"/>
                    <a:pt x="0" y="1117949"/>
                  </a:cubicBezTo>
                  <a:lnTo>
                    <a:pt x="0" y="404717"/>
                  </a:lnTo>
                  <a:lnTo>
                    <a:pt x="274606" y="404717"/>
                  </a:lnTo>
                  <a:lnTo>
                    <a:pt x="274606" y="1110806"/>
                  </a:lnTo>
                  <a:cubicBezTo>
                    <a:pt x="274606" y="1213009"/>
                    <a:pt x="298418" y="1289971"/>
                    <a:pt x="345948" y="1341692"/>
                  </a:cubicBezTo>
                  <a:cubicBezTo>
                    <a:pt x="393478" y="1393412"/>
                    <a:pt x="459486" y="1419225"/>
                    <a:pt x="543877" y="1419225"/>
                  </a:cubicBezTo>
                  <a:cubicBezTo>
                    <a:pt x="628269" y="1419225"/>
                    <a:pt x="694277" y="1394270"/>
                    <a:pt x="741807" y="1344359"/>
                  </a:cubicBezTo>
                  <a:cubicBezTo>
                    <a:pt x="789337" y="1294448"/>
                    <a:pt x="813149" y="1219581"/>
                    <a:pt x="813149" y="1119664"/>
                  </a:cubicBezTo>
                  <a:lnTo>
                    <a:pt x="813149" y="404717"/>
                  </a:lnTo>
                  <a:lnTo>
                    <a:pt x="1087755" y="404717"/>
                  </a:lnTo>
                  <a:lnTo>
                    <a:pt x="1087755" y="1108996"/>
                  </a:lnTo>
                  <a:cubicBezTo>
                    <a:pt x="1087755" y="1204151"/>
                    <a:pt x="1074992" y="1286732"/>
                    <a:pt x="1049369" y="1356836"/>
                  </a:cubicBezTo>
                  <a:cubicBezTo>
                    <a:pt x="1023747" y="1426940"/>
                    <a:pt x="987266" y="1485519"/>
                    <a:pt x="939737" y="1532477"/>
                  </a:cubicBezTo>
                  <a:cubicBezTo>
                    <a:pt x="892207" y="1579436"/>
                    <a:pt x="834485" y="1614488"/>
                    <a:pt x="766763" y="1637729"/>
                  </a:cubicBezTo>
                  <a:cubicBezTo>
                    <a:pt x="699040" y="1660874"/>
                    <a:pt x="623507" y="1672495"/>
                    <a:pt x="540353" y="1672495"/>
                  </a:cubicBezTo>
                  <a:close/>
                  <a:moveTo>
                    <a:pt x="622268" y="0"/>
                  </a:moveTo>
                  <a:lnTo>
                    <a:pt x="855821" y="101632"/>
                  </a:lnTo>
                  <a:lnTo>
                    <a:pt x="627602" y="315563"/>
                  </a:lnTo>
                  <a:lnTo>
                    <a:pt x="420719" y="315563"/>
                  </a:lnTo>
                  <a:lnTo>
                    <a:pt x="622268" y="0"/>
                  </a:lnTo>
                  <a:close/>
                </a:path>
              </a:pathLst>
            </a:custGeom>
            <a:solidFill>
              <a:srgbClr val="44505E"/>
            </a:solidFill>
            <a:ln w="9525" cap="flat">
              <a:noFill/>
              <a:prstDash val="solid"/>
              <a:miter/>
            </a:ln>
          </p:spPr>
          <p:txBody>
            <a:bodyPr rtlCol="0" anchor="ctr"/>
            <a:lstStyle/>
            <a:p>
              <a:endParaRPr lang="pt-BR" noProof="0"/>
            </a:p>
          </p:txBody>
        </p:sp>
        <p:sp>
          <p:nvSpPr>
            <p:cNvPr id="19" name="Freeform: Shape 18">
              <a:extLst>
                <a:ext uri="{FF2B5EF4-FFF2-40B4-BE49-F238E27FC236}">
                  <a16:creationId xmlns:a16="http://schemas.microsoft.com/office/drawing/2014/main" id="{C99AA14A-ACD6-176F-B1B4-5E0F8180D2D6}"/>
                </a:ext>
              </a:extLst>
            </p:cNvPr>
            <p:cNvSpPr/>
            <p:nvPr/>
          </p:nvSpPr>
          <p:spPr>
            <a:xfrm>
              <a:off x="6143795" y="313094"/>
              <a:ext cx="289101" cy="313764"/>
            </a:xfrm>
            <a:custGeom>
              <a:avLst/>
              <a:gdLst>
                <a:gd name="connsiteX0" fmla="*/ 0 w 1150048"/>
                <a:gd name="connsiteY0" fmla="*/ 0 h 1248155"/>
                <a:gd name="connsiteX1" fmla="*/ 486728 w 1150048"/>
                <a:gd name="connsiteY1" fmla="*/ 0 h 1248155"/>
                <a:gd name="connsiteX2" fmla="*/ 755047 w 1150048"/>
                <a:gd name="connsiteY2" fmla="*/ 47244 h 1248155"/>
                <a:gd name="connsiteX3" fmla="*/ 965454 w 1150048"/>
                <a:gd name="connsiteY3" fmla="*/ 178308 h 1248155"/>
                <a:gd name="connsiteX4" fmla="*/ 1101852 w 1150048"/>
                <a:gd name="connsiteY4" fmla="*/ 375380 h 1248155"/>
                <a:gd name="connsiteX5" fmla="*/ 1150049 w 1150048"/>
                <a:gd name="connsiteY5" fmla="*/ 620554 h 1248155"/>
                <a:gd name="connsiteX6" fmla="*/ 1150049 w 1150048"/>
                <a:gd name="connsiteY6" fmla="*/ 624173 h 1248155"/>
                <a:gd name="connsiteX7" fmla="*/ 1101852 w 1150048"/>
                <a:gd name="connsiteY7" fmla="*/ 870204 h 1248155"/>
                <a:gd name="connsiteX8" fmla="*/ 965454 w 1150048"/>
                <a:gd name="connsiteY8" fmla="*/ 1068134 h 1248155"/>
                <a:gd name="connsiteX9" fmla="*/ 755047 w 1150048"/>
                <a:gd name="connsiteY9" fmla="*/ 1200055 h 1248155"/>
                <a:gd name="connsiteX10" fmla="*/ 486728 w 1150048"/>
                <a:gd name="connsiteY10" fmla="*/ 1248156 h 1248155"/>
                <a:gd name="connsiteX11" fmla="*/ 0 w 1150048"/>
                <a:gd name="connsiteY11" fmla="*/ 1248156 h 1248155"/>
                <a:gd name="connsiteX12" fmla="*/ 0 w 1150048"/>
                <a:gd name="connsiteY12" fmla="*/ 0 h 1248155"/>
                <a:gd name="connsiteX13" fmla="*/ 486728 w 1150048"/>
                <a:gd name="connsiteY13" fmla="*/ 1000315 h 1248155"/>
                <a:gd name="connsiteX14" fmla="*/ 640080 w 1150048"/>
                <a:gd name="connsiteY14" fmla="*/ 973550 h 1248155"/>
                <a:gd name="connsiteX15" fmla="*/ 758667 w 1150048"/>
                <a:gd name="connsiteY15" fmla="*/ 896874 h 1248155"/>
                <a:gd name="connsiteX16" fmla="*/ 835343 w 1150048"/>
                <a:gd name="connsiteY16" fmla="*/ 779240 h 1248155"/>
                <a:gd name="connsiteX17" fmla="*/ 862965 w 1150048"/>
                <a:gd name="connsiteY17" fmla="*/ 627698 h 1248155"/>
                <a:gd name="connsiteX18" fmla="*/ 862965 w 1150048"/>
                <a:gd name="connsiteY18" fmla="*/ 624078 h 1248155"/>
                <a:gd name="connsiteX19" fmla="*/ 835343 w 1150048"/>
                <a:gd name="connsiteY19" fmla="*/ 472535 h 1248155"/>
                <a:gd name="connsiteX20" fmla="*/ 758667 w 1150048"/>
                <a:gd name="connsiteY20" fmla="*/ 353092 h 1248155"/>
                <a:gd name="connsiteX21" fmla="*/ 640080 w 1150048"/>
                <a:gd name="connsiteY21" fmla="*/ 275558 h 1248155"/>
                <a:gd name="connsiteX22" fmla="*/ 486728 w 1150048"/>
                <a:gd name="connsiteY22" fmla="*/ 247936 h 1248155"/>
                <a:gd name="connsiteX23" fmla="*/ 274511 w 1150048"/>
                <a:gd name="connsiteY23" fmla="*/ 247936 h 1248155"/>
                <a:gd name="connsiteX24" fmla="*/ 274511 w 1150048"/>
                <a:gd name="connsiteY24" fmla="*/ 1000411 h 1248155"/>
                <a:gd name="connsiteX25" fmla="*/ 486728 w 1150048"/>
                <a:gd name="connsiteY25" fmla="*/ 1000411 h 124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50048" h="1248155">
                  <a:moveTo>
                    <a:pt x="0" y="0"/>
                  </a:moveTo>
                  <a:lnTo>
                    <a:pt x="486728" y="0"/>
                  </a:lnTo>
                  <a:cubicBezTo>
                    <a:pt x="584168" y="0"/>
                    <a:pt x="673608" y="15811"/>
                    <a:pt x="755047" y="47244"/>
                  </a:cubicBezTo>
                  <a:cubicBezTo>
                    <a:pt x="836486" y="78772"/>
                    <a:pt x="906590" y="122396"/>
                    <a:pt x="965454" y="178308"/>
                  </a:cubicBezTo>
                  <a:cubicBezTo>
                    <a:pt x="1024319" y="234220"/>
                    <a:pt x="1069753" y="299847"/>
                    <a:pt x="1101852" y="375380"/>
                  </a:cubicBezTo>
                  <a:cubicBezTo>
                    <a:pt x="1133951" y="450914"/>
                    <a:pt x="1150049" y="532543"/>
                    <a:pt x="1150049" y="620554"/>
                  </a:cubicBezTo>
                  <a:lnTo>
                    <a:pt x="1150049" y="624173"/>
                  </a:lnTo>
                  <a:cubicBezTo>
                    <a:pt x="1150049" y="712184"/>
                    <a:pt x="1133951" y="794195"/>
                    <a:pt x="1101852" y="870204"/>
                  </a:cubicBezTo>
                  <a:cubicBezTo>
                    <a:pt x="1069753" y="946309"/>
                    <a:pt x="1024319" y="1012222"/>
                    <a:pt x="965454" y="1068134"/>
                  </a:cubicBezTo>
                  <a:cubicBezTo>
                    <a:pt x="906590" y="1124045"/>
                    <a:pt x="836486" y="1167956"/>
                    <a:pt x="755047" y="1200055"/>
                  </a:cubicBezTo>
                  <a:cubicBezTo>
                    <a:pt x="673608" y="1232154"/>
                    <a:pt x="584168" y="1248156"/>
                    <a:pt x="486728" y="1248156"/>
                  </a:cubicBezTo>
                  <a:lnTo>
                    <a:pt x="0" y="1248156"/>
                  </a:lnTo>
                  <a:lnTo>
                    <a:pt x="0" y="0"/>
                  </a:lnTo>
                  <a:close/>
                  <a:moveTo>
                    <a:pt x="486728" y="1000315"/>
                  </a:moveTo>
                  <a:cubicBezTo>
                    <a:pt x="542639" y="1000315"/>
                    <a:pt x="593693" y="991457"/>
                    <a:pt x="640080" y="973550"/>
                  </a:cubicBezTo>
                  <a:cubicBezTo>
                    <a:pt x="686467" y="955739"/>
                    <a:pt x="725900" y="930211"/>
                    <a:pt x="758667" y="896874"/>
                  </a:cubicBezTo>
                  <a:cubicBezTo>
                    <a:pt x="791337" y="863632"/>
                    <a:pt x="816864" y="824389"/>
                    <a:pt x="835343" y="779240"/>
                  </a:cubicBezTo>
                  <a:cubicBezTo>
                    <a:pt x="853726" y="734092"/>
                    <a:pt x="862965" y="683609"/>
                    <a:pt x="862965" y="627698"/>
                  </a:cubicBezTo>
                  <a:lnTo>
                    <a:pt x="862965" y="624078"/>
                  </a:lnTo>
                  <a:cubicBezTo>
                    <a:pt x="862965" y="569404"/>
                    <a:pt x="853726" y="518827"/>
                    <a:pt x="835343" y="472535"/>
                  </a:cubicBezTo>
                  <a:cubicBezTo>
                    <a:pt x="816864" y="426149"/>
                    <a:pt x="791337" y="386334"/>
                    <a:pt x="758667" y="353092"/>
                  </a:cubicBezTo>
                  <a:cubicBezTo>
                    <a:pt x="725996" y="319849"/>
                    <a:pt x="686467" y="293941"/>
                    <a:pt x="640080" y="275558"/>
                  </a:cubicBezTo>
                  <a:cubicBezTo>
                    <a:pt x="593693" y="257175"/>
                    <a:pt x="542639" y="247936"/>
                    <a:pt x="486728" y="247936"/>
                  </a:cubicBezTo>
                  <a:lnTo>
                    <a:pt x="274511" y="247936"/>
                  </a:lnTo>
                  <a:lnTo>
                    <a:pt x="274511" y="1000411"/>
                  </a:lnTo>
                  <a:lnTo>
                    <a:pt x="486728" y="1000411"/>
                  </a:lnTo>
                  <a:close/>
                </a:path>
              </a:pathLst>
            </a:custGeom>
            <a:solidFill>
              <a:srgbClr val="44505E"/>
            </a:solidFill>
            <a:ln w="9525" cap="flat">
              <a:noFill/>
              <a:prstDash val="solid"/>
              <a:miter/>
            </a:ln>
          </p:spPr>
          <p:txBody>
            <a:bodyPr rtlCol="0" anchor="ctr"/>
            <a:lstStyle/>
            <a:p>
              <a:endParaRPr lang="pt-BR" noProof="0"/>
            </a:p>
          </p:txBody>
        </p:sp>
        <p:sp>
          <p:nvSpPr>
            <p:cNvPr id="20" name="Freeform: Shape 19">
              <a:extLst>
                <a:ext uri="{FF2B5EF4-FFF2-40B4-BE49-F238E27FC236}">
                  <a16:creationId xmlns:a16="http://schemas.microsoft.com/office/drawing/2014/main" id="{852542F7-E923-85F7-A2D1-E80EAD49FB0D}"/>
                </a:ext>
              </a:extLst>
            </p:cNvPr>
            <p:cNvSpPr/>
            <p:nvPr/>
          </p:nvSpPr>
          <p:spPr>
            <a:xfrm>
              <a:off x="6460217" y="313094"/>
              <a:ext cx="238459" cy="313788"/>
            </a:xfrm>
            <a:custGeom>
              <a:avLst/>
              <a:gdLst>
                <a:gd name="connsiteX0" fmla="*/ 95 w 948594"/>
                <a:gd name="connsiteY0" fmla="*/ 0 h 1248251"/>
                <a:gd name="connsiteX1" fmla="*/ 939737 w 948594"/>
                <a:gd name="connsiteY1" fmla="*/ 0 h 1248251"/>
                <a:gd name="connsiteX2" fmla="*/ 939737 w 948594"/>
                <a:gd name="connsiteY2" fmla="*/ 244316 h 1248251"/>
                <a:gd name="connsiteX3" fmla="*/ 271081 w 948594"/>
                <a:gd name="connsiteY3" fmla="*/ 244316 h 1248251"/>
                <a:gd name="connsiteX4" fmla="*/ 271081 w 948594"/>
                <a:gd name="connsiteY4" fmla="*/ 497491 h 1248251"/>
                <a:gd name="connsiteX5" fmla="*/ 859441 w 948594"/>
                <a:gd name="connsiteY5" fmla="*/ 497491 h 1248251"/>
                <a:gd name="connsiteX6" fmla="*/ 859441 w 948594"/>
                <a:gd name="connsiteY6" fmla="*/ 741807 h 1248251"/>
                <a:gd name="connsiteX7" fmla="*/ 271081 w 948594"/>
                <a:gd name="connsiteY7" fmla="*/ 741807 h 1248251"/>
                <a:gd name="connsiteX8" fmla="*/ 271081 w 948594"/>
                <a:gd name="connsiteY8" fmla="*/ 1003935 h 1248251"/>
                <a:gd name="connsiteX9" fmla="*/ 948595 w 948594"/>
                <a:gd name="connsiteY9" fmla="*/ 1003935 h 1248251"/>
                <a:gd name="connsiteX10" fmla="*/ 948595 w 948594"/>
                <a:gd name="connsiteY10" fmla="*/ 1248251 h 1248251"/>
                <a:gd name="connsiteX11" fmla="*/ 0 w 948594"/>
                <a:gd name="connsiteY11" fmla="*/ 1248251 h 1248251"/>
                <a:gd name="connsiteX12" fmla="*/ 0 w 948594"/>
                <a:gd name="connsiteY12" fmla="*/ 0 h 124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594" h="1248251">
                  <a:moveTo>
                    <a:pt x="95" y="0"/>
                  </a:moveTo>
                  <a:lnTo>
                    <a:pt x="939737" y="0"/>
                  </a:lnTo>
                  <a:lnTo>
                    <a:pt x="939737" y="244316"/>
                  </a:lnTo>
                  <a:lnTo>
                    <a:pt x="271081" y="244316"/>
                  </a:lnTo>
                  <a:lnTo>
                    <a:pt x="271081" y="497491"/>
                  </a:lnTo>
                  <a:lnTo>
                    <a:pt x="859441" y="497491"/>
                  </a:lnTo>
                  <a:lnTo>
                    <a:pt x="859441" y="741807"/>
                  </a:lnTo>
                  <a:lnTo>
                    <a:pt x="271081" y="741807"/>
                  </a:lnTo>
                  <a:lnTo>
                    <a:pt x="271081" y="1003935"/>
                  </a:lnTo>
                  <a:lnTo>
                    <a:pt x="948595" y="1003935"/>
                  </a:lnTo>
                  <a:lnTo>
                    <a:pt x="948595" y="1248251"/>
                  </a:lnTo>
                  <a:lnTo>
                    <a:pt x="0" y="1248251"/>
                  </a:lnTo>
                  <a:lnTo>
                    <a:pt x="0" y="0"/>
                  </a:lnTo>
                  <a:close/>
                </a:path>
              </a:pathLst>
            </a:custGeom>
            <a:solidFill>
              <a:srgbClr val="44505E"/>
            </a:solidFill>
            <a:ln w="9525" cap="flat">
              <a:noFill/>
              <a:prstDash val="solid"/>
              <a:miter/>
            </a:ln>
          </p:spPr>
          <p:txBody>
            <a:bodyPr rtlCol="0" anchor="ctr"/>
            <a:lstStyle/>
            <a:p>
              <a:endParaRPr lang="pt-BR" noProof="0"/>
            </a:p>
          </p:txBody>
        </p:sp>
        <p:sp>
          <p:nvSpPr>
            <p:cNvPr id="21" name="Freeform: Shape 20">
              <a:extLst>
                <a:ext uri="{FF2B5EF4-FFF2-40B4-BE49-F238E27FC236}">
                  <a16:creationId xmlns:a16="http://schemas.microsoft.com/office/drawing/2014/main" id="{98782FDA-6A70-B4BB-5A6E-79386BE45D48}"/>
                </a:ext>
              </a:extLst>
            </p:cNvPr>
            <p:cNvSpPr/>
            <p:nvPr/>
          </p:nvSpPr>
          <p:spPr>
            <a:xfrm>
              <a:off x="5253193" y="699983"/>
              <a:ext cx="90796" cy="97883"/>
            </a:xfrm>
            <a:custGeom>
              <a:avLst/>
              <a:gdLst>
                <a:gd name="connsiteX0" fmla="*/ 191548 w 361187"/>
                <a:gd name="connsiteY0" fmla="*/ 389382 h 389381"/>
                <a:gd name="connsiteX1" fmla="*/ 116300 w 361187"/>
                <a:gd name="connsiteY1" fmla="*/ 375285 h 389381"/>
                <a:gd name="connsiteX2" fmla="*/ 55531 w 361187"/>
                <a:gd name="connsiteY2" fmla="*/ 335756 h 389381"/>
                <a:gd name="connsiteX3" fmla="*/ 14859 w 361187"/>
                <a:gd name="connsiteY3" fmla="*/ 274606 h 389381"/>
                <a:gd name="connsiteX4" fmla="*/ 0 w 361187"/>
                <a:gd name="connsiteY4" fmla="*/ 195834 h 389381"/>
                <a:gd name="connsiteX5" fmla="*/ 0 w 361187"/>
                <a:gd name="connsiteY5" fmla="*/ 194405 h 389381"/>
                <a:gd name="connsiteX6" fmla="*/ 13430 w 361187"/>
                <a:gd name="connsiteY6" fmla="*/ 118777 h 389381"/>
                <a:gd name="connsiteX7" fmla="*/ 51245 w 361187"/>
                <a:gd name="connsiteY7" fmla="*/ 56959 h 389381"/>
                <a:gd name="connsiteX8" fmla="*/ 108871 w 361187"/>
                <a:gd name="connsiteY8" fmla="*/ 15240 h 389381"/>
                <a:gd name="connsiteX9" fmla="*/ 182404 w 361187"/>
                <a:gd name="connsiteY9" fmla="*/ 0 h 389381"/>
                <a:gd name="connsiteX10" fmla="*/ 260509 w 361187"/>
                <a:gd name="connsiteY10" fmla="*/ 16288 h 389381"/>
                <a:gd name="connsiteX11" fmla="*/ 316325 w 361187"/>
                <a:gd name="connsiteY11" fmla="*/ 60103 h 389381"/>
                <a:gd name="connsiteX12" fmla="*/ 349853 w 361187"/>
                <a:gd name="connsiteY12" fmla="*/ 124015 h 389381"/>
                <a:gd name="connsiteX13" fmla="*/ 361188 w 361187"/>
                <a:gd name="connsiteY13" fmla="*/ 200692 h 389381"/>
                <a:gd name="connsiteX14" fmla="*/ 360807 w 361187"/>
                <a:gd name="connsiteY14" fmla="*/ 212312 h 389381"/>
                <a:gd name="connsiteX15" fmla="*/ 359759 w 361187"/>
                <a:gd name="connsiteY15" fmla="*/ 224695 h 389381"/>
                <a:gd name="connsiteX16" fmla="*/ 85534 w 361187"/>
                <a:gd name="connsiteY16" fmla="*/ 224695 h 389381"/>
                <a:gd name="connsiteX17" fmla="*/ 121920 w 361187"/>
                <a:gd name="connsiteY17" fmla="*/ 294989 h 389381"/>
                <a:gd name="connsiteX18" fmla="*/ 192977 w 361187"/>
                <a:gd name="connsiteY18" fmla="*/ 319373 h 389381"/>
                <a:gd name="connsiteX19" fmla="*/ 248126 w 361187"/>
                <a:gd name="connsiteY19" fmla="*/ 308038 h 389381"/>
                <a:gd name="connsiteX20" fmla="*/ 294037 w 361187"/>
                <a:gd name="connsiteY20" fmla="*/ 274796 h 389381"/>
                <a:gd name="connsiteX21" fmla="*/ 344234 w 361187"/>
                <a:gd name="connsiteY21" fmla="*/ 319278 h 389381"/>
                <a:gd name="connsiteX22" fmla="*/ 280226 w 361187"/>
                <a:gd name="connsiteY22" fmla="*/ 370141 h 389381"/>
                <a:gd name="connsiteX23" fmla="*/ 191548 w 361187"/>
                <a:gd name="connsiteY23" fmla="*/ 389191 h 389381"/>
                <a:gd name="connsiteX24" fmla="*/ 276320 w 361187"/>
                <a:gd name="connsiteY24" fmla="*/ 168211 h 389381"/>
                <a:gd name="connsiteX25" fmla="*/ 267176 w 361187"/>
                <a:gd name="connsiteY25" fmla="*/ 129730 h 389381"/>
                <a:gd name="connsiteX26" fmla="*/ 248126 w 361187"/>
                <a:gd name="connsiteY26" fmla="*/ 98679 h 389381"/>
                <a:gd name="connsiteX27" fmla="*/ 219551 w 361187"/>
                <a:gd name="connsiteY27" fmla="*/ 77819 h 389381"/>
                <a:gd name="connsiteX28" fmla="*/ 181737 w 361187"/>
                <a:gd name="connsiteY28" fmla="*/ 70009 h 389381"/>
                <a:gd name="connsiteX29" fmla="*/ 116396 w 361187"/>
                <a:gd name="connsiteY29" fmla="*/ 97250 h 389381"/>
                <a:gd name="connsiteX30" fmla="*/ 84963 w 361187"/>
                <a:gd name="connsiteY30" fmla="*/ 168307 h 389381"/>
                <a:gd name="connsiteX31" fmla="*/ 276511 w 361187"/>
                <a:gd name="connsiteY31" fmla="*/ 168307 h 38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187" h="389381">
                  <a:moveTo>
                    <a:pt x="191548" y="389382"/>
                  </a:moveTo>
                  <a:cubicBezTo>
                    <a:pt x="164687" y="389382"/>
                    <a:pt x="139637" y="384715"/>
                    <a:pt x="116300" y="375285"/>
                  </a:cubicBezTo>
                  <a:cubicBezTo>
                    <a:pt x="92964" y="365855"/>
                    <a:pt x="72771" y="352711"/>
                    <a:pt x="55531" y="335756"/>
                  </a:cubicBezTo>
                  <a:cubicBezTo>
                    <a:pt x="38291" y="318802"/>
                    <a:pt x="24765" y="298418"/>
                    <a:pt x="14859" y="274606"/>
                  </a:cubicBezTo>
                  <a:cubicBezTo>
                    <a:pt x="4953" y="250793"/>
                    <a:pt x="0" y="224599"/>
                    <a:pt x="0" y="195834"/>
                  </a:cubicBezTo>
                  <a:lnTo>
                    <a:pt x="0" y="194405"/>
                  </a:lnTo>
                  <a:cubicBezTo>
                    <a:pt x="0" y="167545"/>
                    <a:pt x="4477" y="142399"/>
                    <a:pt x="13430" y="118777"/>
                  </a:cubicBezTo>
                  <a:cubicBezTo>
                    <a:pt x="22384" y="95250"/>
                    <a:pt x="34957" y="74581"/>
                    <a:pt x="51245" y="56959"/>
                  </a:cubicBezTo>
                  <a:cubicBezTo>
                    <a:pt x="67532" y="39338"/>
                    <a:pt x="86677" y="25432"/>
                    <a:pt x="108871" y="15240"/>
                  </a:cubicBezTo>
                  <a:cubicBezTo>
                    <a:pt x="131064" y="5143"/>
                    <a:pt x="155543" y="0"/>
                    <a:pt x="182404" y="0"/>
                  </a:cubicBezTo>
                  <a:cubicBezTo>
                    <a:pt x="212122" y="0"/>
                    <a:pt x="238125" y="5429"/>
                    <a:pt x="260509" y="16288"/>
                  </a:cubicBezTo>
                  <a:cubicBezTo>
                    <a:pt x="282893" y="27146"/>
                    <a:pt x="301466" y="41719"/>
                    <a:pt x="316325" y="60103"/>
                  </a:cubicBezTo>
                  <a:cubicBezTo>
                    <a:pt x="331184" y="78486"/>
                    <a:pt x="342329" y="99822"/>
                    <a:pt x="349853" y="124015"/>
                  </a:cubicBezTo>
                  <a:cubicBezTo>
                    <a:pt x="357378" y="148304"/>
                    <a:pt x="361188" y="173831"/>
                    <a:pt x="361188" y="200692"/>
                  </a:cubicBezTo>
                  <a:cubicBezTo>
                    <a:pt x="361188" y="204502"/>
                    <a:pt x="361093" y="208312"/>
                    <a:pt x="360807" y="212312"/>
                  </a:cubicBezTo>
                  <a:cubicBezTo>
                    <a:pt x="360521" y="216313"/>
                    <a:pt x="360236" y="220409"/>
                    <a:pt x="359759" y="224695"/>
                  </a:cubicBezTo>
                  <a:lnTo>
                    <a:pt x="85534" y="224695"/>
                  </a:lnTo>
                  <a:cubicBezTo>
                    <a:pt x="90202" y="255365"/>
                    <a:pt x="102394" y="278797"/>
                    <a:pt x="121920" y="294989"/>
                  </a:cubicBezTo>
                  <a:cubicBezTo>
                    <a:pt x="141446" y="311277"/>
                    <a:pt x="165164" y="319373"/>
                    <a:pt x="192977" y="319373"/>
                  </a:cubicBezTo>
                  <a:cubicBezTo>
                    <a:pt x="214217" y="319373"/>
                    <a:pt x="232505" y="315563"/>
                    <a:pt x="248126" y="308038"/>
                  </a:cubicBezTo>
                  <a:cubicBezTo>
                    <a:pt x="263652" y="300514"/>
                    <a:pt x="278987" y="289465"/>
                    <a:pt x="294037" y="274796"/>
                  </a:cubicBezTo>
                  <a:lnTo>
                    <a:pt x="344234" y="319278"/>
                  </a:lnTo>
                  <a:cubicBezTo>
                    <a:pt x="326327" y="340519"/>
                    <a:pt x="304991" y="357473"/>
                    <a:pt x="280226" y="370141"/>
                  </a:cubicBezTo>
                  <a:cubicBezTo>
                    <a:pt x="255461" y="382810"/>
                    <a:pt x="225933" y="389191"/>
                    <a:pt x="191548" y="389191"/>
                  </a:cubicBezTo>
                  <a:close/>
                  <a:moveTo>
                    <a:pt x="276320" y="168211"/>
                  </a:moveTo>
                  <a:cubicBezTo>
                    <a:pt x="274892" y="154591"/>
                    <a:pt x="271844" y="141732"/>
                    <a:pt x="267176" y="129730"/>
                  </a:cubicBezTo>
                  <a:cubicBezTo>
                    <a:pt x="262414" y="117729"/>
                    <a:pt x="256127" y="107347"/>
                    <a:pt x="248126" y="98679"/>
                  </a:cubicBezTo>
                  <a:cubicBezTo>
                    <a:pt x="240125" y="89916"/>
                    <a:pt x="230600" y="82963"/>
                    <a:pt x="219551" y="77819"/>
                  </a:cubicBezTo>
                  <a:cubicBezTo>
                    <a:pt x="208502" y="72676"/>
                    <a:pt x="195834" y="70009"/>
                    <a:pt x="181737" y="70009"/>
                  </a:cubicBezTo>
                  <a:cubicBezTo>
                    <a:pt x="155353" y="70009"/>
                    <a:pt x="133541" y="79057"/>
                    <a:pt x="116396" y="97250"/>
                  </a:cubicBezTo>
                  <a:cubicBezTo>
                    <a:pt x="99155" y="115348"/>
                    <a:pt x="88678" y="139065"/>
                    <a:pt x="84963" y="168307"/>
                  </a:cubicBezTo>
                  <a:lnTo>
                    <a:pt x="276511" y="168307"/>
                  </a:lnTo>
                  <a:close/>
                </a:path>
              </a:pathLst>
            </a:custGeom>
            <a:solidFill>
              <a:srgbClr val="44505E"/>
            </a:solidFill>
            <a:ln w="9525" cap="flat">
              <a:noFill/>
              <a:prstDash val="solid"/>
              <a:miter/>
            </a:ln>
          </p:spPr>
          <p:txBody>
            <a:bodyPr rtlCol="0" anchor="ctr"/>
            <a:lstStyle/>
            <a:p>
              <a:endParaRPr lang="pt-BR" noProof="0"/>
            </a:p>
          </p:txBody>
        </p:sp>
        <p:sp>
          <p:nvSpPr>
            <p:cNvPr id="22" name="Freeform: Shape 21">
              <a:extLst>
                <a:ext uri="{FF2B5EF4-FFF2-40B4-BE49-F238E27FC236}">
                  <a16:creationId xmlns:a16="http://schemas.microsoft.com/office/drawing/2014/main" id="{D3512049-B751-D22A-36CB-A31F3614C480}"/>
                </a:ext>
              </a:extLst>
            </p:cNvPr>
            <p:cNvSpPr/>
            <p:nvPr/>
          </p:nvSpPr>
          <p:spPr>
            <a:xfrm>
              <a:off x="5365659"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5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8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3 w 568166"/>
                <a:gd name="connsiteY21" fmla="*/ 381000 h 381000"/>
                <a:gd name="connsiteX22" fmla="*/ 240983 w 568166"/>
                <a:gd name="connsiteY22" fmla="*/ 168783 h 381000"/>
                <a:gd name="connsiteX23" fmla="*/ 221266 w 568166"/>
                <a:gd name="connsiteY23" fmla="*/ 101822 h 381000"/>
                <a:gd name="connsiteX24" fmla="*/ 165640 w 568166"/>
                <a:gd name="connsiteY24" fmla="*/ 78581 h 381000"/>
                <a:gd name="connsiteX25" fmla="*/ 108014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70" y="48196"/>
                    <a:pt x="105918" y="40576"/>
                  </a:cubicBezTo>
                  <a:cubicBezTo>
                    <a:pt x="112967" y="32956"/>
                    <a:pt x="121063" y="26099"/>
                    <a:pt x="130207" y="19907"/>
                  </a:cubicBezTo>
                  <a:cubicBezTo>
                    <a:pt x="139351" y="13716"/>
                    <a:pt x="149733" y="8858"/>
                    <a:pt x="161163" y="5334"/>
                  </a:cubicBezTo>
                  <a:cubicBezTo>
                    <a:pt x="172688" y="1714"/>
                    <a:pt x="185452" y="0"/>
                    <a:pt x="199549" y="0"/>
                  </a:cubicBezTo>
                  <a:cubicBezTo>
                    <a:pt x="226314" y="0"/>
                    <a:pt x="248984" y="6096"/>
                    <a:pt x="267557" y="18193"/>
                  </a:cubicBezTo>
                  <a:cubicBezTo>
                    <a:pt x="286131" y="30289"/>
                    <a:pt x="300323" y="46387"/>
                    <a:pt x="310134" y="66294"/>
                  </a:cubicBezTo>
                  <a:cubicBezTo>
                    <a:pt x="325279" y="46387"/>
                    <a:pt x="343091" y="30289"/>
                    <a:pt x="363665" y="18193"/>
                  </a:cubicBezTo>
                  <a:cubicBezTo>
                    <a:pt x="384239" y="6096"/>
                    <a:pt x="408718" y="0"/>
                    <a:pt x="437007" y="0"/>
                  </a:cubicBezTo>
                  <a:cubicBezTo>
                    <a:pt x="478060"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8" y="78486"/>
                  </a:cubicBezTo>
                  <a:cubicBezTo>
                    <a:pt x="382810" y="78486"/>
                    <a:pt x="364141" y="86392"/>
                    <a:pt x="349377" y="102108"/>
                  </a:cubicBezTo>
                  <a:cubicBezTo>
                    <a:pt x="334613" y="117824"/>
                    <a:pt x="327184" y="140779"/>
                    <a:pt x="327184" y="170879"/>
                  </a:cubicBezTo>
                  <a:lnTo>
                    <a:pt x="327184" y="381000"/>
                  </a:lnTo>
                  <a:lnTo>
                    <a:pt x="240983" y="381000"/>
                  </a:lnTo>
                  <a:lnTo>
                    <a:pt x="240983" y="168783"/>
                  </a:lnTo>
                  <a:cubicBezTo>
                    <a:pt x="240983" y="139637"/>
                    <a:pt x="234410" y="117348"/>
                    <a:pt x="221266" y="101822"/>
                  </a:cubicBezTo>
                  <a:cubicBezTo>
                    <a:pt x="208121" y="86296"/>
                    <a:pt x="189643" y="78581"/>
                    <a:pt x="165640" y="78581"/>
                  </a:cubicBezTo>
                  <a:cubicBezTo>
                    <a:pt x="141637" y="78581"/>
                    <a:pt x="122492" y="86773"/>
                    <a:pt x="108014"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23" name="Freeform: Shape 22">
              <a:extLst>
                <a:ext uri="{FF2B5EF4-FFF2-40B4-BE49-F238E27FC236}">
                  <a16:creationId xmlns:a16="http://schemas.microsoft.com/office/drawing/2014/main" id="{388785A5-3423-F00A-59FF-851F79A747AA}"/>
                </a:ext>
              </a:extLst>
            </p:cNvPr>
            <p:cNvSpPr/>
            <p:nvPr/>
          </p:nvSpPr>
          <p:spPr>
            <a:xfrm>
              <a:off x="5587693" y="700007"/>
              <a:ext cx="84211" cy="95752"/>
            </a:xfrm>
            <a:custGeom>
              <a:avLst/>
              <a:gdLst>
                <a:gd name="connsiteX0" fmla="*/ 95 w 334994"/>
                <a:gd name="connsiteY0" fmla="*/ 7715 h 380904"/>
                <a:gd name="connsiteX1" fmla="*/ 86296 w 334994"/>
                <a:gd name="connsiteY1" fmla="*/ 7715 h 380904"/>
                <a:gd name="connsiteX2" fmla="*/ 86296 w 334994"/>
                <a:gd name="connsiteY2" fmla="*/ 66294 h 380904"/>
                <a:gd name="connsiteX3" fmla="*/ 106394 w 334994"/>
                <a:gd name="connsiteY3" fmla="*/ 40958 h 380904"/>
                <a:gd name="connsiteX4" fmla="*/ 131731 w 334994"/>
                <a:gd name="connsiteY4" fmla="*/ 19907 h 380904"/>
                <a:gd name="connsiteX5" fmla="*/ 163449 w 334994"/>
                <a:gd name="connsiteY5" fmla="*/ 5334 h 380904"/>
                <a:gd name="connsiteX6" fmla="*/ 202597 w 334994"/>
                <a:gd name="connsiteY6" fmla="*/ 0 h 380904"/>
                <a:gd name="connsiteX7" fmla="*/ 300514 w 334994"/>
                <a:gd name="connsiteY7" fmla="*/ 38862 h 380904"/>
                <a:gd name="connsiteX8" fmla="*/ 334994 w 334994"/>
                <a:gd name="connsiteY8" fmla="*/ 143446 h 380904"/>
                <a:gd name="connsiteX9" fmla="*/ 334994 w 334994"/>
                <a:gd name="connsiteY9" fmla="*/ 380905 h 380904"/>
                <a:gd name="connsiteX10" fmla="*/ 248793 w 334994"/>
                <a:gd name="connsiteY10" fmla="*/ 380905 h 380904"/>
                <a:gd name="connsiteX11" fmla="*/ 248793 w 334994"/>
                <a:gd name="connsiteY11" fmla="*/ 169450 h 380904"/>
                <a:gd name="connsiteX12" fmla="*/ 228124 w 334994"/>
                <a:gd name="connsiteY12" fmla="*/ 102108 h 380904"/>
                <a:gd name="connsiteX13" fmla="*/ 169640 w 334994"/>
                <a:gd name="connsiteY13" fmla="*/ 78486 h 380904"/>
                <a:gd name="connsiteX14" fmla="*/ 109347 w 334994"/>
                <a:gd name="connsiteY14" fmla="*/ 102775 h 380904"/>
                <a:gd name="connsiteX15" fmla="*/ 86201 w 334994"/>
                <a:gd name="connsiteY15" fmla="*/ 170783 h 380904"/>
                <a:gd name="connsiteX16" fmla="*/ 86201 w 334994"/>
                <a:gd name="connsiteY16" fmla="*/ 380905 h 380904"/>
                <a:gd name="connsiteX17" fmla="*/ 0 w 334994"/>
                <a:gd name="connsiteY17" fmla="*/ 380905 h 380904"/>
                <a:gd name="connsiteX18" fmla="*/ 0 w 334994"/>
                <a:gd name="connsiteY18" fmla="*/ 7810 h 38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94" h="380904">
                  <a:moveTo>
                    <a:pt x="95" y="7715"/>
                  </a:moveTo>
                  <a:lnTo>
                    <a:pt x="86296" y="7715"/>
                  </a:lnTo>
                  <a:lnTo>
                    <a:pt x="86296" y="66294"/>
                  </a:lnTo>
                  <a:cubicBezTo>
                    <a:pt x="92392" y="57245"/>
                    <a:pt x="99060" y="48863"/>
                    <a:pt x="106394" y="40958"/>
                  </a:cubicBezTo>
                  <a:cubicBezTo>
                    <a:pt x="113633" y="33147"/>
                    <a:pt x="122110" y="26099"/>
                    <a:pt x="131731" y="19907"/>
                  </a:cubicBezTo>
                  <a:cubicBezTo>
                    <a:pt x="141351" y="13716"/>
                    <a:pt x="151924" y="8858"/>
                    <a:pt x="163449" y="5334"/>
                  </a:cubicBezTo>
                  <a:cubicBezTo>
                    <a:pt x="174974" y="1714"/>
                    <a:pt x="188024" y="0"/>
                    <a:pt x="202597" y="0"/>
                  </a:cubicBezTo>
                  <a:cubicBezTo>
                    <a:pt x="244888" y="0"/>
                    <a:pt x="277559" y="12954"/>
                    <a:pt x="300514" y="38862"/>
                  </a:cubicBezTo>
                  <a:cubicBezTo>
                    <a:pt x="323564" y="64770"/>
                    <a:pt x="334994" y="99631"/>
                    <a:pt x="334994" y="143446"/>
                  </a:cubicBezTo>
                  <a:lnTo>
                    <a:pt x="334994" y="380905"/>
                  </a:lnTo>
                  <a:lnTo>
                    <a:pt x="248793" y="380905"/>
                  </a:lnTo>
                  <a:lnTo>
                    <a:pt x="248793" y="169450"/>
                  </a:lnTo>
                  <a:cubicBezTo>
                    <a:pt x="248793" y="140303"/>
                    <a:pt x="241935" y="117824"/>
                    <a:pt x="228124" y="102108"/>
                  </a:cubicBezTo>
                  <a:cubicBezTo>
                    <a:pt x="214313" y="86392"/>
                    <a:pt x="194881" y="78486"/>
                    <a:pt x="169640" y="78486"/>
                  </a:cubicBezTo>
                  <a:cubicBezTo>
                    <a:pt x="144399" y="78486"/>
                    <a:pt x="124777" y="86582"/>
                    <a:pt x="109347" y="102775"/>
                  </a:cubicBezTo>
                  <a:cubicBezTo>
                    <a:pt x="93917" y="118967"/>
                    <a:pt x="86201" y="141637"/>
                    <a:pt x="86201" y="170783"/>
                  </a:cubicBezTo>
                  <a:lnTo>
                    <a:pt x="86201" y="380905"/>
                  </a:lnTo>
                  <a:lnTo>
                    <a:pt x="0" y="380905"/>
                  </a:lnTo>
                  <a:lnTo>
                    <a:pt x="0" y="7810"/>
                  </a:lnTo>
                  <a:close/>
                </a:path>
              </a:pathLst>
            </a:custGeom>
            <a:solidFill>
              <a:srgbClr val="44505E"/>
            </a:solidFill>
            <a:ln w="9525" cap="flat">
              <a:noFill/>
              <a:prstDash val="solid"/>
              <a:miter/>
            </a:ln>
          </p:spPr>
          <p:txBody>
            <a:bodyPr rtlCol="0" anchor="ctr"/>
            <a:lstStyle/>
            <a:p>
              <a:endParaRPr lang="pt-BR" noProof="0"/>
            </a:p>
          </p:txBody>
        </p:sp>
        <p:sp>
          <p:nvSpPr>
            <p:cNvPr id="24" name="Freeform: Shape 23">
              <a:extLst>
                <a:ext uri="{FF2B5EF4-FFF2-40B4-BE49-F238E27FC236}">
                  <a16:creationId xmlns:a16="http://schemas.microsoft.com/office/drawing/2014/main" id="{0F921795-0039-A81A-A6A1-AA695F4CF6FB}"/>
                </a:ext>
              </a:extLst>
            </p:cNvPr>
            <p:cNvSpPr/>
            <p:nvPr/>
          </p:nvSpPr>
          <p:spPr>
            <a:xfrm>
              <a:off x="5692712" y="699959"/>
              <a:ext cx="100015" cy="97908"/>
            </a:xfrm>
            <a:custGeom>
              <a:avLst/>
              <a:gdLst>
                <a:gd name="connsiteX0" fmla="*/ 197834 w 397859"/>
                <a:gd name="connsiteY0" fmla="*/ 389477 h 389477"/>
                <a:gd name="connsiteX1" fmla="*/ 119063 w 397859"/>
                <a:gd name="connsiteY1" fmla="*/ 374237 h 389477"/>
                <a:gd name="connsiteX2" fmla="*/ 56197 w 397859"/>
                <a:gd name="connsiteY2" fmla="*/ 332899 h 389477"/>
                <a:gd name="connsiteX3" fmla="*/ 14859 w 397859"/>
                <a:gd name="connsiteY3" fmla="*/ 271463 h 389477"/>
                <a:gd name="connsiteX4" fmla="*/ 0 w 397859"/>
                <a:gd name="connsiteY4" fmla="*/ 196501 h 389477"/>
                <a:gd name="connsiteX5" fmla="*/ 0 w 397859"/>
                <a:gd name="connsiteY5" fmla="*/ 195072 h 389477"/>
                <a:gd name="connsiteX6" fmla="*/ 15145 w 397859"/>
                <a:gd name="connsiteY6" fmla="*/ 119444 h 389477"/>
                <a:gd name="connsiteX7" fmla="*/ 56864 w 397859"/>
                <a:gd name="connsiteY7" fmla="*/ 57626 h 389477"/>
                <a:gd name="connsiteX8" fmla="*/ 119729 w 397859"/>
                <a:gd name="connsiteY8" fmla="*/ 15526 h 389477"/>
                <a:gd name="connsiteX9" fmla="*/ 199263 w 397859"/>
                <a:gd name="connsiteY9" fmla="*/ 0 h 389477"/>
                <a:gd name="connsiteX10" fmla="*/ 278797 w 397859"/>
                <a:gd name="connsiteY10" fmla="*/ 15240 h 389477"/>
                <a:gd name="connsiteX11" fmla="*/ 341662 w 397859"/>
                <a:gd name="connsiteY11" fmla="*/ 56959 h 389477"/>
                <a:gd name="connsiteX12" fmla="*/ 383000 w 397859"/>
                <a:gd name="connsiteY12" fmla="*/ 118396 h 389477"/>
                <a:gd name="connsiteX13" fmla="*/ 397859 w 397859"/>
                <a:gd name="connsiteY13" fmla="*/ 193643 h 389477"/>
                <a:gd name="connsiteX14" fmla="*/ 397859 w 397859"/>
                <a:gd name="connsiteY14" fmla="*/ 195072 h 389477"/>
                <a:gd name="connsiteX15" fmla="*/ 382619 w 397859"/>
                <a:gd name="connsiteY15" fmla="*/ 270034 h 389477"/>
                <a:gd name="connsiteX16" fmla="*/ 340900 w 397859"/>
                <a:gd name="connsiteY16" fmla="*/ 331851 h 389477"/>
                <a:gd name="connsiteX17" fmla="*/ 277654 w 397859"/>
                <a:gd name="connsiteY17" fmla="*/ 373856 h 389477"/>
                <a:gd name="connsiteX18" fmla="*/ 197834 w 397859"/>
                <a:gd name="connsiteY18" fmla="*/ 389382 h 389477"/>
                <a:gd name="connsiteX19" fmla="*/ 199263 w 397859"/>
                <a:gd name="connsiteY19" fmla="*/ 315278 h 389477"/>
                <a:gd name="connsiteX20" fmla="*/ 245935 w 397859"/>
                <a:gd name="connsiteY20" fmla="*/ 305753 h 389477"/>
                <a:gd name="connsiteX21" fmla="*/ 281368 w 397859"/>
                <a:gd name="connsiteY21" fmla="*/ 279940 h 389477"/>
                <a:gd name="connsiteX22" fmla="*/ 303847 w 397859"/>
                <a:gd name="connsiteY22" fmla="*/ 242125 h 389477"/>
                <a:gd name="connsiteX23" fmla="*/ 311563 w 397859"/>
                <a:gd name="connsiteY23" fmla="*/ 196501 h 389477"/>
                <a:gd name="connsiteX24" fmla="*/ 311563 w 397859"/>
                <a:gd name="connsiteY24" fmla="*/ 195072 h 389477"/>
                <a:gd name="connsiteX25" fmla="*/ 303181 w 397859"/>
                <a:gd name="connsiteY25" fmla="*/ 148400 h 389477"/>
                <a:gd name="connsiteX26" fmla="*/ 279654 w 397859"/>
                <a:gd name="connsiteY26" fmla="*/ 110204 h 389477"/>
                <a:gd name="connsiteX27" fmla="*/ 243840 w 397859"/>
                <a:gd name="connsiteY27" fmla="*/ 84392 h 389477"/>
                <a:gd name="connsiteX28" fmla="*/ 197834 w 397859"/>
                <a:gd name="connsiteY28" fmla="*/ 74867 h 389477"/>
                <a:gd name="connsiteX29" fmla="*/ 151829 w 397859"/>
                <a:gd name="connsiteY29" fmla="*/ 84392 h 389477"/>
                <a:gd name="connsiteX30" fmla="*/ 116396 w 397859"/>
                <a:gd name="connsiteY30" fmla="*/ 109823 h 389477"/>
                <a:gd name="connsiteX31" fmla="*/ 93917 w 397859"/>
                <a:gd name="connsiteY31" fmla="*/ 147638 h 389477"/>
                <a:gd name="connsiteX32" fmla="*/ 86201 w 397859"/>
                <a:gd name="connsiteY32" fmla="*/ 193548 h 389477"/>
                <a:gd name="connsiteX33" fmla="*/ 86201 w 397859"/>
                <a:gd name="connsiteY33" fmla="*/ 194977 h 389477"/>
                <a:gd name="connsiteX34" fmla="*/ 94583 w 397859"/>
                <a:gd name="connsiteY34" fmla="*/ 241268 h 389477"/>
                <a:gd name="connsiteX35" fmla="*/ 118110 w 397859"/>
                <a:gd name="connsiteY35" fmla="*/ 279463 h 389477"/>
                <a:gd name="connsiteX36" fmla="*/ 153924 w 397859"/>
                <a:gd name="connsiteY36" fmla="*/ 305562 h 389477"/>
                <a:gd name="connsiteX37" fmla="*/ 199263 w 397859"/>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859" h="389477">
                  <a:moveTo>
                    <a:pt x="197834" y="389477"/>
                  </a:moveTo>
                  <a:cubicBezTo>
                    <a:pt x="169545" y="389477"/>
                    <a:pt x="143351" y="384429"/>
                    <a:pt x="119063" y="374237"/>
                  </a:cubicBezTo>
                  <a:cubicBezTo>
                    <a:pt x="94774" y="364141"/>
                    <a:pt x="73819" y="350330"/>
                    <a:pt x="56197" y="332899"/>
                  </a:cubicBezTo>
                  <a:cubicBezTo>
                    <a:pt x="38481" y="315468"/>
                    <a:pt x="24765" y="294989"/>
                    <a:pt x="14859" y="271463"/>
                  </a:cubicBezTo>
                  <a:cubicBezTo>
                    <a:pt x="4953" y="247936"/>
                    <a:pt x="0" y="222980"/>
                    <a:pt x="0" y="196501"/>
                  </a:cubicBezTo>
                  <a:lnTo>
                    <a:pt x="0" y="195072"/>
                  </a:lnTo>
                  <a:cubicBezTo>
                    <a:pt x="0" y="168212"/>
                    <a:pt x="5048" y="143066"/>
                    <a:pt x="15145" y="119444"/>
                  </a:cubicBezTo>
                  <a:cubicBezTo>
                    <a:pt x="25241" y="95917"/>
                    <a:pt x="39148" y="75248"/>
                    <a:pt x="56864" y="57626"/>
                  </a:cubicBezTo>
                  <a:cubicBezTo>
                    <a:pt x="74581" y="39910"/>
                    <a:pt x="95536" y="25908"/>
                    <a:pt x="119729" y="15526"/>
                  </a:cubicBezTo>
                  <a:cubicBezTo>
                    <a:pt x="144018" y="5144"/>
                    <a:pt x="170497" y="0"/>
                    <a:pt x="199263" y="0"/>
                  </a:cubicBezTo>
                  <a:cubicBezTo>
                    <a:pt x="228029" y="0"/>
                    <a:pt x="254508" y="5048"/>
                    <a:pt x="278797" y="15240"/>
                  </a:cubicBezTo>
                  <a:cubicBezTo>
                    <a:pt x="303085" y="25337"/>
                    <a:pt x="324041" y="39243"/>
                    <a:pt x="341662" y="56959"/>
                  </a:cubicBezTo>
                  <a:cubicBezTo>
                    <a:pt x="359378" y="74676"/>
                    <a:pt x="373094" y="95155"/>
                    <a:pt x="383000" y="118396"/>
                  </a:cubicBezTo>
                  <a:cubicBezTo>
                    <a:pt x="392906" y="141732"/>
                    <a:pt x="397859" y="166783"/>
                    <a:pt x="397859" y="193643"/>
                  </a:cubicBezTo>
                  <a:lnTo>
                    <a:pt x="397859" y="195072"/>
                  </a:lnTo>
                  <a:cubicBezTo>
                    <a:pt x="397859" y="221456"/>
                    <a:pt x="392811" y="246412"/>
                    <a:pt x="382619" y="270034"/>
                  </a:cubicBezTo>
                  <a:cubicBezTo>
                    <a:pt x="372523" y="293561"/>
                    <a:pt x="358616" y="314230"/>
                    <a:pt x="340900" y="331851"/>
                  </a:cubicBezTo>
                  <a:cubicBezTo>
                    <a:pt x="323183" y="349472"/>
                    <a:pt x="302133" y="363569"/>
                    <a:pt x="277654" y="373856"/>
                  </a:cubicBezTo>
                  <a:cubicBezTo>
                    <a:pt x="253175" y="384238"/>
                    <a:pt x="226504" y="389382"/>
                    <a:pt x="197834" y="389382"/>
                  </a:cubicBezTo>
                  <a:close/>
                  <a:moveTo>
                    <a:pt x="199263" y="315278"/>
                  </a:moveTo>
                  <a:cubicBezTo>
                    <a:pt x="216598" y="315278"/>
                    <a:pt x="232124" y="312039"/>
                    <a:pt x="245935" y="305753"/>
                  </a:cubicBezTo>
                  <a:cubicBezTo>
                    <a:pt x="259747" y="299371"/>
                    <a:pt x="271558" y="290798"/>
                    <a:pt x="281368" y="279940"/>
                  </a:cubicBezTo>
                  <a:cubicBezTo>
                    <a:pt x="291179" y="269081"/>
                    <a:pt x="298704" y="256508"/>
                    <a:pt x="303847" y="242125"/>
                  </a:cubicBezTo>
                  <a:cubicBezTo>
                    <a:pt x="308991" y="227743"/>
                    <a:pt x="311563" y="212598"/>
                    <a:pt x="311563" y="196501"/>
                  </a:cubicBezTo>
                  <a:lnTo>
                    <a:pt x="311563" y="195072"/>
                  </a:lnTo>
                  <a:cubicBezTo>
                    <a:pt x="311563" y="178594"/>
                    <a:pt x="308800" y="163068"/>
                    <a:pt x="303181" y="148400"/>
                  </a:cubicBezTo>
                  <a:cubicBezTo>
                    <a:pt x="297561" y="133826"/>
                    <a:pt x="289750" y="121063"/>
                    <a:pt x="279654" y="110204"/>
                  </a:cubicBezTo>
                  <a:cubicBezTo>
                    <a:pt x="269558" y="99346"/>
                    <a:pt x="257651" y="90773"/>
                    <a:pt x="243840" y="84392"/>
                  </a:cubicBezTo>
                  <a:cubicBezTo>
                    <a:pt x="230029" y="78010"/>
                    <a:pt x="214693" y="74867"/>
                    <a:pt x="197834" y="74867"/>
                  </a:cubicBezTo>
                  <a:cubicBezTo>
                    <a:pt x="180975" y="74867"/>
                    <a:pt x="165640" y="78010"/>
                    <a:pt x="151829" y="84392"/>
                  </a:cubicBezTo>
                  <a:cubicBezTo>
                    <a:pt x="138017" y="90773"/>
                    <a:pt x="126206" y="99250"/>
                    <a:pt x="116396" y="109823"/>
                  </a:cubicBezTo>
                  <a:cubicBezTo>
                    <a:pt x="106585" y="120396"/>
                    <a:pt x="99060" y="133064"/>
                    <a:pt x="93917" y="147638"/>
                  </a:cubicBezTo>
                  <a:cubicBezTo>
                    <a:pt x="88773" y="162211"/>
                    <a:pt x="86201" y="177546"/>
                    <a:pt x="86201" y="193548"/>
                  </a:cubicBezTo>
                  <a:lnTo>
                    <a:pt x="86201" y="194977"/>
                  </a:lnTo>
                  <a:cubicBezTo>
                    <a:pt x="86201" y="211455"/>
                    <a:pt x="88963" y="226886"/>
                    <a:pt x="94583" y="241268"/>
                  </a:cubicBezTo>
                  <a:cubicBezTo>
                    <a:pt x="100203" y="255651"/>
                    <a:pt x="108013" y="268319"/>
                    <a:pt x="118110" y="279463"/>
                  </a:cubicBezTo>
                  <a:cubicBezTo>
                    <a:pt x="128206" y="290513"/>
                    <a:pt x="140113" y="299275"/>
                    <a:pt x="153924" y="305562"/>
                  </a:cubicBezTo>
                  <a:cubicBezTo>
                    <a:pt x="167735" y="311944"/>
                    <a:pt x="182880"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25" name="Freeform: Shape 24">
              <a:extLst>
                <a:ext uri="{FF2B5EF4-FFF2-40B4-BE49-F238E27FC236}">
                  <a16:creationId xmlns:a16="http://schemas.microsoft.com/office/drawing/2014/main" id="{E7EC5F12-FFCD-2F57-798C-14138565D3B2}"/>
                </a:ext>
              </a:extLst>
            </p:cNvPr>
            <p:cNvSpPr/>
            <p:nvPr/>
          </p:nvSpPr>
          <p:spPr>
            <a:xfrm>
              <a:off x="5806925"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2 w 296894"/>
                <a:gd name="connsiteY36" fmla="*/ 224980 h 386714"/>
                <a:gd name="connsiteX37" fmla="*/ 296894 w 296894"/>
                <a:gd name="connsiteY37" fmla="*/ 267938 h 386714"/>
                <a:gd name="connsiteX38" fmla="*/ 296894 w 296894"/>
                <a:gd name="connsiteY38" fmla="*/ 269367 h 386714"/>
                <a:gd name="connsiteX39" fmla="*/ 286322 w 296894"/>
                <a:gd name="connsiteY39" fmla="*/ 320897 h 386714"/>
                <a:gd name="connsiteX40" fmla="*/ 256984 w 296894"/>
                <a:gd name="connsiteY40" fmla="*/ 357188 h 386714"/>
                <a:gd name="connsiteX41" fmla="*/ 212789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8" y="298704"/>
                    <a:pt x="100013" y="306514"/>
                  </a:cubicBezTo>
                  <a:cubicBezTo>
                    <a:pt x="120967" y="314325"/>
                    <a:pt x="141161" y="318135"/>
                    <a:pt x="160401" y="318135"/>
                  </a:cubicBezTo>
                  <a:cubicBezTo>
                    <a:pt x="179642" y="318135"/>
                    <a:pt x="192976"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2" y="241078"/>
                    <a:pt x="176498" y="237553"/>
                    <a:pt x="166402" y="234220"/>
                  </a:cubicBezTo>
                  <a:cubicBezTo>
                    <a:pt x="156305" y="230886"/>
                    <a:pt x="145733" y="227647"/>
                    <a:pt x="134969" y="224314"/>
                  </a:cubicBezTo>
                  <a:cubicBezTo>
                    <a:pt x="121253" y="220599"/>
                    <a:pt x="107537" y="216122"/>
                    <a:pt x="93631" y="210884"/>
                  </a:cubicBezTo>
                  <a:cubicBezTo>
                    <a:pt x="79724" y="205740"/>
                    <a:pt x="67246" y="198977"/>
                    <a:pt x="56197" y="190786"/>
                  </a:cubicBezTo>
                  <a:cubicBezTo>
                    <a:pt x="45149" y="182594"/>
                    <a:pt x="36100" y="172307"/>
                    <a:pt x="28956" y="160115"/>
                  </a:cubicBezTo>
                  <a:cubicBezTo>
                    <a:pt x="21908"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5"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7" y="156210"/>
                    <a:pt x="180975" y="159448"/>
                  </a:cubicBezTo>
                  <a:cubicBezTo>
                    <a:pt x="194596" y="163639"/>
                    <a:pt x="208312" y="168592"/>
                    <a:pt x="222028" y="174212"/>
                  </a:cubicBezTo>
                  <a:cubicBezTo>
                    <a:pt x="235649" y="179832"/>
                    <a:pt x="248031" y="186785"/>
                    <a:pt x="259080" y="194977"/>
                  </a:cubicBezTo>
                  <a:cubicBezTo>
                    <a:pt x="270129" y="203168"/>
                    <a:pt x="279273" y="213169"/>
                    <a:pt x="286322" y="224980"/>
                  </a:cubicBezTo>
                  <a:cubicBezTo>
                    <a:pt x="293370" y="236696"/>
                    <a:pt x="296894" y="251079"/>
                    <a:pt x="296894" y="267938"/>
                  </a:cubicBezTo>
                  <a:lnTo>
                    <a:pt x="296894" y="269367"/>
                  </a:lnTo>
                  <a:cubicBezTo>
                    <a:pt x="296894" y="289084"/>
                    <a:pt x="293370" y="306229"/>
                    <a:pt x="286322" y="320897"/>
                  </a:cubicBezTo>
                  <a:cubicBezTo>
                    <a:pt x="279273" y="335470"/>
                    <a:pt x="269462" y="347567"/>
                    <a:pt x="256984" y="357188"/>
                  </a:cubicBezTo>
                  <a:cubicBezTo>
                    <a:pt x="244507" y="366808"/>
                    <a:pt x="229743" y="374142"/>
                    <a:pt x="212789"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6" name="Freeform: Shape 25">
              <a:extLst>
                <a:ext uri="{FF2B5EF4-FFF2-40B4-BE49-F238E27FC236}">
                  <a16:creationId xmlns:a16="http://schemas.microsoft.com/office/drawing/2014/main" id="{B38074B6-6CED-E5B4-2133-18C76EFF3D4E}"/>
                </a:ext>
              </a:extLst>
            </p:cNvPr>
            <p:cNvSpPr/>
            <p:nvPr/>
          </p:nvSpPr>
          <p:spPr>
            <a:xfrm>
              <a:off x="589573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6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160" y="318135"/>
                    <a:pt x="160401" y="318135"/>
                  </a:cubicBezTo>
                  <a:cubicBezTo>
                    <a:pt x="179641" y="318135"/>
                    <a:pt x="192976"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4"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792"/>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7" name="Freeform: Shape 26">
              <a:extLst>
                <a:ext uri="{FF2B5EF4-FFF2-40B4-BE49-F238E27FC236}">
                  <a16:creationId xmlns:a16="http://schemas.microsoft.com/office/drawing/2014/main" id="{740683A5-DD86-D11E-0157-93310ACAE783}"/>
                </a:ext>
              </a:extLst>
            </p:cNvPr>
            <p:cNvSpPr/>
            <p:nvPr/>
          </p:nvSpPr>
          <p:spPr>
            <a:xfrm>
              <a:off x="5985812" y="700558"/>
              <a:ext cx="85097" cy="97141"/>
            </a:xfrm>
            <a:custGeom>
              <a:avLst/>
              <a:gdLst>
                <a:gd name="connsiteX0" fmla="*/ 253651 w 338518"/>
                <a:gd name="connsiteY0" fmla="*/ 378619 h 386429"/>
                <a:gd name="connsiteX1" fmla="*/ 253651 w 338518"/>
                <a:gd name="connsiteY1" fmla="*/ 332708 h 386429"/>
                <a:gd name="connsiteX2" fmla="*/ 204883 w 338518"/>
                <a:gd name="connsiteY2" fmla="*/ 370904 h 386429"/>
                <a:gd name="connsiteX3" fmla="*/ 132779 w 338518"/>
                <a:gd name="connsiteY3" fmla="*/ 386429 h 386429"/>
                <a:gd name="connsiteX4" fmla="*/ 81915 w 338518"/>
                <a:gd name="connsiteY4" fmla="*/ 379000 h 386429"/>
                <a:gd name="connsiteX5" fmla="*/ 39910 w 338518"/>
                <a:gd name="connsiteY5" fmla="*/ 357092 h 386429"/>
                <a:gd name="connsiteX6" fmla="*/ 10954 w 338518"/>
                <a:gd name="connsiteY6" fmla="*/ 321088 h 386429"/>
                <a:gd name="connsiteX7" fmla="*/ 0 w 338518"/>
                <a:gd name="connsiteY7" fmla="*/ 271272 h 386429"/>
                <a:gd name="connsiteX8" fmla="*/ 0 w 338518"/>
                <a:gd name="connsiteY8" fmla="*/ 269843 h 386429"/>
                <a:gd name="connsiteX9" fmla="*/ 11335 w 338518"/>
                <a:gd name="connsiteY9" fmla="*/ 215741 h 386429"/>
                <a:gd name="connsiteX10" fmla="*/ 42767 w 338518"/>
                <a:gd name="connsiteY10" fmla="*/ 177546 h 386429"/>
                <a:gd name="connsiteX11" fmla="*/ 90773 w 338518"/>
                <a:gd name="connsiteY11" fmla="*/ 154972 h 386429"/>
                <a:gd name="connsiteX12" fmla="*/ 151162 w 338518"/>
                <a:gd name="connsiteY12" fmla="*/ 147542 h 386429"/>
                <a:gd name="connsiteX13" fmla="*/ 208788 w 338518"/>
                <a:gd name="connsiteY13" fmla="*/ 151829 h 386429"/>
                <a:gd name="connsiteX14" fmla="*/ 254413 w 338518"/>
                <a:gd name="connsiteY14" fmla="*/ 163163 h 386429"/>
                <a:gd name="connsiteX15" fmla="*/ 254413 w 338518"/>
                <a:gd name="connsiteY15" fmla="*/ 156115 h 386429"/>
                <a:gd name="connsiteX16" fmla="*/ 230696 w 338518"/>
                <a:gd name="connsiteY16" fmla="*/ 96774 h 386429"/>
                <a:gd name="connsiteX17" fmla="*/ 162496 w 338518"/>
                <a:gd name="connsiteY17" fmla="*/ 76295 h 386429"/>
                <a:gd name="connsiteX18" fmla="*/ 106013 w 338518"/>
                <a:gd name="connsiteY18" fmla="*/ 82677 h 386429"/>
                <a:gd name="connsiteX19" fmla="*/ 55816 w 338518"/>
                <a:gd name="connsiteY19" fmla="*/ 99632 h 386429"/>
                <a:gd name="connsiteX20" fmla="*/ 32480 w 338518"/>
                <a:gd name="connsiteY20" fmla="*/ 31052 h 386429"/>
                <a:gd name="connsiteX21" fmla="*/ 96107 w 338518"/>
                <a:gd name="connsiteY21" fmla="*/ 8477 h 386429"/>
                <a:gd name="connsiteX22" fmla="*/ 174593 w 338518"/>
                <a:gd name="connsiteY22" fmla="*/ 0 h 386429"/>
                <a:gd name="connsiteX23" fmla="*/ 298228 w 338518"/>
                <a:gd name="connsiteY23" fmla="*/ 41338 h 386429"/>
                <a:gd name="connsiteX24" fmla="*/ 338519 w 338518"/>
                <a:gd name="connsiteY24" fmla="*/ 157544 h 386429"/>
                <a:gd name="connsiteX25" fmla="*/ 338519 w 338518"/>
                <a:gd name="connsiteY25" fmla="*/ 378714 h 386429"/>
                <a:gd name="connsiteX26" fmla="*/ 253746 w 338518"/>
                <a:gd name="connsiteY26" fmla="*/ 378714 h 386429"/>
                <a:gd name="connsiteX27" fmla="*/ 255746 w 338518"/>
                <a:gd name="connsiteY27" fmla="*/ 222409 h 386429"/>
                <a:gd name="connsiteX28" fmla="*/ 217265 w 338518"/>
                <a:gd name="connsiteY28" fmla="*/ 211836 h 386429"/>
                <a:gd name="connsiteX29" fmla="*/ 170307 w 338518"/>
                <a:gd name="connsiteY29" fmla="*/ 207550 h 386429"/>
                <a:gd name="connsiteX30" fmla="*/ 107442 w 338518"/>
                <a:gd name="connsiteY30" fmla="*/ 223075 h 386429"/>
                <a:gd name="connsiteX31" fmla="*/ 84868 w 338518"/>
                <a:gd name="connsiteY31" fmla="*/ 265462 h 386429"/>
                <a:gd name="connsiteX32" fmla="*/ 84868 w 338518"/>
                <a:gd name="connsiteY32" fmla="*/ 266891 h 386429"/>
                <a:gd name="connsiteX33" fmla="*/ 105728 w 338518"/>
                <a:gd name="connsiteY33" fmla="*/ 307848 h 386429"/>
                <a:gd name="connsiteX34" fmla="*/ 156972 w 338518"/>
                <a:gd name="connsiteY34" fmla="*/ 321945 h 386429"/>
                <a:gd name="connsiteX35" fmla="*/ 196215 w 338518"/>
                <a:gd name="connsiteY35" fmla="*/ 316325 h 386429"/>
                <a:gd name="connsiteX36" fmla="*/ 227647 w 338518"/>
                <a:gd name="connsiteY36" fmla="*/ 300419 h 386429"/>
                <a:gd name="connsiteX37" fmla="*/ 248507 w 338518"/>
                <a:gd name="connsiteY37" fmla="*/ 275654 h 386429"/>
                <a:gd name="connsiteX38" fmla="*/ 255937 w 338518"/>
                <a:gd name="connsiteY38" fmla="*/ 243459 h 386429"/>
                <a:gd name="connsiteX39" fmla="*/ 255937 w 338518"/>
                <a:gd name="connsiteY39" fmla="*/ 222218 h 3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8518" h="386429">
                  <a:moveTo>
                    <a:pt x="253651" y="378619"/>
                  </a:moveTo>
                  <a:lnTo>
                    <a:pt x="253651" y="332708"/>
                  </a:lnTo>
                  <a:cubicBezTo>
                    <a:pt x="240887" y="347758"/>
                    <a:pt x="224695" y="360521"/>
                    <a:pt x="204883" y="370904"/>
                  </a:cubicBezTo>
                  <a:cubicBezTo>
                    <a:pt x="185071" y="381286"/>
                    <a:pt x="161068" y="386429"/>
                    <a:pt x="132779" y="386429"/>
                  </a:cubicBezTo>
                  <a:cubicBezTo>
                    <a:pt x="114871" y="386429"/>
                    <a:pt x="97917" y="383953"/>
                    <a:pt x="81915" y="379000"/>
                  </a:cubicBezTo>
                  <a:cubicBezTo>
                    <a:pt x="65913" y="374047"/>
                    <a:pt x="51911" y="366713"/>
                    <a:pt x="39910" y="357092"/>
                  </a:cubicBezTo>
                  <a:cubicBezTo>
                    <a:pt x="27908" y="347472"/>
                    <a:pt x="18193" y="335471"/>
                    <a:pt x="10954" y="321088"/>
                  </a:cubicBezTo>
                  <a:cubicBezTo>
                    <a:pt x="3620" y="306705"/>
                    <a:pt x="0" y="290132"/>
                    <a:pt x="0" y="271272"/>
                  </a:cubicBezTo>
                  <a:lnTo>
                    <a:pt x="0" y="269843"/>
                  </a:lnTo>
                  <a:cubicBezTo>
                    <a:pt x="0" y="249079"/>
                    <a:pt x="3810" y="231077"/>
                    <a:pt x="11335" y="215741"/>
                  </a:cubicBezTo>
                  <a:cubicBezTo>
                    <a:pt x="18859" y="200406"/>
                    <a:pt x="29337" y="187738"/>
                    <a:pt x="42767" y="177546"/>
                  </a:cubicBezTo>
                  <a:cubicBezTo>
                    <a:pt x="56197" y="167450"/>
                    <a:pt x="72199" y="159925"/>
                    <a:pt x="90773" y="154972"/>
                  </a:cubicBezTo>
                  <a:cubicBezTo>
                    <a:pt x="109347" y="150019"/>
                    <a:pt x="129540" y="147542"/>
                    <a:pt x="151162" y="147542"/>
                  </a:cubicBezTo>
                  <a:cubicBezTo>
                    <a:pt x="172783" y="147542"/>
                    <a:pt x="192976" y="148971"/>
                    <a:pt x="208788" y="151829"/>
                  </a:cubicBezTo>
                  <a:cubicBezTo>
                    <a:pt x="224599" y="154686"/>
                    <a:pt x="239744" y="158401"/>
                    <a:pt x="254413" y="163163"/>
                  </a:cubicBezTo>
                  <a:lnTo>
                    <a:pt x="254413" y="156115"/>
                  </a:lnTo>
                  <a:cubicBezTo>
                    <a:pt x="254413" y="130207"/>
                    <a:pt x="246507" y="110395"/>
                    <a:pt x="230696" y="96774"/>
                  </a:cubicBezTo>
                  <a:cubicBezTo>
                    <a:pt x="214884" y="83153"/>
                    <a:pt x="192214" y="76295"/>
                    <a:pt x="162496" y="76295"/>
                  </a:cubicBezTo>
                  <a:cubicBezTo>
                    <a:pt x="141351" y="76295"/>
                    <a:pt x="122491" y="78391"/>
                    <a:pt x="106013" y="82677"/>
                  </a:cubicBezTo>
                  <a:cubicBezTo>
                    <a:pt x="89535" y="86963"/>
                    <a:pt x="72771" y="92583"/>
                    <a:pt x="55816" y="99632"/>
                  </a:cubicBezTo>
                  <a:lnTo>
                    <a:pt x="32480" y="31052"/>
                  </a:lnTo>
                  <a:cubicBezTo>
                    <a:pt x="53149" y="21622"/>
                    <a:pt x="74390" y="14097"/>
                    <a:pt x="96107" y="8477"/>
                  </a:cubicBezTo>
                  <a:cubicBezTo>
                    <a:pt x="117729" y="2858"/>
                    <a:pt x="143923" y="0"/>
                    <a:pt x="174593" y="0"/>
                  </a:cubicBezTo>
                  <a:cubicBezTo>
                    <a:pt x="230124" y="0"/>
                    <a:pt x="271367" y="13811"/>
                    <a:pt x="298228" y="41338"/>
                  </a:cubicBezTo>
                  <a:cubicBezTo>
                    <a:pt x="325088" y="68866"/>
                    <a:pt x="338519" y="107633"/>
                    <a:pt x="338519" y="157544"/>
                  </a:cubicBezTo>
                  <a:lnTo>
                    <a:pt x="338519" y="378714"/>
                  </a:lnTo>
                  <a:lnTo>
                    <a:pt x="253746" y="378714"/>
                  </a:lnTo>
                  <a:close/>
                  <a:moveTo>
                    <a:pt x="255746" y="222409"/>
                  </a:moveTo>
                  <a:cubicBezTo>
                    <a:pt x="244888" y="218123"/>
                    <a:pt x="232029" y="214598"/>
                    <a:pt x="217265" y="211836"/>
                  </a:cubicBezTo>
                  <a:cubicBezTo>
                    <a:pt x="202406" y="208979"/>
                    <a:pt x="186785" y="207550"/>
                    <a:pt x="170307" y="207550"/>
                  </a:cubicBezTo>
                  <a:cubicBezTo>
                    <a:pt x="143446" y="207550"/>
                    <a:pt x="122491" y="212693"/>
                    <a:pt x="107442" y="223075"/>
                  </a:cubicBezTo>
                  <a:cubicBezTo>
                    <a:pt x="92392" y="233458"/>
                    <a:pt x="84868" y="247555"/>
                    <a:pt x="84868" y="265462"/>
                  </a:cubicBezTo>
                  <a:lnTo>
                    <a:pt x="84868" y="266891"/>
                  </a:lnTo>
                  <a:cubicBezTo>
                    <a:pt x="84868" y="284798"/>
                    <a:pt x="91821" y="298418"/>
                    <a:pt x="105728" y="307848"/>
                  </a:cubicBezTo>
                  <a:cubicBezTo>
                    <a:pt x="119634" y="317278"/>
                    <a:pt x="136684" y="321945"/>
                    <a:pt x="156972" y="321945"/>
                  </a:cubicBezTo>
                  <a:cubicBezTo>
                    <a:pt x="171069" y="321945"/>
                    <a:pt x="184213" y="320040"/>
                    <a:pt x="196215" y="316325"/>
                  </a:cubicBezTo>
                  <a:cubicBezTo>
                    <a:pt x="208216" y="312515"/>
                    <a:pt x="218694" y="307277"/>
                    <a:pt x="227647" y="300419"/>
                  </a:cubicBezTo>
                  <a:cubicBezTo>
                    <a:pt x="236601" y="293561"/>
                    <a:pt x="243554" y="285369"/>
                    <a:pt x="248507" y="275654"/>
                  </a:cubicBezTo>
                  <a:cubicBezTo>
                    <a:pt x="253460" y="266033"/>
                    <a:pt x="255937" y="255270"/>
                    <a:pt x="255937" y="243459"/>
                  </a:cubicBezTo>
                  <a:lnTo>
                    <a:pt x="255937" y="222218"/>
                  </a:lnTo>
                  <a:close/>
                </a:path>
              </a:pathLst>
            </a:custGeom>
            <a:solidFill>
              <a:srgbClr val="44505E"/>
            </a:solidFill>
            <a:ln w="9525" cap="flat">
              <a:noFill/>
              <a:prstDash val="solid"/>
              <a:miter/>
            </a:ln>
          </p:spPr>
          <p:txBody>
            <a:bodyPr rtlCol="0" anchor="ctr"/>
            <a:lstStyle/>
            <a:p>
              <a:endParaRPr lang="pt-BR" noProof="0"/>
            </a:p>
          </p:txBody>
        </p:sp>
        <p:sp>
          <p:nvSpPr>
            <p:cNvPr id="28" name="Freeform: Shape 27">
              <a:extLst>
                <a:ext uri="{FF2B5EF4-FFF2-40B4-BE49-F238E27FC236}">
                  <a16:creationId xmlns:a16="http://schemas.microsoft.com/office/drawing/2014/main" id="{81B7CFEA-7221-1B55-94EB-6DAE37802285}"/>
                </a:ext>
              </a:extLst>
            </p:cNvPr>
            <p:cNvSpPr/>
            <p:nvPr/>
          </p:nvSpPr>
          <p:spPr>
            <a:xfrm>
              <a:off x="6088843" y="700318"/>
              <a:ext cx="74610" cy="97213"/>
            </a:xfrm>
            <a:custGeom>
              <a:avLst/>
              <a:gdLst>
                <a:gd name="connsiteX0" fmla="*/ 158305 w 296799"/>
                <a:gd name="connsiteY0" fmla="*/ 386715 h 386714"/>
                <a:gd name="connsiteX1" fmla="*/ 76676 w 296799"/>
                <a:gd name="connsiteY1" fmla="*/ 372427 h 386714"/>
                <a:gd name="connsiteX2" fmla="*/ 0 w 296799"/>
                <a:gd name="connsiteY2" fmla="*/ 330327 h 386714"/>
                <a:gd name="connsiteX3" fmla="*/ 38195 w 296799"/>
                <a:gd name="connsiteY3" fmla="*/ 272224 h 386714"/>
                <a:gd name="connsiteX4" fmla="*/ 100013 w 296799"/>
                <a:gd name="connsiteY4" fmla="*/ 306514 h 386714"/>
                <a:gd name="connsiteX5" fmla="*/ 160401 w 296799"/>
                <a:gd name="connsiteY5" fmla="*/ 318135 h 386714"/>
                <a:gd name="connsiteX6" fmla="*/ 203168 w 296799"/>
                <a:gd name="connsiteY6" fmla="*/ 307181 h 386714"/>
                <a:gd name="connsiteX7" fmla="*/ 218408 w 296799"/>
                <a:gd name="connsiteY7" fmla="*/ 277939 h 386714"/>
                <a:gd name="connsiteX8" fmla="*/ 218408 w 296799"/>
                <a:gd name="connsiteY8" fmla="*/ 276511 h 386714"/>
                <a:gd name="connsiteX9" fmla="*/ 211646 w 296799"/>
                <a:gd name="connsiteY9" fmla="*/ 258223 h 386714"/>
                <a:gd name="connsiteX10" fmla="*/ 193262 w 296799"/>
                <a:gd name="connsiteY10" fmla="*/ 244792 h 386714"/>
                <a:gd name="connsiteX11" fmla="*/ 166402 w 296799"/>
                <a:gd name="connsiteY11" fmla="*/ 234220 h 386714"/>
                <a:gd name="connsiteX12" fmla="*/ 134969 w 296799"/>
                <a:gd name="connsiteY12" fmla="*/ 224314 h 386714"/>
                <a:gd name="connsiteX13" fmla="*/ 93631 w 296799"/>
                <a:gd name="connsiteY13" fmla="*/ 210884 h 386714"/>
                <a:gd name="connsiteX14" fmla="*/ 56197 w 296799"/>
                <a:gd name="connsiteY14" fmla="*/ 190786 h 386714"/>
                <a:gd name="connsiteX15" fmla="*/ 28956 w 296799"/>
                <a:gd name="connsiteY15" fmla="*/ 160115 h 386714"/>
                <a:gd name="connsiteX16" fmla="*/ 18383 w 296799"/>
                <a:gd name="connsiteY16" fmla="*/ 114967 h 386714"/>
                <a:gd name="connsiteX17" fmla="*/ 18383 w 296799"/>
                <a:gd name="connsiteY17" fmla="*/ 113538 h 386714"/>
                <a:gd name="connsiteX18" fmla="*/ 28575 w 296799"/>
                <a:gd name="connsiteY18" fmla="*/ 66294 h 386714"/>
                <a:gd name="connsiteX19" fmla="*/ 56864 w 296799"/>
                <a:gd name="connsiteY19" fmla="*/ 30385 h 386714"/>
                <a:gd name="connsiteX20" fmla="*/ 99250 w 296799"/>
                <a:gd name="connsiteY20" fmla="*/ 7810 h 386714"/>
                <a:gd name="connsiteX21" fmla="*/ 151162 w 296799"/>
                <a:gd name="connsiteY21" fmla="*/ 0 h 386714"/>
                <a:gd name="connsiteX22" fmla="*/ 222504 w 296799"/>
                <a:gd name="connsiteY22" fmla="*/ 11430 h 386714"/>
                <a:gd name="connsiteX23" fmla="*/ 288227 w 296799"/>
                <a:gd name="connsiteY23" fmla="*/ 42863 h 386714"/>
                <a:gd name="connsiteX24" fmla="*/ 254317 w 296799"/>
                <a:gd name="connsiteY24" fmla="*/ 103918 h 386714"/>
                <a:gd name="connsiteX25" fmla="*/ 199930 w 296799"/>
                <a:gd name="connsiteY25" fmla="*/ 78105 h 386714"/>
                <a:gd name="connsiteX26" fmla="*/ 149066 w 296799"/>
                <a:gd name="connsiteY26" fmla="*/ 68580 h 386714"/>
                <a:gd name="connsiteX27" fmla="*/ 110585 w 296799"/>
                <a:gd name="connsiteY27" fmla="*/ 79153 h 386714"/>
                <a:gd name="connsiteX28" fmla="*/ 96774 w 296799"/>
                <a:gd name="connsiteY28" fmla="*/ 105918 h 386714"/>
                <a:gd name="connsiteX29" fmla="*/ 96774 w 296799"/>
                <a:gd name="connsiteY29" fmla="*/ 107347 h 386714"/>
                <a:gd name="connsiteX30" fmla="*/ 103822 w 296799"/>
                <a:gd name="connsiteY30" fmla="*/ 124587 h 386714"/>
                <a:gd name="connsiteX31" fmla="*/ 122587 w 296799"/>
                <a:gd name="connsiteY31" fmla="*/ 138017 h 386714"/>
                <a:gd name="connsiteX32" fmla="*/ 149447 w 296799"/>
                <a:gd name="connsiteY32" fmla="*/ 149257 h 386714"/>
                <a:gd name="connsiteX33" fmla="*/ 180880 w 296799"/>
                <a:gd name="connsiteY33" fmla="*/ 159448 h 386714"/>
                <a:gd name="connsiteX34" fmla="*/ 221837 w 296799"/>
                <a:gd name="connsiteY34" fmla="*/ 174212 h 386714"/>
                <a:gd name="connsiteX35" fmla="*/ 258985 w 296799"/>
                <a:gd name="connsiteY35" fmla="*/ 194977 h 386714"/>
                <a:gd name="connsiteX36" fmla="*/ 286226 w 296799"/>
                <a:gd name="connsiteY36" fmla="*/ 224980 h 386714"/>
                <a:gd name="connsiteX37" fmla="*/ 296799 w 296799"/>
                <a:gd name="connsiteY37" fmla="*/ 267938 h 386714"/>
                <a:gd name="connsiteX38" fmla="*/ 296799 w 296799"/>
                <a:gd name="connsiteY38" fmla="*/ 269367 h 386714"/>
                <a:gd name="connsiteX39" fmla="*/ 286226 w 296799"/>
                <a:gd name="connsiteY39" fmla="*/ 320897 h 386714"/>
                <a:gd name="connsiteX40" fmla="*/ 256889 w 296799"/>
                <a:gd name="connsiteY40" fmla="*/ 357188 h 386714"/>
                <a:gd name="connsiteX41" fmla="*/ 212693 w 296799"/>
                <a:gd name="connsiteY41" fmla="*/ 379095 h 386714"/>
                <a:gd name="connsiteX42" fmla="*/ 158305 w 296799"/>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799"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065" y="318135"/>
                    <a:pt x="160401" y="318135"/>
                  </a:cubicBezTo>
                  <a:cubicBezTo>
                    <a:pt x="179737" y="318135"/>
                    <a:pt x="193072"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828" y="227647"/>
                    <a:pt x="134969" y="224314"/>
                  </a:cubicBezTo>
                  <a:cubicBezTo>
                    <a:pt x="121348" y="220599"/>
                    <a:pt x="107537" y="216122"/>
                    <a:pt x="93631" y="210884"/>
                  </a:cubicBezTo>
                  <a:cubicBezTo>
                    <a:pt x="79724" y="205740"/>
                    <a:pt x="67246" y="198977"/>
                    <a:pt x="56197" y="190786"/>
                  </a:cubicBezTo>
                  <a:cubicBezTo>
                    <a:pt x="45148" y="182594"/>
                    <a:pt x="36004"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874" y="0"/>
                    <a:pt x="151162" y="0"/>
                  </a:cubicBezTo>
                  <a:cubicBezTo>
                    <a:pt x="174688" y="0"/>
                    <a:pt x="198501" y="3810"/>
                    <a:pt x="222504" y="11430"/>
                  </a:cubicBezTo>
                  <a:cubicBezTo>
                    <a:pt x="246507" y="19050"/>
                    <a:pt x="268414" y="29527"/>
                    <a:pt x="288227" y="42863"/>
                  </a:cubicBezTo>
                  <a:lnTo>
                    <a:pt x="254317"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774" y="95155"/>
                    <a:pt x="96774" y="105918"/>
                  </a:cubicBezTo>
                  <a:lnTo>
                    <a:pt x="96774" y="107347"/>
                  </a:lnTo>
                  <a:cubicBezTo>
                    <a:pt x="96774" y="113919"/>
                    <a:pt x="99155" y="119634"/>
                    <a:pt x="103822" y="124587"/>
                  </a:cubicBezTo>
                  <a:cubicBezTo>
                    <a:pt x="108490" y="129540"/>
                    <a:pt x="114776" y="134017"/>
                    <a:pt x="122587" y="138017"/>
                  </a:cubicBezTo>
                  <a:cubicBezTo>
                    <a:pt x="130397" y="142018"/>
                    <a:pt x="139351" y="145732"/>
                    <a:pt x="149447" y="149257"/>
                  </a:cubicBezTo>
                  <a:cubicBezTo>
                    <a:pt x="159544" y="152781"/>
                    <a:pt x="170021" y="156210"/>
                    <a:pt x="180880" y="159448"/>
                  </a:cubicBezTo>
                  <a:cubicBezTo>
                    <a:pt x="194500" y="163639"/>
                    <a:pt x="208216" y="168592"/>
                    <a:pt x="221837" y="174212"/>
                  </a:cubicBezTo>
                  <a:cubicBezTo>
                    <a:pt x="235458" y="179832"/>
                    <a:pt x="247840" y="186785"/>
                    <a:pt x="258985" y="194977"/>
                  </a:cubicBezTo>
                  <a:cubicBezTo>
                    <a:pt x="270034" y="203168"/>
                    <a:pt x="279178" y="213169"/>
                    <a:pt x="286226" y="224980"/>
                  </a:cubicBezTo>
                  <a:cubicBezTo>
                    <a:pt x="293275" y="236696"/>
                    <a:pt x="296799" y="251079"/>
                    <a:pt x="296799" y="267938"/>
                  </a:cubicBezTo>
                  <a:lnTo>
                    <a:pt x="296799" y="269367"/>
                  </a:lnTo>
                  <a:cubicBezTo>
                    <a:pt x="296799" y="289084"/>
                    <a:pt x="293275" y="306229"/>
                    <a:pt x="286226" y="320897"/>
                  </a:cubicBezTo>
                  <a:cubicBezTo>
                    <a:pt x="279178" y="335470"/>
                    <a:pt x="269367" y="347567"/>
                    <a:pt x="256889" y="357188"/>
                  </a:cubicBezTo>
                  <a:cubicBezTo>
                    <a:pt x="244412" y="366808"/>
                    <a:pt x="229648" y="374142"/>
                    <a:pt x="212693" y="379095"/>
                  </a:cubicBezTo>
                  <a:cubicBezTo>
                    <a:pt x="195739" y="384048"/>
                    <a:pt x="177641" y="386524"/>
                    <a:pt x="158305" y="386524"/>
                  </a:cubicBezTo>
                  <a:close/>
                </a:path>
              </a:pathLst>
            </a:custGeom>
            <a:solidFill>
              <a:srgbClr val="44505E"/>
            </a:solidFill>
            <a:ln w="9525" cap="flat">
              <a:noFill/>
              <a:prstDash val="solid"/>
              <a:miter/>
            </a:ln>
          </p:spPr>
          <p:txBody>
            <a:bodyPr rtlCol="0" anchor="ctr"/>
            <a:lstStyle/>
            <a:p>
              <a:endParaRPr lang="pt-BR" noProof="0"/>
            </a:p>
          </p:txBody>
        </p:sp>
        <p:sp>
          <p:nvSpPr>
            <p:cNvPr id="29" name="Freeform: Shape 28">
              <a:extLst>
                <a:ext uri="{FF2B5EF4-FFF2-40B4-BE49-F238E27FC236}">
                  <a16:creationId xmlns:a16="http://schemas.microsoft.com/office/drawing/2014/main" id="{21EF55C0-DAFE-EC95-2C0B-45E468D725A4}"/>
                </a:ext>
              </a:extLst>
            </p:cNvPr>
            <p:cNvSpPr/>
            <p:nvPr/>
          </p:nvSpPr>
          <p:spPr>
            <a:xfrm>
              <a:off x="6238590"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4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7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2 w 568166"/>
                <a:gd name="connsiteY21" fmla="*/ 381000 h 381000"/>
                <a:gd name="connsiteX22" fmla="*/ 240982 w 568166"/>
                <a:gd name="connsiteY22" fmla="*/ 168783 h 381000"/>
                <a:gd name="connsiteX23" fmla="*/ 221266 w 568166"/>
                <a:gd name="connsiteY23" fmla="*/ 101822 h 381000"/>
                <a:gd name="connsiteX24" fmla="*/ 165640 w 568166"/>
                <a:gd name="connsiteY24" fmla="*/ 78581 h 381000"/>
                <a:gd name="connsiteX25" fmla="*/ 108013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69" y="48196"/>
                    <a:pt x="105918" y="40576"/>
                  </a:cubicBezTo>
                  <a:cubicBezTo>
                    <a:pt x="112966" y="32956"/>
                    <a:pt x="121063" y="26099"/>
                    <a:pt x="130207" y="19907"/>
                  </a:cubicBezTo>
                  <a:cubicBezTo>
                    <a:pt x="139351" y="13716"/>
                    <a:pt x="149638" y="8858"/>
                    <a:pt x="161163" y="5334"/>
                  </a:cubicBezTo>
                  <a:cubicBezTo>
                    <a:pt x="172688" y="1714"/>
                    <a:pt x="185452" y="0"/>
                    <a:pt x="199549" y="0"/>
                  </a:cubicBezTo>
                  <a:cubicBezTo>
                    <a:pt x="226314" y="0"/>
                    <a:pt x="248983" y="6096"/>
                    <a:pt x="267557" y="18193"/>
                  </a:cubicBezTo>
                  <a:cubicBezTo>
                    <a:pt x="286131" y="30289"/>
                    <a:pt x="300323" y="46387"/>
                    <a:pt x="310134" y="66294"/>
                  </a:cubicBezTo>
                  <a:cubicBezTo>
                    <a:pt x="325279" y="46387"/>
                    <a:pt x="343090" y="30289"/>
                    <a:pt x="363664" y="18193"/>
                  </a:cubicBezTo>
                  <a:cubicBezTo>
                    <a:pt x="384238" y="6096"/>
                    <a:pt x="408718" y="0"/>
                    <a:pt x="437007" y="0"/>
                  </a:cubicBezTo>
                  <a:cubicBezTo>
                    <a:pt x="478155"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7" y="78486"/>
                  </a:cubicBezTo>
                  <a:cubicBezTo>
                    <a:pt x="382809" y="78486"/>
                    <a:pt x="364141" y="86392"/>
                    <a:pt x="349377" y="102108"/>
                  </a:cubicBezTo>
                  <a:cubicBezTo>
                    <a:pt x="334613" y="117824"/>
                    <a:pt x="327184" y="140779"/>
                    <a:pt x="327184" y="170879"/>
                  </a:cubicBezTo>
                  <a:lnTo>
                    <a:pt x="327184" y="381000"/>
                  </a:lnTo>
                  <a:lnTo>
                    <a:pt x="240982" y="381000"/>
                  </a:lnTo>
                  <a:lnTo>
                    <a:pt x="240982" y="168783"/>
                  </a:lnTo>
                  <a:cubicBezTo>
                    <a:pt x="240982" y="139637"/>
                    <a:pt x="234410" y="117348"/>
                    <a:pt x="221266" y="101822"/>
                  </a:cubicBezTo>
                  <a:cubicBezTo>
                    <a:pt x="208121" y="86296"/>
                    <a:pt x="189547" y="78581"/>
                    <a:pt x="165640" y="78581"/>
                  </a:cubicBezTo>
                  <a:cubicBezTo>
                    <a:pt x="141732" y="78581"/>
                    <a:pt x="122491" y="86773"/>
                    <a:pt x="108013"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30" name="Freeform: Shape 29">
              <a:extLst>
                <a:ext uri="{FF2B5EF4-FFF2-40B4-BE49-F238E27FC236}">
                  <a16:creationId xmlns:a16="http://schemas.microsoft.com/office/drawing/2014/main" id="{D0E4A22B-9532-1C74-B976-46B2813F5236}"/>
                </a:ext>
              </a:extLst>
            </p:cNvPr>
            <p:cNvSpPr/>
            <p:nvPr/>
          </p:nvSpPr>
          <p:spPr>
            <a:xfrm>
              <a:off x="6400979" y="664258"/>
              <a:ext cx="85097" cy="133441"/>
            </a:xfrm>
            <a:custGeom>
              <a:avLst/>
              <a:gdLst>
                <a:gd name="connsiteX0" fmla="*/ 253651 w 338518"/>
                <a:gd name="connsiteY0" fmla="*/ 523018 h 530828"/>
                <a:gd name="connsiteX1" fmla="*/ 253651 w 338518"/>
                <a:gd name="connsiteY1" fmla="*/ 477107 h 530828"/>
                <a:gd name="connsiteX2" fmla="*/ 204883 w 338518"/>
                <a:gd name="connsiteY2" fmla="*/ 515303 h 530828"/>
                <a:gd name="connsiteX3" fmla="*/ 132779 w 338518"/>
                <a:gd name="connsiteY3" fmla="*/ 530828 h 530828"/>
                <a:gd name="connsiteX4" fmla="*/ 81915 w 338518"/>
                <a:gd name="connsiteY4" fmla="*/ 523399 h 530828"/>
                <a:gd name="connsiteX5" fmla="*/ 39910 w 338518"/>
                <a:gd name="connsiteY5" fmla="*/ 501491 h 530828"/>
                <a:gd name="connsiteX6" fmla="*/ 10954 w 338518"/>
                <a:gd name="connsiteY6" fmla="*/ 465487 h 530828"/>
                <a:gd name="connsiteX7" fmla="*/ 0 w 338518"/>
                <a:gd name="connsiteY7" fmla="*/ 415671 h 530828"/>
                <a:gd name="connsiteX8" fmla="*/ 0 w 338518"/>
                <a:gd name="connsiteY8" fmla="*/ 414242 h 530828"/>
                <a:gd name="connsiteX9" fmla="*/ 11335 w 338518"/>
                <a:gd name="connsiteY9" fmla="*/ 360140 h 530828"/>
                <a:gd name="connsiteX10" fmla="*/ 42767 w 338518"/>
                <a:gd name="connsiteY10" fmla="*/ 321945 h 530828"/>
                <a:gd name="connsiteX11" fmla="*/ 90773 w 338518"/>
                <a:gd name="connsiteY11" fmla="*/ 299371 h 530828"/>
                <a:gd name="connsiteX12" fmla="*/ 151162 w 338518"/>
                <a:gd name="connsiteY12" fmla="*/ 291941 h 530828"/>
                <a:gd name="connsiteX13" fmla="*/ 208788 w 338518"/>
                <a:gd name="connsiteY13" fmla="*/ 296228 h 530828"/>
                <a:gd name="connsiteX14" fmla="*/ 254413 w 338518"/>
                <a:gd name="connsiteY14" fmla="*/ 307562 h 530828"/>
                <a:gd name="connsiteX15" fmla="*/ 254413 w 338518"/>
                <a:gd name="connsiteY15" fmla="*/ 300514 h 530828"/>
                <a:gd name="connsiteX16" fmla="*/ 230696 w 338518"/>
                <a:gd name="connsiteY16" fmla="*/ 241173 h 530828"/>
                <a:gd name="connsiteX17" fmla="*/ 162496 w 338518"/>
                <a:gd name="connsiteY17" fmla="*/ 220694 h 530828"/>
                <a:gd name="connsiteX18" fmla="*/ 106013 w 338518"/>
                <a:gd name="connsiteY18" fmla="*/ 227076 h 530828"/>
                <a:gd name="connsiteX19" fmla="*/ 55817 w 338518"/>
                <a:gd name="connsiteY19" fmla="*/ 244031 h 530828"/>
                <a:gd name="connsiteX20" fmla="*/ 32480 w 338518"/>
                <a:gd name="connsiteY20" fmla="*/ 175451 h 530828"/>
                <a:gd name="connsiteX21" fmla="*/ 96107 w 338518"/>
                <a:gd name="connsiteY21" fmla="*/ 152876 h 530828"/>
                <a:gd name="connsiteX22" fmla="*/ 174593 w 338518"/>
                <a:gd name="connsiteY22" fmla="*/ 144399 h 530828"/>
                <a:gd name="connsiteX23" fmla="*/ 298228 w 338518"/>
                <a:gd name="connsiteY23" fmla="*/ 185738 h 530828"/>
                <a:gd name="connsiteX24" fmla="*/ 338519 w 338518"/>
                <a:gd name="connsiteY24" fmla="*/ 301943 h 530828"/>
                <a:gd name="connsiteX25" fmla="*/ 338519 w 338518"/>
                <a:gd name="connsiteY25" fmla="*/ 523113 h 530828"/>
                <a:gd name="connsiteX26" fmla="*/ 253746 w 338518"/>
                <a:gd name="connsiteY26" fmla="*/ 523113 h 530828"/>
                <a:gd name="connsiteX27" fmla="*/ 45911 w 338518"/>
                <a:gd name="connsiteY27" fmla="*/ 95441 h 530828"/>
                <a:gd name="connsiteX28" fmla="*/ 75248 w 338518"/>
                <a:gd name="connsiteY28" fmla="*/ 29718 h 530828"/>
                <a:gd name="connsiteX29" fmla="*/ 125063 w 338518"/>
                <a:gd name="connsiteY29" fmla="*/ 7144 h 530828"/>
                <a:gd name="connsiteX30" fmla="*/ 154019 w 338518"/>
                <a:gd name="connsiteY30" fmla="*/ 11716 h 530828"/>
                <a:gd name="connsiteX31" fmla="*/ 181261 w 338518"/>
                <a:gd name="connsiteY31" fmla="*/ 21622 h 530828"/>
                <a:gd name="connsiteX32" fmla="*/ 205645 w 338518"/>
                <a:gd name="connsiteY32" fmla="*/ 31147 h 530828"/>
                <a:gd name="connsiteX33" fmla="*/ 226790 w 338518"/>
                <a:gd name="connsiteY33" fmla="*/ 35338 h 530828"/>
                <a:gd name="connsiteX34" fmla="*/ 250127 w 338518"/>
                <a:gd name="connsiteY34" fmla="*/ 26861 h 530828"/>
                <a:gd name="connsiteX35" fmla="*/ 265652 w 338518"/>
                <a:gd name="connsiteY35" fmla="*/ 0 h 530828"/>
                <a:gd name="connsiteX36" fmla="*/ 312991 w 338518"/>
                <a:gd name="connsiteY36" fmla="*/ 14859 h 530828"/>
                <a:gd name="connsiteX37" fmla="*/ 283655 w 338518"/>
                <a:gd name="connsiteY37" fmla="*/ 79820 h 530828"/>
                <a:gd name="connsiteX38" fmla="*/ 233839 w 338518"/>
                <a:gd name="connsiteY38" fmla="*/ 102394 h 530828"/>
                <a:gd name="connsiteX39" fmla="*/ 204883 w 338518"/>
                <a:gd name="connsiteY39" fmla="*/ 98203 h 530828"/>
                <a:gd name="connsiteX40" fmla="*/ 177641 w 338518"/>
                <a:gd name="connsiteY40" fmla="*/ 88678 h 530828"/>
                <a:gd name="connsiteX41" fmla="*/ 152876 w 338518"/>
                <a:gd name="connsiteY41" fmla="*/ 78772 h 530828"/>
                <a:gd name="connsiteX42" fmla="*/ 132017 w 338518"/>
                <a:gd name="connsiteY42" fmla="*/ 74200 h 530828"/>
                <a:gd name="connsiteX43" fmla="*/ 108680 w 338518"/>
                <a:gd name="connsiteY43" fmla="*/ 82677 h 530828"/>
                <a:gd name="connsiteX44" fmla="*/ 93154 w 338518"/>
                <a:gd name="connsiteY44" fmla="*/ 109538 h 530828"/>
                <a:gd name="connsiteX45" fmla="*/ 45815 w 338518"/>
                <a:gd name="connsiteY45" fmla="*/ 95441 h 530828"/>
                <a:gd name="connsiteX46" fmla="*/ 255842 w 338518"/>
                <a:gd name="connsiteY46" fmla="*/ 366808 h 530828"/>
                <a:gd name="connsiteX47" fmla="*/ 217361 w 338518"/>
                <a:gd name="connsiteY47" fmla="*/ 356235 h 530828"/>
                <a:gd name="connsiteX48" fmla="*/ 170402 w 338518"/>
                <a:gd name="connsiteY48" fmla="*/ 351949 h 530828"/>
                <a:gd name="connsiteX49" fmla="*/ 107537 w 338518"/>
                <a:gd name="connsiteY49" fmla="*/ 367475 h 530828"/>
                <a:gd name="connsiteX50" fmla="*/ 84963 w 338518"/>
                <a:gd name="connsiteY50" fmla="*/ 409861 h 530828"/>
                <a:gd name="connsiteX51" fmla="*/ 84963 w 338518"/>
                <a:gd name="connsiteY51" fmla="*/ 411290 h 530828"/>
                <a:gd name="connsiteX52" fmla="*/ 105823 w 338518"/>
                <a:gd name="connsiteY52" fmla="*/ 452247 h 530828"/>
                <a:gd name="connsiteX53" fmla="*/ 157067 w 338518"/>
                <a:gd name="connsiteY53" fmla="*/ 466344 h 530828"/>
                <a:gd name="connsiteX54" fmla="*/ 196310 w 338518"/>
                <a:gd name="connsiteY54" fmla="*/ 460724 h 530828"/>
                <a:gd name="connsiteX55" fmla="*/ 227743 w 338518"/>
                <a:gd name="connsiteY55" fmla="*/ 444818 h 530828"/>
                <a:gd name="connsiteX56" fmla="*/ 248603 w 338518"/>
                <a:gd name="connsiteY56" fmla="*/ 420053 h 530828"/>
                <a:gd name="connsiteX57" fmla="*/ 256032 w 338518"/>
                <a:gd name="connsiteY57" fmla="*/ 387858 h 530828"/>
                <a:gd name="connsiteX58" fmla="*/ 256032 w 338518"/>
                <a:gd name="connsiteY58" fmla="*/ 366617 h 5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8518" h="530828">
                  <a:moveTo>
                    <a:pt x="253651" y="523018"/>
                  </a:moveTo>
                  <a:lnTo>
                    <a:pt x="253651" y="477107"/>
                  </a:lnTo>
                  <a:cubicBezTo>
                    <a:pt x="240887" y="492157"/>
                    <a:pt x="224695" y="504920"/>
                    <a:pt x="204883" y="515303"/>
                  </a:cubicBezTo>
                  <a:cubicBezTo>
                    <a:pt x="185071" y="525685"/>
                    <a:pt x="161068" y="530828"/>
                    <a:pt x="132779" y="530828"/>
                  </a:cubicBezTo>
                  <a:cubicBezTo>
                    <a:pt x="114871" y="530828"/>
                    <a:pt x="97917" y="528352"/>
                    <a:pt x="81915" y="523399"/>
                  </a:cubicBezTo>
                  <a:cubicBezTo>
                    <a:pt x="65913" y="518446"/>
                    <a:pt x="51911" y="511112"/>
                    <a:pt x="39910" y="501491"/>
                  </a:cubicBezTo>
                  <a:cubicBezTo>
                    <a:pt x="27908" y="491871"/>
                    <a:pt x="18193" y="479870"/>
                    <a:pt x="10954" y="465487"/>
                  </a:cubicBezTo>
                  <a:cubicBezTo>
                    <a:pt x="3620" y="451104"/>
                    <a:pt x="0" y="434531"/>
                    <a:pt x="0" y="415671"/>
                  </a:cubicBezTo>
                  <a:lnTo>
                    <a:pt x="0" y="414242"/>
                  </a:lnTo>
                  <a:cubicBezTo>
                    <a:pt x="0" y="393478"/>
                    <a:pt x="3810" y="375476"/>
                    <a:pt x="11335" y="360140"/>
                  </a:cubicBezTo>
                  <a:cubicBezTo>
                    <a:pt x="18860" y="344805"/>
                    <a:pt x="29337" y="332137"/>
                    <a:pt x="42767" y="321945"/>
                  </a:cubicBezTo>
                  <a:cubicBezTo>
                    <a:pt x="56198" y="311849"/>
                    <a:pt x="72200" y="304324"/>
                    <a:pt x="90773" y="299371"/>
                  </a:cubicBezTo>
                  <a:cubicBezTo>
                    <a:pt x="109347" y="294418"/>
                    <a:pt x="129540" y="291941"/>
                    <a:pt x="151162" y="291941"/>
                  </a:cubicBezTo>
                  <a:cubicBezTo>
                    <a:pt x="172784" y="291941"/>
                    <a:pt x="192977" y="293370"/>
                    <a:pt x="208788" y="296228"/>
                  </a:cubicBezTo>
                  <a:cubicBezTo>
                    <a:pt x="224600" y="299085"/>
                    <a:pt x="239744" y="302800"/>
                    <a:pt x="254413" y="307562"/>
                  </a:cubicBezTo>
                  <a:lnTo>
                    <a:pt x="254413" y="300514"/>
                  </a:lnTo>
                  <a:cubicBezTo>
                    <a:pt x="254413" y="274606"/>
                    <a:pt x="246507" y="254794"/>
                    <a:pt x="230696" y="241173"/>
                  </a:cubicBezTo>
                  <a:cubicBezTo>
                    <a:pt x="214884" y="227552"/>
                    <a:pt x="192215" y="220694"/>
                    <a:pt x="162496" y="220694"/>
                  </a:cubicBezTo>
                  <a:cubicBezTo>
                    <a:pt x="141351" y="220694"/>
                    <a:pt x="122492" y="222790"/>
                    <a:pt x="106013" y="227076"/>
                  </a:cubicBezTo>
                  <a:cubicBezTo>
                    <a:pt x="89535" y="231362"/>
                    <a:pt x="72771" y="236982"/>
                    <a:pt x="55817" y="244031"/>
                  </a:cubicBezTo>
                  <a:lnTo>
                    <a:pt x="32480" y="175451"/>
                  </a:lnTo>
                  <a:cubicBezTo>
                    <a:pt x="53150" y="166021"/>
                    <a:pt x="74390" y="158496"/>
                    <a:pt x="96107" y="152876"/>
                  </a:cubicBezTo>
                  <a:cubicBezTo>
                    <a:pt x="117729" y="147257"/>
                    <a:pt x="143923" y="144399"/>
                    <a:pt x="174593" y="144399"/>
                  </a:cubicBezTo>
                  <a:cubicBezTo>
                    <a:pt x="230124" y="144399"/>
                    <a:pt x="271367" y="158210"/>
                    <a:pt x="298228" y="185738"/>
                  </a:cubicBezTo>
                  <a:cubicBezTo>
                    <a:pt x="325088" y="213265"/>
                    <a:pt x="338519" y="252032"/>
                    <a:pt x="338519" y="301943"/>
                  </a:cubicBezTo>
                  <a:lnTo>
                    <a:pt x="338519" y="523113"/>
                  </a:lnTo>
                  <a:lnTo>
                    <a:pt x="253746" y="523113"/>
                  </a:lnTo>
                  <a:close/>
                  <a:moveTo>
                    <a:pt x="45911" y="95441"/>
                  </a:moveTo>
                  <a:cubicBezTo>
                    <a:pt x="53912" y="66675"/>
                    <a:pt x="63722" y="44768"/>
                    <a:pt x="75248" y="29718"/>
                  </a:cubicBezTo>
                  <a:cubicBezTo>
                    <a:pt x="86773" y="14669"/>
                    <a:pt x="103442" y="7144"/>
                    <a:pt x="125063" y="7144"/>
                  </a:cubicBezTo>
                  <a:cubicBezTo>
                    <a:pt x="134969" y="7144"/>
                    <a:pt x="144590" y="8668"/>
                    <a:pt x="154019" y="11716"/>
                  </a:cubicBezTo>
                  <a:cubicBezTo>
                    <a:pt x="163449" y="14764"/>
                    <a:pt x="172498" y="18098"/>
                    <a:pt x="181261" y="21622"/>
                  </a:cubicBezTo>
                  <a:cubicBezTo>
                    <a:pt x="189929" y="25146"/>
                    <a:pt x="198120" y="28385"/>
                    <a:pt x="205645" y="31147"/>
                  </a:cubicBezTo>
                  <a:cubicBezTo>
                    <a:pt x="213170" y="34004"/>
                    <a:pt x="220218" y="35338"/>
                    <a:pt x="226790" y="35338"/>
                  </a:cubicBezTo>
                  <a:cubicBezTo>
                    <a:pt x="237173" y="35338"/>
                    <a:pt x="244888" y="32480"/>
                    <a:pt x="250127" y="26861"/>
                  </a:cubicBezTo>
                  <a:cubicBezTo>
                    <a:pt x="255270" y="21241"/>
                    <a:pt x="260509" y="12287"/>
                    <a:pt x="265652" y="0"/>
                  </a:cubicBezTo>
                  <a:lnTo>
                    <a:pt x="312991" y="14859"/>
                  </a:lnTo>
                  <a:cubicBezTo>
                    <a:pt x="304991" y="43148"/>
                    <a:pt x="295180" y="64770"/>
                    <a:pt x="283655" y="79820"/>
                  </a:cubicBezTo>
                  <a:cubicBezTo>
                    <a:pt x="272129" y="94869"/>
                    <a:pt x="255461" y="102394"/>
                    <a:pt x="233839" y="102394"/>
                  </a:cubicBezTo>
                  <a:cubicBezTo>
                    <a:pt x="223933" y="102394"/>
                    <a:pt x="214313" y="100965"/>
                    <a:pt x="204883" y="98203"/>
                  </a:cubicBezTo>
                  <a:cubicBezTo>
                    <a:pt x="195453" y="95345"/>
                    <a:pt x="186404" y="92202"/>
                    <a:pt x="177641" y="88678"/>
                  </a:cubicBezTo>
                  <a:cubicBezTo>
                    <a:pt x="168878" y="85154"/>
                    <a:pt x="160687" y="81820"/>
                    <a:pt x="152876" y="78772"/>
                  </a:cubicBezTo>
                  <a:cubicBezTo>
                    <a:pt x="145066" y="75724"/>
                    <a:pt x="138113" y="74200"/>
                    <a:pt x="132017" y="74200"/>
                  </a:cubicBezTo>
                  <a:cubicBezTo>
                    <a:pt x="121634" y="74200"/>
                    <a:pt x="113919" y="77057"/>
                    <a:pt x="108680" y="82677"/>
                  </a:cubicBezTo>
                  <a:cubicBezTo>
                    <a:pt x="103537" y="88297"/>
                    <a:pt x="98298" y="97250"/>
                    <a:pt x="93154" y="109538"/>
                  </a:cubicBezTo>
                  <a:lnTo>
                    <a:pt x="45815" y="95441"/>
                  </a:lnTo>
                  <a:close/>
                  <a:moveTo>
                    <a:pt x="255842" y="366808"/>
                  </a:moveTo>
                  <a:cubicBezTo>
                    <a:pt x="244983" y="362522"/>
                    <a:pt x="232124" y="358997"/>
                    <a:pt x="217361" y="356235"/>
                  </a:cubicBezTo>
                  <a:cubicBezTo>
                    <a:pt x="202502" y="353378"/>
                    <a:pt x="186880" y="351949"/>
                    <a:pt x="170402" y="351949"/>
                  </a:cubicBezTo>
                  <a:cubicBezTo>
                    <a:pt x="143542" y="351949"/>
                    <a:pt x="122587" y="357092"/>
                    <a:pt x="107537" y="367475"/>
                  </a:cubicBezTo>
                  <a:cubicBezTo>
                    <a:pt x="92488" y="377857"/>
                    <a:pt x="84963" y="391954"/>
                    <a:pt x="84963" y="409861"/>
                  </a:cubicBezTo>
                  <a:lnTo>
                    <a:pt x="84963" y="411290"/>
                  </a:lnTo>
                  <a:cubicBezTo>
                    <a:pt x="84963" y="429197"/>
                    <a:pt x="91916" y="442817"/>
                    <a:pt x="105823" y="452247"/>
                  </a:cubicBezTo>
                  <a:cubicBezTo>
                    <a:pt x="119729" y="461677"/>
                    <a:pt x="136779" y="466344"/>
                    <a:pt x="157067" y="466344"/>
                  </a:cubicBezTo>
                  <a:cubicBezTo>
                    <a:pt x="171164" y="466344"/>
                    <a:pt x="184309" y="464439"/>
                    <a:pt x="196310" y="460724"/>
                  </a:cubicBezTo>
                  <a:cubicBezTo>
                    <a:pt x="208312" y="456914"/>
                    <a:pt x="218789" y="451676"/>
                    <a:pt x="227743" y="444818"/>
                  </a:cubicBezTo>
                  <a:cubicBezTo>
                    <a:pt x="236696" y="437960"/>
                    <a:pt x="243650" y="429768"/>
                    <a:pt x="248603" y="420053"/>
                  </a:cubicBezTo>
                  <a:cubicBezTo>
                    <a:pt x="253555" y="410432"/>
                    <a:pt x="256032" y="399669"/>
                    <a:pt x="256032" y="387858"/>
                  </a:cubicBezTo>
                  <a:lnTo>
                    <a:pt x="256032" y="366617"/>
                  </a:lnTo>
                  <a:close/>
                </a:path>
              </a:pathLst>
            </a:custGeom>
            <a:solidFill>
              <a:srgbClr val="44505E"/>
            </a:solidFill>
            <a:ln w="9525" cap="flat">
              <a:noFill/>
              <a:prstDash val="solid"/>
              <a:miter/>
            </a:ln>
          </p:spPr>
          <p:txBody>
            <a:bodyPr rtlCol="0" anchor="ctr"/>
            <a:lstStyle/>
            <a:p>
              <a:endParaRPr lang="pt-BR" noProof="0"/>
            </a:p>
          </p:txBody>
        </p:sp>
        <p:sp>
          <p:nvSpPr>
            <p:cNvPr id="31" name="Freeform: Shape 30">
              <a:extLst>
                <a:ext uri="{FF2B5EF4-FFF2-40B4-BE49-F238E27FC236}">
                  <a16:creationId xmlns:a16="http://schemas.microsoft.com/office/drawing/2014/main" id="{E50C0B5F-0B4B-2792-201F-B12052441550}"/>
                </a:ext>
              </a:extLst>
            </p:cNvPr>
            <p:cNvSpPr/>
            <p:nvPr/>
          </p:nvSpPr>
          <p:spPr>
            <a:xfrm>
              <a:off x="6506477" y="699959"/>
              <a:ext cx="100038" cy="97908"/>
            </a:xfrm>
            <a:custGeom>
              <a:avLst/>
              <a:gdLst>
                <a:gd name="connsiteX0" fmla="*/ 197834 w 397954"/>
                <a:gd name="connsiteY0" fmla="*/ 389477 h 389477"/>
                <a:gd name="connsiteX1" fmla="*/ 119063 w 397954"/>
                <a:gd name="connsiteY1" fmla="*/ 374237 h 389477"/>
                <a:gd name="connsiteX2" fmla="*/ 56198 w 397954"/>
                <a:gd name="connsiteY2" fmla="*/ 332899 h 389477"/>
                <a:gd name="connsiteX3" fmla="*/ 14859 w 397954"/>
                <a:gd name="connsiteY3" fmla="*/ 271463 h 389477"/>
                <a:gd name="connsiteX4" fmla="*/ 0 w 397954"/>
                <a:gd name="connsiteY4" fmla="*/ 196501 h 389477"/>
                <a:gd name="connsiteX5" fmla="*/ 0 w 397954"/>
                <a:gd name="connsiteY5" fmla="*/ 195072 h 389477"/>
                <a:gd name="connsiteX6" fmla="*/ 15240 w 397954"/>
                <a:gd name="connsiteY6" fmla="*/ 119444 h 389477"/>
                <a:gd name="connsiteX7" fmla="*/ 56960 w 397954"/>
                <a:gd name="connsiteY7" fmla="*/ 57626 h 389477"/>
                <a:gd name="connsiteX8" fmla="*/ 119825 w 397954"/>
                <a:gd name="connsiteY8" fmla="*/ 15526 h 389477"/>
                <a:gd name="connsiteX9" fmla="*/ 199358 w 397954"/>
                <a:gd name="connsiteY9" fmla="*/ 0 h 389477"/>
                <a:gd name="connsiteX10" fmla="*/ 278892 w 397954"/>
                <a:gd name="connsiteY10" fmla="*/ 15240 h 389477"/>
                <a:gd name="connsiteX11" fmla="*/ 341757 w 397954"/>
                <a:gd name="connsiteY11" fmla="*/ 56959 h 389477"/>
                <a:gd name="connsiteX12" fmla="*/ 383096 w 397954"/>
                <a:gd name="connsiteY12" fmla="*/ 118396 h 389477"/>
                <a:gd name="connsiteX13" fmla="*/ 397955 w 397954"/>
                <a:gd name="connsiteY13" fmla="*/ 193643 h 389477"/>
                <a:gd name="connsiteX14" fmla="*/ 397955 w 397954"/>
                <a:gd name="connsiteY14" fmla="*/ 195072 h 389477"/>
                <a:gd name="connsiteX15" fmla="*/ 382714 w 397954"/>
                <a:gd name="connsiteY15" fmla="*/ 270034 h 389477"/>
                <a:gd name="connsiteX16" fmla="*/ 340995 w 397954"/>
                <a:gd name="connsiteY16" fmla="*/ 331851 h 389477"/>
                <a:gd name="connsiteX17" fmla="*/ 277749 w 397954"/>
                <a:gd name="connsiteY17" fmla="*/ 373856 h 389477"/>
                <a:gd name="connsiteX18" fmla="*/ 197834 w 397954"/>
                <a:gd name="connsiteY18" fmla="*/ 389382 h 389477"/>
                <a:gd name="connsiteX19" fmla="*/ 199263 w 397954"/>
                <a:gd name="connsiteY19" fmla="*/ 315278 h 389477"/>
                <a:gd name="connsiteX20" fmla="*/ 245936 w 397954"/>
                <a:gd name="connsiteY20" fmla="*/ 305753 h 389477"/>
                <a:gd name="connsiteX21" fmla="*/ 281369 w 397954"/>
                <a:gd name="connsiteY21" fmla="*/ 279940 h 389477"/>
                <a:gd name="connsiteX22" fmla="*/ 303848 w 397954"/>
                <a:gd name="connsiteY22" fmla="*/ 242125 h 389477"/>
                <a:gd name="connsiteX23" fmla="*/ 311563 w 397954"/>
                <a:gd name="connsiteY23" fmla="*/ 196501 h 389477"/>
                <a:gd name="connsiteX24" fmla="*/ 311563 w 397954"/>
                <a:gd name="connsiteY24" fmla="*/ 195072 h 389477"/>
                <a:gd name="connsiteX25" fmla="*/ 303181 w 397954"/>
                <a:gd name="connsiteY25" fmla="*/ 148400 h 389477"/>
                <a:gd name="connsiteX26" fmla="*/ 279654 w 397954"/>
                <a:gd name="connsiteY26" fmla="*/ 110204 h 389477"/>
                <a:gd name="connsiteX27" fmla="*/ 243840 w 397954"/>
                <a:gd name="connsiteY27" fmla="*/ 84392 h 389477"/>
                <a:gd name="connsiteX28" fmla="*/ 197834 w 397954"/>
                <a:gd name="connsiteY28" fmla="*/ 74867 h 389477"/>
                <a:gd name="connsiteX29" fmla="*/ 151829 w 397954"/>
                <a:gd name="connsiteY29" fmla="*/ 84392 h 389477"/>
                <a:gd name="connsiteX30" fmla="*/ 116396 w 397954"/>
                <a:gd name="connsiteY30" fmla="*/ 109823 h 389477"/>
                <a:gd name="connsiteX31" fmla="*/ 93916 w 397954"/>
                <a:gd name="connsiteY31" fmla="*/ 147638 h 389477"/>
                <a:gd name="connsiteX32" fmla="*/ 86201 w 397954"/>
                <a:gd name="connsiteY32" fmla="*/ 193548 h 389477"/>
                <a:gd name="connsiteX33" fmla="*/ 86201 w 397954"/>
                <a:gd name="connsiteY33" fmla="*/ 194977 h 389477"/>
                <a:gd name="connsiteX34" fmla="*/ 94583 w 397954"/>
                <a:gd name="connsiteY34" fmla="*/ 241268 h 389477"/>
                <a:gd name="connsiteX35" fmla="*/ 118110 w 397954"/>
                <a:gd name="connsiteY35" fmla="*/ 279463 h 389477"/>
                <a:gd name="connsiteX36" fmla="*/ 153924 w 397954"/>
                <a:gd name="connsiteY36" fmla="*/ 305562 h 389477"/>
                <a:gd name="connsiteX37" fmla="*/ 199263 w 397954"/>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954" h="389477">
                  <a:moveTo>
                    <a:pt x="197834" y="389477"/>
                  </a:moveTo>
                  <a:cubicBezTo>
                    <a:pt x="169545" y="389477"/>
                    <a:pt x="143351" y="384429"/>
                    <a:pt x="119063" y="374237"/>
                  </a:cubicBezTo>
                  <a:cubicBezTo>
                    <a:pt x="94774" y="364141"/>
                    <a:pt x="73819" y="350330"/>
                    <a:pt x="56198" y="332899"/>
                  </a:cubicBezTo>
                  <a:cubicBezTo>
                    <a:pt x="38576" y="315468"/>
                    <a:pt x="24765" y="294989"/>
                    <a:pt x="14859" y="271463"/>
                  </a:cubicBezTo>
                  <a:cubicBezTo>
                    <a:pt x="4953" y="247936"/>
                    <a:pt x="0" y="222980"/>
                    <a:pt x="0" y="196501"/>
                  </a:cubicBezTo>
                  <a:lnTo>
                    <a:pt x="0" y="195072"/>
                  </a:lnTo>
                  <a:cubicBezTo>
                    <a:pt x="0" y="168212"/>
                    <a:pt x="5049" y="143066"/>
                    <a:pt x="15240" y="119444"/>
                  </a:cubicBezTo>
                  <a:cubicBezTo>
                    <a:pt x="25337" y="95917"/>
                    <a:pt x="39243" y="75248"/>
                    <a:pt x="56960" y="57626"/>
                  </a:cubicBezTo>
                  <a:cubicBezTo>
                    <a:pt x="74676" y="39910"/>
                    <a:pt x="95631" y="25908"/>
                    <a:pt x="119825" y="15526"/>
                  </a:cubicBezTo>
                  <a:cubicBezTo>
                    <a:pt x="144113" y="5144"/>
                    <a:pt x="170593" y="0"/>
                    <a:pt x="199358" y="0"/>
                  </a:cubicBezTo>
                  <a:cubicBezTo>
                    <a:pt x="228124" y="0"/>
                    <a:pt x="254604" y="5048"/>
                    <a:pt x="278892" y="15240"/>
                  </a:cubicBezTo>
                  <a:cubicBezTo>
                    <a:pt x="303181" y="25337"/>
                    <a:pt x="324136" y="39243"/>
                    <a:pt x="341757" y="56959"/>
                  </a:cubicBezTo>
                  <a:cubicBezTo>
                    <a:pt x="359379" y="74676"/>
                    <a:pt x="373189" y="95155"/>
                    <a:pt x="383096" y="118396"/>
                  </a:cubicBezTo>
                  <a:cubicBezTo>
                    <a:pt x="393002" y="141732"/>
                    <a:pt x="397955" y="166783"/>
                    <a:pt x="397955" y="193643"/>
                  </a:cubicBezTo>
                  <a:lnTo>
                    <a:pt x="397955" y="195072"/>
                  </a:lnTo>
                  <a:cubicBezTo>
                    <a:pt x="397955" y="221456"/>
                    <a:pt x="392906" y="246412"/>
                    <a:pt x="382714" y="270034"/>
                  </a:cubicBezTo>
                  <a:cubicBezTo>
                    <a:pt x="372618" y="293561"/>
                    <a:pt x="358712" y="314230"/>
                    <a:pt x="340995" y="331851"/>
                  </a:cubicBezTo>
                  <a:cubicBezTo>
                    <a:pt x="323279" y="349472"/>
                    <a:pt x="302229" y="363569"/>
                    <a:pt x="277749" y="373856"/>
                  </a:cubicBezTo>
                  <a:cubicBezTo>
                    <a:pt x="253270" y="384238"/>
                    <a:pt x="226600" y="389382"/>
                    <a:pt x="197834" y="389382"/>
                  </a:cubicBezTo>
                  <a:close/>
                  <a:moveTo>
                    <a:pt x="199263" y="315278"/>
                  </a:moveTo>
                  <a:cubicBezTo>
                    <a:pt x="216598" y="315278"/>
                    <a:pt x="232124" y="312039"/>
                    <a:pt x="245936" y="305753"/>
                  </a:cubicBezTo>
                  <a:cubicBezTo>
                    <a:pt x="259747" y="299371"/>
                    <a:pt x="271558" y="290798"/>
                    <a:pt x="281369" y="279940"/>
                  </a:cubicBezTo>
                  <a:cubicBezTo>
                    <a:pt x="291179" y="269081"/>
                    <a:pt x="298704" y="256508"/>
                    <a:pt x="303848" y="242125"/>
                  </a:cubicBezTo>
                  <a:cubicBezTo>
                    <a:pt x="308991" y="227743"/>
                    <a:pt x="311563" y="212598"/>
                    <a:pt x="311563" y="196501"/>
                  </a:cubicBezTo>
                  <a:lnTo>
                    <a:pt x="311563" y="195072"/>
                  </a:lnTo>
                  <a:cubicBezTo>
                    <a:pt x="311563" y="178594"/>
                    <a:pt x="308706" y="163068"/>
                    <a:pt x="303181" y="148400"/>
                  </a:cubicBezTo>
                  <a:cubicBezTo>
                    <a:pt x="297561" y="133826"/>
                    <a:pt x="289750" y="121063"/>
                    <a:pt x="279654" y="110204"/>
                  </a:cubicBezTo>
                  <a:cubicBezTo>
                    <a:pt x="269557" y="99346"/>
                    <a:pt x="257651" y="90773"/>
                    <a:pt x="243840" y="84392"/>
                  </a:cubicBezTo>
                  <a:cubicBezTo>
                    <a:pt x="230029" y="78010"/>
                    <a:pt x="214694" y="74867"/>
                    <a:pt x="197834" y="74867"/>
                  </a:cubicBezTo>
                  <a:cubicBezTo>
                    <a:pt x="180975" y="74867"/>
                    <a:pt x="165640" y="78010"/>
                    <a:pt x="151829" y="84392"/>
                  </a:cubicBezTo>
                  <a:cubicBezTo>
                    <a:pt x="138017" y="90773"/>
                    <a:pt x="126206" y="99250"/>
                    <a:pt x="116396" y="109823"/>
                  </a:cubicBezTo>
                  <a:cubicBezTo>
                    <a:pt x="106585" y="120396"/>
                    <a:pt x="99060" y="133064"/>
                    <a:pt x="93916" y="147638"/>
                  </a:cubicBezTo>
                  <a:cubicBezTo>
                    <a:pt x="88773" y="162211"/>
                    <a:pt x="86201" y="177546"/>
                    <a:pt x="86201" y="193548"/>
                  </a:cubicBezTo>
                  <a:lnTo>
                    <a:pt x="86201" y="194977"/>
                  </a:lnTo>
                  <a:cubicBezTo>
                    <a:pt x="86201" y="211455"/>
                    <a:pt x="89059" y="226886"/>
                    <a:pt x="94583" y="241268"/>
                  </a:cubicBezTo>
                  <a:cubicBezTo>
                    <a:pt x="100203" y="255651"/>
                    <a:pt x="108014" y="268319"/>
                    <a:pt x="118110" y="279463"/>
                  </a:cubicBezTo>
                  <a:cubicBezTo>
                    <a:pt x="128207" y="290608"/>
                    <a:pt x="140113" y="299275"/>
                    <a:pt x="153924" y="305562"/>
                  </a:cubicBezTo>
                  <a:cubicBezTo>
                    <a:pt x="167735" y="311944"/>
                    <a:pt x="182785"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32" name="Freeform: Shape 31">
              <a:extLst>
                <a:ext uri="{FF2B5EF4-FFF2-40B4-BE49-F238E27FC236}">
                  <a16:creationId xmlns:a16="http://schemas.microsoft.com/office/drawing/2014/main" id="{CB4DB540-D8E2-1FBE-0FDB-C26254ECC39F}"/>
                </a:ext>
              </a:extLst>
            </p:cNvPr>
            <p:cNvSpPr/>
            <p:nvPr/>
          </p:nvSpPr>
          <p:spPr>
            <a:xfrm>
              <a:off x="662071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1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7 w 296894"/>
                <a:gd name="connsiteY23" fmla="*/ 42863 h 386714"/>
                <a:gd name="connsiteX24" fmla="*/ 254318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7 w 296894"/>
                <a:gd name="connsiteY30" fmla="*/ 124587 h 386714"/>
                <a:gd name="connsiteX31" fmla="*/ 122682 w 296894"/>
                <a:gd name="connsiteY31" fmla="*/ 138017 h 386714"/>
                <a:gd name="connsiteX32" fmla="*/ 149543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6" y="348901"/>
                    <a:pt x="0" y="330327"/>
                  </a:cubicBezTo>
                  <a:lnTo>
                    <a:pt x="38195" y="272224"/>
                  </a:lnTo>
                  <a:cubicBezTo>
                    <a:pt x="58484" y="287274"/>
                    <a:pt x="79057" y="298704"/>
                    <a:pt x="100013" y="306514"/>
                  </a:cubicBezTo>
                  <a:cubicBezTo>
                    <a:pt x="120968" y="314325"/>
                    <a:pt x="141161" y="318135"/>
                    <a:pt x="160401" y="318135"/>
                  </a:cubicBezTo>
                  <a:cubicBezTo>
                    <a:pt x="179641" y="318135"/>
                    <a:pt x="192977"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1" y="241078"/>
                    <a:pt x="176498" y="237553"/>
                    <a:pt x="166401"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2" y="40195"/>
                    <a:pt x="56864" y="30385"/>
                  </a:cubicBezTo>
                  <a:cubicBezTo>
                    <a:pt x="68866" y="20479"/>
                    <a:pt x="82962" y="12954"/>
                    <a:pt x="99250" y="7810"/>
                  </a:cubicBezTo>
                  <a:cubicBezTo>
                    <a:pt x="115538" y="2667"/>
                    <a:pt x="132779" y="0"/>
                    <a:pt x="151162" y="0"/>
                  </a:cubicBezTo>
                  <a:cubicBezTo>
                    <a:pt x="174688" y="0"/>
                    <a:pt x="198501" y="3810"/>
                    <a:pt x="222504" y="11430"/>
                  </a:cubicBezTo>
                  <a:cubicBezTo>
                    <a:pt x="246507" y="19050"/>
                    <a:pt x="268414" y="29527"/>
                    <a:pt x="288227" y="42863"/>
                  </a:cubicBezTo>
                  <a:lnTo>
                    <a:pt x="254318"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7" y="124587"/>
                  </a:cubicBezTo>
                  <a:cubicBezTo>
                    <a:pt x="108585" y="129540"/>
                    <a:pt x="114871" y="134017"/>
                    <a:pt x="122682" y="138017"/>
                  </a:cubicBezTo>
                  <a:cubicBezTo>
                    <a:pt x="130493" y="142018"/>
                    <a:pt x="139351" y="145732"/>
                    <a:pt x="149543"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696"/>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33" name="Freeform: Shape 32">
              <a:extLst>
                <a:ext uri="{FF2B5EF4-FFF2-40B4-BE49-F238E27FC236}">
                  <a16:creationId xmlns:a16="http://schemas.microsoft.com/office/drawing/2014/main" id="{0D265E1A-036E-715B-A7D5-FB641ED6472F}"/>
                </a:ext>
              </a:extLst>
            </p:cNvPr>
            <p:cNvSpPr/>
            <p:nvPr/>
          </p:nvSpPr>
          <p:spPr>
            <a:xfrm>
              <a:off x="526693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4 w 202977"/>
                <a:gd name="connsiteY17" fmla="*/ 19907 h 239267"/>
                <a:gd name="connsiteX18" fmla="*/ 59246 w 202977"/>
                <a:gd name="connsiteY18" fmla="*/ 5429 h 239267"/>
                <a:gd name="connsiteX19" fmla="*/ 104299 w 202977"/>
                <a:gd name="connsiteY19" fmla="*/ 0 h 239267"/>
                <a:gd name="connsiteX20" fmla="*/ 178880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5 w 202977"/>
                <a:gd name="connsiteY27" fmla="*/ 211169 h 239267"/>
                <a:gd name="connsiteX28" fmla="*/ 122968 w 202977"/>
                <a:gd name="connsiteY28" fmla="*/ 206788 h 239267"/>
                <a:gd name="connsiteX29" fmla="*/ 147257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9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9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3" y="99155"/>
                    <a:pt x="58674" y="95917"/>
                  </a:cubicBezTo>
                  <a:cubicBezTo>
                    <a:pt x="70771" y="92678"/>
                    <a:pt x="84011" y="90964"/>
                    <a:pt x="98584" y="90964"/>
                  </a:cubicBezTo>
                  <a:cubicBezTo>
                    <a:pt x="113157" y="90964"/>
                    <a:pt x="126301" y="91821"/>
                    <a:pt x="137160" y="93631"/>
                  </a:cubicBezTo>
                  <a:cubicBezTo>
                    <a:pt x="148019" y="95440"/>
                    <a:pt x="158687" y="97822"/>
                    <a:pt x="169069" y="100774"/>
                  </a:cubicBezTo>
                  <a:lnTo>
                    <a:pt x="169069" y="93726"/>
                  </a:lnTo>
                  <a:cubicBezTo>
                    <a:pt x="169069" y="73342"/>
                    <a:pt x="163068" y="57912"/>
                    <a:pt x="151162" y="47339"/>
                  </a:cubicBezTo>
                  <a:cubicBezTo>
                    <a:pt x="139256" y="36862"/>
                    <a:pt x="122492" y="31623"/>
                    <a:pt x="100679" y="31623"/>
                  </a:cubicBezTo>
                  <a:cubicBezTo>
                    <a:pt x="86963" y="31623"/>
                    <a:pt x="74581" y="33147"/>
                    <a:pt x="63437" y="36100"/>
                  </a:cubicBezTo>
                  <a:cubicBezTo>
                    <a:pt x="52292" y="39053"/>
                    <a:pt x="41339" y="43053"/>
                    <a:pt x="30671" y="48196"/>
                  </a:cubicBezTo>
                  <a:lnTo>
                    <a:pt x="20384" y="19907"/>
                  </a:lnTo>
                  <a:cubicBezTo>
                    <a:pt x="33147" y="13906"/>
                    <a:pt x="46101" y="9049"/>
                    <a:pt x="59246" y="5429"/>
                  </a:cubicBezTo>
                  <a:cubicBezTo>
                    <a:pt x="72295" y="1810"/>
                    <a:pt x="87344" y="0"/>
                    <a:pt x="104299" y="0"/>
                  </a:cubicBezTo>
                  <a:cubicBezTo>
                    <a:pt x="137065" y="0"/>
                    <a:pt x="161925" y="8477"/>
                    <a:pt x="178880"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99" y="239173"/>
                    <a:pt x="86011" y="239173"/>
                  </a:cubicBezTo>
                  <a:close/>
                  <a:moveTo>
                    <a:pt x="93155" y="211169"/>
                  </a:moveTo>
                  <a:cubicBezTo>
                    <a:pt x="103823" y="211169"/>
                    <a:pt x="113728" y="209740"/>
                    <a:pt x="122968" y="206788"/>
                  </a:cubicBezTo>
                  <a:cubicBezTo>
                    <a:pt x="132207" y="203835"/>
                    <a:pt x="140208" y="199644"/>
                    <a:pt x="147257"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9" y="121444"/>
                  </a:cubicBezTo>
                  <a:cubicBezTo>
                    <a:pt x="129445" y="119348"/>
                    <a:pt x="116776"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244" y="190500"/>
                    <a:pt x="47435" y="195358"/>
                    <a:pt x="52769" y="199263"/>
                  </a:cubicBezTo>
                  <a:cubicBezTo>
                    <a:pt x="58103" y="203073"/>
                    <a:pt x="64294" y="206026"/>
                    <a:pt x="71247" y="208121"/>
                  </a:cubicBezTo>
                  <a:cubicBezTo>
                    <a:pt x="78200" y="210217"/>
                    <a:pt x="85535"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34" name="Freeform: Shape 33">
              <a:extLst>
                <a:ext uri="{FF2B5EF4-FFF2-40B4-BE49-F238E27FC236}">
                  <a16:creationId xmlns:a16="http://schemas.microsoft.com/office/drawing/2014/main" id="{B3ECBDD9-B14A-6C9D-84E4-5027C75A4505}"/>
                </a:ext>
              </a:extLst>
            </p:cNvPr>
            <p:cNvSpPr/>
            <p:nvPr/>
          </p:nvSpPr>
          <p:spPr>
            <a:xfrm>
              <a:off x="5331227"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9" y="303276"/>
                    <a:pt x="71438" y="300895"/>
                  </a:cubicBezTo>
                  <a:cubicBezTo>
                    <a:pt x="63437"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2"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5" name="Freeform: Shape 34">
              <a:extLst>
                <a:ext uri="{FF2B5EF4-FFF2-40B4-BE49-F238E27FC236}">
                  <a16:creationId xmlns:a16="http://schemas.microsoft.com/office/drawing/2014/main" id="{546A67B9-938A-D4FE-B864-829B2CCBD8DB}"/>
                </a:ext>
              </a:extLst>
            </p:cNvPr>
            <p:cNvSpPr/>
            <p:nvPr/>
          </p:nvSpPr>
          <p:spPr>
            <a:xfrm>
              <a:off x="5381845"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191 w 39242"/>
                <a:gd name="connsiteY5" fmla="*/ 88392 h 319182"/>
                <a:gd name="connsiteX6" fmla="*/ 36576 w 39242"/>
                <a:gd name="connsiteY6" fmla="*/ 88392 h 319182"/>
                <a:gd name="connsiteX7" fmla="*/ 36576 w 39242"/>
                <a:gd name="connsiteY7" fmla="*/ 319183 h 319182"/>
                <a:gd name="connsiteX8" fmla="*/ 2191 w 39242"/>
                <a:gd name="connsiteY8" fmla="*/ 319183 h 319182"/>
                <a:gd name="connsiteX9" fmla="*/ 2191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191" y="88392"/>
                  </a:moveTo>
                  <a:lnTo>
                    <a:pt x="36576" y="88392"/>
                  </a:lnTo>
                  <a:lnTo>
                    <a:pt x="36576" y="319183"/>
                  </a:lnTo>
                  <a:lnTo>
                    <a:pt x="2191" y="319183"/>
                  </a:lnTo>
                  <a:lnTo>
                    <a:pt x="2191" y="88392"/>
                  </a:lnTo>
                  <a:close/>
                </a:path>
              </a:pathLst>
            </a:custGeom>
            <a:solidFill>
              <a:srgbClr val="44505E"/>
            </a:solidFill>
            <a:ln w="9525" cap="flat">
              <a:noFill/>
              <a:prstDash val="solid"/>
              <a:miter/>
            </a:ln>
          </p:spPr>
          <p:txBody>
            <a:bodyPr rtlCol="0" anchor="ctr"/>
            <a:lstStyle/>
            <a:p>
              <a:endParaRPr lang="pt-BR" noProof="0"/>
            </a:p>
          </p:txBody>
        </p:sp>
        <p:sp>
          <p:nvSpPr>
            <p:cNvPr id="36" name="Freeform: Shape 35">
              <a:extLst>
                <a:ext uri="{FF2B5EF4-FFF2-40B4-BE49-F238E27FC236}">
                  <a16:creationId xmlns:a16="http://schemas.microsoft.com/office/drawing/2014/main" id="{BB28F4FA-9B55-517F-1839-6BA503AE21DE}"/>
                </a:ext>
              </a:extLst>
            </p:cNvPr>
            <p:cNvSpPr/>
            <p:nvPr/>
          </p:nvSpPr>
          <p:spPr>
            <a:xfrm>
              <a:off x="5406076"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8" y="303276"/>
                    <a:pt x="71438" y="300895"/>
                  </a:cubicBezTo>
                  <a:cubicBezTo>
                    <a:pt x="63436"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1"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7" name="Freeform: Shape 36">
              <a:extLst>
                <a:ext uri="{FF2B5EF4-FFF2-40B4-BE49-F238E27FC236}">
                  <a16:creationId xmlns:a16="http://schemas.microsoft.com/office/drawing/2014/main" id="{223B2257-75CB-BEA9-E489-950201F34473}"/>
                </a:ext>
              </a:extLst>
            </p:cNvPr>
            <p:cNvSpPr/>
            <p:nvPr/>
          </p:nvSpPr>
          <p:spPr>
            <a:xfrm>
              <a:off x="5455545" y="925297"/>
              <a:ext cx="50594" cy="59238"/>
            </a:xfrm>
            <a:custGeom>
              <a:avLst/>
              <a:gdLst>
                <a:gd name="connsiteX0" fmla="*/ 88392 w 201263"/>
                <a:gd name="connsiteY0" fmla="*/ 235648 h 235648"/>
                <a:gd name="connsiteX1" fmla="*/ 51149 w 201263"/>
                <a:gd name="connsiteY1" fmla="*/ 228981 h 235648"/>
                <a:gd name="connsiteX2" fmla="*/ 23431 w 201263"/>
                <a:gd name="connsiteY2" fmla="*/ 210026 h 235648"/>
                <a:gd name="connsiteX3" fmla="*/ 6001 w 201263"/>
                <a:gd name="connsiteY3" fmla="*/ 180784 h 235648"/>
                <a:gd name="connsiteX4" fmla="*/ 0 w 201263"/>
                <a:gd name="connsiteY4" fmla="*/ 143256 h 235648"/>
                <a:gd name="connsiteX5" fmla="*/ 0 w 201263"/>
                <a:gd name="connsiteY5" fmla="*/ 0 h 235648"/>
                <a:gd name="connsiteX6" fmla="*/ 34385 w 201263"/>
                <a:gd name="connsiteY6" fmla="*/ 0 h 235648"/>
                <a:gd name="connsiteX7" fmla="*/ 34385 w 201263"/>
                <a:gd name="connsiteY7" fmla="*/ 134493 h 235648"/>
                <a:gd name="connsiteX8" fmla="*/ 50864 w 201263"/>
                <a:gd name="connsiteY8" fmla="*/ 185261 h 235648"/>
                <a:gd name="connsiteX9" fmla="*/ 98203 w 201263"/>
                <a:gd name="connsiteY9" fmla="*/ 203930 h 235648"/>
                <a:gd name="connsiteX10" fmla="*/ 125635 w 201263"/>
                <a:gd name="connsiteY10" fmla="*/ 198787 h 235648"/>
                <a:gd name="connsiteX11" fmla="*/ 147542 w 201263"/>
                <a:gd name="connsiteY11" fmla="*/ 184118 h 235648"/>
                <a:gd name="connsiteX12" fmla="*/ 162020 w 201263"/>
                <a:gd name="connsiteY12" fmla="*/ 161163 h 235648"/>
                <a:gd name="connsiteX13" fmla="*/ 167354 w 201263"/>
                <a:gd name="connsiteY13" fmla="*/ 131826 h 235648"/>
                <a:gd name="connsiteX14" fmla="*/ 167354 w 201263"/>
                <a:gd name="connsiteY14" fmla="*/ 0 h 235648"/>
                <a:gd name="connsiteX15" fmla="*/ 201263 w 201263"/>
                <a:gd name="connsiteY15" fmla="*/ 0 h 235648"/>
                <a:gd name="connsiteX16" fmla="*/ 201263 w 201263"/>
                <a:gd name="connsiteY16" fmla="*/ 230791 h 235648"/>
                <a:gd name="connsiteX17" fmla="*/ 167354 w 201263"/>
                <a:gd name="connsiteY17" fmla="*/ 230791 h 235648"/>
                <a:gd name="connsiteX18" fmla="*/ 167354 w 201263"/>
                <a:gd name="connsiteY18" fmla="*/ 190595 h 235648"/>
                <a:gd name="connsiteX19" fmla="*/ 136969 w 201263"/>
                <a:gd name="connsiteY19" fmla="*/ 222504 h 235648"/>
                <a:gd name="connsiteX20" fmla="*/ 88297 w 201263"/>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263" h="235648">
                  <a:moveTo>
                    <a:pt x="88392" y="235648"/>
                  </a:moveTo>
                  <a:cubicBezTo>
                    <a:pt x="74390" y="235648"/>
                    <a:pt x="62008" y="233363"/>
                    <a:pt x="51149" y="228981"/>
                  </a:cubicBezTo>
                  <a:cubicBezTo>
                    <a:pt x="40291" y="224504"/>
                    <a:pt x="31052" y="218218"/>
                    <a:pt x="23431"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864" y="185261"/>
                  </a:cubicBezTo>
                  <a:cubicBezTo>
                    <a:pt x="61913" y="197739"/>
                    <a:pt x="77629" y="203930"/>
                    <a:pt x="98203" y="203930"/>
                  </a:cubicBezTo>
                  <a:cubicBezTo>
                    <a:pt x="108014" y="203930"/>
                    <a:pt x="117158" y="202216"/>
                    <a:pt x="125635" y="198787"/>
                  </a:cubicBezTo>
                  <a:cubicBezTo>
                    <a:pt x="134112" y="195358"/>
                    <a:pt x="141351" y="190500"/>
                    <a:pt x="147542" y="184118"/>
                  </a:cubicBezTo>
                  <a:cubicBezTo>
                    <a:pt x="153638" y="177736"/>
                    <a:pt x="158496" y="170116"/>
                    <a:pt x="162020" y="161163"/>
                  </a:cubicBezTo>
                  <a:cubicBezTo>
                    <a:pt x="165640" y="152305"/>
                    <a:pt x="167354" y="142494"/>
                    <a:pt x="167354" y="131826"/>
                  </a:cubicBezTo>
                  <a:lnTo>
                    <a:pt x="167354" y="0"/>
                  </a:lnTo>
                  <a:lnTo>
                    <a:pt x="201263" y="0"/>
                  </a:lnTo>
                  <a:lnTo>
                    <a:pt x="201263" y="230791"/>
                  </a:lnTo>
                  <a:lnTo>
                    <a:pt x="167354" y="230791"/>
                  </a:lnTo>
                  <a:lnTo>
                    <a:pt x="167354" y="190595"/>
                  </a:lnTo>
                  <a:cubicBezTo>
                    <a:pt x="159639" y="203073"/>
                    <a:pt x="149447" y="213741"/>
                    <a:pt x="136969" y="222504"/>
                  </a:cubicBezTo>
                  <a:cubicBezTo>
                    <a:pt x="124492" y="231267"/>
                    <a:pt x="108299" y="235648"/>
                    <a:pt x="88297" y="235648"/>
                  </a:cubicBezTo>
                  <a:close/>
                </a:path>
              </a:pathLst>
            </a:custGeom>
            <a:solidFill>
              <a:srgbClr val="44505E"/>
            </a:solidFill>
            <a:ln w="9525" cap="flat">
              <a:noFill/>
              <a:prstDash val="solid"/>
              <a:miter/>
            </a:ln>
          </p:spPr>
          <p:txBody>
            <a:bodyPr rtlCol="0" anchor="ctr"/>
            <a:lstStyle/>
            <a:p>
              <a:endParaRPr lang="pt-BR" noProof="0"/>
            </a:p>
          </p:txBody>
        </p:sp>
        <p:sp>
          <p:nvSpPr>
            <p:cNvPr id="38" name="Freeform: Shape 37">
              <a:extLst>
                <a:ext uri="{FF2B5EF4-FFF2-40B4-BE49-F238E27FC236}">
                  <a16:creationId xmlns:a16="http://schemas.microsoft.com/office/drawing/2014/main" id="{90CEAC57-42D2-A073-1B30-D81095F0D8E7}"/>
                </a:ext>
              </a:extLst>
            </p:cNvPr>
            <p:cNvSpPr/>
            <p:nvPr/>
          </p:nvSpPr>
          <p:spPr>
            <a:xfrm>
              <a:off x="5522205" y="901353"/>
              <a:ext cx="58567" cy="83182"/>
            </a:xfrm>
            <a:custGeom>
              <a:avLst/>
              <a:gdLst>
                <a:gd name="connsiteX0" fmla="*/ 110204 w 232981"/>
                <a:gd name="connsiteY0" fmla="*/ 330898 h 330898"/>
                <a:gd name="connsiteX1" fmla="*/ 69628 w 232981"/>
                <a:gd name="connsiteY1" fmla="*/ 322897 h 330898"/>
                <a:gd name="connsiteX2" fmla="*/ 34385 w 232981"/>
                <a:gd name="connsiteY2" fmla="*/ 299466 h 330898"/>
                <a:gd name="connsiteX3" fmla="*/ 9334 w 232981"/>
                <a:gd name="connsiteY3" fmla="*/ 261938 h 330898"/>
                <a:gd name="connsiteX4" fmla="*/ 0 w 232981"/>
                <a:gd name="connsiteY4" fmla="*/ 211264 h 330898"/>
                <a:gd name="connsiteX5" fmla="*/ 0 w 232981"/>
                <a:gd name="connsiteY5" fmla="*/ 210407 h 330898"/>
                <a:gd name="connsiteX6" fmla="*/ 9334 w 232981"/>
                <a:gd name="connsiteY6" fmla="*/ 159925 h 330898"/>
                <a:gd name="connsiteX7" fmla="*/ 34385 w 232981"/>
                <a:gd name="connsiteY7" fmla="*/ 122206 h 330898"/>
                <a:gd name="connsiteX8" fmla="*/ 69628 w 232981"/>
                <a:gd name="connsiteY8" fmla="*/ 98488 h 330898"/>
                <a:gd name="connsiteX9" fmla="*/ 110204 w 232981"/>
                <a:gd name="connsiteY9" fmla="*/ 90202 h 330898"/>
                <a:gd name="connsiteX10" fmla="*/ 139636 w 232981"/>
                <a:gd name="connsiteY10" fmla="*/ 94202 h 330898"/>
                <a:gd name="connsiteX11" fmla="*/ 163735 w 232981"/>
                <a:gd name="connsiteY11" fmla="*/ 104870 h 330898"/>
                <a:gd name="connsiteX12" fmla="*/ 183166 w 232981"/>
                <a:gd name="connsiteY12" fmla="*/ 120491 h 330898"/>
                <a:gd name="connsiteX13" fmla="*/ 198596 w 232981"/>
                <a:gd name="connsiteY13" fmla="*/ 139255 h 330898"/>
                <a:gd name="connsiteX14" fmla="*/ 198596 w 232981"/>
                <a:gd name="connsiteY14" fmla="*/ 0 h 330898"/>
                <a:gd name="connsiteX15" fmla="*/ 232981 w 232981"/>
                <a:gd name="connsiteY15" fmla="*/ 0 h 330898"/>
                <a:gd name="connsiteX16" fmla="*/ 232981 w 232981"/>
                <a:gd name="connsiteY16" fmla="*/ 325850 h 330898"/>
                <a:gd name="connsiteX17" fmla="*/ 198596 w 232981"/>
                <a:gd name="connsiteY17" fmla="*/ 325850 h 330898"/>
                <a:gd name="connsiteX18" fmla="*/ 198596 w 232981"/>
                <a:gd name="connsiteY18" fmla="*/ 279463 h 330898"/>
                <a:gd name="connsiteX19" fmla="*/ 182785 w 232981"/>
                <a:gd name="connsiteY19" fmla="*/ 299085 h 330898"/>
                <a:gd name="connsiteX20" fmla="*/ 163354 w 232981"/>
                <a:gd name="connsiteY20" fmla="*/ 315658 h 330898"/>
                <a:gd name="connsiteX21" fmla="*/ 139446 w 232981"/>
                <a:gd name="connsiteY21" fmla="*/ 326803 h 330898"/>
                <a:gd name="connsiteX22" fmla="*/ 110204 w 232981"/>
                <a:gd name="connsiteY22" fmla="*/ 330803 h 330898"/>
                <a:gd name="connsiteX23" fmla="*/ 116491 w 232981"/>
                <a:gd name="connsiteY23" fmla="*/ 300133 h 330898"/>
                <a:gd name="connsiteX24" fmla="*/ 147542 w 232981"/>
                <a:gd name="connsiteY24" fmla="*/ 293656 h 330898"/>
                <a:gd name="connsiteX25" fmla="*/ 174307 w 232981"/>
                <a:gd name="connsiteY25" fmla="*/ 275368 h 330898"/>
                <a:gd name="connsiteX26" fmla="*/ 193072 w 232981"/>
                <a:gd name="connsiteY26" fmla="*/ 247269 h 330898"/>
                <a:gd name="connsiteX27" fmla="*/ 200025 w 232981"/>
                <a:gd name="connsiteY27" fmla="*/ 210883 h 330898"/>
                <a:gd name="connsiteX28" fmla="*/ 200025 w 232981"/>
                <a:gd name="connsiteY28" fmla="*/ 210026 h 330898"/>
                <a:gd name="connsiteX29" fmla="*/ 193072 w 232981"/>
                <a:gd name="connsiteY29" fmla="*/ 173641 h 330898"/>
                <a:gd name="connsiteX30" fmla="*/ 174307 w 232981"/>
                <a:gd name="connsiteY30" fmla="*/ 145732 h 330898"/>
                <a:gd name="connsiteX31" fmla="*/ 147542 w 232981"/>
                <a:gd name="connsiteY31" fmla="*/ 127635 h 330898"/>
                <a:gd name="connsiteX32" fmla="*/ 116491 w 232981"/>
                <a:gd name="connsiteY32" fmla="*/ 121158 h 330898"/>
                <a:gd name="connsiteX33" fmla="*/ 84772 w 232981"/>
                <a:gd name="connsiteY33" fmla="*/ 127159 h 330898"/>
                <a:gd name="connsiteX34" fmla="*/ 59150 w 232981"/>
                <a:gd name="connsiteY34" fmla="*/ 144589 h 330898"/>
                <a:gd name="connsiteX35" fmla="*/ 41719 w 232981"/>
                <a:gd name="connsiteY35" fmla="*/ 172498 h 330898"/>
                <a:gd name="connsiteX36" fmla="*/ 35242 w 232981"/>
                <a:gd name="connsiteY36" fmla="*/ 210026 h 330898"/>
                <a:gd name="connsiteX37" fmla="*/ 35242 w 232981"/>
                <a:gd name="connsiteY37" fmla="*/ 210883 h 330898"/>
                <a:gd name="connsiteX38" fmla="*/ 41719 w 232981"/>
                <a:gd name="connsiteY38" fmla="*/ 247936 h 330898"/>
                <a:gd name="connsiteX39" fmla="*/ 59341 w 232981"/>
                <a:gd name="connsiteY39" fmla="*/ 276034 h 330898"/>
                <a:gd name="connsiteX40" fmla="*/ 85249 w 232981"/>
                <a:gd name="connsiteY40" fmla="*/ 293941 h 330898"/>
                <a:gd name="connsiteX41" fmla="*/ 116491 w 23298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30898">
                  <a:moveTo>
                    <a:pt x="110204" y="330898"/>
                  </a:moveTo>
                  <a:cubicBezTo>
                    <a:pt x="96202" y="330898"/>
                    <a:pt x="82677" y="328231"/>
                    <a:pt x="69628" y="322897"/>
                  </a:cubicBezTo>
                  <a:cubicBezTo>
                    <a:pt x="56578" y="317563"/>
                    <a:pt x="44767" y="309753"/>
                    <a:pt x="34385" y="299466"/>
                  </a:cubicBezTo>
                  <a:cubicBezTo>
                    <a:pt x="24003" y="289179"/>
                    <a:pt x="15621" y="276701"/>
                    <a:pt x="9334" y="261938"/>
                  </a:cubicBezTo>
                  <a:cubicBezTo>
                    <a:pt x="3048" y="247174"/>
                    <a:pt x="0" y="230314"/>
                    <a:pt x="0" y="211264"/>
                  </a:cubicBezTo>
                  <a:lnTo>
                    <a:pt x="0" y="210407"/>
                  </a:lnTo>
                  <a:cubicBezTo>
                    <a:pt x="0" y="191643"/>
                    <a:pt x="3143" y="174879"/>
                    <a:pt x="9334" y="159925"/>
                  </a:cubicBezTo>
                  <a:cubicBezTo>
                    <a:pt x="15621" y="145066"/>
                    <a:pt x="23908" y="132493"/>
                    <a:pt x="34385" y="122206"/>
                  </a:cubicBezTo>
                  <a:cubicBezTo>
                    <a:pt x="44767" y="111919"/>
                    <a:pt x="56578" y="104013"/>
                    <a:pt x="69628" y="98488"/>
                  </a:cubicBezTo>
                  <a:cubicBezTo>
                    <a:pt x="82677" y="92964"/>
                    <a:pt x="96298" y="90202"/>
                    <a:pt x="110204" y="90202"/>
                  </a:cubicBezTo>
                  <a:cubicBezTo>
                    <a:pt x="120967" y="90202"/>
                    <a:pt x="130778" y="91535"/>
                    <a:pt x="139636" y="94202"/>
                  </a:cubicBezTo>
                  <a:cubicBezTo>
                    <a:pt x="148590" y="96869"/>
                    <a:pt x="156591" y="100489"/>
                    <a:pt x="163735" y="104870"/>
                  </a:cubicBezTo>
                  <a:cubicBezTo>
                    <a:pt x="170878" y="109347"/>
                    <a:pt x="177356" y="114586"/>
                    <a:pt x="183166" y="120491"/>
                  </a:cubicBezTo>
                  <a:cubicBezTo>
                    <a:pt x="188976" y="126492"/>
                    <a:pt x="194119" y="132683"/>
                    <a:pt x="198596" y="139255"/>
                  </a:cubicBezTo>
                  <a:lnTo>
                    <a:pt x="198596" y="0"/>
                  </a:lnTo>
                  <a:lnTo>
                    <a:pt x="232981" y="0"/>
                  </a:lnTo>
                  <a:lnTo>
                    <a:pt x="232981" y="325850"/>
                  </a:lnTo>
                  <a:lnTo>
                    <a:pt x="198596" y="325850"/>
                  </a:lnTo>
                  <a:lnTo>
                    <a:pt x="198596" y="279463"/>
                  </a:lnTo>
                  <a:cubicBezTo>
                    <a:pt x="193834" y="286321"/>
                    <a:pt x="188595" y="292894"/>
                    <a:pt x="182785" y="299085"/>
                  </a:cubicBezTo>
                  <a:cubicBezTo>
                    <a:pt x="176974" y="305371"/>
                    <a:pt x="170498" y="310896"/>
                    <a:pt x="163354" y="315658"/>
                  </a:cubicBezTo>
                  <a:cubicBezTo>
                    <a:pt x="156210" y="320421"/>
                    <a:pt x="148209" y="324136"/>
                    <a:pt x="139446" y="326803"/>
                  </a:cubicBezTo>
                  <a:cubicBezTo>
                    <a:pt x="130683" y="329470"/>
                    <a:pt x="120967" y="330803"/>
                    <a:pt x="110204" y="330803"/>
                  </a:cubicBezTo>
                  <a:close/>
                  <a:moveTo>
                    <a:pt x="116491" y="300133"/>
                  </a:moveTo>
                  <a:cubicBezTo>
                    <a:pt x="127159" y="300133"/>
                    <a:pt x="137541" y="297942"/>
                    <a:pt x="147542" y="293656"/>
                  </a:cubicBezTo>
                  <a:cubicBezTo>
                    <a:pt x="157544" y="289369"/>
                    <a:pt x="166402" y="283273"/>
                    <a:pt x="174307" y="275368"/>
                  </a:cubicBezTo>
                  <a:cubicBezTo>
                    <a:pt x="182213" y="267462"/>
                    <a:pt x="188404" y="258127"/>
                    <a:pt x="193072" y="247269"/>
                  </a:cubicBezTo>
                  <a:cubicBezTo>
                    <a:pt x="197644" y="236410"/>
                    <a:pt x="200025" y="224314"/>
                    <a:pt x="200025" y="210883"/>
                  </a:cubicBezTo>
                  <a:lnTo>
                    <a:pt x="200025" y="210026"/>
                  </a:lnTo>
                  <a:cubicBezTo>
                    <a:pt x="200025" y="196596"/>
                    <a:pt x="197739" y="184499"/>
                    <a:pt x="193072" y="173641"/>
                  </a:cubicBezTo>
                  <a:cubicBezTo>
                    <a:pt x="188500" y="162782"/>
                    <a:pt x="182213" y="153448"/>
                    <a:pt x="174307" y="145732"/>
                  </a:cubicBezTo>
                  <a:cubicBezTo>
                    <a:pt x="166402" y="138017"/>
                    <a:pt x="157448" y="132016"/>
                    <a:pt x="147542" y="127635"/>
                  </a:cubicBezTo>
                  <a:cubicBezTo>
                    <a:pt x="137541" y="123349"/>
                    <a:pt x="127254" y="121158"/>
                    <a:pt x="116491" y="121158"/>
                  </a:cubicBezTo>
                  <a:cubicBezTo>
                    <a:pt x="105156" y="121158"/>
                    <a:pt x="94583" y="123158"/>
                    <a:pt x="84772" y="127159"/>
                  </a:cubicBezTo>
                  <a:cubicBezTo>
                    <a:pt x="74962" y="131159"/>
                    <a:pt x="66389" y="136969"/>
                    <a:pt x="59150" y="144589"/>
                  </a:cubicBezTo>
                  <a:cubicBezTo>
                    <a:pt x="51816" y="152114"/>
                    <a:pt x="46101" y="161449"/>
                    <a:pt x="41719" y="172498"/>
                  </a:cubicBezTo>
                  <a:cubicBezTo>
                    <a:pt x="37433" y="183451"/>
                    <a:pt x="35242" y="196024"/>
                    <a:pt x="35242" y="210026"/>
                  </a:cubicBezTo>
                  <a:lnTo>
                    <a:pt x="35242" y="210883"/>
                  </a:lnTo>
                  <a:cubicBezTo>
                    <a:pt x="35242" y="224599"/>
                    <a:pt x="37433" y="236982"/>
                    <a:pt x="41719" y="247936"/>
                  </a:cubicBezTo>
                  <a:cubicBezTo>
                    <a:pt x="46006" y="258984"/>
                    <a:pt x="51911" y="268319"/>
                    <a:pt x="59341" y="276034"/>
                  </a:cubicBezTo>
                  <a:cubicBezTo>
                    <a:pt x="66770" y="283750"/>
                    <a:pt x="75438" y="289750"/>
                    <a:pt x="85249" y="293941"/>
                  </a:cubicBezTo>
                  <a:cubicBezTo>
                    <a:pt x="95059" y="298132"/>
                    <a:pt x="105442" y="300228"/>
                    <a:pt x="116491" y="300228"/>
                  </a:cubicBezTo>
                  <a:close/>
                </a:path>
              </a:pathLst>
            </a:custGeom>
            <a:solidFill>
              <a:srgbClr val="44505E"/>
            </a:solidFill>
            <a:ln w="9525" cap="flat">
              <a:noFill/>
              <a:prstDash val="solid"/>
              <a:miter/>
            </a:ln>
          </p:spPr>
          <p:txBody>
            <a:bodyPr rtlCol="0" anchor="ctr"/>
            <a:lstStyle/>
            <a:p>
              <a:endParaRPr lang="pt-BR" noProof="0"/>
            </a:p>
          </p:txBody>
        </p:sp>
        <p:sp>
          <p:nvSpPr>
            <p:cNvPr id="39" name="Freeform: Shape 38">
              <a:extLst>
                <a:ext uri="{FF2B5EF4-FFF2-40B4-BE49-F238E27FC236}">
                  <a16:creationId xmlns:a16="http://schemas.microsoft.com/office/drawing/2014/main" id="{C1836B89-43E2-6791-CA09-5D5FBF3C7547}"/>
                </a:ext>
              </a:extLst>
            </p:cNvPr>
            <p:cNvSpPr/>
            <p:nvPr/>
          </p:nvSpPr>
          <p:spPr>
            <a:xfrm>
              <a:off x="5596504"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6963 w 218217"/>
                <a:gd name="connsiteY3" fmla="*/ 206026 h 241077"/>
                <a:gd name="connsiteX4" fmla="*/ 116015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8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1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452 w 218217"/>
                <a:gd name="connsiteY25" fmla="*/ 106299 h 241077"/>
                <a:gd name="connsiteX26" fmla="*/ 176784 w 218217"/>
                <a:gd name="connsiteY26" fmla="*/ 76771 h 241077"/>
                <a:gd name="connsiteX27" fmla="*/ 162306 w 218217"/>
                <a:gd name="connsiteY27" fmla="*/ 52101 h 241077"/>
                <a:gd name="connsiteX28" fmla="*/ 140018 w 218217"/>
                <a:gd name="connsiteY28" fmla="*/ 35242 h 241077"/>
                <a:gd name="connsiteX29" fmla="*/ 109919 w 218217"/>
                <a:gd name="connsiteY29" fmla="*/ 29051 h 241077"/>
                <a:gd name="connsiteX30" fmla="*/ 82201 w 218217"/>
                <a:gd name="connsiteY30" fmla="*/ 34766 h 241077"/>
                <a:gd name="connsiteX31" fmla="*/ 59436 w 218217"/>
                <a:gd name="connsiteY31" fmla="*/ 50959 h 241077"/>
                <a:gd name="connsiteX32" fmla="*/ 43148 w 218217"/>
                <a:gd name="connsiteY32" fmla="*/ 75628 h 241077"/>
                <a:gd name="connsiteX33" fmla="*/ 34862 w 218217"/>
                <a:gd name="connsiteY33" fmla="*/ 106204 h 241077"/>
                <a:gd name="connsiteX34" fmla="*/ 183547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724" y="202597"/>
                    <a:pt x="86963" y="206026"/>
                  </a:cubicBezTo>
                  <a:cubicBezTo>
                    <a:pt x="96203" y="209455"/>
                    <a:pt x="105823" y="211169"/>
                    <a:pt x="116015" y="211169"/>
                  </a:cubicBezTo>
                  <a:cubicBezTo>
                    <a:pt x="132112" y="211169"/>
                    <a:pt x="145828" y="208216"/>
                    <a:pt x="157353" y="202216"/>
                  </a:cubicBezTo>
                  <a:cubicBezTo>
                    <a:pt x="168783" y="196310"/>
                    <a:pt x="179261" y="188404"/>
                    <a:pt x="188786" y="178594"/>
                  </a:cubicBezTo>
                  <a:lnTo>
                    <a:pt x="210217" y="197834"/>
                  </a:lnTo>
                  <a:cubicBezTo>
                    <a:pt x="198596" y="210979"/>
                    <a:pt x="185357" y="221361"/>
                    <a:pt x="170498" y="229267"/>
                  </a:cubicBezTo>
                  <a:cubicBezTo>
                    <a:pt x="155639"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679" y="0"/>
                    <a:pt x="110681"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452" y="106299"/>
                  </a:moveTo>
                  <a:cubicBezTo>
                    <a:pt x="182594" y="95917"/>
                    <a:pt x="180308" y="86106"/>
                    <a:pt x="176784" y="76771"/>
                  </a:cubicBezTo>
                  <a:cubicBezTo>
                    <a:pt x="173165" y="67437"/>
                    <a:pt x="168402" y="59245"/>
                    <a:pt x="162306" y="52101"/>
                  </a:cubicBezTo>
                  <a:cubicBezTo>
                    <a:pt x="156210" y="44958"/>
                    <a:pt x="148781" y="39338"/>
                    <a:pt x="140018" y="35242"/>
                  </a:cubicBezTo>
                  <a:cubicBezTo>
                    <a:pt x="131254" y="31147"/>
                    <a:pt x="121158" y="29051"/>
                    <a:pt x="109919" y="29051"/>
                  </a:cubicBezTo>
                  <a:cubicBezTo>
                    <a:pt x="100108" y="29051"/>
                    <a:pt x="90869" y="30956"/>
                    <a:pt x="82201" y="34766"/>
                  </a:cubicBezTo>
                  <a:cubicBezTo>
                    <a:pt x="73533" y="38671"/>
                    <a:pt x="66008" y="44005"/>
                    <a:pt x="59436" y="50959"/>
                  </a:cubicBezTo>
                  <a:cubicBezTo>
                    <a:pt x="52864" y="57912"/>
                    <a:pt x="47435" y="66103"/>
                    <a:pt x="43148" y="75628"/>
                  </a:cubicBezTo>
                  <a:cubicBezTo>
                    <a:pt x="38862" y="85058"/>
                    <a:pt x="36100" y="95345"/>
                    <a:pt x="34862" y="106204"/>
                  </a:cubicBezTo>
                  <a:lnTo>
                    <a:pt x="183547" y="106204"/>
                  </a:lnTo>
                  <a:close/>
                </a:path>
              </a:pathLst>
            </a:custGeom>
            <a:solidFill>
              <a:srgbClr val="44505E"/>
            </a:solidFill>
            <a:ln w="9525" cap="flat">
              <a:noFill/>
              <a:prstDash val="solid"/>
              <a:miter/>
            </a:ln>
          </p:spPr>
          <p:txBody>
            <a:bodyPr rtlCol="0" anchor="ctr"/>
            <a:lstStyle/>
            <a:p>
              <a:endParaRPr lang="pt-BR" noProof="0"/>
            </a:p>
          </p:txBody>
        </p:sp>
        <p:sp>
          <p:nvSpPr>
            <p:cNvPr id="40" name="Freeform: Shape 39">
              <a:extLst>
                <a:ext uri="{FF2B5EF4-FFF2-40B4-BE49-F238E27FC236}">
                  <a16:creationId xmlns:a16="http://schemas.microsoft.com/office/drawing/2014/main" id="{10FA4940-2FC9-E206-45C3-DA41E1A9C59D}"/>
                </a:ext>
              </a:extLst>
            </p:cNvPr>
            <p:cNvSpPr/>
            <p:nvPr/>
          </p:nvSpPr>
          <p:spPr>
            <a:xfrm>
              <a:off x="5661680" y="924268"/>
              <a:ext cx="44656" cy="60195"/>
            </a:xfrm>
            <a:custGeom>
              <a:avLst/>
              <a:gdLst>
                <a:gd name="connsiteX0" fmla="*/ 95536 w 177641"/>
                <a:gd name="connsiteY0" fmla="*/ 239268 h 239458"/>
                <a:gd name="connsiteX1" fmla="*/ 45053 w 177641"/>
                <a:gd name="connsiteY1" fmla="*/ 230124 h 239458"/>
                <a:gd name="connsiteX2" fmla="*/ 0 w 177641"/>
                <a:gd name="connsiteY2" fmla="*/ 205359 h 239458"/>
                <a:gd name="connsiteX3" fmla="*/ 17431 w 177641"/>
                <a:gd name="connsiteY3" fmla="*/ 180785 h 239458"/>
                <a:gd name="connsiteX4" fmla="*/ 56483 w 177641"/>
                <a:gd name="connsiteY4" fmla="*/ 202692 h 239458"/>
                <a:gd name="connsiteX5" fmla="*/ 97346 w 177641"/>
                <a:gd name="connsiteY5" fmla="*/ 210217 h 239458"/>
                <a:gd name="connsiteX6" fmla="*/ 131731 w 177641"/>
                <a:gd name="connsiteY6" fmla="*/ 200406 h 239458"/>
                <a:gd name="connsiteX7" fmla="*/ 145161 w 177641"/>
                <a:gd name="connsiteY7" fmla="*/ 173641 h 239458"/>
                <a:gd name="connsiteX8" fmla="*/ 145161 w 177641"/>
                <a:gd name="connsiteY8" fmla="*/ 172784 h 239458"/>
                <a:gd name="connsiteX9" fmla="*/ 140494 w 177641"/>
                <a:gd name="connsiteY9" fmla="*/ 158020 h 239458"/>
                <a:gd name="connsiteX10" fmla="*/ 127730 w 177641"/>
                <a:gd name="connsiteY10" fmla="*/ 147066 h 239458"/>
                <a:gd name="connsiteX11" fmla="*/ 109157 w 177641"/>
                <a:gd name="connsiteY11" fmla="*/ 138779 h 239458"/>
                <a:gd name="connsiteX12" fmla="*/ 87535 w 177641"/>
                <a:gd name="connsiteY12" fmla="*/ 132112 h 239458"/>
                <a:gd name="connsiteX13" fmla="*/ 60484 w 177641"/>
                <a:gd name="connsiteY13" fmla="*/ 123444 h 239458"/>
                <a:gd name="connsiteX14" fmla="*/ 35909 w 177641"/>
                <a:gd name="connsiteY14" fmla="*/ 111633 h 239458"/>
                <a:gd name="connsiteX15" fmla="*/ 18098 w 177641"/>
                <a:gd name="connsiteY15" fmla="*/ 93726 h 239458"/>
                <a:gd name="connsiteX16" fmla="*/ 11144 w 177641"/>
                <a:gd name="connsiteY16" fmla="*/ 66961 h 239458"/>
                <a:gd name="connsiteX17" fmla="*/ 11144 w 177641"/>
                <a:gd name="connsiteY17" fmla="*/ 66008 h 239458"/>
                <a:gd name="connsiteX18" fmla="*/ 16954 w 177641"/>
                <a:gd name="connsiteY18" fmla="*/ 39053 h 239458"/>
                <a:gd name="connsiteX19" fmla="*/ 33242 w 177641"/>
                <a:gd name="connsiteY19" fmla="*/ 18098 h 239458"/>
                <a:gd name="connsiteX20" fmla="*/ 58293 w 177641"/>
                <a:gd name="connsiteY20" fmla="*/ 4667 h 239458"/>
                <a:gd name="connsiteX21" fmla="*/ 89725 w 177641"/>
                <a:gd name="connsiteY21" fmla="*/ 0 h 239458"/>
                <a:gd name="connsiteX22" fmla="*/ 133064 w 177641"/>
                <a:gd name="connsiteY22" fmla="*/ 6953 h 239458"/>
                <a:gd name="connsiteX23" fmla="*/ 172784 w 177641"/>
                <a:gd name="connsiteY23" fmla="*/ 25527 h 239458"/>
                <a:gd name="connsiteX24" fmla="*/ 157163 w 177641"/>
                <a:gd name="connsiteY24" fmla="*/ 51435 h 239458"/>
                <a:gd name="connsiteX25" fmla="*/ 123444 w 177641"/>
                <a:gd name="connsiteY25" fmla="*/ 35147 h 239458"/>
                <a:gd name="connsiteX26" fmla="*/ 88868 w 177641"/>
                <a:gd name="connsiteY26" fmla="*/ 29146 h 239458"/>
                <a:gd name="connsiteX27" fmla="*/ 56293 w 177641"/>
                <a:gd name="connsiteY27" fmla="*/ 38767 h 239458"/>
                <a:gd name="connsiteX28" fmla="*/ 44196 w 177641"/>
                <a:gd name="connsiteY28" fmla="*/ 62675 h 239458"/>
                <a:gd name="connsiteX29" fmla="*/ 44196 w 177641"/>
                <a:gd name="connsiteY29" fmla="*/ 63627 h 239458"/>
                <a:gd name="connsiteX30" fmla="*/ 49149 w 177641"/>
                <a:gd name="connsiteY30" fmla="*/ 77724 h 239458"/>
                <a:gd name="connsiteX31" fmla="*/ 62294 w 177641"/>
                <a:gd name="connsiteY31" fmla="*/ 88202 h 239458"/>
                <a:gd name="connsiteX32" fmla="*/ 81248 w 177641"/>
                <a:gd name="connsiteY32" fmla="*/ 96203 h 239458"/>
                <a:gd name="connsiteX33" fmla="*/ 103537 w 177641"/>
                <a:gd name="connsiteY33" fmla="*/ 103346 h 239458"/>
                <a:gd name="connsiteX34" fmla="*/ 130112 w 177641"/>
                <a:gd name="connsiteY34" fmla="*/ 112300 h 239458"/>
                <a:gd name="connsiteX35" fmla="*/ 154019 w 177641"/>
                <a:gd name="connsiteY35" fmla="*/ 124778 h 239458"/>
                <a:gd name="connsiteX36" fmla="*/ 171164 w 177641"/>
                <a:gd name="connsiteY36" fmla="*/ 143066 h 239458"/>
                <a:gd name="connsiteX37" fmla="*/ 177641 w 177641"/>
                <a:gd name="connsiteY37" fmla="*/ 169450 h 239458"/>
                <a:gd name="connsiteX38" fmla="*/ 177641 w 177641"/>
                <a:gd name="connsiteY38" fmla="*/ 170307 h 239458"/>
                <a:gd name="connsiteX39" fmla="*/ 171164 w 177641"/>
                <a:gd name="connsiteY39" fmla="*/ 199549 h 239458"/>
                <a:gd name="connsiteX40" fmla="*/ 153734 w 177641"/>
                <a:gd name="connsiteY40" fmla="*/ 221171 h 239458"/>
                <a:gd name="connsiteX41" fmla="*/ 127825 w 177641"/>
                <a:gd name="connsiteY41" fmla="*/ 234791 h 239458"/>
                <a:gd name="connsiteX42" fmla="*/ 95441 w 177641"/>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641" h="239458">
                  <a:moveTo>
                    <a:pt x="95536" y="239268"/>
                  </a:moveTo>
                  <a:cubicBezTo>
                    <a:pt x="78867" y="239268"/>
                    <a:pt x="62008" y="236220"/>
                    <a:pt x="45053" y="230124"/>
                  </a:cubicBezTo>
                  <a:cubicBezTo>
                    <a:pt x="28099" y="224028"/>
                    <a:pt x="13049" y="215741"/>
                    <a:pt x="0" y="205359"/>
                  </a:cubicBezTo>
                  <a:lnTo>
                    <a:pt x="17431" y="180785"/>
                  </a:lnTo>
                  <a:cubicBezTo>
                    <a:pt x="29908"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542" y="162211"/>
                    <a:pt x="140494" y="158020"/>
                  </a:cubicBezTo>
                  <a:cubicBezTo>
                    <a:pt x="137350" y="153829"/>
                    <a:pt x="133160" y="150209"/>
                    <a:pt x="127730" y="147066"/>
                  </a:cubicBezTo>
                  <a:cubicBezTo>
                    <a:pt x="122396" y="143923"/>
                    <a:pt x="116205" y="141161"/>
                    <a:pt x="109157" y="138779"/>
                  </a:cubicBezTo>
                  <a:cubicBezTo>
                    <a:pt x="102203" y="136398"/>
                    <a:pt x="94964" y="134207"/>
                    <a:pt x="87535" y="132112"/>
                  </a:cubicBezTo>
                  <a:cubicBezTo>
                    <a:pt x="78581" y="129445"/>
                    <a:pt x="69628" y="126492"/>
                    <a:pt x="60484" y="123444"/>
                  </a:cubicBezTo>
                  <a:cubicBezTo>
                    <a:pt x="51435" y="120301"/>
                    <a:pt x="43244" y="116396"/>
                    <a:pt x="35909" y="111633"/>
                  </a:cubicBezTo>
                  <a:cubicBezTo>
                    <a:pt x="28575" y="106871"/>
                    <a:pt x="22670" y="100870"/>
                    <a:pt x="18098" y="93726"/>
                  </a:cubicBezTo>
                  <a:cubicBezTo>
                    <a:pt x="13525" y="86582"/>
                    <a:pt x="11144" y="77629"/>
                    <a:pt x="11144" y="66961"/>
                  </a:cubicBezTo>
                  <a:lnTo>
                    <a:pt x="11144" y="66008"/>
                  </a:lnTo>
                  <a:cubicBezTo>
                    <a:pt x="11144" y="56198"/>
                    <a:pt x="13049" y="47149"/>
                    <a:pt x="16954" y="39053"/>
                  </a:cubicBezTo>
                  <a:cubicBezTo>
                    <a:pt x="20860" y="30861"/>
                    <a:pt x="26289" y="23908"/>
                    <a:pt x="33242" y="18098"/>
                  </a:cubicBezTo>
                  <a:cubicBezTo>
                    <a:pt x="40196" y="12287"/>
                    <a:pt x="48578" y="7811"/>
                    <a:pt x="58293" y="4667"/>
                  </a:cubicBezTo>
                  <a:cubicBezTo>
                    <a:pt x="67913" y="1524"/>
                    <a:pt x="78486" y="0"/>
                    <a:pt x="89725" y="0"/>
                  </a:cubicBezTo>
                  <a:cubicBezTo>
                    <a:pt x="104013" y="0"/>
                    <a:pt x="118396" y="2286"/>
                    <a:pt x="133064" y="6953"/>
                  </a:cubicBezTo>
                  <a:cubicBezTo>
                    <a:pt x="147638" y="11621"/>
                    <a:pt x="160877" y="17717"/>
                    <a:pt x="172784" y="25527"/>
                  </a:cubicBezTo>
                  <a:lnTo>
                    <a:pt x="157163" y="51435"/>
                  </a:lnTo>
                  <a:cubicBezTo>
                    <a:pt x="146399" y="44577"/>
                    <a:pt x="135255" y="39148"/>
                    <a:pt x="123444" y="35147"/>
                  </a:cubicBezTo>
                  <a:cubicBezTo>
                    <a:pt x="111728" y="31147"/>
                    <a:pt x="100203" y="29146"/>
                    <a:pt x="88868" y="29146"/>
                  </a:cubicBezTo>
                  <a:cubicBezTo>
                    <a:pt x="75152" y="29146"/>
                    <a:pt x="64294" y="32385"/>
                    <a:pt x="56293" y="38767"/>
                  </a:cubicBezTo>
                  <a:cubicBezTo>
                    <a:pt x="48292" y="45149"/>
                    <a:pt x="44196" y="53150"/>
                    <a:pt x="44196" y="62675"/>
                  </a:cubicBezTo>
                  <a:lnTo>
                    <a:pt x="44196" y="63627"/>
                  </a:lnTo>
                  <a:cubicBezTo>
                    <a:pt x="44196" y="68961"/>
                    <a:pt x="45815" y="73628"/>
                    <a:pt x="49149" y="77724"/>
                  </a:cubicBezTo>
                  <a:cubicBezTo>
                    <a:pt x="52388" y="81725"/>
                    <a:pt x="56769" y="85249"/>
                    <a:pt x="62294" y="88202"/>
                  </a:cubicBezTo>
                  <a:cubicBezTo>
                    <a:pt x="67818" y="91154"/>
                    <a:pt x="74104" y="93821"/>
                    <a:pt x="81248" y="96203"/>
                  </a:cubicBezTo>
                  <a:cubicBezTo>
                    <a:pt x="88392" y="98584"/>
                    <a:pt x="95821" y="100965"/>
                    <a:pt x="103537" y="103346"/>
                  </a:cubicBezTo>
                  <a:cubicBezTo>
                    <a:pt x="112490" y="106013"/>
                    <a:pt x="121349" y="108966"/>
                    <a:pt x="130112" y="112300"/>
                  </a:cubicBezTo>
                  <a:cubicBezTo>
                    <a:pt x="138875" y="115538"/>
                    <a:pt x="146875" y="119729"/>
                    <a:pt x="154019" y="124778"/>
                  </a:cubicBezTo>
                  <a:cubicBezTo>
                    <a:pt x="161163" y="129826"/>
                    <a:pt x="166878" y="135922"/>
                    <a:pt x="171164" y="143066"/>
                  </a:cubicBezTo>
                  <a:cubicBezTo>
                    <a:pt x="175450" y="150209"/>
                    <a:pt x="177641" y="158972"/>
                    <a:pt x="177641" y="169450"/>
                  </a:cubicBezTo>
                  <a:lnTo>
                    <a:pt x="177641" y="170307"/>
                  </a:lnTo>
                  <a:cubicBezTo>
                    <a:pt x="177641" y="181356"/>
                    <a:pt x="175450" y="191071"/>
                    <a:pt x="171164" y="199549"/>
                  </a:cubicBezTo>
                  <a:cubicBezTo>
                    <a:pt x="166878" y="208026"/>
                    <a:pt x="161068" y="215265"/>
                    <a:pt x="153734" y="221171"/>
                  </a:cubicBezTo>
                  <a:cubicBezTo>
                    <a:pt x="146495" y="227171"/>
                    <a:pt x="137827" y="231648"/>
                    <a:pt x="127825" y="234791"/>
                  </a:cubicBezTo>
                  <a:cubicBezTo>
                    <a:pt x="117824" y="237935"/>
                    <a:pt x="107061" y="239459"/>
                    <a:pt x="95441" y="239459"/>
                  </a:cubicBezTo>
                  <a:close/>
                </a:path>
              </a:pathLst>
            </a:custGeom>
            <a:solidFill>
              <a:srgbClr val="44505E"/>
            </a:solidFill>
            <a:ln w="9525" cap="flat">
              <a:noFill/>
              <a:prstDash val="solid"/>
              <a:miter/>
            </a:ln>
          </p:spPr>
          <p:txBody>
            <a:bodyPr rtlCol="0" anchor="ctr"/>
            <a:lstStyle/>
            <a:p>
              <a:endParaRPr lang="pt-BR" noProof="0"/>
            </a:p>
          </p:txBody>
        </p:sp>
        <p:sp>
          <p:nvSpPr>
            <p:cNvPr id="41" name="Freeform: Shape 40">
              <a:extLst>
                <a:ext uri="{FF2B5EF4-FFF2-40B4-BE49-F238E27FC236}">
                  <a16:creationId xmlns:a16="http://schemas.microsoft.com/office/drawing/2014/main" id="{FEF797D5-3BC3-38F3-6032-9F169E4B94EE}"/>
                </a:ext>
              </a:extLst>
            </p:cNvPr>
            <p:cNvSpPr/>
            <p:nvPr/>
          </p:nvSpPr>
          <p:spPr>
            <a:xfrm>
              <a:off x="5752668" y="924028"/>
              <a:ext cx="58567" cy="77196"/>
            </a:xfrm>
            <a:custGeom>
              <a:avLst/>
              <a:gdLst>
                <a:gd name="connsiteX0" fmla="*/ 198596 w 232981"/>
                <a:gd name="connsiteY0" fmla="*/ 189357 h 307085"/>
                <a:gd name="connsiteX1" fmla="*/ 182785 w 232981"/>
                <a:gd name="connsiteY1" fmla="*/ 208978 h 307085"/>
                <a:gd name="connsiteX2" fmla="*/ 163354 w 232981"/>
                <a:gd name="connsiteY2" fmla="*/ 225552 h 307085"/>
                <a:gd name="connsiteX3" fmla="*/ 139446 w 232981"/>
                <a:gd name="connsiteY3" fmla="*/ 236696 h 307085"/>
                <a:gd name="connsiteX4" fmla="*/ 110204 w 232981"/>
                <a:gd name="connsiteY4" fmla="*/ 240697 h 307085"/>
                <a:gd name="connsiteX5" fmla="*/ 69628 w 232981"/>
                <a:gd name="connsiteY5" fmla="*/ 232696 h 307085"/>
                <a:gd name="connsiteX6" fmla="*/ 34385 w 232981"/>
                <a:gd name="connsiteY6" fmla="*/ 209264 h 307085"/>
                <a:gd name="connsiteX7" fmla="*/ 9335 w 232981"/>
                <a:gd name="connsiteY7" fmla="*/ 171736 h 307085"/>
                <a:gd name="connsiteX8" fmla="*/ 0 w 232981"/>
                <a:gd name="connsiteY8" fmla="*/ 121063 h 307085"/>
                <a:gd name="connsiteX9" fmla="*/ 0 w 232981"/>
                <a:gd name="connsiteY9" fmla="*/ 120205 h 307085"/>
                <a:gd name="connsiteX10" fmla="*/ 9335 w 232981"/>
                <a:gd name="connsiteY10" fmla="*/ 69723 h 307085"/>
                <a:gd name="connsiteX11" fmla="*/ 34385 w 232981"/>
                <a:gd name="connsiteY11" fmla="*/ 32004 h 307085"/>
                <a:gd name="connsiteX12" fmla="*/ 69628 w 232981"/>
                <a:gd name="connsiteY12" fmla="*/ 8287 h 307085"/>
                <a:gd name="connsiteX13" fmla="*/ 110204 w 232981"/>
                <a:gd name="connsiteY13" fmla="*/ 0 h 307085"/>
                <a:gd name="connsiteX14" fmla="*/ 139637 w 232981"/>
                <a:gd name="connsiteY14" fmla="*/ 4000 h 307085"/>
                <a:gd name="connsiteX15" fmla="*/ 163735 w 232981"/>
                <a:gd name="connsiteY15" fmla="*/ 14668 h 307085"/>
                <a:gd name="connsiteX16" fmla="*/ 183166 w 232981"/>
                <a:gd name="connsiteY16" fmla="*/ 30289 h 307085"/>
                <a:gd name="connsiteX17" fmla="*/ 198596 w 232981"/>
                <a:gd name="connsiteY17" fmla="*/ 49054 h 307085"/>
                <a:gd name="connsiteX18" fmla="*/ 198596 w 232981"/>
                <a:gd name="connsiteY18" fmla="*/ 4858 h 307085"/>
                <a:gd name="connsiteX19" fmla="*/ 232982 w 232981"/>
                <a:gd name="connsiteY19" fmla="*/ 4858 h 307085"/>
                <a:gd name="connsiteX20" fmla="*/ 232982 w 232981"/>
                <a:gd name="connsiteY20" fmla="*/ 307086 h 307085"/>
                <a:gd name="connsiteX21" fmla="*/ 198596 w 232981"/>
                <a:gd name="connsiteY21" fmla="*/ 307086 h 307085"/>
                <a:gd name="connsiteX22" fmla="*/ 198596 w 232981"/>
                <a:gd name="connsiteY22" fmla="*/ 189262 h 307085"/>
                <a:gd name="connsiteX23" fmla="*/ 116491 w 232981"/>
                <a:gd name="connsiteY23" fmla="*/ 209931 h 307085"/>
                <a:gd name="connsiteX24" fmla="*/ 147542 w 232981"/>
                <a:gd name="connsiteY24" fmla="*/ 203454 h 307085"/>
                <a:gd name="connsiteX25" fmla="*/ 174308 w 232981"/>
                <a:gd name="connsiteY25" fmla="*/ 185166 h 307085"/>
                <a:gd name="connsiteX26" fmla="*/ 193072 w 232981"/>
                <a:gd name="connsiteY26" fmla="*/ 157067 h 307085"/>
                <a:gd name="connsiteX27" fmla="*/ 200025 w 232981"/>
                <a:gd name="connsiteY27" fmla="*/ 120682 h 307085"/>
                <a:gd name="connsiteX28" fmla="*/ 200025 w 232981"/>
                <a:gd name="connsiteY28" fmla="*/ 119824 h 307085"/>
                <a:gd name="connsiteX29" fmla="*/ 193072 w 232981"/>
                <a:gd name="connsiteY29" fmla="*/ 83439 h 307085"/>
                <a:gd name="connsiteX30" fmla="*/ 174308 w 232981"/>
                <a:gd name="connsiteY30" fmla="*/ 55531 h 307085"/>
                <a:gd name="connsiteX31" fmla="*/ 147542 w 232981"/>
                <a:gd name="connsiteY31" fmla="*/ 37433 h 307085"/>
                <a:gd name="connsiteX32" fmla="*/ 116491 w 232981"/>
                <a:gd name="connsiteY32" fmla="*/ 30956 h 307085"/>
                <a:gd name="connsiteX33" fmla="*/ 84773 w 232981"/>
                <a:gd name="connsiteY33" fmla="*/ 36957 h 307085"/>
                <a:gd name="connsiteX34" fmla="*/ 59150 w 232981"/>
                <a:gd name="connsiteY34" fmla="*/ 54388 h 307085"/>
                <a:gd name="connsiteX35" fmla="*/ 41720 w 232981"/>
                <a:gd name="connsiteY35" fmla="*/ 82296 h 307085"/>
                <a:gd name="connsiteX36" fmla="*/ 35242 w 232981"/>
                <a:gd name="connsiteY36" fmla="*/ 119824 h 307085"/>
                <a:gd name="connsiteX37" fmla="*/ 35242 w 232981"/>
                <a:gd name="connsiteY37" fmla="*/ 120682 h 307085"/>
                <a:gd name="connsiteX38" fmla="*/ 41720 w 232981"/>
                <a:gd name="connsiteY38" fmla="*/ 157734 h 307085"/>
                <a:gd name="connsiteX39" fmla="*/ 59341 w 232981"/>
                <a:gd name="connsiteY39" fmla="*/ 185833 h 307085"/>
                <a:gd name="connsiteX40" fmla="*/ 85249 w 232981"/>
                <a:gd name="connsiteY40" fmla="*/ 203740 h 307085"/>
                <a:gd name="connsiteX41" fmla="*/ 116491 w 232981"/>
                <a:gd name="connsiteY41" fmla="*/ 210026 h 30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07085">
                  <a:moveTo>
                    <a:pt x="198596" y="189357"/>
                  </a:moveTo>
                  <a:cubicBezTo>
                    <a:pt x="193834" y="196215"/>
                    <a:pt x="188595" y="202787"/>
                    <a:pt x="182785" y="208978"/>
                  </a:cubicBezTo>
                  <a:cubicBezTo>
                    <a:pt x="176975" y="215265"/>
                    <a:pt x="170498" y="220789"/>
                    <a:pt x="163354" y="225552"/>
                  </a:cubicBezTo>
                  <a:cubicBezTo>
                    <a:pt x="156210" y="230314"/>
                    <a:pt x="148209" y="234029"/>
                    <a:pt x="139446" y="236696"/>
                  </a:cubicBezTo>
                  <a:cubicBezTo>
                    <a:pt x="130683" y="239363"/>
                    <a:pt x="120967" y="240697"/>
                    <a:pt x="110204" y="240697"/>
                  </a:cubicBezTo>
                  <a:cubicBezTo>
                    <a:pt x="96203" y="240697"/>
                    <a:pt x="82677" y="238030"/>
                    <a:pt x="69628" y="232696"/>
                  </a:cubicBezTo>
                  <a:cubicBezTo>
                    <a:pt x="56579" y="227362"/>
                    <a:pt x="44767" y="219551"/>
                    <a:pt x="34385" y="209264"/>
                  </a:cubicBezTo>
                  <a:cubicBezTo>
                    <a:pt x="24003" y="198977"/>
                    <a:pt x="15621" y="186499"/>
                    <a:pt x="9335" y="171736"/>
                  </a:cubicBezTo>
                  <a:cubicBezTo>
                    <a:pt x="3048" y="156972"/>
                    <a:pt x="0" y="140113"/>
                    <a:pt x="0" y="121063"/>
                  </a:cubicBezTo>
                  <a:lnTo>
                    <a:pt x="0" y="120205"/>
                  </a:lnTo>
                  <a:cubicBezTo>
                    <a:pt x="0" y="101441"/>
                    <a:pt x="3143" y="84677"/>
                    <a:pt x="9335" y="69723"/>
                  </a:cubicBezTo>
                  <a:cubicBezTo>
                    <a:pt x="15621" y="54864"/>
                    <a:pt x="23908" y="42291"/>
                    <a:pt x="34385" y="32004"/>
                  </a:cubicBezTo>
                  <a:cubicBezTo>
                    <a:pt x="44767" y="21717"/>
                    <a:pt x="56579" y="13811"/>
                    <a:pt x="69628" y="8287"/>
                  </a:cubicBezTo>
                  <a:cubicBezTo>
                    <a:pt x="82677" y="2762"/>
                    <a:pt x="96298" y="0"/>
                    <a:pt x="110204" y="0"/>
                  </a:cubicBezTo>
                  <a:cubicBezTo>
                    <a:pt x="120967" y="0"/>
                    <a:pt x="130778" y="1333"/>
                    <a:pt x="139637" y="4000"/>
                  </a:cubicBezTo>
                  <a:cubicBezTo>
                    <a:pt x="148590" y="6667"/>
                    <a:pt x="156591" y="10287"/>
                    <a:pt x="163735" y="14668"/>
                  </a:cubicBezTo>
                  <a:cubicBezTo>
                    <a:pt x="170879" y="19145"/>
                    <a:pt x="177356" y="24384"/>
                    <a:pt x="183166" y="30289"/>
                  </a:cubicBezTo>
                  <a:cubicBezTo>
                    <a:pt x="188976" y="36290"/>
                    <a:pt x="194120" y="42481"/>
                    <a:pt x="198596" y="49054"/>
                  </a:cubicBezTo>
                  <a:lnTo>
                    <a:pt x="198596" y="4858"/>
                  </a:lnTo>
                  <a:lnTo>
                    <a:pt x="232982" y="4858"/>
                  </a:lnTo>
                  <a:lnTo>
                    <a:pt x="232982" y="307086"/>
                  </a:lnTo>
                  <a:lnTo>
                    <a:pt x="198596" y="307086"/>
                  </a:lnTo>
                  <a:lnTo>
                    <a:pt x="198596" y="189262"/>
                  </a:lnTo>
                  <a:close/>
                  <a:moveTo>
                    <a:pt x="116491" y="209931"/>
                  </a:moveTo>
                  <a:cubicBezTo>
                    <a:pt x="127159" y="209931"/>
                    <a:pt x="137541" y="207740"/>
                    <a:pt x="147542" y="203454"/>
                  </a:cubicBezTo>
                  <a:cubicBezTo>
                    <a:pt x="157544" y="199168"/>
                    <a:pt x="166402" y="193072"/>
                    <a:pt x="174308" y="185166"/>
                  </a:cubicBezTo>
                  <a:cubicBezTo>
                    <a:pt x="182213" y="177260"/>
                    <a:pt x="188404" y="167926"/>
                    <a:pt x="193072" y="157067"/>
                  </a:cubicBezTo>
                  <a:cubicBezTo>
                    <a:pt x="197739" y="146209"/>
                    <a:pt x="200025" y="134112"/>
                    <a:pt x="200025" y="120682"/>
                  </a:cubicBezTo>
                  <a:lnTo>
                    <a:pt x="200025" y="119824"/>
                  </a:lnTo>
                  <a:cubicBezTo>
                    <a:pt x="200025" y="106394"/>
                    <a:pt x="197739" y="94297"/>
                    <a:pt x="193072" y="83439"/>
                  </a:cubicBezTo>
                  <a:cubicBezTo>
                    <a:pt x="188500" y="72580"/>
                    <a:pt x="182213" y="63246"/>
                    <a:pt x="174308" y="55531"/>
                  </a:cubicBezTo>
                  <a:cubicBezTo>
                    <a:pt x="166402" y="47815"/>
                    <a:pt x="157544" y="41815"/>
                    <a:pt x="147542" y="37433"/>
                  </a:cubicBezTo>
                  <a:cubicBezTo>
                    <a:pt x="137541" y="33147"/>
                    <a:pt x="127254" y="30956"/>
                    <a:pt x="116491" y="30956"/>
                  </a:cubicBezTo>
                  <a:cubicBezTo>
                    <a:pt x="105156" y="30956"/>
                    <a:pt x="94583" y="32956"/>
                    <a:pt x="84773" y="36957"/>
                  </a:cubicBezTo>
                  <a:cubicBezTo>
                    <a:pt x="74962" y="40957"/>
                    <a:pt x="66389" y="46767"/>
                    <a:pt x="59150" y="54388"/>
                  </a:cubicBezTo>
                  <a:cubicBezTo>
                    <a:pt x="51816" y="61913"/>
                    <a:pt x="46101" y="71247"/>
                    <a:pt x="41720" y="82296"/>
                  </a:cubicBezTo>
                  <a:cubicBezTo>
                    <a:pt x="37433" y="93250"/>
                    <a:pt x="35242" y="105823"/>
                    <a:pt x="35242" y="119824"/>
                  </a:cubicBezTo>
                  <a:lnTo>
                    <a:pt x="35242" y="120682"/>
                  </a:lnTo>
                  <a:cubicBezTo>
                    <a:pt x="35242" y="134398"/>
                    <a:pt x="37433" y="146780"/>
                    <a:pt x="41720" y="157734"/>
                  </a:cubicBezTo>
                  <a:cubicBezTo>
                    <a:pt x="46006" y="168783"/>
                    <a:pt x="51911" y="178117"/>
                    <a:pt x="59341" y="185833"/>
                  </a:cubicBezTo>
                  <a:cubicBezTo>
                    <a:pt x="66770" y="193548"/>
                    <a:pt x="75438" y="199549"/>
                    <a:pt x="85249" y="203740"/>
                  </a:cubicBezTo>
                  <a:cubicBezTo>
                    <a:pt x="95060" y="207931"/>
                    <a:pt x="105442" y="210026"/>
                    <a:pt x="116491" y="210026"/>
                  </a:cubicBezTo>
                  <a:close/>
                </a:path>
              </a:pathLst>
            </a:custGeom>
            <a:solidFill>
              <a:srgbClr val="44505E"/>
            </a:solidFill>
            <a:ln w="9525" cap="flat">
              <a:noFill/>
              <a:prstDash val="solid"/>
              <a:miter/>
            </a:ln>
          </p:spPr>
          <p:txBody>
            <a:bodyPr rtlCol="0" anchor="ctr"/>
            <a:lstStyle/>
            <a:p>
              <a:endParaRPr lang="pt-BR" noProof="0"/>
            </a:p>
          </p:txBody>
        </p:sp>
        <p:sp>
          <p:nvSpPr>
            <p:cNvPr id="42" name="Freeform: Shape 41">
              <a:extLst>
                <a:ext uri="{FF2B5EF4-FFF2-40B4-BE49-F238E27FC236}">
                  <a16:creationId xmlns:a16="http://schemas.microsoft.com/office/drawing/2014/main" id="{F17971D5-F12B-8CDF-A214-41AC126AB55E}"/>
                </a:ext>
              </a:extLst>
            </p:cNvPr>
            <p:cNvSpPr/>
            <p:nvPr/>
          </p:nvSpPr>
          <p:spPr>
            <a:xfrm>
              <a:off x="5829624" y="925297"/>
              <a:ext cx="50618" cy="59238"/>
            </a:xfrm>
            <a:custGeom>
              <a:avLst/>
              <a:gdLst>
                <a:gd name="connsiteX0" fmla="*/ 88392 w 201358"/>
                <a:gd name="connsiteY0" fmla="*/ 235648 h 235648"/>
                <a:gd name="connsiteX1" fmla="*/ 51149 w 201358"/>
                <a:gd name="connsiteY1" fmla="*/ 228981 h 235648"/>
                <a:gd name="connsiteX2" fmla="*/ 23432 w 201358"/>
                <a:gd name="connsiteY2" fmla="*/ 210026 h 235648"/>
                <a:gd name="connsiteX3" fmla="*/ 6001 w 201358"/>
                <a:gd name="connsiteY3" fmla="*/ 180784 h 235648"/>
                <a:gd name="connsiteX4" fmla="*/ 0 w 201358"/>
                <a:gd name="connsiteY4" fmla="*/ 143256 h 235648"/>
                <a:gd name="connsiteX5" fmla="*/ 0 w 201358"/>
                <a:gd name="connsiteY5" fmla="*/ 0 h 235648"/>
                <a:gd name="connsiteX6" fmla="*/ 34385 w 201358"/>
                <a:gd name="connsiteY6" fmla="*/ 0 h 235648"/>
                <a:gd name="connsiteX7" fmla="*/ 34385 w 201358"/>
                <a:gd name="connsiteY7" fmla="*/ 134493 h 235648"/>
                <a:gd name="connsiteX8" fmla="*/ 50959 w 201358"/>
                <a:gd name="connsiteY8" fmla="*/ 185261 h 235648"/>
                <a:gd name="connsiteX9" fmla="*/ 98298 w 201358"/>
                <a:gd name="connsiteY9" fmla="*/ 203930 h 235648"/>
                <a:gd name="connsiteX10" fmla="*/ 125730 w 201358"/>
                <a:gd name="connsiteY10" fmla="*/ 198787 h 235648"/>
                <a:gd name="connsiteX11" fmla="*/ 147638 w 201358"/>
                <a:gd name="connsiteY11" fmla="*/ 184118 h 235648"/>
                <a:gd name="connsiteX12" fmla="*/ 162116 w 201358"/>
                <a:gd name="connsiteY12" fmla="*/ 161163 h 235648"/>
                <a:gd name="connsiteX13" fmla="*/ 167450 w 201358"/>
                <a:gd name="connsiteY13" fmla="*/ 131826 h 235648"/>
                <a:gd name="connsiteX14" fmla="*/ 167450 w 201358"/>
                <a:gd name="connsiteY14" fmla="*/ 0 h 235648"/>
                <a:gd name="connsiteX15" fmla="*/ 201359 w 201358"/>
                <a:gd name="connsiteY15" fmla="*/ 0 h 235648"/>
                <a:gd name="connsiteX16" fmla="*/ 201359 w 201358"/>
                <a:gd name="connsiteY16" fmla="*/ 230791 h 235648"/>
                <a:gd name="connsiteX17" fmla="*/ 167450 w 201358"/>
                <a:gd name="connsiteY17" fmla="*/ 230791 h 235648"/>
                <a:gd name="connsiteX18" fmla="*/ 167450 w 201358"/>
                <a:gd name="connsiteY18" fmla="*/ 190595 h 235648"/>
                <a:gd name="connsiteX19" fmla="*/ 137065 w 201358"/>
                <a:gd name="connsiteY19" fmla="*/ 222504 h 235648"/>
                <a:gd name="connsiteX20" fmla="*/ 88392 w 201358"/>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358" h="235648">
                  <a:moveTo>
                    <a:pt x="88392" y="235648"/>
                  </a:moveTo>
                  <a:cubicBezTo>
                    <a:pt x="74390" y="235648"/>
                    <a:pt x="62008" y="233363"/>
                    <a:pt x="51149" y="228981"/>
                  </a:cubicBezTo>
                  <a:cubicBezTo>
                    <a:pt x="40291" y="224504"/>
                    <a:pt x="31052" y="218218"/>
                    <a:pt x="23432"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959" y="185261"/>
                  </a:cubicBezTo>
                  <a:cubicBezTo>
                    <a:pt x="61913" y="197739"/>
                    <a:pt x="77724" y="203930"/>
                    <a:pt x="98298" y="203930"/>
                  </a:cubicBezTo>
                  <a:cubicBezTo>
                    <a:pt x="108109" y="203930"/>
                    <a:pt x="117253" y="202216"/>
                    <a:pt x="125730" y="198787"/>
                  </a:cubicBezTo>
                  <a:cubicBezTo>
                    <a:pt x="134207" y="195358"/>
                    <a:pt x="141446" y="190500"/>
                    <a:pt x="147638" y="184118"/>
                  </a:cubicBezTo>
                  <a:cubicBezTo>
                    <a:pt x="153734" y="177736"/>
                    <a:pt x="158591" y="170116"/>
                    <a:pt x="162116" y="161163"/>
                  </a:cubicBezTo>
                  <a:cubicBezTo>
                    <a:pt x="165735" y="152305"/>
                    <a:pt x="167450" y="142494"/>
                    <a:pt x="167450" y="131826"/>
                  </a:cubicBezTo>
                  <a:lnTo>
                    <a:pt x="167450" y="0"/>
                  </a:lnTo>
                  <a:lnTo>
                    <a:pt x="201359" y="0"/>
                  </a:lnTo>
                  <a:lnTo>
                    <a:pt x="201359" y="230791"/>
                  </a:lnTo>
                  <a:lnTo>
                    <a:pt x="167450" y="230791"/>
                  </a:lnTo>
                  <a:lnTo>
                    <a:pt x="167450" y="190595"/>
                  </a:lnTo>
                  <a:cubicBezTo>
                    <a:pt x="159734" y="203073"/>
                    <a:pt x="149543" y="213741"/>
                    <a:pt x="137065" y="222504"/>
                  </a:cubicBezTo>
                  <a:cubicBezTo>
                    <a:pt x="124587" y="231267"/>
                    <a:pt x="108395" y="235648"/>
                    <a:pt x="88392" y="235648"/>
                  </a:cubicBezTo>
                  <a:close/>
                </a:path>
              </a:pathLst>
            </a:custGeom>
            <a:solidFill>
              <a:srgbClr val="44505E"/>
            </a:solidFill>
            <a:ln w="9525" cap="flat">
              <a:noFill/>
              <a:prstDash val="solid"/>
              <a:miter/>
            </a:ln>
          </p:spPr>
          <p:txBody>
            <a:bodyPr rtlCol="0" anchor="ctr"/>
            <a:lstStyle/>
            <a:p>
              <a:endParaRPr lang="pt-BR" noProof="0"/>
            </a:p>
          </p:txBody>
        </p:sp>
        <p:sp>
          <p:nvSpPr>
            <p:cNvPr id="43" name="Freeform: Shape 42">
              <a:extLst>
                <a:ext uri="{FF2B5EF4-FFF2-40B4-BE49-F238E27FC236}">
                  <a16:creationId xmlns:a16="http://schemas.microsoft.com/office/drawing/2014/main" id="{8BC2F800-26CF-9439-3BA7-6A48EC1F9D0B}"/>
                </a:ext>
              </a:extLst>
            </p:cNvPr>
            <p:cNvSpPr/>
            <p:nvPr/>
          </p:nvSpPr>
          <p:spPr>
            <a:xfrm>
              <a:off x="5896069"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7059 w 218217"/>
                <a:gd name="connsiteY3" fmla="*/ 206026 h 241077"/>
                <a:gd name="connsiteX4" fmla="*/ 116110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7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0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356 w 218217"/>
                <a:gd name="connsiteY25" fmla="*/ 106299 h 241077"/>
                <a:gd name="connsiteX26" fmla="*/ 176689 w 218217"/>
                <a:gd name="connsiteY26" fmla="*/ 76771 h 241077"/>
                <a:gd name="connsiteX27" fmla="*/ 162211 w 218217"/>
                <a:gd name="connsiteY27" fmla="*/ 52101 h 241077"/>
                <a:gd name="connsiteX28" fmla="*/ 139922 w 218217"/>
                <a:gd name="connsiteY28" fmla="*/ 35242 h 241077"/>
                <a:gd name="connsiteX29" fmla="*/ 109823 w 218217"/>
                <a:gd name="connsiteY29" fmla="*/ 29051 h 241077"/>
                <a:gd name="connsiteX30" fmla="*/ 82105 w 218217"/>
                <a:gd name="connsiteY30" fmla="*/ 34766 h 241077"/>
                <a:gd name="connsiteX31" fmla="*/ 59341 w 218217"/>
                <a:gd name="connsiteY31" fmla="*/ 50959 h 241077"/>
                <a:gd name="connsiteX32" fmla="*/ 43053 w 218217"/>
                <a:gd name="connsiteY32" fmla="*/ 75628 h 241077"/>
                <a:gd name="connsiteX33" fmla="*/ 34766 w 218217"/>
                <a:gd name="connsiteY33" fmla="*/ 106204 h 241077"/>
                <a:gd name="connsiteX34" fmla="*/ 183356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819" y="202597"/>
                    <a:pt x="87059" y="206026"/>
                  </a:cubicBezTo>
                  <a:cubicBezTo>
                    <a:pt x="96298" y="209455"/>
                    <a:pt x="105918" y="211169"/>
                    <a:pt x="116110" y="211169"/>
                  </a:cubicBezTo>
                  <a:cubicBezTo>
                    <a:pt x="132207" y="211169"/>
                    <a:pt x="145923" y="208216"/>
                    <a:pt x="157353" y="202216"/>
                  </a:cubicBezTo>
                  <a:cubicBezTo>
                    <a:pt x="168783" y="196310"/>
                    <a:pt x="179261" y="188404"/>
                    <a:pt x="188786" y="178594"/>
                  </a:cubicBezTo>
                  <a:lnTo>
                    <a:pt x="210217" y="197834"/>
                  </a:lnTo>
                  <a:cubicBezTo>
                    <a:pt x="198596" y="210979"/>
                    <a:pt x="185356" y="221361"/>
                    <a:pt x="170497" y="229267"/>
                  </a:cubicBezTo>
                  <a:cubicBezTo>
                    <a:pt x="155638"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583" y="0"/>
                    <a:pt x="110680"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356" y="106299"/>
                  </a:moveTo>
                  <a:cubicBezTo>
                    <a:pt x="182499" y="95917"/>
                    <a:pt x="180213" y="86106"/>
                    <a:pt x="176689" y="76771"/>
                  </a:cubicBezTo>
                  <a:cubicBezTo>
                    <a:pt x="173069" y="67437"/>
                    <a:pt x="168307" y="59245"/>
                    <a:pt x="162211" y="52101"/>
                  </a:cubicBezTo>
                  <a:cubicBezTo>
                    <a:pt x="156115" y="44958"/>
                    <a:pt x="148685" y="39338"/>
                    <a:pt x="139922" y="35242"/>
                  </a:cubicBezTo>
                  <a:cubicBezTo>
                    <a:pt x="131159" y="31147"/>
                    <a:pt x="121063" y="29051"/>
                    <a:pt x="109823" y="29051"/>
                  </a:cubicBezTo>
                  <a:cubicBezTo>
                    <a:pt x="100013" y="29051"/>
                    <a:pt x="90773" y="30956"/>
                    <a:pt x="82105" y="34766"/>
                  </a:cubicBezTo>
                  <a:cubicBezTo>
                    <a:pt x="73438" y="38671"/>
                    <a:pt x="65913" y="44005"/>
                    <a:pt x="59341" y="50959"/>
                  </a:cubicBezTo>
                  <a:cubicBezTo>
                    <a:pt x="52769" y="57912"/>
                    <a:pt x="47339" y="66103"/>
                    <a:pt x="43053" y="75628"/>
                  </a:cubicBezTo>
                  <a:cubicBezTo>
                    <a:pt x="38767" y="85058"/>
                    <a:pt x="36004" y="95345"/>
                    <a:pt x="34766" y="106204"/>
                  </a:cubicBezTo>
                  <a:lnTo>
                    <a:pt x="183356" y="106204"/>
                  </a:lnTo>
                  <a:close/>
                </a:path>
              </a:pathLst>
            </a:custGeom>
            <a:solidFill>
              <a:srgbClr val="44505E"/>
            </a:solidFill>
            <a:ln w="9525" cap="flat">
              <a:noFill/>
              <a:prstDash val="solid"/>
              <a:miter/>
            </a:ln>
          </p:spPr>
          <p:txBody>
            <a:bodyPr rtlCol="0" anchor="ctr"/>
            <a:lstStyle/>
            <a:p>
              <a:endParaRPr lang="pt-BR" noProof="0"/>
            </a:p>
          </p:txBody>
        </p:sp>
        <p:sp>
          <p:nvSpPr>
            <p:cNvPr id="44" name="Freeform: Shape 43">
              <a:extLst>
                <a:ext uri="{FF2B5EF4-FFF2-40B4-BE49-F238E27FC236}">
                  <a16:creationId xmlns:a16="http://schemas.microsoft.com/office/drawing/2014/main" id="{AEE11CB7-7D59-E8B4-B17A-A3245D8C05A9}"/>
                </a:ext>
              </a:extLst>
            </p:cNvPr>
            <p:cNvSpPr/>
            <p:nvPr/>
          </p:nvSpPr>
          <p:spPr>
            <a:xfrm>
              <a:off x="5994910" y="924268"/>
              <a:ext cx="44680" cy="60195"/>
            </a:xfrm>
            <a:custGeom>
              <a:avLst/>
              <a:gdLst>
                <a:gd name="connsiteX0" fmla="*/ 95536 w 177736"/>
                <a:gd name="connsiteY0" fmla="*/ 239268 h 239458"/>
                <a:gd name="connsiteX1" fmla="*/ 45053 w 177736"/>
                <a:gd name="connsiteY1" fmla="*/ 230124 h 239458"/>
                <a:gd name="connsiteX2" fmla="*/ 0 w 177736"/>
                <a:gd name="connsiteY2" fmla="*/ 205359 h 239458"/>
                <a:gd name="connsiteX3" fmla="*/ 17431 w 177736"/>
                <a:gd name="connsiteY3" fmla="*/ 180785 h 239458"/>
                <a:gd name="connsiteX4" fmla="*/ 56483 w 177736"/>
                <a:gd name="connsiteY4" fmla="*/ 202692 h 239458"/>
                <a:gd name="connsiteX5" fmla="*/ 97346 w 177736"/>
                <a:gd name="connsiteY5" fmla="*/ 210217 h 239458"/>
                <a:gd name="connsiteX6" fmla="*/ 131731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730 w 177736"/>
                <a:gd name="connsiteY10" fmla="*/ 147066 h 239458"/>
                <a:gd name="connsiteX11" fmla="*/ 109252 w 177736"/>
                <a:gd name="connsiteY11" fmla="*/ 138779 h 239458"/>
                <a:gd name="connsiteX12" fmla="*/ 87630 w 177736"/>
                <a:gd name="connsiteY12" fmla="*/ 132112 h 239458"/>
                <a:gd name="connsiteX13" fmla="*/ 60674 w 177736"/>
                <a:gd name="connsiteY13" fmla="*/ 123444 h 239458"/>
                <a:gd name="connsiteX14" fmla="*/ 36100 w 177736"/>
                <a:gd name="connsiteY14" fmla="*/ 111633 h 239458"/>
                <a:gd name="connsiteX15" fmla="*/ 18193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60 w 177736"/>
                <a:gd name="connsiteY22" fmla="*/ 6953 h 239458"/>
                <a:gd name="connsiteX23" fmla="*/ 172879 w 177736"/>
                <a:gd name="connsiteY23" fmla="*/ 25527 h 239458"/>
                <a:gd name="connsiteX24" fmla="*/ 157258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4 w 177736"/>
                <a:gd name="connsiteY32" fmla="*/ 96203 h 239458"/>
                <a:gd name="connsiteX33" fmla="*/ 103632 w 177736"/>
                <a:gd name="connsiteY33" fmla="*/ 103346 h 239458"/>
                <a:gd name="connsiteX34" fmla="*/ 130207 w 177736"/>
                <a:gd name="connsiteY34" fmla="*/ 112300 h 239458"/>
                <a:gd name="connsiteX35" fmla="*/ 154114 w 177736"/>
                <a:gd name="connsiteY35" fmla="*/ 124778 h 239458"/>
                <a:gd name="connsiteX36" fmla="*/ 171260 w 177736"/>
                <a:gd name="connsiteY36" fmla="*/ 143066 h 239458"/>
                <a:gd name="connsiteX37" fmla="*/ 177737 w 177736"/>
                <a:gd name="connsiteY37" fmla="*/ 169450 h 239458"/>
                <a:gd name="connsiteX38" fmla="*/ 177737 w 177736"/>
                <a:gd name="connsiteY38" fmla="*/ 170307 h 239458"/>
                <a:gd name="connsiteX39" fmla="*/ 171260 w 177736"/>
                <a:gd name="connsiteY39" fmla="*/ 199549 h 239458"/>
                <a:gd name="connsiteX40" fmla="*/ 153829 w 177736"/>
                <a:gd name="connsiteY40" fmla="*/ 221171 h 239458"/>
                <a:gd name="connsiteX41" fmla="*/ 127921 w 177736"/>
                <a:gd name="connsiteY41" fmla="*/ 234791 h 239458"/>
                <a:gd name="connsiteX42" fmla="*/ 95536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6" y="239268"/>
                  </a:moveTo>
                  <a:cubicBezTo>
                    <a:pt x="78867" y="239268"/>
                    <a:pt x="62008" y="236220"/>
                    <a:pt x="45053" y="230124"/>
                  </a:cubicBezTo>
                  <a:cubicBezTo>
                    <a:pt x="28099" y="224028"/>
                    <a:pt x="13049" y="215741"/>
                    <a:pt x="0" y="205359"/>
                  </a:cubicBezTo>
                  <a:lnTo>
                    <a:pt x="17431" y="180785"/>
                  </a:lnTo>
                  <a:cubicBezTo>
                    <a:pt x="29909"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637" y="162211"/>
                    <a:pt x="140494" y="158020"/>
                  </a:cubicBezTo>
                  <a:cubicBezTo>
                    <a:pt x="137351" y="153829"/>
                    <a:pt x="133160" y="150209"/>
                    <a:pt x="127730" y="147066"/>
                  </a:cubicBezTo>
                  <a:cubicBezTo>
                    <a:pt x="122396" y="143923"/>
                    <a:pt x="116205" y="141161"/>
                    <a:pt x="109252" y="138779"/>
                  </a:cubicBezTo>
                  <a:cubicBezTo>
                    <a:pt x="102299" y="136398"/>
                    <a:pt x="95060" y="134207"/>
                    <a:pt x="87630" y="132112"/>
                  </a:cubicBezTo>
                  <a:cubicBezTo>
                    <a:pt x="78677" y="129445"/>
                    <a:pt x="69723" y="126492"/>
                    <a:pt x="60674" y="123444"/>
                  </a:cubicBezTo>
                  <a:cubicBezTo>
                    <a:pt x="51626" y="120301"/>
                    <a:pt x="43434" y="116396"/>
                    <a:pt x="36100" y="111633"/>
                  </a:cubicBezTo>
                  <a:cubicBezTo>
                    <a:pt x="28766" y="106871"/>
                    <a:pt x="22860" y="100870"/>
                    <a:pt x="18193" y="93726"/>
                  </a:cubicBezTo>
                  <a:cubicBezTo>
                    <a:pt x="13621" y="86582"/>
                    <a:pt x="11239" y="77629"/>
                    <a:pt x="11239" y="66961"/>
                  </a:cubicBezTo>
                  <a:lnTo>
                    <a:pt x="11239" y="66008"/>
                  </a:lnTo>
                  <a:cubicBezTo>
                    <a:pt x="11239" y="56198"/>
                    <a:pt x="13145" y="47149"/>
                    <a:pt x="17050" y="39053"/>
                  </a:cubicBezTo>
                  <a:cubicBezTo>
                    <a:pt x="20860" y="30861"/>
                    <a:pt x="26289" y="23908"/>
                    <a:pt x="33338" y="18098"/>
                  </a:cubicBezTo>
                  <a:cubicBezTo>
                    <a:pt x="40291" y="12287"/>
                    <a:pt x="48673" y="7811"/>
                    <a:pt x="58388" y="4667"/>
                  </a:cubicBezTo>
                  <a:cubicBezTo>
                    <a:pt x="68009" y="1524"/>
                    <a:pt x="78581" y="0"/>
                    <a:pt x="89821" y="0"/>
                  </a:cubicBezTo>
                  <a:cubicBezTo>
                    <a:pt x="104108" y="0"/>
                    <a:pt x="118491" y="2286"/>
                    <a:pt x="133160" y="6953"/>
                  </a:cubicBezTo>
                  <a:cubicBezTo>
                    <a:pt x="147733" y="11621"/>
                    <a:pt x="160972" y="17717"/>
                    <a:pt x="172879" y="25527"/>
                  </a:cubicBezTo>
                  <a:lnTo>
                    <a:pt x="157258" y="51435"/>
                  </a:lnTo>
                  <a:cubicBezTo>
                    <a:pt x="146495" y="44577"/>
                    <a:pt x="135350" y="39148"/>
                    <a:pt x="123539" y="35147"/>
                  </a:cubicBezTo>
                  <a:cubicBezTo>
                    <a:pt x="111824" y="31147"/>
                    <a:pt x="100298" y="29146"/>
                    <a:pt x="88963" y="29146"/>
                  </a:cubicBezTo>
                  <a:cubicBezTo>
                    <a:pt x="75247" y="29146"/>
                    <a:pt x="64389" y="32385"/>
                    <a:pt x="56388" y="38767"/>
                  </a:cubicBezTo>
                  <a:cubicBezTo>
                    <a:pt x="48387" y="45149"/>
                    <a:pt x="44291" y="53150"/>
                    <a:pt x="44291" y="62675"/>
                  </a:cubicBezTo>
                  <a:lnTo>
                    <a:pt x="44291" y="63627"/>
                  </a:lnTo>
                  <a:cubicBezTo>
                    <a:pt x="44291" y="68961"/>
                    <a:pt x="45911" y="73628"/>
                    <a:pt x="49244" y="77724"/>
                  </a:cubicBezTo>
                  <a:cubicBezTo>
                    <a:pt x="52483" y="81725"/>
                    <a:pt x="56960" y="85249"/>
                    <a:pt x="62389" y="88202"/>
                  </a:cubicBezTo>
                  <a:cubicBezTo>
                    <a:pt x="67913" y="91154"/>
                    <a:pt x="74200" y="93821"/>
                    <a:pt x="81344" y="96203"/>
                  </a:cubicBezTo>
                  <a:cubicBezTo>
                    <a:pt x="88487" y="98584"/>
                    <a:pt x="95917" y="100965"/>
                    <a:pt x="103632" y="103346"/>
                  </a:cubicBezTo>
                  <a:cubicBezTo>
                    <a:pt x="112586" y="106013"/>
                    <a:pt x="121444" y="108966"/>
                    <a:pt x="130207" y="112300"/>
                  </a:cubicBezTo>
                  <a:cubicBezTo>
                    <a:pt x="138970" y="115538"/>
                    <a:pt x="146971" y="119729"/>
                    <a:pt x="154114" y="124778"/>
                  </a:cubicBezTo>
                  <a:cubicBezTo>
                    <a:pt x="161258" y="129826"/>
                    <a:pt x="166973" y="135922"/>
                    <a:pt x="171260" y="143066"/>
                  </a:cubicBezTo>
                  <a:cubicBezTo>
                    <a:pt x="175546" y="150209"/>
                    <a:pt x="177737" y="158972"/>
                    <a:pt x="177737" y="169450"/>
                  </a:cubicBezTo>
                  <a:lnTo>
                    <a:pt x="177737" y="170307"/>
                  </a:lnTo>
                  <a:cubicBezTo>
                    <a:pt x="177737" y="181356"/>
                    <a:pt x="175546" y="191071"/>
                    <a:pt x="171260" y="199549"/>
                  </a:cubicBezTo>
                  <a:cubicBezTo>
                    <a:pt x="166973" y="208026"/>
                    <a:pt x="161163" y="215265"/>
                    <a:pt x="153829" y="221171"/>
                  </a:cubicBezTo>
                  <a:cubicBezTo>
                    <a:pt x="146495" y="227171"/>
                    <a:pt x="137922" y="231648"/>
                    <a:pt x="127921" y="234791"/>
                  </a:cubicBezTo>
                  <a:cubicBezTo>
                    <a:pt x="117920" y="237935"/>
                    <a:pt x="107156" y="239459"/>
                    <a:pt x="95536" y="239459"/>
                  </a:cubicBezTo>
                  <a:close/>
                </a:path>
              </a:pathLst>
            </a:custGeom>
            <a:solidFill>
              <a:srgbClr val="44505E"/>
            </a:solidFill>
            <a:ln w="9525" cap="flat">
              <a:noFill/>
              <a:prstDash val="solid"/>
              <a:miter/>
            </a:ln>
          </p:spPr>
          <p:txBody>
            <a:bodyPr rtlCol="0" anchor="ctr"/>
            <a:lstStyle/>
            <a:p>
              <a:endParaRPr lang="pt-BR" noProof="0"/>
            </a:p>
          </p:txBody>
        </p:sp>
        <p:sp>
          <p:nvSpPr>
            <p:cNvPr id="45" name="Freeform: Shape 44">
              <a:extLst>
                <a:ext uri="{FF2B5EF4-FFF2-40B4-BE49-F238E27FC236}">
                  <a16:creationId xmlns:a16="http://schemas.microsoft.com/office/drawing/2014/main" id="{900B026A-EF04-2FC7-1EC3-98775A929D2B}"/>
                </a:ext>
              </a:extLst>
            </p:cNvPr>
            <p:cNvSpPr/>
            <p:nvPr/>
          </p:nvSpPr>
          <p:spPr>
            <a:xfrm>
              <a:off x="605122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4 w 202977"/>
                <a:gd name="connsiteY30" fmla="*/ 174593 h 239267"/>
                <a:gd name="connsiteX31" fmla="*/ 169735 w 202977"/>
                <a:gd name="connsiteY31" fmla="*/ 149447 h 239267"/>
                <a:gd name="connsiteX32" fmla="*/ 169735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0" y="90964"/>
                    <a:pt x="98584" y="90964"/>
                  </a:cubicBezTo>
                  <a:cubicBezTo>
                    <a:pt x="113157" y="90964"/>
                    <a:pt x="126301"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1" y="33147"/>
                    <a:pt x="63436" y="36100"/>
                  </a:cubicBezTo>
                  <a:cubicBezTo>
                    <a:pt x="52292" y="39053"/>
                    <a:pt x="41338" y="43053"/>
                    <a:pt x="30671" y="48196"/>
                  </a:cubicBezTo>
                  <a:lnTo>
                    <a:pt x="20383" y="19907"/>
                  </a:lnTo>
                  <a:cubicBezTo>
                    <a:pt x="33147" y="13906"/>
                    <a:pt x="46101" y="9049"/>
                    <a:pt x="59246" y="5429"/>
                  </a:cubicBezTo>
                  <a:cubicBezTo>
                    <a:pt x="72295"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1" y="239173"/>
                  </a:cubicBezTo>
                  <a:close/>
                  <a:moveTo>
                    <a:pt x="93154" y="211169"/>
                  </a:moveTo>
                  <a:cubicBezTo>
                    <a:pt x="103822" y="211169"/>
                    <a:pt x="113728" y="209740"/>
                    <a:pt x="122967" y="206788"/>
                  </a:cubicBezTo>
                  <a:cubicBezTo>
                    <a:pt x="132207" y="203835"/>
                    <a:pt x="140208" y="199644"/>
                    <a:pt x="147256" y="194120"/>
                  </a:cubicBezTo>
                  <a:cubicBezTo>
                    <a:pt x="154209" y="188595"/>
                    <a:pt x="159734" y="182118"/>
                    <a:pt x="163734" y="174593"/>
                  </a:cubicBezTo>
                  <a:cubicBezTo>
                    <a:pt x="167735" y="167068"/>
                    <a:pt x="169735" y="158687"/>
                    <a:pt x="169735" y="149447"/>
                  </a:cubicBezTo>
                  <a:lnTo>
                    <a:pt x="169735" y="128111"/>
                  </a:lnTo>
                  <a:cubicBezTo>
                    <a:pt x="161163" y="125730"/>
                    <a:pt x="151352" y="123539"/>
                    <a:pt x="140398" y="121444"/>
                  </a:cubicBezTo>
                  <a:cubicBezTo>
                    <a:pt x="129445" y="119348"/>
                    <a:pt x="116872"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46" name="Freeform: Shape 45">
              <a:extLst>
                <a:ext uri="{FF2B5EF4-FFF2-40B4-BE49-F238E27FC236}">
                  <a16:creationId xmlns:a16="http://schemas.microsoft.com/office/drawing/2014/main" id="{900B4BC6-8977-A413-D87B-E5F949E387CD}"/>
                </a:ext>
              </a:extLst>
            </p:cNvPr>
            <p:cNvSpPr/>
            <p:nvPr/>
          </p:nvSpPr>
          <p:spPr>
            <a:xfrm>
              <a:off x="6121359" y="901377"/>
              <a:ext cx="8644" cy="81913"/>
            </a:xfrm>
            <a:custGeom>
              <a:avLst/>
              <a:gdLst>
                <a:gd name="connsiteX0" fmla="*/ 0 w 34385"/>
                <a:gd name="connsiteY0" fmla="*/ 0 h 325850"/>
                <a:gd name="connsiteX1" fmla="*/ 34385 w 34385"/>
                <a:gd name="connsiteY1" fmla="*/ 0 h 325850"/>
                <a:gd name="connsiteX2" fmla="*/ 34385 w 34385"/>
                <a:gd name="connsiteY2" fmla="*/ 325850 h 325850"/>
                <a:gd name="connsiteX3" fmla="*/ 0 w 34385"/>
                <a:gd name="connsiteY3" fmla="*/ 325850 h 325850"/>
                <a:gd name="connsiteX4" fmla="*/ 0 w 34385"/>
                <a:gd name="connsiteY4" fmla="*/ 0 h 32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 h="325850">
                  <a:moveTo>
                    <a:pt x="0" y="0"/>
                  </a:moveTo>
                  <a:lnTo>
                    <a:pt x="34385" y="0"/>
                  </a:lnTo>
                  <a:lnTo>
                    <a:pt x="34385" y="325850"/>
                  </a:lnTo>
                  <a:lnTo>
                    <a:pt x="0" y="325850"/>
                  </a:lnTo>
                  <a:lnTo>
                    <a:pt x="0" y="0"/>
                  </a:lnTo>
                  <a:close/>
                </a:path>
              </a:pathLst>
            </a:custGeom>
            <a:solidFill>
              <a:srgbClr val="44505E"/>
            </a:solidFill>
            <a:ln w="9525" cap="flat">
              <a:noFill/>
              <a:prstDash val="solid"/>
              <a:miter/>
            </a:ln>
          </p:spPr>
          <p:txBody>
            <a:bodyPr rtlCol="0" anchor="ctr"/>
            <a:lstStyle/>
            <a:p>
              <a:endParaRPr lang="pt-BR" noProof="0"/>
            </a:p>
          </p:txBody>
        </p:sp>
        <p:sp>
          <p:nvSpPr>
            <p:cNvPr id="47" name="Freeform: Shape 46">
              <a:extLst>
                <a:ext uri="{FF2B5EF4-FFF2-40B4-BE49-F238E27FC236}">
                  <a16:creationId xmlns:a16="http://schemas.microsoft.com/office/drawing/2014/main" id="{9C3AA59D-E09D-5CFC-F82D-7DB0D6C53001}"/>
                </a:ext>
              </a:extLst>
            </p:cNvPr>
            <p:cNvSpPr/>
            <p:nvPr/>
          </p:nvSpPr>
          <p:spPr>
            <a:xfrm>
              <a:off x="6144346" y="925273"/>
              <a:ext cx="58016" cy="58448"/>
            </a:xfrm>
            <a:custGeom>
              <a:avLst/>
              <a:gdLst>
                <a:gd name="connsiteX0" fmla="*/ 95 w 230790"/>
                <a:gd name="connsiteY0" fmla="*/ 0 h 232505"/>
                <a:gd name="connsiteX1" fmla="*/ 38005 w 230790"/>
                <a:gd name="connsiteY1" fmla="*/ 0 h 232505"/>
                <a:gd name="connsiteX2" fmla="*/ 115634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4"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48" name="Freeform: Shape 47">
              <a:extLst>
                <a:ext uri="{FF2B5EF4-FFF2-40B4-BE49-F238E27FC236}">
                  <a16:creationId xmlns:a16="http://schemas.microsoft.com/office/drawing/2014/main" id="{5FE2373B-3911-D7DE-508D-C0535A7E9AF7}"/>
                </a:ext>
              </a:extLst>
            </p:cNvPr>
            <p:cNvSpPr/>
            <p:nvPr/>
          </p:nvSpPr>
          <p:spPr>
            <a:xfrm>
              <a:off x="621155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8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338 w 202977"/>
                <a:gd name="connsiteY36" fmla="*/ 164497 h 239267"/>
                <a:gd name="connsiteX37" fmla="*/ 35338 w 202977"/>
                <a:gd name="connsiteY37" fmla="*/ 165449 h 239267"/>
                <a:gd name="connsiteX38" fmla="*/ 40005 w 202977"/>
                <a:gd name="connsiteY38" fmla="*/ 184785 h 239267"/>
                <a:gd name="connsiteX39" fmla="*/ 52673 w 202977"/>
                <a:gd name="connsiteY39" fmla="*/ 199263 h 239267"/>
                <a:gd name="connsiteX40" fmla="*/ 71152 w 202977"/>
                <a:gd name="connsiteY40" fmla="*/ 208121 h 239267"/>
                <a:gd name="connsiteX41" fmla="*/ 93154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438" y="239268"/>
                    <a:pt x="64961"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1" y="90964"/>
                    <a:pt x="98584" y="90964"/>
                  </a:cubicBezTo>
                  <a:cubicBezTo>
                    <a:pt x="113157" y="90964"/>
                    <a:pt x="126302" y="91821"/>
                    <a:pt x="137160" y="93631"/>
                  </a:cubicBezTo>
                  <a:cubicBezTo>
                    <a:pt x="148019" y="95440"/>
                    <a:pt x="158687" y="97822"/>
                    <a:pt x="169069" y="100774"/>
                  </a:cubicBezTo>
                  <a:lnTo>
                    <a:pt x="169069" y="93726"/>
                  </a:lnTo>
                  <a:cubicBezTo>
                    <a:pt x="169069" y="73342"/>
                    <a:pt x="163068" y="57912"/>
                    <a:pt x="151162" y="47339"/>
                  </a:cubicBezTo>
                  <a:cubicBezTo>
                    <a:pt x="139255" y="36862"/>
                    <a:pt x="122491" y="31623"/>
                    <a:pt x="100679" y="31623"/>
                  </a:cubicBezTo>
                  <a:cubicBezTo>
                    <a:pt x="86963" y="31623"/>
                    <a:pt x="74581" y="33147"/>
                    <a:pt x="63437" y="36100"/>
                  </a:cubicBezTo>
                  <a:cubicBezTo>
                    <a:pt x="52292" y="39053"/>
                    <a:pt x="41338" y="43053"/>
                    <a:pt x="30671" y="48196"/>
                  </a:cubicBezTo>
                  <a:lnTo>
                    <a:pt x="20383" y="19907"/>
                  </a:lnTo>
                  <a:cubicBezTo>
                    <a:pt x="33147" y="13906"/>
                    <a:pt x="46101" y="9049"/>
                    <a:pt x="59246" y="5429"/>
                  </a:cubicBezTo>
                  <a:cubicBezTo>
                    <a:pt x="72390"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04" y="239173"/>
                    <a:pt x="86011" y="239173"/>
                  </a:cubicBezTo>
                  <a:close/>
                  <a:moveTo>
                    <a:pt x="93154" y="211169"/>
                  </a:moveTo>
                  <a:cubicBezTo>
                    <a:pt x="103822" y="211169"/>
                    <a:pt x="113824" y="209740"/>
                    <a:pt x="122968" y="206788"/>
                  </a:cubicBezTo>
                  <a:cubicBezTo>
                    <a:pt x="132112"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5" y="119348"/>
                    <a:pt x="116777" y="118300"/>
                    <a:pt x="102584" y="118300"/>
                  </a:cubicBezTo>
                  <a:cubicBezTo>
                    <a:pt x="81248" y="118300"/>
                    <a:pt x="64675" y="122491"/>
                    <a:pt x="52959" y="130969"/>
                  </a:cubicBezTo>
                  <a:cubicBezTo>
                    <a:pt x="41243" y="139446"/>
                    <a:pt x="35338" y="150590"/>
                    <a:pt x="35338" y="164497"/>
                  </a:cubicBezTo>
                  <a:lnTo>
                    <a:pt x="35338" y="165449"/>
                  </a:lnTo>
                  <a:cubicBezTo>
                    <a:pt x="35338" y="172498"/>
                    <a:pt x="36862" y="178975"/>
                    <a:pt x="40005" y="184785"/>
                  </a:cubicBezTo>
                  <a:cubicBezTo>
                    <a:pt x="43148" y="190500"/>
                    <a:pt x="47339" y="195358"/>
                    <a:pt x="52673" y="199263"/>
                  </a:cubicBezTo>
                  <a:cubicBezTo>
                    <a:pt x="58007" y="203073"/>
                    <a:pt x="64198" y="206026"/>
                    <a:pt x="71152" y="208121"/>
                  </a:cubicBezTo>
                  <a:cubicBezTo>
                    <a:pt x="78105" y="210217"/>
                    <a:pt x="85439" y="211169"/>
                    <a:pt x="93154" y="211169"/>
                  </a:cubicBezTo>
                  <a:close/>
                </a:path>
              </a:pathLst>
            </a:custGeom>
            <a:solidFill>
              <a:srgbClr val="44505E"/>
            </a:solidFill>
            <a:ln w="9525" cap="flat">
              <a:noFill/>
              <a:prstDash val="solid"/>
              <a:miter/>
            </a:ln>
          </p:spPr>
          <p:txBody>
            <a:bodyPr rtlCol="0" anchor="ctr"/>
            <a:lstStyle/>
            <a:p>
              <a:endParaRPr lang="pt-BR" noProof="0"/>
            </a:p>
          </p:txBody>
        </p:sp>
        <p:sp>
          <p:nvSpPr>
            <p:cNvPr id="49" name="Freeform: Shape 48">
              <a:extLst>
                <a:ext uri="{FF2B5EF4-FFF2-40B4-BE49-F238E27FC236}">
                  <a16:creationId xmlns:a16="http://schemas.microsoft.com/office/drawing/2014/main" id="{79E7687F-CFB6-E39C-BF7F-E5A40EC0CF8D}"/>
                </a:ext>
              </a:extLst>
            </p:cNvPr>
            <p:cNvSpPr/>
            <p:nvPr/>
          </p:nvSpPr>
          <p:spPr>
            <a:xfrm>
              <a:off x="6280899" y="923980"/>
              <a:ext cx="87995" cy="59238"/>
            </a:xfrm>
            <a:custGeom>
              <a:avLst/>
              <a:gdLst>
                <a:gd name="connsiteX0" fmla="*/ 0 w 350043"/>
                <a:gd name="connsiteY0" fmla="*/ 5144 h 235648"/>
                <a:gd name="connsiteX1" fmla="*/ 34385 w 350043"/>
                <a:gd name="connsiteY1" fmla="*/ 5144 h 235648"/>
                <a:gd name="connsiteX2" fmla="*/ 34385 w 350043"/>
                <a:gd name="connsiteY2" fmla="*/ 44005 h 235648"/>
                <a:gd name="connsiteX3" fmla="*/ 47149 w 350043"/>
                <a:gd name="connsiteY3" fmla="*/ 27432 h 235648"/>
                <a:gd name="connsiteX4" fmla="*/ 62960 w 350043"/>
                <a:gd name="connsiteY4" fmla="*/ 13335 h 235648"/>
                <a:gd name="connsiteX5" fmla="*/ 83058 w 350043"/>
                <a:gd name="connsiteY5" fmla="*/ 3715 h 235648"/>
                <a:gd name="connsiteX6" fmla="*/ 108966 w 350043"/>
                <a:gd name="connsiteY6" fmla="*/ 95 h 235648"/>
                <a:gd name="connsiteX7" fmla="*/ 155448 w 350043"/>
                <a:gd name="connsiteY7" fmla="*/ 13240 h 235648"/>
                <a:gd name="connsiteX8" fmla="*/ 183166 w 350043"/>
                <a:gd name="connsiteY8" fmla="*/ 46006 h 235648"/>
                <a:gd name="connsiteX9" fmla="*/ 197168 w 350043"/>
                <a:gd name="connsiteY9" fmla="*/ 28194 h 235648"/>
                <a:gd name="connsiteX10" fmla="*/ 214789 w 350043"/>
                <a:gd name="connsiteY10" fmla="*/ 13430 h 235648"/>
                <a:gd name="connsiteX11" fmla="*/ 236887 w 350043"/>
                <a:gd name="connsiteY11" fmla="*/ 3620 h 235648"/>
                <a:gd name="connsiteX12" fmla="*/ 264319 w 350043"/>
                <a:gd name="connsiteY12" fmla="*/ 0 h 235648"/>
                <a:gd name="connsiteX13" fmla="*/ 327279 w 350043"/>
                <a:gd name="connsiteY13" fmla="*/ 24765 h 235648"/>
                <a:gd name="connsiteX14" fmla="*/ 350044 w 350043"/>
                <a:gd name="connsiteY14" fmla="*/ 92773 h 235648"/>
                <a:gd name="connsiteX15" fmla="*/ 350044 w 350043"/>
                <a:gd name="connsiteY15" fmla="*/ 235648 h 235648"/>
                <a:gd name="connsiteX16" fmla="*/ 315659 w 350043"/>
                <a:gd name="connsiteY16" fmla="*/ 235648 h 235648"/>
                <a:gd name="connsiteX17" fmla="*/ 315659 w 350043"/>
                <a:gd name="connsiteY17" fmla="*/ 101155 h 235648"/>
                <a:gd name="connsiteX18" fmla="*/ 299847 w 350043"/>
                <a:gd name="connsiteY18" fmla="*/ 49721 h 235648"/>
                <a:gd name="connsiteX19" fmla="*/ 255937 w 350043"/>
                <a:gd name="connsiteY19" fmla="*/ 31718 h 235648"/>
                <a:gd name="connsiteX20" fmla="*/ 231362 w 350043"/>
                <a:gd name="connsiteY20" fmla="*/ 36386 h 235648"/>
                <a:gd name="connsiteX21" fmla="*/ 211074 w 350043"/>
                <a:gd name="connsiteY21" fmla="*/ 50197 h 235648"/>
                <a:gd name="connsiteX22" fmla="*/ 197263 w 350043"/>
                <a:gd name="connsiteY22" fmla="*/ 72676 h 235648"/>
                <a:gd name="connsiteX23" fmla="*/ 192119 w 350043"/>
                <a:gd name="connsiteY23" fmla="*/ 102965 h 235648"/>
                <a:gd name="connsiteX24" fmla="*/ 192119 w 350043"/>
                <a:gd name="connsiteY24" fmla="*/ 235648 h 235648"/>
                <a:gd name="connsiteX25" fmla="*/ 158210 w 350043"/>
                <a:gd name="connsiteY25" fmla="*/ 235648 h 235648"/>
                <a:gd name="connsiteX26" fmla="*/ 158210 w 350043"/>
                <a:gd name="connsiteY26" fmla="*/ 100298 h 235648"/>
                <a:gd name="connsiteX27" fmla="*/ 142399 w 350043"/>
                <a:gd name="connsiteY27" fmla="*/ 49721 h 235648"/>
                <a:gd name="connsiteX28" fmla="*/ 98870 w 350043"/>
                <a:gd name="connsiteY28" fmla="*/ 31718 h 235648"/>
                <a:gd name="connsiteX29" fmla="*/ 73438 w 350043"/>
                <a:gd name="connsiteY29" fmla="*/ 37052 h 235648"/>
                <a:gd name="connsiteX30" fmla="*/ 53150 w 350043"/>
                <a:gd name="connsiteY30" fmla="*/ 52197 h 235648"/>
                <a:gd name="connsiteX31" fmla="*/ 39529 w 350043"/>
                <a:gd name="connsiteY31" fmla="*/ 75152 h 235648"/>
                <a:gd name="connsiteX32" fmla="*/ 34576 w 350043"/>
                <a:gd name="connsiteY32" fmla="*/ 104299 h 235648"/>
                <a:gd name="connsiteX33" fmla="*/ 34576 w 350043"/>
                <a:gd name="connsiteY33" fmla="*/ 235648 h 235648"/>
                <a:gd name="connsiteX34" fmla="*/ 190 w 350043"/>
                <a:gd name="connsiteY34" fmla="*/ 235648 h 235648"/>
                <a:gd name="connsiteX35" fmla="*/ 190 w 350043"/>
                <a:gd name="connsiteY35" fmla="*/ 485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0043" h="235648">
                  <a:moveTo>
                    <a:pt x="0" y="5144"/>
                  </a:moveTo>
                  <a:lnTo>
                    <a:pt x="34385" y="5144"/>
                  </a:lnTo>
                  <a:lnTo>
                    <a:pt x="34385" y="44005"/>
                  </a:lnTo>
                  <a:cubicBezTo>
                    <a:pt x="38290" y="38386"/>
                    <a:pt x="42481" y="32861"/>
                    <a:pt x="47149" y="27432"/>
                  </a:cubicBezTo>
                  <a:cubicBezTo>
                    <a:pt x="51721" y="22098"/>
                    <a:pt x="57055" y="17431"/>
                    <a:pt x="62960" y="13335"/>
                  </a:cubicBezTo>
                  <a:cubicBezTo>
                    <a:pt x="68866" y="9335"/>
                    <a:pt x="75629" y="6096"/>
                    <a:pt x="83058" y="3715"/>
                  </a:cubicBezTo>
                  <a:cubicBezTo>
                    <a:pt x="90488" y="1334"/>
                    <a:pt x="99155" y="95"/>
                    <a:pt x="108966" y="95"/>
                  </a:cubicBezTo>
                  <a:cubicBezTo>
                    <a:pt x="127730" y="95"/>
                    <a:pt x="143161" y="4477"/>
                    <a:pt x="155448" y="13240"/>
                  </a:cubicBezTo>
                  <a:cubicBezTo>
                    <a:pt x="167640" y="22003"/>
                    <a:pt x="176879" y="32956"/>
                    <a:pt x="183166" y="46006"/>
                  </a:cubicBezTo>
                  <a:cubicBezTo>
                    <a:pt x="187357" y="39719"/>
                    <a:pt x="192024" y="33814"/>
                    <a:pt x="197168" y="28194"/>
                  </a:cubicBezTo>
                  <a:cubicBezTo>
                    <a:pt x="202406" y="22574"/>
                    <a:pt x="208217" y="17621"/>
                    <a:pt x="214789" y="13430"/>
                  </a:cubicBezTo>
                  <a:cubicBezTo>
                    <a:pt x="221361" y="9239"/>
                    <a:pt x="228695" y="6001"/>
                    <a:pt x="236887" y="3620"/>
                  </a:cubicBezTo>
                  <a:cubicBezTo>
                    <a:pt x="245078" y="1238"/>
                    <a:pt x="254222" y="0"/>
                    <a:pt x="264319" y="0"/>
                  </a:cubicBezTo>
                  <a:cubicBezTo>
                    <a:pt x="291084" y="0"/>
                    <a:pt x="312039" y="8287"/>
                    <a:pt x="327279" y="24765"/>
                  </a:cubicBezTo>
                  <a:cubicBezTo>
                    <a:pt x="342519" y="41243"/>
                    <a:pt x="350044" y="63913"/>
                    <a:pt x="350044" y="92773"/>
                  </a:cubicBezTo>
                  <a:lnTo>
                    <a:pt x="350044" y="235648"/>
                  </a:lnTo>
                  <a:lnTo>
                    <a:pt x="315659" y="235648"/>
                  </a:lnTo>
                  <a:lnTo>
                    <a:pt x="315659" y="101155"/>
                  </a:lnTo>
                  <a:cubicBezTo>
                    <a:pt x="315659" y="78867"/>
                    <a:pt x="310420" y="61722"/>
                    <a:pt x="299847" y="49721"/>
                  </a:cubicBezTo>
                  <a:cubicBezTo>
                    <a:pt x="289274" y="37719"/>
                    <a:pt x="274606" y="31718"/>
                    <a:pt x="255937" y="31718"/>
                  </a:cubicBezTo>
                  <a:cubicBezTo>
                    <a:pt x="247269" y="31718"/>
                    <a:pt x="239078" y="33242"/>
                    <a:pt x="231362" y="36386"/>
                  </a:cubicBezTo>
                  <a:cubicBezTo>
                    <a:pt x="223647" y="39529"/>
                    <a:pt x="216884" y="44101"/>
                    <a:pt x="211074" y="50197"/>
                  </a:cubicBezTo>
                  <a:cubicBezTo>
                    <a:pt x="205264" y="56293"/>
                    <a:pt x="200692" y="63818"/>
                    <a:pt x="197263" y="72676"/>
                  </a:cubicBezTo>
                  <a:cubicBezTo>
                    <a:pt x="193834" y="81629"/>
                    <a:pt x="192119" y="91726"/>
                    <a:pt x="192119" y="102965"/>
                  </a:cubicBezTo>
                  <a:lnTo>
                    <a:pt x="192119" y="235648"/>
                  </a:lnTo>
                  <a:lnTo>
                    <a:pt x="158210" y="235648"/>
                  </a:lnTo>
                  <a:lnTo>
                    <a:pt x="158210" y="100298"/>
                  </a:lnTo>
                  <a:cubicBezTo>
                    <a:pt x="158210" y="78677"/>
                    <a:pt x="152971" y="61817"/>
                    <a:pt x="142399" y="49721"/>
                  </a:cubicBezTo>
                  <a:cubicBezTo>
                    <a:pt x="131826" y="37719"/>
                    <a:pt x="117348" y="31718"/>
                    <a:pt x="98870" y="31718"/>
                  </a:cubicBezTo>
                  <a:cubicBezTo>
                    <a:pt x="89630" y="31718"/>
                    <a:pt x="81153" y="33528"/>
                    <a:pt x="73438" y="37052"/>
                  </a:cubicBezTo>
                  <a:cubicBezTo>
                    <a:pt x="65722" y="40672"/>
                    <a:pt x="58960" y="45720"/>
                    <a:pt x="53150" y="52197"/>
                  </a:cubicBezTo>
                  <a:cubicBezTo>
                    <a:pt x="47339" y="58769"/>
                    <a:pt x="42767" y="66389"/>
                    <a:pt x="39529" y="75152"/>
                  </a:cubicBezTo>
                  <a:cubicBezTo>
                    <a:pt x="36290" y="83915"/>
                    <a:pt x="34576" y="93631"/>
                    <a:pt x="34576" y="104299"/>
                  </a:cubicBezTo>
                  <a:lnTo>
                    <a:pt x="34576" y="235648"/>
                  </a:lnTo>
                  <a:lnTo>
                    <a:pt x="190" y="235648"/>
                  </a:lnTo>
                  <a:lnTo>
                    <a:pt x="190" y="4858"/>
                  </a:lnTo>
                  <a:close/>
                </a:path>
              </a:pathLst>
            </a:custGeom>
            <a:solidFill>
              <a:srgbClr val="44505E"/>
            </a:solidFill>
            <a:ln w="9525" cap="flat">
              <a:noFill/>
              <a:prstDash val="solid"/>
              <a:miter/>
            </a:ln>
          </p:spPr>
          <p:txBody>
            <a:bodyPr rtlCol="0" anchor="ctr"/>
            <a:lstStyle/>
            <a:p>
              <a:endParaRPr lang="pt-BR" noProof="0"/>
            </a:p>
          </p:txBody>
        </p:sp>
        <p:sp>
          <p:nvSpPr>
            <p:cNvPr id="50" name="Freeform: Shape 49">
              <a:extLst>
                <a:ext uri="{FF2B5EF4-FFF2-40B4-BE49-F238E27FC236}">
                  <a16:creationId xmlns:a16="http://schemas.microsoft.com/office/drawing/2014/main" id="{F1E8ED3A-0933-EF65-5112-AF9E7D8A5879}"/>
                </a:ext>
              </a:extLst>
            </p:cNvPr>
            <p:cNvSpPr/>
            <p:nvPr/>
          </p:nvSpPr>
          <p:spPr>
            <a:xfrm>
              <a:off x="6415537" y="925273"/>
              <a:ext cx="58016" cy="58448"/>
            </a:xfrm>
            <a:custGeom>
              <a:avLst/>
              <a:gdLst>
                <a:gd name="connsiteX0" fmla="*/ 95 w 230790"/>
                <a:gd name="connsiteY0" fmla="*/ 0 h 232505"/>
                <a:gd name="connsiteX1" fmla="*/ 38005 w 230790"/>
                <a:gd name="connsiteY1" fmla="*/ 0 h 232505"/>
                <a:gd name="connsiteX2" fmla="*/ 115633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3"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51" name="Freeform: Shape 50">
              <a:extLst>
                <a:ext uri="{FF2B5EF4-FFF2-40B4-BE49-F238E27FC236}">
                  <a16:creationId xmlns:a16="http://schemas.microsoft.com/office/drawing/2014/main" id="{C084329B-F2BB-B4AD-97DF-678D3DE7DCCA}"/>
                </a:ext>
              </a:extLst>
            </p:cNvPr>
            <p:cNvSpPr/>
            <p:nvPr/>
          </p:nvSpPr>
          <p:spPr>
            <a:xfrm>
              <a:off x="6487369"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286 w 39242"/>
                <a:gd name="connsiteY5" fmla="*/ 88392 h 319182"/>
                <a:gd name="connsiteX6" fmla="*/ 36671 w 39242"/>
                <a:gd name="connsiteY6" fmla="*/ 88392 h 319182"/>
                <a:gd name="connsiteX7" fmla="*/ 36671 w 39242"/>
                <a:gd name="connsiteY7" fmla="*/ 319183 h 319182"/>
                <a:gd name="connsiteX8" fmla="*/ 2286 w 39242"/>
                <a:gd name="connsiteY8" fmla="*/ 319183 h 319182"/>
                <a:gd name="connsiteX9" fmla="*/ 2286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286" y="88392"/>
                  </a:moveTo>
                  <a:lnTo>
                    <a:pt x="36671" y="88392"/>
                  </a:lnTo>
                  <a:lnTo>
                    <a:pt x="36671" y="319183"/>
                  </a:lnTo>
                  <a:lnTo>
                    <a:pt x="2286" y="319183"/>
                  </a:lnTo>
                  <a:lnTo>
                    <a:pt x="2286" y="88392"/>
                  </a:lnTo>
                  <a:close/>
                </a:path>
              </a:pathLst>
            </a:custGeom>
            <a:solidFill>
              <a:srgbClr val="44505E"/>
            </a:solidFill>
            <a:ln w="9525" cap="flat">
              <a:noFill/>
              <a:prstDash val="solid"/>
              <a:miter/>
            </a:ln>
          </p:spPr>
          <p:txBody>
            <a:bodyPr rtlCol="0" anchor="ctr"/>
            <a:lstStyle/>
            <a:p>
              <a:endParaRPr lang="pt-BR" noProof="0"/>
            </a:p>
          </p:txBody>
        </p:sp>
        <p:sp>
          <p:nvSpPr>
            <p:cNvPr id="52" name="Freeform: Shape 51">
              <a:extLst>
                <a:ext uri="{FF2B5EF4-FFF2-40B4-BE49-F238E27FC236}">
                  <a16:creationId xmlns:a16="http://schemas.microsoft.com/office/drawing/2014/main" id="{44D9900D-A20F-74B9-6D33-C5AC9246AB67}"/>
                </a:ext>
              </a:extLst>
            </p:cNvPr>
            <p:cNvSpPr/>
            <p:nvPr/>
          </p:nvSpPr>
          <p:spPr>
            <a:xfrm>
              <a:off x="6513253" y="901353"/>
              <a:ext cx="58615" cy="83182"/>
            </a:xfrm>
            <a:custGeom>
              <a:avLst/>
              <a:gdLst>
                <a:gd name="connsiteX0" fmla="*/ 110394 w 233171"/>
                <a:gd name="connsiteY0" fmla="*/ 330898 h 330898"/>
                <a:gd name="connsiteX1" fmla="*/ 69723 w 233171"/>
                <a:gd name="connsiteY1" fmla="*/ 322897 h 330898"/>
                <a:gd name="connsiteX2" fmla="*/ 34480 w 233171"/>
                <a:gd name="connsiteY2" fmla="*/ 299466 h 330898"/>
                <a:gd name="connsiteX3" fmla="*/ 9430 w 233171"/>
                <a:gd name="connsiteY3" fmla="*/ 261938 h 330898"/>
                <a:gd name="connsiteX4" fmla="*/ 0 w 233171"/>
                <a:gd name="connsiteY4" fmla="*/ 211264 h 330898"/>
                <a:gd name="connsiteX5" fmla="*/ 0 w 233171"/>
                <a:gd name="connsiteY5" fmla="*/ 210407 h 330898"/>
                <a:gd name="connsiteX6" fmla="*/ 9430 w 233171"/>
                <a:gd name="connsiteY6" fmla="*/ 159925 h 330898"/>
                <a:gd name="connsiteX7" fmla="*/ 34480 w 233171"/>
                <a:gd name="connsiteY7" fmla="*/ 122206 h 330898"/>
                <a:gd name="connsiteX8" fmla="*/ 69723 w 233171"/>
                <a:gd name="connsiteY8" fmla="*/ 98488 h 330898"/>
                <a:gd name="connsiteX9" fmla="*/ 110394 w 233171"/>
                <a:gd name="connsiteY9" fmla="*/ 90202 h 330898"/>
                <a:gd name="connsiteX10" fmla="*/ 139827 w 233171"/>
                <a:gd name="connsiteY10" fmla="*/ 94202 h 330898"/>
                <a:gd name="connsiteX11" fmla="*/ 163925 w 233171"/>
                <a:gd name="connsiteY11" fmla="*/ 104870 h 330898"/>
                <a:gd name="connsiteX12" fmla="*/ 183356 w 233171"/>
                <a:gd name="connsiteY12" fmla="*/ 120491 h 330898"/>
                <a:gd name="connsiteX13" fmla="*/ 198787 w 233171"/>
                <a:gd name="connsiteY13" fmla="*/ 139255 h 330898"/>
                <a:gd name="connsiteX14" fmla="*/ 198787 w 233171"/>
                <a:gd name="connsiteY14" fmla="*/ 0 h 330898"/>
                <a:gd name="connsiteX15" fmla="*/ 233172 w 233171"/>
                <a:gd name="connsiteY15" fmla="*/ 0 h 330898"/>
                <a:gd name="connsiteX16" fmla="*/ 233172 w 233171"/>
                <a:gd name="connsiteY16" fmla="*/ 325850 h 330898"/>
                <a:gd name="connsiteX17" fmla="*/ 198787 w 233171"/>
                <a:gd name="connsiteY17" fmla="*/ 325850 h 330898"/>
                <a:gd name="connsiteX18" fmla="*/ 198787 w 233171"/>
                <a:gd name="connsiteY18" fmla="*/ 279463 h 330898"/>
                <a:gd name="connsiteX19" fmla="*/ 182975 w 233171"/>
                <a:gd name="connsiteY19" fmla="*/ 299085 h 330898"/>
                <a:gd name="connsiteX20" fmla="*/ 163544 w 233171"/>
                <a:gd name="connsiteY20" fmla="*/ 315658 h 330898"/>
                <a:gd name="connsiteX21" fmla="*/ 139636 w 233171"/>
                <a:gd name="connsiteY21" fmla="*/ 326803 h 330898"/>
                <a:gd name="connsiteX22" fmla="*/ 110394 w 233171"/>
                <a:gd name="connsiteY22" fmla="*/ 330803 h 330898"/>
                <a:gd name="connsiteX23" fmla="*/ 116681 w 233171"/>
                <a:gd name="connsiteY23" fmla="*/ 300133 h 330898"/>
                <a:gd name="connsiteX24" fmla="*/ 147733 w 233171"/>
                <a:gd name="connsiteY24" fmla="*/ 293656 h 330898"/>
                <a:gd name="connsiteX25" fmla="*/ 174498 w 233171"/>
                <a:gd name="connsiteY25" fmla="*/ 275368 h 330898"/>
                <a:gd name="connsiteX26" fmla="*/ 193262 w 233171"/>
                <a:gd name="connsiteY26" fmla="*/ 247269 h 330898"/>
                <a:gd name="connsiteX27" fmla="*/ 200216 w 233171"/>
                <a:gd name="connsiteY27" fmla="*/ 210883 h 330898"/>
                <a:gd name="connsiteX28" fmla="*/ 200216 w 233171"/>
                <a:gd name="connsiteY28" fmla="*/ 210026 h 330898"/>
                <a:gd name="connsiteX29" fmla="*/ 193262 w 233171"/>
                <a:gd name="connsiteY29" fmla="*/ 173641 h 330898"/>
                <a:gd name="connsiteX30" fmla="*/ 174498 w 233171"/>
                <a:gd name="connsiteY30" fmla="*/ 145732 h 330898"/>
                <a:gd name="connsiteX31" fmla="*/ 147733 w 233171"/>
                <a:gd name="connsiteY31" fmla="*/ 127635 h 330898"/>
                <a:gd name="connsiteX32" fmla="*/ 116681 w 233171"/>
                <a:gd name="connsiteY32" fmla="*/ 121158 h 330898"/>
                <a:gd name="connsiteX33" fmla="*/ 84963 w 233171"/>
                <a:gd name="connsiteY33" fmla="*/ 127159 h 330898"/>
                <a:gd name="connsiteX34" fmla="*/ 59341 w 233171"/>
                <a:gd name="connsiteY34" fmla="*/ 144589 h 330898"/>
                <a:gd name="connsiteX35" fmla="*/ 41910 w 233171"/>
                <a:gd name="connsiteY35" fmla="*/ 172498 h 330898"/>
                <a:gd name="connsiteX36" fmla="*/ 35433 w 233171"/>
                <a:gd name="connsiteY36" fmla="*/ 210026 h 330898"/>
                <a:gd name="connsiteX37" fmla="*/ 35433 w 233171"/>
                <a:gd name="connsiteY37" fmla="*/ 210883 h 330898"/>
                <a:gd name="connsiteX38" fmla="*/ 41910 w 233171"/>
                <a:gd name="connsiteY38" fmla="*/ 247936 h 330898"/>
                <a:gd name="connsiteX39" fmla="*/ 59531 w 233171"/>
                <a:gd name="connsiteY39" fmla="*/ 276034 h 330898"/>
                <a:gd name="connsiteX40" fmla="*/ 85439 w 233171"/>
                <a:gd name="connsiteY40" fmla="*/ 293941 h 330898"/>
                <a:gd name="connsiteX41" fmla="*/ 116681 w 23317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3171" h="330898">
                  <a:moveTo>
                    <a:pt x="110394" y="330898"/>
                  </a:moveTo>
                  <a:cubicBezTo>
                    <a:pt x="96393" y="330898"/>
                    <a:pt x="82868" y="328231"/>
                    <a:pt x="69723" y="322897"/>
                  </a:cubicBezTo>
                  <a:cubicBezTo>
                    <a:pt x="56674" y="317563"/>
                    <a:pt x="44863" y="309753"/>
                    <a:pt x="34480" y="299466"/>
                  </a:cubicBezTo>
                  <a:cubicBezTo>
                    <a:pt x="24003" y="289179"/>
                    <a:pt x="15716" y="276701"/>
                    <a:pt x="9430" y="261938"/>
                  </a:cubicBezTo>
                  <a:cubicBezTo>
                    <a:pt x="3143" y="247174"/>
                    <a:pt x="0" y="230314"/>
                    <a:pt x="0" y="211264"/>
                  </a:cubicBezTo>
                  <a:lnTo>
                    <a:pt x="0" y="210407"/>
                  </a:lnTo>
                  <a:cubicBezTo>
                    <a:pt x="0" y="191643"/>
                    <a:pt x="3143" y="174879"/>
                    <a:pt x="9430" y="159925"/>
                  </a:cubicBezTo>
                  <a:cubicBezTo>
                    <a:pt x="15716" y="145066"/>
                    <a:pt x="24003" y="132493"/>
                    <a:pt x="34480" y="122206"/>
                  </a:cubicBezTo>
                  <a:cubicBezTo>
                    <a:pt x="44863" y="111919"/>
                    <a:pt x="56674" y="104013"/>
                    <a:pt x="69723" y="98488"/>
                  </a:cubicBezTo>
                  <a:cubicBezTo>
                    <a:pt x="82868" y="92964"/>
                    <a:pt x="96393" y="90202"/>
                    <a:pt x="110394" y="90202"/>
                  </a:cubicBezTo>
                  <a:cubicBezTo>
                    <a:pt x="121158" y="90202"/>
                    <a:pt x="130969" y="91535"/>
                    <a:pt x="139827" y="94202"/>
                  </a:cubicBezTo>
                  <a:cubicBezTo>
                    <a:pt x="148780" y="96869"/>
                    <a:pt x="156782" y="100489"/>
                    <a:pt x="163925" y="104870"/>
                  </a:cubicBezTo>
                  <a:cubicBezTo>
                    <a:pt x="171069" y="109347"/>
                    <a:pt x="177546" y="114586"/>
                    <a:pt x="183356" y="120491"/>
                  </a:cubicBezTo>
                  <a:cubicBezTo>
                    <a:pt x="189166" y="126492"/>
                    <a:pt x="194310" y="132683"/>
                    <a:pt x="198787" y="139255"/>
                  </a:cubicBezTo>
                  <a:lnTo>
                    <a:pt x="198787" y="0"/>
                  </a:lnTo>
                  <a:lnTo>
                    <a:pt x="233172" y="0"/>
                  </a:lnTo>
                  <a:lnTo>
                    <a:pt x="233172" y="325850"/>
                  </a:lnTo>
                  <a:lnTo>
                    <a:pt x="198787" y="325850"/>
                  </a:lnTo>
                  <a:lnTo>
                    <a:pt x="198787" y="279463"/>
                  </a:lnTo>
                  <a:cubicBezTo>
                    <a:pt x="194024" y="286321"/>
                    <a:pt x="188786" y="292894"/>
                    <a:pt x="182975" y="299085"/>
                  </a:cubicBezTo>
                  <a:cubicBezTo>
                    <a:pt x="177165" y="305371"/>
                    <a:pt x="170688" y="310896"/>
                    <a:pt x="163544" y="315658"/>
                  </a:cubicBezTo>
                  <a:cubicBezTo>
                    <a:pt x="156400" y="320421"/>
                    <a:pt x="148494" y="324136"/>
                    <a:pt x="139636" y="326803"/>
                  </a:cubicBezTo>
                  <a:cubicBezTo>
                    <a:pt x="130873" y="329470"/>
                    <a:pt x="121158" y="330803"/>
                    <a:pt x="110394" y="330803"/>
                  </a:cubicBezTo>
                  <a:close/>
                  <a:moveTo>
                    <a:pt x="116681" y="300133"/>
                  </a:moveTo>
                  <a:cubicBezTo>
                    <a:pt x="127445" y="300133"/>
                    <a:pt x="137732" y="297942"/>
                    <a:pt x="147733" y="293656"/>
                  </a:cubicBezTo>
                  <a:cubicBezTo>
                    <a:pt x="157734" y="289369"/>
                    <a:pt x="166592" y="283273"/>
                    <a:pt x="174498" y="275368"/>
                  </a:cubicBezTo>
                  <a:cubicBezTo>
                    <a:pt x="182404" y="267462"/>
                    <a:pt x="188595" y="258127"/>
                    <a:pt x="193262" y="247269"/>
                  </a:cubicBezTo>
                  <a:cubicBezTo>
                    <a:pt x="197834" y="236410"/>
                    <a:pt x="200216" y="224314"/>
                    <a:pt x="200216" y="210883"/>
                  </a:cubicBezTo>
                  <a:lnTo>
                    <a:pt x="200216" y="210026"/>
                  </a:lnTo>
                  <a:cubicBezTo>
                    <a:pt x="200216" y="196596"/>
                    <a:pt x="197929" y="184499"/>
                    <a:pt x="193262" y="173641"/>
                  </a:cubicBezTo>
                  <a:cubicBezTo>
                    <a:pt x="188595" y="162782"/>
                    <a:pt x="182404" y="153448"/>
                    <a:pt x="174498" y="145732"/>
                  </a:cubicBezTo>
                  <a:cubicBezTo>
                    <a:pt x="166592" y="138017"/>
                    <a:pt x="157639" y="132016"/>
                    <a:pt x="147733" y="127635"/>
                  </a:cubicBezTo>
                  <a:cubicBezTo>
                    <a:pt x="137732" y="123349"/>
                    <a:pt x="127445" y="121158"/>
                    <a:pt x="116681" y="121158"/>
                  </a:cubicBezTo>
                  <a:cubicBezTo>
                    <a:pt x="105346" y="121158"/>
                    <a:pt x="94774" y="123158"/>
                    <a:pt x="84963" y="127159"/>
                  </a:cubicBezTo>
                  <a:cubicBezTo>
                    <a:pt x="75152" y="131159"/>
                    <a:pt x="66580" y="136969"/>
                    <a:pt x="59341" y="144589"/>
                  </a:cubicBezTo>
                  <a:cubicBezTo>
                    <a:pt x="52007" y="152114"/>
                    <a:pt x="46291" y="161449"/>
                    <a:pt x="41910" y="172498"/>
                  </a:cubicBezTo>
                  <a:cubicBezTo>
                    <a:pt x="37624" y="183451"/>
                    <a:pt x="35433" y="196024"/>
                    <a:pt x="35433" y="210026"/>
                  </a:cubicBezTo>
                  <a:lnTo>
                    <a:pt x="35433" y="210883"/>
                  </a:lnTo>
                  <a:cubicBezTo>
                    <a:pt x="35433" y="224599"/>
                    <a:pt x="37624" y="236982"/>
                    <a:pt x="41910" y="247936"/>
                  </a:cubicBezTo>
                  <a:cubicBezTo>
                    <a:pt x="46196" y="258984"/>
                    <a:pt x="52101" y="268319"/>
                    <a:pt x="59531" y="276034"/>
                  </a:cubicBezTo>
                  <a:cubicBezTo>
                    <a:pt x="66960" y="283750"/>
                    <a:pt x="75629" y="289750"/>
                    <a:pt x="85439" y="293941"/>
                  </a:cubicBezTo>
                  <a:cubicBezTo>
                    <a:pt x="95250" y="298132"/>
                    <a:pt x="105632" y="300228"/>
                    <a:pt x="116681" y="300228"/>
                  </a:cubicBezTo>
                  <a:close/>
                </a:path>
              </a:pathLst>
            </a:custGeom>
            <a:solidFill>
              <a:srgbClr val="44505E"/>
            </a:solidFill>
            <a:ln w="9525" cap="flat">
              <a:noFill/>
              <a:prstDash val="solid"/>
              <a:miter/>
            </a:ln>
          </p:spPr>
          <p:txBody>
            <a:bodyPr rtlCol="0" anchor="ctr"/>
            <a:lstStyle/>
            <a:p>
              <a:endParaRPr lang="pt-BR" noProof="0"/>
            </a:p>
          </p:txBody>
        </p:sp>
        <p:sp>
          <p:nvSpPr>
            <p:cNvPr id="53" name="Freeform: Shape 52">
              <a:extLst>
                <a:ext uri="{FF2B5EF4-FFF2-40B4-BE49-F238E27FC236}">
                  <a16:creationId xmlns:a16="http://schemas.microsoft.com/office/drawing/2014/main" id="{A4B44985-53C4-6622-DA10-361981D11E04}"/>
                </a:ext>
              </a:extLst>
            </p:cNvPr>
            <p:cNvSpPr/>
            <p:nvPr/>
          </p:nvSpPr>
          <p:spPr>
            <a:xfrm>
              <a:off x="6586762"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0 w 202977"/>
                <a:gd name="connsiteY16" fmla="*/ 48196 h 239267"/>
                <a:gd name="connsiteX17" fmla="*/ 20383 w 202977"/>
                <a:gd name="connsiteY17" fmla="*/ 19907 h 239267"/>
                <a:gd name="connsiteX18" fmla="*/ 59245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0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1"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675" y="92678"/>
                    <a:pt x="84011" y="90964"/>
                    <a:pt x="98584" y="90964"/>
                  </a:cubicBezTo>
                  <a:cubicBezTo>
                    <a:pt x="113157" y="90964"/>
                    <a:pt x="126302"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0" y="33147"/>
                    <a:pt x="63436" y="36100"/>
                  </a:cubicBezTo>
                  <a:cubicBezTo>
                    <a:pt x="52292" y="39053"/>
                    <a:pt x="41338" y="43053"/>
                    <a:pt x="30670" y="48196"/>
                  </a:cubicBezTo>
                  <a:lnTo>
                    <a:pt x="20383" y="19907"/>
                  </a:lnTo>
                  <a:cubicBezTo>
                    <a:pt x="33147" y="13906"/>
                    <a:pt x="46101" y="9049"/>
                    <a:pt x="59245" y="5429"/>
                  </a:cubicBezTo>
                  <a:cubicBezTo>
                    <a:pt x="72294" y="1810"/>
                    <a:pt x="87344" y="0"/>
                    <a:pt x="104299" y="0"/>
                  </a:cubicBezTo>
                  <a:cubicBezTo>
                    <a:pt x="137064" y="0"/>
                    <a:pt x="161925" y="8477"/>
                    <a:pt x="178879" y="25432"/>
                  </a:cubicBezTo>
                  <a:cubicBezTo>
                    <a:pt x="194976"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0" y="239173"/>
                  </a:cubicBezTo>
                  <a:close/>
                  <a:moveTo>
                    <a:pt x="93154" y="211169"/>
                  </a:moveTo>
                  <a:cubicBezTo>
                    <a:pt x="103822" y="211169"/>
                    <a:pt x="113729" y="209740"/>
                    <a:pt x="122967" y="206788"/>
                  </a:cubicBezTo>
                  <a:cubicBezTo>
                    <a:pt x="132207"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4" y="119348"/>
                    <a:pt x="116871"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54" name="Freeform: Shape 53">
              <a:extLst>
                <a:ext uri="{FF2B5EF4-FFF2-40B4-BE49-F238E27FC236}">
                  <a16:creationId xmlns:a16="http://schemas.microsoft.com/office/drawing/2014/main" id="{22A2753D-8819-83BB-22EE-567B00C856E9}"/>
                </a:ext>
              </a:extLst>
            </p:cNvPr>
            <p:cNvSpPr/>
            <p:nvPr/>
          </p:nvSpPr>
          <p:spPr>
            <a:xfrm>
              <a:off x="6651291" y="924268"/>
              <a:ext cx="44680" cy="60195"/>
            </a:xfrm>
            <a:custGeom>
              <a:avLst/>
              <a:gdLst>
                <a:gd name="connsiteX0" fmla="*/ 95535 w 177736"/>
                <a:gd name="connsiteY0" fmla="*/ 239268 h 239458"/>
                <a:gd name="connsiteX1" fmla="*/ 45053 w 177736"/>
                <a:gd name="connsiteY1" fmla="*/ 230124 h 239458"/>
                <a:gd name="connsiteX2" fmla="*/ 0 w 177736"/>
                <a:gd name="connsiteY2" fmla="*/ 205359 h 239458"/>
                <a:gd name="connsiteX3" fmla="*/ 17430 w 177736"/>
                <a:gd name="connsiteY3" fmla="*/ 180785 h 239458"/>
                <a:gd name="connsiteX4" fmla="*/ 56483 w 177736"/>
                <a:gd name="connsiteY4" fmla="*/ 202692 h 239458"/>
                <a:gd name="connsiteX5" fmla="*/ 97345 w 177736"/>
                <a:gd name="connsiteY5" fmla="*/ 210217 h 239458"/>
                <a:gd name="connsiteX6" fmla="*/ 131730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825 w 177736"/>
                <a:gd name="connsiteY10" fmla="*/ 147066 h 239458"/>
                <a:gd name="connsiteX11" fmla="*/ 109251 w 177736"/>
                <a:gd name="connsiteY11" fmla="*/ 138779 h 239458"/>
                <a:gd name="connsiteX12" fmla="*/ 87630 w 177736"/>
                <a:gd name="connsiteY12" fmla="*/ 132112 h 239458"/>
                <a:gd name="connsiteX13" fmla="*/ 60579 w 177736"/>
                <a:gd name="connsiteY13" fmla="*/ 123444 h 239458"/>
                <a:gd name="connsiteX14" fmla="*/ 36004 w 177736"/>
                <a:gd name="connsiteY14" fmla="*/ 111633 h 239458"/>
                <a:gd name="connsiteX15" fmla="*/ 18192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59 w 177736"/>
                <a:gd name="connsiteY22" fmla="*/ 6953 h 239458"/>
                <a:gd name="connsiteX23" fmla="*/ 172878 w 177736"/>
                <a:gd name="connsiteY23" fmla="*/ 25527 h 239458"/>
                <a:gd name="connsiteX24" fmla="*/ 157257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3 w 177736"/>
                <a:gd name="connsiteY32" fmla="*/ 96203 h 239458"/>
                <a:gd name="connsiteX33" fmla="*/ 103631 w 177736"/>
                <a:gd name="connsiteY33" fmla="*/ 103346 h 239458"/>
                <a:gd name="connsiteX34" fmla="*/ 130207 w 177736"/>
                <a:gd name="connsiteY34" fmla="*/ 112300 h 239458"/>
                <a:gd name="connsiteX35" fmla="*/ 154114 w 177736"/>
                <a:gd name="connsiteY35" fmla="*/ 124778 h 239458"/>
                <a:gd name="connsiteX36" fmla="*/ 171259 w 177736"/>
                <a:gd name="connsiteY36" fmla="*/ 143066 h 239458"/>
                <a:gd name="connsiteX37" fmla="*/ 177736 w 177736"/>
                <a:gd name="connsiteY37" fmla="*/ 169450 h 239458"/>
                <a:gd name="connsiteX38" fmla="*/ 177736 w 177736"/>
                <a:gd name="connsiteY38" fmla="*/ 170307 h 239458"/>
                <a:gd name="connsiteX39" fmla="*/ 171259 w 177736"/>
                <a:gd name="connsiteY39" fmla="*/ 199549 h 239458"/>
                <a:gd name="connsiteX40" fmla="*/ 153828 w 177736"/>
                <a:gd name="connsiteY40" fmla="*/ 221171 h 239458"/>
                <a:gd name="connsiteX41" fmla="*/ 127921 w 177736"/>
                <a:gd name="connsiteY41" fmla="*/ 234791 h 239458"/>
                <a:gd name="connsiteX42" fmla="*/ 95535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5" y="239268"/>
                  </a:moveTo>
                  <a:cubicBezTo>
                    <a:pt x="78867" y="239268"/>
                    <a:pt x="62007" y="236220"/>
                    <a:pt x="45053" y="230124"/>
                  </a:cubicBezTo>
                  <a:cubicBezTo>
                    <a:pt x="28098" y="224028"/>
                    <a:pt x="13049" y="215741"/>
                    <a:pt x="0" y="205359"/>
                  </a:cubicBezTo>
                  <a:lnTo>
                    <a:pt x="17430" y="180785"/>
                  </a:lnTo>
                  <a:cubicBezTo>
                    <a:pt x="29908" y="190310"/>
                    <a:pt x="42957" y="197644"/>
                    <a:pt x="56483" y="202692"/>
                  </a:cubicBezTo>
                  <a:cubicBezTo>
                    <a:pt x="70009" y="207740"/>
                    <a:pt x="83629" y="210217"/>
                    <a:pt x="97345" y="210217"/>
                  </a:cubicBezTo>
                  <a:cubicBezTo>
                    <a:pt x="111061" y="210217"/>
                    <a:pt x="122777" y="206978"/>
                    <a:pt x="131730" y="200406"/>
                  </a:cubicBezTo>
                  <a:cubicBezTo>
                    <a:pt x="140684" y="193834"/>
                    <a:pt x="145161" y="184976"/>
                    <a:pt x="145161" y="173641"/>
                  </a:cubicBezTo>
                  <a:lnTo>
                    <a:pt x="145161" y="172784"/>
                  </a:lnTo>
                  <a:cubicBezTo>
                    <a:pt x="145161" y="167164"/>
                    <a:pt x="143541" y="162211"/>
                    <a:pt x="140494" y="158020"/>
                  </a:cubicBezTo>
                  <a:cubicBezTo>
                    <a:pt x="137350" y="153829"/>
                    <a:pt x="133159" y="150209"/>
                    <a:pt x="127825" y="147066"/>
                  </a:cubicBezTo>
                  <a:cubicBezTo>
                    <a:pt x="122491" y="143923"/>
                    <a:pt x="116300" y="141161"/>
                    <a:pt x="109251" y="138779"/>
                  </a:cubicBezTo>
                  <a:cubicBezTo>
                    <a:pt x="102298" y="136398"/>
                    <a:pt x="95059" y="134207"/>
                    <a:pt x="87630" y="132112"/>
                  </a:cubicBezTo>
                  <a:cubicBezTo>
                    <a:pt x="78676" y="129445"/>
                    <a:pt x="69722" y="126492"/>
                    <a:pt x="60579" y="123444"/>
                  </a:cubicBezTo>
                  <a:cubicBezTo>
                    <a:pt x="51530" y="120301"/>
                    <a:pt x="43339" y="116396"/>
                    <a:pt x="36004" y="111633"/>
                  </a:cubicBezTo>
                  <a:cubicBezTo>
                    <a:pt x="28670" y="106871"/>
                    <a:pt x="22764" y="100870"/>
                    <a:pt x="18192" y="93726"/>
                  </a:cubicBezTo>
                  <a:cubicBezTo>
                    <a:pt x="13525" y="86582"/>
                    <a:pt x="11239" y="77629"/>
                    <a:pt x="11239" y="66961"/>
                  </a:cubicBezTo>
                  <a:lnTo>
                    <a:pt x="11239" y="66008"/>
                  </a:lnTo>
                  <a:cubicBezTo>
                    <a:pt x="11239" y="56198"/>
                    <a:pt x="13144" y="47149"/>
                    <a:pt x="17050" y="39053"/>
                  </a:cubicBezTo>
                  <a:cubicBezTo>
                    <a:pt x="20955" y="30861"/>
                    <a:pt x="26384" y="23908"/>
                    <a:pt x="33338" y="18098"/>
                  </a:cubicBezTo>
                  <a:cubicBezTo>
                    <a:pt x="40291" y="12287"/>
                    <a:pt x="48673" y="7811"/>
                    <a:pt x="58388" y="4667"/>
                  </a:cubicBezTo>
                  <a:cubicBezTo>
                    <a:pt x="68008" y="1524"/>
                    <a:pt x="78581" y="0"/>
                    <a:pt x="89821" y="0"/>
                  </a:cubicBezTo>
                  <a:cubicBezTo>
                    <a:pt x="104108" y="0"/>
                    <a:pt x="118586" y="2286"/>
                    <a:pt x="133159" y="6953"/>
                  </a:cubicBezTo>
                  <a:cubicBezTo>
                    <a:pt x="147732" y="11621"/>
                    <a:pt x="160972" y="17717"/>
                    <a:pt x="172878" y="25527"/>
                  </a:cubicBezTo>
                  <a:lnTo>
                    <a:pt x="157257" y="51435"/>
                  </a:lnTo>
                  <a:cubicBezTo>
                    <a:pt x="146494" y="44577"/>
                    <a:pt x="135255" y="39148"/>
                    <a:pt x="123539" y="35147"/>
                  </a:cubicBezTo>
                  <a:cubicBezTo>
                    <a:pt x="111823" y="31147"/>
                    <a:pt x="100203" y="29146"/>
                    <a:pt x="88963" y="29146"/>
                  </a:cubicBezTo>
                  <a:cubicBezTo>
                    <a:pt x="75247" y="29146"/>
                    <a:pt x="64389" y="32385"/>
                    <a:pt x="56388" y="38767"/>
                  </a:cubicBezTo>
                  <a:cubicBezTo>
                    <a:pt x="48291" y="45149"/>
                    <a:pt x="44291" y="53150"/>
                    <a:pt x="44291" y="62675"/>
                  </a:cubicBezTo>
                  <a:lnTo>
                    <a:pt x="44291" y="63627"/>
                  </a:lnTo>
                  <a:cubicBezTo>
                    <a:pt x="44291" y="68961"/>
                    <a:pt x="45910" y="73628"/>
                    <a:pt x="49244" y="77724"/>
                  </a:cubicBezTo>
                  <a:cubicBezTo>
                    <a:pt x="52482" y="81725"/>
                    <a:pt x="56864" y="85249"/>
                    <a:pt x="62389" y="88202"/>
                  </a:cubicBezTo>
                  <a:cubicBezTo>
                    <a:pt x="67913" y="91154"/>
                    <a:pt x="74200" y="93821"/>
                    <a:pt x="81343" y="96203"/>
                  </a:cubicBezTo>
                  <a:cubicBezTo>
                    <a:pt x="88487" y="98584"/>
                    <a:pt x="95916" y="100965"/>
                    <a:pt x="103631" y="103346"/>
                  </a:cubicBezTo>
                  <a:cubicBezTo>
                    <a:pt x="112585" y="106013"/>
                    <a:pt x="121444" y="108966"/>
                    <a:pt x="130207" y="112300"/>
                  </a:cubicBezTo>
                  <a:cubicBezTo>
                    <a:pt x="138969" y="115538"/>
                    <a:pt x="146971" y="119729"/>
                    <a:pt x="154114" y="124778"/>
                  </a:cubicBezTo>
                  <a:cubicBezTo>
                    <a:pt x="161258" y="129826"/>
                    <a:pt x="166973" y="135922"/>
                    <a:pt x="171259" y="143066"/>
                  </a:cubicBezTo>
                  <a:cubicBezTo>
                    <a:pt x="175546" y="150209"/>
                    <a:pt x="177736" y="158972"/>
                    <a:pt x="177736" y="169450"/>
                  </a:cubicBezTo>
                  <a:lnTo>
                    <a:pt x="177736" y="170307"/>
                  </a:lnTo>
                  <a:cubicBezTo>
                    <a:pt x="177736" y="181356"/>
                    <a:pt x="175546" y="191071"/>
                    <a:pt x="171259" y="199549"/>
                  </a:cubicBezTo>
                  <a:cubicBezTo>
                    <a:pt x="166973" y="208026"/>
                    <a:pt x="161163" y="215265"/>
                    <a:pt x="153828" y="221171"/>
                  </a:cubicBezTo>
                  <a:cubicBezTo>
                    <a:pt x="146589" y="227171"/>
                    <a:pt x="137922" y="231648"/>
                    <a:pt x="127921" y="234791"/>
                  </a:cubicBezTo>
                  <a:cubicBezTo>
                    <a:pt x="117919" y="237935"/>
                    <a:pt x="107156" y="239459"/>
                    <a:pt x="95535" y="239459"/>
                  </a:cubicBezTo>
                  <a:close/>
                </a:path>
              </a:pathLst>
            </a:custGeom>
            <a:solidFill>
              <a:srgbClr val="44505E"/>
            </a:solidFill>
            <a:ln w="9525" cap="flat">
              <a:noFill/>
              <a:prstDash val="solid"/>
              <a:miter/>
            </a:ln>
          </p:spPr>
          <p:txBody>
            <a:bodyPr rtlCol="0" anchor="ctr"/>
            <a:lstStyle/>
            <a:p>
              <a:endParaRPr lang="pt-BR" noProof="0"/>
            </a:p>
          </p:txBody>
        </p:sp>
        <p:sp>
          <p:nvSpPr>
            <p:cNvPr id="55" name="Freeform: Shape 54">
              <a:extLst>
                <a:ext uri="{FF2B5EF4-FFF2-40B4-BE49-F238E27FC236}">
                  <a16:creationId xmlns:a16="http://schemas.microsoft.com/office/drawing/2014/main" id="{0AF598C4-52A2-D2D9-8D62-0A69622961D2}"/>
                </a:ext>
              </a:extLst>
            </p:cNvPr>
            <p:cNvSpPr/>
            <p:nvPr/>
          </p:nvSpPr>
          <p:spPr>
            <a:xfrm>
              <a:off x="5250320" y="846952"/>
              <a:ext cx="1459036" cy="16186"/>
            </a:xfrm>
            <a:custGeom>
              <a:avLst/>
              <a:gdLst>
                <a:gd name="connsiteX0" fmla="*/ 0 w 5804058"/>
                <a:gd name="connsiteY0" fmla="*/ 0 h 64388"/>
                <a:gd name="connsiteX1" fmla="*/ 5804059 w 5804058"/>
                <a:gd name="connsiteY1" fmla="*/ 0 h 64388"/>
                <a:gd name="connsiteX2" fmla="*/ 5804059 w 5804058"/>
                <a:gd name="connsiteY2" fmla="*/ 64389 h 64388"/>
                <a:gd name="connsiteX3" fmla="*/ 0 w 5804058"/>
                <a:gd name="connsiteY3" fmla="*/ 64389 h 64388"/>
              </a:gdLst>
              <a:ahLst/>
              <a:cxnLst>
                <a:cxn ang="0">
                  <a:pos x="connsiteX0" y="connsiteY0"/>
                </a:cxn>
                <a:cxn ang="0">
                  <a:pos x="connsiteX1" y="connsiteY1"/>
                </a:cxn>
                <a:cxn ang="0">
                  <a:pos x="connsiteX2" y="connsiteY2"/>
                </a:cxn>
                <a:cxn ang="0">
                  <a:pos x="connsiteX3" y="connsiteY3"/>
                </a:cxn>
              </a:cxnLst>
              <a:rect l="l" t="t" r="r" b="b"/>
              <a:pathLst>
                <a:path w="5804058" h="64388">
                  <a:moveTo>
                    <a:pt x="0" y="0"/>
                  </a:moveTo>
                  <a:lnTo>
                    <a:pt x="5804059" y="0"/>
                  </a:lnTo>
                  <a:lnTo>
                    <a:pt x="5804059" y="64389"/>
                  </a:lnTo>
                  <a:lnTo>
                    <a:pt x="0" y="64389"/>
                  </a:lnTo>
                  <a:close/>
                </a:path>
              </a:pathLst>
            </a:custGeom>
            <a:solidFill>
              <a:srgbClr val="44505E"/>
            </a:solidFill>
            <a:ln w="9525" cap="flat">
              <a:noFill/>
              <a:prstDash val="solid"/>
              <a:miter/>
            </a:ln>
          </p:spPr>
          <p:txBody>
            <a:bodyPr rtlCol="0" anchor="ctr"/>
            <a:lstStyle/>
            <a:p>
              <a:endParaRPr lang="pt-BR" noProof="0"/>
            </a:p>
          </p:txBody>
        </p:sp>
        <p:sp>
          <p:nvSpPr>
            <p:cNvPr id="56" name="Freeform: Shape 55">
              <a:extLst>
                <a:ext uri="{FF2B5EF4-FFF2-40B4-BE49-F238E27FC236}">
                  <a16:creationId xmlns:a16="http://schemas.microsoft.com/office/drawing/2014/main" id="{A476678E-D4C4-945B-1AD9-EB7C5004B440}"/>
                </a:ext>
              </a:extLst>
            </p:cNvPr>
            <p:cNvSpPr/>
            <p:nvPr/>
          </p:nvSpPr>
          <p:spPr>
            <a:xfrm>
              <a:off x="6902633" y="268821"/>
              <a:ext cx="273418" cy="601046"/>
            </a:xfrm>
            <a:custGeom>
              <a:avLst/>
              <a:gdLst>
                <a:gd name="connsiteX0" fmla="*/ 0 w 1087659"/>
                <a:gd name="connsiteY0" fmla="*/ 210979 h 2390965"/>
                <a:gd name="connsiteX1" fmla="*/ 125063 w 1087659"/>
                <a:gd name="connsiteY1" fmla="*/ 103442 h 2390965"/>
                <a:gd name="connsiteX2" fmla="*/ 250031 w 1087659"/>
                <a:gd name="connsiteY2" fmla="*/ 210979 h 2390965"/>
                <a:gd name="connsiteX3" fmla="*/ 250031 w 1087659"/>
                <a:gd name="connsiteY3" fmla="*/ 1922717 h 2390965"/>
                <a:gd name="connsiteX4" fmla="*/ 249841 w 1087659"/>
                <a:gd name="connsiteY4" fmla="*/ 1922717 h 2390965"/>
                <a:gd name="connsiteX5" fmla="*/ 249841 w 1087659"/>
                <a:gd name="connsiteY5" fmla="*/ 1925955 h 2390965"/>
                <a:gd name="connsiteX6" fmla="*/ 333756 w 1087659"/>
                <a:gd name="connsiteY6" fmla="*/ 2100263 h 2390965"/>
                <a:gd name="connsiteX7" fmla="*/ 335566 w 1087659"/>
                <a:gd name="connsiteY7" fmla="*/ 2101787 h 2390965"/>
                <a:gd name="connsiteX8" fmla="*/ 336042 w 1087659"/>
                <a:gd name="connsiteY8" fmla="*/ 2102168 h 2390965"/>
                <a:gd name="connsiteX9" fmla="*/ 543877 w 1087659"/>
                <a:gd name="connsiteY9" fmla="*/ 2175891 h 2390965"/>
                <a:gd name="connsiteX10" fmla="*/ 749998 w 1087659"/>
                <a:gd name="connsiteY10" fmla="*/ 2103692 h 2390965"/>
                <a:gd name="connsiteX11" fmla="*/ 751713 w 1087659"/>
                <a:gd name="connsiteY11" fmla="*/ 2102168 h 2390965"/>
                <a:gd name="connsiteX12" fmla="*/ 752189 w 1087659"/>
                <a:gd name="connsiteY12" fmla="*/ 2101787 h 2390965"/>
                <a:gd name="connsiteX13" fmla="*/ 837819 w 1087659"/>
                <a:gd name="connsiteY13" fmla="*/ 1922812 h 2390965"/>
                <a:gd name="connsiteX14" fmla="*/ 837819 w 1087659"/>
                <a:gd name="connsiteY14" fmla="*/ 107537 h 2390965"/>
                <a:gd name="connsiteX15" fmla="*/ 962787 w 1087659"/>
                <a:gd name="connsiteY15" fmla="*/ 0 h 2390965"/>
                <a:gd name="connsiteX16" fmla="*/ 1087660 w 1087659"/>
                <a:gd name="connsiteY16" fmla="*/ 107537 h 2390965"/>
                <a:gd name="connsiteX17" fmla="*/ 1087660 w 1087659"/>
                <a:gd name="connsiteY17" fmla="*/ 1922621 h 2390965"/>
                <a:gd name="connsiteX18" fmla="*/ 928307 w 1087659"/>
                <a:gd name="connsiteY18" fmla="*/ 2253234 h 2390965"/>
                <a:gd name="connsiteX19" fmla="*/ 928116 w 1087659"/>
                <a:gd name="connsiteY19" fmla="*/ 2253424 h 2390965"/>
                <a:gd name="connsiteX20" fmla="*/ 927830 w 1087659"/>
                <a:gd name="connsiteY20" fmla="*/ 2253710 h 2390965"/>
                <a:gd name="connsiteX21" fmla="*/ 927354 w 1087659"/>
                <a:gd name="connsiteY21" fmla="*/ 2254187 h 2390965"/>
                <a:gd name="connsiteX22" fmla="*/ 543783 w 1087659"/>
                <a:gd name="connsiteY22" fmla="*/ 2390966 h 2390965"/>
                <a:gd name="connsiteX23" fmla="*/ 159734 w 1087659"/>
                <a:gd name="connsiteY23" fmla="*/ 2253710 h 2390965"/>
                <a:gd name="connsiteX24" fmla="*/ 159734 w 1087659"/>
                <a:gd name="connsiteY24" fmla="*/ 2253424 h 2390965"/>
                <a:gd name="connsiteX25" fmla="*/ 159353 w 1087659"/>
                <a:gd name="connsiteY25" fmla="*/ 2253234 h 2390965"/>
                <a:gd name="connsiteX26" fmla="*/ 158877 w 1087659"/>
                <a:gd name="connsiteY26" fmla="*/ 2252948 h 2390965"/>
                <a:gd name="connsiteX27" fmla="*/ 0 w 1087659"/>
                <a:gd name="connsiteY27" fmla="*/ 1922621 h 2390965"/>
                <a:gd name="connsiteX28" fmla="*/ 0 w 1087659"/>
                <a:gd name="connsiteY28" fmla="*/ 1922621 h 2390965"/>
                <a:gd name="connsiteX29" fmla="*/ 0 w 1087659"/>
                <a:gd name="connsiteY29" fmla="*/ 210979 h 239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87659" h="2390965">
                  <a:moveTo>
                    <a:pt x="0" y="210979"/>
                  </a:moveTo>
                  <a:cubicBezTo>
                    <a:pt x="0" y="151638"/>
                    <a:pt x="56007" y="103442"/>
                    <a:pt x="125063" y="103442"/>
                  </a:cubicBezTo>
                  <a:cubicBezTo>
                    <a:pt x="194120" y="103442"/>
                    <a:pt x="250031" y="151638"/>
                    <a:pt x="250031" y="210979"/>
                  </a:cubicBezTo>
                  <a:lnTo>
                    <a:pt x="250031" y="1922717"/>
                  </a:lnTo>
                  <a:lnTo>
                    <a:pt x="249841" y="1922717"/>
                  </a:lnTo>
                  <a:lnTo>
                    <a:pt x="249841" y="1925955"/>
                  </a:lnTo>
                  <a:cubicBezTo>
                    <a:pt x="250793" y="1994059"/>
                    <a:pt x="282797" y="2055495"/>
                    <a:pt x="333756" y="2100263"/>
                  </a:cubicBezTo>
                  <a:lnTo>
                    <a:pt x="335566" y="2101787"/>
                  </a:lnTo>
                  <a:lnTo>
                    <a:pt x="336042" y="2102168"/>
                  </a:lnTo>
                  <a:cubicBezTo>
                    <a:pt x="388906" y="2147697"/>
                    <a:pt x="462343" y="2175891"/>
                    <a:pt x="543877" y="2175891"/>
                  </a:cubicBezTo>
                  <a:cubicBezTo>
                    <a:pt x="625411" y="2175891"/>
                    <a:pt x="697420" y="2148364"/>
                    <a:pt x="749998" y="2103692"/>
                  </a:cubicBezTo>
                  <a:lnTo>
                    <a:pt x="751713" y="2102168"/>
                  </a:lnTo>
                  <a:lnTo>
                    <a:pt x="752189" y="2101787"/>
                  </a:lnTo>
                  <a:cubicBezTo>
                    <a:pt x="805053" y="2056352"/>
                    <a:pt x="837819" y="1993011"/>
                    <a:pt x="837819" y="1922812"/>
                  </a:cubicBezTo>
                  <a:lnTo>
                    <a:pt x="837819" y="107537"/>
                  </a:lnTo>
                  <a:cubicBezTo>
                    <a:pt x="837819" y="48196"/>
                    <a:pt x="893731" y="0"/>
                    <a:pt x="962787" y="0"/>
                  </a:cubicBezTo>
                  <a:cubicBezTo>
                    <a:pt x="1031843" y="0"/>
                    <a:pt x="1087660" y="48196"/>
                    <a:pt x="1087660" y="107537"/>
                  </a:cubicBezTo>
                  <a:lnTo>
                    <a:pt x="1087660" y="1922621"/>
                  </a:lnTo>
                  <a:cubicBezTo>
                    <a:pt x="1087660" y="2051399"/>
                    <a:pt x="1026795" y="2168366"/>
                    <a:pt x="928307" y="2253234"/>
                  </a:cubicBezTo>
                  <a:lnTo>
                    <a:pt x="928116" y="2253424"/>
                  </a:lnTo>
                  <a:lnTo>
                    <a:pt x="927830" y="2253710"/>
                  </a:lnTo>
                  <a:lnTo>
                    <a:pt x="927354" y="2254187"/>
                  </a:lnTo>
                  <a:cubicBezTo>
                    <a:pt x="828770" y="2338673"/>
                    <a:pt x="693134" y="2390966"/>
                    <a:pt x="543783" y="2390966"/>
                  </a:cubicBezTo>
                  <a:cubicBezTo>
                    <a:pt x="394430" y="2390966"/>
                    <a:pt x="258413" y="2338483"/>
                    <a:pt x="159734" y="2253710"/>
                  </a:cubicBezTo>
                  <a:lnTo>
                    <a:pt x="159734" y="2253424"/>
                  </a:lnTo>
                  <a:cubicBezTo>
                    <a:pt x="159734" y="2253424"/>
                    <a:pt x="159353" y="2253234"/>
                    <a:pt x="159353" y="2253234"/>
                  </a:cubicBezTo>
                  <a:lnTo>
                    <a:pt x="158877" y="2252948"/>
                  </a:lnTo>
                  <a:cubicBezTo>
                    <a:pt x="60770" y="2167985"/>
                    <a:pt x="0" y="2051304"/>
                    <a:pt x="0" y="1922621"/>
                  </a:cubicBezTo>
                  <a:lnTo>
                    <a:pt x="0" y="1922621"/>
                  </a:lnTo>
                  <a:lnTo>
                    <a:pt x="0" y="210979"/>
                  </a:lnTo>
                  <a:close/>
                </a:path>
              </a:pathLst>
            </a:custGeom>
            <a:solidFill>
              <a:srgbClr val="8FC640"/>
            </a:solidFill>
            <a:ln w="9525" cap="flat">
              <a:noFill/>
              <a:prstDash val="solid"/>
              <a:miter/>
            </a:ln>
          </p:spPr>
          <p:txBody>
            <a:bodyPr rtlCol="0" anchor="ctr"/>
            <a:lstStyle/>
            <a:p>
              <a:endParaRPr lang="pt-BR" noProof="0"/>
            </a:p>
          </p:txBody>
        </p:sp>
        <p:sp>
          <p:nvSpPr>
            <p:cNvPr id="57" name="Freeform: Shape 56">
              <a:extLst>
                <a:ext uri="{FF2B5EF4-FFF2-40B4-BE49-F238E27FC236}">
                  <a16:creationId xmlns:a16="http://schemas.microsoft.com/office/drawing/2014/main" id="{1676F03F-6FC3-FAC8-42AA-E1FB26C7D9C4}"/>
                </a:ext>
              </a:extLst>
            </p:cNvPr>
            <p:cNvSpPr/>
            <p:nvPr/>
          </p:nvSpPr>
          <p:spPr>
            <a:xfrm>
              <a:off x="7013590" y="213965"/>
              <a:ext cx="54018" cy="562280"/>
            </a:xfrm>
            <a:custGeom>
              <a:avLst/>
              <a:gdLst>
                <a:gd name="connsiteX0" fmla="*/ 0 w 214883"/>
                <a:gd name="connsiteY0" fmla="*/ 107537 h 2236755"/>
                <a:gd name="connsiteX1" fmla="*/ 107537 w 214883"/>
                <a:gd name="connsiteY1" fmla="*/ 0 h 2236755"/>
                <a:gd name="connsiteX2" fmla="*/ 214884 w 214883"/>
                <a:gd name="connsiteY2" fmla="*/ 107537 h 2236755"/>
                <a:gd name="connsiteX3" fmla="*/ 214884 w 214883"/>
                <a:gd name="connsiteY3" fmla="*/ 2129219 h 2236755"/>
                <a:gd name="connsiteX4" fmla="*/ 107537 w 214883"/>
                <a:gd name="connsiteY4" fmla="*/ 2236756 h 2236755"/>
                <a:gd name="connsiteX5" fmla="*/ 0 w 214883"/>
                <a:gd name="connsiteY5" fmla="*/ 2129219 h 2236755"/>
                <a:gd name="connsiteX6" fmla="*/ 0 w 214883"/>
                <a:gd name="connsiteY6" fmla="*/ 107537 h 223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 h="2236755">
                  <a:moveTo>
                    <a:pt x="0" y="107537"/>
                  </a:moveTo>
                  <a:cubicBezTo>
                    <a:pt x="0" y="48197"/>
                    <a:pt x="48101" y="0"/>
                    <a:pt x="107537" y="0"/>
                  </a:cubicBezTo>
                  <a:cubicBezTo>
                    <a:pt x="166973" y="0"/>
                    <a:pt x="214884" y="48197"/>
                    <a:pt x="214884" y="107537"/>
                  </a:cubicBezTo>
                  <a:lnTo>
                    <a:pt x="214884" y="2129219"/>
                  </a:lnTo>
                  <a:cubicBezTo>
                    <a:pt x="214884" y="2188559"/>
                    <a:pt x="166782" y="2236756"/>
                    <a:pt x="107537" y="2236756"/>
                  </a:cubicBezTo>
                  <a:cubicBezTo>
                    <a:pt x="48291" y="2236756"/>
                    <a:pt x="0" y="2188559"/>
                    <a:pt x="0" y="2129219"/>
                  </a:cubicBezTo>
                  <a:lnTo>
                    <a:pt x="0" y="107537"/>
                  </a:lnTo>
                  <a:close/>
                </a:path>
              </a:pathLst>
            </a:custGeom>
            <a:solidFill>
              <a:srgbClr val="3698B0"/>
            </a:solidFill>
            <a:ln w="9525" cap="flat">
              <a:noFill/>
              <a:prstDash val="solid"/>
              <a:miter/>
            </a:ln>
          </p:spPr>
          <p:txBody>
            <a:bodyPr rtlCol="0" anchor="ctr"/>
            <a:lstStyle/>
            <a:p>
              <a:endParaRPr lang="pt-BR" noProof="0"/>
            </a:p>
          </p:txBody>
        </p:sp>
        <p:sp>
          <p:nvSpPr>
            <p:cNvPr id="58" name="Freeform: Shape 57">
              <a:extLst>
                <a:ext uri="{FF2B5EF4-FFF2-40B4-BE49-F238E27FC236}">
                  <a16:creationId xmlns:a16="http://schemas.microsoft.com/office/drawing/2014/main" id="{DE19AC22-FE68-5F19-03B8-5EF99DD35C0C}"/>
                </a:ext>
              </a:extLst>
            </p:cNvPr>
            <p:cNvSpPr/>
            <p:nvPr/>
          </p:nvSpPr>
          <p:spPr>
            <a:xfrm>
              <a:off x="6795770" y="332991"/>
              <a:ext cx="485994" cy="649437"/>
            </a:xfrm>
            <a:custGeom>
              <a:avLst/>
              <a:gdLst>
                <a:gd name="connsiteX0" fmla="*/ 1933290 w 1933289"/>
                <a:gd name="connsiteY0" fmla="*/ 138017 h 2583465"/>
                <a:gd name="connsiteX1" fmla="*/ 1933290 w 1933289"/>
                <a:gd name="connsiteY1" fmla="*/ 1734122 h 2583465"/>
                <a:gd name="connsiteX2" fmla="*/ 1796606 w 1933289"/>
                <a:gd name="connsiteY2" fmla="*/ 2229136 h 2583465"/>
                <a:gd name="connsiteX3" fmla="*/ 977742 w 1933289"/>
                <a:gd name="connsiteY3" fmla="*/ 2583466 h 2583465"/>
                <a:gd name="connsiteX4" fmla="*/ 955357 w 1933289"/>
                <a:gd name="connsiteY4" fmla="*/ 2583466 h 2583465"/>
                <a:gd name="connsiteX5" fmla="*/ 136589 w 1933289"/>
                <a:gd name="connsiteY5" fmla="*/ 2229136 h 2583465"/>
                <a:gd name="connsiteX6" fmla="*/ 0 w 1933289"/>
                <a:gd name="connsiteY6" fmla="*/ 1734122 h 2583465"/>
                <a:gd name="connsiteX7" fmla="*/ 0 w 1933289"/>
                <a:gd name="connsiteY7" fmla="*/ 794194 h 2583465"/>
                <a:gd name="connsiteX8" fmla="*/ 137827 w 1933289"/>
                <a:gd name="connsiteY8" fmla="*/ 656273 h 2583465"/>
                <a:gd name="connsiteX9" fmla="*/ 275463 w 1933289"/>
                <a:gd name="connsiteY9" fmla="*/ 794194 h 2583465"/>
                <a:gd name="connsiteX10" fmla="*/ 275463 w 1933289"/>
                <a:gd name="connsiteY10" fmla="*/ 1734122 h 2583465"/>
                <a:gd name="connsiteX11" fmla="*/ 354235 w 1933289"/>
                <a:gd name="connsiteY11" fmla="*/ 2059686 h 2583465"/>
                <a:gd name="connsiteX12" fmla="*/ 958215 w 1933289"/>
                <a:gd name="connsiteY12" fmla="*/ 2307527 h 2583465"/>
                <a:gd name="connsiteX13" fmla="*/ 974789 w 1933289"/>
                <a:gd name="connsiteY13" fmla="*/ 2307527 h 2583465"/>
                <a:gd name="connsiteX14" fmla="*/ 1578959 w 1933289"/>
                <a:gd name="connsiteY14" fmla="*/ 2059686 h 2583465"/>
                <a:gd name="connsiteX15" fmla="*/ 1657636 w 1933289"/>
                <a:gd name="connsiteY15" fmla="*/ 1734122 h 2583465"/>
                <a:gd name="connsiteX16" fmla="*/ 1657636 w 1933289"/>
                <a:gd name="connsiteY16" fmla="*/ 138017 h 2583465"/>
                <a:gd name="connsiteX17" fmla="*/ 1795463 w 1933289"/>
                <a:gd name="connsiteY17" fmla="*/ 0 h 2583465"/>
                <a:gd name="connsiteX18" fmla="*/ 1933290 w 1933289"/>
                <a:gd name="connsiteY18" fmla="*/ 138017 h 25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3289" h="2583465">
                  <a:moveTo>
                    <a:pt x="1933290" y="138017"/>
                  </a:moveTo>
                  <a:lnTo>
                    <a:pt x="1933290" y="1734122"/>
                  </a:lnTo>
                  <a:cubicBezTo>
                    <a:pt x="1933290" y="1870996"/>
                    <a:pt x="1919002" y="2071211"/>
                    <a:pt x="1796606" y="2229136"/>
                  </a:cubicBezTo>
                  <a:cubicBezTo>
                    <a:pt x="1634395" y="2438305"/>
                    <a:pt x="1432084" y="2578703"/>
                    <a:pt x="977742" y="2583466"/>
                  </a:cubicBezTo>
                  <a:lnTo>
                    <a:pt x="955357" y="2583466"/>
                  </a:lnTo>
                  <a:cubicBezTo>
                    <a:pt x="501015" y="2578703"/>
                    <a:pt x="298704" y="2438400"/>
                    <a:pt x="136589" y="2229136"/>
                  </a:cubicBezTo>
                  <a:cubicBezTo>
                    <a:pt x="14192" y="2071211"/>
                    <a:pt x="0" y="1870996"/>
                    <a:pt x="0" y="1734122"/>
                  </a:cubicBezTo>
                  <a:lnTo>
                    <a:pt x="0" y="794194"/>
                  </a:lnTo>
                  <a:cubicBezTo>
                    <a:pt x="0" y="718185"/>
                    <a:pt x="61436" y="656273"/>
                    <a:pt x="137827" y="656273"/>
                  </a:cubicBezTo>
                  <a:cubicBezTo>
                    <a:pt x="214217" y="656273"/>
                    <a:pt x="275463" y="718185"/>
                    <a:pt x="275463" y="794194"/>
                  </a:cubicBezTo>
                  <a:lnTo>
                    <a:pt x="275463" y="1734122"/>
                  </a:lnTo>
                  <a:cubicBezTo>
                    <a:pt x="275463" y="1887188"/>
                    <a:pt x="300324" y="1990630"/>
                    <a:pt x="354235" y="2059686"/>
                  </a:cubicBezTo>
                  <a:cubicBezTo>
                    <a:pt x="476250" y="2217611"/>
                    <a:pt x="609791" y="2304479"/>
                    <a:pt x="958215" y="2307527"/>
                  </a:cubicBezTo>
                  <a:lnTo>
                    <a:pt x="974789" y="2307527"/>
                  </a:lnTo>
                  <a:cubicBezTo>
                    <a:pt x="1323499" y="2304479"/>
                    <a:pt x="1456563" y="2217611"/>
                    <a:pt x="1578959" y="2059686"/>
                  </a:cubicBezTo>
                  <a:cubicBezTo>
                    <a:pt x="1632490" y="1990630"/>
                    <a:pt x="1657636" y="1887093"/>
                    <a:pt x="1657636" y="1734122"/>
                  </a:cubicBezTo>
                  <a:lnTo>
                    <a:pt x="1657636" y="138017"/>
                  </a:lnTo>
                  <a:cubicBezTo>
                    <a:pt x="1657636" y="61531"/>
                    <a:pt x="1719453" y="0"/>
                    <a:pt x="1795463" y="0"/>
                  </a:cubicBezTo>
                  <a:cubicBezTo>
                    <a:pt x="1871472" y="0"/>
                    <a:pt x="1933290" y="61531"/>
                    <a:pt x="1933290" y="138017"/>
                  </a:cubicBezTo>
                </a:path>
              </a:pathLst>
            </a:custGeom>
            <a:solidFill>
              <a:srgbClr val="49306E"/>
            </a:solidFill>
            <a:ln w="9525" cap="flat">
              <a:noFill/>
              <a:prstDash val="solid"/>
              <a:miter/>
            </a:ln>
          </p:spPr>
          <p:txBody>
            <a:bodyPr rtlCol="0" anchor="ctr"/>
            <a:lstStyle/>
            <a:p>
              <a:endParaRPr lang="pt-BR" noProof="0"/>
            </a:p>
          </p:txBody>
        </p:sp>
      </p:grpSp>
      <p:sp>
        <p:nvSpPr>
          <p:cNvPr id="5" name="Rectangle 3">
            <a:extLst>
              <a:ext uri="{FF2B5EF4-FFF2-40B4-BE49-F238E27FC236}">
                <a16:creationId xmlns:a16="http://schemas.microsoft.com/office/drawing/2014/main" id="{D09BC5E5-9058-D846-0F95-065C3CFF9DE6}"/>
              </a:ext>
            </a:extLst>
          </p:cNvPr>
          <p:cNvSpPr>
            <a:spLocks noChangeArrowheads="1"/>
          </p:cNvSpPr>
          <p:nvPr/>
        </p:nvSpPr>
        <p:spPr bwMode="auto">
          <a:xfrm>
            <a:off x="428153" y="692497"/>
            <a:ext cx="264816" cy="2862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p:txBody>
      </p:sp>
      <p:sp>
        <p:nvSpPr>
          <p:cNvPr id="8" name="CaixaDeTexto 7">
            <a:extLst>
              <a:ext uri="{FF2B5EF4-FFF2-40B4-BE49-F238E27FC236}">
                <a16:creationId xmlns:a16="http://schemas.microsoft.com/office/drawing/2014/main" id="{FC8901B0-6348-DB40-2C67-4CFE0A908284}"/>
              </a:ext>
            </a:extLst>
          </p:cNvPr>
          <p:cNvSpPr txBox="1"/>
          <p:nvPr/>
        </p:nvSpPr>
        <p:spPr>
          <a:xfrm>
            <a:off x="5569576" y="1546035"/>
            <a:ext cx="1741715" cy="461665"/>
          </a:xfrm>
          <a:prstGeom prst="rect">
            <a:avLst/>
          </a:prstGeom>
          <a:noFill/>
        </p:spPr>
        <p:txBody>
          <a:bodyPr wrap="square" rtlCol="0">
            <a:spAutoFit/>
          </a:bodyPr>
          <a:lstStyle/>
          <a:p>
            <a:r>
              <a:rPr lang="pt-BR" sz="2400" b="1" noProof="0">
                <a:solidFill>
                  <a:schemeClr val="bg1"/>
                </a:solidFill>
              </a:rPr>
              <a:t>Envelope 3</a:t>
            </a:r>
          </a:p>
        </p:txBody>
      </p:sp>
    </p:spTree>
    <p:extLst>
      <p:ext uri="{BB962C8B-B14F-4D97-AF65-F5344CB8AC3E}">
        <p14:creationId xmlns:p14="http://schemas.microsoft.com/office/powerpoint/2010/main" val="33086411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8236E1-460E-B9C1-EC74-E8BD5FFA266A}"/>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67014BFB-B533-7795-5BA8-4620C84AE60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8" progId="TCLayout.ActiveDocument.1">
                  <p:embed/>
                </p:oleObj>
              </mc:Choice>
              <mc:Fallback>
                <p:oleObj name="think-cell Slide" r:id="rId4" imgW="306" imgH="308" progId="TCLayout.ActiveDocument.1">
                  <p:embed/>
                  <p:pic>
                    <p:nvPicPr>
                      <p:cNvPr id="12" name="think-cell data - do not delete" hidden="1">
                        <a:extLst>
                          <a:ext uri="{FF2B5EF4-FFF2-40B4-BE49-F238E27FC236}">
                            <a16:creationId xmlns:a16="http://schemas.microsoft.com/office/drawing/2014/main" id="{67014BFB-B533-7795-5BA8-4620C84AE6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3" name="Group 12">
            <a:extLst>
              <a:ext uri="{FF2B5EF4-FFF2-40B4-BE49-F238E27FC236}">
                <a16:creationId xmlns:a16="http://schemas.microsoft.com/office/drawing/2014/main" id="{1238B09C-EADF-2A8E-83EB-CC59F5FD4D29}"/>
              </a:ext>
            </a:extLst>
          </p:cNvPr>
          <p:cNvGrpSpPr/>
          <p:nvPr/>
        </p:nvGrpSpPr>
        <p:grpSpPr>
          <a:xfrm>
            <a:off x="304800" y="249455"/>
            <a:ext cx="1193800" cy="462985"/>
            <a:chOff x="5245100" y="211355"/>
            <a:chExt cx="2036664" cy="789869"/>
          </a:xfrm>
        </p:grpSpPr>
        <p:sp>
          <p:nvSpPr>
            <p:cNvPr id="14" name="Freeform: Shape 13">
              <a:extLst>
                <a:ext uri="{FF2B5EF4-FFF2-40B4-BE49-F238E27FC236}">
                  <a16:creationId xmlns:a16="http://schemas.microsoft.com/office/drawing/2014/main" id="{5BBEEC2A-88D1-9588-3789-638B30D79368}"/>
                </a:ext>
              </a:extLst>
            </p:cNvPr>
            <p:cNvSpPr/>
            <p:nvPr/>
          </p:nvSpPr>
          <p:spPr>
            <a:xfrm>
              <a:off x="5245100" y="308520"/>
              <a:ext cx="247894" cy="322815"/>
            </a:xfrm>
            <a:custGeom>
              <a:avLst/>
              <a:gdLst>
                <a:gd name="connsiteX0" fmla="*/ 529590 w 986123"/>
                <a:gd name="connsiteY0" fmla="*/ 1284160 h 1284160"/>
                <a:gd name="connsiteX1" fmla="*/ 249650 w 986123"/>
                <a:gd name="connsiteY1" fmla="*/ 1235107 h 1284160"/>
                <a:gd name="connsiteX2" fmla="*/ 0 w 986123"/>
                <a:gd name="connsiteY2" fmla="*/ 1084421 h 1284160"/>
                <a:gd name="connsiteX3" fmla="*/ 162306 w 986123"/>
                <a:gd name="connsiteY3" fmla="*/ 890016 h 1284160"/>
                <a:gd name="connsiteX4" fmla="*/ 337947 w 986123"/>
                <a:gd name="connsiteY4" fmla="*/ 1000601 h 1284160"/>
                <a:gd name="connsiteX5" fmla="*/ 535019 w 986123"/>
                <a:gd name="connsiteY5" fmla="*/ 1041654 h 1284160"/>
                <a:gd name="connsiteX6" fmla="*/ 667893 w 986123"/>
                <a:gd name="connsiteY6" fmla="*/ 1010412 h 1284160"/>
                <a:gd name="connsiteX7" fmla="*/ 715137 w 986123"/>
                <a:gd name="connsiteY7" fmla="*/ 923925 h 1284160"/>
                <a:gd name="connsiteX8" fmla="*/ 715137 w 986123"/>
                <a:gd name="connsiteY8" fmla="*/ 920305 h 1284160"/>
                <a:gd name="connsiteX9" fmla="*/ 705326 w 986123"/>
                <a:gd name="connsiteY9" fmla="*/ 873062 h 1284160"/>
                <a:gd name="connsiteX10" fmla="*/ 667798 w 986123"/>
                <a:gd name="connsiteY10" fmla="*/ 834676 h 1284160"/>
                <a:gd name="connsiteX11" fmla="*/ 590931 w 986123"/>
                <a:gd name="connsiteY11" fmla="*/ 798957 h 1284160"/>
                <a:gd name="connsiteX12" fmla="*/ 463106 w 986123"/>
                <a:gd name="connsiteY12" fmla="*/ 761524 h 1284160"/>
                <a:gd name="connsiteX13" fmla="*/ 291465 w 986123"/>
                <a:gd name="connsiteY13" fmla="*/ 709803 h 1284160"/>
                <a:gd name="connsiteX14" fmla="*/ 160973 w 986123"/>
                <a:gd name="connsiteY14" fmla="*/ 639318 h 1284160"/>
                <a:gd name="connsiteX15" fmla="*/ 77819 w 986123"/>
                <a:gd name="connsiteY15" fmla="*/ 535019 h 1284160"/>
                <a:gd name="connsiteX16" fmla="*/ 48292 w 986123"/>
                <a:gd name="connsiteY16" fmla="*/ 379857 h 1284160"/>
                <a:gd name="connsiteX17" fmla="*/ 48292 w 986123"/>
                <a:gd name="connsiteY17" fmla="*/ 376238 h 1284160"/>
                <a:gd name="connsiteX18" fmla="*/ 80201 w 986123"/>
                <a:gd name="connsiteY18" fmla="*/ 222028 h 1284160"/>
                <a:gd name="connsiteX19" fmla="*/ 169640 w 986123"/>
                <a:gd name="connsiteY19" fmla="*/ 103441 h 1284160"/>
                <a:gd name="connsiteX20" fmla="*/ 307181 w 986123"/>
                <a:gd name="connsiteY20" fmla="*/ 26765 h 1284160"/>
                <a:gd name="connsiteX21" fmla="*/ 483394 w 986123"/>
                <a:gd name="connsiteY21" fmla="*/ 0 h 1284160"/>
                <a:gd name="connsiteX22" fmla="*/ 735711 w 986123"/>
                <a:gd name="connsiteY22" fmla="*/ 41053 h 1284160"/>
                <a:gd name="connsiteX23" fmla="*/ 946976 w 986123"/>
                <a:gd name="connsiteY23" fmla="*/ 158687 h 1284160"/>
                <a:gd name="connsiteX24" fmla="*/ 804291 w 986123"/>
                <a:gd name="connsiteY24" fmla="*/ 365569 h 1284160"/>
                <a:gd name="connsiteX25" fmla="*/ 640271 w 986123"/>
                <a:gd name="connsiteY25" fmla="*/ 275558 h 1284160"/>
                <a:gd name="connsiteX26" fmla="*/ 479774 w 986123"/>
                <a:gd name="connsiteY26" fmla="*/ 242602 h 1284160"/>
                <a:gd name="connsiteX27" fmla="*/ 359378 w 986123"/>
                <a:gd name="connsiteY27" fmla="*/ 273844 h 1284160"/>
                <a:gd name="connsiteX28" fmla="*/ 319278 w 986123"/>
                <a:gd name="connsiteY28" fmla="*/ 351377 h 1284160"/>
                <a:gd name="connsiteX29" fmla="*/ 319278 w 986123"/>
                <a:gd name="connsiteY29" fmla="*/ 354997 h 1284160"/>
                <a:gd name="connsiteX30" fmla="*/ 330899 w 986123"/>
                <a:gd name="connsiteY30" fmla="*/ 407575 h 1284160"/>
                <a:gd name="connsiteX31" fmla="*/ 372904 w 986123"/>
                <a:gd name="connsiteY31" fmla="*/ 447675 h 1284160"/>
                <a:gd name="connsiteX32" fmla="*/ 456057 w 986123"/>
                <a:gd name="connsiteY32" fmla="*/ 481489 h 1284160"/>
                <a:gd name="connsiteX33" fmla="*/ 589217 w 986123"/>
                <a:gd name="connsiteY33" fmla="*/ 518922 h 1284160"/>
                <a:gd name="connsiteX34" fmla="*/ 758190 w 986123"/>
                <a:gd name="connsiteY34" fmla="*/ 575120 h 1284160"/>
                <a:gd name="connsiteX35" fmla="*/ 883349 w 986123"/>
                <a:gd name="connsiteY35" fmla="*/ 649986 h 1284160"/>
                <a:gd name="connsiteX36" fmla="*/ 960215 w 986123"/>
                <a:gd name="connsiteY36" fmla="*/ 752570 h 1284160"/>
                <a:gd name="connsiteX37" fmla="*/ 986123 w 986123"/>
                <a:gd name="connsiteY37" fmla="*/ 893445 h 1284160"/>
                <a:gd name="connsiteX38" fmla="*/ 986123 w 986123"/>
                <a:gd name="connsiteY38" fmla="*/ 897064 h 1284160"/>
                <a:gd name="connsiteX39" fmla="*/ 952500 w 986123"/>
                <a:gd name="connsiteY39" fmla="*/ 1062038 h 1284160"/>
                <a:gd name="connsiteX40" fmla="*/ 858584 w 986123"/>
                <a:gd name="connsiteY40" fmla="*/ 1183291 h 1284160"/>
                <a:gd name="connsiteX41" fmla="*/ 714851 w 986123"/>
                <a:gd name="connsiteY41" fmla="*/ 1258157 h 1284160"/>
                <a:gd name="connsiteX42" fmla="*/ 529685 w 986123"/>
                <a:gd name="connsiteY42" fmla="*/ 1284065 h 128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6123" h="1284160">
                  <a:moveTo>
                    <a:pt x="529590" y="1284160"/>
                  </a:moveTo>
                  <a:cubicBezTo>
                    <a:pt x="434435" y="1284160"/>
                    <a:pt x="341186" y="1267777"/>
                    <a:pt x="249650" y="1235107"/>
                  </a:cubicBezTo>
                  <a:cubicBezTo>
                    <a:pt x="158115" y="1202436"/>
                    <a:pt x="74867" y="1152239"/>
                    <a:pt x="0" y="1084421"/>
                  </a:cubicBezTo>
                  <a:lnTo>
                    <a:pt x="162306" y="890016"/>
                  </a:lnTo>
                  <a:cubicBezTo>
                    <a:pt x="219361" y="936403"/>
                    <a:pt x="277844" y="973264"/>
                    <a:pt x="337947" y="1000601"/>
                  </a:cubicBezTo>
                  <a:cubicBezTo>
                    <a:pt x="397955" y="1027938"/>
                    <a:pt x="463677" y="1041654"/>
                    <a:pt x="535019" y="1041654"/>
                  </a:cubicBezTo>
                  <a:cubicBezTo>
                    <a:pt x="592074" y="1041654"/>
                    <a:pt x="636365" y="1031272"/>
                    <a:pt x="667893" y="1010412"/>
                  </a:cubicBezTo>
                  <a:cubicBezTo>
                    <a:pt x="699421" y="989647"/>
                    <a:pt x="715137" y="960787"/>
                    <a:pt x="715137" y="923925"/>
                  </a:cubicBezTo>
                  <a:lnTo>
                    <a:pt x="715137" y="920305"/>
                  </a:lnTo>
                  <a:cubicBezTo>
                    <a:pt x="715137" y="902494"/>
                    <a:pt x="711803" y="886777"/>
                    <a:pt x="705326" y="873062"/>
                  </a:cubicBezTo>
                  <a:cubicBezTo>
                    <a:pt x="698754" y="859441"/>
                    <a:pt x="686276" y="846582"/>
                    <a:pt x="667798" y="834676"/>
                  </a:cubicBezTo>
                  <a:cubicBezTo>
                    <a:pt x="649319" y="822770"/>
                    <a:pt x="623697" y="810863"/>
                    <a:pt x="590931" y="798957"/>
                  </a:cubicBezTo>
                  <a:cubicBezTo>
                    <a:pt x="558165" y="787146"/>
                    <a:pt x="515493" y="774573"/>
                    <a:pt x="463106" y="761524"/>
                  </a:cubicBezTo>
                  <a:cubicBezTo>
                    <a:pt x="399955" y="746093"/>
                    <a:pt x="342710" y="728853"/>
                    <a:pt x="291465" y="709803"/>
                  </a:cubicBezTo>
                  <a:cubicBezTo>
                    <a:pt x="240221" y="690753"/>
                    <a:pt x="196691" y="667322"/>
                    <a:pt x="160973" y="639318"/>
                  </a:cubicBezTo>
                  <a:cubicBezTo>
                    <a:pt x="125159" y="611410"/>
                    <a:pt x="97536" y="576644"/>
                    <a:pt x="77819" y="535019"/>
                  </a:cubicBezTo>
                  <a:cubicBezTo>
                    <a:pt x="58103" y="493395"/>
                    <a:pt x="48292" y="441674"/>
                    <a:pt x="48292" y="379857"/>
                  </a:cubicBezTo>
                  <a:lnTo>
                    <a:pt x="48292" y="376238"/>
                  </a:lnTo>
                  <a:cubicBezTo>
                    <a:pt x="48292" y="319183"/>
                    <a:pt x="58865" y="267748"/>
                    <a:pt x="80201" y="222028"/>
                  </a:cubicBezTo>
                  <a:cubicBezTo>
                    <a:pt x="101441" y="176308"/>
                    <a:pt x="131255" y="136779"/>
                    <a:pt x="169640" y="103441"/>
                  </a:cubicBezTo>
                  <a:cubicBezTo>
                    <a:pt x="208026" y="70199"/>
                    <a:pt x="253841" y="44577"/>
                    <a:pt x="307181" y="26765"/>
                  </a:cubicBezTo>
                  <a:cubicBezTo>
                    <a:pt x="360426" y="8953"/>
                    <a:pt x="419195" y="0"/>
                    <a:pt x="483394" y="0"/>
                  </a:cubicBezTo>
                  <a:cubicBezTo>
                    <a:pt x="574929" y="0"/>
                    <a:pt x="659035" y="13716"/>
                    <a:pt x="735711" y="41053"/>
                  </a:cubicBezTo>
                  <a:cubicBezTo>
                    <a:pt x="812387" y="68389"/>
                    <a:pt x="882777" y="107632"/>
                    <a:pt x="946976" y="158687"/>
                  </a:cubicBezTo>
                  <a:lnTo>
                    <a:pt x="804291" y="365569"/>
                  </a:lnTo>
                  <a:cubicBezTo>
                    <a:pt x="748379" y="327565"/>
                    <a:pt x="693706" y="297561"/>
                    <a:pt x="640271" y="275558"/>
                  </a:cubicBezTo>
                  <a:cubicBezTo>
                    <a:pt x="586740" y="253555"/>
                    <a:pt x="533305" y="242602"/>
                    <a:pt x="479774" y="242602"/>
                  </a:cubicBezTo>
                  <a:cubicBezTo>
                    <a:pt x="426244" y="242602"/>
                    <a:pt x="386144" y="252984"/>
                    <a:pt x="359378" y="273844"/>
                  </a:cubicBezTo>
                  <a:cubicBezTo>
                    <a:pt x="332613" y="294608"/>
                    <a:pt x="319278" y="320516"/>
                    <a:pt x="319278" y="351377"/>
                  </a:cubicBezTo>
                  <a:lnTo>
                    <a:pt x="319278" y="354997"/>
                  </a:lnTo>
                  <a:cubicBezTo>
                    <a:pt x="319278" y="375190"/>
                    <a:pt x="323183" y="392716"/>
                    <a:pt x="330899" y="407575"/>
                  </a:cubicBezTo>
                  <a:cubicBezTo>
                    <a:pt x="338614" y="422434"/>
                    <a:pt x="352616" y="435864"/>
                    <a:pt x="372904" y="447675"/>
                  </a:cubicBezTo>
                  <a:cubicBezTo>
                    <a:pt x="393192" y="459581"/>
                    <a:pt x="420910" y="470821"/>
                    <a:pt x="456057" y="481489"/>
                  </a:cubicBezTo>
                  <a:cubicBezTo>
                    <a:pt x="491204" y="492157"/>
                    <a:pt x="535591" y="504730"/>
                    <a:pt x="589217" y="518922"/>
                  </a:cubicBezTo>
                  <a:cubicBezTo>
                    <a:pt x="652367" y="535591"/>
                    <a:pt x="708660" y="554260"/>
                    <a:pt x="758190" y="575120"/>
                  </a:cubicBezTo>
                  <a:cubicBezTo>
                    <a:pt x="807625" y="595979"/>
                    <a:pt x="849344" y="620935"/>
                    <a:pt x="883349" y="649986"/>
                  </a:cubicBezTo>
                  <a:cubicBezTo>
                    <a:pt x="917353" y="679132"/>
                    <a:pt x="942975" y="713327"/>
                    <a:pt x="960215" y="752570"/>
                  </a:cubicBezTo>
                  <a:cubicBezTo>
                    <a:pt x="977456" y="791813"/>
                    <a:pt x="986123" y="838772"/>
                    <a:pt x="986123" y="893445"/>
                  </a:cubicBezTo>
                  <a:lnTo>
                    <a:pt x="986123" y="897064"/>
                  </a:lnTo>
                  <a:cubicBezTo>
                    <a:pt x="986123" y="958882"/>
                    <a:pt x="974884" y="1013841"/>
                    <a:pt x="952500" y="1062038"/>
                  </a:cubicBezTo>
                  <a:cubicBezTo>
                    <a:pt x="930021" y="1110139"/>
                    <a:pt x="898779" y="1150620"/>
                    <a:pt x="858584" y="1183291"/>
                  </a:cubicBezTo>
                  <a:cubicBezTo>
                    <a:pt x="818388" y="1216057"/>
                    <a:pt x="770477" y="1241012"/>
                    <a:pt x="714851" y="1258157"/>
                  </a:cubicBezTo>
                  <a:cubicBezTo>
                    <a:pt x="659130" y="1275398"/>
                    <a:pt x="597503" y="1284065"/>
                    <a:pt x="529685" y="1284065"/>
                  </a:cubicBezTo>
                  <a:close/>
                </a:path>
              </a:pathLst>
            </a:custGeom>
            <a:solidFill>
              <a:srgbClr val="44505E"/>
            </a:solidFill>
            <a:ln w="9525" cap="flat">
              <a:noFill/>
              <a:prstDash val="solid"/>
              <a:miter/>
            </a:ln>
          </p:spPr>
          <p:txBody>
            <a:bodyPr rtlCol="0" anchor="ctr"/>
            <a:lstStyle/>
            <a:p>
              <a:endParaRPr lang="pt-BR" noProof="0"/>
            </a:p>
          </p:txBody>
        </p:sp>
        <p:sp>
          <p:nvSpPr>
            <p:cNvPr id="17" name="Freeform: Shape 16">
              <a:extLst>
                <a:ext uri="{FF2B5EF4-FFF2-40B4-BE49-F238E27FC236}">
                  <a16:creationId xmlns:a16="http://schemas.microsoft.com/office/drawing/2014/main" id="{6243E30E-A0EF-5AD6-0907-760CAFBEB6AE}"/>
                </a:ext>
              </a:extLst>
            </p:cNvPr>
            <p:cNvSpPr/>
            <p:nvPr/>
          </p:nvSpPr>
          <p:spPr>
            <a:xfrm>
              <a:off x="5492084" y="310867"/>
              <a:ext cx="332584" cy="315991"/>
            </a:xfrm>
            <a:custGeom>
              <a:avLst/>
              <a:gdLst>
                <a:gd name="connsiteX0" fmla="*/ 534924 w 1323022"/>
                <a:gd name="connsiteY0" fmla="*/ 0 h 1257014"/>
                <a:gd name="connsiteX1" fmla="*/ 788099 w 1323022"/>
                <a:gd name="connsiteY1" fmla="*/ 0 h 1257014"/>
                <a:gd name="connsiteX2" fmla="*/ 1323023 w 1323022"/>
                <a:gd name="connsiteY2" fmla="*/ 1257014 h 1257014"/>
                <a:gd name="connsiteX3" fmla="*/ 1035939 w 1323022"/>
                <a:gd name="connsiteY3" fmla="*/ 1257014 h 1257014"/>
                <a:gd name="connsiteX4" fmla="*/ 921829 w 1323022"/>
                <a:gd name="connsiteY4" fmla="*/ 977075 h 1257014"/>
                <a:gd name="connsiteX5" fmla="*/ 394049 w 1323022"/>
                <a:gd name="connsiteY5" fmla="*/ 977075 h 1257014"/>
                <a:gd name="connsiteX6" fmla="*/ 279940 w 1323022"/>
                <a:gd name="connsiteY6" fmla="*/ 1257014 h 1257014"/>
                <a:gd name="connsiteX7" fmla="*/ 0 w 1323022"/>
                <a:gd name="connsiteY7" fmla="*/ 1257014 h 1257014"/>
                <a:gd name="connsiteX8" fmla="*/ 534924 w 1323022"/>
                <a:gd name="connsiteY8" fmla="*/ 0 h 1257014"/>
                <a:gd name="connsiteX9" fmla="*/ 823817 w 1323022"/>
                <a:gd name="connsiteY9" fmla="*/ 734568 h 1257014"/>
                <a:gd name="connsiteX10" fmla="*/ 657987 w 1323022"/>
                <a:gd name="connsiteY10" fmla="*/ 329851 h 1257014"/>
                <a:gd name="connsiteX11" fmla="*/ 492157 w 1323022"/>
                <a:gd name="connsiteY11" fmla="*/ 734568 h 1257014"/>
                <a:gd name="connsiteX12" fmla="*/ 823817 w 1323022"/>
                <a:gd name="connsiteY12" fmla="*/ 734568 h 125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022" h="1257014">
                  <a:moveTo>
                    <a:pt x="534924" y="0"/>
                  </a:moveTo>
                  <a:lnTo>
                    <a:pt x="788099" y="0"/>
                  </a:lnTo>
                  <a:lnTo>
                    <a:pt x="1323023" y="1257014"/>
                  </a:lnTo>
                  <a:lnTo>
                    <a:pt x="1035939" y="1257014"/>
                  </a:lnTo>
                  <a:lnTo>
                    <a:pt x="921829" y="977075"/>
                  </a:lnTo>
                  <a:lnTo>
                    <a:pt x="394049" y="977075"/>
                  </a:lnTo>
                  <a:lnTo>
                    <a:pt x="279940" y="1257014"/>
                  </a:lnTo>
                  <a:lnTo>
                    <a:pt x="0" y="1257014"/>
                  </a:lnTo>
                  <a:lnTo>
                    <a:pt x="534924" y="0"/>
                  </a:lnTo>
                  <a:close/>
                  <a:moveTo>
                    <a:pt x="823817" y="734568"/>
                  </a:moveTo>
                  <a:lnTo>
                    <a:pt x="657987" y="329851"/>
                  </a:lnTo>
                  <a:lnTo>
                    <a:pt x="492157" y="734568"/>
                  </a:lnTo>
                  <a:lnTo>
                    <a:pt x="823817" y="734568"/>
                  </a:lnTo>
                  <a:close/>
                </a:path>
              </a:pathLst>
            </a:custGeom>
            <a:solidFill>
              <a:srgbClr val="44505E"/>
            </a:solidFill>
            <a:ln w="9525" cap="flat">
              <a:noFill/>
              <a:prstDash val="solid"/>
              <a:miter/>
            </a:ln>
          </p:spPr>
          <p:txBody>
            <a:bodyPr rtlCol="0" anchor="ctr"/>
            <a:lstStyle/>
            <a:p>
              <a:endParaRPr lang="pt-BR" noProof="0"/>
            </a:p>
          </p:txBody>
        </p:sp>
        <p:sp>
          <p:nvSpPr>
            <p:cNvPr id="18" name="Freeform: Shape 17">
              <a:extLst>
                <a:ext uri="{FF2B5EF4-FFF2-40B4-BE49-F238E27FC236}">
                  <a16:creationId xmlns:a16="http://schemas.microsoft.com/office/drawing/2014/main" id="{A47F9F35-14DF-7460-07F3-92D839CC9B13}"/>
                </a:ext>
              </a:extLst>
            </p:cNvPr>
            <p:cNvSpPr/>
            <p:nvPr/>
          </p:nvSpPr>
          <p:spPr>
            <a:xfrm>
              <a:off x="5834078" y="211355"/>
              <a:ext cx="273442" cy="420435"/>
            </a:xfrm>
            <a:custGeom>
              <a:avLst/>
              <a:gdLst>
                <a:gd name="connsiteX0" fmla="*/ 540258 w 1087754"/>
                <a:gd name="connsiteY0" fmla="*/ 1672495 h 1672494"/>
                <a:gd name="connsiteX1" fmla="*/ 144399 w 1087754"/>
                <a:gd name="connsiteY1" fmla="*/ 1533430 h 1672494"/>
                <a:gd name="connsiteX2" fmla="*/ 0 w 1087754"/>
                <a:gd name="connsiteY2" fmla="*/ 1117949 h 1672494"/>
                <a:gd name="connsiteX3" fmla="*/ 0 w 1087754"/>
                <a:gd name="connsiteY3" fmla="*/ 404717 h 1672494"/>
                <a:gd name="connsiteX4" fmla="*/ 274606 w 1087754"/>
                <a:gd name="connsiteY4" fmla="*/ 404717 h 1672494"/>
                <a:gd name="connsiteX5" fmla="*/ 274606 w 1087754"/>
                <a:gd name="connsiteY5" fmla="*/ 1110806 h 1672494"/>
                <a:gd name="connsiteX6" fmla="*/ 345948 w 1087754"/>
                <a:gd name="connsiteY6" fmla="*/ 1341692 h 1672494"/>
                <a:gd name="connsiteX7" fmla="*/ 543877 w 1087754"/>
                <a:gd name="connsiteY7" fmla="*/ 1419225 h 1672494"/>
                <a:gd name="connsiteX8" fmla="*/ 741807 w 1087754"/>
                <a:gd name="connsiteY8" fmla="*/ 1344359 h 1672494"/>
                <a:gd name="connsiteX9" fmla="*/ 813149 w 1087754"/>
                <a:gd name="connsiteY9" fmla="*/ 1119664 h 1672494"/>
                <a:gd name="connsiteX10" fmla="*/ 813149 w 1087754"/>
                <a:gd name="connsiteY10" fmla="*/ 404717 h 1672494"/>
                <a:gd name="connsiteX11" fmla="*/ 1087755 w 1087754"/>
                <a:gd name="connsiteY11" fmla="*/ 404717 h 1672494"/>
                <a:gd name="connsiteX12" fmla="*/ 1087755 w 1087754"/>
                <a:gd name="connsiteY12" fmla="*/ 1108996 h 1672494"/>
                <a:gd name="connsiteX13" fmla="*/ 1049369 w 1087754"/>
                <a:gd name="connsiteY13" fmla="*/ 1356836 h 1672494"/>
                <a:gd name="connsiteX14" fmla="*/ 939737 w 1087754"/>
                <a:gd name="connsiteY14" fmla="*/ 1532477 h 1672494"/>
                <a:gd name="connsiteX15" fmla="*/ 766763 w 1087754"/>
                <a:gd name="connsiteY15" fmla="*/ 1637729 h 1672494"/>
                <a:gd name="connsiteX16" fmla="*/ 540353 w 1087754"/>
                <a:gd name="connsiteY16" fmla="*/ 1672495 h 1672494"/>
                <a:gd name="connsiteX17" fmla="*/ 622268 w 1087754"/>
                <a:gd name="connsiteY17" fmla="*/ 0 h 1672494"/>
                <a:gd name="connsiteX18" fmla="*/ 855821 w 1087754"/>
                <a:gd name="connsiteY18" fmla="*/ 101632 h 1672494"/>
                <a:gd name="connsiteX19" fmla="*/ 627602 w 1087754"/>
                <a:gd name="connsiteY19" fmla="*/ 315563 h 1672494"/>
                <a:gd name="connsiteX20" fmla="*/ 420719 w 1087754"/>
                <a:gd name="connsiteY20" fmla="*/ 315563 h 1672494"/>
                <a:gd name="connsiteX21" fmla="*/ 622268 w 1087754"/>
                <a:gd name="connsiteY21" fmla="*/ 0 h 16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754" h="1672494">
                  <a:moveTo>
                    <a:pt x="540258" y="1672495"/>
                  </a:moveTo>
                  <a:cubicBezTo>
                    <a:pt x="372618" y="1672495"/>
                    <a:pt x="240697" y="1626108"/>
                    <a:pt x="144399" y="1533430"/>
                  </a:cubicBezTo>
                  <a:cubicBezTo>
                    <a:pt x="48101" y="1440752"/>
                    <a:pt x="0" y="1302258"/>
                    <a:pt x="0" y="1117949"/>
                  </a:cubicBezTo>
                  <a:lnTo>
                    <a:pt x="0" y="404717"/>
                  </a:lnTo>
                  <a:lnTo>
                    <a:pt x="274606" y="404717"/>
                  </a:lnTo>
                  <a:lnTo>
                    <a:pt x="274606" y="1110806"/>
                  </a:lnTo>
                  <a:cubicBezTo>
                    <a:pt x="274606" y="1213009"/>
                    <a:pt x="298418" y="1289971"/>
                    <a:pt x="345948" y="1341692"/>
                  </a:cubicBezTo>
                  <a:cubicBezTo>
                    <a:pt x="393478" y="1393412"/>
                    <a:pt x="459486" y="1419225"/>
                    <a:pt x="543877" y="1419225"/>
                  </a:cubicBezTo>
                  <a:cubicBezTo>
                    <a:pt x="628269" y="1419225"/>
                    <a:pt x="694277" y="1394270"/>
                    <a:pt x="741807" y="1344359"/>
                  </a:cubicBezTo>
                  <a:cubicBezTo>
                    <a:pt x="789337" y="1294448"/>
                    <a:pt x="813149" y="1219581"/>
                    <a:pt x="813149" y="1119664"/>
                  </a:cubicBezTo>
                  <a:lnTo>
                    <a:pt x="813149" y="404717"/>
                  </a:lnTo>
                  <a:lnTo>
                    <a:pt x="1087755" y="404717"/>
                  </a:lnTo>
                  <a:lnTo>
                    <a:pt x="1087755" y="1108996"/>
                  </a:lnTo>
                  <a:cubicBezTo>
                    <a:pt x="1087755" y="1204151"/>
                    <a:pt x="1074992" y="1286732"/>
                    <a:pt x="1049369" y="1356836"/>
                  </a:cubicBezTo>
                  <a:cubicBezTo>
                    <a:pt x="1023747" y="1426940"/>
                    <a:pt x="987266" y="1485519"/>
                    <a:pt x="939737" y="1532477"/>
                  </a:cubicBezTo>
                  <a:cubicBezTo>
                    <a:pt x="892207" y="1579436"/>
                    <a:pt x="834485" y="1614488"/>
                    <a:pt x="766763" y="1637729"/>
                  </a:cubicBezTo>
                  <a:cubicBezTo>
                    <a:pt x="699040" y="1660874"/>
                    <a:pt x="623507" y="1672495"/>
                    <a:pt x="540353" y="1672495"/>
                  </a:cubicBezTo>
                  <a:close/>
                  <a:moveTo>
                    <a:pt x="622268" y="0"/>
                  </a:moveTo>
                  <a:lnTo>
                    <a:pt x="855821" y="101632"/>
                  </a:lnTo>
                  <a:lnTo>
                    <a:pt x="627602" y="315563"/>
                  </a:lnTo>
                  <a:lnTo>
                    <a:pt x="420719" y="315563"/>
                  </a:lnTo>
                  <a:lnTo>
                    <a:pt x="622268" y="0"/>
                  </a:lnTo>
                  <a:close/>
                </a:path>
              </a:pathLst>
            </a:custGeom>
            <a:solidFill>
              <a:srgbClr val="44505E"/>
            </a:solidFill>
            <a:ln w="9525" cap="flat">
              <a:noFill/>
              <a:prstDash val="solid"/>
              <a:miter/>
            </a:ln>
          </p:spPr>
          <p:txBody>
            <a:bodyPr rtlCol="0" anchor="ctr"/>
            <a:lstStyle/>
            <a:p>
              <a:endParaRPr lang="pt-BR" noProof="0"/>
            </a:p>
          </p:txBody>
        </p:sp>
        <p:sp>
          <p:nvSpPr>
            <p:cNvPr id="19" name="Freeform: Shape 18">
              <a:extLst>
                <a:ext uri="{FF2B5EF4-FFF2-40B4-BE49-F238E27FC236}">
                  <a16:creationId xmlns:a16="http://schemas.microsoft.com/office/drawing/2014/main" id="{BFE79CE1-0DDF-BB6C-1F5A-AEEB79EDAA8C}"/>
                </a:ext>
              </a:extLst>
            </p:cNvPr>
            <p:cNvSpPr/>
            <p:nvPr/>
          </p:nvSpPr>
          <p:spPr>
            <a:xfrm>
              <a:off x="6143795" y="313094"/>
              <a:ext cx="289101" cy="313764"/>
            </a:xfrm>
            <a:custGeom>
              <a:avLst/>
              <a:gdLst>
                <a:gd name="connsiteX0" fmla="*/ 0 w 1150048"/>
                <a:gd name="connsiteY0" fmla="*/ 0 h 1248155"/>
                <a:gd name="connsiteX1" fmla="*/ 486728 w 1150048"/>
                <a:gd name="connsiteY1" fmla="*/ 0 h 1248155"/>
                <a:gd name="connsiteX2" fmla="*/ 755047 w 1150048"/>
                <a:gd name="connsiteY2" fmla="*/ 47244 h 1248155"/>
                <a:gd name="connsiteX3" fmla="*/ 965454 w 1150048"/>
                <a:gd name="connsiteY3" fmla="*/ 178308 h 1248155"/>
                <a:gd name="connsiteX4" fmla="*/ 1101852 w 1150048"/>
                <a:gd name="connsiteY4" fmla="*/ 375380 h 1248155"/>
                <a:gd name="connsiteX5" fmla="*/ 1150049 w 1150048"/>
                <a:gd name="connsiteY5" fmla="*/ 620554 h 1248155"/>
                <a:gd name="connsiteX6" fmla="*/ 1150049 w 1150048"/>
                <a:gd name="connsiteY6" fmla="*/ 624173 h 1248155"/>
                <a:gd name="connsiteX7" fmla="*/ 1101852 w 1150048"/>
                <a:gd name="connsiteY7" fmla="*/ 870204 h 1248155"/>
                <a:gd name="connsiteX8" fmla="*/ 965454 w 1150048"/>
                <a:gd name="connsiteY8" fmla="*/ 1068134 h 1248155"/>
                <a:gd name="connsiteX9" fmla="*/ 755047 w 1150048"/>
                <a:gd name="connsiteY9" fmla="*/ 1200055 h 1248155"/>
                <a:gd name="connsiteX10" fmla="*/ 486728 w 1150048"/>
                <a:gd name="connsiteY10" fmla="*/ 1248156 h 1248155"/>
                <a:gd name="connsiteX11" fmla="*/ 0 w 1150048"/>
                <a:gd name="connsiteY11" fmla="*/ 1248156 h 1248155"/>
                <a:gd name="connsiteX12" fmla="*/ 0 w 1150048"/>
                <a:gd name="connsiteY12" fmla="*/ 0 h 1248155"/>
                <a:gd name="connsiteX13" fmla="*/ 486728 w 1150048"/>
                <a:gd name="connsiteY13" fmla="*/ 1000315 h 1248155"/>
                <a:gd name="connsiteX14" fmla="*/ 640080 w 1150048"/>
                <a:gd name="connsiteY14" fmla="*/ 973550 h 1248155"/>
                <a:gd name="connsiteX15" fmla="*/ 758667 w 1150048"/>
                <a:gd name="connsiteY15" fmla="*/ 896874 h 1248155"/>
                <a:gd name="connsiteX16" fmla="*/ 835343 w 1150048"/>
                <a:gd name="connsiteY16" fmla="*/ 779240 h 1248155"/>
                <a:gd name="connsiteX17" fmla="*/ 862965 w 1150048"/>
                <a:gd name="connsiteY17" fmla="*/ 627698 h 1248155"/>
                <a:gd name="connsiteX18" fmla="*/ 862965 w 1150048"/>
                <a:gd name="connsiteY18" fmla="*/ 624078 h 1248155"/>
                <a:gd name="connsiteX19" fmla="*/ 835343 w 1150048"/>
                <a:gd name="connsiteY19" fmla="*/ 472535 h 1248155"/>
                <a:gd name="connsiteX20" fmla="*/ 758667 w 1150048"/>
                <a:gd name="connsiteY20" fmla="*/ 353092 h 1248155"/>
                <a:gd name="connsiteX21" fmla="*/ 640080 w 1150048"/>
                <a:gd name="connsiteY21" fmla="*/ 275558 h 1248155"/>
                <a:gd name="connsiteX22" fmla="*/ 486728 w 1150048"/>
                <a:gd name="connsiteY22" fmla="*/ 247936 h 1248155"/>
                <a:gd name="connsiteX23" fmla="*/ 274511 w 1150048"/>
                <a:gd name="connsiteY23" fmla="*/ 247936 h 1248155"/>
                <a:gd name="connsiteX24" fmla="*/ 274511 w 1150048"/>
                <a:gd name="connsiteY24" fmla="*/ 1000411 h 1248155"/>
                <a:gd name="connsiteX25" fmla="*/ 486728 w 1150048"/>
                <a:gd name="connsiteY25" fmla="*/ 1000411 h 124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50048" h="1248155">
                  <a:moveTo>
                    <a:pt x="0" y="0"/>
                  </a:moveTo>
                  <a:lnTo>
                    <a:pt x="486728" y="0"/>
                  </a:lnTo>
                  <a:cubicBezTo>
                    <a:pt x="584168" y="0"/>
                    <a:pt x="673608" y="15811"/>
                    <a:pt x="755047" y="47244"/>
                  </a:cubicBezTo>
                  <a:cubicBezTo>
                    <a:pt x="836486" y="78772"/>
                    <a:pt x="906590" y="122396"/>
                    <a:pt x="965454" y="178308"/>
                  </a:cubicBezTo>
                  <a:cubicBezTo>
                    <a:pt x="1024319" y="234220"/>
                    <a:pt x="1069753" y="299847"/>
                    <a:pt x="1101852" y="375380"/>
                  </a:cubicBezTo>
                  <a:cubicBezTo>
                    <a:pt x="1133951" y="450914"/>
                    <a:pt x="1150049" y="532543"/>
                    <a:pt x="1150049" y="620554"/>
                  </a:cubicBezTo>
                  <a:lnTo>
                    <a:pt x="1150049" y="624173"/>
                  </a:lnTo>
                  <a:cubicBezTo>
                    <a:pt x="1150049" y="712184"/>
                    <a:pt x="1133951" y="794195"/>
                    <a:pt x="1101852" y="870204"/>
                  </a:cubicBezTo>
                  <a:cubicBezTo>
                    <a:pt x="1069753" y="946309"/>
                    <a:pt x="1024319" y="1012222"/>
                    <a:pt x="965454" y="1068134"/>
                  </a:cubicBezTo>
                  <a:cubicBezTo>
                    <a:pt x="906590" y="1124045"/>
                    <a:pt x="836486" y="1167956"/>
                    <a:pt x="755047" y="1200055"/>
                  </a:cubicBezTo>
                  <a:cubicBezTo>
                    <a:pt x="673608" y="1232154"/>
                    <a:pt x="584168" y="1248156"/>
                    <a:pt x="486728" y="1248156"/>
                  </a:cubicBezTo>
                  <a:lnTo>
                    <a:pt x="0" y="1248156"/>
                  </a:lnTo>
                  <a:lnTo>
                    <a:pt x="0" y="0"/>
                  </a:lnTo>
                  <a:close/>
                  <a:moveTo>
                    <a:pt x="486728" y="1000315"/>
                  </a:moveTo>
                  <a:cubicBezTo>
                    <a:pt x="542639" y="1000315"/>
                    <a:pt x="593693" y="991457"/>
                    <a:pt x="640080" y="973550"/>
                  </a:cubicBezTo>
                  <a:cubicBezTo>
                    <a:pt x="686467" y="955739"/>
                    <a:pt x="725900" y="930211"/>
                    <a:pt x="758667" y="896874"/>
                  </a:cubicBezTo>
                  <a:cubicBezTo>
                    <a:pt x="791337" y="863632"/>
                    <a:pt x="816864" y="824389"/>
                    <a:pt x="835343" y="779240"/>
                  </a:cubicBezTo>
                  <a:cubicBezTo>
                    <a:pt x="853726" y="734092"/>
                    <a:pt x="862965" y="683609"/>
                    <a:pt x="862965" y="627698"/>
                  </a:cubicBezTo>
                  <a:lnTo>
                    <a:pt x="862965" y="624078"/>
                  </a:lnTo>
                  <a:cubicBezTo>
                    <a:pt x="862965" y="569404"/>
                    <a:pt x="853726" y="518827"/>
                    <a:pt x="835343" y="472535"/>
                  </a:cubicBezTo>
                  <a:cubicBezTo>
                    <a:pt x="816864" y="426149"/>
                    <a:pt x="791337" y="386334"/>
                    <a:pt x="758667" y="353092"/>
                  </a:cubicBezTo>
                  <a:cubicBezTo>
                    <a:pt x="725996" y="319849"/>
                    <a:pt x="686467" y="293941"/>
                    <a:pt x="640080" y="275558"/>
                  </a:cubicBezTo>
                  <a:cubicBezTo>
                    <a:pt x="593693" y="257175"/>
                    <a:pt x="542639" y="247936"/>
                    <a:pt x="486728" y="247936"/>
                  </a:cubicBezTo>
                  <a:lnTo>
                    <a:pt x="274511" y="247936"/>
                  </a:lnTo>
                  <a:lnTo>
                    <a:pt x="274511" y="1000411"/>
                  </a:lnTo>
                  <a:lnTo>
                    <a:pt x="486728" y="1000411"/>
                  </a:lnTo>
                  <a:close/>
                </a:path>
              </a:pathLst>
            </a:custGeom>
            <a:solidFill>
              <a:srgbClr val="44505E"/>
            </a:solidFill>
            <a:ln w="9525" cap="flat">
              <a:noFill/>
              <a:prstDash val="solid"/>
              <a:miter/>
            </a:ln>
          </p:spPr>
          <p:txBody>
            <a:bodyPr rtlCol="0" anchor="ctr"/>
            <a:lstStyle/>
            <a:p>
              <a:endParaRPr lang="pt-BR" noProof="0"/>
            </a:p>
          </p:txBody>
        </p:sp>
        <p:sp>
          <p:nvSpPr>
            <p:cNvPr id="20" name="Freeform: Shape 19">
              <a:extLst>
                <a:ext uri="{FF2B5EF4-FFF2-40B4-BE49-F238E27FC236}">
                  <a16:creationId xmlns:a16="http://schemas.microsoft.com/office/drawing/2014/main" id="{87003A17-C4D1-F0B0-A3B6-96AD04D7DCB6}"/>
                </a:ext>
              </a:extLst>
            </p:cNvPr>
            <p:cNvSpPr/>
            <p:nvPr/>
          </p:nvSpPr>
          <p:spPr>
            <a:xfrm>
              <a:off x="6460217" y="313094"/>
              <a:ext cx="238459" cy="313788"/>
            </a:xfrm>
            <a:custGeom>
              <a:avLst/>
              <a:gdLst>
                <a:gd name="connsiteX0" fmla="*/ 95 w 948594"/>
                <a:gd name="connsiteY0" fmla="*/ 0 h 1248251"/>
                <a:gd name="connsiteX1" fmla="*/ 939737 w 948594"/>
                <a:gd name="connsiteY1" fmla="*/ 0 h 1248251"/>
                <a:gd name="connsiteX2" fmla="*/ 939737 w 948594"/>
                <a:gd name="connsiteY2" fmla="*/ 244316 h 1248251"/>
                <a:gd name="connsiteX3" fmla="*/ 271081 w 948594"/>
                <a:gd name="connsiteY3" fmla="*/ 244316 h 1248251"/>
                <a:gd name="connsiteX4" fmla="*/ 271081 w 948594"/>
                <a:gd name="connsiteY4" fmla="*/ 497491 h 1248251"/>
                <a:gd name="connsiteX5" fmla="*/ 859441 w 948594"/>
                <a:gd name="connsiteY5" fmla="*/ 497491 h 1248251"/>
                <a:gd name="connsiteX6" fmla="*/ 859441 w 948594"/>
                <a:gd name="connsiteY6" fmla="*/ 741807 h 1248251"/>
                <a:gd name="connsiteX7" fmla="*/ 271081 w 948594"/>
                <a:gd name="connsiteY7" fmla="*/ 741807 h 1248251"/>
                <a:gd name="connsiteX8" fmla="*/ 271081 w 948594"/>
                <a:gd name="connsiteY8" fmla="*/ 1003935 h 1248251"/>
                <a:gd name="connsiteX9" fmla="*/ 948595 w 948594"/>
                <a:gd name="connsiteY9" fmla="*/ 1003935 h 1248251"/>
                <a:gd name="connsiteX10" fmla="*/ 948595 w 948594"/>
                <a:gd name="connsiteY10" fmla="*/ 1248251 h 1248251"/>
                <a:gd name="connsiteX11" fmla="*/ 0 w 948594"/>
                <a:gd name="connsiteY11" fmla="*/ 1248251 h 1248251"/>
                <a:gd name="connsiteX12" fmla="*/ 0 w 948594"/>
                <a:gd name="connsiteY12" fmla="*/ 0 h 124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594" h="1248251">
                  <a:moveTo>
                    <a:pt x="95" y="0"/>
                  </a:moveTo>
                  <a:lnTo>
                    <a:pt x="939737" y="0"/>
                  </a:lnTo>
                  <a:lnTo>
                    <a:pt x="939737" y="244316"/>
                  </a:lnTo>
                  <a:lnTo>
                    <a:pt x="271081" y="244316"/>
                  </a:lnTo>
                  <a:lnTo>
                    <a:pt x="271081" y="497491"/>
                  </a:lnTo>
                  <a:lnTo>
                    <a:pt x="859441" y="497491"/>
                  </a:lnTo>
                  <a:lnTo>
                    <a:pt x="859441" y="741807"/>
                  </a:lnTo>
                  <a:lnTo>
                    <a:pt x="271081" y="741807"/>
                  </a:lnTo>
                  <a:lnTo>
                    <a:pt x="271081" y="1003935"/>
                  </a:lnTo>
                  <a:lnTo>
                    <a:pt x="948595" y="1003935"/>
                  </a:lnTo>
                  <a:lnTo>
                    <a:pt x="948595" y="1248251"/>
                  </a:lnTo>
                  <a:lnTo>
                    <a:pt x="0" y="1248251"/>
                  </a:lnTo>
                  <a:lnTo>
                    <a:pt x="0" y="0"/>
                  </a:lnTo>
                  <a:close/>
                </a:path>
              </a:pathLst>
            </a:custGeom>
            <a:solidFill>
              <a:srgbClr val="44505E"/>
            </a:solidFill>
            <a:ln w="9525" cap="flat">
              <a:noFill/>
              <a:prstDash val="solid"/>
              <a:miter/>
            </a:ln>
          </p:spPr>
          <p:txBody>
            <a:bodyPr rtlCol="0" anchor="ctr"/>
            <a:lstStyle/>
            <a:p>
              <a:endParaRPr lang="pt-BR" noProof="0"/>
            </a:p>
          </p:txBody>
        </p:sp>
        <p:sp>
          <p:nvSpPr>
            <p:cNvPr id="21" name="Freeform: Shape 20">
              <a:extLst>
                <a:ext uri="{FF2B5EF4-FFF2-40B4-BE49-F238E27FC236}">
                  <a16:creationId xmlns:a16="http://schemas.microsoft.com/office/drawing/2014/main" id="{ED62B934-8A36-BDA9-4669-182DDA56DB43}"/>
                </a:ext>
              </a:extLst>
            </p:cNvPr>
            <p:cNvSpPr/>
            <p:nvPr/>
          </p:nvSpPr>
          <p:spPr>
            <a:xfrm>
              <a:off x="5253193" y="699983"/>
              <a:ext cx="90796" cy="97883"/>
            </a:xfrm>
            <a:custGeom>
              <a:avLst/>
              <a:gdLst>
                <a:gd name="connsiteX0" fmla="*/ 191548 w 361187"/>
                <a:gd name="connsiteY0" fmla="*/ 389382 h 389381"/>
                <a:gd name="connsiteX1" fmla="*/ 116300 w 361187"/>
                <a:gd name="connsiteY1" fmla="*/ 375285 h 389381"/>
                <a:gd name="connsiteX2" fmla="*/ 55531 w 361187"/>
                <a:gd name="connsiteY2" fmla="*/ 335756 h 389381"/>
                <a:gd name="connsiteX3" fmla="*/ 14859 w 361187"/>
                <a:gd name="connsiteY3" fmla="*/ 274606 h 389381"/>
                <a:gd name="connsiteX4" fmla="*/ 0 w 361187"/>
                <a:gd name="connsiteY4" fmla="*/ 195834 h 389381"/>
                <a:gd name="connsiteX5" fmla="*/ 0 w 361187"/>
                <a:gd name="connsiteY5" fmla="*/ 194405 h 389381"/>
                <a:gd name="connsiteX6" fmla="*/ 13430 w 361187"/>
                <a:gd name="connsiteY6" fmla="*/ 118777 h 389381"/>
                <a:gd name="connsiteX7" fmla="*/ 51245 w 361187"/>
                <a:gd name="connsiteY7" fmla="*/ 56959 h 389381"/>
                <a:gd name="connsiteX8" fmla="*/ 108871 w 361187"/>
                <a:gd name="connsiteY8" fmla="*/ 15240 h 389381"/>
                <a:gd name="connsiteX9" fmla="*/ 182404 w 361187"/>
                <a:gd name="connsiteY9" fmla="*/ 0 h 389381"/>
                <a:gd name="connsiteX10" fmla="*/ 260509 w 361187"/>
                <a:gd name="connsiteY10" fmla="*/ 16288 h 389381"/>
                <a:gd name="connsiteX11" fmla="*/ 316325 w 361187"/>
                <a:gd name="connsiteY11" fmla="*/ 60103 h 389381"/>
                <a:gd name="connsiteX12" fmla="*/ 349853 w 361187"/>
                <a:gd name="connsiteY12" fmla="*/ 124015 h 389381"/>
                <a:gd name="connsiteX13" fmla="*/ 361188 w 361187"/>
                <a:gd name="connsiteY13" fmla="*/ 200692 h 389381"/>
                <a:gd name="connsiteX14" fmla="*/ 360807 w 361187"/>
                <a:gd name="connsiteY14" fmla="*/ 212312 h 389381"/>
                <a:gd name="connsiteX15" fmla="*/ 359759 w 361187"/>
                <a:gd name="connsiteY15" fmla="*/ 224695 h 389381"/>
                <a:gd name="connsiteX16" fmla="*/ 85534 w 361187"/>
                <a:gd name="connsiteY16" fmla="*/ 224695 h 389381"/>
                <a:gd name="connsiteX17" fmla="*/ 121920 w 361187"/>
                <a:gd name="connsiteY17" fmla="*/ 294989 h 389381"/>
                <a:gd name="connsiteX18" fmla="*/ 192977 w 361187"/>
                <a:gd name="connsiteY18" fmla="*/ 319373 h 389381"/>
                <a:gd name="connsiteX19" fmla="*/ 248126 w 361187"/>
                <a:gd name="connsiteY19" fmla="*/ 308038 h 389381"/>
                <a:gd name="connsiteX20" fmla="*/ 294037 w 361187"/>
                <a:gd name="connsiteY20" fmla="*/ 274796 h 389381"/>
                <a:gd name="connsiteX21" fmla="*/ 344234 w 361187"/>
                <a:gd name="connsiteY21" fmla="*/ 319278 h 389381"/>
                <a:gd name="connsiteX22" fmla="*/ 280226 w 361187"/>
                <a:gd name="connsiteY22" fmla="*/ 370141 h 389381"/>
                <a:gd name="connsiteX23" fmla="*/ 191548 w 361187"/>
                <a:gd name="connsiteY23" fmla="*/ 389191 h 389381"/>
                <a:gd name="connsiteX24" fmla="*/ 276320 w 361187"/>
                <a:gd name="connsiteY24" fmla="*/ 168211 h 389381"/>
                <a:gd name="connsiteX25" fmla="*/ 267176 w 361187"/>
                <a:gd name="connsiteY25" fmla="*/ 129730 h 389381"/>
                <a:gd name="connsiteX26" fmla="*/ 248126 w 361187"/>
                <a:gd name="connsiteY26" fmla="*/ 98679 h 389381"/>
                <a:gd name="connsiteX27" fmla="*/ 219551 w 361187"/>
                <a:gd name="connsiteY27" fmla="*/ 77819 h 389381"/>
                <a:gd name="connsiteX28" fmla="*/ 181737 w 361187"/>
                <a:gd name="connsiteY28" fmla="*/ 70009 h 389381"/>
                <a:gd name="connsiteX29" fmla="*/ 116396 w 361187"/>
                <a:gd name="connsiteY29" fmla="*/ 97250 h 389381"/>
                <a:gd name="connsiteX30" fmla="*/ 84963 w 361187"/>
                <a:gd name="connsiteY30" fmla="*/ 168307 h 389381"/>
                <a:gd name="connsiteX31" fmla="*/ 276511 w 361187"/>
                <a:gd name="connsiteY31" fmla="*/ 168307 h 38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187" h="389381">
                  <a:moveTo>
                    <a:pt x="191548" y="389382"/>
                  </a:moveTo>
                  <a:cubicBezTo>
                    <a:pt x="164687" y="389382"/>
                    <a:pt x="139637" y="384715"/>
                    <a:pt x="116300" y="375285"/>
                  </a:cubicBezTo>
                  <a:cubicBezTo>
                    <a:pt x="92964" y="365855"/>
                    <a:pt x="72771" y="352711"/>
                    <a:pt x="55531" y="335756"/>
                  </a:cubicBezTo>
                  <a:cubicBezTo>
                    <a:pt x="38291" y="318802"/>
                    <a:pt x="24765" y="298418"/>
                    <a:pt x="14859" y="274606"/>
                  </a:cubicBezTo>
                  <a:cubicBezTo>
                    <a:pt x="4953" y="250793"/>
                    <a:pt x="0" y="224599"/>
                    <a:pt x="0" y="195834"/>
                  </a:cubicBezTo>
                  <a:lnTo>
                    <a:pt x="0" y="194405"/>
                  </a:lnTo>
                  <a:cubicBezTo>
                    <a:pt x="0" y="167545"/>
                    <a:pt x="4477" y="142399"/>
                    <a:pt x="13430" y="118777"/>
                  </a:cubicBezTo>
                  <a:cubicBezTo>
                    <a:pt x="22384" y="95250"/>
                    <a:pt x="34957" y="74581"/>
                    <a:pt x="51245" y="56959"/>
                  </a:cubicBezTo>
                  <a:cubicBezTo>
                    <a:pt x="67532" y="39338"/>
                    <a:pt x="86677" y="25432"/>
                    <a:pt x="108871" y="15240"/>
                  </a:cubicBezTo>
                  <a:cubicBezTo>
                    <a:pt x="131064" y="5143"/>
                    <a:pt x="155543" y="0"/>
                    <a:pt x="182404" y="0"/>
                  </a:cubicBezTo>
                  <a:cubicBezTo>
                    <a:pt x="212122" y="0"/>
                    <a:pt x="238125" y="5429"/>
                    <a:pt x="260509" y="16288"/>
                  </a:cubicBezTo>
                  <a:cubicBezTo>
                    <a:pt x="282893" y="27146"/>
                    <a:pt x="301466" y="41719"/>
                    <a:pt x="316325" y="60103"/>
                  </a:cubicBezTo>
                  <a:cubicBezTo>
                    <a:pt x="331184" y="78486"/>
                    <a:pt x="342329" y="99822"/>
                    <a:pt x="349853" y="124015"/>
                  </a:cubicBezTo>
                  <a:cubicBezTo>
                    <a:pt x="357378" y="148304"/>
                    <a:pt x="361188" y="173831"/>
                    <a:pt x="361188" y="200692"/>
                  </a:cubicBezTo>
                  <a:cubicBezTo>
                    <a:pt x="361188" y="204502"/>
                    <a:pt x="361093" y="208312"/>
                    <a:pt x="360807" y="212312"/>
                  </a:cubicBezTo>
                  <a:cubicBezTo>
                    <a:pt x="360521" y="216313"/>
                    <a:pt x="360236" y="220409"/>
                    <a:pt x="359759" y="224695"/>
                  </a:cubicBezTo>
                  <a:lnTo>
                    <a:pt x="85534" y="224695"/>
                  </a:lnTo>
                  <a:cubicBezTo>
                    <a:pt x="90202" y="255365"/>
                    <a:pt x="102394" y="278797"/>
                    <a:pt x="121920" y="294989"/>
                  </a:cubicBezTo>
                  <a:cubicBezTo>
                    <a:pt x="141446" y="311277"/>
                    <a:pt x="165164" y="319373"/>
                    <a:pt x="192977" y="319373"/>
                  </a:cubicBezTo>
                  <a:cubicBezTo>
                    <a:pt x="214217" y="319373"/>
                    <a:pt x="232505" y="315563"/>
                    <a:pt x="248126" y="308038"/>
                  </a:cubicBezTo>
                  <a:cubicBezTo>
                    <a:pt x="263652" y="300514"/>
                    <a:pt x="278987" y="289465"/>
                    <a:pt x="294037" y="274796"/>
                  </a:cubicBezTo>
                  <a:lnTo>
                    <a:pt x="344234" y="319278"/>
                  </a:lnTo>
                  <a:cubicBezTo>
                    <a:pt x="326327" y="340519"/>
                    <a:pt x="304991" y="357473"/>
                    <a:pt x="280226" y="370141"/>
                  </a:cubicBezTo>
                  <a:cubicBezTo>
                    <a:pt x="255461" y="382810"/>
                    <a:pt x="225933" y="389191"/>
                    <a:pt x="191548" y="389191"/>
                  </a:cubicBezTo>
                  <a:close/>
                  <a:moveTo>
                    <a:pt x="276320" y="168211"/>
                  </a:moveTo>
                  <a:cubicBezTo>
                    <a:pt x="274892" y="154591"/>
                    <a:pt x="271844" y="141732"/>
                    <a:pt x="267176" y="129730"/>
                  </a:cubicBezTo>
                  <a:cubicBezTo>
                    <a:pt x="262414" y="117729"/>
                    <a:pt x="256127" y="107347"/>
                    <a:pt x="248126" y="98679"/>
                  </a:cubicBezTo>
                  <a:cubicBezTo>
                    <a:pt x="240125" y="89916"/>
                    <a:pt x="230600" y="82963"/>
                    <a:pt x="219551" y="77819"/>
                  </a:cubicBezTo>
                  <a:cubicBezTo>
                    <a:pt x="208502" y="72676"/>
                    <a:pt x="195834" y="70009"/>
                    <a:pt x="181737" y="70009"/>
                  </a:cubicBezTo>
                  <a:cubicBezTo>
                    <a:pt x="155353" y="70009"/>
                    <a:pt x="133541" y="79057"/>
                    <a:pt x="116396" y="97250"/>
                  </a:cubicBezTo>
                  <a:cubicBezTo>
                    <a:pt x="99155" y="115348"/>
                    <a:pt x="88678" y="139065"/>
                    <a:pt x="84963" y="168307"/>
                  </a:cubicBezTo>
                  <a:lnTo>
                    <a:pt x="276511" y="168307"/>
                  </a:lnTo>
                  <a:close/>
                </a:path>
              </a:pathLst>
            </a:custGeom>
            <a:solidFill>
              <a:srgbClr val="44505E"/>
            </a:solidFill>
            <a:ln w="9525" cap="flat">
              <a:noFill/>
              <a:prstDash val="solid"/>
              <a:miter/>
            </a:ln>
          </p:spPr>
          <p:txBody>
            <a:bodyPr rtlCol="0" anchor="ctr"/>
            <a:lstStyle/>
            <a:p>
              <a:endParaRPr lang="pt-BR" noProof="0"/>
            </a:p>
          </p:txBody>
        </p:sp>
        <p:sp>
          <p:nvSpPr>
            <p:cNvPr id="22" name="Freeform: Shape 21">
              <a:extLst>
                <a:ext uri="{FF2B5EF4-FFF2-40B4-BE49-F238E27FC236}">
                  <a16:creationId xmlns:a16="http://schemas.microsoft.com/office/drawing/2014/main" id="{23A6EF73-F8F5-8A0B-E41C-F3DF28DDE2BE}"/>
                </a:ext>
              </a:extLst>
            </p:cNvPr>
            <p:cNvSpPr/>
            <p:nvPr/>
          </p:nvSpPr>
          <p:spPr>
            <a:xfrm>
              <a:off x="5365659"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5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8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3 w 568166"/>
                <a:gd name="connsiteY21" fmla="*/ 381000 h 381000"/>
                <a:gd name="connsiteX22" fmla="*/ 240983 w 568166"/>
                <a:gd name="connsiteY22" fmla="*/ 168783 h 381000"/>
                <a:gd name="connsiteX23" fmla="*/ 221266 w 568166"/>
                <a:gd name="connsiteY23" fmla="*/ 101822 h 381000"/>
                <a:gd name="connsiteX24" fmla="*/ 165640 w 568166"/>
                <a:gd name="connsiteY24" fmla="*/ 78581 h 381000"/>
                <a:gd name="connsiteX25" fmla="*/ 108014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70" y="48196"/>
                    <a:pt x="105918" y="40576"/>
                  </a:cubicBezTo>
                  <a:cubicBezTo>
                    <a:pt x="112967" y="32956"/>
                    <a:pt x="121063" y="26099"/>
                    <a:pt x="130207" y="19907"/>
                  </a:cubicBezTo>
                  <a:cubicBezTo>
                    <a:pt x="139351" y="13716"/>
                    <a:pt x="149733" y="8858"/>
                    <a:pt x="161163" y="5334"/>
                  </a:cubicBezTo>
                  <a:cubicBezTo>
                    <a:pt x="172688" y="1714"/>
                    <a:pt x="185452" y="0"/>
                    <a:pt x="199549" y="0"/>
                  </a:cubicBezTo>
                  <a:cubicBezTo>
                    <a:pt x="226314" y="0"/>
                    <a:pt x="248984" y="6096"/>
                    <a:pt x="267557" y="18193"/>
                  </a:cubicBezTo>
                  <a:cubicBezTo>
                    <a:pt x="286131" y="30289"/>
                    <a:pt x="300323" y="46387"/>
                    <a:pt x="310134" y="66294"/>
                  </a:cubicBezTo>
                  <a:cubicBezTo>
                    <a:pt x="325279" y="46387"/>
                    <a:pt x="343091" y="30289"/>
                    <a:pt x="363665" y="18193"/>
                  </a:cubicBezTo>
                  <a:cubicBezTo>
                    <a:pt x="384239" y="6096"/>
                    <a:pt x="408718" y="0"/>
                    <a:pt x="437007" y="0"/>
                  </a:cubicBezTo>
                  <a:cubicBezTo>
                    <a:pt x="478060"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8" y="78486"/>
                  </a:cubicBezTo>
                  <a:cubicBezTo>
                    <a:pt x="382810" y="78486"/>
                    <a:pt x="364141" y="86392"/>
                    <a:pt x="349377" y="102108"/>
                  </a:cubicBezTo>
                  <a:cubicBezTo>
                    <a:pt x="334613" y="117824"/>
                    <a:pt x="327184" y="140779"/>
                    <a:pt x="327184" y="170879"/>
                  </a:cubicBezTo>
                  <a:lnTo>
                    <a:pt x="327184" y="381000"/>
                  </a:lnTo>
                  <a:lnTo>
                    <a:pt x="240983" y="381000"/>
                  </a:lnTo>
                  <a:lnTo>
                    <a:pt x="240983" y="168783"/>
                  </a:lnTo>
                  <a:cubicBezTo>
                    <a:pt x="240983" y="139637"/>
                    <a:pt x="234410" y="117348"/>
                    <a:pt x="221266" y="101822"/>
                  </a:cubicBezTo>
                  <a:cubicBezTo>
                    <a:pt x="208121" y="86296"/>
                    <a:pt x="189643" y="78581"/>
                    <a:pt x="165640" y="78581"/>
                  </a:cubicBezTo>
                  <a:cubicBezTo>
                    <a:pt x="141637" y="78581"/>
                    <a:pt x="122492" y="86773"/>
                    <a:pt x="108014"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23" name="Freeform: Shape 22">
              <a:extLst>
                <a:ext uri="{FF2B5EF4-FFF2-40B4-BE49-F238E27FC236}">
                  <a16:creationId xmlns:a16="http://schemas.microsoft.com/office/drawing/2014/main" id="{A8572498-27AF-8EC8-ACD5-B8C4E26421A6}"/>
                </a:ext>
              </a:extLst>
            </p:cNvPr>
            <p:cNvSpPr/>
            <p:nvPr/>
          </p:nvSpPr>
          <p:spPr>
            <a:xfrm>
              <a:off x="5587693" y="700007"/>
              <a:ext cx="84211" cy="95752"/>
            </a:xfrm>
            <a:custGeom>
              <a:avLst/>
              <a:gdLst>
                <a:gd name="connsiteX0" fmla="*/ 95 w 334994"/>
                <a:gd name="connsiteY0" fmla="*/ 7715 h 380904"/>
                <a:gd name="connsiteX1" fmla="*/ 86296 w 334994"/>
                <a:gd name="connsiteY1" fmla="*/ 7715 h 380904"/>
                <a:gd name="connsiteX2" fmla="*/ 86296 w 334994"/>
                <a:gd name="connsiteY2" fmla="*/ 66294 h 380904"/>
                <a:gd name="connsiteX3" fmla="*/ 106394 w 334994"/>
                <a:gd name="connsiteY3" fmla="*/ 40958 h 380904"/>
                <a:gd name="connsiteX4" fmla="*/ 131731 w 334994"/>
                <a:gd name="connsiteY4" fmla="*/ 19907 h 380904"/>
                <a:gd name="connsiteX5" fmla="*/ 163449 w 334994"/>
                <a:gd name="connsiteY5" fmla="*/ 5334 h 380904"/>
                <a:gd name="connsiteX6" fmla="*/ 202597 w 334994"/>
                <a:gd name="connsiteY6" fmla="*/ 0 h 380904"/>
                <a:gd name="connsiteX7" fmla="*/ 300514 w 334994"/>
                <a:gd name="connsiteY7" fmla="*/ 38862 h 380904"/>
                <a:gd name="connsiteX8" fmla="*/ 334994 w 334994"/>
                <a:gd name="connsiteY8" fmla="*/ 143446 h 380904"/>
                <a:gd name="connsiteX9" fmla="*/ 334994 w 334994"/>
                <a:gd name="connsiteY9" fmla="*/ 380905 h 380904"/>
                <a:gd name="connsiteX10" fmla="*/ 248793 w 334994"/>
                <a:gd name="connsiteY10" fmla="*/ 380905 h 380904"/>
                <a:gd name="connsiteX11" fmla="*/ 248793 w 334994"/>
                <a:gd name="connsiteY11" fmla="*/ 169450 h 380904"/>
                <a:gd name="connsiteX12" fmla="*/ 228124 w 334994"/>
                <a:gd name="connsiteY12" fmla="*/ 102108 h 380904"/>
                <a:gd name="connsiteX13" fmla="*/ 169640 w 334994"/>
                <a:gd name="connsiteY13" fmla="*/ 78486 h 380904"/>
                <a:gd name="connsiteX14" fmla="*/ 109347 w 334994"/>
                <a:gd name="connsiteY14" fmla="*/ 102775 h 380904"/>
                <a:gd name="connsiteX15" fmla="*/ 86201 w 334994"/>
                <a:gd name="connsiteY15" fmla="*/ 170783 h 380904"/>
                <a:gd name="connsiteX16" fmla="*/ 86201 w 334994"/>
                <a:gd name="connsiteY16" fmla="*/ 380905 h 380904"/>
                <a:gd name="connsiteX17" fmla="*/ 0 w 334994"/>
                <a:gd name="connsiteY17" fmla="*/ 380905 h 380904"/>
                <a:gd name="connsiteX18" fmla="*/ 0 w 334994"/>
                <a:gd name="connsiteY18" fmla="*/ 7810 h 38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94" h="380904">
                  <a:moveTo>
                    <a:pt x="95" y="7715"/>
                  </a:moveTo>
                  <a:lnTo>
                    <a:pt x="86296" y="7715"/>
                  </a:lnTo>
                  <a:lnTo>
                    <a:pt x="86296" y="66294"/>
                  </a:lnTo>
                  <a:cubicBezTo>
                    <a:pt x="92392" y="57245"/>
                    <a:pt x="99060" y="48863"/>
                    <a:pt x="106394" y="40958"/>
                  </a:cubicBezTo>
                  <a:cubicBezTo>
                    <a:pt x="113633" y="33147"/>
                    <a:pt x="122110" y="26099"/>
                    <a:pt x="131731" y="19907"/>
                  </a:cubicBezTo>
                  <a:cubicBezTo>
                    <a:pt x="141351" y="13716"/>
                    <a:pt x="151924" y="8858"/>
                    <a:pt x="163449" y="5334"/>
                  </a:cubicBezTo>
                  <a:cubicBezTo>
                    <a:pt x="174974" y="1714"/>
                    <a:pt x="188024" y="0"/>
                    <a:pt x="202597" y="0"/>
                  </a:cubicBezTo>
                  <a:cubicBezTo>
                    <a:pt x="244888" y="0"/>
                    <a:pt x="277559" y="12954"/>
                    <a:pt x="300514" y="38862"/>
                  </a:cubicBezTo>
                  <a:cubicBezTo>
                    <a:pt x="323564" y="64770"/>
                    <a:pt x="334994" y="99631"/>
                    <a:pt x="334994" y="143446"/>
                  </a:cubicBezTo>
                  <a:lnTo>
                    <a:pt x="334994" y="380905"/>
                  </a:lnTo>
                  <a:lnTo>
                    <a:pt x="248793" y="380905"/>
                  </a:lnTo>
                  <a:lnTo>
                    <a:pt x="248793" y="169450"/>
                  </a:lnTo>
                  <a:cubicBezTo>
                    <a:pt x="248793" y="140303"/>
                    <a:pt x="241935" y="117824"/>
                    <a:pt x="228124" y="102108"/>
                  </a:cubicBezTo>
                  <a:cubicBezTo>
                    <a:pt x="214313" y="86392"/>
                    <a:pt x="194881" y="78486"/>
                    <a:pt x="169640" y="78486"/>
                  </a:cubicBezTo>
                  <a:cubicBezTo>
                    <a:pt x="144399" y="78486"/>
                    <a:pt x="124777" y="86582"/>
                    <a:pt x="109347" y="102775"/>
                  </a:cubicBezTo>
                  <a:cubicBezTo>
                    <a:pt x="93917" y="118967"/>
                    <a:pt x="86201" y="141637"/>
                    <a:pt x="86201" y="170783"/>
                  </a:cubicBezTo>
                  <a:lnTo>
                    <a:pt x="86201" y="380905"/>
                  </a:lnTo>
                  <a:lnTo>
                    <a:pt x="0" y="380905"/>
                  </a:lnTo>
                  <a:lnTo>
                    <a:pt x="0" y="7810"/>
                  </a:lnTo>
                  <a:close/>
                </a:path>
              </a:pathLst>
            </a:custGeom>
            <a:solidFill>
              <a:srgbClr val="44505E"/>
            </a:solidFill>
            <a:ln w="9525" cap="flat">
              <a:noFill/>
              <a:prstDash val="solid"/>
              <a:miter/>
            </a:ln>
          </p:spPr>
          <p:txBody>
            <a:bodyPr rtlCol="0" anchor="ctr"/>
            <a:lstStyle/>
            <a:p>
              <a:endParaRPr lang="pt-BR" noProof="0"/>
            </a:p>
          </p:txBody>
        </p:sp>
        <p:sp>
          <p:nvSpPr>
            <p:cNvPr id="24" name="Freeform: Shape 23">
              <a:extLst>
                <a:ext uri="{FF2B5EF4-FFF2-40B4-BE49-F238E27FC236}">
                  <a16:creationId xmlns:a16="http://schemas.microsoft.com/office/drawing/2014/main" id="{DF72BDBE-8362-4AE9-FC8F-22316D5F695A}"/>
                </a:ext>
              </a:extLst>
            </p:cNvPr>
            <p:cNvSpPr/>
            <p:nvPr/>
          </p:nvSpPr>
          <p:spPr>
            <a:xfrm>
              <a:off x="5692712" y="699959"/>
              <a:ext cx="100015" cy="97908"/>
            </a:xfrm>
            <a:custGeom>
              <a:avLst/>
              <a:gdLst>
                <a:gd name="connsiteX0" fmla="*/ 197834 w 397859"/>
                <a:gd name="connsiteY0" fmla="*/ 389477 h 389477"/>
                <a:gd name="connsiteX1" fmla="*/ 119063 w 397859"/>
                <a:gd name="connsiteY1" fmla="*/ 374237 h 389477"/>
                <a:gd name="connsiteX2" fmla="*/ 56197 w 397859"/>
                <a:gd name="connsiteY2" fmla="*/ 332899 h 389477"/>
                <a:gd name="connsiteX3" fmla="*/ 14859 w 397859"/>
                <a:gd name="connsiteY3" fmla="*/ 271463 h 389477"/>
                <a:gd name="connsiteX4" fmla="*/ 0 w 397859"/>
                <a:gd name="connsiteY4" fmla="*/ 196501 h 389477"/>
                <a:gd name="connsiteX5" fmla="*/ 0 w 397859"/>
                <a:gd name="connsiteY5" fmla="*/ 195072 h 389477"/>
                <a:gd name="connsiteX6" fmla="*/ 15145 w 397859"/>
                <a:gd name="connsiteY6" fmla="*/ 119444 h 389477"/>
                <a:gd name="connsiteX7" fmla="*/ 56864 w 397859"/>
                <a:gd name="connsiteY7" fmla="*/ 57626 h 389477"/>
                <a:gd name="connsiteX8" fmla="*/ 119729 w 397859"/>
                <a:gd name="connsiteY8" fmla="*/ 15526 h 389477"/>
                <a:gd name="connsiteX9" fmla="*/ 199263 w 397859"/>
                <a:gd name="connsiteY9" fmla="*/ 0 h 389477"/>
                <a:gd name="connsiteX10" fmla="*/ 278797 w 397859"/>
                <a:gd name="connsiteY10" fmla="*/ 15240 h 389477"/>
                <a:gd name="connsiteX11" fmla="*/ 341662 w 397859"/>
                <a:gd name="connsiteY11" fmla="*/ 56959 h 389477"/>
                <a:gd name="connsiteX12" fmla="*/ 383000 w 397859"/>
                <a:gd name="connsiteY12" fmla="*/ 118396 h 389477"/>
                <a:gd name="connsiteX13" fmla="*/ 397859 w 397859"/>
                <a:gd name="connsiteY13" fmla="*/ 193643 h 389477"/>
                <a:gd name="connsiteX14" fmla="*/ 397859 w 397859"/>
                <a:gd name="connsiteY14" fmla="*/ 195072 h 389477"/>
                <a:gd name="connsiteX15" fmla="*/ 382619 w 397859"/>
                <a:gd name="connsiteY15" fmla="*/ 270034 h 389477"/>
                <a:gd name="connsiteX16" fmla="*/ 340900 w 397859"/>
                <a:gd name="connsiteY16" fmla="*/ 331851 h 389477"/>
                <a:gd name="connsiteX17" fmla="*/ 277654 w 397859"/>
                <a:gd name="connsiteY17" fmla="*/ 373856 h 389477"/>
                <a:gd name="connsiteX18" fmla="*/ 197834 w 397859"/>
                <a:gd name="connsiteY18" fmla="*/ 389382 h 389477"/>
                <a:gd name="connsiteX19" fmla="*/ 199263 w 397859"/>
                <a:gd name="connsiteY19" fmla="*/ 315278 h 389477"/>
                <a:gd name="connsiteX20" fmla="*/ 245935 w 397859"/>
                <a:gd name="connsiteY20" fmla="*/ 305753 h 389477"/>
                <a:gd name="connsiteX21" fmla="*/ 281368 w 397859"/>
                <a:gd name="connsiteY21" fmla="*/ 279940 h 389477"/>
                <a:gd name="connsiteX22" fmla="*/ 303847 w 397859"/>
                <a:gd name="connsiteY22" fmla="*/ 242125 h 389477"/>
                <a:gd name="connsiteX23" fmla="*/ 311563 w 397859"/>
                <a:gd name="connsiteY23" fmla="*/ 196501 h 389477"/>
                <a:gd name="connsiteX24" fmla="*/ 311563 w 397859"/>
                <a:gd name="connsiteY24" fmla="*/ 195072 h 389477"/>
                <a:gd name="connsiteX25" fmla="*/ 303181 w 397859"/>
                <a:gd name="connsiteY25" fmla="*/ 148400 h 389477"/>
                <a:gd name="connsiteX26" fmla="*/ 279654 w 397859"/>
                <a:gd name="connsiteY26" fmla="*/ 110204 h 389477"/>
                <a:gd name="connsiteX27" fmla="*/ 243840 w 397859"/>
                <a:gd name="connsiteY27" fmla="*/ 84392 h 389477"/>
                <a:gd name="connsiteX28" fmla="*/ 197834 w 397859"/>
                <a:gd name="connsiteY28" fmla="*/ 74867 h 389477"/>
                <a:gd name="connsiteX29" fmla="*/ 151829 w 397859"/>
                <a:gd name="connsiteY29" fmla="*/ 84392 h 389477"/>
                <a:gd name="connsiteX30" fmla="*/ 116396 w 397859"/>
                <a:gd name="connsiteY30" fmla="*/ 109823 h 389477"/>
                <a:gd name="connsiteX31" fmla="*/ 93917 w 397859"/>
                <a:gd name="connsiteY31" fmla="*/ 147638 h 389477"/>
                <a:gd name="connsiteX32" fmla="*/ 86201 w 397859"/>
                <a:gd name="connsiteY32" fmla="*/ 193548 h 389477"/>
                <a:gd name="connsiteX33" fmla="*/ 86201 w 397859"/>
                <a:gd name="connsiteY33" fmla="*/ 194977 h 389477"/>
                <a:gd name="connsiteX34" fmla="*/ 94583 w 397859"/>
                <a:gd name="connsiteY34" fmla="*/ 241268 h 389477"/>
                <a:gd name="connsiteX35" fmla="*/ 118110 w 397859"/>
                <a:gd name="connsiteY35" fmla="*/ 279463 h 389477"/>
                <a:gd name="connsiteX36" fmla="*/ 153924 w 397859"/>
                <a:gd name="connsiteY36" fmla="*/ 305562 h 389477"/>
                <a:gd name="connsiteX37" fmla="*/ 199263 w 397859"/>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859" h="389477">
                  <a:moveTo>
                    <a:pt x="197834" y="389477"/>
                  </a:moveTo>
                  <a:cubicBezTo>
                    <a:pt x="169545" y="389477"/>
                    <a:pt x="143351" y="384429"/>
                    <a:pt x="119063" y="374237"/>
                  </a:cubicBezTo>
                  <a:cubicBezTo>
                    <a:pt x="94774" y="364141"/>
                    <a:pt x="73819" y="350330"/>
                    <a:pt x="56197" y="332899"/>
                  </a:cubicBezTo>
                  <a:cubicBezTo>
                    <a:pt x="38481" y="315468"/>
                    <a:pt x="24765" y="294989"/>
                    <a:pt x="14859" y="271463"/>
                  </a:cubicBezTo>
                  <a:cubicBezTo>
                    <a:pt x="4953" y="247936"/>
                    <a:pt x="0" y="222980"/>
                    <a:pt x="0" y="196501"/>
                  </a:cubicBezTo>
                  <a:lnTo>
                    <a:pt x="0" y="195072"/>
                  </a:lnTo>
                  <a:cubicBezTo>
                    <a:pt x="0" y="168212"/>
                    <a:pt x="5048" y="143066"/>
                    <a:pt x="15145" y="119444"/>
                  </a:cubicBezTo>
                  <a:cubicBezTo>
                    <a:pt x="25241" y="95917"/>
                    <a:pt x="39148" y="75248"/>
                    <a:pt x="56864" y="57626"/>
                  </a:cubicBezTo>
                  <a:cubicBezTo>
                    <a:pt x="74581" y="39910"/>
                    <a:pt x="95536" y="25908"/>
                    <a:pt x="119729" y="15526"/>
                  </a:cubicBezTo>
                  <a:cubicBezTo>
                    <a:pt x="144018" y="5144"/>
                    <a:pt x="170497" y="0"/>
                    <a:pt x="199263" y="0"/>
                  </a:cubicBezTo>
                  <a:cubicBezTo>
                    <a:pt x="228029" y="0"/>
                    <a:pt x="254508" y="5048"/>
                    <a:pt x="278797" y="15240"/>
                  </a:cubicBezTo>
                  <a:cubicBezTo>
                    <a:pt x="303085" y="25337"/>
                    <a:pt x="324041" y="39243"/>
                    <a:pt x="341662" y="56959"/>
                  </a:cubicBezTo>
                  <a:cubicBezTo>
                    <a:pt x="359378" y="74676"/>
                    <a:pt x="373094" y="95155"/>
                    <a:pt x="383000" y="118396"/>
                  </a:cubicBezTo>
                  <a:cubicBezTo>
                    <a:pt x="392906" y="141732"/>
                    <a:pt x="397859" y="166783"/>
                    <a:pt x="397859" y="193643"/>
                  </a:cubicBezTo>
                  <a:lnTo>
                    <a:pt x="397859" y="195072"/>
                  </a:lnTo>
                  <a:cubicBezTo>
                    <a:pt x="397859" y="221456"/>
                    <a:pt x="392811" y="246412"/>
                    <a:pt x="382619" y="270034"/>
                  </a:cubicBezTo>
                  <a:cubicBezTo>
                    <a:pt x="372523" y="293561"/>
                    <a:pt x="358616" y="314230"/>
                    <a:pt x="340900" y="331851"/>
                  </a:cubicBezTo>
                  <a:cubicBezTo>
                    <a:pt x="323183" y="349472"/>
                    <a:pt x="302133" y="363569"/>
                    <a:pt x="277654" y="373856"/>
                  </a:cubicBezTo>
                  <a:cubicBezTo>
                    <a:pt x="253175" y="384238"/>
                    <a:pt x="226504" y="389382"/>
                    <a:pt x="197834" y="389382"/>
                  </a:cubicBezTo>
                  <a:close/>
                  <a:moveTo>
                    <a:pt x="199263" y="315278"/>
                  </a:moveTo>
                  <a:cubicBezTo>
                    <a:pt x="216598" y="315278"/>
                    <a:pt x="232124" y="312039"/>
                    <a:pt x="245935" y="305753"/>
                  </a:cubicBezTo>
                  <a:cubicBezTo>
                    <a:pt x="259747" y="299371"/>
                    <a:pt x="271558" y="290798"/>
                    <a:pt x="281368" y="279940"/>
                  </a:cubicBezTo>
                  <a:cubicBezTo>
                    <a:pt x="291179" y="269081"/>
                    <a:pt x="298704" y="256508"/>
                    <a:pt x="303847" y="242125"/>
                  </a:cubicBezTo>
                  <a:cubicBezTo>
                    <a:pt x="308991" y="227743"/>
                    <a:pt x="311563" y="212598"/>
                    <a:pt x="311563" y="196501"/>
                  </a:cubicBezTo>
                  <a:lnTo>
                    <a:pt x="311563" y="195072"/>
                  </a:lnTo>
                  <a:cubicBezTo>
                    <a:pt x="311563" y="178594"/>
                    <a:pt x="308800" y="163068"/>
                    <a:pt x="303181" y="148400"/>
                  </a:cubicBezTo>
                  <a:cubicBezTo>
                    <a:pt x="297561" y="133826"/>
                    <a:pt x="289750" y="121063"/>
                    <a:pt x="279654" y="110204"/>
                  </a:cubicBezTo>
                  <a:cubicBezTo>
                    <a:pt x="269558" y="99346"/>
                    <a:pt x="257651" y="90773"/>
                    <a:pt x="243840" y="84392"/>
                  </a:cubicBezTo>
                  <a:cubicBezTo>
                    <a:pt x="230029" y="78010"/>
                    <a:pt x="214693" y="74867"/>
                    <a:pt x="197834" y="74867"/>
                  </a:cubicBezTo>
                  <a:cubicBezTo>
                    <a:pt x="180975" y="74867"/>
                    <a:pt x="165640" y="78010"/>
                    <a:pt x="151829" y="84392"/>
                  </a:cubicBezTo>
                  <a:cubicBezTo>
                    <a:pt x="138017" y="90773"/>
                    <a:pt x="126206" y="99250"/>
                    <a:pt x="116396" y="109823"/>
                  </a:cubicBezTo>
                  <a:cubicBezTo>
                    <a:pt x="106585" y="120396"/>
                    <a:pt x="99060" y="133064"/>
                    <a:pt x="93917" y="147638"/>
                  </a:cubicBezTo>
                  <a:cubicBezTo>
                    <a:pt x="88773" y="162211"/>
                    <a:pt x="86201" y="177546"/>
                    <a:pt x="86201" y="193548"/>
                  </a:cubicBezTo>
                  <a:lnTo>
                    <a:pt x="86201" y="194977"/>
                  </a:lnTo>
                  <a:cubicBezTo>
                    <a:pt x="86201" y="211455"/>
                    <a:pt x="88963" y="226886"/>
                    <a:pt x="94583" y="241268"/>
                  </a:cubicBezTo>
                  <a:cubicBezTo>
                    <a:pt x="100203" y="255651"/>
                    <a:pt x="108013" y="268319"/>
                    <a:pt x="118110" y="279463"/>
                  </a:cubicBezTo>
                  <a:cubicBezTo>
                    <a:pt x="128206" y="290513"/>
                    <a:pt x="140113" y="299275"/>
                    <a:pt x="153924" y="305562"/>
                  </a:cubicBezTo>
                  <a:cubicBezTo>
                    <a:pt x="167735" y="311944"/>
                    <a:pt x="182880"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25" name="Freeform: Shape 24">
              <a:extLst>
                <a:ext uri="{FF2B5EF4-FFF2-40B4-BE49-F238E27FC236}">
                  <a16:creationId xmlns:a16="http://schemas.microsoft.com/office/drawing/2014/main" id="{0DEB0778-DA54-38EA-82FB-12185F2D92B8}"/>
                </a:ext>
              </a:extLst>
            </p:cNvPr>
            <p:cNvSpPr/>
            <p:nvPr/>
          </p:nvSpPr>
          <p:spPr>
            <a:xfrm>
              <a:off x="5806925"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2 w 296894"/>
                <a:gd name="connsiteY36" fmla="*/ 224980 h 386714"/>
                <a:gd name="connsiteX37" fmla="*/ 296894 w 296894"/>
                <a:gd name="connsiteY37" fmla="*/ 267938 h 386714"/>
                <a:gd name="connsiteX38" fmla="*/ 296894 w 296894"/>
                <a:gd name="connsiteY38" fmla="*/ 269367 h 386714"/>
                <a:gd name="connsiteX39" fmla="*/ 286322 w 296894"/>
                <a:gd name="connsiteY39" fmla="*/ 320897 h 386714"/>
                <a:gd name="connsiteX40" fmla="*/ 256984 w 296894"/>
                <a:gd name="connsiteY40" fmla="*/ 357188 h 386714"/>
                <a:gd name="connsiteX41" fmla="*/ 212789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8" y="298704"/>
                    <a:pt x="100013" y="306514"/>
                  </a:cubicBezTo>
                  <a:cubicBezTo>
                    <a:pt x="120967" y="314325"/>
                    <a:pt x="141161" y="318135"/>
                    <a:pt x="160401" y="318135"/>
                  </a:cubicBezTo>
                  <a:cubicBezTo>
                    <a:pt x="179642" y="318135"/>
                    <a:pt x="192976"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2" y="241078"/>
                    <a:pt x="176498" y="237553"/>
                    <a:pt x="166402" y="234220"/>
                  </a:cubicBezTo>
                  <a:cubicBezTo>
                    <a:pt x="156305" y="230886"/>
                    <a:pt x="145733" y="227647"/>
                    <a:pt x="134969" y="224314"/>
                  </a:cubicBezTo>
                  <a:cubicBezTo>
                    <a:pt x="121253" y="220599"/>
                    <a:pt x="107537" y="216122"/>
                    <a:pt x="93631" y="210884"/>
                  </a:cubicBezTo>
                  <a:cubicBezTo>
                    <a:pt x="79724" y="205740"/>
                    <a:pt x="67246" y="198977"/>
                    <a:pt x="56197" y="190786"/>
                  </a:cubicBezTo>
                  <a:cubicBezTo>
                    <a:pt x="45149" y="182594"/>
                    <a:pt x="36100" y="172307"/>
                    <a:pt x="28956" y="160115"/>
                  </a:cubicBezTo>
                  <a:cubicBezTo>
                    <a:pt x="21908"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5"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7" y="156210"/>
                    <a:pt x="180975" y="159448"/>
                  </a:cubicBezTo>
                  <a:cubicBezTo>
                    <a:pt x="194596" y="163639"/>
                    <a:pt x="208312" y="168592"/>
                    <a:pt x="222028" y="174212"/>
                  </a:cubicBezTo>
                  <a:cubicBezTo>
                    <a:pt x="235649" y="179832"/>
                    <a:pt x="248031" y="186785"/>
                    <a:pt x="259080" y="194977"/>
                  </a:cubicBezTo>
                  <a:cubicBezTo>
                    <a:pt x="270129" y="203168"/>
                    <a:pt x="279273" y="213169"/>
                    <a:pt x="286322" y="224980"/>
                  </a:cubicBezTo>
                  <a:cubicBezTo>
                    <a:pt x="293370" y="236696"/>
                    <a:pt x="296894" y="251079"/>
                    <a:pt x="296894" y="267938"/>
                  </a:cubicBezTo>
                  <a:lnTo>
                    <a:pt x="296894" y="269367"/>
                  </a:lnTo>
                  <a:cubicBezTo>
                    <a:pt x="296894" y="289084"/>
                    <a:pt x="293370" y="306229"/>
                    <a:pt x="286322" y="320897"/>
                  </a:cubicBezTo>
                  <a:cubicBezTo>
                    <a:pt x="279273" y="335470"/>
                    <a:pt x="269462" y="347567"/>
                    <a:pt x="256984" y="357188"/>
                  </a:cubicBezTo>
                  <a:cubicBezTo>
                    <a:pt x="244507" y="366808"/>
                    <a:pt x="229743" y="374142"/>
                    <a:pt x="212789"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6" name="Freeform: Shape 25">
              <a:extLst>
                <a:ext uri="{FF2B5EF4-FFF2-40B4-BE49-F238E27FC236}">
                  <a16:creationId xmlns:a16="http://schemas.microsoft.com/office/drawing/2014/main" id="{3094A6A3-D349-BDA1-1BE7-87CC081B96A5}"/>
                </a:ext>
              </a:extLst>
            </p:cNvPr>
            <p:cNvSpPr/>
            <p:nvPr/>
          </p:nvSpPr>
          <p:spPr>
            <a:xfrm>
              <a:off x="589573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6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160" y="318135"/>
                    <a:pt x="160401" y="318135"/>
                  </a:cubicBezTo>
                  <a:cubicBezTo>
                    <a:pt x="179641" y="318135"/>
                    <a:pt x="192976"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4"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792"/>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7" name="Freeform: Shape 26">
              <a:extLst>
                <a:ext uri="{FF2B5EF4-FFF2-40B4-BE49-F238E27FC236}">
                  <a16:creationId xmlns:a16="http://schemas.microsoft.com/office/drawing/2014/main" id="{FC47D559-599E-8D77-3D35-7450D29C302F}"/>
                </a:ext>
              </a:extLst>
            </p:cNvPr>
            <p:cNvSpPr/>
            <p:nvPr/>
          </p:nvSpPr>
          <p:spPr>
            <a:xfrm>
              <a:off x="5985812" y="700558"/>
              <a:ext cx="85097" cy="97141"/>
            </a:xfrm>
            <a:custGeom>
              <a:avLst/>
              <a:gdLst>
                <a:gd name="connsiteX0" fmla="*/ 253651 w 338518"/>
                <a:gd name="connsiteY0" fmla="*/ 378619 h 386429"/>
                <a:gd name="connsiteX1" fmla="*/ 253651 w 338518"/>
                <a:gd name="connsiteY1" fmla="*/ 332708 h 386429"/>
                <a:gd name="connsiteX2" fmla="*/ 204883 w 338518"/>
                <a:gd name="connsiteY2" fmla="*/ 370904 h 386429"/>
                <a:gd name="connsiteX3" fmla="*/ 132779 w 338518"/>
                <a:gd name="connsiteY3" fmla="*/ 386429 h 386429"/>
                <a:gd name="connsiteX4" fmla="*/ 81915 w 338518"/>
                <a:gd name="connsiteY4" fmla="*/ 379000 h 386429"/>
                <a:gd name="connsiteX5" fmla="*/ 39910 w 338518"/>
                <a:gd name="connsiteY5" fmla="*/ 357092 h 386429"/>
                <a:gd name="connsiteX6" fmla="*/ 10954 w 338518"/>
                <a:gd name="connsiteY6" fmla="*/ 321088 h 386429"/>
                <a:gd name="connsiteX7" fmla="*/ 0 w 338518"/>
                <a:gd name="connsiteY7" fmla="*/ 271272 h 386429"/>
                <a:gd name="connsiteX8" fmla="*/ 0 w 338518"/>
                <a:gd name="connsiteY8" fmla="*/ 269843 h 386429"/>
                <a:gd name="connsiteX9" fmla="*/ 11335 w 338518"/>
                <a:gd name="connsiteY9" fmla="*/ 215741 h 386429"/>
                <a:gd name="connsiteX10" fmla="*/ 42767 w 338518"/>
                <a:gd name="connsiteY10" fmla="*/ 177546 h 386429"/>
                <a:gd name="connsiteX11" fmla="*/ 90773 w 338518"/>
                <a:gd name="connsiteY11" fmla="*/ 154972 h 386429"/>
                <a:gd name="connsiteX12" fmla="*/ 151162 w 338518"/>
                <a:gd name="connsiteY12" fmla="*/ 147542 h 386429"/>
                <a:gd name="connsiteX13" fmla="*/ 208788 w 338518"/>
                <a:gd name="connsiteY13" fmla="*/ 151829 h 386429"/>
                <a:gd name="connsiteX14" fmla="*/ 254413 w 338518"/>
                <a:gd name="connsiteY14" fmla="*/ 163163 h 386429"/>
                <a:gd name="connsiteX15" fmla="*/ 254413 w 338518"/>
                <a:gd name="connsiteY15" fmla="*/ 156115 h 386429"/>
                <a:gd name="connsiteX16" fmla="*/ 230696 w 338518"/>
                <a:gd name="connsiteY16" fmla="*/ 96774 h 386429"/>
                <a:gd name="connsiteX17" fmla="*/ 162496 w 338518"/>
                <a:gd name="connsiteY17" fmla="*/ 76295 h 386429"/>
                <a:gd name="connsiteX18" fmla="*/ 106013 w 338518"/>
                <a:gd name="connsiteY18" fmla="*/ 82677 h 386429"/>
                <a:gd name="connsiteX19" fmla="*/ 55816 w 338518"/>
                <a:gd name="connsiteY19" fmla="*/ 99632 h 386429"/>
                <a:gd name="connsiteX20" fmla="*/ 32480 w 338518"/>
                <a:gd name="connsiteY20" fmla="*/ 31052 h 386429"/>
                <a:gd name="connsiteX21" fmla="*/ 96107 w 338518"/>
                <a:gd name="connsiteY21" fmla="*/ 8477 h 386429"/>
                <a:gd name="connsiteX22" fmla="*/ 174593 w 338518"/>
                <a:gd name="connsiteY22" fmla="*/ 0 h 386429"/>
                <a:gd name="connsiteX23" fmla="*/ 298228 w 338518"/>
                <a:gd name="connsiteY23" fmla="*/ 41338 h 386429"/>
                <a:gd name="connsiteX24" fmla="*/ 338519 w 338518"/>
                <a:gd name="connsiteY24" fmla="*/ 157544 h 386429"/>
                <a:gd name="connsiteX25" fmla="*/ 338519 w 338518"/>
                <a:gd name="connsiteY25" fmla="*/ 378714 h 386429"/>
                <a:gd name="connsiteX26" fmla="*/ 253746 w 338518"/>
                <a:gd name="connsiteY26" fmla="*/ 378714 h 386429"/>
                <a:gd name="connsiteX27" fmla="*/ 255746 w 338518"/>
                <a:gd name="connsiteY27" fmla="*/ 222409 h 386429"/>
                <a:gd name="connsiteX28" fmla="*/ 217265 w 338518"/>
                <a:gd name="connsiteY28" fmla="*/ 211836 h 386429"/>
                <a:gd name="connsiteX29" fmla="*/ 170307 w 338518"/>
                <a:gd name="connsiteY29" fmla="*/ 207550 h 386429"/>
                <a:gd name="connsiteX30" fmla="*/ 107442 w 338518"/>
                <a:gd name="connsiteY30" fmla="*/ 223075 h 386429"/>
                <a:gd name="connsiteX31" fmla="*/ 84868 w 338518"/>
                <a:gd name="connsiteY31" fmla="*/ 265462 h 386429"/>
                <a:gd name="connsiteX32" fmla="*/ 84868 w 338518"/>
                <a:gd name="connsiteY32" fmla="*/ 266891 h 386429"/>
                <a:gd name="connsiteX33" fmla="*/ 105728 w 338518"/>
                <a:gd name="connsiteY33" fmla="*/ 307848 h 386429"/>
                <a:gd name="connsiteX34" fmla="*/ 156972 w 338518"/>
                <a:gd name="connsiteY34" fmla="*/ 321945 h 386429"/>
                <a:gd name="connsiteX35" fmla="*/ 196215 w 338518"/>
                <a:gd name="connsiteY35" fmla="*/ 316325 h 386429"/>
                <a:gd name="connsiteX36" fmla="*/ 227647 w 338518"/>
                <a:gd name="connsiteY36" fmla="*/ 300419 h 386429"/>
                <a:gd name="connsiteX37" fmla="*/ 248507 w 338518"/>
                <a:gd name="connsiteY37" fmla="*/ 275654 h 386429"/>
                <a:gd name="connsiteX38" fmla="*/ 255937 w 338518"/>
                <a:gd name="connsiteY38" fmla="*/ 243459 h 386429"/>
                <a:gd name="connsiteX39" fmla="*/ 255937 w 338518"/>
                <a:gd name="connsiteY39" fmla="*/ 222218 h 3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8518" h="386429">
                  <a:moveTo>
                    <a:pt x="253651" y="378619"/>
                  </a:moveTo>
                  <a:lnTo>
                    <a:pt x="253651" y="332708"/>
                  </a:lnTo>
                  <a:cubicBezTo>
                    <a:pt x="240887" y="347758"/>
                    <a:pt x="224695" y="360521"/>
                    <a:pt x="204883" y="370904"/>
                  </a:cubicBezTo>
                  <a:cubicBezTo>
                    <a:pt x="185071" y="381286"/>
                    <a:pt x="161068" y="386429"/>
                    <a:pt x="132779" y="386429"/>
                  </a:cubicBezTo>
                  <a:cubicBezTo>
                    <a:pt x="114871" y="386429"/>
                    <a:pt x="97917" y="383953"/>
                    <a:pt x="81915" y="379000"/>
                  </a:cubicBezTo>
                  <a:cubicBezTo>
                    <a:pt x="65913" y="374047"/>
                    <a:pt x="51911" y="366713"/>
                    <a:pt x="39910" y="357092"/>
                  </a:cubicBezTo>
                  <a:cubicBezTo>
                    <a:pt x="27908" y="347472"/>
                    <a:pt x="18193" y="335471"/>
                    <a:pt x="10954" y="321088"/>
                  </a:cubicBezTo>
                  <a:cubicBezTo>
                    <a:pt x="3620" y="306705"/>
                    <a:pt x="0" y="290132"/>
                    <a:pt x="0" y="271272"/>
                  </a:cubicBezTo>
                  <a:lnTo>
                    <a:pt x="0" y="269843"/>
                  </a:lnTo>
                  <a:cubicBezTo>
                    <a:pt x="0" y="249079"/>
                    <a:pt x="3810" y="231077"/>
                    <a:pt x="11335" y="215741"/>
                  </a:cubicBezTo>
                  <a:cubicBezTo>
                    <a:pt x="18859" y="200406"/>
                    <a:pt x="29337" y="187738"/>
                    <a:pt x="42767" y="177546"/>
                  </a:cubicBezTo>
                  <a:cubicBezTo>
                    <a:pt x="56197" y="167450"/>
                    <a:pt x="72199" y="159925"/>
                    <a:pt x="90773" y="154972"/>
                  </a:cubicBezTo>
                  <a:cubicBezTo>
                    <a:pt x="109347" y="150019"/>
                    <a:pt x="129540" y="147542"/>
                    <a:pt x="151162" y="147542"/>
                  </a:cubicBezTo>
                  <a:cubicBezTo>
                    <a:pt x="172783" y="147542"/>
                    <a:pt x="192976" y="148971"/>
                    <a:pt x="208788" y="151829"/>
                  </a:cubicBezTo>
                  <a:cubicBezTo>
                    <a:pt x="224599" y="154686"/>
                    <a:pt x="239744" y="158401"/>
                    <a:pt x="254413" y="163163"/>
                  </a:cubicBezTo>
                  <a:lnTo>
                    <a:pt x="254413" y="156115"/>
                  </a:lnTo>
                  <a:cubicBezTo>
                    <a:pt x="254413" y="130207"/>
                    <a:pt x="246507" y="110395"/>
                    <a:pt x="230696" y="96774"/>
                  </a:cubicBezTo>
                  <a:cubicBezTo>
                    <a:pt x="214884" y="83153"/>
                    <a:pt x="192214" y="76295"/>
                    <a:pt x="162496" y="76295"/>
                  </a:cubicBezTo>
                  <a:cubicBezTo>
                    <a:pt x="141351" y="76295"/>
                    <a:pt x="122491" y="78391"/>
                    <a:pt x="106013" y="82677"/>
                  </a:cubicBezTo>
                  <a:cubicBezTo>
                    <a:pt x="89535" y="86963"/>
                    <a:pt x="72771" y="92583"/>
                    <a:pt x="55816" y="99632"/>
                  </a:cubicBezTo>
                  <a:lnTo>
                    <a:pt x="32480" y="31052"/>
                  </a:lnTo>
                  <a:cubicBezTo>
                    <a:pt x="53149" y="21622"/>
                    <a:pt x="74390" y="14097"/>
                    <a:pt x="96107" y="8477"/>
                  </a:cubicBezTo>
                  <a:cubicBezTo>
                    <a:pt x="117729" y="2858"/>
                    <a:pt x="143923" y="0"/>
                    <a:pt x="174593" y="0"/>
                  </a:cubicBezTo>
                  <a:cubicBezTo>
                    <a:pt x="230124" y="0"/>
                    <a:pt x="271367" y="13811"/>
                    <a:pt x="298228" y="41338"/>
                  </a:cubicBezTo>
                  <a:cubicBezTo>
                    <a:pt x="325088" y="68866"/>
                    <a:pt x="338519" y="107633"/>
                    <a:pt x="338519" y="157544"/>
                  </a:cubicBezTo>
                  <a:lnTo>
                    <a:pt x="338519" y="378714"/>
                  </a:lnTo>
                  <a:lnTo>
                    <a:pt x="253746" y="378714"/>
                  </a:lnTo>
                  <a:close/>
                  <a:moveTo>
                    <a:pt x="255746" y="222409"/>
                  </a:moveTo>
                  <a:cubicBezTo>
                    <a:pt x="244888" y="218123"/>
                    <a:pt x="232029" y="214598"/>
                    <a:pt x="217265" y="211836"/>
                  </a:cubicBezTo>
                  <a:cubicBezTo>
                    <a:pt x="202406" y="208979"/>
                    <a:pt x="186785" y="207550"/>
                    <a:pt x="170307" y="207550"/>
                  </a:cubicBezTo>
                  <a:cubicBezTo>
                    <a:pt x="143446" y="207550"/>
                    <a:pt x="122491" y="212693"/>
                    <a:pt x="107442" y="223075"/>
                  </a:cubicBezTo>
                  <a:cubicBezTo>
                    <a:pt x="92392" y="233458"/>
                    <a:pt x="84868" y="247555"/>
                    <a:pt x="84868" y="265462"/>
                  </a:cubicBezTo>
                  <a:lnTo>
                    <a:pt x="84868" y="266891"/>
                  </a:lnTo>
                  <a:cubicBezTo>
                    <a:pt x="84868" y="284798"/>
                    <a:pt x="91821" y="298418"/>
                    <a:pt x="105728" y="307848"/>
                  </a:cubicBezTo>
                  <a:cubicBezTo>
                    <a:pt x="119634" y="317278"/>
                    <a:pt x="136684" y="321945"/>
                    <a:pt x="156972" y="321945"/>
                  </a:cubicBezTo>
                  <a:cubicBezTo>
                    <a:pt x="171069" y="321945"/>
                    <a:pt x="184213" y="320040"/>
                    <a:pt x="196215" y="316325"/>
                  </a:cubicBezTo>
                  <a:cubicBezTo>
                    <a:pt x="208216" y="312515"/>
                    <a:pt x="218694" y="307277"/>
                    <a:pt x="227647" y="300419"/>
                  </a:cubicBezTo>
                  <a:cubicBezTo>
                    <a:pt x="236601" y="293561"/>
                    <a:pt x="243554" y="285369"/>
                    <a:pt x="248507" y="275654"/>
                  </a:cubicBezTo>
                  <a:cubicBezTo>
                    <a:pt x="253460" y="266033"/>
                    <a:pt x="255937" y="255270"/>
                    <a:pt x="255937" y="243459"/>
                  </a:cubicBezTo>
                  <a:lnTo>
                    <a:pt x="255937" y="222218"/>
                  </a:lnTo>
                  <a:close/>
                </a:path>
              </a:pathLst>
            </a:custGeom>
            <a:solidFill>
              <a:srgbClr val="44505E"/>
            </a:solidFill>
            <a:ln w="9525" cap="flat">
              <a:noFill/>
              <a:prstDash val="solid"/>
              <a:miter/>
            </a:ln>
          </p:spPr>
          <p:txBody>
            <a:bodyPr rtlCol="0" anchor="ctr"/>
            <a:lstStyle/>
            <a:p>
              <a:endParaRPr lang="pt-BR" noProof="0"/>
            </a:p>
          </p:txBody>
        </p:sp>
        <p:sp>
          <p:nvSpPr>
            <p:cNvPr id="28" name="Freeform: Shape 27">
              <a:extLst>
                <a:ext uri="{FF2B5EF4-FFF2-40B4-BE49-F238E27FC236}">
                  <a16:creationId xmlns:a16="http://schemas.microsoft.com/office/drawing/2014/main" id="{CF4C7681-79AC-C5DD-DB24-7F1CF0FAC28A}"/>
                </a:ext>
              </a:extLst>
            </p:cNvPr>
            <p:cNvSpPr/>
            <p:nvPr/>
          </p:nvSpPr>
          <p:spPr>
            <a:xfrm>
              <a:off x="6088843" y="700318"/>
              <a:ext cx="74610" cy="97213"/>
            </a:xfrm>
            <a:custGeom>
              <a:avLst/>
              <a:gdLst>
                <a:gd name="connsiteX0" fmla="*/ 158305 w 296799"/>
                <a:gd name="connsiteY0" fmla="*/ 386715 h 386714"/>
                <a:gd name="connsiteX1" fmla="*/ 76676 w 296799"/>
                <a:gd name="connsiteY1" fmla="*/ 372427 h 386714"/>
                <a:gd name="connsiteX2" fmla="*/ 0 w 296799"/>
                <a:gd name="connsiteY2" fmla="*/ 330327 h 386714"/>
                <a:gd name="connsiteX3" fmla="*/ 38195 w 296799"/>
                <a:gd name="connsiteY3" fmla="*/ 272224 h 386714"/>
                <a:gd name="connsiteX4" fmla="*/ 100013 w 296799"/>
                <a:gd name="connsiteY4" fmla="*/ 306514 h 386714"/>
                <a:gd name="connsiteX5" fmla="*/ 160401 w 296799"/>
                <a:gd name="connsiteY5" fmla="*/ 318135 h 386714"/>
                <a:gd name="connsiteX6" fmla="*/ 203168 w 296799"/>
                <a:gd name="connsiteY6" fmla="*/ 307181 h 386714"/>
                <a:gd name="connsiteX7" fmla="*/ 218408 w 296799"/>
                <a:gd name="connsiteY7" fmla="*/ 277939 h 386714"/>
                <a:gd name="connsiteX8" fmla="*/ 218408 w 296799"/>
                <a:gd name="connsiteY8" fmla="*/ 276511 h 386714"/>
                <a:gd name="connsiteX9" fmla="*/ 211646 w 296799"/>
                <a:gd name="connsiteY9" fmla="*/ 258223 h 386714"/>
                <a:gd name="connsiteX10" fmla="*/ 193262 w 296799"/>
                <a:gd name="connsiteY10" fmla="*/ 244792 h 386714"/>
                <a:gd name="connsiteX11" fmla="*/ 166402 w 296799"/>
                <a:gd name="connsiteY11" fmla="*/ 234220 h 386714"/>
                <a:gd name="connsiteX12" fmla="*/ 134969 w 296799"/>
                <a:gd name="connsiteY12" fmla="*/ 224314 h 386714"/>
                <a:gd name="connsiteX13" fmla="*/ 93631 w 296799"/>
                <a:gd name="connsiteY13" fmla="*/ 210884 h 386714"/>
                <a:gd name="connsiteX14" fmla="*/ 56197 w 296799"/>
                <a:gd name="connsiteY14" fmla="*/ 190786 h 386714"/>
                <a:gd name="connsiteX15" fmla="*/ 28956 w 296799"/>
                <a:gd name="connsiteY15" fmla="*/ 160115 h 386714"/>
                <a:gd name="connsiteX16" fmla="*/ 18383 w 296799"/>
                <a:gd name="connsiteY16" fmla="*/ 114967 h 386714"/>
                <a:gd name="connsiteX17" fmla="*/ 18383 w 296799"/>
                <a:gd name="connsiteY17" fmla="*/ 113538 h 386714"/>
                <a:gd name="connsiteX18" fmla="*/ 28575 w 296799"/>
                <a:gd name="connsiteY18" fmla="*/ 66294 h 386714"/>
                <a:gd name="connsiteX19" fmla="*/ 56864 w 296799"/>
                <a:gd name="connsiteY19" fmla="*/ 30385 h 386714"/>
                <a:gd name="connsiteX20" fmla="*/ 99250 w 296799"/>
                <a:gd name="connsiteY20" fmla="*/ 7810 h 386714"/>
                <a:gd name="connsiteX21" fmla="*/ 151162 w 296799"/>
                <a:gd name="connsiteY21" fmla="*/ 0 h 386714"/>
                <a:gd name="connsiteX22" fmla="*/ 222504 w 296799"/>
                <a:gd name="connsiteY22" fmla="*/ 11430 h 386714"/>
                <a:gd name="connsiteX23" fmla="*/ 288227 w 296799"/>
                <a:gd name="connsiteY23" fmla="*/ 42863 h 386714"/>
                <a:gd name="connsiteX24" fmla="*/ 254317 w 296799"/>
                <a:gd name="connsiteY24" fmla="*/ 103918 h 386714"/>
                <a:gd name="connsiteX25" fmla="*/ 199930 w 296799"/>
                <a:gd name="connsiteY25" fmla="*/ 78105 h 386714"/>
                <a:gd name="connsiteX26" fmla="*/ 149066 w 296799"/>
                <a:gd name="connsiteY26" fmla="*/ 68580 h 386714"/>
                <a:gd name="connsiteX27" fmla="*/ 110585 w 296799"/>
                <a:gd name="connsiteY27" fmla="*/ 79153 h 386714"/>
                <a:gd name="connsiteX28" fmla="*/ 96774 w 296799"/>
                <a:gd name="connsiteY28" fmla="*/ 105918 h 386714"/>
                <a:gd name="connsiteX29" fmla="*/ 96774 w 296799"/>
                <a:gd name="connsiteY29" fmla="*/ 107347 h 386714"/>
                <a:gd name="connsiteX30" fmla="*/ 103822 w 296799"/>
                <a:gd name="connsiteY30" fmla="*/ 124587 h 386714"/>
                <a:gd name="connsiteX31" fmla="*/ 122587 w 296799"/>
                <a:gd name="connsiteY31" fmla="*/ 138017 h 386714"/>
                <a:gd name="connsiteX32" fmla="*/ 149447 w 296799"/>
                <a:gd name="connsiteY32" fmla="*/ 149257 h 386714"/>
                <a:gd name="connsiteX33" fmla="*/ 180880 w 296799"/>
                <a:gd name="connsiteY33" fmla="*/ 159448 h 386714"/>
                <a:gd name="connsiteX34" fmla="*/ 221837 w 296799"/>
                <a:gd name="connsiteY34" fmla="*/ 174212 h 386714"/>
                <a:gd name="connsiteX35" fmla="*/ 258985 w 296799"/>
                <a:gd name="connsiteY35" fmla="*/ 194977 h 386714"/>
                <a:gd name="connsiteX36" fmla="*/ 286226 w 296799"/>
                <a:gd name="connsiteY36" fmla="*/ 224980 h 386714"/>
                <a:gd name="connsiteX37" fmla="*/ 296799 w 296799"/>
                <a:gd name="connsiteY37" fmla="*/ 267938 h 386714"/>
                <a:gd name="connsiteX38" fmla="*/ 296799 w 296799"/>
                <a:gd name="connsiteY38" fmla="*/ 269367 h 386714"/>
                <a:gd name="connsiteX39" fmla="*/ 286226 w 296799"/>
                <a:gd name="connsiteY39" fmla="*/ 320897 h 386714"/>
                <a:gd name="connsiteX40" fmla="*/ 256889 w 296799"/>
                <a:gd name="connsiteY40" fmla="*/ 357188 h 386714"/>
                <a:gd name="connsiteX41" fmla="*/ 212693 w 296799"/>
                <a:gd name="connsiteY41" fmla="*/ 379095 h 386714"/>
                <a:gd name="connsiteX42" fmla="*/ 158305 w 296799"/>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799"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065" y="318135"/>
                    <a:pt x="160401" y="318135"/>
                  </a:cubicBezTo>
                  <a:cubicBezTo>
                    <a:pt x="179737" y="318135"/>
                    <a:pt x="193072"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828" y="227647"/>
                    <a:pt x="134969" y="224314"/>
                  </a:cubicBezTo>
                  <a:cubicBezTo>
                    <a:pt x="121348" y="220599"/>
                    <a:pt x="107537" y="216122"/>
                    <a:pt x="93631" y="210884"/>
                  </a:cubicBezTo>
                  <a:cubicBezTo>
                    <a:pt x="79724" y="205740"/>
                    <a:pt x="67246" y="198977"/>
                    <a:pt x="56197" y="190786"/>
                  </a:cubicBezTo>
                  <a:cubicBezTo>
                    <a:pt x="45148" y="182594"/>
                    <a:pt x="36004"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874" y="0"/>
                    <a:pt x="151162" y="0"/>
                  </a:cubicBezTo>
                  <a:cubicBezTo>
                    <a:pt x="174688" y="0"/>
                    <a:pt x="198501" y="3810"/>
                    <a:pt x="222504" y="11430"/>
                  </a:cubicBezTo>
                  <a:cubicBezTo>
                    <a:pt x="246507" y="19050"/>
                    <a:pt x="268414" y="29527"/>
                    <a:pt x="288227" y="42863"/>
                  </a:cubicBezTo>
                  <a:lnTo>
                    <a:pt x="254317"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774" y="95155"/>
                    <a:pt x="96774" y="105918"/>
                  </a:cubicBezTo>
                  <a:lnTo>
                    <a:pt x="96774" y="107347"/>
                  </a:lnTo>
                  <a:cubicBezTo>
                    <a:pt x="96774" y="113919"/>
                    <a:pt x="99155" y="119634"/>
                    <a:pt x="103822" y="124587"/>
                  </a:cubicBezTo>
                  <a:cubicBezTo>
                    <a:pt x="108490" y="129540"/>
                    <a:pt x="114776" y="134017"/>
                    <a:pt x="122587" y="138017"/>
                  </a:cubicBezTo>
                  <a:cubicBezTo>
                    <a:pt x="130397" y="142018"/>
                    <a:pt x="139351" y="145732"/>
                    <a:pt x="149447" y="149257"/>
                  </a:cubicBezTo>
                  <a:cubicBezTo>
                    <a:pt x="159544" y="152781"/>
                    <a:pt x="170021" y="156210"/>
                    <a:pt x="180880" y="159448"/>
                  </a:cubicBezTo>
                  <a:cubicBezTo>
                    <a:pt x="194500" y="163639"/>
                    <a:pt x="208216" y="168592"/>
                    <a:pt x="221837" y="174212"/>
                  </a:cubicBezTo>
                  <a:cubicBezTo>
                    <a:pt x="235458" y="179832"/>
                    <a:pt x="247840" y="186785"/>
                    <a:pt x="258985" y="194977"/>
                  </a:cubicBezTo>
                  <a:cubicBezTo>
                    <a:pt x="270034" y="203168"/>
                    <a:pt x="279178" y="213169"/>
                    <a:pt x="286226" y="224980"/>
                  </a:cubicBezTo>
                  <a:cubicBezTo>
                    <a:pt x="293275" y="236696"/>
                    <a:pt x="296799" y="251079"/>
                    <a:pt x="296799" y="267938"/>
                  </a:cubicBezTo>
                  <a:lnTo>
                    <a:pt x="296799" y="269367"/>
                  </a:lnTo>
                  <a:cubicBezTo>
                    <a:pt x="296799" y="289084"/>
                    <a:pt x="293275" y="306229"/>
                    <a:pt x="286226" y="320897"/>
                  </a:cubicBezTo>
                  <a:cubicBezTo>
                    <a:pt x="279178" y="335470"/>
                    <a:pt x="269367" y="347567"/>
                    <a:pt x="256889" y="357188"/>
                  </a:cubicBezTo>
                  <a:cubicBezTo>
                    <a:pt x="244412" y="366808"/>
                    <a:pt x="229648" y="374142"/>
                    <a:pt x="212693" y="379095"/>
                  </a:cubicBezTo>
                  <a:cubicBezTo>
                    <a:pt x="195739" y="384048"/>
                    <a:pt x="177641" y="386524"/>
                    <a:pt x="158305" y="386524"/>
                  </a:cubicBezTo>
                  <a:close/>
                </a:path>
              </a:pathLst>
            </a:custGeom>
            <a:solidFill>
              <a:srgbClr val="44505E"/>
            </a:solidFill>
            <a:ln w="9525" cap="flat">
              <a:noFill/>
              <a:prstDash val="solid"/>
              <a:miter/>
            </a:ln>
          </p:spPr>
          <p:txBody>
            <a:bodyPr rtlCol="0" anchor="ctr"/>
            <a:lstStyle/>
            <a:p>
              <a:endParaRPr lang="pt-BR" noProof="0"/>
            </a:p>
          </p:txBody>
        </p:sp>
        <p:sp>
          <p:nvSpPr>
            <p:cNvPr id="29" name="Freeform: Shape 28">
              <a:extLst>
                <a:ext uri="{FF2B5EF4-FFF2-40B4-BE49-F238E27FC236}">
                  <a16:creationId xmlns:a16="http://schemas.microsoft.com/office/drawing/2014/main" id="{ACFDA662-3B57-3BAC-02CF-20D4A73A9869}"/>
                </a:ext>
              </a:extLst>
            </p:cNvPr>
            <p:cNvSpPr/>
            <p:nvPr/>
          </p:nvSpPr>
          <p:spPr>
            <a:xfrm>
              <a:off x="6238590"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4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7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2 w 568166"/>
                <a:gd name="connsiteY21" fmla="*/ 381000 h 381000"/>
                <a:gd name="connsiteX22" fmla="*/ 240982 w 568166"/>
                <a:gd name="connsiteY22" fmla="*/ 168783 h 381000"/>
                <a:gd name="connsiteX23" fmla="*/ 221266 w 568166"/>
                <a:gd name="connsiteY23" fmla="*/ 101822 h 381000"/>
                <a:gd name="connsiteX24" fmla="*/ 165640 w 568166"/>
                <a:gd name="connsiteY24" fmla="*/ 78581 h 381000"/>
                <a:gd name="connsiteX25" fmla="*/ 108013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69" y="48196"/>
                    <a:pt x="105918" y="40576"/>
                  </a:cubicBezTo>
                  <a:cubicBezTo>
                    <a:pt x="112966" y="32956"/>
                    <a:pt x="121063" y="26099"/>
                    <a:pt x="130207" y="19907"/>
                  </a:cubicBezTo>
                  <a:cubicBezTo>
                    <a:pt x="139351" y="13716"/>
                    <a:pt x="149638" y="8858"/>
                    <a:pt x="161163" y="5334"/>
                  </a:cubicBezTo>
                  <a:cubicBezTo>
                    <a:pt x="172688" y="1714"/>
                    <a:pt x="185452" y="0"/>
                    <a:pt x="199549" y="0"/>
                  </a:cubicBezTo>
                  <a:cubicBezTo>
                    <a:pt x="226314" y="0"/>
                    <a:pt x="248983" y="6096"/>
                    <a:pt x="267557" y="18193"/>
                  </a:cubicBezTo>
                  <a:cubicBezTo>
                    <a:pt x="286131" y="30289"/>
                    <a:pt x="300323" y="46387"/>
                    <a:pt x="310134" y="66294"/>
                  </a:cubicBezTo>
                  <a:cubicBezTo>
                    <a:pt x="325279" y="46387"/>
                    <a:pt x="343090" y="30289"/>
                    <a:pt x="363664" y="18193"/>
                  </a:cubicBezTo>
                  <a:cubicBezTo>
                    <a:pt x="384238" y="6096"/>
                    <a:pt x="408718" y="0"/>
                    <a:pt x="437007" y="0"/>
                  </a:cubicBezTo>
                  <a:cubicBezTo>
                    <a:pt x="478155"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7" y="78486"/>
                  </a:cubicBezTo>
                  <a:cubicBezTo>
                    <a:pt x="382809" y="78486"/>
                    <a:pt x="364141" y="86392"/>
                    <a:pt x="349377" y="102108"/>
                  </a:cubicBezTo>
                  <a:cubicBezTo>
                    <a:pt x="334613" y="117824"/>
                    <a:pt x="327184" y="140779"/>
                    <a:pt x="327184" y="170879"/>
                  </a:cubicBezTo>
                  <a:lnTo>
                    <a:pt x="327184" y="381000"/>
                  </a:lnTo>
                  <a:lnTo>
                    <a:pt x="240982" y="381000"/>
                  </a:lnTo>
                  <a:lnTo>
                    <a:pt x="240982" y="168783"/>
                  </a:lnTo>
                  <a:cubicBezTo>
                    <a:pt x="240982" y="139637"/>
                    <a:pt x="234410" y="117348"/>
                    <a:pt x="221266" y="101822"/>
                  </a:cubicBezTo>
                  <a:cubicBezTo>
                    <a:pt x="208121" y="86296"/>
                    <a:pt x="189547" y="78581"/>
                    <a:pt x="165640" y="78581"/>
                  </a:cubicBezTo>
                  <a:cubicBezTo>
                    <a:pt x="141732" y="78581"/>
                    <a:pt x="122491" y="86773"/>
                    <a:pt x="108013"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30" name="Freeform: Shape 29">
              <a:extLst>
                <a:ext uri="{FF2B5EF4-FFF2-40B4-BE49-F238E27FC236}">
                  <a16:creationId xmlns:a16="http://schemas.microsoft.com/office/drawing/2014/main" id="{EC1AEBA8-5088-D525-1852-2EBE0BF01314}"/>
                </a:ext>
              </a:extLst>
            </p:cNvPr>
            <p:cNvSpPr/>
            <p:nvPr/>
          </p:nvSpPr>
          <p:spPr>
            <a:xfrm>
              <a:off x="6400979" y="664258"/>
              <a:ext cx="85097" cy="133441"/>
            </a:xfrm>
            <a:custGeom>
              <a:avLst/>
              <a:gdLst>
                <a:gd name="connsiteX0" fmla="*/ 253651 w 338518"/>
                <a:gd name="connsiteY0" fmla="*/ 523018 h 530828"/>
                <a:gd name="connsiteX1" fmla="*/ 253651 w 338518"/>
                <a:gd name="connsiteY1" fmla="*/ 477107 h 530828"/>
                <a:gd name="connsiteX2" fmla="*/ 204883 w 338518"/>
                <a:gd name="connsiteY2" fmla="*/ 515303 h 530828"/>
                <a:gd name="connsiteX3" fmla="*/ 132779 w 338518"/>
                <a:gd name="connsiteY3" fmla="*/ 530828 h 530828"/>
                <a:gd name="connsiteX4" fmla="*/ 81915 w 338518"/>
                <a:gd name="connsiteY4" fmla="*/ 523399 h 530828"/>
                <a:gd name="connsiteX5" fmla="*/ 39910 w 338518"/>
                <a:gd name="connsiteY5" fmla="*/ 501491 h 530828"/>
                <a:gd name="connsiteX6" fmla="*/ 10954 w 338518"/>
                <a:gd name="connsiteY6" fmla="*/ 465487 h 530828"/>
                <a:gd name="connsiteX7" fmla="*/ 0 w 338518"/>
                <a:gd name="connsiteY7" fmla="*/ 415671 h 530828"/>
                <a:gd name="connsiteX8" fmla="*/ 0 w 338518"/>
                <a:gd name="connsiteY8" fmla="*/ 414242 h 530828"/>
                <a:gd name="connsiteX9" fmla="*/ 11335 w 338518"/>
                <a:gd name="connsiteY9" fmla="*/ 360140 h 530828"/>
                <a:gd name="connsiteX10" fmla="*/ 42767 w 338518"/>
                <a:gd name="connsiteY10" fmla="*/ 321945 h 530828"/>
                <a:gd name="connsiteX11" fmla="*/ 90773 w 338518"/>
                <a:gd name="connsiteY11" fmla="*/ 299371 h 530828"/>
                <a:gd name="connsiteX12" fmla="*/ 151162 w 338518"/>
                <a:gd name="connsiteY12" fmla="*/ 291941 h 530828"/>
                <a:gd name="connsiteX13" fmla="*/ 208788 w 338518"/>
                <a:gd name="connsiteY13" fmla="*/ 296228 h 530828"/>
                <a:gd name="connsiteX14" fmla="*/ 254413 w 338518"/>
                <a:gd name="connsiteY14" fmla="*/ 307562 h 530828"/>
                <a:gd name="connsiteX15" fmla="*/ 254413 w 338518"/>
                <a:gd name="connsiteY15" fmla="*/ 300514 h 530828"/>
                <a:gd name="connsiteX16" fmla="*/ 230696 w 338518"/>
                <a:gd name="connsiteY16" fmla="*/ 241173 h 530828"/>
                <a:gd name="connsiteX17" fmla="*/ 162496 w 338518"/>
                <a:gd name="connsiteY17" fmla="*/ 220694 h 530828"/>
                <a:gd name="connsiteX18" fmla="*/ 106013 w 338518"/>
                <a:gd name="connsiteY18" fmla="*/ 227076 h 530828"/>
                <a:gd name="connsiteX19" fmla="*/ 55817 w 338518"/>
                <a:gd name="connsiteY19" fmla="*/ 244031 h 530828"/>
                <a:gd name="connsiteX20" fmla="*/ 32480 w 338518"/>
                <a:gd name="connsiteY20" fmla="*/ 175451 h 530828"/>
                <a:gd name="connsiteX21" fmla="*/ 96107 w 338518"/>
                <a:gd name="connsiteY21" fmla="*/ 152876 h 530828"/>
                <a:gd name="connsiteX22" fmla="*/ 174593 w 338518"/>
                <a:gd name="connsiteY22" fmla="*/ 144399 h 530828"/>
                <a:gd name="connsiteX23" fmla="*/ 298228 w 338518"/>
                <a:gd name="connsiteY23" fmla="*/ 185738 h 530828"/>
                <a:gd name="connsiteX24" fmla="*/ 338519 w 338518"/>
                <a:gd name="connsiteY24" fmla="*/ 301943 h 530828"/>
                <a:gd name="connsiteX25" fmla="*/ 338519 w 338518"/>
                <a:gd name="connsiteY25" fmla="*/ 523113 h 530828"/>
                <a:gd name="connsiteX26" fmla="*/ 253746 w 338518"/>
                <a:gd name="connsiteY26" fmla="*/ 523113 h 530828"/>
                <a:gd name="connsiteX27" fmla="*/ 45911 w 338518"/>
                <a:gd name="connsiteY27" fmla="*/ 95441 h 530828"/>
                <a:gd name="connsiteX28" fmla="*/ 75248 w 338518"/>
                <a:gd name="connsiteY28" fmla="*/ 29718 h 530828"/>
                <a:gd name="connsiteX29" fmla="*/ 125063 w 338518"/>
                <a:gd name="connsiteY29" fmla="*/ 7144 h 530828"/>
                <a:gd name="connsiteX30" fmla="*/ 154019 w 338518"/>
                <a:gd name="connsiteY30" fmla="*/ 11716 h 530828"/>
                <a:gd name="connsiteX31" fmla="*/ 181261 w 338518"/>
                <a:gd name="connsiteY31" fmla="*/ 21622 h 530828"/>
                <a:gd name="connsiteX32" fmla="*/ 205645 w 338518"/>
                <a:gd name="connsiteY32" fmla="*/ 31147 h 530828"/>
                <a:gd name="connsiteX33" fmla="*/ 226790 w 338518"/>
                <a:gd name="connsiteY33" fmla="*/ 35338 h 530828"/>
                <a:gd name="connsiteX34" fmla="*/ 250127 w 338518"/>
                <a:gd name="connsiteY34" fmla="*/ 26861 h 530828"/>
                <a:gd name="connsiteX35" fmla="*/ 265652 w 338518"/>
                <a:gd name="connsiteY35" fmla="*/ 0 h 530828"/>
                <a:gd name="connsiteX36" fmla="*/ 312991 w 338518"/>
                <a:gd name="connsiteY36" fmla="*/ 14859 h 530828"/>
                <a:gd name="connsiteX37" fmla="*/ 283655 w 338518"/>
                <a:gd name="connsiteY37" fmla="*/ 79820 h 530828"/>
                <a:gd name="connsiteX38" fmla="*/ 233839 w 338518"/>
                <a:gd name="connsiteY38" fmla="*/ 102394 h 530828"/>
                <a:gd name="connsiteX39" fmla="*/ 204883 w 338518"/>
                <a:gd name="connsiteY39" fmla="*/ 98203 h 530828"/>
                <a:gd name="connsiteX40" fmla="*/ 177641 w 338518"/>
                <a:gd name="connsiteY40" fmla="*/ 88678 h 530828"/>
                <a:gd name="connsiteX41" fmla="*/ 152876 w 338518"/>
                <a:gd name="connsiteY41" fmla="*/ 78772 h 530828"/>
                <a:gd name="connsiteX42" fmla="*/ 132017 w 338518"/>
                <a:gd name="connsiteY42" fmla="*/ 74200 h 530828"/>
                <a:gd name="connsiteX43" fmla="*/ 108680 w 338518"/>
                <a:gd name="connsiteY43" fmla="*/ 82677 h 530828"/>
                <a:gd name="connsiteX44" fmla="*/ 93154 w 338518"/>
                <a:gd name="connsiteY44" fmla="*/ 109538 h 530828"/>
                <a:gd name="connsiteX45" fmla="*/ 45815 w 338518"/>
                <a:gd name="connsiteY45" fmla="*/ 95441 h 530828"/>
                <a:gd name="connsiteX46" fmla="*/ 255842 w 338518"/>
                <a:gd name="connsiteY46" fmla="*/ 366808 h 530828"/>
                <a:gd name="connsiteX47" fmla="*/ 217361 w 338518"/>
                <a:gd name="connsiteY47" fmla="*/ 356235 h 530828"/>
                <a:gd name="connsiteX48" fmla="*/ 170402 w 338518"/>
                <a:gd name="connsiteY48" fmla="*/ 351949 h 530828"/>
                <a:gd name="connsiteX49" fmla="*/ 107537 w 338518"/>
                <a:gd name="connsiteY49" fmla="*/ 367475 h 530828"/>
                <a:gd name="connsiteX50" fmla="*/ 84963 w 338518"/>
                <a:gd name="connsiteY50" fmla="*/ 409861 h 530828"/>
                <a:gd name="connsiteX51" fmla="*/ 84963 w 338518"/>
                <a:gd name="connsiteY51" fmla="*/ 411290 h 530828"/>
                <a:gd name="connsiteX52" fmla="*/ 105823 w 338518"/>
                <a:gd name="connsiteY52" fmla="*/ 452247 h 530828"/>
                <a:gd name="connsiteX53" fmla="*/ 157067 w 338518"/>
                <a:gd name="connsiteY53" fmla="*/ 466344 h 530828"/>
                <a:gd name="connsiteX54" fmla="*/ 196310 w 338518"/>
                <a:gd name="connsiteY54" fmla="*/ 460724 h 530828"/>
                <a:gd name="connsiteX55" fmla="*/ 227743 w 338518"/>
                <a:gd name="connsiteY55" fmla="*/ 444818 h 530828"/>
                <a:gd name="connsiteX56" fmla="*/ 248603 w 338518"/>
                <a:gd name="connsiteY56" fmla="*/ 420053 h 530828"/>
                <a:gd name="connsiteX57" fmla="*/ 256032 w 338518"/>
                <a:gd name="connsiteY57" fmla="*/ 387858 h 530828"/>
                <a:gd name="connsiteX58" fmla="*/ 256032 w 338518"/>
                <a:gd name="connsiteY58" fmla="*/ 366617 h 5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8518" h="530828">
                  <a:moveTo>
                    <a:pt x="253651" y="523018"/>
                  </a:moveTo>
                  <a:lnTo>
                    <a:pt x="253651" y="477107"/>
                  </a:lnTo>
                  <a:cubicBezTo>
                    <a:pt x="240887" y="492157"/>
                    <a:pt x="224695" y="504920"/>
                    <a:pt x="204883" y="515303"/>
                  </a:cubicBezTo>
                  <a:cubicBezTo>
                    <a:pt x="185071" y="525685"/>
                    <a:pt x="161068" y="530828"/>
                    <a:pt x="132779" y="530828"/>
                  </a:cubicBezTo>
                  <a:cubicBezTo>
                    <a:pt x="114871" y="530828"/>
                    <a:pt x="97917" y="528352"/>
                    <a:pt x="81915" y="523399"/>
                  </a:cubicBezTo>
                  <a:cubicBezTo>
                    <a:pt x="65913" y="518446"/>
                    <a:pt x="51911" y="511112"/>
                    <a:pt x="39910" y="501491"/>
                  </a:cubicBezTo>
                  <a:cubicBezTo>
                    <a:pt x="27908" y="491871"/>
                    <a:pt x="18193" y="479870"/>
                    <a:pt x="10954" y="465487"/>
                  </a:cubicBezTo>
                  <a:cubicBezTo>
                    <a:pt x="3620" y="451104"/>
                    <a:pt x="0" y="434531"/>
                    <a:pt x="0" y="415671"/>
                  </a:cubicBezTo>
                  <a:lnTo>
                    <a:pt x="0" y="414242"/>
                  </a:lnTo>
                  <a:cubicBezTo>
                    <a:pt x="0" y="393478"/>
                    <a:pt x="3810" y="375476"/>
                    <a:pt x="11335" y="360140"/>
                  </a:cubicBezTo>
                  <a:cubicBezTo>
                    <a:pt x="18860" y="344805"/>
                    <a:pt x="29337" y="332137"/>
                    <a:pt x="42767" y="321945"/>
                  </a:cubicBezTo>
                  <a:cubicBezTo>
                    <a:pt x="56198" y="311849"/>
                    <a:pt x="72200" y="304324"/>
                    <a:pt x="90773" y="299371"/>
                  </a:cubicBezTo>
                  <a:cubicBezTo>
                    <a:pt x="109347" y="294418"/>
                    <a:pt x="129540" y="291941"/>
                    <a:pt x="151162" y="291941"/>
                  </a:cubicBezTo>
                  <a:cubicBezTo>
                    <a:pt x="172784" y="291941"/>
                    <a:pt x="192977" y="293370"/>
                    <a:pt x="208788" y="296228"/>
                  </a:cubicBezTo>
                  <a:cubicBezTo>
                    <a:pt x="224600" y="299085"/>
                    <a:pt x="239744" y="302800"/>
                    <a:pt x="254413" y="307562"/>
                  </a:cubicBezTo>
                  <a:lnTo>
                    <a:pt x="254413" y="300514"/>
                  </a:lnTo>
                  <a:cubicBezTo>
                    <a:pt x="254413" y="274606"/>
                    <a:pt x="246507" y="254794"/>
                    <a:pt x="230696" y="241173"/>
                  </a:cubicBezTo>
                  <a:cubicBezTo>
                    <a:pt x="214884" y="227552"/>
                    <a:pt x="192215" y="220694"/>
                    <a:pt x="162496" y="220694"/>
                  </a:cubicBezTo>
                  <a:cubicBezTo>
                    <a:pt x="141351" y="220694"/>
                    <a:pt x="122492" y="222790"/>
                    <a:pt x="106013" y="227076"/>
                  </a:cubicBezTo>
                  <a:cubicBezTo>
                    <a:pt x="89535" y="231362"/>
                    <a:pt x="72771" y="236982"/>
                    <a:pt x="55817" y="244031"/>
                  </a:cubicBezTo>
                  <a:lnTo>
                    <a:pt x="32480" y="175451"/>
                  </a:lnTo>
                  <a:cubicBezTo>
                    <a:pt x="53150" y="166021"/>
                    <a:pt x="74390" y="158496"/>
                    <a:pt x="96107" y="152876"/>
                  </a:cubicBezTo>
                  <a:cubicBezTo>
                    <a:pt x="117729" y="147257"/>
                    <a:pt x="143923" y="144399"/>
                    <a:pt x="174593" y="144399"/>
                  </a:cubicBezTo>
                  <a:cubicBezTo>
                    <a:pt x="230124" y="144399"/>
                    <a:pt x="271367" y="158210"/>
                    <a:pt x="298228" y="185738"/>
                  </a:cubicBezTo>
                  <a:cubicBezTo>
                    <a:pt x="325088" y="213265"/>
                    <a:pt x="338519" y="252032"/>
                    <a:pt x="338519" y="301943"/>
                  </a:cubicBezTo>
                  <a:lnTo>
                    <a:pt x="338519" y="523113"/>
                  </a:lnTo>
                  <a:lnTo>
                    <a:pt x="253746" y="523113"/>
                  </a:lnTo>
                  <a:close/>
                  <a:moveTo>
                    <a:pt x="45911" y="95441"/>
                  </a:moveTo>
                  <a:cubicBezTo>
                    <a:pt x="53912" y="66675"/>
                    <a:pt x="63722" y="44768"/>
                    <a:pt x="75248" y="29718"/>
                  </a:cubicBezTo>
                  <a:cubicBezTo>
                    <a:pt x="86773" y="14669"/>
                    <a:pt x="103442" y="7144"/>
                    <a:pt x="125063" y="7144"/>
                  </a:cubicBezTo>
                  <a:cubicBezTo>
                    <a:pt x="134969" y="7144"/>
                    <a:pt x="144590" y="8668"/>
                    <a:pt x="154019" y="11716"/>
                  </a:cubicBezTo>
                  <a:cubicBezTo>
                    <a:pt x="163449" y="14764"/>
                    <a:pt x="172498" y="18098"/>
                    <a:pt x="181261" y="21622"/>
                  </a:cubicBezTo>
                  <a:cubicBezTo>
                    <a:pt x="189929" y="25146"/>
                    <a:pt x="198120" y="28385"/>
                    <a:pt x="205645" y="31147"/>
                  </a:cubicBezTo>
                  <a:cubicBezTo>
                    <a:pt x="213170" y="34004"/>
                    <a:pt x="220218" y="35338"/>
                    <a:pt x="226790" y="35338"/>
                  </a:cubicBezTo>
                  <a:cubicBezTo>
                    <a:pt x="237173" y="35338"/>
                    <a:pt x="244888" y="32480"/>
                    <a:pt x="250127" y="26861"/>
                  </a:cubicBezTo>
                  <a:cubicBezTo>
                    <a:pt x="255270" y="21241"/>
                    <a:pt x="260509" y="12287"/>
                    <a:pt x="265652" y="0"/>
                  </a:cubicBezTo>
                  <a:lnTo>
                    <a:pt x="312991" y="14859"/>
                  </a:lnTo>
                  <a:cubicBezTo>
                    <a:pt x="304991" y="43148"/>
                    <a:pt x="295180" y="64770"/>
                    <a:pt x="283655" y="79820"/>
                  </a:cubicBezTo>
                  <a:cubicBezTo>
                    <a:pt x="272129" y="94869"/>
                    <a:pt x="255461" y="102394"/>
                    <a:pt x="233839" y="102394"/>
                  </a:cubicBezTo>
                  <a:cubicBezTo>
                    <a:pt x="223933" y="102394"/>
                    <a:pt x="214313" y="100965"/>
                    <a:pt x="204883" y="98203"/>
                  </a:cubicBezTo>
                  <a:cubicBezTo>
                    <a:pt x="195453" y="95345"/>
                    <a:pt x="186404" y="92202"/>
                    <a:pt x="177641" y="88678"/>
                  </a:cubicBezTo>
                  <a:cubicBezTo>
                    <a:pt x="168878" y="85154"/>
                    <a:pt x="160687" y="81820"/>
                    <a:pt x="152876" y="78772"/>
                  </a:cubicBezTo>
                  <a:cubicBezTo>
                    <a:pt x="145066" y="75724"/>
                    <a:pt x="138113" y="74200"/>
                    <a:pt x="132017" y="74200"/>
                  </a:cubicBezTo>
                  <a:cubicBezTo>
                    <a:pt x="121634" y="74200"/>
                    <a:pt x="113919" y="77057"/>
                    <a:pt x="108680" y="82677"/>
                  </a:cubicBezTo>
                  <a:cubicBezTo>
                    <a:pt x="103537" y="88297"/>
                    <a:pt x="98298" y="97250"/>
                    <a:pt x="93154" y="109538"/>
                  </a:cubicBezTo>
                  <a:lnTo>
                    <a:pt x="45815" y="95441"/>
                  </a:lnTo>
                  <a:close/>
                  <a:moveTo>
                    <a:pt x="255842" y="366808"/>
                  </a:moveTo>
                  <a:cubicBezTo>
                    <a:pt x="244983" y="362522"/>
                    <a:pt x="232124" y="358997"/>
                    <a:pt x="217361" y="356235"/>
                  </a:cubicBezTo>
                  <a:cubicBezTo>
                    <a:pt x="202502" y="353378"/>
                    <a:pt x="186880" y="351949"/>
                    <a:pt x="170402" y="351949"/>
                  </a:cubicBezTo>
                  <a:cubicBezTo>
                    <a:pt x="143542" y="351949"/>
                    <a:pt x="122587" y="357092"/>
                    <a:pt x="107537" y="367475"/>
                  </a:cubicBezTo>
                  <a:cubicBezTo>
                    <a:pt x="92488" y="377857"/>
                    <a:pt x="84963" y="391954"/>
                    <a:pt x="84963" y="409861"/>
                  </a:cubicBezTo>
                  <a:lnTo>
                    <a:pt x="84963" y="411290"/>
                  </a:lnTo>
                  <a:cubicBezTo>
                    <a:pt x="84963" y="429197"/>
                    <a:pt x="91916" y="442817"/>
                    <a:pt x="105823" y="452247"/>
                  </a:cubicBezTo>
                  <a:cubicBezTo>
                    <a:pt x="119729" y="461677"/>
                    <a:pt x="136779" y="466344"/>
                    <a:pt x="157067" y="466344"/>
                  </a:cubicBezTo>
                  <a:cubicBezTo>
                    <a:pt x="171164" y="466344"/>
                    <a:pt x="184309" y="464439"/>
                    <a:pt x="196310" y="460724"/>
                  </a:cubicBezTo>
                  <a:cubicBezTo>
                    <a:pt x="208312" y="456914"/>
                    <a:pt x="218789" y="451676"/>
                    <a:pt x="227743" y="444818"/>
                  </a:cubicBezTo>
                  <a:cubicBezTo>
                    <a:pt x="236696" y="437960"/>
                    <a:pt x="243650" y="429768"/>
                    <a:pt x="248603" y="420053"/>
                  </a:cubicBezTo>
                  <a:cubicBezTo>
                    <a:pt x="253555" y="410432"/>
                    <a:pt x="256032" y="399669"/>
                    <a:pt x="256032" y="387858"/>
                  </a:cubicBezTo>
                  <a:lnTo>
                    <a:pt x="256032" y="366617"/>
                  </a:lnTo>
                  <a:close/>
                </a:path>
              </a:pathLst>
            </a:custGeom>
            <a:solidFill>
              <a:srgbClr val="44505E"/>
            </a:solidFill>
            <a:ln w="9525" cap="flat">
              <a:noFill/>
              <a:prstDash val="solid"/>
              <a:miter/>
            </a:ln>
          </p:spPr>
          <p:txBody>
            <a:bodyPr rtlCol="0" anchor="ctr"/>
            <a:lstStyle/>
            <a:p>
              <a:endParaRPr lang="pt-BR" noProof="0"/>
            </a:p>
          </p:txBody>
        </p:sp>
        <p:sp>
          <p:nvSpPr>
            <p:cNvPr id="31" name="Freeform: Shape 30">
              <a:extLst>
                <a:ext uri="{FF2B5EF4-FFF2-40B4-BE49-F238E27FC236}">
                  <a16:creationId xmlns:a16="http://schemas.microsoft.com/office/drawing/2014/main" id="{78A95FD7-FBB7-F6DF-4D1C-5F74CDE283E6}"/>
                </a:ext>
              </a:extLst>
            </p:cNvPr>
            <p:cNvSpPr/>
            <p:nvPr/>
          </p:nvSpPr>
          <p:spPr>
            <a:xfrm>
              <a:off x="6506477" y="699959"/>
              <a:ext cx="100038" cy="97908"/>
            </a:xfrm>
            <a:custGeom>
              <a:avLst/>
              <a:gdLst>
                <a:gd name="connsiteX0" fmla="*/ 197834 w 397954"/>
                <a:gd name="connsiteY0" fmla="*/ 389477 h 389477"/>
                <a:gd name="connsiteX1" fmla="*/ 119063 w 397954"/>
                <a:gd name="connsiteY1" fmla="*/ 374237 h 389477"/>
                <a:gd name="connsiteX2" fmla="*/ 56198 w 397954"/>
                <a:gd name="connsiteY2" fmla="*/ 332899 h 389477"/>
                <a:gd name="connsiteX3" fmla="*/ 14859 w 397954"/>
                <a:gd name="connsiteY3" fmla="*/ 271463 h 389477"/>
                <a:gd name="connsiteX4" fmla="*/ 0 w 397954"/>
                <a:gd name="connsiteY4" fmla="*/ 196501 h 389477"/>
                <a:gd name="connsiteX5" fmla="*/ 0 w 397954"/>
                <a:gd name="connsiteY5" fmla="*/ 195072 h 389477"/>
                <a:gd name="connsiteX6" fmla="*/ 15240 w 397954"/>
                <a:gd name="connsiteY6" fmla="*/ 119444 h 389477"/>
                <a:gd name="connsiteX7" fmla="*/ 56960 w 397954"/>
                <a:gd name="connsiteY7" fmla="*/ 57626 h 389477"/>
                <a:gd name="connsiteX8" fmla="*/ 119825 w 397954"/>
                <a:gd name="connsiteY8" fmla="*/ 15526 h 389477"/>
                <a:gd name="connsiteX9" fmla="*/ 199358 w 397954"/>
                <a:gd name="connsiteY9" fmla="*/ 0 h 389477"/>
                <a:gd name="connsiteX10" fmla="*/ 278892 w 397954"/>
                <a:gd name="connsiteY10" fmla="*/ 15240 h 389477"/>
                <a:gd name="connsiteX11" fmla="*/ 341757 w 397954"/>
                <a:gd name="connsiteY11" fmla="*/ 56959 h 389477"/>
                <a:gd name="connsiteX12" fmla="*/ 383096 w 397954"/>
                <a:gd name="connsiteY12" fmla="*/ 118396 h 389477"/>
                <a:gd name="connsiteX13" fmla="*/ 397955 w 397954"/>
                <a:gd name="connsiteY13" fmla="*/ 193643 h 389477"/>
                <a:gd name="connsiteX14" fmla="*/ 397955 w 397954"/>
                <a:gd name="connsiteY14" fmla="*/ 195072 h 389477"/>
                <a:gd name="connsiteX15" fmla="*/ 382714 w 397954"/>
                <a:gd name="connsiteY15" fmla="*/ 270034 h 389477"/>
                <a:gd name="connsiteX16" fmla="*/ 340995 w 397954"/>
                <a:gd name="connsiteY16" fmla="*/ 331851 h 389477"/>
                <a:gd name="connsiteX17" fmla="*/ 277749 w 397954"/>
                <a:gd name="connsiteY17" fmla="*/ 373856 h 389477"/>
                <a:gd name="connsiteX18" fmla="*/ 197834 w 397954"/>
                <a:gd name="connsiteY18" fmla="*/ 389382 h 389477"/>
                <a:gd name="connsiteX19" fmla="*/ 199263 w 397954"/>
                <a:gd name="connsiteY19" fmla="*/ 315278 h 389477"/>
                <a:gd name="connsiteX20" fmla="*/ 245936 w 397954"/>
                <a:gd name="connsiteY20" fmla="*/ 305753 h 389477"/>
                <a:gd name="connsiteX21" fmla="*/ 281369 w 397954"/>
                <a:gd name="connsiteY21" fmla="*/ 279940 h 389477"/>
                <a:gd name="connsiteX22" fmla="*/ 303848 w 397954"/>
                <a:gd name="connsiteY22" fmla="*/ 242125 h 389477"/>
                <a:gd name="connsiteX23" fmla="*/ 311563 w 397954"/>
                <a:gd name="connsiteY23" fmla="*/ 196501 h 389477"/>
                <a:gd name="connsiteX24" fmla="*/ 311563 w 397954"/>
                <a:gd name="connsiteY24" fmla="*/ 195072 h 389477"/>
                <a:gd name="connsiteX25" fmla="*/ 303181 w 397954"/>
                <a:gd name="connsiteY25" fmla="*/ 148400 h 389477"/>
                <a:gd name="connsiteX26" fmla="*/ 279654 w 397954"/>
                <a:gd name="connsiteY26" fmla="*/ 110204 h 389477"/>
                <a:gd name="connsiteX27" fmla="*/ 243840 w 397954"/>
                <a:gd name="connsiteY27" fmla="*/ 84392 h 389477"/>
                <a:gd name="connsiteX28" fmla="*/ 197834 w 397954"/>
                <a:gd name="connsiteY28" fmla="*/ 74867 h 389477"/>
                <a:gd name="connsiteX29" fmla="*/ 151829 w 397954"/>
                <a:gd name="connsiteY29" fmla="*/ 84392 h 389477"/>
                <a:gd name="connsiteX30" fmla="*/ 116396 w 397954"/>
                <a:gd name="connsiteY30" fmla="*/ 109823 h 389477"/>
                <a:gd name="connsiteX31" fmla="*/ 93916 w 397954"/>
                <a:gd name="connsiteY31" fmla="*/ 147638 h 389477"/>
                <a:gd name="connsiteX32" fmla="*/ 86201 w 397954"/>
                <a:gd name="connsiteY32" fmla="*/ 193548 h 389477"/>
                <a:gd name="connsiteX33" fmla="*/ 86201 w 397954"/>
                <a:gd name="connsiteY33" fmla="*/ 194977 h 389477"/>
                <a:gd name="connsiteX34" fmla="*/ 94583 w 397954"/>
                <a:gd name="connsiteY34" fmla="*/ 241268 h 389477"/>
                <a:gd name="connsiteX35" fmla="*/ 118110 w 397954"/>
                <a:gd name="connsiteY35" fmla="*/ 279463 h 389477"/>
                <a:gd name="connsiteX36" fmla="*/ 153924 w 397954"/>
                <a:gd name="connsiteY36" fmla="*/ 305562 h 389477"/>
                <a:gd name="connsiteX37" fmla="*/ 199263 w 397954"/>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954" h="389477">
                  <a:moveTo>
                    <a:pt x="197834" y="389477"/>
                  </a:moveTo>
                  <a:cubicBezTo>
                    <a:pt x="169545" y="389477"/>
                    <a:pt x="143351" y="384429"/>
                    <a:pt x="119063" y="374237"/>
                  </a:cubicBezTo>
                  <a:cubicBezTo>
                    <a:pt x="94774" y="364141"/>
                    <a:pt x="73819" y="350330"/>
                    <a:pt x="56198" y="332899"/>
                  </a:cubicBezTo>
                  <a:cubicBezTo>
                    <a:pt x="38576" y="315468"/>
                    <a:pt x="24765" y="294989"/>
                    <a:pt x="14859" y="271463"/>
                  </a:cubicBezTo>
                  <a:cubicBezTo>
                    <a:pt x="4953" y="247936"/>
                    <a:pt x="0" y="222980"/>
                    <a:pt x="0" y="196501"/>
                  </a:cubicBezTo>
                  <a:lnTo>
                    <a:pt x="0" y="195072"/>
                  </a:lnTo>
                  <a:cubicBezTo>
                    <a:pt x="0" y="168212"/>
                    <a:pt x="5049" y="143066"/>
                    <a:pt x="15240" y="119444"/>
                  </a:cubicBezTo>
                  <a:cubicBezTo>
                    <a:pt x="25337" y="95917"/>
                    <a:pt x="39243" y="75248"/>
                    <a:pt x="56960" y="57626"/>
                  </a:cubicBezTo>
                  <a:cubicBezTo>
                    <a:pt x="74676" y="39910"/>
                    <a:pt x="95631" y="25908"/>
                    <a:pt x="119825" y="15526"/>
                  </a:cubicBezTo>
                  <a:cubicBezTo>
                    <a:pt x="144113" y="5144"/>
                    <a:pt x="170593" y="0"/>
                    <a:pt x="199358" y="0"/>
                  </a:cubicBezTo>
                  <a:cubicBezTo>
                    <a:pt x="228124" y="0"/>
                    <a:pt x="254604" y="5048"/>
                    <a:pt x="278892" y="15240"/>
                  </a:cubicBezTo>
                  <a:cubicBezTo>
                    <a:pt x="303181" y="25337"/>
                    <a:pt x="324136" y="39243"/>
                    <a:pt x="341757" y="56959"/>
                  </a:cubicBezTo>
                  <a:cubicBezTo>
                    <a:pt x="359379" y="74676"/>
                    <a:pt x="373189" y="95155"/>
                    <a:pt x="383096" y="118396"/>
                  </a:cubicBezTo>
                  <a:cubicBezTo>
                    <a:pt x="393002" y="141732"/>
                    <a:pt x="397955" y="166783"/>
                    <a:pt x="397955" y="193643"/>
                  </a:cubicBezTo>
                  <a:lnTo>
                    <a:pt x="397955" y="195072"/>
                  </a:lnTo>
                  <a:cubicBezTo>
                    <a:pt x="397955" y="221456"/>
                    <a:pt x="392906" y="246412"/>
                    <a:pt x="382714" y="270034"/>
                  </a:cubicBezTo>
                  <a:cubicBezTo>
                    <a:pt x="372618" y="293561"/>
                    <a:pt x="358712" y="314230"/>
                    <a:pt x="340995" y="331851"/>
                  </a:cubicBezTo>
                  <a:cubicBezTo>
                    <a:pt x="323279" y="349472"/>
                    <a:pt x="302229" y="363569"/>
                    <a:pt x="277749" y="373856"/>
                  </a:cubicBezTo>
                  <a:cubicBezTo>
                    <a:pt x="253270" y="384238"/>
                    <a:pt x="226600" y="389382"/>
                    <a:pt x="197834" y="389382"/>
                  </a:cubicBezTo>
                  <a:close/>
                  <a:moveTo>
                    <a:pt x="199263" y="315278"/>
                  </a:moveTo>
                  <a:cubicBezTo>
                    <a:pt x="216598" y="315278"/>
                    <a:pt x="232124" y="312039"/>
                    <a:pt x="245936" y="305753"/>
                  </a:cubicBezTo>
                  <a:cubicBezTo>
                    <a:pt x="259747" y="299371"/>
                    <a:pt x="271558" y="290798"/>
                    <a:pt x="281369" y="279940"/>
                  </a:cubicBezTo>
                  <a:cubicBezTo>
                    <a:pt x="291179" y="269081"/>
                    <a:pt x="298704" y="256508"/>
                    <a:pt x="303848" y="242125"/>
                  </a:cubicBezTo>
                  <a:cubicBezTo>
                    <a:pt x="308991" y="227743"/>
                    <a:pt x="311563" y="212598"/>
                    <a:pt x="311563" y="196501"/>
                  </a:cubicBezTo>
                  <a:lnTo>
                    <a:pt x="311563" y="195072"/>
                  </a:lnTo>
                  <a:cubicBezTo>
                    <a:pt x="311563" y="178594"/>
                    <a:pt x="308706" y="163068"/>
                    <a:pt x="303181" y="148400"/>
                  </a:cubicBezTo>
                  <a:cubicBezTo>
                    <a:pt x="297561" y="133826"/>
                    <a:pt x="289750" y="121063"/>
                    <a:pt x="279654" y="110204"/>
                  </a:cubicBezTo>
                  <a:cubicBezTo>
                    <a:pt x="269557" y="99346"/>
                    <a:pt x="257651" y="90773"/>
                    <a:pt x="243840" y="84392"/>
                  </a:cubicBezTo>
                  <a:cubicBezTo>
                    <a:pt x="230029" y="78010"/>
                    <a:pt x="214694" y="74867"/>
                    <a:pt x="197834" y="74867"/>
                  </a:cubicBezTo>
                  <a:cubicBezTo>
                    <a:pt x="180975" y="74867"/>
                    <a:pt x="165640" y="78010"/>
                    <a:pt x="151829" y="84392"/>
                  </a:cubicBezTo>
                  <a:cubicBezTo>
                    <a:pt x="138017" y="90773"/>
                    <a:pt x="126206" y="99250"/>
                    <a:pt x="116396" y="109823"/>
                  </a:cubicBezTo>
                  <a:cubicBezTo>
                    <a:pt x="106585" y="120396"/>
                    <a:pt x="99060" y="133064"/>
                    <a:pt x="93916" y="147638"/>
                  </a:cubicBezTo>
                  <a:cubicBezTo>
                    <a:pt x="88773" y="162211"/>
                    <a:pt x="86201" y="177546"/>
                    <a:pt x="86201" y="193548"/>
                  </a:cubicBezTo>
                  <a:lnTo>
                    <a:pt x="86201" y="194977"/>
                  </a:lnTo>
                  <a:cubicBezTo>
                    <a:pt x="86201" y="211455"/>
                    <a:pt x="89059" y="226886"/>
                    <a:pt x="94583" y="241268"/>
                  </a:cubicBezTo>
                  <a:cubicBezTo>
                    <a:pt x="100203" y="255651"/>
                    <a:pt x="108014" y="268319"/>
                    <a:pt x="118110" y="279463"/>
                  </a:cubicBezTo>
                  <a:cubicBezTo>
                    <a:pt x="128207" y="290608"/>
                    <a:pt x="140113" y="299275"/>
                    <a:pt x="153924" y="305562"/>
                  </a:cubicBezTo>
                  <a:cubicBezTo>
                    <a:pt x="167735" y="311944"/>
                    <a:pt x="182785"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32" name="Freeform: Shape 31">
              <a:extLst>
                <a:ext uri="{FF2B5EF4-FFF2-40B4-BE49-F238E27FC236}">
                  <a16:creationId xmlns:a16="http://schemas.microsoft.com/office/drawing/2014/main" id="{00CC0686-D2B1-696C-79A4-FCCE0AF81FDA}"/>
                </a:ext>
              </a:extLst>
            </p:cNvPr>
            <p:cNvSpPr/>
            <p:nvPr/>
          </p:nvSpPr>
          <p:spPr>
            <a:xfrm>
              <a:off x="662071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1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7 w 296894"/>
                <a:gd name="connsiteY23" fmla="*/ 42863 h 386714"/>
                <a:gd name="connsiteX24" fmla="*/ 254318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7 w 296894"/>
                <a:gd name="connsiteY30" fmla="*/ 124587 h 386714"/>
                <a:gd name="connsiteX31" fmla="*/ 122682 w 296894"/>
                <a:gd name="connsiteY31" fmla="*/ 138017 h 386714"/>
                <a:gd name="connsiteX32" fmla="*/ 149543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6" y="348901"/>
                    <a:pt x="0" y="330327"/>
                  </a:cubicBezTo>
                  <a:lnTo>
                    <a:pt x="38195" y="272224"/>
                  </a:lnTo>
                  <a:cubicBezTo>
                    <a:pt x="58484" y="287274"/>
                    <a:pt x="79057" y="298704"/>
                    <a:pt x="100013" y="306514"/>
                  </a:cubicBezTo>
                  <a:cubicBezTo>
                    <a:pt x="120968" y="314325"/>
                    <a:pt x="141161" y="318135"/>
                    <a:pt x="160401" y="318135"/>
                  </a:cubicBezTo>
                  <a:cubicBezTo>
                    <a:pt x="179641" y="318135"/>
                    <a:pt x="192977"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1" y="241078"/>
                    <a:pt x="176498" y="237553"/>
                    <a:pt x="166401"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2" y="40195"/>
                    <a:pt x="56864" y="30385"/>
                  </a:cubicBezTo>
                  <a:cubicBezTo>
                    <a:pt x="68866" y="20479"/>
                    <a:pt x="82962" y="12954"/>
                    <a:pt x="99250" y="7810"/>
                  </a:cubicBezTo>
                  <a:cubicBezTo>
                    <a:pt x="115538" y="2667"/>
                    <a:pt x="132779" y="0"/>
                    <a:pt x="151162" y="0"/>
                  </a:cubicBezTo>
                  <a:cubicBezTo>
                    <a:pt x="174688" y="0"/>
                    <a:pt x="198501" y="3810"/>
                    <a:pt x="222504" y="11430"/>
                  </a:cubicBezTo>
                  <a:cubicBezTo>
                    <a:pt x="246507" y="19050"/>
                    <a:pt x="268414" y="29527"/>
                    <a:pt x="288227" y="42863"/>
                  </a:cubicBezTo>
                  <a:lnTo>
                    <a:pt x="254318"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7" y="124587"/>
                  </a:cubicBezTo>
                  <a:cubicBezTo>
                    <a:pt x="108585" y="129540"/>
                    <a:pt x="114871" y="134017"/>
                    <a:pt x="122682" y="138017"/>
                  </a:cubicBezTo>
                  <a:cubicBezTo>
                    <a:pt x="130493" y="142018"/>
                    <a:pt x="139351" y="145732"/>
                    <a:pt x="149543"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696"/>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33" name="Freeform: Shape 32">
              <a:extLst>
                <a:ext uri="{FF2B5EF4-FFF2-40B4-BE49-F238E27FC236}">
                  <a16:creationId xmlns:a16="http://schemas.microsoft.com/office/drawing/2014/main" id="{7963D08F-4BBB-0DDC-166B-67B6D75514B9}"/>
                </a:ext>
              </a:extLst>
            </p:cNvPr>
            <p:cNvSpPr/>
            <p:nvPr/>
          </p:nvSpPr>
          <p:spPr>
            <a:xfrm>
              <a:off x="526693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4 w 202977"/>
                <a:gd name="connsiteY17" fmla="*/ 19907 h 239267"/>
                <a:gd name="connsiteX18" fmla="*/ 59246 w 202977"/>
                <a:gd name="connsiteY18" fmla="*/ 5429 h 239267"/>
                <a:gd name="connsiteX19" fmla="*/ 104299 w 202977"/>
                <a:gd name="connsiteY19" fmla="*/ 0 h 239267"/>
                <a:gd name="connsiteX20" fmla="*/ 178880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5 w 202977"/>
                <a:gd name="connsiteY27" fmla="*/ 211169 h 239267"/>
                <a:gd name="connsiteX28" fmla="*/ 122968 w 202977"/>
                <a:gd name="connsiteY28" fmla="*/ 206788 h 239267"/>
                <a:gd name="connsiteX29" fmla="*/ 147257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9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9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3" y="99155"/>
                    <a:pt x="58674" y="95917"/>
                  </a:cubicBezTo>
                  <a:cubicBezTo>
                    <a:pt x="70771" y="92678"/>
                    <a:pt x="84011" y="90964"/>
                    <a:pt x="98584" y="90964"/>
                  </a:cubicBezTo>
                  <a:cubicBezTo>
                    <a:pt x="113157" y="90964"/>
                    <a:pt x="126301" y="91821"/>
                    <a:pt x="137160" y="93631"/>
                  </a:cubicBezTo>
                  <a:cubicBezTo>
                    <a:pt x="148019" y="95440"/>
                    <a:pt x="158687" y="97822"/>
                    <a:pt x="169069" y="100774"/>
                  </a:cubicBezTo>
                  <a:lnTo>
                    <a:pt x="169069" y="93726"/>
                  </a:lnTo>
                  <a:cubicBezTo>
                    <a:pt x="169069" y="73342"/>
                    <a:pt x="163068" y="57912"/>
                    <a:pt x="151162" y="47339"/>
                  </a:cubicBezTo>
                  <a:cubicBezTo>
                    <a:pt x="139256" y="36862"/>
                    <a:pt x="122492" y="31623"/>
                    <a:pt x="100679" y="31623"/>
                  </a:cubicBezTo>
                  <a:cubicBezTo>
                    <a:pt x="86963" y="31623"/>
                    <a:pt x="74581" y="33147"/>
                    <a:pt x="63437" y="36100"/>
                  </a:cubicBezTo>
                  <a:cubicBezTo>
                    <a:pt x="52292" y="39053"/>
                    <a:pt x="41339" y="43053"/>
                    <a:pt x="30671" y="48196"/>
                  </a:cubicBezTo>
                  <a:lnTo>
                    <a:pt x="20384" y="19907"/>
                  </a:lnTo>
                  <a:cubicBezTo>
                    <a:pt x="33147" y="13906"/>
                    <a:pt x="46101" y="9049"/>
                    <a:pt x="59246" y="5429"/>
                  </a:cubicBezTo>
                  <a:cubicBezTo>
                    <a:pt x="72295" y="1810"/>
                    <a:pt x="87344" y="0"/>
                    <a:pt x="104299" y="0"/>
                  </a:cubicBezTo>
                  <a:cubicBezTo>
                    <a:pt x="137065" y="0"/>
                    <a:pt x="161925" y="8477"/>
                    <a:pt x="178880"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99" y="239173"/>
                    <a:pt x="86011" y="239173"/>
                  </a:cubicBezTo>
                  <a:close/>
                  <a:moveTo>
                    <a:pt x="93155" y="211169"/>
                  </a:moveTo>
                  <a:cubicBezTo>
                    <a:pt x="103823" y="211169"/>
                    <a:pt x="113728" y="209740"/>
                    <a:pt x="122968" y="206788"/>
                  </a:cubicBezTo>
                  <a:cubicBezTo>
                    <a:pt x="132207" y="203835"/>
                    <a:pt x="140208" y="199644"/>
                    <a:pt x="147257"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9" y="121444"/>
                  </a:cubicBezTo>
                  <a:cubicBezTo>
                    <a:pt x="129445" y="119348"/>
                    <a:pt x="116776"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244" y="190500"/>
                    <a:pt x="47435" y="195358"/>
                    <a:pt x="52769" y="199263"/>
                  </a:cubicBezTo>
                  <a:cubicBezTo>
                    <a:pt x="58103" y="203073"/>
                    <a:pt x="64294" y="206026"/>
                    <a:pt x="71247" y="208121"/>
                  </a:cubicBezTo>
                  <a:cubicBezTo>
                    <a:pt x="78200" y="210217"/>
                    <a:pt x="85535"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34" name="Freeform: Shape 33">
              <a:extLst>
                <a:ext uri="{FF2B5EF4-FFF2-40B4-BE49-F238E27FC236}">
                  <a16:creationId xmlns:a16="http://schemas.microsoft.com/office/drawing/2014/main" id="{F1F7E0AA-2BD3-CE0E-3DF7-115922CB0D65}"/>
                </a:ext>
              </a:extLst>
            </p:cNvPr>
            <p:cNvSpPr/>
            <p:nvPr/>
          </p:nvSpPr>
          <p:spPr>
            <a:xfrm>
              <a:off x="5331227"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9" y="303276"/>
                    <a:pt x="71438" y="300895"/>
                  </a:cubicBezTo>
                  <a:cubicBezTo>
                    <a:pt x="63437"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2"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5" name="Freeform: Shape 34">
              <a:extLst>
                <a:ext uri="{FF2B5EF4-FFF2-40B4-BE49-F238E27FC236}">
                  <a16:creationId xmlns:a16="http://schemas.microsoft.com/office/drawing/2014/main" id="{7D86F8DD-8E63-714F-E5B0-9C89A00607C6}"/>
                </a:ext>
              </a:extLst>
            </p:cNvPr>
            <p:cNvSpPr/>
            <p:nvPr/>
          </p:nvSpPr>
          <p:spPr>
            <a:xfrm>
              <a:off x="5381845"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191 w 39242"/>
                <a:gd name="connsiteY5" fmla="*/ 88392 h 319182"/>
                <a:gd name="connsiteX6" fmla="*/ 36576 w 39242"/>
                <a:gd name="connsiteY6" fmla="*/ 88392 h 319182"/>
                <a:gd name="connsiteX7" fmla="*/ 36576 w 39242"/>
                <a:gd name="connsiteY7" fmla="*/ 319183 h 319182"/>
                <a:gd name="connsiteX8" fmla="*/ 2191 w 39242"/>
                <a:gd name="connsiteY8" fmla="*/ 319183 h 319182"/>
                <a:gd name="connsiteX9" fmla="*/ 2191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191" y="88392"/>
                  </a:moveTo>
                  <a:lnTo>
                    <a:pt x="36576" y="88392"/>
                  </a:lnTo>
                  <a:lnTo>
                    <a:pt x="36576" y="319183"/>
                  </a:lnTo>
                  <a:lnTo>
                    <a:pt x="2191" y="319183"/>
                  </a:lnTo>
                  <a:lnTo>
                    <a:pt x="2191" y="88392"/>
                  </a:lnTo>
                  <a:close/>
                </a:path>
              </a:pathLst>
            </a:custGeom>
            <a:solidFill>
              <a:srgbClr val="44505E"/>
            </a:solidFill>
            <a:ln w="9525" cap="flat">
              <a:noFill/>
              <a:prstDash val="solid"/>
              <a:miter/>
            </a:ln>
          </p:spPr>
          <p:txBody>
            <a:bodyPr rtlCol="0" anchor="ctr"/>
            <a:lstStyle/>
            <a:p>
              <a:endParaRPr lang="pt-BR" noProof="0"/>
            </a:p>
          </p:txBody>
        </p:sp>
        <p:sp>
          <p:nvSpPr>
            <p:cNvPr id="36" name="Freeform: Shape 35">
              <a:extLst>
                <a:ext uri="{FF2B5EF4-FFF2-40B4-BE49-F238E27FC236}">
                  <a16:creationId xmlns:a16="http://schemas.microsoft.com/office/drawing/2014/main" id="{4325BE9F-436A-1969-D862-790B3F5A5415}"/>
                </a:ext>
              </a:extLst>
            </p:cNvPr>
            <p:cNvSpPr/>
            <p:nvPr/>
          </p:nvSpPr>
          <p:spPr>
            <a:xfrm>
              <a:off x="5406076"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8" y="303276"/>
                    <a:pt x="71438" y="300895"/>
                  </a:cubicBezTo>
                  <a:cubicBezTo>
                    <a:pt x="63436"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1"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7" name="Freeform: Shape 36">
              <a:extLst>
                <a:ext uri="{FF2B5EF4-FFF2-40B4-BE49-F238E27FC236}">
                  <a16:creationId xmlns:a16="http://schemas.microsoft.com/office/drawing/2014/main" id="{90FD6CBB-95BD-B81C-D5F0-4407341520F0}"/>
                </a:ext>
              </a:extLst>
            </p:cNvPr>
            <p:cNvSpPr/>
            <p:nvPr/>
          </p:nvSpPr>
          <p:spPr>
            <a:xfrm>
              <a:off x="5455545" y="925297"/>
              <a:ext cx="50594" cy="59238"/>
            </a:xfrm>
            <a:custGeom>
              <a:avLst/>
              <a:gdLst>
                <a:gd name="connsiteX0" fmla="*/ 88392 w 201263"/>
                <a:gd name="connsiteY0" fmla="*/ 235648 h 235648"/>
                <a:gd name="connsiteX1" fmla="*/ 51149 w 201263"/>
                <a:gd name="connsiteY1" fmla="*/ 228981 h 235648"/>
                <a:gd name="connsiteX2" fmla="*/ 23431 w 201263"/>
                <a:gd name="connsiteY2" fmla="*/ 210026 h 235648"/>
                <a:gd name="connsiteX3" fmla="*/ 6001 w 201263"/>
                <a:gd name="connsiteY3" fmla="*/ 180784 h 235648"/>
                <a:gd name="connsiteX4" fmla="*/ 0 w 201263"/>
                <a:gd name="connsiteY4" fmla="*/ 143256 h 235648"/>
                <a:gd name="connsiteX5" fmla="*/ 0 w 201263"/>
                <a:gd name="connsiteY5" fmla="*/ 0 h 235648"/>
                <a:gd name="connsiteX6" fmla="*/ 34385 w 201263"/>
                <a:gd name="connsiteY6" fmla="*/ 0 h 235648"/>
                <a:gd name="connsiteX7" fmla="*/ 34385 w 201263"/>
                <a:gd name="connsiteY7" fmla="*/ 134493 h 235648"/>
                <a:gd name="connsiteX8" fmla="*/ 50864 w 201263"/>
                <a:gd name="connsiteY8" fmla="*/ 185261 h 235648"/>
                <a:gd name="connsiteX9" fmla="*/ 98203 w 201263"/>
                <a:gd name="connsiteY9" fmla="*/ 203930 h 235648"/>
                <a:gd name="connsiteX10" fmla="*/ 125635 w 201263"/>
                <a:gd name="connsiteY10" fmla="*/ 198787 h 235648"/>
                <a:gd name="connsiteX11" fmla="*/ 147542 w 201263"/>
                <a:gd name="connsiteY11" fmla="*/ 184118 h 235648"/>
                <a:gd name="connsiteX12" fmla="*/ 162020 w 201263"/>
                <a:gd name="connsiteY12" fmla="*/ 161163 h 235648"/>
                <a:gd name="connsiteX13" fmla="*/ 167354 w 201263"/>
                <a:gd name="connsiteY13" fmla="*/ 131826 h 235648"/>
                <a:gd name="connsiteX14" fmla="*/ 167354 w 201263"/>
                <a:gd name="connsiteY14" fmla="*/ 0 h 235648"/>
                <a:gd name="connsiteX15" fmla="*/ 201263 w 201263"/>
                <a:gd name="connsiteY15" fmla="*/ 0 h 235648"/>
                <a:gd name="connsiteX16" fmla="*/ 201263 w 201263"/>
                <a:gd name="connsiteY16" fmla="*/ 230791 h 235648"/>
                <a:gd name="connsiteX17" fmla="*/ 167354 w 201263"/>
                <a:gd name="connsiteY17" fmla="*/ 230791 h 235648"/>
                <a:gd name="connsiteX18" fmla="*/ 167354 w 201263"/>
                <a:gd name="connsiteY18" fmla="*/ 190595 h 235648"/>
                <a:gd name="connsiteX19" fmla="*/ 136969 w 201263"/>
                <a:gd name="connsiteY19" fmla="*/ 222504 h 235648"/>
                <a:gd name="connsiteX20" fmla="*/ 88297 w 201263"/>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263" h="235648">
                  <a:moveTo>
                    <a:pt x="88392" y="235648"/>
                  </a:moveTo>
                  <a:cubicBezTo>
                    <a:pt x="74390" y="235648"/>
                    <a:pt x="62008" y="233363"/>
                    <a:pt x="51149" y="228981"/>
                  </a:cubicBezTo>
                  <a:cubicBezTo>
                    <a:pt x="40291" y="224504"/>
                    <a:pt x="31052" y="218218"/>
                    <a:pt x="23431"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864" y="185261"/>
                  </a:cubicBezTo>
                  <a:cubicBezTo>
                    <a:pt x="61913" y="197739"/>
                    <a:pt x="77629" y="203930"/>
                    <a:pt x="98203" y="203930"/>
                  </a:cubicBezTo>
                  <a:cubicBezTo>
                    <a:pt x="108014" y="203930"/>
                    <a:pt x="117158" y="202216"/>
                    <a:pt x="125635" y="198787"/>
                  </a:cubicBezTo>
                  <a:cubicBezTo>
                    <a:pt x="134112" y="195358"/>
                    <a:pt x="141351" y="190500"/>
                    <a:pt x="147542" y="184118"/>
                  </a:cubicBezTo>
                  <a:cubicBezTo>
                    <a:pt x="153638" y="177736"/>
                    <a:pt x="158496" y="170116"/>
                    <a:pt x="162020" y="161163"/>
                  </a:cubicBezTo>
                  <a:cubicBezTo>
                    <a:pt x="165640" y="152305"/>
                    <a:pt x="167354" y="142494"/>
                    <a:pt x="167354" y="131826"/>
                  </a:cubicBezTo>
                  <a:lnTo>
                    <a:pt x="167354" y="0"/>
                  </a:lnTo>
                  <a:lnTo>
                    <a:pt x="201263" y="0"/>
                  </a:lnTo>
                  <a:lnTo>
                    <a:pt x="201263" y="230791"/>
                  </a:lnTo>
                  <a:lnTo>
                    <a:pt x="167354" y="230791"/>
                  </a:lnTo>
                  <a:lnTo>
                    <a:pt x="167354" y="190595"/>
                  </a:lnTo>
                  <a:cubicBezTo>
                    <a:pt x="159639" y="203073"/>
                    <a:pt x="149447" y="213741"/>
                    <a:pt x="136969" y="222504"/>
                  </a:cubicBezTo>
                  <a:cubicBezTo>
                    <a:pt x="124492" y="231267"/>
                    <a:pt x="108299" y="235648"/>
                    <a:pt x="88297" y="235648"/>
                  </a:cubicBezTo>
                  <a:close/>
                </a:path>
              </a:pathLst>
            </a:custGeom>
            <a:solidFill>
              <a:srgbClr val="44505E"/>
            </a:solidFill>
            <a:ln w="9525" cap="flat">
              <a:noFill/>
              <a:prstDash val="solid"/>
              <a:miter/>
            </a:ln>
          </p:spPr>
          <p:txBody>
            <a:bodyPr rtlCol="0" anchor="ctr"/>
            <a:lstStyle/>
            <a:p>
              <a:endParaRPr lang="pt-BR" noProof="0"/>
            </a:p>
          </p:txBody>
        </p:sp>
        <p:sp>
          <p:nvSpPr>
            <p:cNvPr id="38" name="Freeform: Shape 37">
              <a:extLst>
                <a:ext uri="{FF2B5EF4-FFF2-40B4-BE49-F238E27FC236}">
                  <a16:creationId xmlns:a16="http://schemas.microsoft.com/office/drawing/2014/main" id="{E8D1582B-B344-C7B7-C234-FB857C1A0EF5}"/>
                </a:ext>
              </a:extLst>
            </p:cNvPr>
            <p:cNvSpPr/>
            <p:nvPr/>
          </p:nvSpPr>
          <p:spPr>
            <a:xfrm>
              <a:off x="5522205" y="901353"/>
              <a:ext cx="58567" cy="83182"/>
            </a:xfrm>
            <a:custGeom>
              <a:avLst/>
              <a:gdLst>
                <a:gd name="connsiteX0" fmla="*/ 110204 w 232981"/>
                <a:gd name="connsiteY0" fmla="*/ 330898 h 330898"/>
                <a:gd name="connsiteX1" fmla="*/ 69628 w 232981"/>
                <a:gd name="connsiteY1" fmla="*/ 322897 h 330898"/>
                <a:gd name="connsiteX2" fmla="*/ 34385 w 232981"/>
                <a:gd name="connsiteY2" fmla="*/ 299466 h 330898"/>
                <a:gd name="connsiteX3" fmla="*/ 9334 w 232981"/>
                <a:gd name="connsiteY3" fmla="*/ 261938 h 330898"/>
                <a:gd name="connsiteX4" fmla="*/ 0 w 232981"/>
                <a:gd name="connsiteY4" fmla="*/ 211264 h 330898"/>
                <a:gd name="connsiteX5" fmla="*/ 0 w 232981"/>
                <a:gd name="connsiteY5" fmla="*/ 210407 h 330898"/>
                <a:gd name="connsiteX6" fmla="*/ 9334 w 232981"/>
                <a:gd name="connsiteY6" fmla="*/ 159925 h 330898"/>
                <a:gd name="connsiteX7" fmla="*/ 34385 w 232981"/>
                <a:gd name="connsiteY7" fmla="*/ 122206 h 330898"/>
                <a:gd name="connsiteX8" fmla="*/ 69628 w 232981"/>
                <a:gd name="connsiteY8" fmla="*/ 98488 h 330898"/>
                <a:gd name="connsiteX9" fmla="*/ 110204 w 232981"/>
                <a:gd name="connsiteY9" fmla="*/ 90202 h 330898"/>
                <a:gd name="connsiteX10" fmla="*/ 139636 w 232981"/>
                <a:gd name="connsiteY10" fmla="*/ 94202 h 330898"/>
                <a:gd name="connsiteX11" fmla="*/ 163735 w 232981"/>
                <a:gd name="connsiteY11" fmla="*/ 104870 h 330898"/>
                <a:gd name="connsiteX12" fmla="*/ 183166 w 232981"/>
                <a:gd name="connsiteY12" fmla="*/ 120491 h 330898"/>
                <a:gd name="connsiteX13" fmla="*/ 198596 w 232981"/>
                <a:gd name="connsiteY13" fmla="*/ 139255 h 330898"/>
                <a:gd name="connsiteX14" fmla="*/ 198596 w 232981"/>
                <a:gd name="connsiteY14" fmla="*/ 0 h 330898"/>
                <a:gd name="connsiteX15" fmla="*/ 232981 w 232981"/>
                <a:gd name="connsiteY15" fmla="*/ 0 h 330898"/>
                <a:gd name="connsiteX16" fmla="*/ 232981 w 232981"/>
                <a:gd name="connsiteY16" fmla="*/ 325850 h 330898"/>
                <a:gd name="connsiteX17" fmla="*/ 198596 w 232981"/>
                <a:gd name="connsiteY17" fmla="*/ 325850 h 330898"/>
                <a:gd name="connsiteX18" fmla="*/ 198596 w 232981"/>
                <a:gd name="connsiteY18" fmla="*/ 279463 h 330898"/>
                <a:gd name="connsiteX19" fmla="*/ 182785 w 232981"/>
                <a:gd name="connsiteY19" fmla="*/ 299085 h 330898"/>
                <a:gd name="connsiteX20" fmla="*/ 163354 w 232981"/>
                <a:gd name="connsiteY20" fmla="*/ 315658 h 330898"/>
                <a:gd name="connsiteX21" fmla="*/ 139446 w 232981"/>
                <a:gd name="connsiteY21" fmla="*/ 326803 h 330898"/>
                <a:gd name="connsiteX22" fmla="*/ 110204 w 232981"/>
                <a:gd name="connsiteY22" fmla="*/ 330803 h 330898"/>
                <a:gd name="connsiteX23" fmla="*/ 116491 w 232981"/>
                <a:gd name="connsiteY23" fmla="*/ 300133 h 330898"/>
                <a:gd name="connsiteX24" fmla="*/ 147542 w 232981"/>
                <a:gd name="connsiteY24" fmla="*/ 293656 h 330898"/>
                <a:gd name="connsiteX25" fmla="*/ 174307 w 232981"/>
                <a:gd name="connsiteY25" fmla="*/ 275368 h 330898"/>
                <a:gd name="connsiteX26" fmla="*/ 193072 w 232981"/>
                <a:gd name="connsiteY26" fmla="*/ 247269 h 330898"/>
                <a:gd name="connsiteX27" fmla="*/ 200025 w 232981"/>
                <a:gd name="connsiteY27" fmla="*/ 210883 h 330898"/>
                <a:gd name="connsiteX28" fmla="*/ 200025 w 232981"/>
                <a:gd name="connsiteY28" fmla="*/ 210026 h 330898"/>
                <a:gd name="connsiteX29" fmla="*/ 193072 w 232981"/>
                <a:gd name="connsiteY29" fmla="*/ 173641 h 330898"/>
                <a:gd name="connsiteX30" fmla="*/ 174307 w 232981"/>
                <a:gd name="connsiteY30" fmla="*/ 145732 h 330898"/>
                <a:gd name="connsiteX31" fmla="*/ 147542 w 232981"/>
                <a:gd name="connsiteY31" fmla="*/ 127635 h 330898"/>
                <a:gd name="connsiteX32" fmla="*/ 116491 w 232981"/>
                <a:gd name="connsiteY32" fmla="*/ 121158 h 330898"/>
                <a:gd name="connsiteX33" fmla="*/ 84772 w 232981"/>
                <a:gd name="connsiteY33" fmla="*/ 127159 h 330898"/>
                <a:gd name="connsiteX34" fmla="*/ 59150 w 232981"/>
                <a:gd name="connsiteY34" fmla="*/ 144589 h 330898"/>
                <a:gd name="connsiteX35" fmla="*/ 41719 w 232981"/>
                <a:gd name="connsiteY35" fmla="*/ 172498 h 330898"/>
                <a:gd name="connsiteX36" fmla="*/ 35242 w 232981"/>
                <a:gd name="connsiteY36" fmla="*/ 210026 h 330898"/>
                <a:gd name="connsiteX37" fmla="*/ 35242 w 232981"/>
                <a:gd name="connsiteY37" fmla="*/ 210883 h 330898"/>
                <a:gd name="connsiteX38" fmla="*/ 41719 w 232981"/>
                <a:gd name="connsiteY38" fmla="*/ 247936 h 330898"/>
                <a:gd name="connsiteX39" fmla="*/ 59341 w 232981"/>
                <a:gd name="connsiteY39" fmla="*/ 276034 h 330898"/>
                <a:gd name="connsiteX40" fmla="*/ 85249 w 232981"/>
                <a:gd name="connsiteY40" fmla="*/ 293941 h 330898"/>
                <a:gd name="connsiteX41" fmla="*/ 116491 w 23298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30898">
                  <a:moveTo>
                    <a:pt x="110204" y="330898"/>
                  </a:moveTo>
                  <a:cubicBezTo>
                    <a:pt x="96202" y="330898"/>
                    <a:pt x="82677" y="328231"/>
                    <a:pt x="69628" y="322897"/>
                  </a:cubicBezTo>
                  <a:cubicBezTo>
                    <a:pt x="56578" y="317563"/>
                    <a:pt x="44767" y="309753"/>
                    <a:pt x="34385" y="299466"/>
                  </a:cubicBezTo>
                  <a:cubicBezTo>
                    <a:pt x="24003" y="289179"/>
                    <a:pt x="15621" y="276701"/>
                    <a:pt x="9334" y="261938"/>
                  </a:cubicBezTo>
                  <a:cubicBezTo>
                    <a:pt x="3048" y="247174"/>
                    <a:pt x="0" y="230314"/>
                    <a:pt x="0" y="211264"/>
                  </a:cubicBezTo>
                  <a:lnTo>
                    <a:pt x="0" y="210407"/>
                  </a:lnTo>
                  <a:cubicBezTo>
                    <a:pt x="0" y="191643"/>
                    <a:pt x="3143" y="174879"/>
                    <a:pt x="9334" y="159925"/>
                  </a:cubicBezTo>
                  <a:cubicBezTo>
                    <a:pt x="15621" y="145066"/>
                    <a:pt x="23908" y="132493"/>
                    <a:pt x="34385" y="122206"/>
                  </a:cubicBezTo>
                  <a:cubicBezTo>
                    <a:pt x="44767" y="111919"/>
                    <a:pt x="56578" y="104013"/>
                    <a:pt x="69628" y="98488"/>
                  </a:cubicBezTo>
                  <a:cubicBezTo>
                    <a:pt x="82677" y="92964"/>
                    <a:pt x="96298" y="90202"/>
                    <a:pt x="110204" y="90202"/>
                  </a:cubicBezTo>
                  <a:cubicBezTo>
                    <a:pt x="120967" y="90202"/>
                    <a:pt x="130778" y="91535"/>
                    <a:pt x="139636" y="94202"/>
                  </a:cubicBezTo>
                  <a:cubicBezTo>
                    <a:pt x="148590" y="96869"/>
                    <a:pt x="156591" y="100489"/>
                    <a:pt x="163735" y="104870"/>
                  </a:cubicBezTo>
                  <a:cubicBezTo>
                    <a:pt x="170878" y="109347"/>
                    <a:pt x="177356" y="114586"/>
                    <a:pt x="183166" y="120491"/>
                  </a:cubicBezTo>
                  <a:cubicBezTo>
                    <a:pt x="188976" y="126492"/>
                    <a:pt x="194119" y="132683"/>
                    <a:pt x="198596" y="139255"/>
                  </a:cubicBezTo>
                  <a:lnTo>
                    <a:pt x="198596" y="0"/>
                  </a:lnTo>
                  <a:lnTo>
                    <a:pt x="232981" y="0"/>
                  </a:lnTo>
                  <a:lnTo>
                    <a:pt x="232981" y="325850"/>
                  </a:lnTo>
                  <a:lnTo>
                    <a:pt x="198596" y="325850"/>
                  </a:lnTo>
                  <a:lnTo>
                    <a:pt x="198596" y="279463"/>
                  </a:lnTo>
                  <a:cubicBezTo>
                    <a:pt x="193834" y="286321"/>
                    <a:pt x="188595" y="292894"/>
                    <a:pt x="182785" y="299085"/>
                  </a:cubicBezTo>
                  <a:cubicBezTo>
                    <a:pt x="176974" y="305371"/>
                    <a:pt x="170498" y="310896"/>
                    <a:pt x="163354" y="315658"/>
                  </a:cubicBezTo>
                  <a:cubicBezTo>
                    <a:pt x="156210" y="320421"/>
                    <a:pt x="148209" y="324136"/>
                    <a:pt x="139446" y="326803"/>
                  </a:cubicBezTo>
                  <a:cubicBezTo>
                    <a:pt x="130683" y="329470"/>
                    <a:pt x="120967" y="330803"/>
                    <a:pt x="110204" y="330803"/>
                  </a:cubicBezTo>
                  <a:close/>
                  <a:moveTo>
                    <a:pt x="116491" y="300133"/>
                  </a:moveTo>
                  <a:cubicBezTo>
                    <a:pt x="127159" y="300133"/>
                    <a:pt x="137541" y="297942"/>
                    <a:pt x="147542" y="293656"/>
                  </a:cubicBezTo>
                  <a:cubicBezTo>
                    <a:pt x="157544" y="289369"/>
                    <a:pt x="166402" y="283273"/>
                    <a:pt x="174307" y="275368"/>
                  </a:cubicBezTo>
                  <a:cubicBezTo>
                    <a:pt x="182213" y="267462"/>
                    <a:pt x="188404" y="258127"/>
                    <a:pt x="193072" y="247269"/>
                  </a:cubicBezTo>
                  <a:cubicBezTo>
                    <a:pt x="197644" y="236410"/>
                    <a:pt x="200025" y="224314"/>
                    <a:pt x="200025" y="210883"/>
                  </a:cubicBezTo>
                  <a:lnTo>
                    <a:pt x="200025" y="210026"/>
                  </a:lnTo>
                  <a:cubicBezTo>
                    <a:pt x="200025" y="196596"/>
                    <a:pt x="197739" y="184499"/>
                    <a:pt x="193072" y="173641"/>
                  </a:cubicBezTo>
                  <a:cubicBezTo>
                    <a:pt x="188500" y="162782"/>
                    <a:pt x="182213" y="153448"/>
                    <a:pt x="174307" y="145732"/>
                  </a:cubicBezTo>
                  <a:cubicBezTo>
                    <a:pt x="166402" y="138017"/>
                    <a:pt x="157448" y="132016"/>
                    <a:pt x="147542" y="127635"/>
                  </a:cubicBezTo>
                  <a:cubicBezTo>
                    <a:pt x="137541" y="123349"/>
                    <a:pt x="127254" y="121158"/>
                    <a:pt x="116491" y="121158"/>
                  </a:cubicBezTo>
                  <a:cubicBezTo>
                    <a:pt x="105156" y="121158"/>
                    <a:pt x="94583" y="123158"/>
                    <a:pt x="84772" y="127159"/>
                  </a:cubicBezTo>
                  <a:cubicBezTo>
                    <a:pt x="74962" y="131159"/>
                    <a:pt x="66389" y="136969"/>
                    <a:pt x="59150" y="144589"/>
                  </a:cubicBezTo>
                  <a:cubicBezTo>
                    <a:pt x="51816" y="152114"/>
                    <a:pt x="46101" y="161449"/>
                    <a:pt x="41719" y="172498"/>
                  </a:cubicBezTo>
                  <a:cubicBezTo>
                    <a:pt x="37433" y="183451"/>
                    <a:pt x="35242" y="196024"/>
                    <a:pt x="35242" y="210026"/>
                  </a:cubicBezTo>
                  <a:lnTo>
                    <a:pt x="35242" y="210883"/>
                  </a:lnTo>
                  <a:cubicBezTo>
                    <a:pt x="35242" y="224599"/>
                    <a:pt x="37433" y="236982"/>
                    <a:pt x="41719" y="247936"/>
                  </a:cubicBezTo>
                  <a:cubicBezTo>
                    <a:pt x="46006" y="258984"/>
                    <a:pt x="51911" y="268319"/>
                    <a:pt x="59341" y="276034"/>
                  </a:cubicBezTo>
                  <a:cubicBezTo>
                    <a:pt x="66770" y="283750"/>
                    <a:pt x="75438" y="289750"/>
                    <a:pt x="85249" y="293941"/>
                  </a:cubicBezTo>
                  <a:cubicBezTo>
                    <a:pt x="95059" y="298132"/>
                    <a:pt x="105442" y="300228"/>
                    <a:pt x="116491" y="300228"/>
                  </a:cubicBezTo>
                  <a:close/>
                </a:path>
              </a:pathLst>
            </a:custGeom>
            <a:solidFill>
              <a:srgbClr val="44505E"/>
            </a:solidFill>
            <a:ln w="9525" cap="flat">
              <a:noFill/>
              <a:prstDash val="solid"/>
              <a:miter/>
            </a:ln>
          </p:spPr>
          <p:txBody>
            <a:bodyPr rtlCol="0" anchor="ctr"/>
            <a:lstStyle/>
            <a:p>
              <a:endParaRPr lang="pt-BR" noProof="0"/>
            </a:p>
          </p:txBody>
        </p:sp>
        <p:sp>
          <p:nvSpPr>
            <p:cNvPr id="39" name="Freeform: Shape 38">
              <a:extLst>
                <a:ext uri="{FF2B5EF4-FFF2-40B4-BE49-F238E27FC236}">
                  <a16:creationId xmlns:a16="http://schemas.microsoft.com/office/drawing/2014/main" id="{6AFF9147-325F-9172-6158-B9BD6D4C7B0A}"/>
                </a:ext>
              </a:extLst>
            </p:cNvPr>
            <p:cNvSpPr/>
            <p:nvPr/>
          </p:nvSpPr>
          <p:spPr>
            <a:xfrm>
              <a:off x="5596504"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6963 w 218217"/>
                <a:gd name="connsiteY3" fmla="*/ 206026 h 241077"/>
                <a:gd name="connsiteX4" fmla="*/ 116015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8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1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452 w 218217"/>
                <a:gd name="connsiteY25" fmla="*/ 106299 h 241077"/>
                <a:gd name="connsiteX26" fmla="*/ 176784 w 218217"/>
                <a:gd name="connsiteY26" fmla="*/ 76771 h 241077"/>
                <a:gd name="connsiteX27" fmla="*/ 162306 w 218217"/>
                <a:gd name="connsiteY27" fmla="*/ 52101 h 241077"/>
                <a:gd name="connsiteX28" fmla="*/ 140018 w 218217"/>
                <a:gd name="connsiteY28" fmla="*/ 35242 h 241077"/>
                <a:gd name="connsiteX29" fmla="*/ 109919 w 218217"/>
                <a:gd name="connsiteY29" fmla="*/ 29051 h 241077"/>
                <a:gd name="connsiteX30" fmla="*/ 82201 w 218217"/>
                <a:gd name="connsiteY30" fmla="*/ 34766 h 241077"/>
                <a:gd name="connsiteX31" fmla="*/ 59436 w 218217"/>
                <a:gd name="connsiteY31" fmla="*/ 50959 h 241077"/>
                <a:gd name="connsiteX32" fmla="*/ 43148 w 218217"/>
                <a:gd name="connsiteY32" fmla="*/ 75628 h 241077"/>
                <a:gd name="connsiteX33" fmla="*/ 34862 w 218217"/>
                <a:gd name="connsiteY33" fmla="*/ 106204 h 241077"/>
                <a:gd name="connsiteX34" fmla="*/ 183547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724" y="202597"/>
                    <a:pt x="86963" y="206026"/>
                  </a:cubicBezTo>
                  <a:cubicBezTo>
                    <a:pt x="96203" y="209455"/>
                    <a:pt x="105823" y="211169"/>
                    <a:pt x="116015" y="211169"/>
                  </a:cubicBezTo>
                  <a:cubicBezTo>
                    <a:pt x="132112" y="211169"/>
                    <a:pt x="145828" y="208216"/>
                    <a:pt x="157353" y="202216"/>
                  </a:cubicBezTo>
                  <a:cubicBezTo>
                    <a:pt x="168783" y="196310"/>
                    <a:pt x="179261" y="188404"/>
                    <a:pt x="188786" y="178594"/>
                  </a:cubicBezTo>
                  <a:lnTo>
                    <a:pt x="210217" y="197834"/>
                  </a:lnTo>
                  <a:cubicBezTo>
                    <a:pt x="198596" y="210979"/>
                    <a:pt x="185357" y="221361"/>
                    <a:pt x="170498" y="229267"/>
                  </a:cubicBezTo>
                  <a:cubicBezTo>
                    <a:pt x="155639"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679" y="0"/>
                    <a:pt x="110681"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452" y="106299"/>
                  </a:moveTo>
                  <a:cubicBezTo>
                    <a:pt x="182594" y="95917"/>
                    <a:pt x="180308" y="86106"/>
                    <a:pt x="176784" y="76771"/>
                  </a:cubicBezTo>
                  <a:cubicBezTo>
                    <a:pt x="173165" y="67437"/>
                    <a:pt x="168402" y="59245"/>
                    <a:pt x="162306" y="52101"/>
                  </a:cubicBezTo>
                  <a:cubicBezTo>
                    <a:pt x="156210" y="44958"/>
                    <a:pt x="148781" y="39338"/>
                    <a:pt x="140018" y="35242"/>
                  </a:cubicBezTo>
                  <a:cubicBezTo>
                    <a:pt x="131254" y="31147"/>
                    <a:pt x="121158" y="29051"/>
                    <a:pt x="109919" y="29051"/>
                  </a:cubicBezTo>
                  <a:cubicBezTo>
                    <a:pt x="100108" y="29051"/>
                    <a:pt x="90869" y="30956"/>
                    <a:pt x="82201" y="34766"/>
                  </a:cubicBezTo>
                  <a:cubicBezTo>
                    <a:pt x="73533" y="38671"/>
                    <a:pt x="66008" y="44005"/>
                    <a:pt x="59436" y="50959"/>
                  </a:cubicBezTo>
                  <a:cubicBezTo>
                    <a:pt x="52864" y="57912"/>
                    <a:pt x="47435" y="66103"/>
                    <a:pt x="43148" y="75628"/>
                  </a:cubicBezTo>
                  <a:cubicBezTo>
                    <a:pt x="38862" y="85058"/>
                    <a:pt x="36100" y="95345"/>
                    <a:pt x="34862" y="106204"/>
                  </a:cubicBezTo>
                  <a:lnTo>
                    <a:pt x="183547" y="106204"/>
                  </a:lnTo>
                  <a:close/>
                </a:path>
              </a:pathLst>
            </a:custGeom>
            <a:solidFill>
              <a:srgbClr val="44505E"/>
            </a:solidFill>
            <a:ln w="9525" cap="flat">
              <a:noFill/>
              <a:prstDash val="solid"/>
              <a:miter/>
            </a:ln>
          </p:spPr>
          <p:txBody>
            <a:bodyPr rtlCol="0" anchor="ctr"/>
            <a:lstStyle/>
            <a:p>
              <a:endParaRPr lang="pt-BR" noProof="0"/>
            </a:p>
          </p:txBody>
        </p:sp>
        <p:sp>
          <p:nvSpPr>
            <p:cNvPr id="40" name="Freeform: Shape 39">
              <a:extLst>
                <a:ext uri="{FF2B5EF4-FFF2-40B4-BE49-F238E27FC236}">
                  <a16:creationId xmlns:a16="http://schemas.microsoft.com/office/drawing/2014/main" id="{ECC2DDFF-7A4C-DF55-A328-B8BD1792A597}"/>
                </a:ext>
              </a:extLst>
            </p:cNvPr>
            <p:cNvSpPr/>
            <p:nvPr/>
          </p:nvSpPr>
          <p:spPr>
            <a:xfrm>
              <a:off x="5661680" y="924268"/>
              <a:ext cx="44656" cy="60195"/>
            </a:xfrm>
            <a:custGeom>
              <a:avLst/>
              <a:gdLst>
                <a:gd name="connsiteX0" fmla="*/ 95536 w 177641"/>
                <a:gd name="connsiteY0" fmla="*/ 239268 h 239458"/>
                <a:gd name="connsiteX1" fmla="*/ 45053 w 177641"/>
                <a:gd name="connsiteY1" fmla="*/ 230124 h 239458"/>
                <a:gd name="connsiteX2" fmla="*/ 0 w 177641"/>
                <a:gd name="connsiteY2" fmla="*/ 205359 h 239458"/>
                <a:gd name="connsiteX3" fmla="*/ 17431 w 177641"/>
                <a:gd name="connsiteY3" fmla="*/ 180785 h 239458"/>
                <a:gd name="connsiteX4" fmla="*/ 56483 w 177641"/>
                <a:gd name="connsiteY4" fmla="*/ 202692 h 239458"/>
                <a:gd name="connsiteX5" fmla="*/ 97346 w 177641"/>
                <a:gd name="connsiteY5" fmla="*/ 210217 h 239458"/>
                <a:gd name="connsiteX6" fmla="*/ 131731 w 177641"/>
                <a:gd name="connsiteY6" fmla="*/ 200406 h 239458"/>
                <a:gd name="connsiteX7" fmla="*/ 145161 w 177641"/>
                <a:gd name="connsiteY7" fmla="*/ 173641 h 239458"/>
                <a:gd name="connsiteX8" fmla="*/ 145161 w 177641"/>
                <a:gd name="connsiteY8" fmla="*/ 172784 h 239458"/>
                <a:gd name="connsiteX9" fmla="*/ 140494 w 177641"/>
                <a:gd name="connsiteY9" fmla="*/ 158020 h 239458"/>
                <a:gd name="connsiteX10" fmla="*/ 127730 w 177641"/>
                <a:gd name="connsiteY10" fmla="*/ 147066 h 239458"/>
                <a:gd name="connsiteX11" fmla="*/ 109157 w 177641"/>
                <a:gd name="connsiteY11" fmla="*/ 138779 h 239458"/>
                <a:gd name="connsiteX12" fmla="*/ 87535 w 177641"/>
                <a:gd name="connsiteY12" fmla="*/ 132112 h 239458"/>
                <a:gd name="connsiteX13" fmla="*/ 60484 w 177641"/>
                <a:gd name="connsiteY13" fmla="*/ 123444 h 239458"/>
                <a:gd name="connsiteX14" fmla="*/ 35909 w 177641"/>
                <a:gd name="connsiteY14" fmla="*/ 111633 h 239458"/>
                <a:gd name="connsiteX15" fmla="*/ 18098 w 177641"/>
                <a:gd name="connsiteY15" fmla="*/ 93726 h 239458"/>
                <a:gd name="connsiteX16" fmla="*/ 11144 w 177641"/>
                <a:gd name="connsiteY16" fmla="*/ 66961 h 239458"/>
                <a:gd name="connsiteX17" fmla="*/ 11144 w 177641"/>
                <a:gd name="connsiteY17" fmla="*/ 66008 h 239458"/>
                <a:gd name="connsiteX18" fmla="*/ 16954 w 177641"/>
                <a:gd name="connsiteY18" fmla="*/ 39053 h 239458"/>
                <a:gd name="connsiteX19" fmla="*/ 33242 w 177641"/>
                <a:gd name="connsiteY19" fmla="*/ 18098 h 239458"/>
                <a:gd name="connsiteX20" fmla="*/ 58293 w 177641"/>
                <a:gd name="connsiteY20" fmla="*/ 4667 h 239458"/>
                <a:gd name="connsiteX21" fmla="*/ 89725 w 177641"/>
                <a:gd name="connsiteY21" fmla="*/ 0 h 239458"/>
                <a:gd name="connsiteX22" fmla="*/ 133064 w 177641"/>
                <a:gd name="connsiteY22" fmla="*/ 6953 h 239458"/>
                <a:gd name="connsiteX23" fmla="*/ 172784 w 177641"/>
                <a:gd name="connsiteY23" fmla="*/ 25527 h 239458"/>
                <a:gd name="connsiteX24" fmla="*/ 157163 w 177641"/>
                <a:gd name="connsiteY24" fmla="*/ 51435 h 239458"/>
                <a:gd name="connsiteX25" fmla="*/ 123444 w 177641"/>
                <a:gd name="connsiteY25" fmla="*/ 35147 h 239458"/>
                <a:gd name="connsiteX26" fmla="*/ 88868 w 177641"/>
                <a:gd name="connsiteY26" fmla="*/ 29146 h 239458"/>
                <a:gd name="connsiteX27" fmla="*/ 56293 w 177641"/>
                <a:gd name="connsiteY27" fmla="*/ 38767 h 239458"/>
                <a:gd name="connsiteX28" fmla="*/ 44196 w 177641"/>
                <a:gd name="connsiteY28" fmla="*/ 62675 h 239458"/>
                <a:gd name="connsiteX29" fmla="*/ 44196 w 177641"/>
                <a:gd name="connsiteY29" fmla="*/ 63627 h 239458"/>
                <a:gd name="connsiteX30" fmla="*/ 49149 w 177641"/>
                <a:gd name="connsiteY30" fmla="*/ 77724 h 239458"/>
                <a:gd name="connsiteX31" fmla="*/ 62294 w 177641"/>
                <a:gd name="connsiteY31" fmla="*/ 88202 h 239458"/>
                <a:gd name="connsiteX32" fmla="*/ 81248 w 177641"/>
                <a:gd name="connsiteY32" fmla="*/ 96203 h 239458"/>
                <a:gd name="connsiteX33" fmla="*/ 103537 w 177641"/>
                <a:gd name="connsiteY33" fmla="*/ 103346 h 239458"/>
                <a:gd name="connsiteX34" fmla="*/ 130112 w 177641"/>
                <a:gd name="connsiteY34" fmla="*/ 112300 h 239458"/>
                <a:gd name="connsiteX35" fmla="*/ 154019 w 177641"/>
                <a:gd name="connsiteY35" fmla="*/ 124778 h 239458"/>
                <a:gd name="connsiteX36" fmla="*/ 171164 w 177641"/>
                <a:gd name="connsiteY36" fmla="*/ 143066 h 239458"/>
                <a:gd name="connsiteX37" fmla="*/ 177641 w 177641"/>
                <a:gd name="connsiteY37" fmla="*/ 169450 h 239458"/>
                <a:gd name="connsiteX38" fmla="*/ 177641 w 177641"/>
                <a:gd name="connsiteY38" fmla="*/ 170307 h 239458"/>
                <a:gd name="connsiteX39" fmla="*/ 171164 w 177641"/>
                <a:gd name="connsiteY39" fmla="*/ 199549 h 239458"/>
                <a:gd name="connsiteX40" fmla="*/ 153734 w 177641"/>
                <a:gd name="connsiteY40" fmla="*/ 221171 h 239458"/>
                <a:gd name="connsiteX41" fmla="*/ 127825 w 177641"/>
                <a:gd name="connsiteY41" fmla="*/ 234791 h 239458"/>
                <a:gd name="connsiteX42" fmla="*/ 95441 w 177641"/>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641" h="239458">
                  <a:moveTo>
                    <a:pt x="95536" y="239268"/>
                  </a:moveTo>
                  <a:cubicBezTo>
                    <a:pt x="78867" y="239268"/>
                    <a:pt x="62008" y="236220"/>
                    <a:pt x="45053" y="230124"/>
                  </a:cubicBezTo>
                  <a:cubicBezTo>
                    <a:pt x="28099" y="224028"/>
                    <a:pt x="13049" y="215741"/>
                    <a:pt x="0" y="205359"/>
                  </a:cubicBezTo>
                  <a:lnTo>
                    <a:pt x="17431" y="180785"/>
                  </a:lnTo>
                  <a:cubicBezTo>
                    <a:pt x="29908"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542" y="162211"/>
                    <a:pt x="140494" y="158020"/>
                  </a:cubicBezTo>
                  <a:cubicBezTo>
                    <a:pt x="137350" y="153829"/>
                    <a:pt x="133160" y="150209"/>
                    <a:pt x="127730" y="147066"/>
                  </a:cubicBezTo>
                  <a:cubicBezTo>
                    <a:pt x="122396" y="143923"/>
                    <a:pt x="116205" y="141161"/>
                    <a:pt x="109157" y="138779"/>
                  </a:cubicBezTo>
                  <a:cubicBezTo>
                    <a:pt x="102203" y="136398"/>
                    <a:pt x="94964" y="134207"/>
                    <a:pt x="87535" y="132112"/>
                  </a:cubicBezTo>
                  <a:cubicBezTo>
                    <a:pt x="78581" y="129445"/>
                    <a:pt x="69628" y="126492"/>
                    <a:pt x="60484" y="123444"/>
                  </a:cubicBezTo>
                  <a:cubicBezTo>
                    <a:pt x="51435" y="120301"/>
                    <a:pt x="43244" y="116396"/>
                    <a:pt x="35909" y="111633"/>
                  </a:cubicBezTo>
                  <a:cubicBezTo>
                    <a:pt x="28575" y="106871"/>
                    <a:pt x="22670" y="100870"/>
                    <a:pt x="18098" y="93726"/>
                  </a:cubicBezTo>
                  <a:cubicBezTo>
                    <a:pt x="13525" y="86582"/>
                    <a:pt x="11144" y="77629"/>
                    <a:pt x="11144" y="66961"/>
                  </a:cubicBezTo>
                  <a:lnTo>
                    <a:pt x="11144" y="66008"/>
                  </a:lnTo>
                  <a:cubicBezTo>
                    <a:pt x="11144" y="56198"/>
                    <a:pt x="13049" y="47149"/>
                    <a:pt x="16954" y="39053"/>
                  </a:cubicBezTo>
                  <a:cubicBezTo>
                    <a:pt x="20860" y="30861"/>
                    <a:pt x="26289" y="23908"/>
                    <a:pt x="33242" y="18098"/>
                  </a:cubicBezTo>
                  <a:cubicBezTo>
                    <a:pt x="40196" y="12287"/>
                    <a:pt x="48578" y="7811"/>
                    <a:pt x="58293" y="4667"/>
                  </a:cubicBezTo>
                  <a:cubicBezTo>
                    <a:pt x="67913" y="1524"/>
                    <a:pt x="78486" y="0"/>
                    <a:pt x="89725" y="0"/>
                  </a:cubicBezTo>
                  <a:cubicBezTo>
                    <a:pt x="104013" y="0"/>
                    <a:pt x="118396" y="2286"/>
                    <a:pt x="133064" y="6953"/>
                  </a:cubicBezTo>
                  <a:cubicBezTo>
                    <a:pt x="147638" y="11621"/>
                    <a:pt x="160877" y="17717"/>
                    <a:pt x="172784" y="25527"/>
                  </a:cubicBezTo>
                  <a:lnTo>
                    <a:pt x="157163" y="51435"/>
                  </a:lnTo>
                  <a:cubicBezTo>
                    <a:pt x="146399" y="44577"/>
                    <a:pt x="135255" y="39148"/>
                    <a:pt x="123444" y="35147"/>
                  </a:cubicBezTo>
                  <a:cubicBezTo>
                    <a:pt x="111728" y="31147"/>
                    <a:pt x="100203" y="29146"/>
                    <a:pt x="88868" y="29146"/>
                  </a:cubicBezTo>
                  <a:cubicBezTo>
                    <a:pt x="75152" y="29146"/>
                    <a:pt x="64294" y="32385"/>
                    <a:pt x="56293" y="38767"/>
                  </a:cubicBezTo>
                  <a:cubicBezTo>
                    <a:pt x="48292" y="45149"/>
                    <a:pt x="44196" y="53150"/>
                    <a:pt x="44196" y="62675"/>
                  </a:cubicBezTo>
                  <a:lnTo>
                    <a:pt x="44196" y="63627"/>
                  </a:lnTo>
                  <a:cubicBezTo>
                    <a:pt x="44196" y="68961"/>
                    <a:pt x="45815" y="73628"/>
                    <a:pt x="49149" y="77724"/>
                  </a:cubicBezTo>
                  <a:cubicBezTo>
                    <a:pt x="52388" y="81725"/>
                    <a:pt x="56769" y="85249"/>
                    <a:pt x="62294" y="88202"/>
                  </a:cubicBezTo>
                  <a:cubicBezTo>
                    <a:pt x="67818" y="91154"/>
                    <a:pt x="74104" y="93821"/>
                    <a:pt x="81248" y="96203"/>
                  </a:cubicBezTo>
                  <a:cubicBezTo>
                    <a:pt x="88392" y="98584"/>
                    <a:pt x="95821" y="100965"/>
                    <a:pt x="103537" y="103346"/>
                  </a:cubicBezTo>
                  <a:cubicBezTo>
                    <a:pt x="112490" y="106013"/>
                    <a:pt x="121349" y="108966"/>
                    <a:pt x="130112" y="112300"/>
                  </a:cubicBezTo>
                  <a:cubicBezTo>
                    <a:pt x="138875" y="115538"/>
                    <a:pt x="146875" y="119729"/>
                    <a:pt x="154019" y="124778"/>
                  </a:cubicBezTo>
                  <a:cubicBezTo>
                    <a:pt x="161163" y="129826"/>
                    <a:pt x="166878" y="135922"/>
                    <a:pt x="171164" y="143066"/>
                  </a:cubicBezTo>
                  <a:cubicBezTo>
                    <a:pt x="175450" y="150209"/>
                    <a:pt x="177641" y="158972"/>
                    <a:pt x="177641" y="169450"/>
                  </a:cubicBezTo>
                  <a:lnTo>
                    <a:pt x="177641" y="170307"/>
                  </a:lnTo>
                  <a:cubicBezTo>
                    <a:pt x="177641" y="181356"/>
                    <a:pt x="175450" y="191071"/>
                    <a:pt x="171164" y="199549"/>
                  </a:cubicBezTo>
                  <a:cubicBezTo>
                    <a:pt x="166878" y="208026"/>
                    <a:pt x="161068" y="215265"/>
                    <a:pt x="153734" y="221171"/>
                  </a:cubicBezTo>
                  <a:cubicBezTo>
                    <a:pt x="146495" y="227171"/>
                    <a:pt x="137827" y="231648"/>
                    <a:pt x="127825" y="234791"/>
                  </a:cubicBezTo>
                  <a:cubicBezTo>
                    <a:pt x="117824" y="237935"/>
                    <a:pt x="107061" y="239459"/>
                    <a:pt x="95441" y="239459"/>
                  </a:cubicBezTo>
                  <a:close/>
                </a:path>
              </a:pathLst>
            </a:custGeom>
            <a:solidFill>
              <a:srgbClr val="44505E"/>
            </a:solidFill>
            <a:ln w="9525" cap="flat">
              <a:noFill/>
              <a:prstDash val="solid"/>
              <a:miter/>
            </a:ln>
          </p:spPr>
          <p:txBody>
            <a:bodyPr rtlCol="0" anchor="ctr"/>
            <a:lstStyle/>
            <a:p>
              <a:endParaRPr lang="pt-BR" noProof="0"/>
            </a:p>
          </p:txBody>
        </p:sp>
        <p:sp>
          <p:nvSpPr>
            <p:cNvPr id="41" name="Freeform: Shape 40">
              <a:extLst>
                <a:ext uri="{FF2B5EF4-FFF2-40B4-BE49-F238E27FC236}">
                  <a16:creationId xmlns:a16="http://schemas.microsoft.com/office/drawing/2014/main" id="{3528CBE0-C29F-53D6-0F4B-80DEA4CF0654}"/>
                </a:ext>
              </a:extLst>
            </p:cNvPr>
            <p:cNvSpPr/>
            <p:nvPr/>
          </p:nvSpPr>
          <p:spPr>
            <a:xfrm>
              <a:off x="5752668" y="924028"/>
              <a:ext cx="58567" cy="77196"/>
            </a:xfrm>
            <a:custGeom>
              <a:avLst/>
              <a:gdLst>
                <a:gd name="connsiteX0" fmla="*/ 198596 w 232981"/>
                <a:gd name="connsiteY0" fmla="*/ 189357 h 307085"/>
                <a:gd name="connsiteX1" fmla="*/ 182785 w 232981"/>
                <a:gd name="connsiteY1" fmla="*/ 208978 h 307085"/>
                <a:gd name="connsiteX2" fmla="*/ 163354 w 232981"/>
                <a:gd name="connsiteY2" fmla="*/ 225552 h 307085"/>
                <a:gd name="connsiteX3" fmla="*/ 139446 w 232981"/>
                <a:gd name="connsiteY3" fmla="*/ 236696 h 307085"/>
                <a:gd name="connsiteX4" fmla="*/ 110204 w 232981"/>
                <a:gd name="connsiteY4" fmla="*/ 240697 h 307085"/>
                <a:gd name="connsiteX5" fmla="*/ 69628 w 232981"/>
                <a:gd name="connsiteY5" fmla="*/ 232696 h 307085"/>
                <a:gd name="connsiteX6" fmla="*/ 34385 w 232981"/>
                <a:gd name="connsiteY6" fmla="*/ 209264 h 307085"/>
                <a:gd name="connsiteX7" fmla="*/ 9335 w 232981"/>
                <a:gd name="connsiteY7" fmla="*/ 171736 h 307085"/>
                <a:gd name="connsiteX8" fmla="*/ 0 w 232981"/>
                <a:gd name="connsiteY8" fmla="*/ 121063 h 307085"/>
                <a:gd name="connsiteX9" fmla="*/ 0 w 232981"/>
                <a:gd name="connsiteY9" fmla="*/ 120205 h 307085"/>
                <a:gd name="connsiteX10" fmla="*/ 9335 w 232981"/>
                <a:gd name="connsiteY10" fmla="*/ 69723 h 307085"/>
                <a:gd name="connsiteX11" fmla="*/ 34385 w 232981"/>
                <a:gd name="connsiteY11" fmla="*/ 32004 h 307085"/>
                <a:gd name="connsiteX12" fmla="*/ 69628 w 232981"/>
                <a:gd name="connsiteY12" fmla="*/ 8287 h 307085"/>
                <a:gd name="connsiteX13" fmla="*/ 110204 w 232981"/>
                <a:gd name="connsiteY13" fmla="*/ 0 h 307085"/>
                <a:gd name="connsiteX14" fmla="*/ 139637 w 232981"/>
                <a:gd name="connsiteY14" fmla="*/ 4000 h 307085"/>
                <a:gd name="connsiteX15" fmla="*/ 163735 w 232981"/>
                <a:gd name="connsiteY15" fmla="*/ 14668 h 307085"/>
                <a:gd name="connsiteX16" fmla="*/ 183166 w 232981"/>
                <a:gd name="connsiteY16" fmla="*/ 30289 h 307085"/>
                <a:gd name="connsiteX17" fmla="*/ 198596 w 232981"/>
                <a:gd name="connsiteY17" fmla="*/ 49054 h 307085"/>
                <a:gd name="connsiteX18" fmla="*/ 198596 w 232981"/>
                <a:gd name="connsiteY18" fmla="*/ 4858 h 307085"/>
                <a:gd name="connsiteX19" fmla="*/ 232982 w 232981"/>
                <a:gd name="connsiteY19" fmla="*/ 4858 h 307085"/>
                <a:gd name="connsiteX20" fmla="*/ 232982 w 232981"/>
                <a:gd name="connsiteY20" fmla="*/ 307086 h 307085"/>
                <a:gd name="connsiteX21" fmla="*/ 198596 w 232981"/>
                <a:gd name="connsiteY21" fmla="*/ 307086 h 307085"/>
                <a:gd name="connsiteX22" fmla="*/ 198596 w 232981"/>
                <a:gd name="connsiteY22" fmla="*/ 189262 h 307085"/>
                <a:gd name="connsiteX23" fmla="*/ 116491 w 232981"/>
                <a:gd name="connsiteY23" fmla="*/ 209931 h 307085"/>
                <a:gd name="connsiteX24" fmla="*/ 147542 w 232981"/>
                <a:gd name="connsiteY24" fmla="*/ 203454 h 307085"/>
                <a:gd name="connsiteX25" fmla="*/ 174308 w 232981"/>
                <a:gd name="connsiteY25" fmla="*/ 185166 h 307085"/>
                <a:gd name="connsiteX26" fmla="*/ 193072 w 232981"/>
                <a:gd name="connsiteY26" fmla="*/ 157067 h 307085"/>
                <a:gd name="connsiteX27" fmla="*/ 200025 w 232981"/>
                <a:gd name="connsiteY27" fmla="*/ 120682 h 307085"/>
                <a:gd name="connsiteX28" fmla="*/ 200025 w 232981"/>
                <a:gd name="connsiteY28" fmla="*/ 119824 h 307085"/>
                <a:gd name="connsiteX29" fmla="*/ 193072 w 232981"/>
                <a:gd name="connsiteY29" fmla="*/ 83439 h 307085"/>
                <a:gd name="connsiteX30" fmla="*/ 174308 w 232981"/>
                <a:gd name="connsiteY30" fmla="*/ 55531 h 307085"/>
                <a:gd name="connsiteX31" fmla="*/ 147542 w 232981"/>
                <a:gd name="connsiteY31" fmla="*/ 37433 h 307085"/>
                <a:gd name="connsiteX32" fmla="*/ 116491 w 232981"/>
                <a:gd name="connsiteY32" fmla="*/ 30956 h 307085"/>
                <a:gd name="connsiteX33" fmla="*/ 84773 w 232981"/>
                <a:gd name="connsiteY33" fmla="*/ 36957 h 307085"/>
                <a:gd name="connsiteX34" fmla="*/ 59150 w 232981"/>
                <a:gd name="connsiteY34" fmla="*/ 54388 h 307085"/>
                <a:gd name="connsiteX35" fmla="*/ 41720 w 232981"/>
                <a:gd name="connsiteY35" fmla="*/ 82296 h 307085"/>
                <a:gd name="connsiteX36" fmla="*/ 35242 w 232981"/>
                <a:gd name="connsiteY36" fmla="*/ 119824 h 307085"/>
                <a:gd name="connsiteX37" fmla="*/ 35242 w 232981"/>
                <a:gd name="connsiteY37" fmla="*/ 120682 h 307085"/>
                <a:gd name="connsiteX38" fmla="*/ 41720 w 232981"/>
                <a:gd name="connsiteY38" fmla="*/ 157734 h 307085"/>
                <a:gd name="connsiteX39" fmla="*/ 59341 w 232981"/>
                <a:gd name="connsiteY39" fmla="*/ 185833 h 307085"/>
                <a:gd name="connsiteX40" fmla="*/ 85249 w 232981"/>
                <a:gd name="connsiteY40" fmla="*/ 203740 h 307085"/>
                <a:gd name="connsiteX41" fmla="*/ 116491 w 232981"/>
                <a:gd name="connsiteY41" fmla="*/ 210026 h 30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07085">
                  <a:moveTo>
                    <a:pt x="198596" y="189357"/>
                  </a:moveTo>
                  <a:cubicBezTo>
                    <a:pt x="193834" y="196215"/>
                    <a:pt x="188595" y="202787"/>
                    <a:pt x="182785" y="208978"/>
                  </a:cubicBezTo>
                  <a:cubicBezTo>
                    <a:pt x="176975" y="215265"/>
                    <a:pt x="170498" y="220789"/>
                    <a:pt x="163354" y="225552"/>
                  </a:cubicBezTo>
                  <a:cubicBezTo>
                    <a:pt x="156210" y="230314"/>
                    <a:pt x="148209" y="234029"/>
                    <a:pt x="139446" y="236696"/>
                  </a:cubicBezTo>
                  <a:cubicBezTo>
                    <a:pt x="130683" y="239363"/>
                    <a:pt x="120967" y="240697"/>
                    <a:pt x="110204" y="240697"/>
                  </a:cubicBezTo>
                  <a:cubicBezTo>
                    <a:pt x="96203" y="240697"/>
                    <a:pt x="82677" y="238030"/>
                    <a:pt x="69628" y="232696"/>
                  </a:cubicBezTo>
                  <a:cubicBezTo>
                    <a:pt x="56579" y="227362"/>
                    <a:pt x="44767" y="219551"/>
                    <a:pt x="34385" y="209264"/>
                  </a:cubicBezTo>
                  <a:cubicBezTo>
                    <a:pt x="24003" y="198977"/>
                    <a:pt x="15621" y="186499"/>
                    <a:pt x="9335" y="171736"/>
                  </a:cubicBezTo>
                  <a:cubicBezTo>
                    <a:pt x="3048" y="156972"/>
                    <a:pt x="0" y="140113"/>
                    <a:pt x="0" y="121063"/>
                  </a:cubicBezTo>
                  <a:lnTo>
                    <a:pt x="0" y="120205"/>
                  </a:lnTo>
                  <a:cubicBezTo>
                    <a:pt x="0" y="101441"/>
                    <a:pt x="3143" y="84677"/>
                    <a:pt x="9335" y="69723"/>
                  </a:cubicBezTo>
                  <a:cubicBezTo>
                    <a:pt x="15621" y="54864"/>
                    <a:pt x="23908" y="42291"/>
                    <a:pt x="34385" y="32004"/>
                  </a:cubicBezTo>
                  <a:cubicBezTo>
                    <a:pt x="44767" y="21717"/>
                    <a:pt x="56579" y="13811"/>
                    <a:pt x="69628" y="8287"/>
                  </a:cubicBezTo>
                  <a:cubicBezTo>
                    <a:pt x="82677" y="2762"/>
                    <a:pt x="96298" y="0"/>
                    <a:pt x="110204" y="0"/>
                  </a:cubicBezTo>
                  <a:cubicBezTo>
                    <a:pt x="120967" y="0"/>
                    <a:pt x="130778" y="1333"/>
                    <a:pt x="139637" y="4000"/>
                  </a:cubicBezTo>
                  <a:cubicBezTo>
                    <a:pt x="148590" y="6667"/>
                    <a:pt x="156591" y="10287"/>
                    <a:pt x="163735" y="14668"/>
                  </a:cubicBezTo>
                  <a:cubicBezTo>
                    <a:pt x="170879" y="19145"/>
                    <a:pt x="177356" y="24384"/>
                    <a:pt x="183166" y="30289"/>
                  </a:cubicBezTo>
                  <a:cubicBezTo>
                    <a:pt x="188976" y="36290"/>
                    <a:pt x="194120" y="42481"/>
                    <a:pt x="198596" y="49054"/>
                  </a:cubicBezTo>
                  <a:lnTo>
                    <a:pt x="198596" y="4858"/>
                  </a:lnTo>
                  <a:lnTo>
                    <a:pt x="232982" y="4858"/>
                  </a:lnTo>
                  <a:lnTo>
                    <a:pt x="232982" y="307086"/>
                  </a:lnTo>
                  <a:lnTo>
                    <a:pt x="198596" y="307086"/>
                  </a:lnTo>
                  <a:lnTo>
                    <a:pt x="198596" y="189262"/>
                  </a:lnTo>
                  <a:close/>
                  <a:moveTo>
                    <a:pt x="116491" y="209931"/>
                  </a:moveTo>
                  <a:cubicBezTo>
                    <a:pt x="127159" y="209931"/>
                    <a:pt x="137541" y="207740"/>
                    <a:pt x="147542" y="203454"/>
                  </a:cubicBezTo>
                  <a:cubicBezTo>
                    <a:pt x="157544" y="199168"/>
                    <a:pt x="166402" y="193072"/>
                    <a:pt x="174308" y="185166"/>
                  </a:cubicBezTo>
                  <a:cubicBezTo>
                    <a:pt x="182213" y="177260"/>
                    <a:pt x="188404" y="167926"/>
                    <a:pt x="193072" y="157067"/>
                  </a:cubicBezTo>
                  <a:cubicBezTo>
                    <a:pt x="197739" y="146209"/>
                    <a:pt x="200025" y="134112"/>
                    <a:pt x="200025" y="120682"/>
                  </a:cubicBezTo>
                  <a:lnTo>
                    <a:pt x="200025" y="119824"/>
                  </a:lnTo>
                  <a:cubicBezTo>
                    <a:pt x="200025" y="106394"/>
                    <a:pt x="197739" y="94297"/>
                    <a:pt x="193072" y="83439"/>
                  </a:cubicBezTo>
                  <a:cubicBezTo>
                    <a:pt x="188500" y="72580"/>
                    <a:pt x="182213" y="63246"/>
                    <a:pt x="174308" y="55531"/>
                  </a:cubicBezTo>
                  <a:cubicBezTo>
                    <a:pt x="166402" y="47815"/>
                    <a:pt x="157544" y="41815"/>
                    <a:pt x="147542" y="37433"/>
                  </a:cubicBezTo>
                  <a:cubicBezTo>
                    <a:pt x="137541" y="33147"/>
                    <a:pt x="127254" y="30956"/>
                    <a:pt x="116491" y="30956"/>
                  </a:cubicBezTo>
                  <a:cubicBezTo>
                    <a:pt x="105156" y="30956"/>
                    <a:pt x="94583" y="32956"/>
                    <a:pt x="84773" y="36957"/>
                  </a:cubicBezTo>
                  <a:cubicBezTo>
                    <a:pt x="74962" y="40957"/>
                    <a:pt x="66389" y="46767"/>
                    <a:pt x="59150" y="54388"/>
                  </a:cubicBezTo>
                  <a:cubicBezTo>
                    <a:pt x="51816" y="61913"/>
                    <a:pt x="46101" y="71247"/>
                    <a:pt x="41720" y="82296"/>
                  </a:cubicBezTo>
                  <a:cubicBezTo>
                    <a:pt x="37433" y="93250"/>
                    <a:pt x="35242" y="105823"/>
                    <a:pt x="35242" y="119824"/>
                  </a:cubicBezTo>
                  <a:lnTo>
                    <a:pt x="35242" y="120682"/>
                  </a:lnTo>
                  <a:cubicBezTo>
                    <a:pt x="35242" y="134398"/>
                    <a:pt x="37433" y="146780"/>
                    <a:pt x="41720" y="157734"/>
                  </a:cubicBezTo>
                  <a:cubicBezTo>
                    <a:pt x="46006" y="168783"/>
                    <a:pt x="51911" y="178117"/>
                    <a:pt x="59341" y="185833"/>
                  </a:cubicBezTo>
                  <a:cubicBezTo>
                    <a:pt x="66770" y="193548"/>
                    <a:pt x="75438" y="199549"/>
                    <a:pt x="85249" y="203740"/>
                  </a:cubicBezTo>
                  <a:cubicBezTo>
                    <a:pt x="95060" y="207931"/>
                    <a:pt x="105442" y="210026"/>
                    <a:pt x="116491" y="210026"/>
                  </a:cubicBezTo>
                  <a:close/>
                </a:path>
              </a:pathLst>
            </a:custGeom>
            <a:solidFill>
              <a:srgbClr val="44505E"/>
            </a:solidFill>
            <a:ln w="9525" cap="flat">
              <a:noFill/>
              <a:prstDash val="solid"/>
              <a:miter/>
            </a:ln>
          </p:spPr>
          <p:txBody>
            <a:bodyPr rtlCol="0" anchor="ctr"/>
            <a:lstStyle/>
            <a:p>
              <a:endParaRPr lang="pt-BR" noProof="0"/>
            </a:p>
          </p:txBody>
        </p:sp>
        <p:sp>
          <p:nvSpPr>
            <p:cNvPr id="42" name="Freeform: Shape 41">
              <a:extLst>
                <a:ext uri="{FF2B5EF4-FFF2-40B4-BE49-F238E27FC236}">
                  <a16:creationId xmlns:a16="http://schemas.microsoft.com/office/drawing/2014/main" id="{3DAD070D-6FA1-E26F-8222-A76F8405060E}"/>
                </a:ext>
              </a:extLst>
            </p:cNvPr>
            <p:cNvSpPr/>
            <p:nvPr/>
          </p:nvSpPr>
          <p:spPr>
            <a:xfrm>
              <a:off x="5829624" y="925297"/>
              <a:ext cx="50618" cy="59238"/>
            </a:xfrm>
            <a:custGeom>
              <a:avLst/>
              <a:gdLst>
                <a:gd name="connsiteX0" fmla="*/ 88392 w 201358"/>
                <a:gd name="connsiteY0" fmla="*/ 235648 h 235648"/>
                <a:gd name="connsiteX1" fmla="*/ 51149 w 201358"/>
                <a:gd name="connsiteY1" fmla="*/ 228981 h 235648"/>
                <a:gd name="connsiteX2" fmla="*/ 23432 w 201358"/>
                <a:gd name="connsiteY2" fmla="*/ 210026 h 235648"/>
                <a:gd name="connsiteX3" fmla="*/ 6001 w 201358"/>
                <a:gd name="connsiteY3" fmla="*/ 180784 h 235648"/>
                <a:gd name="connsiteX4" fmla="*/ 0 w 201358"/>
                <a:gd name="connsiteY4" fmla="*/ 143256 h 235648"/>
                <a:gd name="connsiteX5" fmla="*/ 0 w 201358"/>
                <a:gd name="connsiteY5" fmla="*/ 0 h 235648"/>
                <a:gd name="connsiteX6" fmla="*/ 34385 w 201358"/>
                <a:gd name="connsiteY6" fmla="*/ 0 h 235648"/>
                <a:gd name="connsiteX7" fmla="*/ 34385 w 201358"/>
                <a:gd name="connsiteY7" fmla="*/ 134493 h 235648"/>
                <a:gd name="connsiteX8" fmla="*/ 50959 w 201358"/>
                <a:gd name="connsiteY8" fmla="*/ 185261 h 235648"/>
                <a:gd name="connsiteX9" fmla="*/ 98298 w 201358"/>
                <a:gd name="connsiteY9" fmla="*/ 203930 h 235648"/>
                <a:gd name="connsiteX10" fmla="*/ 125730 w 201358"/>
                <a:gd name="connsiteY10" fmla="*/ 198787 h 235648"/>
                <a:gd name="connsiteX11" fmla="*/ 147638 w 201358"/>
                <a:gd name="connsiteY11" fmla="*/ 184118 h 235648"/>
                <a:gd name="connsiteX12" fmla="*/ 162116 w 201358"/>
                <a:gd name="connsiteY12" fmla="*/ 161163 h 235648"/>
                <a:gd name="connsiteX13" fmla="*/ 167450 w 201358"/>
                <a:gd name="connsiteY13" fmla="*/ 131826 h 235648"/>
                <a:gd name="connsiteX14" fmla="*/ 167450 w 201358"/>
                <a:gd name="connsiteY14" fmla="*/ 0 h 235648"/>
                <a:gd name="connsiteX15" fmla="*/ 201359 w 201358"/>
                <a:gd name="connsiteY15" fmla="*/ 0 h 235648"/>
                <a:gd name="connsiteX16" fmla="*/ 201359 w 201358"/>
                <a:gd name="connsiteY16" fmla="*/ 230791 h 235648"/>
                <a:gd name="connsiteX17" fmla="*/ 167450 w 201358"/>
                <a:gd name="connsiteY17" fmla="*/ 230791 h 235648"/>
                <a:gd name="connsiteX18" fmla="*/ 167450 w 201358"/>
                <a:gd name="connsiteY18" fmla="*/ 190595 h 235648"/>
                <a:gd name="connsiteX19" fmla="*/ 137065 w 201358"/>
                <a:gd name="connsiteY19" fmla="*/ 222504 h 235648"/>
                <a:gd name="connsiteX20" fmla="*/ 88392 w 201358"/>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358" h="235648">
                  <a:moveTo>
                    <a:pt x="88392" y="235648"/>
                  </a:moveTo>
                  <a:cubicBezTo>
                    <a:pt x="74390" y="235648"/>
                    <a:pt x="62008" y="233363"/>
                    <a:pt x="51149" y="228981"/>
                  </a:cubicBezTo>
                  <a:cubicBezTo>
                    <a:pt x="40291" y="224504"/>
                    <a:pt x="31052" y="218218"/>
                    <a:pt x="23432"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959" y="185261"/>
                  </a:cubicBezTo>
                  <a:cubicBezTo>
                    <a:pt x="61913" y="197739"/>
                    <a:pt x="77724" y="203930"/>
                    <a:pt x="98298" y="203930"/>
                  </a:cubicBezTo>
                  <a:cubicBezTo>
                    <a:pt x="108109" y="203930"/>
                    <a:pt x="117253" y="202216"/>
                    <a:pt x="125730" y="198787"/>
                  </a:cubicBezTo>
                  <a:cubicBezTo>
                    <a:pt x="134207" y="195358"/>
                    <a:pt x="141446" y="190500"/>
                    <a:pt x="147638" y="184118"/>
                  </a:cubicBezTo>
                  <a:cubicBezTo>
                    <a:pt x="153734" y="177736"/>
                    <a:pt x="158591" y="170116"/>
                    <a:pt x="162116" y="161163"/>
                  </a:cubicBezTo>
                  <a:cubicBezTo>
                    <a:pt x="165735" y="152305"/>
                    <a:pt x="167450" y="142494"/>
                    <a:pt x="167450" y="131826"/>
                  </a:cubicBezTo>
                  <a:lnTo>
                    <a:pt x="167450" y="0"/>
                  </a:lnTo>
                  <a:lnTo>
                    <a:pt x="201359" y="0"/>
                  </a:lnTo>
                  <a:lnTo>
                    <a:pt x="201359" y="230791"/>
                  </a:lnTo>
                  <a:lnTo>
                    <a:pt x="167450" y="230791"/>
                  </a:lnTo>
                  <a:lnTo>
                    <a:pt x="167450" y="190595"/>
                  </a:lnTo>
                  <a:cubicBezTo>
                    <a:pt x="159734" y="203073"/>
                    <a:pt x="149543" y="213741"/>
                    <a:pt x="137065" y="222504"/>
                  </a:cubicBezTo>
                  <a:cubicBezTo>
                    <a:pt x="124587" y="231267"/>
                    <a:pt x="108395" y="235648"/>
                    <a:pt x="88392" y="235648"/>
                  </a:cubicBezTo>
                  <a:close/>
                </a:path>
              </a:pathLst>
            </a:custGeom>
            <a:solidFill>
              <a:srgbClr val="44505E"/>
            </a:solidFill>
            <a:ln w="9525" cap="flat">
              <a:noFill/>
              <a:prstDash val="solid"/>
              <a:miter/>
            </a:ln>
          </p:spPr>
          <p:txBody>
            <a:bodyPr rtlCol="0" anchor="ctr"/>
            <a:lstStyle/>
            <a:p>
              <a:endParaRPr lang="pt-BR" noProof="0"/>
            </a:p>
          </p:txBody>
        </p:sp>
        <p:sp>
          <p:nvSpPr>
            <p:cNvPr id="43" name="Freeform: Shape 42">
              <a:extLst>
                <a:ext uri="{FF2B5EF4-FFF2-40B4-BE49-F238E27FC236}">
                  <a16:creationId xmlns:a16="http://schemas.microsoft.com/office/drawing/2014/main" id="{6677F533-5E0C-007F-C8C8-F8DBC86A03A1}"/>
                </a:ext>
              </a:extLst>
            </p:cNvPr>
            <p:cNvSpPr/>
            <p:nvPr/>
          </p:nvSpPr>
          <p:spPr>
            <a:xfrm>
              <a:off x="5896069"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7059 w 218217"/>
                <a:gd name="connsiteY3" fmla="*/ 206026 h 241077"/>
                <a:gd name="connsiteX4" fmla="*/ 116110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7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0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356 w 218217"/>
                <a:gd name="connsiteY25" fmla="*/ 106299 h 241077"/>
                <a:gd name="connsiteX26" fmla="*/ 176689 w 218217"/>
                <a:gd name="connsiteY26" fmla="*/ 76771 h 241077"/>
                <a:gd name="connsiteX27" fmla="*/ 162211 w 218217"/>
                <a:gd name="connsiteY27" fmla="*/ 52101 h 241077"/>
                <a:gd name="connsiteX28" fmla="*/ 139922 w 218217"/>
                <a:gd name="connsiteY28" fmla="*/ 35242 h 241077"/>
                <a:gd name="connsiteX29" fmla="*/ 109823 w 218217"/>
                <a:gd name="connsiteY29" fmla="*/ 29051 h 241077"/>
                <a:gd name="connsiteX30" fmla="*/ 82105 w 218217"/>
                <a:gd name="connsiteY30" fmla="*/ 34766 h 241077"/>
                <a:gd name="connsiteX31" fmla="*/ 59341 w 218217"/>
                <a:gd name="connsiteY31" fmla="*/ 50959 h 241077"/>
                <a:gd name="connsiteX32" fmla="*/ 43053 w 218217"/>
                <a:gd name="connsiteY32" fmla="*/ 75628 h 241077"/>
                <a:gd name="connsiteX33" fmla="*/ 34766 w 218217"/>
                <a:gd name="connsiteY33" fmla="*/ 106204 h 241077"/>
                <a:gd name="connsiteX34" fmla="*/ 183356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819" y="202597"/>
                    <a:pt x="87059" y="206026"/>
                  </a:cubicBezTo>
                  <a:cubicBezTo>
                    <a:pt x="96298" y="209455"/>
                    <a:pt x="105918" y="211169"/>
                    <a:pt x="116110" y="211169"/>
                  </a:cubicBezTo>
                  <a:cubicBezTo>
                    <a:pt x="132207" y="211169"/>
                    <a:pt x="145923" y="208216"/>
                    <a:pt x="157353" y="202216"/>
                  </a:cubicBezTo>
                  <a:cubicBezTo>
                    <a:pt x="168783" y="196310"/>
                    <a:pt x="179261" y="188404"/>
                    <a:pt x="188786" y="178594"/>
                  </a:cubicBezTo>
                  <a:lnTo>
                    <a:pt x="210217" y="197834"/>
                  </a:lnTo>
                  <a:cubicBezTo>
                    <a:pt x="198596" y="210979"/>
                    <a:pt x="185356" y="221361"/>
                    <a:pt x="170497" y="229267"/>
                  </a:cubicBezTo>
                  <a:cubicBezTo>
                    <a:pt x="155638"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583" y="0"/>
                    <a:pt x="110680"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356" y="106299"/>
                  </a:moveTo>
                  <a:cubicBezTo>
                    <a:pt x="182499" y="95917"/>
                    <a:pt x="180213" y="86106"/>
                    <a:pt x="176689" y="76771"/>
                  </a:cubicBezTo>
                  <a:cubicBezTo>
                    <a:pt x="173069" y="67437"/>
                    <a:pt x="168307" y="59245"/>
                    <a:pt x="162211" y="52101"/>
                  </a:cubicBezTo>
                  <a:cubicBezTo>
                    <a:pt x="156115" y="44958"/>
                    <a:pt x="148685" y="39338"/>
                    <a:pt x="139922" y="35242"/>
                  </a:cubicBezTo>
                  <a:cubicBezTo>
                    <a:pt x="131159" y="31147"/>
                    <a:pt x="121063" y="29051"/>
                    <a:pt x="109823" y="29051"/>
                  </a:cubicBezTo>
                  <a:cubicBezTo>
                    <a:pt x="100013" y="29051"/>
                    <a:pt x="90773" y="30956"/>
                    <a:pt x="82105" y="34766"/>
                  </a:cubicBezTo>
                  <a:cubicBezTo>
                    <a:pt x="73438" y="38671"/>
                    <a:pt x="65913" y="44005"/>
                    <a:pt x="59341" y="50959"/>
                  </a:cubicBezTo>
                  <a:cubicBezTo>
                    <a:pt x="52769" y="57912"/>
                    <a:pt x="47339" y="66103"/>
                    <a:pt x="43053" y="75628"/>
                  </a:cubicBezTo>
                  <a:cubicBezTo>
                    <a:pt x="38767" y="85058"/>
                    <a:pt x="36004" y="95345"/>
                    <a:pt x="34766" y="106204"/>
                  </a:cubicBezTo>
                  <a:lnTo>
                    <a:pt x="183356" y="106204"/>
                  </a:lnTo>
                  <a:close/>
                </a:path>
              </a:pathLst>
            </a:custGeom>
            <a:solidFill>
              <a:srgbClr val="44505E"/>
            </a:solidFill>
            <a:ln w="9525" cap="flat">
              <a:noFill/>
              <a:prstDash val="solid"/>
              <a:miter/>
            </a:ln>
          </p:spPr>
          <p:txBody>
            <a:bodyPr rtlCol="0" anchor="ctr"/>
            <a:lstStyle/>
            <a:p>
              <a:endParaRPr lang="pt-BR" noProof="0"/>
            </a:p>
          </p:txBody>
        </p:sp>
        <p:sp>
          <p:nvSpPr>
            <p:cNvPr id="44" name="Freeform: Shape 43">
              <a:extLst>
                <a:ext uri="{FF2B5EF4-FFF2-40B4-BE49-F238E27FC236}">
                  <a16:creationId xmlns:a16="http://schemas.microsoft.com/office/drawing/2014/main" id="{34A8FEE2-D0E4-328E-842B-B71F6E67B733}"/>
                </a:ext>
              </a:extLst>
            </p:cNvPr>
            <p:cNvSpPr/>
            <p:nvPr/>
          </p:nvSpPr>
          <p:spPr>
            <a:xfrm>
              <a:off x="5994910" y="924268"/>
              <a:ext cx="44680" cy="60195"/>
            </a:xfrm>
            <a:custGeom>
              <a:avLst/>
              <a:gdLst>
                <a:gd name="connsiteX0" fmla="*/ 95536 w 177736"/>
                <a:gd name="connsiteY0" fmla="*/ 239268 h 239458"/>
                <a:gd name="connsiteX1" fmla="*/ 45053 w 177736"/>
                <a:gd name="connsiteY1" fmla="*/ 230124 h 239458"/>
                <a:gd name="connsiteX2" fmla="*/ 0 w 177736"/>
                <a:gd name="connsiteY2" fmla="*/ 205359 h 239458"/>
                <a:gd name="connsiteX3" fmla="*/ 17431 w 177736"/>
                <a:gd name="connsiteY3" fmla="*/ 180785 h 239458"/>
                <a:gd name="connsiteX4" fmla="*/ 56483 w 177736"/>
                <a:gd name="connsiteY4" fmla="*/ 202692 h 239458"/>
                <a:gd name="connsiteX5" fmla="*/ 97346 w 177736"/>
                <a:gd name="connsiteY5" fmla="*/ 210217 h 239458"/>
                <a:gd name="connsiteX6" fmla="*/ 131731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730 w 177736"/>
                <a:gd name="connsiteY10" fmla="*/ 147066 h 239458"/>
                <a:gd name="connsiteX11" fmla="*/ 109252 w 177736"/>
                <a:gd name="connsiteY11" fmla="*/ 138779 h 239458"/>
                <a:gd name="connsiteX12" fmla="*/ 87630 w 177736"/>
                <a:gd name="connsiteY12" fmla="*/ 132112 h 239458"/>
                <a:gd name="connsiteX13" fmla="*/ 60674 w 177736"/>
                <a:gd name="connsiteY13" fmla="*/ 123444 h 239458"/>
                <a:gd name="connsiteX14" fmla="*/ 36100 w 177736"/>
                <a:gd name="connsiteY14" fmla="*/ 111633 h 239458"/>
                <a:gd name="connsiteX15" fmla="*/ 18193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60 w 177736"/>
                <a:gd name="connsiteY22" fmla="*/ 6953 h 239458"/>
                <a:gd name="connsiteX23" fmla="*/ 172879 w 177736"/>
                <a:gd name="connsiteY23" fmla="*/ 25527 h 239458"/>
                <a:gd name="connsiteX24" fmla="*/ 157258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4 w 177736"/>
                <a:gd name="connsiteY32" fmla="*/ 96203 h 239458"/>
                <a:gd name="connsiteX33" fmla="*/ 103632 w 177736"/>
                <a:gd name="connsiteY33" fmla="*/ 103346 h 239458"/>
                <a:gd name="connsiteX34" fmla="*/ 130207 w 177736"/>
                <a:gd name="connsiteY34" fmla="*/ 112300 h 239458"/>
                <a:gd name="connsiteX35" fmla="*/ 154114 w 177736"/>
                <a:gd name="connsiteY35" fmla="*/ 124778 h 239458"/>
                <a:gd name="connsiteX36" fmla="*/ 171260 w 177736"/>
                <a:gd name="connsiteY36" fmla="*/ 143066 h 239458"/>
                <a:gd name="connsiteX37" fmla="*/ 177737 w 177736"/>
                <a:gd name="connsiteY37" fmla="*/ 169450 h 239458"/>
                <a:gd name="connsiteX38" fmla="*/ 177737 w 177736"/>
                <a:gd name="connsiteY38" fmla="*/ 170307 h 239458"/>
                <a:gd name="connsiteX39" fmla="*/ 171260 w 177736"/>
                <a:gd name="connsiteY39" fmla="*/ 199549 h 239458"/>
                <a:gd name="connsiteX40" fmla="*/ 153829 w 177736"/>
                <a:gd name="connsiteY40" fmla="*/ 221171 h 239458"/>
                <a:gd name="connsiteX41" fmla="*/ 127921 w 177736"/>
                <a:gd name="connsiteY41" fmla="*/ 234791 h 239458"/>
                <a:gd name="connsiteX42" fmla="*/ 95536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6" y="239268"/>
                  </a:moveTo>
                  <a:cubicBezTo>
                    <a:pt x="78867" y="239268"/>
                    <a:pt x="62008" y="236220"/>
                    <a:pt x="45053" y="230124"/>
                  </a:cubicBezTo>
                  <a:cubicBezTo>
                    <a:pt x="28099" y="224028"/>
                    <a:pt x="13049" y="215741"/>
                    <a:pt x="0" y="205359"/>
                  </a:cubicBezTo>
                  <a:lnTo>
                    <a:pt x="17431" y="180785"/>
                  </a:lnTo>
                  <a:cubicBezTo>
                    <a:pt x="29909"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637" y="162211"/>
                    <a:pt x="140494" y="158020"/>
                  </a:cubicBezTo>
                  <a:cubicBezTo>
                    <a:pt x="137351" y="153829"/>
                    <a:pt x="133160" y="150209"/>
                    <a:pt x="127730" y="147066"/>
                  </a:cubicBezTo>
                  <a:cubicBezTo>
                    <a:pt x="122396" y="143923"/>
                    <a:pt x="116205" y="141161"/>
                    <a:pt x="109252" y="138779"/>
                  </a:cubicBezTo>
                  <a:cubicBezTo>
                    <a:pt x="102299" y="136398"/>
                    <a:pt x="95060" y="134207"/>
                    <a:pt x="87630" y="132112"/>
                  </a:cubicBezTo>
                  <a:cubicBezTo>
                    <a:pt x="78677" y="129445"/>
                    <a:pt x="69723" y="126492"/>
                    <a:pt x="60674" y="123444"/>
                  </a:cubicBezTo>
                  <a:cubicBezTo>
                    <a:pt x="51626" y="120301"/>
                    <a:pt x="43434" y="116396"/>
                    <a:pt x="36100" y="111633"/>
                  </a:cubicBezTo>
                  <a:cubicBezTo>
                    <a:pt x="28766" y="106871"/>
                    <a:pt x="22860" y="100870"/>
                    <a:pt x="18193" y="93726"/>
                  </a:cubicBezTo>
                  <a:cubicBezTo>
                    <a:pt x="13621" y="86582"/>
                    <a:pt x="11239" y="77629"/>
                    <a:pt x="11239" y="66961"/>
                  </a:cubicBezTo>
                  <a:lnTo>
                    <a:pt x="11239" y="66008"/>
                  </a:lnTo>
                  <a:cubicBezTo>
                    <a:pt x="11239" y="56198"/>
                    <a:pt x="13145" y="47149"/>
                    <a:pt x="17050" y="39053"/>
                  </a:cubicBezTo>
                  <a:cubicBezTo>
                    <a:pt x="20860" y="30861"/>
                    <a:pt x="26289" y="23908"/>
                    <a:pt x="33338" y="18098"/>
                  </a:cubicBezTo>
                  <a:cubicBezTo>
                    <a:pt x="40291" y="12287"/>
                    <a:pt x="48673" y="7811"/>
                    <a:pt x="58388" y="4667"/>
                  </a:cubicBezTo>
                  <a:cubicBezTo>
                    <a:pt x="68009" y="1524"/>
                    <a:pt x="78581" y="0"/>
                    <a:pt x="89821" y="0"/>
                  </a:cubicBezTo>
                  <a:cubicBezTo>
                    <a:pt x="104108" y="0"/>
                    <a:pt x="118491" y="2286"/>
                    <a:pt x="133160" y="6953"/>
                  </a:cubicBezTo>
                  <a:cubicBezTo>
                    <a:pt x="147733" y="11621"/>
                    <a:pt x="160972" y="17717"/>
                    <a:pt x="172879" y="25527"/>
                  </a:cubicBezTo>
                  <a:lnTo>
                    <a:pt x="157258" y="51435"/>
                  </a:lnTo>
                  <a:cubicBezTo>
                    <a:pt x="146495" y="44577"/>
                    <a:pt x="135350" y="39148"/>
                    <a:pt x="123539" y="35147"/>
                  </a:cubicBezTo>
                  <a:cubicBezTo>
                    <a:pt x="111824" y="31147"/>
                    <a:pt x="100298" y="29146"/>
                    <a:pt x="88963" y="29146"/>
                  </a:cubicBezTo>
                  <a:cubicBezTo>
                    <a:pt x="75247" y="29146"/>
                    <a:pt x="64389" y="32385"/>
                    <a:pt x="56388" y="38767"/>
                  </a:cubicBezTo>
                  <a:cubicBezTo>
                    <a:pt x="48387" y="45149"/>
                    <a:pt x="44291" y="53150"/>
                    <a:pt x="44291" y="62675"/>
                  </a:cubicBezTo>
                  <a:lnTo>
                    <a:pt x="44291" y="63627"/>
                  </a:lnTo>
                  <a:cubicBezTo>
                    <a:pt x="44291" y="68961"/>
                    <a:pt x="45911" y="73628"/>
                    <a:pt x="49244" y="77724"/>
                  </a:cubicBezTo>
                  <a:cubicBezTo>
                    <a:pt x="52483" y="81725"/>
                    <a:pt x="56960" y="85249"/>
                    <a:pt x="62389" y="88202"/>
                  </a:cubicBezTo>
                  <a:cubicBezTo>
                    <a:pt x="67913" y="91154"/>
                    <a:pt x="74200" y="93821"/>
                    <a:pt x="81344" y="96203"/>
                  </a:cubicBezTo>
                  <a:cubicBezTo>
                    <a:pt x="88487" y="98584"/>
                    <a:pt x="95917" y="100965"/>
                    <a:pt x="103632" y="103346"/>
                  </a:cubicBezTo>
                  <a:cubicBezTo>
                    <a:pt x="112586" y="106013"/>
                    <a:pt x="121444" y="108966"/>
                    <a:pt x="130207" y="112300"/>
                  </a:cubicBezTo>
                  <a:cubicBezTo>
                    <a:pt x="138970" y="115538"/>
                    <a:pt x="146971" y="119729"/>
                    <a:pt x="154114" y="124778"/>
                  </a:cubicBezTo>
                  <a:cubicBezTo>
                    <a:pt x="161258" y="129826"/>
                    <a:pt x="166973" y="135922"/>
                    <a:pt x="171260" y="143066"/>
                  </a:cubicBezTo>
                  <a:cubicBezTo>
                    <a:pt x="175546" y="150209"/>
                    <a:pt x="177737" y="158972"/>
                    <a:pt x="177737" y="169450"/>
                  </a:cubicBezTo>
                  <a:lnTo>
                    <a:pt x="177737" y="170307"/>
                  </a:lnTo>
                  <a:cubicBezTo>
                    <a:pt x="177737" y="181356"/>
                    <a:pt x="175546" y="191071"/>
                    <a:pt x="171260" y="199549"/>
                  </a:cubicBezTo>
                  <a:cubicBezTo>
                    <a:pt x="166973" y="208026"/>
                    <a:pt x="161163" y="215265"/>
                    <a:pt x="153829" y="221171"/>
                  </a:cubicBezTo>
                  <a:cubicBezTo>
                    <a:pt x="146495" y="227171"/>
                    <a:pt x="137922" y="231648"/>
                    <a:pt x="127921" y="234791"/>
                  </a:cubicBezTo>
                  <a:cubicBezTo>
                    <a:pt x="117920" y="237935"/>
                    <a:pt x="107156" y="239459"/>
                    <a:pt x="95536" y="239459"/>
                  </a:cubicBezTo>
                  <a:close/>
                </a:path>
              </a:pathLst>
            </a:custGeom>
            <a:solidFill>
              <a:srgbClr val="44505E"/>
            </a:solidFill>
            <a:ln w="9525" cap="flat">
              <a:noFill/>
              <a:prstDash val="solid"/>
              <a:miter/>
            </a:ln>
          </p:spPr>
          <p:txBody>
            <a:bodyPr rtlCol="0" anchor="ctr"/>
            <a:lstStyle/>
            <a:p>
              <a:endParaRPr lang="pt-BR" noProof="0"/>
            </a:p>
          </p:txBody>
        </p:sp>
        <p:sp>
          <p:nvSpPr>
            <p:cNvPr id="45" name="Freeform: Shape 44">
              <a:extLst>
                <a:ext uri="{FF2B5EF4-FFF2-40B4-BE49-F238E27FC236}">
                  <a16:creationId xmlns:a16="http://schemas.microsoft.com/office/drawing/2014/main" id="{BE1854FA-2279-F12A-C758-31DB01CC5EDA}"/>
                </a:ext>
              </a:extLst>
            </p:cNvPr>
            <p:cNvSpPr/>
            <p:nvPr/>
          </p:nvSpPr>
          <p:spPr>
            <a:xfrm>
              <a:off x="605122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4 w 202977"/>
                <a:gd name="connsiteY30" fmla="*/ 174593 h 239267"/>
                <a:gd name="connsiteX31" fmla="*/ 169735 w 202977"/>
                <a:gd name="connsiteY31" fmla="*/ 149447 h 239267"/>
                <a:gd name="connsiteX32" fmla="*/ 169735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0" y="90964"/>
                    <a:pt x="98584" y="90964"/>
                  </a:cubicBezTo>
                  <a:cubicBezTo>
                    <a:pt x="113157" y="90964"/>
                    <a:pt x="126301"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1" y="33147"/>
                    <a:pt x="63436" y="36100"/>
                  </a:cubicBezTo>
                  <a:cubicBezTo>
                    <a:pt x="52292" y="39053"/>
                    <a:pt x="41338" y="43053"/>
                    <a:pt x="30671" y="48196"/>
                  </a:cubicBezTo>
                  <a:lnTo>
                    <a:pt x="20383" y="19907"/>
                  </a:lnTo>
                  <a:cubicBezTo>
                    <a:pt x="33147" y="13906"/>
                    <a:pt x="46101" y="9049"/>
                    <a:pt x="59246" y="5429"/>
                  </a:cubicBezTo>
                  <a:cubicBezTo>
                    <a:pt x="72295"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1" y="239173"/>
                  </a:cubicBezTo>
                  <a:close/>
                  <a:moveTo>
                    <a:pt x="93154" y="211169"/>
                  </a:moveTo>
                  <a:cubicBezTo>
                    <a:pt x="103822" y="211169"/>
                    <a:pt x="113728" y="209740"/>
                    <a:pt x="122967" y="206788"/>
                  </a:cubicBezTo>
                  <a:cubicBezTo>
                    <a:pt x="132207" y="203835"/>
                    <a:pt x="140208" y="199644"/>
                    <a:pt x="147256" y="194120"/>
                  </a:cubicBezTo>
                  <a:cubicBezTo>
                    <a:pt x="154209" y="188595"/>
                    <a:pt x="159734" y="182118"/>
                    <a:pt x="163734" y="174593"/>
                  </a:cubicBezTo>
                  <a:cubicBezTo>
                    <a:pt x="167735" y="167068"/>
                    <a:pt x="169735" y="158687"/>
                    <a:pt x="169735" y="149447"/>
                  </a:cubicBezTo>
                  <a:lnTo>
                    <a:pt x="169735" y="128111"/>
                  </a:lnTo>
                  <a:cubicBezTo>
                    <a:pt x="161163" y="125730"/>
                    <a:pt x="151352" y="123539"/>
                    <a:pt x="140398" y="121444"/>
                  </a:cubicBezTo>
                  <a:cubicBezTo>
                    <a:pt x="129445" y="119348"/>
                    <a:pt x="116872"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46" name="Freeform: Shape 45">
              <a:extLst>
                <a:ext uri="{FF2B5EF4-FFF2-40B4-BE49-F238E27FC236}">
                  <a16:creationId xmlns:a16="http://schemas.microsoft.com/office/drawing/2014/main" id="{C0A5E288-A05C-EAFA-3D98-29D56630071F}"/>
                </a:ext>
              </a:extLst>
            </p:cNvPr>
            <p:cNvSpPr/>
            <p:nvPr/>
          </p:nvSpPr>
          <p:spPr>
            <a:xfrm>
              <a:off x="6121359" y="901377"/>
              <a:ext cx="8644" cy="81913"/>
            </a:xfrm>
            <a:custGeom>
              <a:avLst/>
              <a:gdLst>
                <a:gd name="connsiteX0" fmla="*/ 0 w 34385"/>
                <a:gd name="connsiteY0" fmla="*/ 0 h 325850"/>
                <a:gd name="connsiteX1" fmla="*/ 34385 w 34385"/>
                <a:gd name="connsiteY1" fmla="*/ 0 h 325850"/>
                <a:gd name="connsiteX2" fmla="*/ 34385 w 34385"/>
                <a:gd name="connsiteY2" fmla="*/ 325850 h 325850"/>
                <a:gd name="connsiteX3" fmla="*/ 0 w 34385"/>
                <a:gd name="connsiteY3" fmla="*/ 325850 h 325850"/>
                <a:gd name="connsiteX4" fmla="*/ 0 w 34385"/>
                <a:gd name="connsiteY4" fmla="*/ 0 h 32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 h="325850">
                  <a:moveTo>
                    <a:pt x="0" y="0"/>
                  </a:moveTo>
                  <a:lnTo>
                    <a:pt x="34385" y="0"/>
                  </a:lnTo>
                  <a:lnTo>
                    <a:pt x="34385" y="325850"/>
                  </a:lnTo>
                  <a:lnTo>
                    <a:pt x="0" y="325850"/>
                  </a:lnTo>
                  <a:lnTo>
                    <a:pt x="0" y="0"/>
                  </a:lnTo>
                  <a:close/>
                </a:path>
              </a:pathLst>
            </a:custGeom>
            <a:solidFill>
              <a:srgbClr val="44505E"/>
            </a:solidFill>
            <a:ln w="9525" cap="flat">
              <a:noFill/>
              <a:prstDash val="solid"/>
              <a:miter/>
            </a:ln>
          </p:spPr>
          <p:txBody>
            <a:bodyPr rtlCol="0" anchor="ctr"/>
            <a:lstStyle/>
            <a:p>
              <a:endParaRPr lang="pt-BR" noProof="0"/>
            </a:p>
          </p:txBody>
        </p:sp>
        <p:sp>
          <p:nvSpPr>
            <p:cNvPr id="47" name="Freeform: Shape 46">
              <a:extLst>
                <a:ext uri="{FF2B5EF4-FFF2-40B4-BE49-F238E27FC236}">
                  <a16:creationId xmlns:a16="http://schemas.microsoft.com/office/drawing/2014/main" id="{222ACFFF-1834-D862-0279-A05CB4D0AE9A}"/>
                </a:ext>
              </a:extLst>
            </p:cNvPr>
            <p:cNvSpPr/>
            <p:nvPr/>
          </p:nvSpPr>
          <p:spPr>
            <a:xfrm>
              <a:off x="6144346" y="925273"/>
              <a:ext cx="58016" cy="58448"/>
            </a:xfrm>
            <a:custGeom>
              <a:avLst/>
              <a:gdLst>
                <a:gd name="connsiteX0" fmla="*/ 95 w 230790"/>
                <a:gd name="connsiteY0" fmla="*/ 0 h 232505"/>
                <a:gd name="connsiteX1" fmla="*/ 38005 w 230790"/>
                <a:gd name="connsiteY1" fmla="*/ 0 h 232505"/>
                <a:gd name="connsiteX2" fmla="*/ 115634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4"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48" name="Freeform: Shape 47">
              <a:extLst>
                <a:ext uri="{FF2B5EF4-FFF2-40B4-BE49-F238E27FC236}">
                  <a16:creationId xmlns:a16="http://schemas.microsoft.com/office/drawing/2014/main" id="{7D654277-41DB-CEEA-2621-E0DC4F5207F9}"/>
                </a:ext>
              </a:extLst>
            </p:cNvPr>
            <p:cNvSpPr/>
            <p:nvPr/>
          </p:nvSpPr>
          <p:spPr>
            <a:xfrm>
              <a:off x="621155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8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338 w 202977"/>
                <a:gd name="connsiteY36" fmla="*/ 164497 h 239267"/>
                <a:gd name="connsiteX37" fmla="*/ 35338 w 202977"/>
                <a:gd name="connsiteY37" fmla="*/ 165449 h 239267"/>
                <a:gd name="connsiteX38" fmla="*/ 40005 w 202977"/>
                <a:gd name="connsiteY38" fmla="*/ 184785 h 239267"/>
                <a:gd name="connsiteX39" fmla="*/ 52673 w 202977"/>
                <a:gd name="connsiteY39" fmla="*/ 199263 h 239267"/>
                <a:gd name="connsiteX40" fmla="*/ 71152 w 202977"/>
                <a:gd name="connsiteY40" fmla="*/ 208121 h 239267"/>
                <a:gd name="connsiteX41" fmla="*/ 93154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438" y="239268"/>
                    <a:pt x="64961"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1" y="90964"/>
                    <a:pt x="98584" y="90964"/>
                  </a:cubicBezTo>
                  <a:cubicBezTo>
                    <a:pt x="113157" y="90964"/>
                    <a:pt x="126302" y="91821"/>
                    <a:pt x="137160" y="93631"/>
                  </a:cubicBezTo>
                  <a:cubicBezTo>
                    <a:pt x="148019" y="95440"/>
                    <a:pt x="158687" y="97822"/>
                    <a:pt x="169069" y="100774"/>
                  </a:cubicBezTo>
                  <a:lnTo>
                    <a:pt x="169069" y="93726"/>
                  </a:lnTo>
                  <a:cubicBezTo>
                    <a:pt x="169069" y="73342"/>
                    <a:pt x="163068" y="57912"/>
                    <a:pt x="151162" y="47339"/>
                  </a:cubicBezTo>
                  <a:cubicBezTo>
                    <a:pt x="139255" y="36862"/>
                    <a:pt x="122491" y="31623"/>
                    <a:pt x="100679" y="31623"/>
                  </a:cubicBezTo>
                  <a:cubicBezTo>
                    <a:pt x="86963" y="31623"/>
                    <a:pt x="74581" y="33147"/>
                    <a:pt x="63437" y="36100"/>
                  </a:cubicBezTo>
                  <a:cubicBezTo>
                    <a:pt x="52292" y="39053"/>
                    <a:pt x="41338" y="43053"/>
                    <a:pt x="30671" y="48196"/>
                  </a:cubicBezTo>
                  <a:lnTo>
                    <a:pt x="20383" y="19907"/>
                  </a:lnTo>
                  <a:cubicBezTo>
                    <a:pt x="33147" y="13906"/>
                    <a:pt x="46101" y="9049"/>
                    <a:pt x="59246" y="5429"/>
                  </a:cubicBezTo>
                  <a:cubicBezTo>
                    <a:pt x="72390"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04" y="239173"/>
                    <a:pt x="86011" y="239173"/>
                  </a:cubicBezTo>
                  <a:close/>
                  <a:moveTo>
                    <a:pt x="93154" y="211169"/>
                  </a:moveTo>
                  <a:cubicBezTo>
                    <a:pt x="103822" y="211169"/>
                    <a:pt x="113824" y="209740"/>
                    <a:pt x="122968" y="206788"/>
                  </a:cubicBezTo>
                  <a:cubicBezTo>
                    <a:pt x="132112"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5" y="119348"/>
                    <a:pt x="116777" y="118300"/>
                    <a:pt x="102584" y="118300"/>
                  </a:cubicBezTo>
                  <a:cubicBezTo>
                    <a:pt x="81248" y="118300"/>
                    <a:pt x="64675" y="122491"/>
                    <a:pt x="52959" y="130969"/>
                  </a:cubicBezTo>
                  <a:cubicBezTo>
                    <a:pt x="41243" y="139446"/>
                    <a:pt x="35338" y="150590"/>
                    <a:pt x="35338" y="164497"/>
                  </a:cubicBezTo>
                  <a:lnTo>
                    <a:pt x="35338" y="165449"/>
                  </a:lnTo>
                  <a:cubicBezTo>
                    <a:pt x="35338" y="172498"/>
                    <a:pt x="36862" y="178975"/>
                    <a:pt x="40005" y="184785"/>
                  </a:cubicBezTo>
                  <a:cubicBezTo>
                    <a:pt x="43148" y="190500"/>
                    <a:pt x="47339" y="195358"/>
                    <a:pt x="52673" y="199263"/>
                  </a:cubicBezTo>
                  <a:cubicBezTo>
                    <a:pt x="58007" y="203073"/>
                    <a:pt x="64198" y="206026"/>
                    <a:pt x="71152" y="208121"/>
                  </a:cubicBezTo>
                  <a:cubicBezTo>
                    <a:pt x="78105" y="210217"/>
                    <a:pt x="85439" y="211169"/>
                    <a:pt x="93154" y="211169"/>
                  </a:cubicBezTo>
                  <a:close/>
                </a:path>
              </a:pathLst>
            </a:custGeom>
            <a:solidFill>
              <a:srgbClr val="44505E"/>
            </a:solidFill>
            <a:ln w="9525" cap="flat">
              <a:noFill/>
              <a:prstDash val="solid"/>
              <a:miter/>
            </a:ln>
          </p:spPr>
          <p:txBody>
            <a:bodyPr rtlCol="0" anchor="ctr"/>
            <a:lstStyle/>
            <a:p>
              <a:endParaRPr lang="pt-BR" noProof="0"/>
            </a:p>
          </p:txBody>
        </p:sp>
        <p:sp>
          <p:nvSpPr>
            <p:cNvPr id="49" name="Freeform: Shape 48">
              <a:extLst>
                <a:ext uri="{FF2B5EF4-FFF2-40B4-BE49-F238E27FC236}">
                  <a16:creationId xmlns:a16="http://schemas.microsoft.com/office/drawing/2014/main" id="{D7D52387-618B-C0A9-AB6F-8E205B3D6225}"/>
                </a:ext>
              </a:extLst>
            </p:cNvPr>
            <p:cNvSpPr/>
            <p:nvPr/>
          </p:nvSpPr>
          <p:spPr>
            <a:xfrm>
              <a:off x="6280899" y="923980"/>
              <a:ext cx="87995" cy="59238"/>
            </a:xfrm>
            <a:custGeom>
              <a:avLst/>
              <a:gdLst>
                <a:gd name="connsiteX0" fmla="*/ 0 w 350043"/>
                <a:gd name="connsiteY0" fmla="*/ 5144 h 235648"/>
                <a:gd name="connsiteX1" fmla="*/ 34385 w 350043"/>
                <a:gd name="connsiteY1" fmla="*/ 5144 h 235648"/>
                <a:gd name="connsiteX2" fmla="*/ 34385 w 350043"/>
                <a:gd name="connsiteY2" fmla="*/ 44005 h 235648"/>
                <a:gd name="connsiteX3" fmla="*/ 47149 w 350043"/>
                <a:gd name="connsiteY3" fmla="*/ 27432 h 235648"/>
                <a:gd name="connsiteX4" fmla="*/ 62960 w 350043"/>
                <a:gd name="connsiteY4" fmla="*/ 13335 h 235648"/>
                <a:gd name="connsiteX5" fmla="*/ 83058 w 350043"/>
                <a:gd name="connsiteY5" fmla="*/ 3715 h 235648"/>
                <a:gd name="connsiteX6" fmla="*/ 108966 w 350043"/>
                <a:gd name="connsiteY6" fmla="*/ 95 h 235648"/>
                <a:gd name="connsiteX7" fmla="*/ 155448 w 350043"/>
                <a:gd name="connsiteY7" fmla="*/ 13240 h 235648"/>
                <a:gd name="connsiteX8" fmla="*/ 183166 w 350043"/>
                <a:gd name="connsiteY8" fmla="*/ 46006 h 235648"/>
                <a:gd name="connsiteX9" fmla="*/ 197168 w 350043"/>
                <a:gd name="connsiteY9" fmla="*/ 28194 h 235648"/>
                <a:gd name="connsiteX10" fmla="*/ 214789 w 350043"/>
                <a:gd name="connsiteY10" fmla="*/ 13430 h 235648"/>
                <a:gd name="connsiteX11" fmla="*/ 236887 w 350043"/>
                <a:gd name="connsiteY11" fmla="*/ 3620 h 235648"/>
                <a:gd name="connsiteX12" fmla="*/ 264319 w 350043"/>
                <a:gd name="connsiteY12" fmla="*/ 0 h 235648"/>
                <a:gd name="connsiteX13" fmla="*/ 327279 w 350043"/>
                <a:gd name="connsiteY13" fmla="*/ 24765 h 235648"/>
                <a:gd name="connsiteX14" fmla="*/ 350044 w 350043"/>
                <a:gd name="connsiteY14" fmla="*/ 92773 h 235648"/>
                <a:gd name="connsiteX15" fmla="*/ 350044 w 350043"/>
                <a:gd name="connsiteY15" fmla="*/ 235648 h 235648"/>
                <a:gd name="connsiteX16" fmla="*/ 315659 w 350043"/>
                <a:gd name="connsiteY16" fmla="*/ 235648 h 235648"/>
                <a:gd name="connsiteX17" fmla="*/ 315659 w 350043"/>
                <a:gd name="connsiteY17" fmla="*/ 101155 h 235648"/>
                <a:gd name="connsiteX18" fmla="*/ 299847 w 350043"/>
                <a:gd name="connsiteY18" fmla="*/ 49721 h 235648"/>
                <a:gd name="connsiteX19" fmla="*/ 255937 w 350043"/>
                <a:gd name="connsiteY19" fmla="*/ 31718 h 235648"/>
                <a:gd name="connsiteX20" fmla="*/ 231362 w 350043"/>
                <a:gd name="connsiteY20" fmla="*/ 36386 h 235648"/>
                <a:gd name="connsiteX21" fmla="*/ 211074 w 350043"/>
                <a:gd name="connsiteY21" fmla="*/ 50197 h 235648"/>
                <a:gd name="connsiteX22" fmla="*/ 197263 w 350043"/>
                <a:gd name="connsiteY22" fmla="*/ 72676 h 235648"/>
                <a:gd name="connsiteX23" fmla="*/ 192119 w 350043"/>
                <a:gd name="connsiteY23" fmla="*/ 102965 h 235648"/>
                <a:gd name="connsiteX24" fmla="*/ 192119 w 350043"/>
                <a:gd name="connsiteY24" fmla="*/ 235648 h 235648"/>
                <a:gd name="connsiteX25" fmla="*/ 158210 w 350043"/>
                <a:gd name="connsiteY25" fmla="*/ 235648 h 235648"/>
                <a:gd name="connsiteX26" fmla="*/ 158210 w 350043"/>
                <a:gd name="connsiteY26" fmla="*/ 100298 h 235648"/>
                <a:gd name="connsiteX27" fmla="*/ 142399 w 350043"/>
                <a:gd name="connsiteY27" fmla="*/ 49721 h 235648"/>
                <a:gd name="connsiteX28" fmla="*/ 98870 w 350043"/>
                <a:gd name="connsiteY28" fmla="*/ 31718 h 235648"/>
                <a:gd name="connsiteX29" fmla="*/ 73438 w 350043"/>
                <a:gd name="connsiteY29" fmla="*/ 37052 h 235648"/>
                <a:gd name="connsiteX30" fmla="*/ 53150 w 350043"/>
                <a:gd name="connsiteY30" fmla="*/ 52197 h 235648"/>
                <a:gd name="connsiteX31" fmla="*/ 39529 w 350043"/>
                <a:gd name="connsiteY31" fmla="*/ 75152 h 235648"/>
                <a:gd name="connsiteX32" fmla="*/ 34576 w 350043"/>
                <a:gd name="connsiteY32" fmla="*/ 104299 h 235648"/>
                <a:gd name="connsiteX33" fmla="*/ 34576 w 350043"/>
                <a:gd name="connsiteY33" fmla="*/ 235648 h 235648"/>
                <a:gd name="connsiteX34" fmla="*/ 190 w 350043"/>
                <a:gd name="connsiteY34" fmla="*/ 235648 h 235648"/>
                <a:gd name="connsiteX35" fmla="*/ 190 w 350043"/>
                <a:gd name="connsiteY35" fmla="*/ 485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0043" h="235648">
                  <a:moveTo>
                    <a:pt x="0" y="5144"/>
                  </a:moveTo>
                  <a:lnTo>
                    <a:pt x="34385" y="5144"/>
                  </a:lnTo>
                  <a:lnTo>
                    <a:pt x="34385" y="44005"/>
                  </a:lnTo>
                  <a:cubicBezTo>
                    <a:pt x="38290" y="38386"/>
                    <a:pt x="42481" y="32861"/>
                    <a:pt x="47149" y="27432"/>
                  </a:cubicBezTo>
                  <a:cubicBezTo>
                    <a:pt x="51721" y="22098"/>
                    <a:pt x="57055" y="17431"/>
                    <a:pt x="62960" y="13335"/>
                  </a:cubicBezTo>
                  <a:cubicBezTo>
                    <a:pt x="68866" y="9335"/>
                    <a:pt x="75629" y="6096"/>
                    <a:pt x="83058" y="3715"/>
                  </a:cubicBezTo>
                  <a:cubicBezTo>
                    <a:pt x="90488" y="1334"/>
                    <a:pt x="99155" y="95"/>
                    <a:pt x="108966" y="95"/>
                  </a:cubicBezTo>
                  <a:cubicBezTo>
                    <a:pt x="127730" y="95"/>
                    <a:pt x="143161" y="4477"/>
                    <a:pt x="155448" y="13240"/>
                  </a:cubicBezTo>
                  <a:cubicBezTo>
                    <a:pt x="167640" y="22003"/>
                    <a:pt x="176879" y="32956"/>
                    <a:pt x="183166" y="46006"/>
                  </a:cubicBezTo>
                  <a:cubicBezTo>
                    <a:pt x="187357" y="39719"/>
                    <a:pt x="192024" y="33814"/>
                    <a:pt x="197168" y="28194"/>
                  </a:cubicBezTo>
                  <a:cubicBezTo>
                    <a:pt x="202406" y="22574"/>
                    <a:pt x="208217" y="17621"/>
                    <a:pt x="214789" y="13430"/>
                  </a:cubicBezTo>
                  <a:cubicBezTo>
                    <a:pt x="221361" y="9239"/>
                    <a:pt x="228695" y="6001"/>
                    <a:pt x="236887" y="3620"/>
                  </a:cubicBezTo>
                  <a:cubicBezTo>
                    <a:pt x="245078" y="1238"/>
                    <a:pt x="254222" y="0"/>
                    <a:pt x="264319" y="0"/>
                  </a:cubicBezTo>
                  <a:cubicBezTo>
                    <a:pt x="291084" y="0"/>
                    <a:pt x="312039" y="8287"/>
                    <a:pt x="327279" y="24765"/>
                  </a:cubicBezTo>
                  <a:cubicBezTo>
                    <a:pt x="342519" y="41243"/>
                    <a:pt x="350044" y="63913"/>
                    <a:pt x="350044" y="92773"/>
                  </a:cubicBezTo>
                  <a:lnTo>
                    <a:pt x="350044" y="235648"/>
                  </a:lnTo>
                  <a:lnTo>
                    <a:pt x="315659" y="235648"/>
                  </a:lnTo>
                  <a:lnTo>
                    <a:pt x="315659" y="101155"/>
                  </a:lnTo>
                  <a:cubicBezTo>
                    <a:pt x="315659" y="78867"/>
                    <a:pt x="310420" y="61722"/>
                    <a:pt x="299847" y="49721"/>
                  </a:cubicBezTo>
                  <a:cubicBezTo>
                    <a:pt x="289274" y="37719"/>
                    <a:pt x="274606" y="31718"/>
                    <a:pt x="255937" y="31718"/>
                  </a:cubicBezTo>
                  <a:cubicBezTo>
                    <a:pt x="247269" y="31718"/>
                    <a:pt x="239078" y="33242"/>
                    <a:pt x="231362" y="36386"/>
                  </a:cubicBezTo>
                  <a:cubicBezTo>
                    <a:pt x="223647" y="39529"/>
                    <a:pt x="216884" y="44101"/>
                    <a:pt x="211074" y="50197"/>
                  </a:cubicBezTo>
                  <a:cubicBezTo>
                    <a:pt x="205264" y="56293"/>
                    <a:pt x="200692" y="63818"/>
                    <a:pt x="197263" y="72676"/>
                  </a:cubicBezTo>
                  <a:cubicBezTo>
                    <a:pt x="193834" y="81629"/>
                    <a:pt x="192119" y="91726"/>
                    <a:pt x="192119" y="102965"/>
                  </a:cubicBezTo>
                  <a:lnTo>
                    <a:pt x="192119" y="235648"/>
                  </a:lnTo>
                  <a:lnTo>
                    <a:pt x="158210" y="235648"/>
                  </a:lnTo>
                  <a:lnTo>
                    <a:pt x="158210" y="100298"/>
                  </a:lnTo>
                  <a:cubicBezTo>
                    <a:pt x="158210" y="78677"/>
                    <a:pt x="152971" y="61817"/>
                    <a:pt x="142399" y="49721"/>
                  </a:cubicBezTo>
                  <a:cubicBezTo>
                    <a:pt x="131826" y="37719"/>
                    <a:pt x="117348" y="31718"/>
                    <a:pt x="98870" y="31718"/>
                  </a:cubicBezTo>
                  <a:cubicBezTo>
                    <a:pt x="89630" y="31718"/>
                    <a:pt x="81153" y="33528"/>
                    <a:pt x="73438" y="37052"/>
                  </a:cubicBezTo>
                  <a:cubicBezTo>
                    <a:pt x="65722" y="40672"/>
                    <a:pt x="58960" y="45720"/>
                    <a:pt x="53150" y="52197"/>
                  </a:cubicBezTo>
                  <a:cubicBezTo>
                    <a:pt x="47339" y="58769"/>
                    <a:pt x="42767" y="66389"/>
                    <a:pt x="39529" y="75152"/>
                  </a:cubicBezTo>
                  <a:cubicBezTo>
                    <a:pt x="36290" y="83915"/>
                    <a:pt x="34576" y="93631"/>
                    <a:pt x="34576" y="104299"/>
                  </a:cubicBezTo>
                  <a:lnTo>
                    <a:pt x="34576" y="235648"/>
                  </a:lnTo>
                  <a:lnTo>
                    <a:pt x="190" y="235648"/>
                  </a:lnTo>
                  <a:lnTo>
                    <a:pt x="190" y="4858"/>
                  </a:lnTo>
                  <a:close/>
                </a:path>
              </a:pathLst>
            </a:custGeom>
            <a:solidFill>
              <a:srgbClr val="44505E"/>
            </a:solidFill>
            <a:ln w="9525" cap="flat">
              <a:noFill/>
              <a:prstDash val="solid"/>
              <a:miter/>
            </a:ln>
          </p:spPr>
          <p:txBody>
            <a:bodyPr rtlCol="0" anchor="ctr"/>
            <a:lstStyle/>
            <a:p>
              <a:endParaRPr lang="pt-BR" noProof="0"/>
            </a:p>
          </p:txBody>
        </p:sp>
        <p:sp>
          <p:nvSpPr>
            <p:cNvPr id="50" name="Freeform: Shape 49">
              <a:extLst>
                <a:ext uri="{FF2B5EF4-FFF2-40B4-BE49-F238E27FC236}">
                  <a16:creationId xmlns:a16="http://schemas.microsoft.com/office/drawing/2014/main" id="{454EBFC7-4B75-8B69-3039-2F0252675183}"/>
                </a:ext>
              </a:extLst>
            </p:cNvPr>
            <p:cNvSpPr/>
            <p:nvPr/>
          </p:nvSpPr>
          <p:spPr>
            <a:xfrm>
              <a:off x="6415537" y="925273"/>
              <a:ext cx="58016" cy="58448"/>
            </a:xfrm>
            <a:custGeom>
              <a:avLst/>
              <a:gdLst>
                <a:gd name="connsiteX0" fmla="*/ 95 w 230790"/>
                <a:gd name="connsiteY0" fmla="*/ 0 h 232505"/>
                <a:gd name="connsiteX1" fmla="*/ 38005 w 230790"/>
                <a:gd name="connsiteY1" fmla="*/ 0 h 232505"/>
                <a:gd name="connsiteX2" fmla="*/ 115633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3"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51" name="Freeform: Shape 50">
              <a:extLst>
                <a:ext uri="{FF2B5EF4-FFF2-40B4-BE49-F238E27FC236}">
                  <a16:creationId xmlns:a16="http://schemas.microsoft.com/office/drawing/2014/main" id="{4DAB047C-9A7C-F004-B3F8-31C6196F7276}"/>
                </a:ext>
              </a:extLst>
            </p:cNvPr>
            <p:cNvSpPr/>
            <p:nvPr/>
          </p:nvSpPr>
          <p:spPr>
            <a:xfrm>
              <a:off x="6487369"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286 w 39242"/>
                <a:gd name="connsiteY5" fmla="*/ 88392 h 319182"/>
                <a:gd name="connsiteX6" fmla="*/ 36671 w 39242"/>
                <a:gd name="connsiteY6" fmla="*/ 88392 h 319182"/>
                <a:gd name="connsiteX7" fmla="*/ 36671 w 39242"/>
                <a:gd name="connsiteY7" fmla="*/ 319183 h 319182"/>
                <a:gd name="connsiteX8" fmla="*/ 2286 w 39242"/>
                <a:gd name="connsiteY8" fmla="*/ 319183 h 319182"/>
                <a:gd name="connsiteX9" fmla="*/ 2286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286" y="88392"/>
                  </a:moveTo>
                  <a:lnTo>
                    <a:pt x="36671" y="88392"/>
                  </a:lnTo>
                  <a:lnTo>
                    <a:pt x="36671" y="319183"/>
                  </a:lnTo>
                  <a:lnTo>
                    <a:pt x="2286" y="319183"/>
                  </a:lnTo>
                  <a:lnTo>
                    <a:pt x="2286" y="88392"/>
                  </a:lnTo>
                  <a:close/>
                </a:path>
              </a:pathLst>
            </a:custGeom>
            <a:solidFill>
              <a:srgbClr val="44505E"/>
            </a:solidFill>
            <a:ln w="9525" cap="flat">
              <a:noFill/>
              <a:prstDash val="solid"/>
              <a:miter/>
            </a:ln>
          </p:spPr>
          <p:txBody>
            <a:bodyPr rtlCol="0" anchor="ctr"/>
            <a:lstStyle/>
            <a:p>
              <a:endParaRPr lang="pt-BR" noProof="0"/>
            </a:p>
          </p:txBody>
        </p:sp>
        <p:sp>
          <p:nvSpPr>
            <p:cNvPr id="52" name="Freeform: Shape 51">
              <a:extLst>
                <a:ext uri="{FF2B5EF4-FFF2-40B4-BE49-F238E27FC236}">
                  <a16:creationId xmlns:a16="http://schemas.microsoft.com/office/drawing/2014/main" id="{A8C7A606-AB6F-BFA0-8082-799914C010AA}"/>
                </a:ext>
              </a:extLst>
            </p:cNvPr>
            <p:cNvSpPr/>
            <p:nvPr/>
          </p:nvSpPr>
          <p:spPr>
            <a:xfrm>
              <a:off x="6513253" y="901353"/>
              <a:ext cx="58615" cy="83182"/>
            </a:xfrm>
            <a:custGeom>
              <a:avLst/>
              <a:gdLst>
                <a:gd name="connsiteX0" fmla="*/ 110394 w 233171"/>
                <a:gd name="connsiteY0" fmla="*/ 330898 h 330898"/>
                <a:gd name="connsiteX1" fmla="*/ 69723 w 233171"/>
                <a:gd name="connsiteY1" fmla="*/ 322897 h 330898"/>
                <a:gd name="connsiteX2" fmla="*/ 34480 w 233171"/>
                <a:gd name="connsiteY2" fmla="*/ 299466 h 330898"/>
                <a:gd name="connsiteX3" fmla="*/ 9430 w 233171"/>
                <a:gd name="connsiteY3" fmla="*/ 261938 h 330898"/>
                <a:gd name="connsiteX4" fmla="*/ 0 w 233171"/>
                <a:gd name="connsiteY4" fmla="*/ 211264 h 330898"/>
                <a:gd name="connsiteX5" fmla="*/ 0 w 233171"/>
                <a:gd name="connsiteY5" fmla="*/ 210407 h 330898"/>
                <a:gd name="connsiteX6" fmla="*/ 9430 w 233171"/>
                <a:gd name="connsiteY6" fmla="*/ 159925 h 330898"/>
                <a:gd name="connsiteX7" fmla="*/ 34480 w 233171"/>
                <a:gd name="connsiteY7" fmla="*/ 122206 h 330898"/>
                <a:gd name="connsiteX8" fmla="*/ 69723 w 233171"/>
                <a:gd name="connsiteY8" fmla="*/ 98488 h 330898"/>
                <a:gd name="connsiteX9" fmla="*/ 110394 w 233171"/>
                <a:gd name="connsiteY9" fmla="*/ 90202 h 330898"/>
                <a:gd name="connsiteX10" fmla="*/ 139827 w 233171"/>
                <a:gd name="connsiteY10" fmla="*/ 94202 h 330898"/>
                <a:gd name="connsiteX11" fmla="*/ 163925 w 233171"/>
                <a:gd name="connsiteY11" fmla="*/ 104870 h 330898"/>
                <a:gd name="connsiteX12" fmla="*/ 183356 w 233171"/>
                <a:gd name="connsiteY12" fmla="*/ 120491 h 330898"/>
                <a:gd name="connsiteX13" fmla="*/ 198787 w 233171"/>
                <a:gd name="connsiteY13" fmla="*/ 139255 h 330898"/>
                <a:gd name="connsiteX14" fmla="*/ 198787 w 233171"/>
                <a:gd name="connsiteY14" fmla="*/ 0 h 330898"/>
                <a:gd name="connsiteX15" fmla="*/ 233172 w 233171"/>
                <a:gd name="connsiteY15" fmla="*/ 0 h 330898"/>
                <a:gd name="connsiteX16" fmla="*/ 233172 w 233171"/>
                <a:gd name="connsiteY16" fmla="*/ 325850 h 330898"/>
                <a:gd name="connsiteX17" fmla="*/ 198787 w 233171"/>
                <a:gd name="connsiteY17" fmla="*/ 325850 h 330898"/>
                <a:gd name="connsiteX18" fmla="*/ 198787 w 233171"/>
                <a:gd name="connsiteY18" fmla="*/ 279463 h 330898"/>
                <a:gd name="connsiteX19" fmla="*/ 182975 w 233171"/>
                <a:gd name="connsiteY19" fmla="*/ 299085 h 330898"/>
                <a:gd name="connsiteX20" fmla="*/ 163544 w 233171"/>
                <a:gd name="connsiteY20" fmla="*/ 315658 h 330898"/>
                <a:gd name="connsiteX21" fmla="*/ 139636 w 233171"/>
                <a:gd name="connsiteY21" fmla="*/ 326803 h 330898"/>
                <a:gd name="connsiteX22" fmla="*/ 110394 w 233171"/>
                <a:gd name="connsiteY22" fmla="*/ 330803 h 330898"/>
                <a:gd name="connsiteX23" fmla="*/ 116681 w 233171"/>
                <a:gd name="connsiteY23" fmla="*/ 300133 h 330898"/>
                <a:gd name="connsiteX24" fmla="*/ 147733 w 233171"/>
                <a:gd name="connsiteY24" fmla="*/ 293656 h 330898"/>
                <a:gd name="connsiteX25" fmla="*/ 174498 w 233171"/>
                <a:gd name="connsiteY25" fmla="*/ 275368 h 330898"/>
                <a:gd name="connsiteX26" fmla="*/ 193262 w 233171"/>
                <a:gd name="connsiteY26" fmla="*/ 247269 h 330898"/>
                <a:gd name="connsiteX27" fmla="*/ 200216 w 233171"/>
                <a:gd name="connsiteY27" fmla="*/ 210883 h 330898"/>
                <a:gd name="connsiteX28" fmla="*/ 200216 w 233171"/>
                <a:gd name="connsiteY28" fmla="*/ 210026 h 330898"/>
                <a:gd name="connsiteX29" fmla="*/ 193262 w 233171"/>
                <a:gd name="connsiteY29" fmla="*/ 173641 h 330898"/>
                <a:gd name="connsiteX30" fmla="*/ 174498 w 233171"/>
                <a:gd name="connsiteY30" fmla="*/ 145732 h 330898"/>
                <a:gd name="connsiteX31" fmla="*/ 147733 w 233171"/>
                <a:gd name="connsiteY31" fmla="*/ 127635 h 330898"/>
                <a:gd name="connsiteX32" fmla="*/ 116681 w 233171"/>
                <a:gd name="connsiteY32" fmla="*/ 121158 h 330898"/>
                <a:gd name="connsiteX33" fmla="*/ 84963 w 233171"/>
                <a:gd name="connsiteY33" fmla="*/ 127159 h 330898"/>
                <a:gd name="connsiteX34" fmla="*/ 59341 w 233171"/>
                <a:gd name="connsiteY34" fmla="*/ 144589 h 330898"/>
                <a:gd name="connsiteX35" fmla="*/ 41910 w 233171"/>
                <a:gd name="connsiteY35" fmla="*/ 172498 h 330898"/>
                <a:gd name="connsiteX36" fmla="*/ 35433 w 233171"/>
                <a:gd name="connsiteY36" fmla="*/ 210026 h 330898"/>
                <a:gd name="connsiteX37" fmla="*/ 35433 w 233171"/>
                <a:gd name="connsiteY37" fmla="*/ 210883 h 330898"/>
                <a:gd name="connsiteX38" fmla="*/ 41910 w 233171"/>
                <a:gd name="connsiteY38" fmla="*/ 247936 h 330898"/>
                <a:gd name="connsiteX39" fmla="*/ 59531 w 233171"/>
                <a:gd name="connsiteY39" fmla="*/ 276034 h 330898"/>
                <a:gd name="connsiteX40" fmla="*/ 85439 w 233171"/>
                <a:gd name="connsiteY40" fmla="*/ 293941 h 330898"/>
                <a:gd name="connsiteX41" fmla="*/ 116681 w 23317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3171" h="330898">
                  <a:moveTo>
                    <a:pt x="110394" y="330898"/>
                  </a:moveTo>
                  <a:cubicBezTo>
                    <a:pt x="96393" y="330898"/>
                    <a:pt x="82868" y="328231"/>
                    <a:pt x="69723" y="322897"/>
                  </a:cubicBezTo>
                  <a:cubicBezTo>
                    <a:pt x="56674" y="317563"/>
                    <a:pt x="44863" y="309753"/>
                    <a:pt x="34480" y="299466"/>
                  </a:cubicBezTo>
                  <a:cubicBezTo>
                    <a:pt x="24003" y="289179"/>
                    <a:pt x="15716" y="276701"/>
                    <a:pt x="9430" y="261938"/>
                  </a:cubicBezTo>
                  <a:cubicBezTo>
                    <a:pt x="3143" y="247174"/>
                    <a:pt x="0" y="230314"/>
                    <a:pt x="0" y="211264"/>
                  </a:cubicBezTo>
                  <a:lnTo>
                    <a:pt x="0" y="210407"/>
                  </a:lnTo>
                  <a:cubicBezTo>
                    <a:pt x="0" y="191643"/>
                    <a:pt x="3143" y="174879"/>
                    <a:pt x="9430" y="159925"/>
                  </a:cubicBezTo>
                  <a:cubicBezTo>
                    <a:pt x="15716" y="145066"/>
                    <a:pt x="24003" y="132493"/>
                    <a:pt x="34480" y="122206"/>
                  </a:cubicBezTo>
                  <a:cubicBezTo>
                    <a:pt x="44863" y="111919"/>
                    <a:pt x="56674" y="104013"/>
                    <a:pt x="69723" y="98488"/>
                  </a:cubicBezTo>
                  <a:cubicBezTo>
                    <a:pt x="82868" y="92964"/>
                    <a:pt x="96393" y="90202"/>
                    <a:pt x="110394" y="90202"/>
                  </a:cubicBezTo>
                  <a:cubicBezTo>
                    <a:pt x="121158" y="90202"/>
                    <a:pt x="130969" y="91535"/>
                    <a:pt x="139827" y="94202"/>
                  </a:cubicBezTo>
                  <a:cubicBezTo>
                    <a:pt x="148780" y="96869"/>
                    <a:pt x="156782" y="100489"/>
                    <a:pt x="163925" y="104870"/>
                  </a:cubicBezTo>
                  <a:cubicBezTo>
                    <a:pt x="171069" y="109347"/>
                    <a:pt x="177546" y="114586"/>
                    <a:pt x="183356" y="120491"/>
                  </a:cubicBezTo>
                  <a:cubicBezTo>
                    <a:pt x="189166" y="126492"/>
                    <a:pt x="194310" y="132683"/>
                    <a:pt x="198787" y="139255"/>
                  </a:cubicBezTo>
                  <a:lnTo>
                    <a:pt x="198787" y="0"/>
                  </a:lnTo>
                  <a:lnTo>
                    <a:pt x="233172" y="0"/>
                  </a:lnTo>
                  <a:lnTo>
                    <a:pt x="233172" y="325850"/>
                  </a:lnTo>
                  <a:lnTo>
                    <a:pt x="198787" y="325850"/>
                  </a:lnTo>
                  <a:lnTo>
                    <a:pt x="198787" y="279463"/>
                  </a:lnTo>
                  <a:cubicBezTo>
                    <a:pt x="194024" y="286321"/>
                    <a:pt x="188786" y="292894"/>
                    <a:pt x="182975" y="299085"/>
                  </a:cubicBezTo>
                  <a:cubicBezTo>
                    <a:pt x="177165" y="305371"/>
                    <a:pt x="170688" y="310896"/>
                    <a:pt x="163544" y="315658"/>
                  </a:cubicBezTo>
                  <a:cubicBezTo>
                    <a:pt x="156400" y="320421"/>
                    <a:pt x="148494" y="324136"/>
                    <a:pt x="139636" y="326803"/>
                  </a:cubicBezTo>
                  <a:cubicBezTo>
                    <a:pt x="130873" y="329470"/>
                    <a:pt x="121158" y="330803"/>
                    <a:pt x="110394" y="330803"/>
                  </a:cubicBezTo>
                  <a:close/>
                  <a:moveTo>
                    <a:pt x="116681" y="300133"/>
                  </a:moveTo>
                  <a:cubicBezTo>
                    <a:pt x="127445" y="300133"/>
                    <a:pt x="137732" y="297942"/>
                    <a:pt x="147733" y="293656"/>
                  </a:cubicBezTo>
                  <a:cubicBezTo>
                    <a:pt x="157734" y="289369"/>
                    <a:pt x="166592" y="283273"/>
                    <a:pt x="174498" y="275368"/>
                  </a:cubicBezTo>
                  <a:cubicBezTo>
                    <a:pt x="182404" y="267462"/>
                    <a:pt x="188595" y="258127"/>
                    <a:pt x="193262" y="247269"/>
                  </a:cubicBezTo>
                  <a:cubicBezTo>
                    <a:pt x="197834" y="236410"/>
                    <a:pt x="200216" y="224314"/>
                    <a:pt x="200216" y="210883"/>
                  </a:cubicBezTo>
                  <a:lnTo>
                    <a:pt x="200216" y="210026"/>
                  </a:lnTo>
                  <a:cubicBezTo>
                    <a:pt x="200216" y="196596"/>
                    <a:pt x="197929" y="184499"/>
                    <a:pt x="193262" y="173641"/>
                  </a:cubicBezTo>
                  <a:cubicBezTo>
                    <a:pt x="188595" y="162782"/>
                    <a:pt x="182404" y="153448"/>
                    <a:pt x="174498" y="145732"/>
                  </a:cubicBezTo>
                  <a:cubicBezTo>
                    <a:pt x="166592" y="138017"/>
                    <a:pt x="157639" y="132016"/>
                    <a:pt x="147733" y="127635"/>
                  </a:cubicBezTo>
                  <a:cubicBezTo>
                    <a:pt x="137732" y="123349"/>
                    <a:pt x="127445" y="121158"/>
                    <a:pt x="116681" y="121158"/>
                  </a:cubicBezTo>
                  <a:cubicBezTo>
                    <a:pt x="105346" y="121158"/>
                    <a:pt x="94774" y="123158"/>
                    <a:pt x="84963" y="127159"/>
                  </a:cubicBezTo>
                  <a:cubicBezTo>
                    <a:pt x="75152" y="131159"/>
                    <a:pt x="66580" y="136969"/>
                    <a:pt x="59341" y="144589"/>
                  </a:cubicBezTo>
                  <a:cubicBezTo>
                    <a:pt x="52007" y="152114"/>
                    <a:pt x="46291" y="161449"/>
                    <a:pt x="41910" y="172498"/>
                  </a:cubicBezTo>
                  <a:cubicBezTo>
                    <a:pt x="37624" y="183451"/>
                    <a:pt x="35433" y="196024"/>
                    <a:pt x="35433" y="210026"/>
                  </a:cubicBezTo>
                  <a:lnTo>
                    <a:pt x="35433" y="210883"/>
                  </a:lnTo>
                  <a:cubicBezTo>
                    <a:pt x="35433" y="224599"/>
                    <a:pt x="37624" y="236982"/>
                    <a:pt x="41910" y="247936"/>
                  </a:cubicBezTo>
                  <a:cubicBezTo>
                    <a:pt x="46196" y="258984"/>
                    <a:pt x="52101" y="268319"/>
                    <a:pt x="59531" y="276034"/>
                  </a:cubicBezTo>
                  <a:cubicBezTo>
                    <a:pt x="66960" y="283750"/>
                    <a:pt x="75629" y="289750"/>
                    <a:pt x="85439" y="293941"/>
                  </a:cubicBezTo>
                  <a:cubicBezTo>
                    <a:pt x="95250" y="298132"/>
                    <a:pt x="105632" y="300228"/>
                    <a:pt x="116681" y="300228"/>
                  </a:cubicBezTo>
                  <a:close/>
                </a:path>
              </a:pathLst>
            </a:custGeom>
            <a:solidFill>
              <a:srgbClr val="44505E"/>
            </a:solidFill>
            <a:ln w="9525" cap="flat">
              <a:noFill/>
              <a:prstDash val="solid"/>
              <a:miter/>
            </a:ln>
          </p:spPr>
          <p:txBody>
            <a:bodyPr rtlCol="0" anchor="ctr"/>
            <a:lstStyle/>
            <a:p>
              <a:endParaRPr lang="pt-BR" noProof="0"/>
            </a:p>
          </p:txBody>
        </p:sp>
        <p:sp>
          <p:nvSpPr>
            <p:cNvPr id="53" name="Freeform: Shape 52">
              <a:extLst>
                <a:ext uri="{FF2B5EF4-FFF2-40B4-BE49-F238E27FC236}">
                  <a16:creationId xmlns:a16="http://schemas.microsoft.com/office/drawing/2014/main" id="{9F6083F8-4D71-3398-DF27-E13F34ECEA80}"/>
                </a:ext>
              </a:extLst>
            </p:cNvPr>
            <p:cNvSpPr/>
            <p:nvPr/>
          </p:nvSpPr>
          <p:spPr>
            <a:xfrm>
              <a:off x="6586762"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0 w 202977"/>
                <a:gd name="connsiteY16" fmla="*/ 48196 h 239267"/>
                <a:gd name="connsiteX17" fmla="*/ 20383 w 202977"/>
                <a:gd name="connsiteY17" fmla="*/ 19907 h 239267"/>
                <a:gd name="connsiteX18" fmla="*/ 59245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0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1"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675" y="92678"/>
                    <a:pt x="84011" y="90964"/>
                    <a:pt x="98584" y="90964"/>
                  </a:cubicBezTo>
                  <a:cubicBezTo>
                    <a:pt x="113157" y="90964"/>
                    <a:pt x="126302"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0" y="33147"/>
                    <a:pt x="63436" y="36100"/>
                  </a:cubicBezTo>
                  <a:cubicBezTo>
                    <a:pt x="52292" y="39053"/>
                    <a:pt x="41338" y="43053"/>
                    <a:pt x="30670" y="48196"/>
                  </a:cubicBezTo>
                  <a:lnTo>
                    <a:pt x="20383" y="19907"/>
                  </a:lnTo>
                  <a:cubicBezTo>
                    <a:pt x="33147" y="13906"/>
                    <a:pt x="46101" y="9049"/>
                    <a:pt x="59245" y="5429"/>
                  </a:cubicBezTo>
                  <a:cubicBezTo>
                    <a:pt x="72294" y="1810"/>
                    <a:pt x="87344" y="0"/>
                    <a:pt x="104299" y="0"/>
                  </a:cubicBezTo>
                  <a:cubicBezTo>
                    <a:pt x="137064" y="0"/>
                    <a:pt x="161925" y="8477"/>
                    <a:pt x="178879" y="25432"/>
                  </a:cubicBezTo>
                  <a:cubicBezTo>
                    <a:pt x="194976"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0" y="239173"/>
                  </a:cubicBezTo>
                  <a:close/>
                  <a:moveTo>
                    <a:pt x="93154" y="211169"/>
                  </a:moveTo>
                  <a:cubicBezTo>
                    <a:pt x="103822" y="211169"/>
                    <a:pt x="113729" y="209740"/>
                    <a:pt x="122967" y="206788"/>
                  </a:cubicBezTo>
                  <a:cubicBezTo>
                    <a:pt x="132207"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4" y="119348"/>
                    <a:pt x="116871"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54" name="Freeform: Shape 53">
              <a:extLst>
                <a:ext uri="{FF2B5EF4-FFF2-40B4-BE49-F238E27FC236}">
                  <a16:creationId xmlns:a16="http://schemas.microsoft.com/office/drawing/2014/main" id="{32E961AC-92A6-2673-D8B9-449ECECD9EF2}"/>
                </a:ext>
              </a:extLst>
            </p:cNvPr>
            <p:cNvSpPr/>
            <p:nvPr/>
          </p:nvSpPr>
          <p:spPr>
            <a:xfrm>
              <a:off x="6651291" y="924268"/>
              <a:ext cx="44680" cy="60195"/>
            </a:xfrm>
            <a:custGeom>
              <a:avLst/>
              <a:gdLst>
                <a:gd name="connsiteX0" fmla="*/ 95535 w 177736"/>
                <a:gd name="connsiteY0" fmla="*/ 239268 h 239458"/>
                <a:gd name="connsiteX1" fmla="*/ 45053 w 177736"/>
                <a:gd name="connsiteY1" fmla="*/ 230124 h 239458"/>
                <a:gd name="connsiteX2" fmla="*/ 0 w 177736"/>
                <a:gd name="connsiteY2" fmla="*/ 205359 h 239458"/>
                <a:gd name="connsiteX3" fmla="*/ 17430 w 177736"/>
                <a:gd name="connsiteY3" fmla="*/ 180785 h 239458"/>
                <a:gd name="connsiteX4" fmla="*/ 56483 w 177736"/>
                <a:gd name="connsiteY4" fmla="*/ 202692 h 239458"/>
                <a:gd name="connsiteX5" fmla="*/ 97345 w 177736"/>
                <a:gd name="connsiteY5" fmla="*/ 210217 h 239458"/>
                <a:gd name="connsiteX6" fmla="*/ 131730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825 w 177736"/>
                <a:gd name="connsiteY10" fmla="*/ 147066 h 239458"/>
                <a:gd name="connsiteX11" fmla="*/ 109251 w 177736"/>
                <a:gd name="connsiteY11" fmla="*/ 138779 h 239458"/>
                <a:gd name="connsiteX12" fmla="*/ 87630 w 177736"/>
                <a:gd name="connsiteY12" fmla="*/ 132112 h 239458"/>
                <a:gd name="connsiteX13" fmla="*/ 60579 w 177736"/>
                <a:gd name="connsiteY13" fmla="*/ 123444 h 239458"/>
                <a:gd name="connsiteX14" fmla="*/ 36004 w 177736"/>
                <a:gd name="connsiteY14" fmla="*/ 111633 h 239458"/>
                <a:gd name="connsiteX15" fmla="*/ 18192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59 w 177736"/>
                <a:gd name="connsiteY22" fmla="*/ 6953 h 239458"/>
                <a:gd name="connsiteX23" fmla="*/ 172878 w 177736"/>
                <a:gd name="connsiteY23" fmla="*/ 25527 h 239458"/>
                <a:gd name="connsiteX24" fmla="*/ 157257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3 w 177736"/>
                <a:gd name="connsiteY32" fmla="*/ 96203 h 239458"/>
                <a:gd name="connsiteX33" fmla="*/ 103631 w 177736"/>
                <a:gd name="connsiteY33" fmla="*/ 103346 h 239458"/>
                <a:gd name="connsiteX34" fmla="*/ 130207 w 177736"/>
                <a:gd name="connsiteY34" fmla="*/ 112300 h 239458"/>
                <a:gd name="connsiteX35" fmla="*/ 154114 w 177736"/>
                <a:gd name="connsiteY35" fmla="*/ 124778 h 239458"/>
                <a:gd name="connsiteX36" fmla="*/ 171259 w 177736"/>
                <a:gd name="connsiteY36" fmla="*/ 143066 h 239458"/>
                <a:gd name="connsiteX37" fmla="*/ 177736 w 177736"/>
                <a:gd name="connsiteY37" fmla="*/ 169450 h 239458"/>
                <a:gd name="connsiteX38" fmla="*/ 177736 w 177736"/>
                <a:gd name="connsiteY38" fmla="*/ 170307 h 239458"/>
                <a:gd name="connsiteX39" fmla="*/ 171259 w 177736"/>
                <a:gd name="connsiteY39" fmla="*/ 199549 h 239458"/>
                <a:gd name="connsiteX40" fmla="*/ 153828 w 177736"/>
                <a:gd name="connsiteY40" fmla="*/ 221171 h 239458"/>
                <a:gd name="connsiteX41" fmla="*/ 127921 w 177736"/>
                <a:gd name="connsiteY41" fmla="*/ 234791 h 239458"/>
                <a:gd name="connsiteX42" fmla="*/ 95535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5" y="239268"/>
                  </a:moveTo>
                  <a:cubicBezTo>
                    <a:pt x="78867" y="239268"/>
                    <a:pt x="62007" y="236220"/>
                    <a:pt x="45053" y="230124"/>
                  </a:cubicBezTo>
                  <a:cubicBezTo>
                    <a:pt x="28098" y="224028"/>
                    <a:pt x="13049" y="215741"/>
                    <a:pt x="0" y="205359"/>
                  </a:cubicBezTo>
                  <a:lnTo>
                    <a:pt x="17430" y="180785"/>
                  </a:lnTo>
                  <a:cubicBezTo>
                    <a:pt x="29908" y="190310"/>
                    <a:pt x="42957" y="197644"/>
                    <a:pt x="56483" y="202692"/>
                  </a:cubicBezTo>
                  <a:cubicBezTo>
                    <a:pt x="70009" y="207740"/>
                    <a:pt x="83629" y="210217"/>
                    <a:pt x="97345" y="210217"/>
                  </a:cubicBezTo>
                  <a:cubicBezTo>
                    <a:pt x="111061" y="210217"/>
                    <a:pt x="122777" y="206978"/>
                    <a:pt x="131730" y="200406"/>
                  </a:cubicBezTo>
                  <a:cubicBezTo>
                    <a:pt x="140684" y="193834"/>
                    <a:pt x="145161" y="184976"/>
                    <a:pt x="145161" y="173641"/>
                  </a:cubicBezTo>
                  <a:lnTo>
                    <a:pt x="145161" y="172784"/>
                  </a:lnTo>
                  <a:cubicBezTo>
                    <a:pt x="145161" y="167164"/>
                    <a:pt x="143541" y="162211"/>
                    <a:pt x="140494" y="158020"/>
                  </a:cubicBezTo>
                  <a:cubicBezTo>
                    <a:pt x="137350" y="153829"/>
                    <a:pt x="133159" y="150209"/>
                    <a:pt x="127825" y="147066"/>
                  </a:cubicBezTo>
                  <a:cubicBezTo>
                    <a:pt x="122491" y="143923"/>
                    <a:pt x="116300" y="141161"/>
                    <a:pt x="109251" y="138779"/>
                  </a:cubicBezTo>
                  <a:cubicBezTo>
                    <a:pt x="102298" y="136398"/>
                    <a:pt x="95059" y="134207"/>
                    <a:pt x="87630" y="132112"/>
                  </a:cubicBezTo>
                  <a:cubicBezTo>
                    <a:pt x="78676" y="129445"/>
                    <a:pt x="69722" y="126492"/>
                    <a:pt x="60579" y="123444"/>
                  </a:cubicBezTo>
                  <a:cubicBezTo>
                    <a:pt x="51530" y="120301"/>
                    <a:pt x="43339" y="116396"/>
                    <a:pt x="36004" y="111633"/>
                  </a:cubicBezTo>
                  <a:cubicBezTo>
                    <a:pt x="28670" y="106871"/>
                    <a:pt x="22764" y="100870"/>
                    <a:pt x="18192" y="93726"/>
                  </a:cubicBezTo>
                  <a:cubicBezTo>
                    <a:pt x="13525" y="86582"/>
                    <a:pt x="11239" y="77629"/>
                    <a:pt x="11239" y="66961"/>
                  </a:cubicBezTo>
                  <a:lnTo>
                    <a:pt x="11239" y="66008"/>
                  </a:lnTo>
                  <a:cubicBezTo>
                    <a:pt x="11239" y="56198"/>
                    <a:pt x="13144" y="47149"/>
                    <a:pt x="17050" y="39053"/>
                  </a:cubicBezTo>
                  <a:cubicBezTo>
                    <a:pt x="20955" y="30861"/>
                    <a:pt x="26384" y="23908"/>
                    <a:pt x="33338" y="18098"/>
                  </a:cubicBezTo>
                  <a:cubicBezTo>
                    <a:pt x="40291" y="12287"/>
                    <a:pt x="48673" y="7811"/>
                    <a:pt x="58388" y="4667"/>
                  </a:cubicBezTo>
                  <a:cubicBezTo>
                    <a:pt x="68008" y="1524"/>
                    <a:pt x="78581" y="0"/>
                    <a:pt x="89821" y="0"/>
                  </a:cubicBezTo>
                  <a:cubicBezTo>
                    <a:pt x="104108" y="0"/>
                    <a:pt x="118586" y="2286"/>
                    <a:pt x="133159" y="6953"/>
                  </a:cubicBezTo>
                  <a:cubicBezTo>
                    <a:pt x="147732" y="11621"/>
                    <a:pt x="160972" y="17717"/>
                    <a:pt x="172878" y="25527"/>
                  </a:cubicBezTo>
                  <a:lnTo>
                    <a:pt x="157257" y="51435"/>
                  </a:lnTo>
                  <a:cubicBezTo>
                    <a:pt x="146494" y="44577"/>
                    <a:pt x="135255" y="39148"/>
                    <a:pt x="123539" y="35147"/>
                  </a:cubicBezTo>
                  <a:cubicBezTo>
                    <a:pt x="111823" y="31147"/>
                    <a:pt x="100203" y="29146"/>
                    <a:pt x="88963" y="29146"/>
                  </a:cubicBezTo>
                  <a:cubicBezTo>
                    <a:pt x="75247" y="29146"/>
                    <a:pt x="64389" y="32385"/>
                    <a:pt x="56388" y="38767"/>
                  </a:cubicBezTo>
                  <a:cubicBezTo>
                    <a:pt x="48291" y="45149"/>
                    <a:pt x="44291" y="53150"/>
                    <a:pt x="44291" y="62675"/>
                  </a:cubicBezTo>
                  <a:lnTo>
                    <a:pt x="44291" y="63627"/>
                  </a:lnTo>
                  <a:cubicBezTo>
                    <a:pt x="44291" y="68961"/>
                    <a:pt x="45910" y="73628"/>
                    <a:pt x="49244" y="77724"/>
                  </a:cubicBezTo>
                  <a:cubicBezTo>
                    <a:pt x="52482" y="81725"/>
                    <a:pt x="56864" y="85249"/>
                    <a:pt x="62389" y="88202"/>
                  </a:cubicBezTo>
                  <a:cubicBezTo>
                    <a:pt x="67913" y="91154"/>
                    <a:pt x="74200" y="93821"/>
                    <a:pt x="81343" y="96203"/>
                  </a:cubicBezTo>
                  <a:cubicBezTo>
                    <a:pt x="88487" y="98584"/>
                    <a:pt x="95916" y="100965"/>
                    <a:pt x="103631" y="103346"/>
                  </a:cubicBezTo>
                  <a:cubicBezTo>
                    <a:pt x="112585" y="106013"/>
                    <a:pt x="121444" y="108966"/>
                    <a:pt x="130207" y="112300"/>
                  </a:cubicBezTo>
                  <a:cubicBezTo>
                    <a:pt x="138969" y="115538"/>
                    <a:pt x="146971" y="119729"/>
                    <a:pt x="154114" y="124778"/>
                  </a:cubicBezTo>
                  <a:cubicBezTo>
                    <a:pt x="161258" y="129826"/>
                    <a:pt x="166973" y="135922"/>
                    <a:pt x="171259" y="143066"/>
                  </a:cubicBezTo>
                  <a:cubicBezTo>
                    <a:pt x="175546" y="150209"/>
                    <a:pt x="177736" y="158972"/>
                    <a:pt x="177736" y="169450"/>
                  </a:cubicBezTo>
                  <a:lnTo>
                    <a:pt x="177736" y="170307"/>
                  </a:lnTo>
                  <a:cubicBezTo>
                    <a:pt x="177736" y="181356"/>
                    <a:pt x="175546" y="191071"/>
                    <a:pt x="171259" y="199549"/>
                  </a:cubicBezTo>
                  <a:cubicBezTo>
                    <a:pt x="166973" y="208026"/>
                    <a:pt x="161163" y="215265"/>
                    <a:pt x="153828" y="221171"/>
                  </a:cubicBezTo>
                  <a:cubicBezTo>
                    <a:pt x="146589" y="227171"/>
                    <a:pt x="137922" y="231648"/>
                    <a:pt x="127921" y="234791"/>
                  </a:cubicBezTo>
                  <a:cubicBezTo>
                    <a:pt x="117919" y="237935"/>
                    <a:pt x="107156" y="239459"/>
                    <a:pt x="95535" y="239459"/>
                  </a:cubicBezTo>
                  <a:close/>
                </a:path>
              </a:pathLst>
            </a:custGeom>
            <a:solidFill>
              <a:srgbClr val="44505E"/>
            </a:solidFill>
            <a:ln w="9525" cap="flat">
              <a:noFill/>
              <a:prstDash val="solid"/>
              <a:miter/>
            </a:ln>
          </p:spPr>
          <p:txBody>
            <a:bodyPr rtlCol="0" anchor="ctr"/>
            <a:lstStyle/>
            <a:p>
              <a:endParaRPr lang="pt-BR" noProof="0"/>
            </a:p>
          </p:txBody>
        </p:sp>
        <p:sp>
          <p:nvSpPr>
            <p:cNvPr id="55" name="Freeform: Shape 54">
              <a:extLst>
                <a:ext uri="{FF2B5EF4-FFF2-40B4-BE49-F238E27FC236}">
                  <a16:creationId xmlns:a16="http://schemas.microsoft.com/office/drawing/2014/main" id="{994B0C21-7BD4-1E08-3367-FB1976DA4A65}"/>
                </a:ext>
              </a:extLst>
            </p:cNvPr>
            <p:cNvSpPr/>
            <p:nvPr/>
          </p:nvSpPr>
          <p:spPr>
            <a:xfrm>
              <a:off x="5250320" y="846952"/>
              <a:ext cx="1459036" cy="16186"/>
            </a:xfrm>
            <a:custGeom>
              <a:avLst/>
              <a:gdLst>
                <a:gd name="connsiteX0" fmla="*/ 0 w 5804058"/>
                <a:gd name="connsiteY0" fmla="*/ 0 h 64388"/>
                <a:gd name="connsiteX1" fmla="*/ 5804059 w 5804058"/>
                <a:gd name="connsiteY1" fmla="*/ 0 h 64388"/>
                <a:gd name="connsiteX2" fmla="*/ 5804059 w 5804058"/>
                <a:gd name="connsiteY2" fmla="*/ 64389 h 64388"/>
                <a:gd name="connsiteX3" fmla="*/ 0 w 5804058"/>
                <a:gd name="connsiteY3" fmla="*/ 64389 h 64388"/>
              </a:gdLst>
              <a:ahLst/>
              <a:cxnLst>
                <a:cxn ang="0">
                  <a:pos x="connsiteX0" y="connsiteY0"/>
                </a:cxn>
                <a:cxn ang="0">
                  <a:pos x="connsiteX1" y="connsiteY1"/>
                </a:cxn>
                <a:cxn ang="0">
                  <a:pos x="connsiteX2" y="connsiteY2"/>
                </a:cxn>
                <a:cxn ang="0">
                  <a:pos x="connsiteX3" y="connsiteY3"/>
                </a:cxn>
              </a:cxnLst>
              <a:rect l="l" t="t" r="r" b="b"/>
              <a:pathLst>
                <a:path w="5804058" h="64388">
                  <a:moveTo>
                    <a:pt x="0" y="0"/>
                  </a:moveTo>
                  <a:lnTo>
                    <a:pt x="5804059" y="0"/>
                  </a:lnTo>
                  <a:lnTo>
                    <a:pt x="5804059" y="64389"/>
                  </a:lnTo>
                  <a:lnTo>
                    <a:pt x="0" y="64389"/>
                  </a:lnTo>
                  <a:close/>
                </a:path>
              </a:pathLst>
            </a:custGeom>
            <a:solidFill>
              <a:srgbClr val="44505E"/>
            </a:solidFill>
            <a:ln w="9525" cap="flat">
              <a:noFill/>
              <a:prstDash val="solid"/>
              <a:miter/>
            </a:ln>
          </p:spPr>
          <p:txBody>
            <a:bodyPr rtlCol="0" anchor="ctr"/>
            <a:lstStyle/>
            <a:p>
              <a:endParaRPr lang="pt-BR" noProof="0"/>
            </a:p>
          </p:txBody>
        </p:sp>
        <p:sp>
          <p:nvSpPr>
            <p:cNvPr id="56" name="Freeform: Shape 55">
              <a:extLst>
                <a:ext uri="{FF2B5EF4-FFF2-40B4-BE49-F238E27FC236}">
                  <a16:creationId xmlns:a16="http://schemas.microsoft.com/office/drawing/2014/main" id="{01152F20-C339-ED04-4576-270868EEDD55}"/>
                </a:ext>
              </a:extLst>
            </p:cNvPr>
            <p:cNvSpPr/>
            <p:nvPr/>
          </p:nvSpPr>
          <p:spPr>
            <a:xfrm>
              <a:off x="6902633" y="268821"/>
              <a:ext cx="273418" cy="601046"/>
            </a:xfrm>
            <a:custGeom>
              <a:avLst/>
              <a:gdLst>
                <a:gd name="connsiteX0" fmla="*/ 0 w 1087659"/>
                <a:gd name="connsiteY0" fmla="*/ 210979 h 2390965"/>
                <a:gd name="connsiteX1" fmla="*/ 125063 w 1087659"/>
                <a:gd name="connsiteY1" fmla="*/ 103442 h 2390965"/>
                <a:gd name="connsiteX2" fmla="*/ 250031 w 1087659"/>
                <a:gd name="connsiteY2" fmla="*/ 210979 h 2390965"/>
                <a:gd name="connsiteX3" fmla="*/ 250031 w 1087659"/>
                <a:gd name="connsiteY3" fmla="*/ 1922717 h 2390965"/>
                <a:gd name="connsiteX4" fmla="*/ 249841 w 1087659"/>
                <a:gd name="connsiteY4" fmla="*/ 1922717 h 2390965"/>
                <a:gd name="connsiteX5" fmla="*/ 249841 w 1087659"/>
                <a:gd name="connsiteY5" fmla="*/ 1925955 h 2390965"/>
                <a:gd name="connsiteX6" fmla="*/ 333756 w 1087659"/>
                <a:gd name="connsiteY6" fmla="*/ 2100263 h 2390965"/>
                <a:gd name="connsiteX7" fmla="*/ 335566 w 1087659"/>
                <a:gd name="connsiteY7" fmla="*/ 2101787 h 2390965"/>
                <a:gd name="connsiteX8" fmla="*/ 336042 w 1087659"/>
                <a:gd name="connsiteY8" fmla="*/ 2102168 h 2390965"/>
                <a:gd name="connsiteX9" fmla="*/ 543877 w 1087659"/>
                <a:gd name="connsiteY9" fmla="*/ 2175891 h 2390965"/>
                <a:gd name="connsiteX10" fmla="*/ 749998 w 1087659"/>
                <a:gd name="connsiteY10" fmla="*/ 2103692 h 2390965"/>
                <a:gd name="connsiteX11" fmla="*/ 751713 w 1087659"/>
                <a:gd name="connsiteY11" fmla="*/ 2102168 h 2390965"/>
                <a:gd name="connsiteX12" fmla="*/ 752189 w 1087659"/>
                <a:gd name="connsiteY12" fmla="*/ 2101787 h 2390965"/>
                <a:gd name="connsiteX13" fmla="*/ 837819 w 1087659"/>
                <a:gd name="connsiteY13" fmla="*/ 1922812 h 2390965"/>
                <a:gd name="connsiteX14" fmla="*/ 837819 w 1087659"/>
                <a:gd name="connsiteY14" fmla="*/ 107537 h 2390965"/>
                <a:gd name="connsiteX15" fmla="*/ 962787 w 1087659"/>
                <a:gd name="connsiteY15" fmla="*/ 0 h 2390965"/>
                <a:gd name="connsiteX16" fmla="*/ 1087660 w 1087659"/>
                <a:gd name="connsiteY16" fmla="*/ 107537 h 2390965"/>
                <a:gd name="connsiteX17" fmla="*/ 1087660 w 1087659"/>
                <a:gd name="connsiteY17" fmla="*/ 1922621 h 2390965"/>
                <a:gd name="connsiteX18" fmla="*/ 928307 w 1087659"/>
                <a:gd name="connsiteY18" fmla="*/ 2253234 h 2390965"/>
                <a:gd name="connsiteX19" fmla="*/ 928116 w 1087659"/>
                <a:gd name="connsiteY19" fmla="*/ 2253424 h 2390965"/>
                <a:gd name="connsiteX20" fmla="*/ 927830 w 1087659"/>
                <a:gd name="connsiteY20" fmla="*/ 2253710 h 2390965"/>
                <a:gd name="connsiteX21" fmla="*/ 927354 w 1087659"/>
                <a:gd name="connsiteY21" fmla="*/ 2254187 h 2390965"/>
                <a:gd name="connsiteX22" fmla="*/ 543783 w 1087659"/>
                <a:gd name="connsiteY22" fmla="*/ 2390966 h 2390965"/>
                <a:gd name="connsiteX23" fmla="*/ 159734 w 1087659"/>
                <a:gd name="connsiteY23" fmla="*/ 2253710 h 2390965"/>
                <a:gd name="connsiteX24" fmla="*/ 159734 w 1087659"/>
                <a:gd name="connsiteY24" fmla="*/ 2253424 h 2390965"/>
                <a:gd name="connsiteX25" fmla="*/ 159353 w 1087659"/>
                <a:gd name="connsiteY25" fmla="*/ 2253234 h 2390965"/>
                <a:gd name="connsiteX26" fmla="*/ 158877 w 1087659"/>
                <a:gd name="connsiteY26" fmla="*/ 2252948 h 2390965"/>
                <a:gd name="connsiteX27" fmla="*/ 0 w 1087659"/>
                <a:gd name="connsiteY27" fmla="*/ 1922621 h 2390965"/>
                <a:gd name="connsiteX28" fmla="*/ 0 w 1087659"/>
                <a:gd name="connsiteY28" fmla="*/ 1922621 h 2390965"/>
                <a:gd name="connsiteX29" fmla="*/ 0 w 1087659"/>
                <a:gd name="connsiteY29" fmla="*/ 210979 h 239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87659" h="2390965">
                  <a:moveTo>
                    <a:pt x="0" y="210979"/>
                  </a:moveTo>
                  <a:cubicBezTo>
                    <a:pt x="0" y="151638"/>
                    <a:pt x="56007" y="103442"/>
                    <a:pt x="125063" y="103442"/>
                  </a:cubicBezTo>
                  <a:cubicBezTo>
                    <a:pt x="194120" y="103442"/>
                    <a:pt x="250031" y="151638"/>
                    <a:pt x="250031" y="210979"/>
                  </a:cubicBezTo>
                  <a:lnTo>
                    <a:pt x="250031" y="1922717"/>
                  </a:lnTo>
                  <a:lnTo>
                    <a:pt x="249841" y="1922717"/>
                  </a:lnTo>
                  <a:lnTo>
                    <a:pt x="249841" y="1925955"/>
                  </a:lnTo>
                  <a:cubicBezTo>
                    <a:pt x="250793" y="1994059"/>
                    <a:pt x="282797" y="2055495"/>
                    <a:pt x="333756" y="2100263"/>
                  </a:cubicBezTo>
                  <a:lnTo>
                    <a:pt x="335566" y="2101787"/>
                  </a:lnTo>
                  <a:lnTo>
                    <a:pt x="336042" y="2102168"/>
                  </a:lnTo>
                  <a:cubicBezTo>
                    <a:pt x="388906" y="2147697"/>
                    <a:pt x="462343" y="2175891"/>
                    <a:pt x="543877" y="2175891"/>
                  </a:cubicBezTo>
                  <a:cubicBezTo>
                    <a:pt x="625411" y="2175891"/>
                    <a:pt x="697420" y="2148364"/>
                    <a:pt x="749998" y="2103692"/>
                  </a:cubicBezTo>
                  <a:lnTo>
                    <a:pt x="751713" y="2102168"/>
                  </a:lnTo>
                  <a:lnTo>
                    <a:pt x="752189" y="2101787"/>
                  </a:lnTo>
                  <a:cubicBezTo>
                    <a:pt x="805053" y="2056352"/>
                    <a:pt x="837819" y="1993011"/>
                    <a:pt x="837819" y="1922812"/>
                  </a:cubicBezTo>
                  <a:lnTo>
                    <a:pt x="837819" y="107537"/>
                  </a:lnTo>
                  <a:cubicBezTo>
                    <a:pt x="837819" y="48196"/>
                    <a:pt x="893731" y="0"/>
                    <a:pt x="962787" y="0"/>
                  </a:cubicBezTo>
                  <a:cubicBezTo>
                    <a:pt x="1031843" y="0"/>
                    <a:pt x="1087660" y="48196"/>
                    <a:pt x="1087660" y="107537"/>
                  </a:cubicBezTo>
                  <a:lnTo>
                    <a:pt x="1087660" y="1922621"/>
                  </a:lnTo>
                  <a:cubicBezTo>
                    <a:pt x="1087660" y="2051399"/>
                    <a:pt x="1026795" y="2168366"/>
                    <a:pt x="928307" y="2253234"/>
                  </a:cubicBezTo>
                  <a:lnTo>
                    <a:pt x="928116" y="2253424"/>
                  </a:lnTo>
                  <a:lnTo>
                    <a:pt x="927830" y="2253710"/>
                  </a:lnTo>
                  <a:lnTo>
                    <a:pt x="927354" y="2254187"/>
                  </a:lnTo>
                  <a:cubicBezTo>
                    <a:pt x="828770" y="2338673"/>
                    <a:pt x="693134" y="2390966"/>
                    <a:pt x="543783" y="2390966"/>
                  </a:cubicBezTo>
                  <a:cubicBezTo>
                    <a:pt x="394430" y="2390966"/>
                    <a:pt x="258413" y="2338483"/>
                    <a:pt x="159734" y="2253710"/>
                  </a:cubicBezTo>
                  <a:lnTo>
                    <a:pt x="159734" y="2253424"/>
                  </a:lnTo>
                  <a:cubicBezTo>
                    <a:pt x="159734" y="2253424"/>
                    <a:pt x="159353" y="2253234"/>
                    <a:pt x="159353" y="2253234"/>
                  </a:cubicBezTo>
                  <a:lnTo>
                    <a:pt x="158877" y="2252948"/>
                  </a:lnTo>
                  <a:cubicBezTo>
                    <a:pt x="60770" y="2167985"/>
                    <a:pt x="0" y="2051304"/>
                    <a:pt x="0" y="1922621"/>
                  </a:cubicBezTo>
                  <a:lnTo>
                    <a:pt x="0" y="1922621"/>
                  </a:lnTo>
                  <a:lnTo>
                    <a:pt x="0" y="210979"/>
                  </a:lnTo>
                  <a:close/>
                </a:path>
              </a:pathLst>
            </a:custGeom>
            <a:solidFill>
              <a:srgbClr val="8FC640"/>
            </a:solidFill>
            <a:ln w="9525" cap="flat">
              <a:noFill/>
              <a:prstDash val="solid"/>
              <a:miter/>
            </a:ln>
          </p:spPr>
          <p:txBody>
            <a:bodyPr rtlCol="0" anchor="ctr"/>
            <a:lstStyle/>
            <a:p>
              <a:endParaRPr lang="pt-BR" noProof="0"/>
            </a:p>
          </p:txBody>
        </p:sp>
        <p:sp>
          <p:nvSpPr>
            <p:cNvPr id="57" name="Freeform: Shape 56">
              <a:extLst>
                <a:ext uri="{FF2B5EF4-FFF2-40B4-BE49-F238E27FC236}">
                  <a16:creationId xmlns:a16="http://schemas.microsoft.com/office/drawing/2014/main" id="{C4901FD8-0907-6FBE-A525-E500C3D572E8}"/>
                </a:ext>
              </a:extLst>
            </p:cNvPr>
            <p:cNvSpPr/>
            <p:nvPr/>
          </p:nvSpPr>
          <p:spPr>
            <a:xfrm>
              <a:off x="7013590" y="213965"/>
              <a:ext cx="54018" cy="562280"/>
            </a:xfrm>
            <a:custGeom>
              <a:avLst/>
              <a:gdLst>
                <a:gd name="connsiteX0" fmla="*/ 0 w 214883"/>
                <a:gd name="connsiteY0" fmla="*/ 107537 h 2236755"/>
                <a:gd name="connsiteX1" fmla="*/ 107537 w 214883"/>
                <a:gd name="connsiteY1" fmla="*/ 0 h 2236755"/>
                <a:gd name="connsiteX2" fmla="*/ 214884 w 214883"/>
                <a:gd name="connsiteY2" fmla="*/ 107537 h 2236755"/>
                <a:gd name="connsiteX3" fmla="*/ 214884 w 214883"/>
                <a:gd name="connsiteY3" fmla="*/ 2129219 h 2236755"/>
                <a:gd name="connsiteX4" fmla="*/ 107537 w 214883"/>
                <a:gd name="connsiteY4" fmla="*/ 2236756 h 2236755"/>
                <a:gd name="connsiteX5" fmla="*/ 0 w 214883"/>
                <a:gd name="connsiteY5" fmla="*/ 2129219 h 2236755"/>
                <a:gd name="connsiteX6" fmla="*/ 0 w 214883"/>
                <a:gd name="connsiteY6" fmla="*/ 107537 h 223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 h="2236755">
                  <a:moveTo>
                    <a:pt x="0" y="107537"/>
                  </a:moveTo>
                  <a:cubicBezTo>
                    <a:pt x="0" y="48197"/>
                    <a:pt x="48101" y="0"/>
                    <a:pt x="107537" y="0"/>
                  </a:cubicBezTo>
                  <a:cubicBezTo>
                    <a:pt x="166973" y="0"/>
                    <a:pt x="214884" y="48197"/>
                    <a:pt x="214884" y="107537"/>
                  </a:cubicBezTo>
                  <a:lnTo>
                    <a:pt x="214884" y="2129219"/>
                  </a:lnTo>
                  <a:cubicBezTo>
                    <a:pt x="214884" y="2188559"/>
                    <a:pt x="166782" y="2236756"/>
                    <a:pt x="107537" y="2236756"/>
                  </a:cubicBezTo>
                  <a:cubicBezTo>
                    <a:pt x="48291" y="2236756"/>
                    <a:pt x="0" y="2188559"/>
                    <a:pt x="0" y="2129219"/>
                  </a:cubicBezTo>
                  <a:lnTo>
                    <a:pt x="0" y="107537"/>
                  </a:lnTo>
                  <a:close/>
                </a:path>
              </a:pathLst>
            </a:custGeom>
            <a:solidFill>
              <a:srgbClr val="3698B0"/>
            </a:solidFill>
            <a:ln w="9525" cap="flat">
              <a:noFill/>
              <a:prstDash val="solid"/>
              <a:miter/>
            </a:ln>
          </p:spPr>
          <p:txBody>
            <a:bodyPr rtlCol="0" anchor="ctr"/>
            <a:lstStyle/>
            <a:p>
              <a:endParaRPr lang="pt-BR" noProof="0"/>
            </a:p>
          </p:txBody>
        </p:sp>
        <p:sp>
          <p:nvSpPr>
            <p:cNvPr id="58" name="Freeform: Shape 57">
              <a:extLst>
                <a:ext uri="{FF2B5EF4-FFF2-40B4-BE49-F238E27FC236}">
                  <a16:creationId xmlns:a16="http://schemas.microsoft.com/office/drawing/2014/main" id="{37479458-B676-078C-08CC-3366CE23E7A3}"/>
                </a:ext>
              </a:extLst>
            </p:cNvPr>
            <p:cNvSpPr/>
            <p:nvPr/>
          </p:nvSpPr>
          <p:spPr>
            <a:xfrm>
              <a:off x="6795770" y="332991"/>
              <a:ext cx="485994" cy="649437"/>
            </a:xfrm>
            <a:custGeom>
              <a:avLst/>
              <a:gdLst>
                <a:gd name="connsiteX0" fmla="*/ 1933290 w 1933289"/>
                <a:gd name="connsiteY0" fmla="*/ 138017 h 2583465"/>
                <a:gd name="connsiteX1" fmla="*/ 1933290 w 1933289"/>
                <a:gd name="connsiteY1" fmla="*/ 1734122 h 2583465"/>
                <a:gd name="connsiteX2" fmla="*/ 1796606 w 1933289"/>
                <a:gd name="connsiteY2" fmla="*/ 2229136 h 2583465"/>
                <a:gd name="connsiteX3" fmla="*/ 977742 w 1933289"/>
                <a:gd name="connsiteY3" fmla="*/ 2583466 h 2583465"/>
                <a:gd name="connsiteX4" fmla="*/ 955357 w 1933289"/>
                <a:gd name="connsiteY4" fmla="*/ 2583466 h 2583465"/>
                <a:gd name="connsiteX5" fmla="*/ 136589 w 1933289"/>
                <a:gd name="connsiteY5" fmla="*/ 2229136 h 2583465"/>
                <a:gd name="connsiteX6" fmla="*/ 0 w 1933289"/>
                <a:gd name="connsiteY6" fmla="*/ 1734122 h 2583465"/>
                <a:gd name="connsiteX7" fmla="*/ 0 w 1933289"/>
                <a:gd name="connsiteY7" fmla="*/ 794194 h 2583465"/>
                <a:gd name="connsiteX8" fmla="*/ 137827 w 1933289"/>
                <a:gd name="connsiteY8" fmla="*/ 656273 h 2583465"/>
                <a:gd name="connsiteX9" fmla="*/ 275463 w 1933289"/>
                <a:gd name="connsiteY9" fmla="*/ 794194 h 2583465"/>
                <a:gd name="connsiteX10" fmla="*/ 275463 w 1933289"/>
                <a:gd name="connsiteY10" fmla="*/ 1734122 h 2583465"/>
                <a:gd name="connsiteX11" fmla="*/ 354235 w 1933289"/>
                <a:gd name="connsiteY11" fmla="*/ 2059686 h 2583465"/>
                <a:gd name="connsiteX12" fmla="*/ 958215 w 1933289"/>
                <a:gd name="connsiteY12" fmla="*/ 2307527 h 2583465"/>
                <a:gd name="connsiteX13" fmla="*/ 974789 w 1933289"/>
                <a:gd name="connsiteY13" fmla="*/ 2307527 h 2583465"/>
                <a:gd name="connsiteX14" fmla="*/ 1578959 w 1933289"/>
                <a:gd name="connsiteY14" fmla="*/ 2059686 h 2583465"/>
                <a:gd name="connsiteX15" fmla="*/ 1657636 w 1933289"/>
                <a:gd name="connsiteY15" fmla="*/ 1734122 h 2583465"/>
                <a:gd name="connsiteX16" fmla="*/ 1657636 w 1933289"/>
                <a:gd name="connsiteY16" fmla="*/ 138017 h 2583465"/>
                <a:gd name="connsiteX17" fmla="*/ 1795463 w 1933289"/>
                <a:gd name="connsiteY17" fmla="*/ 0 h 2583465"/>
                <a:gd name="connsiteX18" fmla="*/ 1933290 w 1933289"/>
                <a:gd name="connsiteY18" fmla="*/ 138017 h 25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3289" h="2583465">
                  <a:moveTo>
                    <a:pt x="1933290" y="138017"/>
                  </a:moveTo>
                  <a:lnTo>
                    <a:pt x="1933290" y="1734122"/>
                  </a:lnTo>
                  <a:cubicBezTo>
                    <a:pt x="1933290" y="1870996"/>
                    <a:pt x="1919002" y="2071211"/>
                    <a:pt x="1796606" y="2229136"/>
                  </a:cubicBezTo>
                  <a:cubicBezTo>
                    <a:pt x="1634395" y="2438305"/>
                    <a:pt x="1432084" y="2578703"/>
                    <a:pt x="977742" y="2583466"/>
                  </a:cubicBezTo>
                  <a:lnTo>
                    <a:pt x="955357" y="2583466"/>
                  </a:lnTo>
                  <a:cubicBezTo>
                    <a:pt x="501015" y="2578703"/>
                    <a:pt x="298704" y="2438400"/>
                    <a:pt x="136589" y="2229136"/>
                  </a:cubicBezTo>
                  <a:cubicBezTo>
                    <a:pt x="14192" y="2071211"/>
                    <a:pt x="0" y="1870996"/>
                    <a:pt x="0" y="1734122"/>
                  </a:cubicBezTo>
                  <a:lnTo>
                    <a:pt x="0" y="794194"/>
                  </a:lnTo>
                  <a:cubicBezTo>
                    <a:pt x="0" y="718185"/>
                    <a:pt x="61436" y="656273"/>
                    <a:pt x="137827" y="656273"/>
                  </a:cubicBezTo>
                  <a:cubicBezTo>
                    <a:pt x="214217" y="656273"/>
                    <a:pt x="275463" y="718185"/>
                    <a:pt x="275463" y="794194"/>
                  </a:cubicBezTo>
                  <a:lnTo>
                    <a:pt x="275463" y="1734122"/>
                  </a:lnTo>
                  <a:cubicBezTo>
                    <a:pt x="275463" y="1887188"/>
                    <a:pt x="300324" y="1990630"/>
                    <a:pt x="354235" y="2059686"/>
                  </a:cubicBezTo>
                  <a:cubicBezTo>
                    <a:pt x="476250" y="2217611"/>
                    <a:pt x="609791" y="2304479"/>
                    <a:pt x="958215" y="2307527"/>
                  </a:cubicBezTo>
                  <a:lnTo>
                    <a:pt x="974789" y="2307527"/>
                  </a:lnTo>
                  <a:cubicBezTo>
                    <a:pt x="1323499" y="2304479"/>
                    <a:pt x="1456563" y="2217611"/>
                    <a:pt x="1578959" y="2059686"/>
                  </a:cubicBezTo>
                  <a:cubicBezTo>
                    <a:pt x="1632490" y="1990630"/>
                    <a:pt x="1657636" y="1887093"/>
                    <a:pt x="1657636" y="1734122"/>
                  </a:cubicBezTo>
                  <a:lnTo>
                    <a:pt x="1657636" y="138017"/>
                  </a:lnTo>
                  <a:cubicBezTo>
                    <a:pt x="1657636" y="61531"/>
                    <a:pt x="1719453" y="0"/>
                    <a:pt x="1795463" y="0"/>
                  </a:cubicBezTo>
                  <a:cubicBezTo>
                    <a:pt x="1871472" y="0"/>
                    <a:pt x="1933290" y="61531"/>
                    <a:pt x="1933290" y="138017"/>
                  </a:cubicBezTo>
                </a:path>
              </a:pathLst>
            </a:custGeom>
            <a:solidFill>
              <a:srgbClr val="49306E"/>
            </a:solidFill>
            <a:ln w="9525" cap="flat">
              <a:noFill/>
              <a:prstDash val="solid"/>
              <a:miter/>
            </a:ln>
          </p:spPr>
          <p:txBody>
            <a:bodyPr rtlCol="0" anchor="ctr"/>
            <a:lstStyle/>
            <a:p>
              <a:endParaRPr lang="pt-BR" noProof="0"/>
            </a:p>
          </p:txBody>
        </p:sp>
      </p:grpSp>
      <p:sp>
        <p:nvSpPr>
          <p:cNvPr id="5" name="Rectangle 3">
            <a:extLst>
              <a:ext uri="{FF2B5EF4-FFF2-40B4-BE49-F238E27FC236}">
                <a16:creationId xmlns:a16="http://schemas.microsoft.com/office/drawing/2014/main" id="{E06676BC-70A4-3059-E12E-E1057F821007}"/>
              </a:ext>
            </a:extLst>
          </p:cNvPr>
          <p:cNvSpPr>
            <a:spLocks noChangeArrowheads="1"/>
          </p:cNvSpPr>
          <p:nvPr/>
        </p:nvSpPr>
        <p:spPr bwMode="auto">
          <a:xfrm>
            <a:off x="428153" y="692497"/>
            <a:ext cx="264816" cy="2862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p:txBody>
      </p:sp>
      <p:sp>
        <p:nvSpPr>
          <p:cNvPr id="3" name="CaixaDeTexto 2">
            <a:extLst>
              <a:ext uri="{FF2B5EF4-FFF2-40B4-BE49-F238E27FC236}">
                <a16:creationId xmlns:a16="http://schemas.microsoft.com/office/drawing/2014/main" id="{26456706-A47A-783D-CE26-26A0D2A9C64E}"/>
              </a:ext>
            </a:extLst>
          </p:cNvPr>
          <p:cNvSpPr txBox="1"/>
          <p:nvPr/>
        </p:nvSpPr>
        <p:spPr>
          <a:xfrm>
            <a:off x="5065160" y="1318002"/>
            <a:ext cx="6339155" cy="5209696"/>
          </a:xfrm>
          <a:prstGeom prst="rect">
            <a:avLst/>
          </a:prstGeom>
          <a:noFill/>
        </p:spPr>
        <p:txBody>
          <a:bodyPr wrap="square" lIns="91440" tIns="45720" rIns="91440" bIns="45720" rtlCol="0" anchor="t">
            <a:spAutoFit/>
          </a:bodyPr>
          <a:lstStyle/>
          <a:p>
            <a:pPr>
              <a:lnSpc>
                <a:spcPct val="150000"/>
              </a:lnSpc>
            </a:pPr>
            <a:r>
              <a:rPr lang="pt-BR" sz="2000" b="1" noProof="0" dirty="0"/>
              <a:t>9º dia de internação:</a:t>
            </a:r>
          </a:p>
          <a:p>
            <a:pPr>
              <a:lnSpc>
                <a:spcPct val="150000"/>
              </a:lnSpc>
            </a:pPr>
            <a:endParaRPr lang="pt-BR" sz="2000" b="1" dirty="0"/>
          </a:p>
          <a:p>
            <a:pPr marL="342900" indent="-342900">
              <a:lnSpc>
                <a:spcPct val="150000"/>
              </a:lnSpc>
              <a:buFont typeface="Arial" panose="020B0604020202020204" pitchFamily="34" charset="0"/>
              <a:buChar char="•"/>
            </a:pPr>
            <a:r>
              <a:rPr lang="pt-BR" sz="2000" noProof="0" dirty="0"/>
              <a:t>Durante a visita multi, observado urina clara, sem grumos em </a:t>
            </a:r>
            <a:r>
              <a:rPr lang="pt-BR" sz="2000" dirty="0"/>
              <a:t>coletor do cateter </a:t>
            </a:r>
            <a:r>
              <a:rPr lang="pt-BR" sz="2000" noProof="0" dirty="0"/>
              <a:t>vesical</a:t>
            </a:r>
          </a:p>
          <a:p>
            <a:pPr marL="342900" indent="-342900">
              <a:lnSpc>
                <a:spcPct val="150000"/>
              </a:lnSpc>
              <a:buFont typeface="Arial" panose="020B0604020202020204" pitchFamily="34" charset="0"/>
              <a:buChar char="•"/>
            </a:pPr>
            <a:endParaRPr lang="pt-BR" sz="2000" dirty="0"/>
          </a:p>
          <a:p>
            <a:pPr marL="342900" indent="-342900">
              <a:lnSpc>
                <a:spcPct val="150000"/>
              </a:lnSpc>
              <a:buFont typeface="Arial" panose="020B0604020202020204" pitchFamily="34" charset="0"/>
              <a:buChar char="•"/>
            </a:pPr>
            <a:r>
              <a:rPr lang="pt-BR" sz="2000" noProof="0" dirty="0"/>
              <a:t>Equipe informa resultado de culturas: </a:t>
            </a:r>
          </a:p>
          <a:p>
            <a:pPr marL="800100" lvl="1" indent="-342900">
              <a:lnSpc>
                <a:spcPct val="150000"/>
              </a:lnSpc>
              <a:buFont typeface="Arial" panose="020B0604020202020204" pitchFamily="34" charset="0"/>
              <a:buChar char="•"/>
            </a:pPr>
            <a:r>
              <a:rPr lang="pt-BR" sz="2000" b="1" dirty="0">
                <a:solidFill>
                  <a:schemeClr val="dk1"/>
                </a:solidFill>
              </a:rPr>
              <a:t>Hemocultura: </a:t>
            </a:r>
            <a:r>
              <a:rPr lang="pt-BR" sz="2000" i="1" dirty="0" err="1">
                <a:solidFill>
                  <a:schemeClr val="dk1"/>
                </a:solidFill>
              </a:rPr>
              <a:t>Klebisiela</a:t>
            </a:r>
            <a:r>
              <a:rPr lang="pt-BR" sz="2000" i="1" dirty="0">
                <a:solidFill>
                  <a:schemeClr val="dk1"/>
                </a:solidFill>
              </a:rPr>
              <a:t>  pneumoniae </a:t>
            </a:r>
            <a:r>
              <a:rPr lang="pt-BR" sz="2000" dirty="0">
                <a:solidFill>
                  <a:schemeClr val="dk1"/>
                </a:solidFill>
              </a:rPr>
              <a:t>(</a:t>
            </a:r>
            <a:r>
              <a:rPr lang="pt-BR" sz="2000" dirty="0" err="1">
                <a:solidFill>
                  <a:schemeClr val="dk1"/>
                </a:solidFill>
              </a:rPr>
              <a:t>carba-R</a:t>
            </a:r>
            <a:r>
              <a:rPr lang="pt-BR" sz="2000" dirty="0">
                <a:solidFill>
                  <a:schemeClr val="dk1"/>
                </a:solidFill>
              </a:rPr>
              <a:t>)</a:t>
            </a:r>
            <a:endParaRPr lang="pt-BR" sz="2000" dirty="0"/>
          </a:p>
          <a:p>
            <a:pPr marL="800100" lvl="1" indent="-342900">
              <a:lnSpc>
                <a:spcPct val="150000"/>
              </a:lnSpc>
              <a:buFont typeface="Arial" panose="020B0604020202020204" pitchFamily="34" charset="0"/>
              <a:buChar char="•"/>
            </a:pPr>
            <a:r>
              <a:rPr lang="pt-BR" sz="2000" b="1" dirty="0">
                <a:solidFill>
                  <a:schemeClr val="dk1"/>
                </a:solidFill>
              </a:rPr>
              <a:t>Urocultura:</a:t>
            </a:r>
            <a:r>
              <a:rPr lang="pt-BR" sz="2000" dirty="0">
                <a:solidFill>
                  <a:schemeClr val="dk1"/>
                </a:solidFill>
              </a:rPr>
              <a:t> </a:t>
            </a:r>
            <a:r>
              <a:rPr lang="pt-BR" sz="2000" i="1" dirty="0" err="1">
                <a:solidFill>
                  <a:schemeClr val="dk1"/>
                </a:solidFill>
              </a:rPr>
              <a:t>Candida</a:t>
            </a:r>
            <a:r>
              <a:rPr lang="pt-BR" sz="2000" i="1" dirty="0">
                <a:solidFill>
                  <a:schemeClr val="dk1"/>
                </a:solidFill>
              </a:rPr>
              <a:t> albicans</a:t>
            </a:r>
            <a:r>
              <a:rPr lang="pt-BR" sz="2000" dirty="0">
                <a:solidFill>
                  <a:schemeClr val="dk1"/>
                </a:solidFill>
              </a:rPr>
              <a:t> (&gt; 10</a:t>
            </a:r>
            <a:r>
              <a:rPr lang="pt-BR" sz="2000" baseline="30000" dirty="0">
                <a:solidFill>
                  <a:schemeClr val="dk1"/>
                </a:solidFill>
              </a:rPr>
              <a:t>5</a:t>
            </a:r>
            <a:r>
              <a:rPr lang="pt-BR" sz="2000" dirty="0">
                <a:solidFill>
                  <a:schemeClr val="dk1"/>
                </a:solidFill>
              </a:rPr>
              <a:t> UFC/mL)</a:t>
            </a:r>
          </a:p>
          <a:p>
            <a:pPr marL="800100" lvl="1" indent="-342900">
              <a:lnSpc>
                <a:spcPct val="150000"/>
              </a:lnSpc>
              <a:buFont typeface="Arial" panose="020B0604020202020204" pitchFamily="34" charset="0"/>
              <a:buChar char="•"/>
            </a:pPr>
            <a:r>
              <a:rPr lang="pt-BR" sz="2000" b="1" dirty="0">
                <a:solidFill>
                  <a:schemeClr val="dk1"/>
                </a:solidFill>
              </a:rPr>
              <a:t>Cultura de Aspirado Traqueal:</a:t>
            </a:r>
            <a:r>
              <a:rPr lang="pt-BR" sz="2000" dirty="0">
                <a:solidFill>
                  <a:schemeClr val="dk1"/>
                </a:solidFill>
              </a:rPr>
              <a:t> negativa</a:t>
            </a:r>
          </a:p>
          <a:p>
            <a:pPr>
              <a:lnSpc>
                <a:spcPct val="150000"/>
              </a:lnSpc>
            </a:pPr>
            <a:endParaRPr lang="pt-BR" sz="2000" noProof="0" dirty="0"/>
          </a:p>
          <a:p>
            <a:pPr>
              <a:lnSpc>
                <a:spcPct val="150000"/>
              </a:lnSpc>
            </a:pPr>
            <a:endParaRPr lang="pt-BR" sz="2400" noProof="0" dirty="0"/>
          </a:p>
        </p:txBody>
      </p:sp>
      <p:sp>
        <p:nvSpPr>
          <p:cNvPr id="7" name="Seta: para Baixo 6">
            <a:extLst>
              <a:ext uri="{FF2B5EF4-FFF2-40B4-BE49-F238E27FC236}">
                <a16:creationId xmlns:a16="http://schemas.microsoft.com/office/drawing/2014/main" id="{526D5921-C7D0-1359-11B7-FF0DFBCB3973}"/>
              </a:ext>
            </a:extLst>
          </p:cNvPr>
          <p:cNvSpPr/>
          <p:nvPr/>
        </p:nvSpPr>
        <p:spPr>
          <a:xfrm rot="16200000">
            <a:off x="11301257" y="6120506"/>
            <a:ext cx="457200" cy="542417"/>
          </a:xfrm>
          <a:prstGeom prst="downArrow">
            <a:avLst/>
          </a:prstGeom>
          <a:solidFill>
            <a:srgbClr val="D9D9D9"/>
          </a:solidFill>
          <a:ln w="19050">
            <a:solidFill>
              <a:srgbClr val="7F3D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lgn="just">
              <a:buFont typeface="Arial" panose="020B0604020202020204" pitchFamily="34" charset="0"/>
              <a:buChar char="•"/>
            </a:pPr>
            <a:endParaRPr lang="pt-BR" sz="1800" noProof="0"/>
          </a:p>
        </p:txBody>
      </p:sp>
      <p:pic>
        <p:nvPicPr>
          <p:cNvPr id="2" name="Picture 2" descr="Vetores de Ilustração Em Vetor De Uma Pessoa Abrindo Um ...">
            <a:extLst>
              <a:ext uri="{FF2B5EF4-FFF2-40B4-BE49-F238E27FC236}">
                <a16:creationId xmlns:a16="http://schemas.microsoft.com/office/drawing/2014/main" id="{36DED92D-64AF-A67B-ED95-1BA555AF1A4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8153" y="1443134"/>
            <a:ext cx="4295189" cy="3717474"/>
          </a:xfrm>
          <a:prstGeom prst="rect">
            <a:avLst/>
          </a:prstGeom>
          <a:noFill/>
          <a:extLst>
            <a:ext uri="{909E8E84-426E-40DD-AFC4-6F175D3DCCD1}">
              <a14:hiddenFill xmlns:a14="http://schemas.microsoft.com/office/drawing/2010/main">
                <a:solidFill>
                  <a:srgbClr val="FFFFFF"/>
                </a:solidFill>
              </a14:hiddenFill>
            </a:ext>
          </a:extLst>
        </p:spPr>
      </p:pic>
      <p:sp>
        <p:nvSpPr>
          <p:cNvPr id="4" name="CaixaDeTexto 3">
            <a:extLst>
              <a:ext uri="{FF2B5EF4-FFF2-40B4-BE49-F238E27FC236}">
                <a16:creationId xmlns:a16="http://schemas.microsoft.com/office/drawing/2014/main" id="{7816446F-4EFB-519C-7A3F-4051B5EB3EEA}"/>
              </a:ext>
            </a:extLst>
          </p:cNvPr>
          <p:cNvSpPr txBox="1"/>
          <p:nvPr/>
        </p:nvSpPr>
        <p:spPr>
          <a:xfrm>
            <a:off x="1704889" y="2760656"/>
            <a:ext cx="1741715" cy="461665"/>
          </a:xfrm>
          <a:prstGeom prst="rect">
            <a:avLst/>
          </a:prstGeom>
          <a:noFill/>
        </p:spPr>
        <p:txBody>
          <a:bodyPr wrap="square" rtlCol="0">
            <a:spAutoFit/>
          </a:bodyPr>
          <a:lstStyle/>
          <a:p>
            <a:r>
              <a:rPr lang="pt-BR" sz="2400" b="1" noProof="0"/>
              <a:t>Envelope 3</a:t>
            </a:r>
          </a:p>
        </p:txBody>
      </p:sp>
    </p:spTree>
    <p:extLst>
      <p:ext uri="{BB962C8B-B14F-4D97-AF65-F5344CB8AC3E}">
        <p14:creationId xmlns:p14="http://schemas.microsoft.com/office/powerpoint/2010/main" val="5918694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4EB4DE-54E5-19C8-BE99-01C5E909A5BD}"/>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04AB520B-B79F-A8E5-5919-51419AF2FE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8" progId="TCLayout.ActiveDocument.1">
                  <p:embed/>
                </p:oleObj>
              </mc:Choice>
              <mc:Fallback>
                <p:oleObj name="think-cell Slide" r:id="rId4" imgW="306" imgH="308" progId="TCLayout.ActiveDocument.1">
                  <p:embed/>
                  <p:pic>
                    <p:nvPicPr>
                      <p:cNvPr id="12" name="think-cell data - do not delete" hidden="1">
                        <a:extLst>
                          <a:ext uri="{FF2B5EF4-FFF2-40B4-BE49-F238E27FC236}">
                            <a16:creationId xmlns:a16="http://schemas.microsoft.com/office/drawing/2014/main" id="{04AB520B-B79F-A8E5-5919-51419AF2FE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3" name="Group 12">
            <a:extLst>
              <a:ext uri="{FF2B5EF4-FFF2-40B4-BE49-F238E27FC236}">
                <a16:creationId xmlns:a16="http://schemas.microsoft.com/office/drawing/2014/main" id="{A6383451-A5F0-BE47-05F6-21B79B52C294}"/>
              </a:ext>
            </a:extLst>
          </p:cNvPr>
          <p:cNvGrpSpPr/>
          <p:nvPr/>
        </p:nvGrpSpPr>
        <p:grpSpPr>
          <a:xfrm>
            <a:off x="304800" y="249455"/>
            <a:ext cx="1193800" cy="462985"/>
            <a:chOff x="5245100" y="211355"/>
            <a:chExt cx="2036664" cy="789869"/>
          </a:xfrm>
        </p:grpSpPr>
        <p:sp>
          <p:nvSpPr>
            <p:cNvPr id="14" name="Freeform: Shape 13">
              <a:extLst>
                <a:ext uri="{FF2B5EF4-FFF2-40B4-BE49-F238E27FC236}">
                  <a16:creationId xmlns:a16="http://schemas.microsoft.com/office/drawing/2014/main" id="{51041EAB-E474-71EB-B4C3-DE9E9796BB51}"/>
                </a:ext>
              </a:extLst>
            </p:cNvPr>
            <p:cNvSpPr/>
            <p:nvPr/>
          </p:nvSpPr>
          <p:spPr>
            <a:xfrm>
              <a:off x="5245100" y="308520"/>
              <a:ext cx="247894" cy="322815"/>
            </a:xfrm>
            <a:custGeom>
              <a:avLst/>
              <a:gdLst>
                <a:gd name="connsiteX0" fmla="*/ 529590 w 986123"/>
                <a:gd name="connsiteY0" fmla="*/ 1284160 h 1284160"/>
                <a:gd name="connsiteX1" fmla="*/ 249650 w 986123"/>
                <a:gd name="connsiteY1" fmla="*/ 1235107 h 1284160"/>
                <a:gd name="connsiteX2" fmla="*/ 0 w 986123"/>
                <a:gd name="connsiteY2" fmla="*/ 1084421 h 1284160"/>
                <a:gd name="connsiteX3" fmla="*/ 162306 w 986123"/>
                <a:gd name="connsiteY3" fmla="*/ 890016 h 1284160"/>
                <a:gd name="connsiteX4" fmla="*/ 337947 w 986123"/>
                <a:gd name="connsiteY4" fmla="*/ 1000601 h 1284160"/>
                <a:gd name="connsiteX5" fmla="*/ 535019 w 986123"/>
                <a:gd name="connsiteY5" fmla="*/ 1041654 h 1284160"/>
                <a:gd name="connsiteX6" fmla="*/ 667893 w 986123"/>
                <a:gd name="connsiteY6" fmla="*/ 1010412 h 1284160"/>
                <a:gd name="connsiteX7" fmla="*/ 715137 w 986123"/>
                <a:gd name="connsiteY7" fmla="*/ 923925 h 1284160"/>
                <a:gd name="connsiteX8" fmla="*/ 715137 w 986123"/>
                <a:gd name="connsiteY8" fmla="*/ 920305 h 1284160"/>
                <a:gd name="connsiteX9" fmla="*/ 705326 w 986123"/>
                <a:gd name="connsiteY9" fmla="*/ 873062 h 1284160"/>
                <a:gd name="connsiteX10" fmla="*/ 667798 w 986123"/>
                <a:gd name="connsiteY10" fmla="*/ 834676 h 1284160"/>
                <a:gd name="connsiteX11" fmla="*/ 590931 w 986123"/>
                <a:gd name="connsiteY11" fmla="*/ 798957 h 1284160"/>
                <a:gd name="connsiteX12" fmla="*/ 463106 w 986123"/>
                <a:gd name="connsiteY12" fmla="*/ 761524 h 1284160"/>
                <a:gd name="connsiteX13" fmla="*/ 291465 w 986123"/>
                <a:gd name="connsiteY13" fmla="*/ 709803 h 1284160"/>
                <a:gd name="connsiteX14" fmla="*/ 160973 w 986123"/>
                <a:gd name="connsiteY14" fmla="*/ 639318 h 1284160"/>
                <a:gd name="connsiteX15" fmla="*/ 77819 w 986123"/>
                <a:gd name="connsiteY15" fmla="*/ 535019 h 1284160"/>
                <a:gd name="connsiteX16" fmla="*/ 48292 w 986123"/>
                <a:gd name="connsiteY16" fmla="*/ 379857 h 1284160"/>
                <a:gd name="connsiteX17" fmla="*/ 48292 w 986123"/>
                <a:gd name="connsiteY17" fmla="*/ 376238 h 1284160"/>
                <a:gd name="connsiteX18" fmla="*/ 80201 w 986123"/>
                <a:gd name="connsiteY18" fmla="*/ 222028 h 1284160"/>
                <a:gd name="connsiteX19" fmla="*/ 169640 w 986123"/>
                <a:gd name="connsiteY19" fmla="*/ 103441 h 1284160"/>
                <a:gd name="connsiteX20" fmla="*/ 307181 w 986123"/>
                <a:gd name="connsiteY20" fmla="*/ 26765 h 1284160"/>
                <a:gd name="connsiteX21" fmla="*/ 483394 w 986123"/>
                <a:gd name="connsiteY21" fmla="*/ 0 h 1284160"/>
                <a:gd name="connsiteX22" fmla="*/ 735711 w 986123"/>
                <a:gd name="connsiteY22" fmla="*/ 41053 h 1284160"/>
                <a:gd name="connsiteX23" fmla="*/ 946976 w 986123"/>
                <a:gd name="connsiteY23" fmla="*/ 158687 h 1284160"/>
                <a:gd name="connsiteX24" fmla="*/ 804291 w 986123"/>
                <a:gd name="connsiteY24" fmla="*/ 365569 h 1284160"/>
                <a:gd name="connsiteX25" fmla="*/ 640271 w 986123"/>
                <a:gd name="connsiteY25" fmla="*/ 275558 h 1284160"/>
                <a:gd name="connsiteX26" fmla="*/ 479774 w 986123"/>
                <a:gd name="connsiteY26" fmla="*/ 242602 h 1284160"/>
                <a:gd name="connsiteX27" fmla="*/ 359378 w 986123"/>
                <a:gd name="connsiteY27" fmla="*/ 273844 h 1284160"/>
                <a:gd name="connsiteX28" fmla="*/ 319278 w 986123"/>
                <a:gd name="connsiteY28" fmla="*/ 351377 h 1284160"/>
                <a:gd name="connsiteX29" fmla="*/ 319278 w 986123"/>
                <a:gd name="connsiteY29" fmla="*/ 354997 h 1284160"/>
                <a:gd name="connsiteX30" fmla="*/ 330899 w 986123"/>
                <a:gd name="connsiteY30" fmla="*/ 407575 h 1284160"/>
                <a:gd name="connsiteX31" fmla="*/ 372904 w 986123"/>
                <a:gd name="connsiteY31" fmla="*/ 447675 h 1284160"/>
                <a:gd name="connsiteX32" fmla="*/ 456057 w 986123"/>
                <a:gd name="connsiteY32" fmla="*/ 481489 h 1284160"/>
                <a:gd name="connsiteX33" fmla="*/ 589217 w 986123"/>
                <a:gd name="connsiteY33" fmla="*/ 518922 h 1284160"/>
                <a:gd name="connsiteX34" fmla="*/ 758190 w 986123"/>
                <a:gd name="connsiteY34" fmla="*/ 575120 h 1284160"/>
                <a:gd name="connsiteX35" fmla="*/ 883349 w 986123"/>
                <a:gd name="connsiteY35" fmla="*/ 649986 h 1284160"/>
                <a:gd name="connsiteX36" fmla="*/ 960215 w 986123"/>
                <a:gd name="connsiteY36" fmla="*/ 752570 h 1284160"/>
                <a:gd name="connsiteX37" fmla="*/ 986123 w 986123"/>
                <a:gd name="connsiteY37" fmla="*/ 893445 h 1284160"/>
                <a:gd name="connsiteX38" fmla="*/ 986123 w 986123"/>
                <a:gd name="connsiteY38" fmla="*/ 897064 h 1284160"/>
                <a:gd name="connsiteX39" fmla="*/ 952500 w 986123"/>
                <a:gd name="connsiteY39" fmla="*/ 1062038 h 1284160"/>
                <a:gd name="connsiteX40" fmla="*/ 858584 w 986123"/>
                <a:gd name="connsiteY40" fmla="*/ 1183291 h 1284160"/>
                <a:gd name="connsiteX41" fmla="*/ 714851 w 986123"/>
                <a:gd name="connsiteY41" fmla="*/ 1258157 h 1284160"/>
                <a:gd name="connsiteX42" fmla="*/ 529685 w 986123"/>
                <a:gd name="connsiteY42" fmla="*/ 1284065 h 128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6123" h="1284160">
                  <a:moveTo>
                    <a:pt x="529590" y="1284160"/>
                  </a:moveTo>
                  <a:cubicBezTo>
                    <a:pt x="434435" y="1284160"/>
                    <a:pt x="341186" y="1267777"/>
                    <a:pt x="249650" y="1235107"/>
                  </a:cubicBezTo>
                  <a:cubicBezTo>
                    <a:pt x="158115" y="1202436"/>
                    <a:pt x="74867" y="1152239"/>
                    <a:pt x="0" y="1084421"/>
                  </a:cubicBezTo>
                  <a:lnTo>
                    <a:pt x="162306" y="890016"/>
                  </a:lnTo>
                  <a:cubicBezTo>
                    <a:pt x="219361" y="936403"/>
                    <a:pt x="277844" y="973264"/>
                    <a:pt x="337947" y="1000601"/>
                  </a:cubicBezTo>
                  <a:cubicBezTo>
                    <a:pt x="397955" y="1027938"/>
                    <a:pt x="463677" y="1041654"/>
                    <a:pt x="535019" y="1041654"/>
                  </a:cubicBezTo>
                  <a:cubicBezTo>
                    <a:pt x="592074" y="1041654"/>
                    <a:pt x="636365" y="1031272"/>
                    <a:pt x="667893" y="1010412"/>
                  </a:cubicBezTo>
                  <a:cubicBezTo>
                    <a:pt x="699421" y="989647"/>
                    <a:pt x="715137" y="960787"/>
                    <a:pt x="715137" y="923925"/>
                  </a:cubicBezTo>
                  <a:lnTo>
                    <a:pt x="715137" y="920305"/>
                  </a:lnTo>
                  <a:cubicBezTo>
                    <a:pt x="715137" y="902494"/>
                    <a:pt x="711803" y="886777"/>
                    <a:pt x="705326" y="873062"/>
                  </a:cubicBezTo>
                  <a:cubicBezTo>
                    <a:pt x="698754" y="859441"/>
                    <a:pt x="686276" y="846582"/>
                    <a:pt x="667798" y="834676"/>
                  </a:cubicBezTo>
                  <a:cubicBezTo>
                    <a:pt x="649319" y="822770"/>
                    <a:pt x="623697" y="810863"/>
                    <a:pt x="590931" y="798957"/>
                  </a:cubicBezTo>
                  <a:cubicBezTo>
                    <a:pt x="558165" y="787146"/>
                    <a:pt x="515493" y="774573"/>
                    <a:pt x="463106" y="761524"/>
                  </a:cubicBezTo>
                  <a:cubicBezTo>
                    <a:pt x="399955" y="746093"/>
                    <a:pt x="342710" y="728853"/>
                    <a:pt x="291465" y="709803"/>
                  </a:cubicBezTo>
                  <a:cubicBezTo>
                    <a:pt x="240221" y="690753"/>
                    <a:pt x="196691" y="667322"/>
                    <a:pt x="160973" y="639318"/>
                  </a:cubicBezTo>
                  <a:cubicBezTo>
                    <a:pt x="125159" y="611410"/>
                    <a:pt x="97536" y="576644"/>
                    <a:pt x="77819" y="535019"/>
                  </a:cubicBezTo>
                  <a:cubicBezTo>
                    <a:pt x="58103" y="493395"/>
                    <a:pt x="48292" y="441674"/>
                    <a:pt x="48292" y="379857"/>
                  </a:cubicBezTo>
                  <a:lnTo>
                    <a:pt x="48292" y="376238"/>
                  </a:lnTo>
                  <a:cubicBezTo>
                    <a:pt x="48292" y="319183"/>
                    <a:pt x="58865" y="267748"/>
                    <a:pt x="80201" y="222028"/>
                  </a:cubicBezTo>
                  <a:cubicBezTo>
                    <a:pt x="101441" y="176308"/>
                    <a:pt x="131255" y="136779"/>
                    <a:pt x="169640" y="103441"/>
                  </a:cubicBezTo>
                  <a:cubicBezTo>
                    <a:pt x="208026" y="70199"/>
                    <a:pt x="253841" y="44577"/>
                    <a:pt x="307181" y="26765"/>
                  </a:cubicBezTo>
                  <a:cubicBezTo>
                    <a:pt x="360426" y="8953"/>
                    <a:pt x="419195" y="0"/>
                    <a:pt x="483394" y="0"/>
                  </a:cubicBezTo>
                  <a:cubicBezTo>
                    <a:pt x="574929" y="0"/>
                    <a:pt x="659035" y="13716"/>
                    <a:pt x="735711" y="41053"/>
                  </a:cubicBezTo>
                  <a:cubicBezTo>
                    <a:pt x="812387" y="68389"/>
                    <a:pt x="882777" y="107632"/>
                    <a:pt x="946976" y="158687"/>
                  </a:cubicBezTo>
                  <a:lnTo>
                    <a:pt x="804291" y="365569"/>
                  </a:lnTo>
                  <a:cubicBezTo>
                    <a:pt x="748379" y="327565"/>
                    <a:pt x="693706" y="297561"/>
                    <a:pt x="640271" y="275558"/>
                  </a:cubicBezTo>
                  <a:cubicBezTo>
                    <a:pt x="586740" y="253555"/>
                    <a:pt x="533305" y="242602"/>
                    <a:pt x="479774" y="242602"/>
                  </a:cubicBezTo>
                  <a:cubicBezTo>
                    <a:pt x="426244" y="242602"/>
                    <a:pt x="386144" y="252984"/>
                    <a:pt x="359378" y="273844"/>
                  </a:cubicBezTo>
                  <a:cubicBezTo>
                    <a:pt x="332613" y="294608"/>
                    <a:pt x="319278" y="320516"/>
                    <a:pt x="319278" y="351377"/>
                  </a:cubicBezTo>
                  <a:lnTo>
                    <a:pt x="319278" y="354997"/>
                  </a:lnTo>
                  <a:cubicBezTo>
                    <a:pt x="319278" y="375190"/>
                    <a:pt x="323183" y="392716"/>
                    <a:pt x="330899" y="407575"/>
                  </a:cubicBezTo>
                  <a:cubicBezTo>
                    <a:pt x="338614" y="422434"/>
                    <a:pt x="352616" y="435864"/>
                    <a:pt x="372904" y="447675"/>
                  </a:cubicBezTo>
                  <a:cubicBezTo>
                    <a:pt x="393192" y="459581"/>
                    <a:pt x="420910" y="470821"/>
                    <a:pt x="456057" y="481489"/>
                  </a:cubicBezTo>
                  <a:cubicBezTo>
                    <a:pt x="491204" y="492157"/>
                    <a:pt x="535591" y="504730"/>
                    <a:pt x="589217" y="518922"/>
                  </a:cubicBezTo>
                  <a:cubicBezTo>
                    <a:pt x="652367" y="535591"/>
                    <a:pt x="708660" y="554260"/>
                    <a:pt x="758190" y="575120"/>
                  </a:cubicBezTo>
                  <a:cubicBezTo>
                    <a:pt x="807625" y="595979"/>
                    <a:pt x="849344" y="620935"/>
                    <a:pt x="883349" y="649986"/>
                  </a:cubicBezTo>
                  <a:cubicBezTo>
                    <a:pt x="917353" y="679132"/>
                    <a:pt x="942975" y="713327"/>
                    <a:pt x="960215" y="752570"/>
                  </a:cubicBezTo>
                  <a:cubicBezTo>
                    <a:pt x="977456" y="791813"/>
                    <a:pt x="986123" y="838772"/>
                    <a:pt x="986123" y="893445"/>
                  </a:cubicBezTo>
                  <a:lnTo>
                    <a:pt x="986123" y="897064"/>
                  </a:lnTo>
                  <a:cubicBezTo>
                    <a:pt x="986123" y="958882"/>
                    <a:pt x="974884" y="1013841"/>
                    <a:pt x="952500" y="1062038"/>
                  </a:cubicBezTo>
                  <a:cubicBezTo>
                    <a:pt x="930021" y="1110139"/>
                    <a:pt x="898779" y="1150620"/>
                    <a:pt x="858584" y="1183291"/>
                  </a:cubicBezTo>
                  <a:cubicBezTo>
                    <a:pt x="818388" y="1216057"/>
                    <a:pt x="770477" y="1241012"/>
                    <a:pt x="714851" y="1258157"/>
                  </a:cubicBezTo>
                  <a:cubicBezTo>
                    <a:pt x="659130" y="1275398"/>
                    <a:pt x="597503" y="1284065"/>
                    <a:pt x="529685" y="1284065"/>
                  </a:cubicBezTo>
                  <a:close/>
                </a:path>
              </a:pathLst>
            </a:custGeom>
            <a:solidFill>
              <a:srgbClr val="44505E"/>
            </a:solidFill>
            <a:ln w="9525" cap="flat">
              <a:noFill/>
              <a:prstDash val="solid"/>
              <a:miter/>
            </a:ln>
          </p:spPr>
          <p:txBody>
            <a:bodyPr rtlCol="0" anchor="ctr"/>
            <a:lstStyle/>
            <a:p>
              <a:endParaRPr lang="pt-BR" noProof="0"/>
            </a:p>
          </p:txBody>
        </p:sp>
        <p:sp>
          <p:nvSpPr>
            <p:cNvPr id="17" name="Freeform: Shape 16">
              <a:extLst>
                <a:ext uri="{FF2B5EF4-FFF2-40B4-BE49-F238E27FC236}">
                  <a16:creationId xmlns:a16="http://schemas.microsoft.com/office/drawing/2014/main" id="{9555D73F-8350-8DD9-93E6-8BA903CDBB0A}"/>
                </a:ext>
              </a:extLst>
            </p:cNvPr>
            <p:cNvSpPr/>
            <p:nvPr/>
          </p:nvSpPr>
          <p:spPr>
            <a:xfrm>
              <a:off x="5492084" y="310867"/>
              <a:ext cx="332584" cy="315991"/>
            </a:xfrm>
            <a:custGeom>
              <a:avLst/>
              <a:gdLst>
                <a:gd name="connsiteX0" fmla="*/ 534924 w 1323022"/>
                <a:gd name="connsiteY0" fmla="*/ 0 h 1257014"/>
                <a:gd name="connsiteX1" fmla="*/ 788099 w 1323022"/>
                <a:gd name="connsiteY1" fmla="*/ 0 h 1257014"/>
                <a:gd name="connsiteX2" fmla="*/ 1323023 w 1323022"/>
                <a:gd name="connsiteY2" fmla="*/ 1257014 h 1257014"/>
                <a:gd name="connsiteX3" fmla="*/ 1035939 w 1323022"/>
                <a:gd name="connsiteY3" fmla="*/ 1257014 h 1257014"/>
                <a:gd name="connsiteX4" fmla="*/ 921829 w 1323022"/>
                <a:gd name="connsiteY4" fmla="*/ 977075 h 1257014"/>
                <a:gd name="connsiteX5" fmla="*/ 394049 w 1323022"/>
                <a:gd name="connsiteY5" fmla="*/ 977075 h 1257014"/>
                <a:gd name="connsiteX6" fmla="*/ 279940 w 1323022"/>
                <a:gd name="connsiteY6" fmla="*/ 1257014 h 1257014"/>
                <a:gd name="connsiteX7" fmla="*/ 0 w 1323022"/>
                <a:gd name="connsiteY7" fmla="*/ 1257014 h 1257014"/>
                <a:gd name="connsiteX8" fmla="*/ 534924 w 1323022"/>
                <a:gd name="connsiteY8" fmla="*/ 0 h 1257014"/>
                <a:gd name="connsiteX9" fmla="*/ 823817 w 1323022"/>
                <a:gd name="connsiteY9" fmla="*/ 734568 h 1257014"/>
                <a:gd name="connsiteX10" fmla="*/ 657987 w 1323022"/>
                <a:gd name="connsiteY10" fmla="*/ 329851 h 1257014"/>
                <a:gd name="connsiteX11" fmla="*/ 492157 w 1323022"/>
                <a:gd name="connsiteY11" fmla="*/ 734568 h 1257014"/>
                <a:gd name="connsiteX12" fmla="*/ 823817 w 1323022"/>
                <a:gd name="connsiteY12" fmla="*/ 734568 h 125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022" h="1257014">
                  <a:moveTo>
                    <a:pt x="534924" y="0"/>
                  </a:moveTo>
                  <a:lnTo>
                    <a:pt x="788099" y="0"/>
                  </a:lnTo>
                  <a:lnTo>
                    <a:pt x="1323023" y="1257014"/>
                  </a:lnTo>
                  <a:lnTo>
                    <a:pt x="1035939" y="1257014"/>
                  </a:lnTo>
                  <a:lnTo>
                    <a:pt x="921829" y="977075"/>
                  </a:lnTo>
                  <a:lnTo>
                    <a:pt x="394049" y="977075"/>
                  </a:lnTo>
                  <a:lnTo>
                    <a:pt x="279940" y="1257014"/>
                  </a:lnTo>
                  <a:lnTo>
                    <a:pt x="0" y="1257014"/>
                  </a:lnTo>
                  <a:lnTo>
                    <a:pt x="534924" y="0"/>
                  </a:lnTo>
                  <a:close/>
                  <a:moveTo>
                    <a:pt x="823817" y="734568"/>
                  </a:moveTo>
                  <a:lnTo>
                    <a:pt x="657987" y="329851"/>
                  </a:lnTo>
                  <a:lnTo>
                    <a:pt x="492157" y="734568"/>
                  </a:lnTo>
                  <a:lnTo>
                    <a:pt x="823817" y="734568"/>
                  </a:lnTo>
                  <a:close/>
                </a:path>
              </a:pathLst>
            </a:custGeom>
            <a:solidFill>
              <a:srgbClr val="44505E"/>
            </a:solidFill>
            <a:ln w="9525" cap="flat">
              <a:noFill/>
              <a:prstDash val="solid"/>
              <a:miter/>
            </a:ln>
          </p:spPr>
          <p:txBody>
            <a:bodyPr rtlCol="0" anchor="ctr"/>
            <a:lstStyle/>
            <a:p>
              <a:endParaRPr lang="pt-BR" noProof="0"/>
            </a:p>
          </p:txBody>
        </p:sp>
        <p:sp>
          <p:nvSpPr>
            <p:cNvPr id="18" name="Freeform: Shape 17">
              <a:extLst>
                <a:ext uri="{FF2B5EF4-FFF2-40B4-BE49-F238E27FC236}">
                  <a16:creationId xmlns:a16="http://schemas.microsoft.com/office/drawing/2014/main" id="{AA344983-50AC-6F45-0953-F8C82942790F}"/>
                </a:ext>
              </a:extLst>
            </p:cNvPr>
            <p:cNvSpPr/>
            <p:nvPr/>
          </p:nvSpPr>
          <p:spPr>
            <a:xfrm>
              <a:off x="5834078" y="211355"/>
              <a:ext cx="273442" cy="420435"/>
            </a:xfrm>
            <a:custGeom>
              <a:avLst/>
              <a:gdLst>
                <a:gd name="connsiteX0" fmla="*/ 540258 w 1087754"/>
                <a:gd name="connsiteY0" fmla="*/ 1672495 h 1672494"/>
                <a:gd name="connsiteX1" fmla="*/ 144399 w 1087754"/>
                <a:gd name="connsiteY1" fmla="*/ 1533430 h 1672494"/>
                <a:gd name="connsiteX2" fmla="*/ 0 w 1087754"/>
                <a:gd name="connsiteY2" fmla="*/ 1117949 h 1672494"/>
                <a:gd name="connsiteX3" fmla="*/ 0 w 1087754"/>
                <a:gd name="connsiteY3" fmla="*/ 404717 h 1672494"/>
                <a:gd name="connsiteX4" fmla="*/ 274606 w 1087754"/>
                <a:gd name="connsiteY4" fmla="*/ 404717 h 1672494"/>
                <a:gd name="connsiteX5" fmla="*/ 274606 w 1087754"/>
                <a:gd name="connsiteY5" fmla="*/ 1110806 h 1672494"/>
                <a:gd name="connsiteX6" fmla="*/ 345948 w 1087754"/>
                <a:gd name="connsiteY6" fmla="*/ 1341692 h 1672494"/>
                <a:gd name="connsiteX7" fmla="*/ 543877 w 1087754"/>
                <a:gd name="connsiteY7" fmla="*/ 1419225 h 1672494"/>
                <a:gd name="connsiteX8" fmla="*/ 741807 w 1087754"/>
                <a:gd name="connsiteY8" fmla="*/ 1344359 h 1672494"/>
                <a:gd name="connsiteX9" fmla="*/ 813149 w 1087754"/>
                <a:gd name="connsiteY9" fmla="*/ 1119664 h 1672494"/>
                <a:gd name="connsiteX10" fmla="*/ 813149 w 1087754"/>
                <a:gd name="connsiteY10" fmla="*/ 404717 h 1672494"/>
                <a:gd name="connsiteX11" fmla="*/ 1087755 w 1087754"/>
                <a:gd name="connsiteY11" fmla="*/ 404717 h 1672494"/>
                <a:gd name="connsiteX12" fmla="*/ 1087755 w 1087754"/>
                <a:gd name="connsiteY12" fmla="*/ 1108996 h 1672494"/>
                <a:gd name="connsiteX13" fmla="*/ 1049369 w 1087754"/>
                <a:gd name="connsiteY13" fmla="*/ 1356836 h 1672494"/>
                <a:gd name="connsiteX14" fmla="*/ 939737 w 1087754"/>
                <a:gd name="connsiteY14" fmla="*/ 1532477 h 1672494"/>
                <a:gd name="connsiteX15" fmla="*/ 766763 w 1087754"/>
                <a:gd name="connsiteY15" fmla="*/ 1637729 h 1672494"/>
                <a:gd name="connsiteX16" fmla="*/ 540353 w 1087754"/>
                <a:gd name="connsiteY16" fmla="*/ 1672495 h 1672494"/>
                <a:gd name="connsiteX17" fmla="*/ 622268 w 1087754"/>
                <a:gd name="connsiteY17" fmla="*/ 0 h 1672494"/>
                <a:gd name="connsiteX18" fmla="*/ 855821 w 1087754"/>
                <a:gd name="connsiteY18" fmla="*/ 101632 h 1672494"/>
                <a:gd name="connsiteX19" fmla="*/ 627602 w 1087754"/>
                <a:gd name="connsiteY19" fmla="*/ 315563 h 1672494"/>
                <a:gd name="connsiteX20" fmla="*/ 420719 w 1087754"/>
                <a:gd name="connsiteY20" fmla="*/ 315563 h 1672494"/>
                <a:gd name="connsiteX21" fmla="*/ 622268 w 1087754"/>
                <a:gd name="connsiteY21" fmla="*/ 0 h 16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754" h="1672494">
                  <a:moveTo>
                    <a:pt x="540258" y="1672495"/>
                  </a:moveTo>
                  <a:cubicBezTo>
                    <a:pt x="372618" y="1672495"/>
                    <a:pt x="240697" y="1626108"/>
                    <a:pt x="144399" y="1533430"/>
                  </a:cubicBezTo>
                  <a:cubicBezTo>
                    <a:pt x="48101" y="1440752"/>
                    <a:pt x="0" y="1302258"/>
                    <a:pt x="0" y="1117949"/>
                  </a:cubicBezTo>
                  <a:lnTo>
                    <a:pt x="0" y="404717"/>
                  </a:lnTo>
                  <a:lnTo>
                    <a:pt x="274606" y="404717"/>
                  </a:lnTo>
                  <a:lnTo>
                    <a:pt x="274606" y="1110806"/>
                  </a:lnTo>
                  <a:cubicBezTo>
                    <a:pt x="274606" y="1213009"/>
                    <a:pt x="298418" y="1289971"/>
                    <a:pt x="345948" y="1341692"/>
                  </a:cubicBezTo>
                  <a:cubicBezTo>
                    <a:pt x="393478" y="1393412"/>
                    <a:pt x="459486" y="1419225"/>
                    <a:pt x="543877" y="1419225"/>
                  </a:cubicBezTo>
                  <a:cubicBezTo>
                    <a:pt x="628269" y="1419225"/>
                    <a:pt x="694277" y="1394270"/>
                    <a:pt x="741807" y="1344359"/>
                  </a:cubicBezTo>
                  <a:cubicBezTo>
                    <a:pt x="789337" y="1294448"/>
                    <a:pt x="813149" y="1219581"/>
                    <a:pt x="813149" y="1119664"/>
                  </a:cubicBezTo>
                  <a:lnTo>
                    <a:pt x="813149" y="404717"/>
                  </a:lnTo>
                  <a:lnTo>
                    <a:pt x="1087755" y="404717"/>
                  </a:lnTo>
                  <a:lnTo>
                    <a:pt x="1087755" y="1108996"/>
                  </a:lnTo>
                  <a:cubicBezTo>
                    <a:pt x="1087755" y="1204151"/>
                    <a:pt x="1074992" y="1286732"/>
                    <a:pt x="1049369" y="1356836"/>
                  </a:cubicBezTo>
                  <a:cubicBezTo>
                    <a:pt x="1023747" y="1426940"/>
                    <a:pt x="987266" y="1485519"/>
                    <a:pt x="939737" y="1532477"/>
                  </a:cubicBezTo>
                  <a:cubicBezTo>
                    <a:pt x="892207" y="1579436"/>
                    <a:pt x="834485" y="1614488"/>
                    <a:pt x="766763" y="1637729"/>
                  </a:cubicBezTo>
                  <a:cubicBezTo>
                    <a:pt x="699040" y="1660874"/>
                    <a:pt x="623507" y="1672495"/>
                    <a:pt x="540353" y="1672495"/>
                  </a:cubicBezTo>
                  <a:close/>
                  <a:moveTo>
                    <a:pt x="622268" y="0"/>
                  </a:moveTo>
                  <a:lnTo>
                    <a:pt x="855821" y="101632"/>
                  </a:lnTo>
                  <a:lnTo>
                    <a:pt x="627602" y="315563"/>
                  </a:lnTo>
                  <a:lnTo>
                    <a:pt x="420719" y="315563"/>
                  </a:lnTo>
                  <a:lnTo>
                    <a:pt x="622268" y="0"/>
                  </a:lnTo>
                  <a:close/>
                </a:path>
              </a:pathLst>
            </a:custGeom>
            <a:solidFill>
              <a:srgbClr val="44505E"/>
            </a:solidFill>
            <a:ln w="9525" cap="flat">
              <a:noFill/>
              <a:prstDash val="solid"/>
              <a:miter/>
            </a:ln>
          </p:spPr>
          <p:txBody>
            <a:bodyPr rtlCol="0" anchor="ctr"/>
            <a:lstStyle/>
            <a:p>
              <a:endParaRPr lang="pt-BR" noProof="0"/>
            </a:p>
          </p:txBody>
        </p:sp>
        <p:sp>
          <p:nvSpPr>
            <p:cNvPr id="19" name="Freeform: Shape 18">
              <a:extLst>
                <a:ext uri="{FF2B5EF4-FFF2-40B4-BE49-F238E27FC236}">
                  <a16:creationId xmlns:a16="http://schemas.microsoft.com/office/drawing/2014/main" id="{723EEEA2-BFCD-9213-7FC3-8DC806E18439}"/>
                </a:ext>
              </a:extLst>
            </p:cNvPr>
            <p:cNvSpPr/>
            <p:nvPr/>
          </p:nvSpPr>
          <p:spPr>
            <a:xfrm>
              <a:off x="6143795" y="313094"/>
              <a:ext cx="289101" cy="313764"/>
            </a:xfrm>
            <a:custGeom>
              <a:avLst/>
              <a:gdLst>
                <a:gd name="connsiteX0" fmla="*/ 0 w 1150048"/>
                <a:gd name="connsiteY0" fmla="*/ 0 h 1248155"/>
                <a:gd name="connsiteX1" fmla="*/ 486728 w 1150048"/>
                <a:gd name="connsiteY1" fmla="*/ 0 h 1248155"/>
                <a:gd name="connsiteX2" fmla="*/ 755047 w 1150048"/>
                <a:gd name="connsiteY2" fmla="*/ 47244 h 1248155"/>
                <a:gd name="connsiteX3" fmla="*/ 965454 w 1150048"/>
                <a:gd name="connsiteY3" fmla="*/ 178308 h 1248155"/>
                <a:gd name="connsiteX4" fmla="*/ 1101852 w 1150048"/>
                <a:gd name="connsiteY4" fmla="*/ 375380 h 1248155"/>
                <a:gd name="connsiteX5" fmla="*/ 1150049 w 1150048"/>
                <a:gd name="connsiteY5" fmla="*/ 620554 h 1248155"/>
                <a:gd name="connsiteX6" fmla="*/ 1150049 w 1150048"/>
                <a:gd name="connsiteY6" fmla="*/ 624173 h 1248155"/>
                <a:gd name="connsiteX7" fmla="*/ 1101852 w 1150048"/>
                <a:gd name="connsiteY7" fmla="*/ 870204 h 1248155"/>
                <a:gd name="connsiteX8" fmla="*/ 965454 w 1150048"/>
                <a:gd name="connsiteY8" fmla="*/ 1068134 h 1248155"/>
                <a:gd name="connsiteX9" fmla="*/ 755047 w 1150048"/>
                <a:gd name="connsiteY9" fmla="*/ 1200055 h 1248155"/>
                <a:gd name="connsiteX10" fmla="*/ 486728 w 1150048"/>
                <a:gd name="connsiteY10" fmla="*/ 1248156 h 1248155"/>
                <a:gd name="connsiteX11" fmla="*/ 0 w 1150048"/>
                <a:gd name="connsiteY11" fmla="*/ 1248156 h 1248155"/>
                <a:gd name="connsiteX12" fmla="*/ 0 w 1150048"/>
                <a:gd name="connsiteY12" fmla="*/ 0 h 1248155"/>
                <a:gd name="connsiteX13" fmla="*/ 486728 w 1150048"/>
                <a:gd name="connsiteY13" fmla="*/ 1000315 h 1248155"/>
                <a:gd name="connsiteX14" fmla="*/ 640080 w 1150048"/>
                <a:gd name="connsiteY14" fmla="*/ 973550 h 1248155"/>
                <a:gd name="connsiteX15" fmla="*/ 758667 w 1150048"/>
                <a:gd name="connsiteY15" fmla="*/ 896874 h 1248155"/>
                <a:gd name="connsiteX16" fmla="*/ 835343 w 1150048"/>
                <a:gd name="connsiteY16" fmla="*/ 779240 h 1248155"/>
                <a:gd name="connsiteX17" fmla="*/ 862965 w 1150048"/>
                <a:gd name="connsiteY17" fmla="*/ 627698 h 1248155"/>
                <a:gd name="connsiteX18" fmla="*/ 862965 w 1150048"/>
                <a:gd name="connsiteY18" fmla="*/ 624078 h 1248155"/>
                <a:gd name="connsiteX19" fmla="*/ 835343 w 1150048"/>
                <a:gd name="connsiteY19" fmla="*/ 472535 h 1248155"/>
                <a:gd name="connsiteX20" fmla="*/ 758667 w 1150048"/>
                <a:gd name="connsiteY20" fmla="*/ 353092 h 1248155"/>
                <a:gd name="connsiteX21" fmla="*/ 640080 w 1150048"/>
                <a:gd name="connsiteY21" fmla="*/ 275558 h 1248155"/>
                <a:gd name="connsiteX22" fmla="*/ 486728 w 1150048"/>
                <a:gd name="connsiteY22" fmla="*/ 247936 h 1248155"/>
                <a:gd name="connsiteX23" fmla="*/ 274511 w 1150048"/>
                <a:gd name="connsiteY23" fmla="*/ 247936 h 1248155"/>
                <a:gd name="connsiteX24" fmla="*/ 274511 w 1150048"/>
                <a:gd name="connsiteY24" fmla="*/ 1000411 h 1248155"/>
                <a:gd name="connsiteX25" fmla="*/ 486728 w 1150048"/>
                <a:gd name="connsiteY25" fmla="*/ 1000411 h 124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50048" h="1248155">
                  <a:moveTo>
                    <a:pt x="0" y="0"/>
                  </a:moveTo>
                  <a:lnTo>
                    <a:pt x="486728" y="0"/>
                  </a:lnTo>
                  <a:cubicBezTo>
                    <a:pt x="584168" y="0"/>
                    <a:pt x="673608" y="15811"/>
                    <a:pt x="755047" y="47244"/>
                  </a:cubicBezTo>
                  <a:cubicBezTo>
                    <a:pt x="836486" y="78772"/>
                    <a:pt x="906590" y="122396"/>
                    <a:pt x="965454" y="178308"/>
                  </a:cubicBezTo>
                  <a:cubicBezTo>
                    <a:pt x="1024319" y="234220"/>
                    <a:pt x="1069753" y="299847"/>
                    <a:pt x="1101852" y="375380"/>
                  </a:cubicBezTo>
                  <a:cubicBezTo>
                    <a:pt x="1133951" y="450914"/>
                    <a:pt x="1150049" y="532543"/>
                    <a:pt x="1150049" y="620554"/>
                  </a:cubicBezTo>
                  <a:lnTo>
                    <a:pt x="1150049" y="624173"/>
                  </a:lnTo>
                  <a:cubicBezTo>
                    <a:pt x="1150049" y="712184"/>
                    <a:pt x="1133951" y="794195"/>
                    <a:pt x="1101852" y="870204"/>
                  </a:cubicBezTo>
                  <a:cubicBezTo>
                    <a:pt x="1069753" y="946309"/>
                    <a:pt x="1024319" y="1012222"/>
                    <a:pt x="965454" y="1068134"/>
                  </a:cubicBezTo>
                  <a:cubicBezTo>
                    <a:pt x="906590" y="1124045"/>
                    <a:pt x="836486" y="1167956"/>
                    <a:pt x="755047" y="1200055"/>
                  </a:cubicBezTo>
                  <a:cubicBezTo>
                    <a:pt x="673608" y="1232154"/>
                    <a:pt x="584168" y="1248156"/>
                    <a:pt x="486728" y="1248156"/>
                  </a:cubicBezTo>
                  <a:lnTo>
                    <a:pt x="0" y="1248156"/>
                  </a:lnTo>
                  <a:lnTo>
                    <a:pt x="0" y="0"/>
                  </a:lnTo>
                  <a:close/>
                  <a:moveTo>
                    <a:pt x="486728" y="1000315"/>
                  </a:moveTo>
                  <a:cubicBezTo>
                    <a:pt x="542639" y="1000315"/>
                    <a:pt x="593693" y="991457"/>
                    <a:pt x="640080" y="973550"/>
                  </a:cubicBezTo>
                  <a:cubicBezTo>
                    <a:pt x="686467" y="955739"/>
                    <a:pt x="725900" y="930211"/>
                    <a:pt x="758667" y="896874"/>
                  </a:cubicBezTo>
                  <a:cubicBezTo>
                    <a:pt x="791337" y="863632"/>
                    <a:pt x="816864" y="824389"/>
                    <a:pt x="835343" y="779240"/>
                  </a:cubicBezTo>
                  <a:cubicBezTo>
                    <a:pt x="853726" y="734092"/>
                    <a:pt x="862965" y="683609"/>
                    <a:pt x="862965" y="627698"/>
                  </a:cubicBezTo>
                  <a:lnTo>
                    <a:pt x="862965" y="624078"/>
                  </a:lnTo>
                  <a:cubicBezTo>
                    <a:pt x="862965" y="569404"/>
                    <a:pt x="853726" y="518827"/>
                    <a:pt x="835343" y="472535"/>
                  </a:cubicBezTo>
                  <a:cubicBezTo>
                    <a:pt x="816864" y="426149"/>
                    <a:pt x="791337" y="386334"/>
                    <a:pt x="758667" y="353092"/>
                  </a:cubicBezTo>
                  <a:cubicBezTo>
                    <a:pt x="725996" y="319849"/>
                    <a:pt x="686467" y="293941"/>
                    <a:pt x="640080" y="275558"/>
                  </a:cubicBezTo>
                  <a:cubicBezTo>
                    <a:pt x="593693" y="257175"/>
                    <a:pt x="542639" y="247936"/>
                    <a:pt x="486728" y="247936"/>
                  </a:cubicBezTo>
                  <a:lnTo>
                    <a:pt x="274511" y="247936"/>
                  </a:lnTo>
                  <a:lnTo>
                    <a:pt x="274511" y="1000411"/>
                  </a:lnTo>
                  <a:lnTo>
                    <a:pt x="486728" y="1000411"/>
                  </a:lnTo>
                  <a:close/>
                </a:path>
              </a:pathLst>
            </a:custGeom>
            <a:solidFill>
              <a:srgbClr val="44505E"/>
            </a:solidFill>
            <a:ln w="9525" cap="flat">
              <a:noFill/>
              <a:prstDash val="solid"/>
              <a:miter/>
            </a:ln>
          </p:spPr>
          <p:txBody>
            <a:bodyPr rtlCol="0" anchor="ctr"/>
            <a:lstStyle/>
            <a:p>
              <a:endParaRPr lang="pt-BR" noProof="0"/>
            </a:p>
          </p:txBody>
        </p:sp>
        <p:sp>
          <p:nvSpPr>
            <p:cNvPr id="20" name="Freeform: Shape 19">
              <a:extLst>
                <a:ext uri="{FF2B5EF4-FFF2-40B4-BE49-F238E27FC236}">
                  <a16:creationId xmlns:a16="http://schemas.microsoft.com/office/drawing/2014/main" id="{D73F46A7-9304-DC17-6480-BFE1C33292C1}"/>
                </a:ext>
              </a:extLst>
            </p:cNvPr>
            <p:cNvSpPr/>
            <p:nvPr/>
          </p:nvSpPr>
          <p:spPr>
            <a:xfrm>
              <a:off x="6460217" y="313094"/>
              <a:ext cx="238459" cy="313788"/>
            </a:xfrm>
            <a:custGeom>
              <a:avLst/>
              <a:gdLst>
                <a:gd name="connsiteX0" fmla="*/ 95 w 948594"/>
                <a:gd name="connsiteY0" fmla="*/ 0 h 1248251"/>
                <a:gd name="connsiteX1" fmla="*/ 939737 w 948594"/>
                <a:gd name="connsiteY1" fmla="*/ 0 h 1248251"/>
                <a:gd name="connsiteX2" fmla="*/ 939737 w 948594"/>
                <a:gd name="connsiteY2" fmla="*/ 244316 h 1248251"/>
                <a:gd name="connsiteX3" fmla="*/ 271081 w 948594"/>
                <a:gd name="connsiteY3" fmla="*/ 244316 h 1248251"/>
                <a:gd name="connsiteX4" fmla="*/ 271081 w 948594"/>
                <a:gd name="connsiteY4" fmla="*/ 497491 h 1248251"/>
                <a:gd name="connsiteX5" fmla="*/ 859441 w 948594"/>
                <a:gd name="connsiteY5" fmla="*/ 497491 h 1248251"/>
                <a:gd name="connsiteX6" fmla="*/ 859441 w 948594"/>
                <a:gd name="connsiteY6" fmla="*/ 741807 h 1248251"/>
                <a:gd name="connsiteX7" fmla="*/ 271081 w 948594"/>
                <a:gd name="connsiteY7" fmla="*/ 741807 h 1248251"/>
                <a:gd name="connsiteX8" fmla="*/ 271081 w 948594"/>
                <a:gd name="connsiteY8" fmla="*/ 1003935 h 1248251"/>
                <a:gd name="connsiteX9" fmla="*/ 948595 w 948594"/>
                <a:gd name="connsiteY9" fmla="*/ 1003935 h 1248251"/>
                <a:gd name="connsiteX10" fmla="*/ 948595 w 948594"/>
                <a:gd name="connsiteY10" fmla="*/ 1248251 h 1248251"/>
                <a:gd name="connsiteX11" fmla="*/ 0 w 948594"/>
                <a:gd name="connsiteY11" fmla="*/ 1248251 h 1248251"/>
                <a:gd name="connsiteX12" fmla="*/ 0 w 948594"/>
                <a:gd name="connsiteY12" fmla="*/ 0 h 124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594" h="1248251">
                  <a:moveTo>
                    <a:pt x="95" y="0"/>
                  </a:moveTo>
                  <a:lnTo>
                    <a:pt x="939737" y="0"/>
                  </a:lnTo>
                  <a:lnTo>
                    <a:pt x="939737" y="244316"/>
                  </a:lnTo>
                  <a:lnTo>
                    <a:pt x="271081" y="244316"/>
                  </a:lnTo>
                  <a:lnTo>
                    <a:pt x="271081" y="497491"/>
                  </a:lnTo>
                  <a:lnTo>
                    <a:pt x="859441" y="497491"/>
                  </a:lnTo>
                  <a:lnTo>
                    <a:pt x="859441" y="741807"/>
                  </a:lnTo>
                  <a:lnTo>
                    <a:pt x="271081" y="741807"/>
                  </a:lnTo>
                  <a:lnTo>
                    <a:pt x="271081" y="1003935"/>
                  </a:lnTo>
                  <a:lnTo>
                    <a:pt x="948595" y="1003935"/>
                  </a:lnTo>
                  <a:lnTo>
                    <a:pt x="948595" y="1248251"/>
                  </a:lnTo>
                  <a:lnTo>
                    <a:pt x="0" y="1248251"/>
                  </a:lnTo>
                  <a:lnTo>
                    <a:pt x="0" y="0"/>
                  </a:lnTo>
                  <a:close/>
                </a:path>
              </a:pathLst>
            </a:custGeom>
            <a:solidFill>
              <a:srgbClr val="44505E"/>
            </a:solidFill>
            <a:ln w="9525" cap="flat">
              <a:noFill/>
              <a:prstDash val="solid"/>
              <a:miter/>
            </a:ln>
          </p:spPr>
          <p:txBody>
            <a:bodyPr rtlCol="0" anchor="ctr"/>
            <a:lstStyle/>
            <a:p>
              <a:endParaRPr lang="pt-BR" noProof="0"/>
            </a:p>
          </p:txBody>
        </p:sp>
        <p:sp>
          <p:nvSpPr>
            <p:cNvPr id="21" name="Freeform: Shape 20">
              <a:extLst>
                <a:ext uri="{FF2B5EF4-FFF2-40B4-BE49-F238E27FC236}">
                  <a16:creationId xmlns:a16="http://schemas.microsoft.com/office/drawing/2014/main" id="{6946F625-1B5F-A385-E870-BB7AEEEDF5A5}"/>
                </a:ext>
              </a:extLst>
            </p:cNvPr>
            <p:cNvSpPr/>
            <p:nvPr/>
          </p:nvSpPr>
          <p:spPr>
            <a:xfrm>
              <a:off x="5253193" y="699983"/>
              <a:ext cx="90796" cy="97883"/>
            </a:xfrm>
            <a:custGeom>
              <a:avLst/>
              <a:gdLst>
                <a:gd name="connsiteX0" fmla="*/ 191548 w 361187"/>
                <a:gd name="connsiteY0" fmla="*/ 389382 h 389381"/>
                <a:gd name="connsiteX1" fmla="*/ 116300 w 361187"/>
                <a:gd name="connsiteY1" fmla="*/ 375285 h 389381"/>
                <a:gd name="connsiteX2" fmla="*/ 55531 w 361187"/>
                <a:gd name="connsiteY2" fmla="*/ 335756 h 389381"/>
                <a:gd name="connsiteX3" fmla="*/ 14859 w 361187"/>
                <a:gd name="connsiteY3" fmla="*/ 274606 h 389381"/>
                <a:gd name="connsiteX4" fmla="*/ 0 w 361187"/>
                <a:gd name="connsiteY4" fmla="*/ 195834 h 389381"/>
                <a:gd name="connsiteX5" fmla="*/ 0 w 361187"/>
                <a:gd name="connsiteY5" fmla="*/ 194405 h 389381"/>
                <a:gd name="connsiteX6" fmla="*/ 13430 w 361187"/>
                <a:gd name="connsiteY6" fmla="*/ 118777 h 389381"/>
                <a:gd name="connsiteX7" fmla="*/ 51245 w 361187"/>
                <a:gd name="connsiteY7" fmla="*/ 56959 h 389381"/>
                <a:gd name="connsiteX8" fmla="*/ 108871 w 361187"/>
                <a:gd name="connsiteY8" fmla="*/ 15240 h 389381"/>
                <a:gd name="connsiteX9" fmla="*/ 182404 w 361187"/>
                <a:gd name="connsiteY9" fmla="*/ 0 h 389381"/>
                <a:gd name="connsiteX10" fmla="*/ 260509 w 361187"/>
                <a:gd name="connsiteY10" fmla="*/ 16288 h 389381"/>
                <a:gd name="connsiteX11" fmla="*/ 316325 w 361187"/>
                <a:gd name="connsiteY11" fmla="*/ 60103 h 389381"/>
                <a:gd name="connsiteX12" fmla="*/ 349853 w 361187"/>
                <a:gd name="connsiteY12" fmla="*/ 124015 h 389381"/>
                <a:gd name="connsiteX13" fmla="*/ 361188 w 361187"/>
                <a:gd name="connsiteY13" fmla="*/ 200692 h 389381"/>
                <a:gd name="connsiteX14" fmla="*/ 360807 w 361187"/>
                <a:gd name="connsiteY14" fmla="*/ 212312 h 389381"/>
                <a:gd name="connsiteX15" fmla="*/ 359759 w 361187"/>
                <a:gd name="connsiteY15" fmla="*/ 224695 h 389381"/>
                <a:gd name="connsiteX16" fmla="*/ 85534 w 361187"/>
                <a:gd name="connsiteY16" fmla="*/ 224695 h 389381"/>
                <a:gd name="connsiteX17" fmla="*/ 121920 w 361187"/>
                <a:gd name="connsiteY17" fmla="*/ 294989 h 389381"/>
                <a:gd name="connsiteX18" fmla="*/ 192977 w 361187"/>
                <a:gd name="connsiteY18" fmla="*/ 319373 h 389381"/>
                <a:gd name="connsiteX19" fmla="*/ 248126 w 361187"/>
                <a:gd name="connsiteY19" fmla="*/ 308038 h 389381"/>
                <a:gd name="connsiteX20" fmla="*/ 294037 w 361187"/>
                <a:gd name="connsiteY20" fmla="*/ 274796 h 389381"/>
                <a:gd name="connsiteX21" fmla="*/ 344234 w 361187"/>
                <a:gd name="connsiteY21" fmla="*/ 319278 h 389381"/>
                <a:gd name="connsiteX22" fmla="*/ 280226 w 361187"/>
                <a:gd name="connsiteY22" fmla="*/ 370141 h 389381"/>
                <a:gd name="connsiteX23" fmla="*/ 191548 w 361187"/>
                <a:gd name="connsiteY23" fmla="*/ 389191 h 389381"/>
                <a:gd name="connsiteX24" fmla="*/ 276320 w 361187"/>
                <a:gd name="connsiteY24" fmla="*/ 168211 h 389381"/>
                <a:gd name="connsiteX25" fmla="*/ 267176 w 361187"/>
                <a:gd name="connsiteY25" fmla="*/ 129730 h 389381"/>
                <a:gd name="connsiteX26" fmla="*/ 248126 w 361187"/>
                <a:gd name="connsiteY26" fmla="*/ 98679 h 389381"/>
                <a:gd name="connsiteX27" fmla="*/ 219551 w 361187"/>
                <a:gd name="connsiteY27" fmla="*/ 77819 h 389381"/>
                <a:gd name="connsiteX28" fmla="*/ 181737 w 361187"/>
                <a:gd name="connsiteY28" fmla="*/ 70009 h 389381"/>
                <a:gd name="connsiteX29" fmla="*/ 116396 w 361187"/>
                <a:gd name="connsiteY29" fmla="*/ 97250 h 389381"/>
                <a:gd name="connsiteX30" fmla="*/ 84963 w 361187"/>
                <a:gd name="connsiteY30" fmla="*/ 168307 h 389381"/>
                <a:gd name="connsiteX31" fmla="*/ 276511 w 361187"/>
                <a:gd name="connsiteY31" fmla="*/ 168307 h 38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187" h="389381">
                  <a:moveTo>
                    <a:pt x="191548" y="389382"/>
                  </a:moveTo>
                  <a:cubicBezTo>
                    <a:pt x="164687" y="389382"/>
                    <a:pt x="139637" y="384715"/>
                    <a:pt x="116300" y="375285"/>
                  </a:cubicBezTo>
                  <a:cubicBezTo>
                    <a:pt x="92964" y="365855"/>
                    <a:pt x="72771" y="352711"/>
                    <a:pt x="55531" y="335756"/>
                  </a:cubicBezTo>
                  <a:cubicBezTo>
                    <a:pt x="38291" y="318802"/>
                    <a:pt x="24765" y="298418"/>
                    <a:pt x="14859" y="274606"/>
                  </a:cubicBezTo>
                  <a:cubicBezTo>
                    <a:pt x="4953" y="250793"/>
                    <a:pt x="0" y="224599"/>
                    <a:pt x="0" y="195834"/>
                  </a:cubicBezTo>
                  <a:lnTo>
                    <a:pt x="0" y="194405"/>
                  </a:lnTo>
                  <a:cubicBezTo>
                    <a:pt x="0" y="167545"/>
                    <a:pt x="4477" y="142399"/>
                    <a:pt x="13430" y="118777"/>
                  </a:cubicBezTo>
                  <a:cubicBezTo>
                    <a:pt x="22384" y="95250"/>
                    <a:pt x="34957" y="74581"/>
                    <a:pt x="51245" y="56959"/>
                  </a:cubicBezTo>
                  <a:cubicBezTo>
                    <a:pt x="67532" y="39338"/>
                    <a:pt x="86677" y="25432"/>
                    <a:pt x="108871" y="15240"/>
                  </a:cubicBezTo>
                  <a:cubicBezTo>
                    <a:pt x="131064" y="5143"/>
                    <a:pt x="155543" y="0"/>
                    <a:pt x="182404" y="0"/>
                  </a:cubicBezTo>
                  <a:cubicBezTo>
                    <a:pt x="212122" y="0"/>
                    <a:pt x="238125" y="5429"/>
                    <a:pt x="260509" y="16288"/>
                  </a:cubicBezTo>
                  <a:cubicBezTo>
                    <a:pt x="282893" y="27146"/>
                    <a:pt x="301466" y="41719"/>
                    <a:pt x="316325" y="60103"/>
                  </a:cubicBezTo>
                  <a:cubicBezTo>
                    <a:pt x="331184" y="78486"/>
                    <a:pt x="342329" y="99822"/>
                    <a:pt x="349853" y="124015"/>
                  </a:cubicBezTo>
                  <a:cubicBezTo>
                    <a:pt x="357378" y="148304"/>
                    <a:pt x="361188" y="173831"/>
                    <a:pt x="361188" y="200692"/>
                  </a:cubicBezTo>
                  <a:cubicBezTo>
                    <a:pt x="361188" y="204502"/>
                    <a:pt x="361093" y="208312"/>
                    <a:pt x="360807" y="212312"/>
                  </a:cubicBezTo>
                  <a:cubicBezTo>
                    <a:pt x="360521" y="216313"/>
                    <a:pt x="360236" y="220409"/>
                    <a:pt x="359759" y="224695"/>
                  </a:cubicBezTo>
                  <a:lnTo>
                    <a:pt x="85534" y="224695"/>
                  </a:lnTo>
                  <a:cubicBezTo>
                    <a:pt x="90202" y="255365"/>
                    <a:pt x="102394" y="278797"/>
                    <a:pt x="121920" y="294989"/>
                  </a:cubicBezTo>
                  <a:cubicBezTo>
                    <a:pt x="141446" y="311277"/>
                    <a:pt x="165164" y="319373"/>
                    <a:pt x="192977" y="319373"/>
                  </a:cubicBezTo>
                  <a:cubicBezTo>
                    <a:pt x="214217" y="319373"/>
                    <a:pt x="232505" y="315563"/>
                    <a:pt x="248126" y="308038"/>
                  </a:cubicBezTo>
                  <a:cubicBezTo>
                    <a:pt x="263652" y="300514"/>
                    <a:pt x="278987" y="289465"/>
                    <a:pt x="294037" y="274796"/>
                  </a:cubicBezTo>
                  <a:lnTo>
                    <a:pt x="344234" y="319278"/>
                  </a:lnTo>
                  <a:cubicBezTo>
                    <a:pt x="326327" y="340519"/>
                    <a:pt x="304991" y="357473"/>
                    <a:pt x="280226" y="370141"/>
                  </a:cubicBezTo>
                  <a:cubicBezTo>
                    <a:pt x="255461" y="382810"/>
                    <a:pt x="225933" y="389191"/>
                    <a:pt x="191548" y="389191"/>
                  </a:cubicBezTo>
                  <a:close/>
                  <a:moveTo>
                    <a:pt x="276320" y="168211"/>
                  </a:moveTo>
                  <a:cubicBezTo>
                    <a:pt x="274892" y="154591"/>
                    <a:pt x="271844" y="141732"/>
                    <a:pt x="267176" y="129730"/>
                  </a:cubicBezTo>
                  <a:cubicBezTo>
                    <a:pt x="262414" y="117729"/>
                    <a:pt x="256127" y="107347"/>
                    <a:pt x="248126" y="98679"/>
                  </a:cubicBezTo>
                  <a:cubicBezTo>
                    <a:pt x="240125" y="89916"/>
                    <a:pt x="230600" y="82963"/>
                    <a:pt x="219551" y="77819"/>
                  </a:cubicBezTo>
                  <a:cubicBezTo>
                    <a:pt x="208502" y="72676"/>
                    <a:pt x="195834" y="70009"/>
                    <a:pt x="181737" y="70009"/>
                  </a:cubicBezTo>
                  <a:cubicBezTo>
                    <a:pt x="155353" y="70009"/>
                    <a:pt x="133541" y="79057"/>
                    <a:pt x="116396" y="97250"/>
                  </a:cubicBezTo>
                  <a:cubicBezTo>
                    <a:pt x="99155" y="115348"/>
                    <a:pt x="88678" y="139065"/>
                    <a:pt x="84963" y="168307"/>
                  </a:cubicBezTo>
                  <a:lnTo>
                    <a:pt x="276511" y="168307"/>
                  </a:lnTo>
                  <a:close/>
                </a:path>
              </a:pathLst>
            </a:custGeom>
            <a:solidFill>
              <a:srgbClr val="44505E"/>
            </a:solidFill>
            <a:ln w="9525" cap="flat">
              <a:noFill/>
              <a:prstDash val="solid"/>
              <a:miter/>
            </a:ln>
          </p:spPr>
          <p:txBody>
            <a:bodyPr rtlCol="0" anchor="ctr"/>
            <a:lstStyle/>
            <a:p>
              <a:endParaRPr lang="pt-BR" noProof="0"/>
            </a:p>
          </p:txBody>
        </p:sp>
        <p:sp>
          <p:nvSpPr>
            <p:cNvPr id="22" name="Freeform: Shape 21">
              <a:extLst>
                <a:ext uri="{FF2B5EF4-FFF2-40B4-BE49-F238E27FC236}">
                  <a16:creationId xmlns:a16="http://schemas.microsoft.com/office/drawing/2014/main" id="{82D32145-3D76-AB1C-6E44-64AE885BB2F4}"/>
                </a:ext>
              </a:extLst>
            </p:cNvPr>
            <p:cNvSpPr/>
            <p:nvPr/>
          </p:nvSpPr>
          <p:spPr>
            <a:xfrm>
              <a:off x="5365659"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5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8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3 w 568166"/>
                <a:gd name="connsiteY21" fmla="*/ 381000 h 381000"/>
                <a:gd name="connsiteX22" fmla="*/ 240983 w 568166"/>
                <a:gd name="connsiteY22" fmla="*/ 168783 h 381000"/>
                <a:gd name="connsiteX23" fmla="*/ 221266 w 568166"/>
                <a:gd name="connsiteY23" fmla="*/ 101822 h 381000"/>
                <a:gd name="connsiteX24" fmla="*/ 165640 w 568166"/>
                <a:gd name="connsiteY24" fmla="*/ 78581 h 381000"/>
                <a:gd name="connsiteX25" fmla="*/ 108014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70" y="48196"/>
                    <a:pt x="105918" y="40576"/>
                  </a:cubicBezTo>
                  <a:cubicBezTo>
                    <a:pt x="112967" y="32956"/>
                    <a:pt x="121063" y="26099"/>
                    <a:pt x="130207" y="19907"/>
                  </a:cubicBezTo>
                  <a:cubicBezTo>
                    <a:pt x="139351" y="13716"/>
                    <a:pt x="149733" y="8858"/>
                    <a:pt x="161163" y="5334"/>
                  </a:cubicBezTo>
                  <a:cubicBezTo>
                    <a:pt x="172688" y="1714"/>
                    <a:pt x="185452" y="0"/>
                    <a:pt x="199549" y="0"/>
                  </a:cubicBezTo>
                  <a:cubicBezTo>
                    <a:pt x="226314" y="0"/>
                    <a:pt x="248984" y="6096"/>
                    <a:pt x="267557" y="18193"/>
                  </a:cubicBezTo>
                  <a:cubicBezTo>
                    <a:pt x="286131" y="30289"/>
                    <a:pt x="300323" y="46387"/>
                    <a:pt x="310134" y="66294"/>
                  </a:cubicBezTo>
                  <a:cubicBezTo>
                    <a:pt x="325279" y="46387"/>
                    <a:pt x="343091" y="30289"/>
                    <a:pt x="363665" y="18193"/>
                  </a:cubicBezTo>
                  <a:cubicBezTo>
                    <a:pt x="384239" y="6096"/>
                    <a:pt x="408718" y="0"/>
                    <a:pt x="437007" y="0"/>
                  </a:cubicBezTo>
                  <a:cubicBezTo>
                    <a:pt x="478060"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8" y="78486"/>
                  </a:cubicBezTo>
                  <a:cubicBezTo>
                    <a:pt x="382810" y="78486"/>
                    <a:pt x="364141" y="86392"/>
                    <a:pt x="349377" y="102108"/>
                  </a:cubicBezTo>
                  <a:cubicBezTo>
                    <a:pt x="334613" y="117824"/>
                    <a:pt x="327184" y="140779"/>
                    <a:pt x="327184" y="170879"/>
                  </a:cubicBezTo>
                  <a:lnTo>
                    <a:pt x="327184" y="381000"/>
                  </a:lnTo>
                  <a:lnTo>
                    <a:pt x="240983" y="381000"/>
                  </a:lnTo>
                  <a:lnTo>
                    <a:pt x="240983" y="168783"/>
                  </a:lnTo>
                  <a:cubicBezTo>
                    <a:pt x="240983" y="139637"/>
                    <a:pt x="234410" y="117348"/>
                    <a:pt x="221266" y="101822"/>
                  </a:cubicBezTo>
                  <a:cubicBezTo>
                    <a:pt x="208121" y="86296"/>
                    <a:pt x="189643" y="78581"/>
                    <a:pt x="165640" y="78581"/>
                  </a:cubicBezTo>
                  <a:cubicBezTo>
                    <a:pt x="141637" y="78581"/>
                    <a:pt x="122492" y="86773"/>
                    <a:pt x="108014"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23" name="Freeform: Shape 22">
              <a:extLst>
                <a:ext uri="{FF2B5EF4-FFF2-40B4-BE49-F238E27FC236}">
                  <a16:creationId xmlns:a16="http://schemas.microsoft.com/office/drawing/2014/main" id="{1C5AA2CB-A072-6530-EE42-01EB951697B9}"/>
                </a:ext>
              </a:extLst>
            </p:cNvPr>
            <p:cNvSpPr/>
            <p:nvPr/>
          </p:nvSpPr>
          <p:spPr>
            <a:xfrm>
              <a:off x="5587693" y="700007"/>
              <a:ext cx="84211" cy="95752"/>
            </a:xfrm>
            <a:custGeom>
              <a:avLst/>
              <a:gdLst>
                <a:gd name="connsiteX0" fmla="*/ 95 w 334994"/>
                <a:gd name="connsiteY0" fmla="*/ 7715 h 380904"/>
                <a:gd name="connsiteX1" fmla="*/ 86296 w 334994"/>
                <a:gd name="connsiteY1" fmla="*/ 7715 h 380904"/>
                <a:gd name="connsiteX2" fmla="*/ 86296 w 334994"/>
                <a:gd name="connsiteY2" fmla="*/ 66294 h 380904"/>
                <a:gd name="connsiteX3" fmla="*/ 106394 w 334994"/>
                <a:gd name="connsiteY3" fmla="*/ 40958 h 380904"/>
                <a:gd name="connsiteX4" fmla="*/ 131731 w 334994"/>
                <a:gd name="connsiteY4" fmla="*/ 19907 h 380904"/>
                <a:gd name="connsiteX5" fmla="*/ 163449 w 334994"/>
                <a:gd name="connsiteY5" fmla="*/ 5334 h 380904"/>
                <a:gd name="connsiteX6" fmla="*/ 202597 w 334994"/>
                <a:gd name="connsiteY6" fmla="*/ 0 h 380904"/>
                <a:gd name="connsiteX7" fmla="*/ 300514 w 334994"/>
                <a:gd name="connsiteY7" fmla="*/ 38862 h 380904"/>
                <a:gd name="connsiteX8" fmla="*/ 334994 w 334994"/>
                <a:gd name="connsiteY8" fmla="*/ 143446 h 380904"/>
                <a:gd name="connsiteX9" fmla="*/ 334994 w 334994"/>
                <a:gd name="connsiteY9" fmla="*/ 380905 h 380904"/>
                <a:gd name="connsiteX10" fmla="*/ 248793 w 334994"/>
                <a:gd name="connsiteY10" fmla="*/ 380905 h 380904"/>
                <a:gd name="connsiteX11" fmla="*/ 248793 w 334994"/>
                <a:gd name="connsiteY11" fmla="*/ 169450 h 380904"/>
                <a:gd name="connsiteX12" fmla="*/ 228124 w 334994"/>
                <a:gd name="connsiteY12" fmla="*/ 102108 h 380904"/>
                <a:gd name="connsiteX13" fmla="*/ 169640 w 334994"/>
                <a:gd name="connsiteY13" fmla="*/ 78486 h 380904"/>
                <a:gd name="connsiteX14" fmla="*/ 109347 w 334994"/>
                <a:gd name="connsiteY14" fmla="*/ 102775 h 380904"/>
                <a:gd name="connsiteX15" fmla="*/ 86201 w 334994"/>
                <a:gd name="connsiteY15" fmla="*/ 170783 h 380904"/>
                <a:gd name="connsiteX16" fmla="*/ 86201 w 334994"/>
                <a:gd name="connsiteY16" fmla="*/ 380905 h 380904"/>
                <a:gd name="connsiteX17" fmla="*/ 0 w 334994"/>
                <a:gd name="connsiteY17" fmla="*/ 380905 h 380904"/>
                <a:gd name="connsiteX18" fmla="*/ 0 w 334994"/>
                <a:gd name="connsiteY18" fmla="*/ 7810 h 38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94" h="380904">
                  <a:moveTo>
                    <a:pt x="95" y="7715"/>
                  </a:moveTo>
                  <a:lnTo>
                    <a:pt x="86296" y="7715"/>
                  </a:lnTo>
                  <a:lnTo>
                    <a:pt x="86296" y="66294"/>
                  </a:lnTo>
                  <a:cubicBezTo>
                    <a:pt x="92392" y="57245"/>
                    <a:pt x="99060" y="48863"/>
                    <a:pt x="106394" y="40958"/>
                  </a:cubicBezTo>
                  <a:cubicBezTo>
                    <a:pt x="113633" y="33147"/>
                    <a:pt x="122110" y="26099"/>
                    <a:pt x="131731" y="19907"/>
                  </a:cubicBezTo>
                  <a:cubicBezTo>
                    <a:pt x="141351" y="13716"/>
                    <a:pt x="151924" y="8858"/>
                    <a:pt x="163449" y="5334"/>
                  </a:cubicBezTo>
                  <a:cubicBezTo>
                    <a:pt x="174974" y="1714"/>
                    <a:pt x="188024" y="0"/>
                    <a:pt x="202597" y="0"/>
                  </a:cubicBezTo>
                  <a:cubicBezTo>
                    <a:pt x="244888" y="0"/>
                    <a:pt x="277559" y="12954"/>
                    <a:pt x="300514" y="38862"/>
                  </a:cubicBezTo>
                  <a:cubicBezTo>
                    <a:pt x="323564" y="64770"/>
                    <a:pt x="334994" y="99631"/>
                    <a:pt x="334994" y="143446"/>
                  </a:cubicBezTo>
                  <a:lnTo>
                    <a:pt x="334994" y="380905"/>
                  </a:lnTo>
                  <a:lnTo>
                    <a:pt x="248793" y="380905"/>
                  </a:lnTo>
                  <a:lnTo>
                    <a:pt x="248793" y="169450"/>
                  </a:lnTo>
                  <a:cubicBezTo>
                    <a:pt x="248793" y="140303"/>
                    <a:pt x="241935" y="117824"/>
                    <a:pt x="228124" y="102108"/>
                  </a:cubicBezTo>
                  <a:cubicBezTo>
                    <a:pt x="214313" y="86392"/>
                    <a:pt x="194881" y="78486"/>
                    <a:pt x="169640" y="78486"/>
                  </a:cubicBezTo>
                  <a:cubicBezTo>
                    <a:pt x="144399" y="78486"/>
                    <a:pt x="124777" y="86582"/>
                    <a:pt x="109347" y="102775"/>
                  </a:cubicBezTo>
                  <a:cubicBezTo>
                    <a:pt x="93917" y="118967"/>
                    <a:pt x="86201" y="141637"/>
                    <a:pt x="86201" y="170783"/>
                  </a:cubicBezTo>
                  <a:lnTo>
                    <a:pt x="86201" y="380905"/>
                  </a:lnTo>
                  <a:lnTo>
                    <a:pt x="0" y="380905"/>
                  </a:lnTo>
                  <a:lnTo>
                    <a:pt x="0" y="7810"/>
                  </a:lnTo>
                  <a:close/>
                </a:path>
              </a:pathLst>
            </a:custGeom>
            <a:solidFill>
              <a:srgbClr val="44505E"/>
            </a:solidFill>
            <a:ln w="9525" cap="flat">
              <a:noFill/>
              <a:prstDash val="solid"/>
              <a:miter/>
            </a:ln>
          </p:spPr>
          <p:txBody>
            <a:bodyPr rtlCol="0" anchor="ctr"/>
            <a:lstStyle/>
            <a:p>
              <a:endParaRPr lang="pt-BR" noProof="0"/>
            </a:p>
          </p:txBody>
        </p:sp>
        <p:sp>
          <p:nvSpPr>
            <p:cNvPr id="24" name="Freeform: Shape 23">
              <a:extLst>
                <a:ext uri="{FF2B5EF4-FFF2-40B4-BE49-F238E27FC236}">
                  <a16:creationId xmlns:a16="http://schemas.microsoft.com/office/drawing/2014/main" id="{75DF0F6D-DF62-76C4-C5C6-061E03C1AE86}"/>
                </a:ext>
              </a:extLst>
            </p:cNvPr>
            <p:cNvSpPr/>
            <p:nvPr/>
          </p:nvSpPr>
          <p:spPr>
            <a:xfrm>
              <a:off x="5692712" y="699959"/>
              <a:ext cx="100015" cy="97908"/>
            </a:xfrm>
            <a:custGeom>
              <a:avLst/>
              <a:gdLst>
                <a:gd name="connsiteX0" fmla="*/ 197834 w 397859"/>
                <a:gd name="connsiteY0" fmla="*/ 389477 h 389477"/>
                <a:gd name="connsiteX1" fmla="*/ 119063 w 397859"/>
                <a:gd name="connsiteY1" fmla="*/ 374237 h 389477"/>
                <a:gd name="connsiteX2" fmla="*/ 56197 w 397859"/>
                <a:gd name="connsiteY2" fmla="*/ 332899 h 389477"/>
                <a:gd name="connsiteX3" fmla="*/ 14859 w 397859"/>
                <a:gd name="connsiteY3" fmla="*/ 271463 h 389477"/>
                <a:gd name="connsiteX4" fmla="*/ 0 w 397859"/>
                <a:gd name="connsiteY4" fmla="*/ 196501 h 389477"/>
                <a:gd name="connsiteX5" fmla="*/ 0 w 397859"/>
                <a:gd name="connsiteY5" fmla="*/ 195072 h 389477"/>
                <a:gd name="connsiteX6" fmla="*/ 15145 w 397859"/>
                <a:gd name="connsiteY6" fmla="*/ 119444 h 389477"/>
                <a:gd name="connsiteX7" fmla="*/ 56864 w 397859"/>
                <a:gd name="connsiteY7" fmla="*/ 57626 h 389477"/>
                <a:gd name="connsiteX8" fmla="*/ 119729 w 397859"/>
                <a:gd name="connsiteY8" fmla="*/ 15526 h 389477"/>
                <a:gd name="connsiteX9" fmla="*/ 199263 w 397859"/>
                <a:gd name="connsiteY9" fmla="*/ 0 h 389477"/>
                <a:gd name="connsiteX10" fmla="*/ 278797 w 397859"/>
                <a:gd name="connsiteY10" fmla="*/ 15240 h 389477"/>
                <a:gd name="connsiteX11" fmla="*/ 341662 w 397859"/>
                <a:gd name="connsiteY11" fmla="*/ 56959 h 389477"/>
                <a:gd name="connsiteX12" fmla="*/ 383000 w 397859"/>
                <a:gd name="connsiteY12" fmla="*/ 118396 h 389477"/>
                <a:gd name="connsiteX13" fmla="*/ 397859 w 397859"/>
                <a:gd name="connsiteY13" fmla="*/ 193643 h 389477"/>
                <a:gd name="connsiteX14" fmla="*/ 397859 w 397859"/>
                <a:gd name="connsiteY14" fmla="*/ 195072 h 389477"/>
                <a:gd name="connsiteX15" fmla="*/ 382619 w 397859"/>
                <a:gd name="connsiteY15" fmla="*/ 270034 h 389477"/>
                <a:gd name="connsiteX16" fmla="*/ 340900 w 397859"/>
                <a:gd name="connsiteY16" fmla="*/ 331851 h 389477"/>
                <a:gd name="connsiteX17" fmla="*/ 277654 w 397859"/>
                <a:gd name="connsiteY17" fmla="*/ 373856 h 389477"/>
                <a:gd name="connsiteX18" fmla="*/ 197834 w 397859"/>
                <a:gd name="connsiteY18" fmla="*/ 389382 h 389477"/>
                <a:gd name="connsiteX19" fmla="*/ 199263 w 397859"/>
                <a:gd name="connsiteY19" fmla="*/ 315278 h 389477"/>
                <a:gd name="connsiteX20" fmla="*/ 245935 w 397859"/>
                <a:gd name="connsiteY20" fmla="*/ 305753 h 389477"/>
                <a:gd name="connsiteX21" fmla="*/ 281368 w 397859"/>
                <a:gd name="connsiteY21" fmla="*/ 279940 h 389477"/>
                <a:gd name="connsiteX22" fmla="*/ 303847 w 397859"/>
                <a:gd name="connsiteY22" fmla="*/ 242125 h 389477"/>
                <a:gd name="connsiteX23" fmla="*/ 311563 w 397859"/>
                <a:gd name="connsiteY23" fmla="*/ 196501 h 389477"/>
                <a:gd name="connsiteX24" fmla="*/ 311563 w 397859"/>
                <a:gd name="connsiteY24" fmla="*/ 195072 h 389477"/>
                <a:gd name="connsiteX25" fmla="*/ 303181 w 397859"/>
                <a:gd name="connsiteY25" fmla="*/ 148400 h 389477"/>
                <a:gd name="connsiteX26" fmla="*/ 279654 w 397859"/>
                <a:gd name="connsiteY26" fmla="*/ 110204 h 389477"/>
                <a:gd name="connsiteX27" fmla="*/ 243840 w 397859"/>
                <a:gd name="connsiteY27" fmla="*/ 84392 h 389477"/>
                <a:gd name="connsiteX28" fmla="*/ 197834 w 397859"/>
                <a:gd name="connsiteY28" fmla="*/ 74867 h 389477"/>
                <a:gd name="connsiteX29" fmla="*/ 151829 w 397859"/>
                <a:gd name="connsiteY29" fmla="*/ 84392 h 389477"/>
                <a:gd name="connsiteX30" fmla="*/ 116396 w 397859"/>
                <a:gd name="connsiteY30" fmla="*/ 109823 h 389477"/>
                <a:gd name="connsiteX31" fmla="*/ 93917 w 397859"/>
                <a:gd name="connsiteY31" fmla="*/ 147638 h 389477"/>
                <a:gd name="connsiteX32" fmla="*/ 86201 w 397859"/>
                <a:gd name="connsiteY32" fmla="*/ 193548 h 389477"/>
                <a:gd name="connsiteX33" fmla="*/ 86201 w 397859"/>
                <a:gd name="connsiteY33" fmla="*/ 194977 h 389477"/>
                <a:gd name="connsiteX34" fmla="*/ 94583 w 397859"/>
                <a:gd name="connsiteY34" fmla="*/ 241268 h 389477"/>
                <a:gd name="connsiteX35" fmla="*/ 118110 w 397859"/>
                <a:gd name="connsiteY35" fmla="*/ 279463 h 389477"/>
                <a:gd name="connsiteX36" fmla="*/ 153924 w 397859"/>
                <a:gd name="connsiteY36" fmla="*/ 305562 h 389477"/>
                <a:gd name="connsiteX37" fmla="*/ 199263 w 397859"/>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859" h="389477">
                  <a:moveTo>
                    <a:pt x="197834" y="389477"/>
                  </a:moveTo>
                  <a:cubicBezTo>
                    <a:pt x="169545" y="389477"/>
                    <a:pt x="143351" y="384429"/>
                    <a:pt x="119063" y="374237"/>
                  </a:cubicBezTo>
                  <a:cubicBezTo>
                    <a:pt x="94774" y="364141"/>
                    <a:pt x="73819" y="350330"/>
                    <a:pt x="56197" y="332899"/>
                  </a:cubicBezTo>
                  <a:cubicBezTo>
                    <a:pt x="38481" y="315468"/>
                    <a:pt x="24765" y="294989"/>
                    <a:pt x="14859" y="271463"/>
                  </a:cubicBezTo>
                  <a:cubicBezTo>
                    <a:pt x="4953" y="247936"/>
                    <a:pt x="0" y="222980"/>
                    <a:pt x="0" y="196501"/>
                  </a:cubicBezTo>
                  <a:lnTo>
                    <a:pt x="0" y="195072"/>
                  </a:lnTo>
                  <a:cubicBezTo>
                    <a:pt x="0" y="168212"/>
                    <a:pt x="5048" y="143066"/>
                    <a:pt x="15145" y="119444"/>
                  </a:cubicBezTo>
                  <a:cubicBezTo>
                    <a:pt x="25241" y="95917"/>
                    <a:pt x="39148" y="75248"/>
                    <a:pt x="56864" y="57626"/>
                  </a:cubicBezTo>
                  <a:cubicBezTo>
                    <a:pt x="74581" y="39910"/>
                    <a:pt x="95536" y="25908"/>
                    <a:pt x="119729" y="15526"/>
                  </a:cubicBezTo>
                  <a:cubicBezTo>
                    <a:pt x="144018" y="5144"/>
                    <a:pt x="170497" y="0"/>
                    <a:pt x="199263" y="0"/>
                  </a:cubicBezTo>
                  <a:cubicBezTo>
                    <a:pt x="228029" y="0"/>
                    <a:pt x="254508" y="5048"/>
                    <a:pt x="278797" y="15240"/>
                  </a:cubicBezTo>
                  <a:cubicBezTo>
                    <a:pt x="303085" y="25337"/>
                    <a:pt x="324041" y="39243"/>
                    <a:pt x="341662" y="56959"/>
                  </a:cubicBezTo>
                  <a:cubicBezTo>
                    <a:pt x="359378" y="74676"/>
                    <a:pt x="373094" y="95155"/>
                    <a:pt x="383000" y="118396"/>
                  </a:cubicBezTo>
                  <a:cubicBezTo>
                    <a:pt x="392906" y="141732"/>
                    <a:pt x="397859" y="166783"/>
                    <a:pt x="397859" y="193643"/>
                  </a:cubicBezTo>
                  <a:lnTo>
                    <a:pt x="397859" y="195072"/>
                  </a:lnTo>
                  <a:cubicBezTo>
                    <a:pt x="397859" y="221456"/>
                    <a:pt x="392811" y="246412"/>
                    <a:pt x="382619" y="270034"/>
                  </a:cubicBezTo>
                  <a:cubicBezTo>
                    <a:pt x="372523" y="293561"/>
                    <a:pt x="358616" y="314230"/>
                    <a:pt x="340900" y="331851"/>
                  </a:cubicBezTo>
                  <a:cubicBezTo>
                    <a:pt x="323183" y="349472"/>
                    <a:pt x="302133" y="363569"/>
                    <a:pt x="277654" y="373856"/>
                  </a:cubicBezTo>
                  <a:cubicBezTo>
                    <a:pt x="253175" y="384238"/>
                    <a:pt x="226504" y="389382"/>
                    <a:pt x="197834" y="389382"/>
                  </a:cubicBezTo>
                  <a:close/>
                  <a:moveTo>
                    <a:pt x="199263" y="315278"/>
                  </a:moveTo>
                  <a:cubicBezTo>
                    <a:pt x="216598" y="315278"/>
                    <a:pt x="232124" y="312039"/>
                    <a:pt x="245935" y="305753"/>
                  </a:cubicBezTo>
                  <a:cubicBezTo>
                    <a:pt x="259747" y="299371"/>
                    <a:pt x="271558" y="290798"/>
                    <a:pt x="281368" y="279940"/>
                  </a:cubicBezTo>
                  <a:cubicBezTo>
                    <a:pt x="291179" y="269081"/>
                    <a:pt x="298704" y="256508"/>
                    <a:pt x="303847" y="242125"/>
                  </a:cubicBezTo>
                  <a:cubicBezTo>
                    <a:pt x="308991" y="227743"/>
                    <a:pt x="311563" y="212598"/>
                    <a:pt x="311563" y="196501"/>
                  </a:cubicBezTo>
                  <a:lnTo>
                    <a:pt x="311563" y="195072"/>
                  </a:lnTo>
                  <a:cubicBezTo>
                    <a:pt x="311563" y="178594"/>
                    <a:pt x="308800" y="163068"/>
                    <a:pt x="303181" y="148400"/>
                  </a:cubicBezTo>
                  <a:cubicBezTo>
                    <a:pt x="297561" y="133826"/>
                    <a:pt x="289750" y="121063"/>
                    <a:pt x="279654" y="110204"/>
                  </a:cubicBezTo>
                  <a:cubicBezTo>
                    <a:pt x="269558" y="99346"/>
                    <a:pt x="257651" y="90773"/>
                    <a:pt x="243840" y="84392"/>
                  </a:cubicBezTo>
                  <a:cubicBezTo>
                    <a:pt x="230029" y="78010"/>
                    <a:pt x="214693" y="74867"/>
                    <a:pt x="197834" y="74867"/>
                  </a:cubicBezTo>
                  <a:cubicBezTo>
                    <a:pt x="180975" y="74867"/>
                    <a:pt x="165640" y="78010"/>
                    <a:pt x="151829" y="84392"/>
                  </a:cubicBezTo>
                  <a:cubicBezTo>
                    <a:pt x="138017" y="90773"/>
                    <a:pt x="126206" y="99250"/>
                    <a:pt x="116396" y="109823"/>
                  </a:cubicBezTo>
                  <a:cubicBezTo>
                    <a:pt x="106585" y="120396"/>
                    <a:pt x="99060" y="133064"/>
                    <a:pt x="93917" y="147638"/>
                  </a:cubicBezTo>
                  <a:cubicBezTo>
                    <a:pt x="88773" y="162211"/>
                    <a:pt x="86201" y="177546"/>
                    <a:pt x="86201" y="193548"/>
                  </a:cubicBezTo>
                  <a:lnTo>
                    <a:pt x="86201" y="194977"/>
                  </a:lnTo>
                  <a:cubicBezTo>
                    <a:pt x="86201" y="211455"/>
                    <a:pt x="88963" y="226886"/>
                    <a:pt x="94583" y="241268"/>
                  </a:cubicBezTo>
                  <a:cubicBezTo>
                    <a:pt x="100203" y="255651"/>
                    <a:pt x="108013" y="268319"/>
                    <a:pt x="118110" y="279463"/>
                  </a:cubicBezTo>
                  <a:cubicBezTo>
                    <a:pt x="128206" y="290513"/>
                    <a:pt x="140113" y="299275"/>
                    <a:pt x="153924" y="305562"/>
                  </a:cubicBezTo>
                  <a:cubicBezTo>
                    <a:pt x="167735" y="311944"/>
                    <a:pt x="182880"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25" name="Freeform: Shape 24">
              <a:extLst>
                <a:ext uri="{FF2B5EF4-FFF2-40B4-BE49-F238E27FC236}">
                  <a16:creationId xmlns:a16="http://schemas.microsoft.com/office/drawing/2014/main" id="{5ABECB0E-867B-23EE-611F-D47BC967FBDC}"/>
                </a:ext>
              </a:extLst>
            </p:cNvPr>
            <p:cNvSpPr/>
            <p:nvPr/>
          </p:nvSpPr>
          <p:spPr>
            <a:xfrm>
              <a:off x="5806925"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2 w 296894"/>
                <a:gd name="connsiteY36" fmla="*/ 224980 h 386714"/>
                <a:gd name="connsiteX37" fmla="*/ 296894 w 296894"/>
                <a:gd name="connsiteY37" fmla="*/ 267938 h 386714"/>
                <a:gd name="connsiteX38" fmla="*/ 296894 w 296894"/>
                <a:gd name="connsiteY38" fmla="*/ 269367 h 386714"/>
                <a:gd name="connsiteX39" fmla="*/ 286322 w 296894"/>
                <a:gd name="connsiteY39" fmla="*/ 320897 h 386714"/>
                <a:gd name="connsiteX40" fmla="*/ 256984 w 296894"/>
                <a:gd name="connsiteY40" fmla="*/ 357188 h 386714"/>
                <a:gd name="connsiteX41" fmla="*/ 212789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8" y="298704"/>
                    <a:pt x="100013" y="306514"/>
                  </a:cubicBezTo>
                  <a:cubicBezTo>
                    <a:pt x="120967" y="314325"/>
                    <a:pt x="141161" y="318135"/>
                    <a:pt x="160401" y="318135"/>
                  </a:cubicBezTo>
                  <a:cubicBezTo>
                    <a:pt x="179642" y="318135"/>
                    <a:pt x="192976"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2" y="241078"/>
                    <a:pt x="176498" y="237553"/>
                    <a:pt x="166402" y="234220"/>
                  </a:cubicBezTo>
                  <a:cubicBezTo>
                    <a:pt x="156305" y="230886"/>
                    <a:pt x="145733" y="227647"/>
                    <a:pt x="134969" y="224314"/>
                  </a:cubicBezTo>
                  <a:cubicBezTo>
                    <a:pt x="121253" y="220599"/>
                    <a:pt x="107537" y="216122"/>
                    <a:pt x="93631" y="210884"/>
                  </a:cubicBezTo>
                  <a:cubicBezTo>
                    <a:pt x="79724" y="205740"/>
                    <a:pt x="67246" y="198977"/>
                    <a:pt x="56197" y="190786"/>
                  </a:cubicBezTo>
                  <a:cubicBezTo>
                    <a:pt x="45149" y="182594"/>
                    <a:pt x="36100" y="172307"/>
                    <a:pt x="28956" y="160115"/>
                  </a:cubicBezTo>
                  <a:cubicBezTo>
                    <a:pt x="21908"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5"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7" y="156210"/>
                    <a:pt x="180975" y="159448"/>
                  </a:cubicBezTo>
                  <a:cubicBezTo>
                    <a:pt x="194596" y="163639"/>
                    <a:pt x="208312" y="168592"/>
                    <a:pt x="222028" y="174212"/>
                  </a:cubicBezTo>
                  <a:cubicBezTo>
                    <a:pt x="235649" y="179832"/>
                    <a:pt x="248031" y="186785"/>
                    <a:pt x="259080" y="194977"/>
                  </a:cubicBezTo>
                  <a:cubicBezTo>
                    <a:pt x="270129" y="203168"/>
                    <a:pt x="279273" y="213169"/>
                    <a:pt x="286322" y="224980"/>
                  </a:cubicBezTo>
                  <a:cubicBezTo>
                    <a:pt x="293370" y="236696"/>
                    <a:pt x="296894" y="251079"/>
                    <a:pt x="296894" y="267938"/>
                  </a:cubicBezTo>
                  <a:lnTo>
                    <a:pt x="296894" y="269367"/>
                  </a:lnTo>
                  <a:cubicBezTo>
                    <a:pt x="296894" y="289084"/>
                    <a:pt x="293370" y="306229"/>
                    <a:pt x="286322" y="320897"/>
                  </a:cubicBezTo>
                  <a:cubicBezTo>
                    <a:pt x="279273" y="335470"/>
                    <a:pt x="269462" y="347567"/>
                    <a:pt x="256984" y="357188"/>
                  </a:cubicBezTo>
                  <a:cubicBezTo>
                    <a:pt x="244507" y="366808"/>
                    <a:pt x="229743" y="374142"/>
                    <a:pt x="212789"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6" name="Freeform: Shape 25">
              <a:extLst>
                <a:ext uri="{FF2B5EF4-FFF2-40B4-BE49-F238E27FC236}">
                  <a16:creationId xmlns:a16="http://schemas.microsoft.com/office/drawing/2014/main" id="{13E3A888-8134-8F26-024E-56658FAE3B76}"/>
                </a:ext>
              </a:extLst>
            </p:cNvPr>
            <p:cNvSpPr/>
            <p:nvPr/>
          </p:nvSpPr>
          <p:spPr>
            <a:xfrm>
              <a:off x="589573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6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160" y="318135"/>
                    <a:pt x="160401" y="318135"/>
                  </a:cubicBezTo>
                  <a:cubicBezTo>
                    <a:pt x="179641" y="318135"/>
                    <a:pt x="192976"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4"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792"/>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7" name="Freeform: Shape 26">
              <a:extLst>
                <a:ext uri="{FF2B5EF4-FFF2-40B4-BE49-F238E27FC236}">
                  <a16:creationId xmlns:a16="http://schemas.microsoft.com/office/drawing/2014/main" id="{B6382948-55A6-1769-E497-B00C520C10C6}"/>
                </a:ext>
              </a:extLst>
            </p:cNvPr>
            <p:cNvSpPr/>
            <p:nvPr/>
          </p:nvSpPr>
          <p:spPr>
            <a:xfrm>
              <a:off x="5985812" y="700558"/>
              <a:ext cx="85097" cy="97141"/>
            </a:xfrm>
            <a:custGeom>
              <a:avLst/>
              <a:gdLst>
                <a:gd name="connsiteX0" fmla="*/ 253651 w 338518"/>
                <a:gd name="connsiteY0" fmla="*/ 378619 h 386429"/>
                <a:gd name="connsiteX1" fmla="*/ 253651 w 338518"/>
                <a:gd name="connsiteY1" fmla="*/ 332708 h 386429"/>
                <a:gd name="connsiteX2" fmla="*/ 204883 w 338518"/>
                <a:gd name="connsiteY2" fmla="*/ 370904 h 386429"/>
                <a:gd name="connsiteX3" fmla="*/ 132779 w 338518"/>
                <a:gd name="connsiteY3" fmla="*/ 386429 h 386429"/>
                <a:gd name="connsiteX4" fmla="*/ 81915 w 338518"/>
                <a:gd name="connsiteY4" fmla="*/ 379000 h 386429"/>
                <a:gd name="connsiteX5" fmla="*/ 39910 w 338518"/>
                <a:gd name="connsiteY5" fmla="*/ 357092 h 386429"/>
                <a:gd name="connsiteX6" fmla="*/ 10954 w 338518"/>
                <a:gd name="connsiteY6" fmla="*/ 321088 h 386429"/>
                <a:gd name="connsiteX7" fmla="*/ 0 w 338518"/>
                <a:gd name="connsiteY7" fmla="*/ 271272 h 386429"/>
                <a:gd name="connsiteX8" fmla="*/ 0 w 338518"/>
                <a:gd name="connsiteY8" fmla="*/ 269843 h 386429"/>
                <a:gd name="connsiteX9" fmla="*/ 11335 w 338518"/>
                <a:gd name="connsiteY9" fmla="*/ 215741 h 386429"/>
                <a:gd name="connsiteX10" fmla="*/ 42767 w 338518"/>
                <a:gd name="connsiteY10" fmla="*/ 177546 h 386429"/>
                <a:gd name="connsiteX11" fmla="*/ 90773 w 338518"/>
                <a:gd name="connsiteY11" fmla="*/ 154972 h 386429"/>
                <a:gd name="connsiteX12" fmla="*/ 151162 w 338518"/>
                <a:gd name="connsiteY12" fmla="*/ 147542 h 386429"/>
                <a:gd name="connsiteX13" fmla="*/ 208788 w 338518"/>
                <a:gd name="connsiteY13" fmla="*/ 151829 h 386429"/>
                <a:gd name="connsiteX14" fmla="*/ 254413 w 338518"/>
                <a:gd name="connsiteY14" fmla="*/ 163163 h 386429"/>
                <a:gd name="connsiteX15" fmla="*/ 254413 w 338518"/>
                <a:gd name="connsiteY15" fmla="*/ 156115 h 386429"/>
                <a:gd name="connsiteX16" fmla="*/ 230696 w 338518"/>
                <a:gd name="connsiteY16" fmla="*/ 96774 h 386429"/>
                <a:gd name="connsiteX17" fmla="*/ 162496 w 338518"/>
                <a:gd name="connsiteY17" fmla="*/ 76295 h 386429"/>
                <a:gd name="connsiteX18" fmla="*/ 106013 w 338518"/>
                <a:gd name="connsiteY18" fmla="*/ 82677 h 386429"/>
                <a:gd name="connsiteX19" fmla="*/ 55816 w 338518"/>
                <a:gd name="connsiteY19" fmla="*/ 99632 h 386429"/>
                <a:gd name="connsiteX20" fmla="*/ 32480 w 338518"/>
                <a:gd name="connsiteY20" fmla="*/ 31052 h 386429"/>
                <a:gd name="connsiteX21" fmla="*/ 96107 w 338518"/>
                <a:gd name="connsiteY21" fmla="*/ 8477 h 386429"/>
                <a:gd name="connsiteX22" fmla="*/ 174593 w 338518"/>
                <a:gd name="connsiteY22" fmla="*/ 0 h 386429"/>
                <a:gd name="connsiteX23" fmla="*/ 298228 w 338518"/>
                <a:gd name="connsiteY23" fmla="*/ 41338 h 386429"/>
                <a:gd name="connsiteX24" fmla="*/ 338519 w 338518"/>
                <a:gd name="connsiteY24" fmla="*/ 157544 h 386429"/>
                <a:gd name="connsiteX25" fmla="*/ 338519 w 338518"/>
                <a:gd name="connsiteY25" fmla="*/ 378714 h 386429"/>
                <a:gd name="connsiteX26" fmla="*/ 253746 w 338518"/>
                <a:gd name="connsiteY26" fmla="*/ 378714 h 386429"/>
                <a:gd name="connsiteX27" fmla="*/ 255746 w 338518"/>
                <a:gd name="connsiteY27" fmla="*/ 222409 h 386429"/>
                <a:gd name="connsiteX28" fmla="*/ 217265 w 338518"/>
                <a:gd name="connsiteY28" fmla="*/ 211836 h 386429"/>
                <a:gd name="connsiteX29" fmla="*/ 170307 w 338518"/>
                <a:gd name="connsiteY29" fmla="*/ 207550 h 386429"/>
                <a:gd name="connsiteX30" fmla="*/ 107442 w 338518"/>
                <a:gd name="connsiteY30" fmla="*/ 223075 h 386429"/>
                <a:gd name="connsiteX31" fmla="*/ 84868 w 338518"/>
                <a:gd name="connsiteY31" fmla="*/ 265462 h 386429"/>
                <a:gd name="connsiteX32" fmla="*/ 84868 w 338518"/>
                <a:gd name="connsiteY32" fmla="*/ 266891 h 386429"/>
                <a:gd name="connsiteX33" fmla="*/ 105728 w 338518"/>
                <a:gd name="connsiteY33" fmla="*/ 307848 h 386429"/>
                <a:gd name="connsiteX34" fmla="*/ 156972 w 338518"/>
                <a:gd name="connsiteY34" fmla="*/ 321945 h 386429"/>
                <a:gd name="connsiteX35" fmla="*/ 196215 w 338518"/>
                <a:gd name="connsiteY35" fmla="*/ 316325 h 386429"/>
                <a:gd name="connsiteX36" fmla="*/ 227647 w 338518"/>
                <a:gd name="connsiteY36" fmla="*/ 300419 h 386429"/>
                <a:gd name="connsiteX37" fmla="*/ 248507 w 338518"/>
                <a:gd name="connsiteY37" fmla="*/ 275654 h 386429"/>
                <a:gd name="connsiteX38" fmla="*/ 255937 w 338518"/>
                <a:gd name="connsiteY38" fmla="*/ 243459 h 386429"/>
                <a:gd name="connsiteX39" fmla="*/ 255937 w 338518"/>
                <a:gd name="connsiteY39" fmla="*/ 222218 h 3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8518" h="386429">
                  <a:moveTo>
                    <a:pt x="253651" y="378619"/>
                  </a:moveTo>
                  <a:lnTo>
                    <a:pt x="253651" y="332708"/>
                  </a:lnTo>
                  <a:cubicBezTo>
                    <a:pt x="240887" y="347758"/>
                    <a:pt x="224695" y="360521"/>
                    <a:pt x="204883" y="370904"/>
                  </a:cubicBezTo>
                  <a:cubicBezTo>
                    <a:pt x="185071" y="381286"/>
                    <a:pt x="161068" y="386429"/>
                    <a:pt x="132779" y="386429"/>
                  </a:cubicBezTo>
                  <a:cubicBezTo>
                    <a:pt x="114871" y="386429"/>
                    <a:pt x="97917" y="383953"/>
                    <a:pt x="81915" y="379000"/>
                  </a:cubicBezTo>
                  <a:cubicBezTo>
                    <a:pt x="65913" y="374047"/>
                    <a:pt x="51911" y="366713"/>
                    <a:pt x="39910" y="357092"/>
                  </a:cubicBezTo>
                  <a:cubicBezTo>
                    <a:pt x="27908" y="347472"/>
                    <a:pt x="18193" y="335471"/>
                    <a:pt x="10954" y="321088"/>
                  </a:cubicBezTo>
                  <a:cubicBezTo>
                    <a:pt x="3620" y="306705"/>
                    <a:pt x="0" y="290132"/>
                    <a:pt x="0" y="271272"/>
                  </a:cubicBezTo>
                  <a:lnTo>
                    <a:pt x="0" y="269843"/>
                  </a:lnTo>
                  <a:cubicBezTo>
                    <a:pt x="0" y="249079"/>
                    <a:pt x="3810" y="231077"/>
                    <a:pt x="11335" y="215741"/>
                  </a:cubicBezTo>
                  <a:cubicBezTo>
                    <a:pt x="18859" y="200406"/>
                    <a:pt x="29337" y="187738"/>
                    <a:pt x="42767" y="177546"/>
                  </a:cubicBezTo>
                  <a:cubicBezTo>
                    <a:pt x="56197" y="167450"/>
                    <a:pt x="72199" y="159925"/>
                    <a:pt x="90773" y="154972"/>
                  </a:cubicBezTo>
                  <a:cubicBezTo>
                    <a:pt x="109347" y="150019"/>
                    <a:pt x="129540" y="147542"/>
                    <a:pt x="151162" y="147542"/>
                  </a:cubicBezTo>
                  <a:cubicBezTo>
                    <a:pt x="172783" y="147542"/>
                    <a:pt x="192976" y="148971"/>
                    <a:pt x="208788" y="151829"/>
                  </a:cubicBezTo>
                  <a:cubicBezTo>
                    <a:pt x="224599" y="154686"/>
                    <a:pt x="239744" y="158401"/>
                    <a:pt x="254413" y="163163"/>
                  </a:cubicBezTo>
                  <a:lnTo>
                    <a:pt x="254413" y="156115"/>
                  </a:lnTo>
                  <a:cubicBezTo>
                    <a:pt x="254413" y="130207"/>
                    <a:pt x="246507" y="110395"/>
                    <a:pt x="230696" y="96774"/>
                  </a:cubicBezTo>
                  <a:cubicBezTo>
                    <a:pt x="214884" y="83153"/>
                    <a:pt x="192214" y="76295"/>
                    <a:pt x="162496" y="76295"/>
                  </a:cubicBezTo>
                  <a:cubicBezTo>
                    <a:pt x="141351" y="76295"/>
                    <a:pt x="122491" y="78391"/>
                    <a:pt x="106013" y="82677"/>
                  </a:cubicBezTo>
                  <a:cubicBezTo>
                    <a:pt x="89535" y="86963"/>
                    <a:pt x="72771" y="92583"/>
                    <a:pt x="55816" y="99632"/>
                  </a:cubicBezTo>
                  <a:lnTo>
                    <a:pt x="32480" y="31052"/>
                  </a:lnTo>
                  <a:cubicBezTo>
                    <a:pt x="53149" y="21622"/>
                    <a:pt x="74390" y="14097"/>
                    <a:pt x="96107" y="8477"/>
                  </a:cubicBezTo>
                  <a:cubicBezTo>
                    <a:pt x="117729" y="2858"/>
                    <a:pt x="143923" y="0"/>
                    <a:pt x="174593" y="0"/>
                  </a:cubicBezTo>
                  <a:cubicBezTo>
                    <a:pt x="230124" y="0"/>
                    <a:pt x="271367" y="13811"/>
                    <a:pt x="298228" y="41338"/>
                  </a:cubicBezTo>
                  <a:cubicBezTo>
                    <a:pt x="325088" y="68866"/>
                    <a:pt x="338519" y="107633"/>
                    <a:pt x="338519" y="157544"/>
                  </a:cubicBezTo>
                  <a:lnTo>
                    <a:pt x="338519" y="378714"/>
                  </a:lnTo>
                  <a:lnTo>
                    <a:pt x="253746" y="378714"/>
                  </a:lnTo>
                  <a:close/>
                  <a:moveTo>
                    <a:pt x="255746" y="222409"/>
                  </a:moveTo>
                  <a:cubicBezTo>
                    <a:pt x="244888" y="218123"/>
                    <a:pt x="232029" y="214598"/>
                    <a:pt x="217265" y="211836"/>
                  </a:cubicBezTo>
                  <a:cubicBezTo>
                    <a:pt x="202406" y="208979"/>
                    <a:pt x="186785" y="207550"/>
                    <a:pt x="170307" y="207550"/>
                  </a:cubicBezTo>
                  <a:cubicBezTo>
                    <a:pt x="143446" y="207550"/>
                    <a:pt x="122491" y="212693"/>
                    <a:pt x="107442" y="223075"/>
                  </a:cubicBezTo>
                  <a:cubicBezTo>
                    <a:pt x="92392" y="233458"/>
                    <a:pt x="84868" y="247555"/>
                    <a:pt x="84868" y="265462"/>
                  </a:cubicBezTo>
                  <a:lnTo>
                    <a:pt x="84868" y="266891"/>
                  </a:lnTo>
                  <a:cubicBezTo>
                    <a:pt x="84868" y="284798"/>
                    <a:pt x="91821" y="298418"/>
                    <a:pt x="105728" y="307848"/>
                  </a:cubicBezTo>
                  <a:cubicBezTo>
                    <a:pt x="119634" y="317278"/>
                    <a:pt x="136684" y="321945"/>
                    <a:pt x="156972" y="321945"/>
                  </a:cubicBezTo>
                  <a:cubicBezTo>
                    <a:pt x="171069" y="321945"/>
                    <a:pt x="184213" y="320040"/>
                    <a:pt x="196215" y="316325"/>
                  </a:cubicBezTo>
                  <a:cubicBezTo>
                    <a:pt x="208216" y="312515"/>
                    <a:pt x="218694" y="307277"/>
                    <a:pt x="227647" y="300419"/>
                  </a:cubicBezTo>
                  <a:cubicBezTo>
                    <a:pt x="236601" y="293561"/>
                    <a:pt x="243554" y="285369"/>
                    <a:pt x="248507" y="275654"/>
                  </a:cubicBezTo>
                  <a:cubicBezTo>
                    <a:pt x="253460" y="266033"/>
                    <a:pt x="255937" y="255270"/>
                    <a:pt x="255937" y="243459"/>
                  </a:cubicBezTo>
                  <a:lnTo>
                    <a:pt x="255937" y="222218"/>
                  </a:lnTo>
                  <a:close/>
                </a:path>
              </a:pathLst>
            </a:custGeom>
            <a:solidFill>
              <a:srgbClr val="44505E"/>
            </a:solidFill>
            <a:ln w="9525" cap="flat">
              <a:noFill/>
              <a:prstDash val="solid"/>
              <a:miter/>
            </a:ln>
          </p:spPr>
          <p:txBody>
            <a:bodyPr rtlCol="0" anchor="ctr"/>
            <a:lstStyle/>
            <a:p>
              <a:endParaRPr lang="pt-BR" noProof="0"/>
            </a:p>
          </p:txBody>
        </p:sp>
        <p:sp>
          <p:nvSpPr>
            <p:cNvPr id="28" name="Freeform: Shape 27">
              <a:extLst>
                <a:ext uri="{FF2B5EF4-FFF2-40B4-BE49-F238E27FC236}">
                  <a16:creationId xmlns:a16="http://schemas.microsoft.com/office/drawing/2014/main" id="{1B65CE3F-FD2B-811E-EF86-8C45658F22CB}"/>
                </a:ext>
              </a:extLst>
            </p:cNvPr>
            <p:cNvSpPr/>
            <p:nvPr/>
          </p:nvSpPr>
          <p:spPr>
            <a:xfrm>
              <a:off x="6088843" y="700318"/>
              <a:ext cx="74610" cy="97213"/>
            </a:xfrm>
            <a:custGeom>
              <a:avLst/>
              <a:gdLst>
                <a:gd name="connsiteX0" fmla="*/ 158305 w 296799"/>
                <a:gd name="connsiteY0" fmla="*/ 386715 h 386714"/>
                <a:gd name="connsiteX1" fmla="*/ 76676 w 296799"/>
                <a:gd name="connsiteY1" fmla="*/ 372427 h 386714"/>
                <a:gd name="connsiteX2" fmla="*/ 0 w 296799"/>
                <a:gd name="connsiteY2" fmla="*/ 330327 h 386714"/>
                <a:gd name="connsiteX3" fmla="*/ 38195 w 296799"/>
                <a:gd name="connsiteY3" fmla="*/ 272224 h 386714"/>
                <a:gd name="connsiteX4" fmla="*/ 100013 w 296799"/>
                <a:gd name="connsiteY4" fmla="*/ 306514 h 386714"/>
                <a:gd name="connsiteX5" fmla="*/ 160401 w 296799"/>
                <a:gd name="connsiteY5" fmla="*/ 318135 h 386714"/>
                <a:gd name="connsiteX6" fmla="*/ 203168 w 296799"/>
                <a:gd name="connsiteY6" fmla="*/ 307181 h 386714"/>
                <a:gd name="connsiteX7" fmla="*/ 218408 w 296799"/>
                <a:gd name="connsiteY7" fmla="*/ 277939 h 386714"/>
                <a:gd name="connsiteX8" fmla="*/ 218408 w 296799"/>
                <a:gd name="connsiteY8" fmla="*/ 276511 h 386714"/>
                <a:gd name="connsiteX9" fmla="*/ 211646 w 296799"/>
                <a:gd name="connsiteY9" fmla="*/ 258223 h 386714"/>
                <a:gd name="connsiteX10" fmla="*/ 193262 w 296799"/>
                <a:gd name="connsiteY10" fmla="*/ 244792 h 386714"/>
                <a:gd name="connsiteX11" fmla="*/ 166402 w 296799"/>
                <a:gd name="connsiteY11" fmla="*/ 234220 h 386714"/>
                <a:gd name="connsiteX12" fmla="*/ 134969 w 296799"/>
                <a:gd name="connsiteY12" fmla="*/ 224314 h 386714"/>
                <a:gd name="connsiteX13" fmla="*/ 93631 w 296799"/>
                <a:gd name="connsiteY13" fmla="*/ 210884 h 386714"/>
                <a:gd name="connsiteX14" fmla="*/ 56197 w 296799"/>
                <a:gd name="connsiteY14" fmla="*/ 190786 h 386714"/>
                <a:gd name="connsiteX15" fmla="*/ 28956 w 296799"/>
                <a:gd name="connsiteY15" fmla="*/ 160115 h 386714"/>
                <a:gd name="connsiteX16" fmla="*/ 18383 w 296799"/>
                <a:gd name="connsiteY16" fmla="*/ 114967 h 386714"/>
                <a:gd name="connsiteX17" fmla="*/ 18383 w 296799"/>
                <a:gd name="connsiteY17" fmla="*/ 113538 h 386714"/>
                <a:gd name="connsiteX18" fmla="*/ 28575 w 296799"/>
                <a:gd name="connsiteY18" fmla="*/ 66294 h 386714"/>
                <a:gd name="connsiteX19" fmla="*/ 56864 w 296799"/>
                <a:gd name="connsiteY19" fmla="*/ 30385 h 386714"/>
                <a:gd name="connsiteX20" fmla="*/ 99250 w 296799"/>
                <a:gd name="connsiteY20" fmla="*/ 7810 h 386714"/>
                <a:gd name="connsiteX21" fmla="*/ 151162 w 296799"/>
                <a:gd name="connsiteY21" fmla="*/ 0 h 386714"/>
                <a:gd name="connsiteX22" fmla="*/ 222504 w 296799"/>
                <a:gd name="connsiteY22" fmla="*/ 11430 h 386714"/>
                <a:gd name="connsiteX23" fmla="*/ 288227 w 296799"/>
                <a:gd name="connsiteY23" fmla="*/ 42863 h 386714"/>
                <a:gd name="connsiteX24" fmla="*/ 254317 w 296799"/>
                <a:gd name="connsiteY24" fmla="*/ 103918 h 386714"/>
                <a:gd name="connsiteX25" fmla="*/ 199930 w 296799"/>
                <a:gd name="connsiteY25" fmla="*/ 78105 h 386714"/>
                <a:gd name="connsiteX26" fmla="*/ 149066 w 296799"/>
                <a:gd name="connsiteY26" fmla="*/ 68580 h 386714"/>
                <a:gd name="connsiteX27" fmla="*/ 110585 w 296799"/>
                <a:gd name="connsiteY27" fmla="*/ 79153 h 386714"/>
                <a:gd name="connsiteX28" fmla="*/ 96774 w 296799"/>
                <a:gd name="connsiteY28" fmla="*/ 105918 h 386714"/>
                <a:gd name="connsiteX29" fmla="*/ 96774 w 296799"/>
                <a:gd name="connsiteY29" fmla="*/ 107347 h 386714"/>
                <a:gd name="connsiteX30" fmla="*/ 103822 w 296799"/>
                <a:gd name="connsiteY30" fmla="*/ 124587 h 386714"/>
                <a:gd name="connsiteX31" fmla="*/ 122587 w 296799"/>
                <a:gd name="connsiteY31" fmla="*/ 138017 h 386714"/>
                <a:gd name="connsiteX32" fmla="*/ 149447 w 296799"/>
                <a:gd name="connsiteY32" fmla="*/ 149257 h 386714"/>
                <a:gd name="connsiteX33" fmla="*/ 180880 w 296799"/>
                <a:gd name="connsiteY33" fmla="*/ 159448 h 386714"/>
                <a:gd name="connsiteX34" fmla="*/ 221837 w 296799"/>
                <a:gd name="connsiteY34" fmla="*/ 174212 h 386714"/>
                <a:gd name="connsiteX35" fmla="*/ 258985 w 296799"/>
                <a:gd name="connsiteY35" fmla="*/ 194977 h 386714"/>
                <a:gd name="connsiteX36" fmla="*/ 286226 w 296799"/>
                <a:gd name="connsiteY36" fmla="*/ 224980 h 386714"/>
                <a:gd name="connsiteX37" fmla="*/ 296799 w 296799"/>
                <a:gd name="connsiteY37" fmla="*/ 267938 h 386714"/>
                <a:gd name="connsiteX38" fmla="*/ 296799 w 296799"/>
                <a:gd name="connsiteY38" fmla="*/ 269367 h 386714"/>
                <a:gd name="connsiteX39" fmla="*/ 286226 w 296799"/>
                <a:gd name="connsiteY39" fmla="*/ 320897 h 386714"/>
                <a:gd name="connsiteX40" fmla="*/ 256889 w 296799"/>
                <a:gd name="connsiteY40" fmla="*/ 357188 h 386714"/>
                <a:gd name="connsiteX41" fmla="*/ 212693 w 296799"/>
                <a:gd name="connsiteY41" fmla="*/ 379095 h 386714"/>
                <a:gd name="connsiteX42" fmla="*/ 158305 w 296799"/>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799"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065" y="318135"/>
                    <a:pt x="160401" y="318135"/>
                  </a:cubicBezTo>
                  <a:cubicBezTo>
                    <a:pt x="179737" y="318135"/>
                    <a:pt x="193072"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828" y="227647"/>
                    <a:pt x="134969" y="224314"/>
                  </a:cubicBezTo>
                  <a:cubicBezTo>
                    <a:pt x="121348" y="220599"/>
                    <a:pt x="107537" y="216122"/>
                    <a:pt x="93631" y="210884"/>
                  </a:cubicBezTo>
                  <a:cubicBezTo>
                    <a:pt x="79724" y="205740"/>
                    <a:pt x="67246" y="198977"/>
                    <a:pt x="56197" y="190786"/>
                  </a:cubicBezTo>
                  <a:cubicBezTo>
                    <a:pt x="45148" y="182594"/>
                    <a:pt x="36004"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874" y="0"/>
                    <a:pt x="151162" y="0"/>
                  </a:cubicBezTo>
                  <a:cubicBezTo>
                    <a:pt x="174688" y="0"/>
                    <a:pt x="198501" y="3810"/>
                    <a:pt x="222504" y="11430"/>
                  </a:cubicBezTo>
                  <a:cubicBezTo>
                    <a:pt x="246507" y="19050"/>
                    <a:pt x="268414" y="29527"/>
                    <a:pt x="288227" y="42863"/>
                  </a:cubicBezTo>
                  <a:lnTo>
                    <a:pt x="254317"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774" y="95155"/>
                    <a:pt x="96774" y="105918"/>
                  </a:cubicBezTo>
                  <a:lnTo>
                    <a:pt x="96774" y="107347"/>
                  </a:lnTo>
                  <a:cubicBezTo>
                    <a:pt x="96774" y="113919"/>
                    <a:pt x="99155" y="119634"/>
                    <a:pt x="103822" y="124587"/>
                  </a:cubicBezTo>
                  <a:cubicBezTo>
                    <a:pt x="108490" y="129540"/>
                    <a:pt x="114776" y="134017"/>
                    <a:pt x="122587" y="138017"/>
                  </a:cubicBezTo>
                  <a:cubicBezTo>
                    <a:pt x="130397" y="142018"/>
                    <a:pt x="139351" y="145732"/>
                    <a:pt x="149447" y="149257"/>
                  </a:cubicBezTo>
                  <a:cubicBezTo>
                    <a:pt x="159544" y="152781"/>
                    <a:pt x="170021" y="156210"/>
                    <a:pt x="180880" y="159448"/>
                  </a:cubicBezTo>
                  <a:cubicBezTo>
                    <a:pt x="194500" y="163639"/>
                    <a:pt x="208216" y="168592"/>
                    <a:pt x="221837" y="174212"/>
                  </a:cubicBezTo>
                  <a:cubicBezTo>
                    <a:pt x="235458" y="179832"/>
                    <a:pt x="247840" y="186785"/>
                    <a:pt x="258985" y="194977"/>
                  </a:cubicBezTo>
                  <a:cubicBezTo>
                    <a:pt x="270034" y="203168"/>
                    <a:pt x="279178" y="213169"/>
                    <a:pt x="286226" y="224980"/>
                  </a:cubicBezTo>
                  <a:cubicBezTo>
                    <a:pt x="293275" y="236696"/>
                    <a:pt x="296799" y="251079"/>
                    <a:pt x="296799" y="267938"/>
                  </a:cubicBezTo>
                  <a:lnTo>
                    <a:pt x="296799" y="269367"/>
                  </a:lnTo>
                  <a:cubicBezTo>
                    <a:pt x="296799" y="289084"/>
                    <a:pt x="293275" y="306229"/>
                    <a:pt x="286226" y="320897"/>
                  </a:cubicBezTo>
                  <a:cubicBezTo>
                    <a:pt x="279178" y="335470"/>
                    <a:pt x="269367" y="347567"/>
                    <a:pt x="256889" y="357188"/>
                  </a:cubicBezTo>
                  <a:cubicBezTo>
                    <a:pt x="244412" y="366808"/>
                    <a:pt x="229648" y="374142"/>
                    <a:pt x="212693" y="379095"/>
                  </a:cubicBezTo>
                  <a:cubicBezTo>
                    <a:pt x="195739" y="384048"/>
                    <a:pt x="177641" y="386524"/>
                    <a:pt x="158305" y="386524"/>
                  </a:cubicBezTo>
                  <a:close/>
                </a:path>
              </a:pathLst>
            </a:custGeom>
            <a:solidFill>
              <a:srgbClr val="44505E"/>
            </a:solidFill>
            <a:ln w="9525" cap="flat">
              <a:noFill/>
              <a:prstDash val="solid"/>
              <a:miter/>
            </a:ln>
          </p:spPr>
          <p:txBody>
            <a:bodyPr rtlCol="0" anchor="ctr"/>
            <a:lstStyle/>
            <a:p>
              <a:endParaRPr lang="pt-BR" noProof="0"/>
            </a:p>
          </p:txBody>
        </p:sp>
        <p:sp>
          <p:nvSpPr>
            <p:cNvPr id="29" name="Freeform: Shape 28">
              <a:extLst>
                <a:ext uri="{FF2B5EF4-FFF2-40B4-BE49-F238E27FC236}">
                  <a16:creationId xmlns:a16="http://schemas.microsoft.com/office/drawing/2014/main" id="{0B9973D3-E513-6588-D278-F3607FD320BD}"/>
                </a:ext>
              </a:extLst>
            </p:cNvPr>
            <p:cNvSpPr/>
            <p:nvPr/>
          </p:nvSpPr>
          <p:spPr>
            <a:xfrm>
              <a:off x="6238590"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4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7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2 w 568166"/>
                <a:gd name="connsiteY21" fmla="*/ 381000 h 381000"/>
                <a:gd name="connsiteX22" fmla="*/ 240982 w 568166"/>
                <a:gd name="connsiteY22" fmla="*/ 168783 h 381000"/>
                <a:gd name="connsiteX23" fmla="*/ 221266 w 568166"/>
                <a:gd name="connsiteY23" fmla="*/ 101822 h 381000"/>
                <a:gd name="connsiteX24" fmla="*/ 165640 w 568166"/>
                <a:gd name="connsiteY24" fmla="*/ 78581 h 381000"/>
                <a:gd name="connsiteX25" fmla="*/ 108013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69" y="48196"/>
                    <a:pt x="105918" y="40576"/>
                  </a:cubicBezTo>
                  <a:cubicBezTo>
                    <a:pt x="112966" y="32956"/>
                    <a:pt x="121063" y="26099"/>
                    <a:pt x="130207" y="19907"/>
                  </a:cubicBezTo>
                  <a:cubicBezTo>
                    <a:pt x="139351" y="13716"/>
                    <a:pt x="149638" y="8858"/>
                    <a:pt x="161163" y="5334"/>
                  </a:cubicBezTo>
                  <a:cubicBezTo>
                    <a:pt x="172688" y="1714"/>
                    <a:pt x="185452" y="0"/>
                    <a:pt x="199549" y="0"/>
                  </a:cubicBezTo>
                  <a:cubicBezTo>
                    <a:pt x="226314" y="0"/>
                    <a:pt x="248983" y="6096"/>
                    <a:pt x="267557" y="18193"/>
                  </a:cubicBezTo>
                  <a:cubicBezTo>
                    <a:pt x="286131" y="30289"/>
                    <a:pt x="300323" y="46387"/>
                    <a:pt x="310134" y="66294"/>
                  </a:cubicBezTo>
                  <a:cubicBezTo>
                    <a:pt x="325279" y="46387"/>
                    <a:pt x="343090" y="30289"/>
                    <a:pt x="363664" y="18193"/>
                  </a:cubicBezTo>
                  <a:cubicBezTo>
                    <a:pt x="384238" y="6096"/>
                    <a:pt x="408718" y="0"/>
                    <a:pt x="437007" y="0"/>
                  </a:cubicBezTo>
                  <a:cubicBezTo>
                    <a:pt x="478155"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7" y="78486"/>
                  </a:cubicBezTo>
                  <a:cubicBezTo>
                    <a:pt x="382809" y="78486"/>
                    <a:pt x="364141" y="86392"/>
                    <a:pt x="349377" y="102108"/>
                  </a:cubicBezTo>
                  <a:cubicBezTo>
                    <a:pt x="334613" y="117824"/>
                    <a:pt x="327184" y="140779"/>
                    <a:pt x="327184" y="170879"/>
                  </a:cubicBezTo>
                  <a:lnTo>
                    <a:pt x="327184" y="381000"/>
                  </a:lnTo>
                  <a:lnTo>
                    <a:pt x="240982" y="381000"/>
                  </a:lnTo>
                  <a:lnTo>
                    <a:pt x="240982" y="168783"/>
                  </a:lnTo>
                  <a:cubicBezTo>
                    <a:pt x="240982" y="139637"/>
                    <a:pt x="234410" y="117348"/>
                    <a:pt x="221266" y="101822"/>
                  </a:cubicBezTo>
                  <a:cubicBezTo>
                    <a:pt x="208121" y="86296"/>
                    <a:pt x="189547" y="78581"/>
                    <a:pt x="165640" y="78581"/>
                  </a:cubicBezTo>
                  <a:cubicBezTo>
                    <a:pt x="141732" y="78581"/>
                    <a:pt x="122491" y="86773"/>
                    <a:pt x="108013"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30" name="Freeform: Shape 29">
              <a:extLst>
                <a:ext uri="{FF2B5EF4-FFF2-40B4-BE49-F238E27FC236}">
                  <a16:creationId xmlns:a16="http://schemas.microsoft.com/office/drawing/2014/main" id="{982CDE6E-FAEE-6D12-F0E7-EC160640A37F}"/>
                </a:ext>
              </a:extLst>
            </p:cNvPr>
            <p:cNvSpPr/>
            <p:nvPr/>
          </p:nvSpPr>
          <p:spPr>
            <a:xfrm>
              <a:off x="6400979" y="664258"/>
              <a:ext cx="85097" cy="133441"/>
            </a:xfrm>
            <a:custGeom>
              <a:avLst/>
              <a:gdLst>
                <a:gd name="connsiteX0" fmla="*/ 253651 w 338518"/>
                <a:gd name="connsiteY0" fmla="*/ 523018 h 530828"/>
                <a:gd name="connsiteX1" fmla="*/ 253651 w 338518"/>
                <a:gd name="connsiteY1" fmla="*/ 477107 h 530828"/>
                <a:gd name="connsiteX2" fmla="*/ 204883 w 338518"/>
                <a:gd name="connsiteY2" fmla="*/ 515303 h 530828"/>
                <a:gd name="connsiteX3" fmla="*/ 132779 w 338518"/>
                <a:gd name="connsiteY3" fmla="*/ 530828 h 530828"/>
                <a:gd name="connsiteX4" fmla="*/ 81915 w 338518"/>
                <a:gd name="connsiteY4" fmla="*/ 523399 h 530828"/>
                <a:gd name="connsiteX5" fmla="*/ 39910 w 338518"/>
                <a:gd name="connsiteY5" fmla="*/ 501491 h 530828"/>
                <a:gd name="connsiteX6" fmla="*/ 10954 w 338518"/>
                <a:gd name="connsiteY6" fmla="*/ 465487 h 530828"/>
                <a:gd name="connsiteX7" fmla="*/ 0 w 338518"/>
                <a:gd name="connsiteY7" fmla="*/ 415671 h 530828"/>
                <a:gd name="connsiteX8" fmla="*/ 0 w 338518"/>
                <a:gd name="connsiteY8" fmla="*/ 414242 h 530828"/>
                <a:gd name="connsiteX9" fmla="*/ 11335 w 338518"/>
                <a:gd name="connsiteY9" fmla="*/ 360140 h 530828"/>
                <a:gd name="connsiteX10" fmla="*/ 42767 w 338518"/>
                <a:gd name="connsiteY10" fmla="*/ 321945 h 530828"/>
                <a:gd name="connsiteX11" fmla="*/ 90773 w 338518"/>
                <a:gd name="connsiteY11" fmla="*/ 299371 h 530828"/>
                <a:gd name="connsiteX12" fmla="*/ 151162 w 338518"/>
                <a:gd name="connsiteY12" fmla="*/ 291941 h 530828"/>
                <a:gd name="connsiteX13" fmla="*/ 208788 w 338518"/>
                <a:gd name="connsiteY13" fmla="*/ 296228 h 530828"/>
                <a:gd name="connsiteX14" fmla="*/ 254413 w 338518"/>
                <a:gd name="connsiteY14" fmla="*/ 307562 h 530828"/>
                <a:gd name="connsiteX15" fmla="*/ 254413 w 338518"/>
                <a:gd name="connsiteY15" fmla="*/ 300514 h 530828"/>
                <a:gd name="connsiteX16" fmla="*/ 230696 w 338518"/>
                <a:gd name="connsiteY16" fmla="*/ 241173 h 530828"/>
                <a:gd name="connsiteX17" fmla="*/ 162496 w 338518"/>
                <a:gd name="connsiteY17" fmla="*/ 220694 h 530828"/>
                <a:gd name="connsiteX18" fmla="*/ 106013 w 338518"/>
                <a:gd name="connsiteY18" fmla="*/ 227076 h 530828"/>
                <a:gd name="connsiteX19" fmla="*/ 55817 w 338518"/>
                <a:gd name="connsiteY19" fmla="*/ 244031 h 530828"/>
                <a:gd name="connsiteX20" fmla="*/ 32480 w 338518"/>
                <a:gd name="connsiteY20" fmla="*/ 175451 h 530828"/>
                <a:gd name="connsiteX21" fmla="*/ 96107 w 338518"/>
                <a:gd name="connsiteY21" fmla="*/ 152876 h 530828"/>
                <a:gd name="connsiteX22" fmla="*/ 174593 w 338518"/>
                <a:gd name="connsiteY22" fmla="*/ 144399 h 530828"/>
                <a:gd name="connsiteX23" fmla="*/ 298228 w 338518"/>
                <a:gd name="connsiteY23" fmla="*/ 185738 h 530828"/>
                <a:gd name="connsiteX24" fmla="*/ 338519 w 338518"/>
                <a:gd name="connsiteY24" fmla="*/ 301943 h 530828"/>
                <a:gd name="connsiteX25" fmla="*/ 338519 w 338518"/>
                <a:gd name="connsiteY25" fmla="*/ 523113 h 530828"/>
                <a:gd name="connsiteX26" fmla="*/ 253746 w 338518"/>
                <a:gd name="connsiteY26" fmla="*/ 523113 h 530828"/>
                <a:gd name="connsiteX27" fmla="*/ 45911 w 338518"/>
                <a:gd name="connsiteY27" fmla="*/ 95441 h 530828"/>
                <a:gd name="connsiteX28" fmla="*/ 75248 w 338518"/>
                <a:gd name="connsiteY28" fmla="*/ 29718 h 530828"/>
                <a:gd name="connsiteX29" fmla="*/ 125063 w 338518"/>
                <a:gd name="connsiteY29" fmla="*/ 7144 h 530828"/>
                <a:gd name="connsiteX30" fmla="*/ 154019 w 338518"/>
                <a:gd name="connsiteY30" fmla="*/ 11716 h 530828"/>
                <a:gd name="connsiteX31" fmla="*/ 181261 w 338518"/>
                <a:gd name="connsiteY31" fmla="*/ 21622 h 530828"/>
                <a:gd name="connsiteX32" fmla="*/ 205645 w 338518"/>
                <a:gd name="connsiteY32" fmla="*/ 31147 h 530828"/>
                <a:gd name="connsiteX33" fmla="*/ 226790 w 338518"/>
                <a:gd name="connsiteY33" fmla="*/ 35338 h 530828"/>
                <a:gd name="connsiteX34" fmla="*/ 250127 w 338518"/>
                <a:gd name="connsiteY34" fmla="*/ 26861 h 530828"/>
                <a:gd name="connsiteX35" fmla="*/ 265652 w 338518"/>
                <a:gd name="connsiteY35" fmla="*/ 0 h 530828"/>
                <a:gd name="connsiteX36" fmla="*/ 312991 w 338518"/>
                <a:gd name="connsiteY36" fmla="*/ 14859 h 530828"/>
                <a:gd name="connsiteX37" fmla="*/ 283655 w 338518"/>
                <a:gd name="connsiteY37" fmla="*/ 79820 h 530828"/>
                <a:gd name="connsiteX38" fmla="*/ 233839 w 338518"/>
                <a:gd name="connsiteY38" fmla="*/ 102394 h 530828"/>
                <a:gd name="connsiteX39" fmla="*/ 204883 w 338518"/>
                <a:gd name="connsiteY39" fmla="*/ 98203 h 530828"/>
                <a:gd name="connsiteX40" fmla="*/ 177641 w 338518"/>
                <a:gd name="connsiteY40" fmla="*/ 88678 h 530828"/>
                <a:gd name="connsiteX41" fmla="*/ 152876 w 338518"/>
                <a:gd name="connsiteY41" fmla="*/ 78772 h 530828"/>
                <a:gd name="connsiteX42" fmla="*/ 132017 w 338518"/>
                <a:gd name="connsiteY42" fmla="*/ 74200 h 530828"/>
                <a:gd name="connsiteX43" fmla="*/ 108680 w 338518"/>
                <a:gd name="connsiteY43" fmla="*/ 82677 h 530828"/>
                <a:gd name="connsiteX44" fmla="*/ 93154 w 338518"/>
                <a:gd name="connsiteY44" fmla="*/ 109538 h 530828"/>
                <a:gd name="connsiteX45" fmla="*/ 45815 w 338518"/>
                <a:gd name="connsiteY45" fmla="*/ 95441 h 530828"/>
                <a:gd name="connsiteX46" fmla="*/ 255842 w 338518"/>
                <a:gd name="connsiteY46" fmla="*/ 366808 h 530828"/>
                <a:gd name="connsiteX47" fmla="*/ 217361 w 338518"/>
                <a:gd name="connsiteY47" fmla="*/ 356235 h 530828"/>
                <a:gd name="connsiteX48" fmla="*/ 170402 w 338518"/>
                <a:gd name="connsiteY48" fmla="*/ 351949 h 530828"/>
                <a:gd name="connsiteX49" fmla="*/ 107537 w 338518"/>
                <a:gd name="connsiteY49" fmla="*/ 367475 h 530828"/>
                <a:gd name="connsiteX50" fmla="*/ 84963 w 338518"/>
                <a:gd name="connsiteY50" fmla="*/ 409861 h 530828"/>
                <a:gd name="connsiteX51" fmla="*/ 84963 w 338518"/>
                <a:gd name="connsiteY51" fmla="*/ 411290 h 530828"/>
                <a:gd name="connsiteX52" fmla="*/ 105823 w 338518"/>
                <a:gd name="connsiteY52" fmla="*/ 452247 h 530828"/>
                <a:gd name="connsiteX53" fmla="*/ 157067 w 338518"/>
                <a:gd name="connsiteY53" fmla="*/ 466344 h 530828"/>
                <a:gd name="connsiteX54" fmla="*/ 196310 w 338518"/>
                <a:gd name="connsiteY54" fmla="*/ 460724 h 530828"/>
                <a:gd name="connsiteX55" fmla="*/ 227743 w 338518"/>
                <a:gd name="connsiteY55" fmla="*/ 444818 h 530828"/>
                <a:gd name="connsiteX56" fmla="*/ 248603 w 338518"/>
                <a:gd name="connsiteY56" fmla="*/ 420053 h 530828"/>
                <a:gd name="connsiteX57" fmla="*/ 256032 w 338518"/>
                <a:gd name="connsiteY57" fmla="*/ 387858 h 530828"/>
                <a:gd name="connsiteX58" fmla="*/ 256032 w 338518"/>
                <a:gd name="connsiteY58" fmla="*/ 366617 h 5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8518" h="530828">
                  <a:moveTo>
                    <a:pt x="253651" y="523018"/>
                  </a:moveTo>
                  <a:lnTo>
                    <a:pt x="253651" y="477107"/>
                  </a:lnTo>
                  <a:cubicBezTo>
                    <a:pt x="240887" y="492157"/>
                    <a:pt x="224695" y="504920"/>
                    <a:pt x="204883" y="515303"/>
                  </a:cubicBezTo>
                  <a:cubicBezTo>
                    <a:pt x="185071" y="525685"/>
                    <a:pt x="161068" y="530828"/>
                    <a:pt x="132779" y="530828"/>
                  </a:cubicBezTo>
                  <a:cubicBezTo>
                    <a:pt x="114871" y="530828"/>
                    <a:pt x="97917" y="528352"/>
                    <a:pt x="81915" y="523399"/>
                  </a:cubicBezTo>
                  <a:cubicBezTo>
                    <a:pt x="65913" y="518446"/>
                    <a:pt x="51911" y="511112"/>
                    <a:pt x="39910" y="501491"/>
                  </a:cubicBezTo>
                  <a:cubicBezTo>
                    <a:pt x="27908" y="491871"/>
                    <a:pt x="18193" y="479870"/>
                    <a:pt x="10954" y="465487"/>
                  </a:cubicBezTo>
                  <a:cubicBezTo>
                    <a:pt x="3620" y="451104"/>
                    <a:pt x="0" y="434531"/>
                    <a:pt x="0" y="415671"/>
                  </a:cubicBezTo>
                  <a:lnTo>
                    <a:pt x="0" y="414242"/>
                  </a:lnTo>
                  <a:cubicBezTo>
                    <a:pt x="0" y="393478"/>
                    <a:pt x="3810" y="375476"/>
                    <a:pt x="11335" y="360140"/>
                  </a:cubicBezTo>
                  <a:cubicBezTo>
                    <a:pt x="18860" y="344805"/>
                    <a:pt x="29337" y="332137"/>
                    <a:pt x="42767" y="321945"/>
                  </a:cubicBezTo>
                  <a:cubicBezTo>
                    <a:pt x="56198" y="311849"/>
                    <a:pt x="72200" y="304324"/>
                    <a:pt x="90773" y="299371"/>
                  </a:cubicBezTo>
                  <a:cubicBezTo>
                    <a:pt x="109347" y="294418"/>
                    <a:pt x="129540" y="291941"/>
                    <a:pt x="151162" y="291941"/>
                  </a:cubicBezTo>
                  <a:cubicBezTo>
                    <a:pt x="172784" y="291941"/>
                    <a:pt x="192977" y="293370"/>
                    <a:pt x="208788" y="296228"/>
                  </a:cubicBezTo>
                  <a:cubicBezTo>
                    <a:pt x="224600" y="299085"/>
                    <a:pt x="239744" y="302800"/>
                    <a:pt x="254413" y="307562"/>
                  </a:cubicBezTo>
                  <a:lnTo>
                    <a:pt x="254413" y="300514"/>
                  </a:lnTo>
                  <a:cubicBezTo>
                    <a:pt x="254413" y="274606"/>
                    <a:pt x="246507" y="254794"/>
                    <a:pt x="230696" y="241173"/>
                  </a:cubicBezTo>
                  <a:cubicBezTo>
                    <a:pt x="214884" y="227552"/>
                    <a:pt x="192215" y="220694"/>
                    <a:pt x="162496" y="220694"/>
                  </a:cubicBezTo>
                  <a:cubicBezTo>
                    <a:pt x="141351" y="220694"/>
                    <a:pt x="122492" y="222790"/>
                    <a:pt x="106013" y="227076"/>
                  </a:cubicBezTo>
                  <a:cubicBezTo>
                    <a:pt x="89535" y="231362"/>
                    <a:pt x="72771" y="236982"/>
                    <a:pt x="55817" y="244031"/>
                  </a:cubicBezTo>
                  <a:lnTo>
                    <a:pt x="32480" y="175451"/>
                  </a:lnTo>
                  <a:cubicBezTo>
                    <a:pt x="53150" y="166021"/>
                    <a:pt x="74390" y="158496"/>
                    <a:pt x="96107" y="152876"/>
                  </a:cubicBezTo>
                  <a:cubicBezTo>
                    <a:pt x="117729" y="147257"/>
                    <a:pt x="143923" y="144399"/>
                    <a:pt x="174593" y="144399"/>
                  </a:cubicBezTo>
                  <a:cubicBezTo>
                    <a:pt x="230124" y="144399"/>
                    <a:pt x="271367" y="158210"/>
                    <a:pt x="298228" y="185738"/>
                  </a:cubicBezTo>
                  <a:cubicBezTo>
                    <a:pt x="325088" y="213265"/>
                    <a:pt x="338519" y="252032"/>
                    <a:pt x="338519" y="301943"/>
                  </a:cubicBezTo>
                  <a:lnTo>
                    <a:pt x="338519" y="523113"/>
                  </a:lnTo>
                  <a:lnTo>
                    <a:pt x="253746" y="523113"/>
                  </a:lnTo>
                  <a:close/>
                  <a:moveTo>
                    <a:pt x="45911" y="95441"/>
                  </a:moveTo>
                  <a:cubicBezTo>
                    <a:pt x="53912" y="66675"/>
                    <a:pt x="63722" y="44768"/>
                    <a:pt x="75248" y="29718"/>
                  </a:cubicBezTo>
                  <a:cubicBezTo>
                    <a:pt x="86773" y="14669"/>
                    <a:pt x="103442" y="7144"/>
                    <a:pt x="125063" y="7144"/>
                  </a:cubicBezTo>
                  <a:cubicBezTo>
                    <a:pt x="134969" y="7144"/>
                    <a:pt x="144590" y="8668"/>
                    <a:pt x="154019" y="11716"/>
                  </a:cubicBezTo>
                  <a:cubicBezTo>
                    <a:pt x="163449" y="14764"/>
                    <a:pt x="172498" y="18098"/>
                    <a:pt x="181261" y="21622"/>
                  </a:cubicBezTo>
                  <a:cubicBezTo>
                    <a:pt x="189929" y="25146"/>
                    <a:pt x="198120" y="28385"/>
                    <a:pt x="205645" y="31147"/>
                  </a:cubicBezTo>
                  <a:cubicBezTo>
                    <a:pt x="213170" y="34004"/>
                    <a:pt x="220218" y="35338"/>
                    <a:pt x="226790" y="35338"/>
                  </a:cubicBezTo>
                  <a:cubicBezTo>
                    <a:pt x="237173" y="35338"/>
                    <a:pt x="244888" y="32480"/>
                    <a:pt x="250127" y="26861"/>
                  </a:cubicBezTo>
                  <a:cubicBezTo>
                    <a:pt x="255270" y="21241"/>
                    <a:pt x="260509" y="12287"/>
                    <a:pt x="265652" y="0"/>
                  </a:cubicBezTo>
                  <a:lnTo>
                    <a:pt x="312991" y="14859"/>
                  </a:lnTo>
                  <a:cubicBezTo>
                    <a:pt x="304991" y="43148"/>
                    <a:pt x="295180" y="64770"/>
                    <a:pt x="283655" y="79820"/>
                  </a:cubicBezTo>
                  <a:cubicBezTo>
                    <a:pt x="272129" y="94869"/>
                    <a:pt x="255461" y="102394"/>
                    <a:pt x="233839" y="102394"/>
                  </a:cubicBezTo>
                  <a:cubicBezTo>
                    <a:pt x="223933" y="102394"/>
                    <a:pt x="214313" y="100965"/>
                    <a:pt x="204883" y="98203"/>
                  </a:cubicBezTo>
                  <a:cubicBezTo>
                    <a:pt x="195453" y="95345"/>
                    <a:pt x="186404" y="92202"/>
                    <a:pt x="177641" y="88678"/>
                  </a:cubicBezTo>
                  <a:cubicBezTo>
                    <a:pt x="168878" y="85154"/>
                    <a:pt x="160687" y="81820"/>
                    <a:pt x="152876" y="78772"/>
                  </a:cubicBezTo>
                  <a:cubicBezTo>
                    <a:pt x="145066" y="75724"/>
                    <a:pt x="138113" y="74200"/>
                    <a:pt x="132017" y="74200"/>
                  </a:cubicBezTo>
                  <a:cubicBezTo>
                    <a:pt x="121634" y="74200"/>
                    <a:pt x="113919" y="77057"/>
                    <a:pt x="108680" y="82677"/>
                  </a:cubicBezTo>
                  <a:cubicBezTo>
                    <a:pt x="103537" y="88297"/>
                    <a:pt x="98298" y="97250"/>
                    <a:pt x="93154" y="109538"/>
                  </a:cubicBezTo>
                  <a:lnTo>
                    <a:pt x="45815" y="95441"/>
                  </a:lnTo>
                  <a:close/>
                  <a:moveTo>
                    <a:pt x="255842" y="366808"/>
                  </a:moveTo>
                  <a:cubicBezTo>
                    <a:pt x="244983" y="362522"/>
                    <a:pt x="232124" y="358997"/>
                    <a:pt x="217361" y="356235"/>
                  </a:cubicBezTo>
                  <a:cubicBezTo>
                    <a:pt x="202502" y="353378"/>
                    <a:pt x="186880" y="351949"/>
                    <a:pt x="170402" y="351949"/>
                  </a:cubicBezTo>
                  <a:cubicBezTo>
                    <a:pt x="143542" y="351949"/>
                    <a:pt x="122587" y="357092"/>
                    <a:pt x="107537" y="367475"/>
                  </a:cubicBezTo>
                  <a:cubicBezTo>
                    <a:pt x="92488" y="377857"/>
                    <a:pt x="84963" y="391954"/>
                    <a:pt x="84963" y="409861"/>
                  </a:cubicBezTo>
                  <a:lnTo>
                    <a:pt x="84963" y="411290"/>
                  </a:lnTo>
                  <a:cubicBezTo>
                    <a:pt x="84963" y="429197"/>
                    <a:pt x="91916" y="442817"/>
                    <a:pt x="105823" y="452247"/>
                  </a:cubicBezTo>
                  <a:cubicBezTo>
                    <a:pt x="119729" y="461677"/>
                    <a:pt x="136779" y="466344"/>
                    <a:pt x="157067" y="466344"/>
                  </a:cubicBezTo>
                  <a:cubicBezTo>
                    <a:pt x="171164" y="466344"/>
                    <a:pt x="184309" y="464439"/>
                    <a:pt x="196310" y="460724"/>
                  </a:cubicBezTo>
                  <a:cubicBezTo>
                    <a:pt x="208312" y="456914"/>
                    <a:pt x="218789" y="451676"/>
                    <a:pt x="227743" y="444818"/>
                  </a:cubicBezTo>
                  <a:cubicBezTo>
                    <a:pt x="236696" y="437960"/>
                    <a:pt x="243650" y="429768"/>
                    <a:pt x="248603" y="420053"/>
                  </a:cubicBezTo>
                  <a:cubicBezTo>
                    <a:pt x="253555" y="410432"/>
                    <a:pt x="256032" y="399669"/>
                    <a:pt x="256032" y="387858"/>
                  </a:cubicBezTo>
                  <a:lnTo>
                    <a:pt x="256032" y="366617"/>
                  </a:lnTo>
                  <a:close/>
                </a:path>
              </a:pathLst>
            </a:custGeom>
            <a:solidFill>
              <a:srgbClr val="44505E"/>
            </a:solidFill>
            <a:ln w="9525" cap="flat">
              <a:noFill/>
              <a:prstDash val="solid"/>
              <a:miter/>
            </a:ln>
          </p:spPr>
          <p:txBody>
            <a:bodyPr rtlCol="0" anchor="ctr"/>
            <a:lstStyle/>
            <a:p>
              <a:endParaRPr lang="pt-BR" noProof="0"/>
            </a:p>
          </p:txBody>
        </p:sp>
        <p:sp>
          <p:nvSpPr>
            <p:cNvPr id="31" name="Freeform: Shape 30">
              <a:extLst>
                <a:ext uri="{FF2B5EF4-FFF2-40B4-BE49-F238E27FC236}">
                  <a16:creationId xmlns:a16="http://schemas.microsoft.com/office/drawing/2014/main" id="{D26C4898-0419-F456-61D5-D0C7DF92200F}"/>
                </a:ext>
              </a:extLst>
            </p:cNvPr>
            <p:cNvSpPr/>
            <p:nvPr/>
          </p:nvSpPr>
          <p:spPr>
            <a:xfrm>
              <a:off x="6506477" y="699959"/>
              <a:ext cx="100038" cy="97908"/>
            </a:xfrm>
            <a:custGeom>
              <a:avLst/>
              <a:gdLst>
                <a:gd name="connsiteX0" fmla="*/ 197834 w 397954"/>
                <a:gd name="connsiteY0" fmla="*/ 389477 h 389477"/>
                <a:gd name="connsiteX1" fmla="*/ 119063 w 397954"/>
                <a:gd name="connsiteY1" fmla="*/ 374237 h 389477"/>
                <a:gd name="connsiteX2" fmla="*/ 56198 w 397954"/>
                <a:gd name="connsiteY2" fmla="*/ 332899 h 389477"/>
                <a:gd name="connsiteX3" fmla="*/ 14859 w 397954"/>
                <a:gd name="connsiteY3" fmla="*/ 271463 h 389477"/>
                <a:gd name="connsiteX4" fmla="*/ 0 w 397954"/>
                <a:gd name="connsiteY4" fmla="*/ 196501 h 389477"/>
                <a:gd name="connsiteX5" fmla="*/ 0 w 397954"/>
                <a:gd name="connsiteY5" fmla="*/ 195072 h 389477"/>
                <a:gd name="connsiteX6" fmla="*/ 15240 w 397954"/>
                <a:gd name="connsiteY6" fmla="*/ 119444 h 389477"/>
                <a:gd name="connsiteX7" fmla="*/ 56960 w 397954"/>
                <a:gd name="connsiteY7" fmla="*/ 57626 h 389477"/>
                <a:gd name="connsiteX8" fmla="*/ 119825 w 397954"/>
                <a:gd name="connsiteY8" fmla="*/ 15526 h 389477"/>
                <a:gd name="connsiteX9" fmla="*/ 199358 w 397954"/>
                <a:gd name="connsiteY9" fmla="*/ 0 h 389477"/>
                <a:gd name="connsiteX10" fmla="*/ 278892 w 397954"/>
                <a:gd name="connsiteY10" fmla="*/ 15240 h 389477"/>
                <a:gd name="connsiteX11" fmla="*/ 341757 w 397954"/>
                <a:gd name="connsiteY11" fmla="*/ 56959 h 389477"/>
                <a:gd name="connsiteX12" fmla="*/ 383096 w 397954"/>
                <a:gd name="connsiteY12" fmla="*/ 118396 h 389477"/>
                <a:gd name="connsiteX13" fmla="*/ 397955 w 397954"/>
                <a:gd name="connsiteY13" fmla="*/ 193643 h 389477"/>
                <a:gd name="connsiteX14" fmla="*/ 397955 w 397954"/>
                <a:gd name="connsiteY14" fmla="*/ 195072 h 389477"/>
                <a:gd name="connsiteX15" fmla="*/ 382714 w 397954"/>
                <a:gd name="connsiteY15" fmla="*/ 270034 h 389477"/>
                <a:gd name="connsiteX16" fmla="*/ 340995 w 397954"/>
                <a:gd name="connsiteY16" fmla="*/ 331851 h 389477"/>
                <a:gd name="connsiteX17" fmla="*/ 277749 w 397954"/>
                <a:gd name="connsiteY17" fmla="*/ 373856 h 389477"/>
                <a:gd name="connsiteX18" fmla="*/ 197834 w 397954"/>
                <a:gd name="connsiteY18" fmla="*/ 389382 h 389477"/>
                <a:gd name="connsiteX19" fmla="*/ 199263 w 397954"/>
                <a:gd name="connsiteY19" fmla="*/ 315278 h 389477"/>
                <a:gd name="connsiteX20" fmla="*/ 245936 w 397954"/>
                <a:gd name="connsiteY20" fmla="*/ 305753 h 389477"/>
                <a:gd name="connsiteX21" fmla="*/ 281369 w 397954"/>
                <a:gd name="connsiteY21" fmla="*/ 279940 h 389477"/>
                <a:gd name="connsiteX22" fmla="*/ 303848 w 397954"/>
                <a:gd name="connsiteY22" fmla="*/ 242125 h 389477"/>
                <a:gd name="connsiteX23" fmla="*/ 311563 w 397954"/>
                <a:gd name="connsiteY23" fmla="*/ 196501 h 389477"/>
                <a:gd name="connsiteX24" fmla="*/ 311563 w 397954"/>
                <a:gd name="connsiteY24" fmla="*/ 195072 h 389477"/>
                <a:gd name="connsiteX25" fmla="*/ 303181 w 397954"/>
                <a:gd name="connsiteY25" fmla="*/ 148400 h 389477"/>
                <a:gd name="connsiteX26" fmla="*/ 279654 w 397954"/>
                <a:gd name="connsiteY26" fmla="*/ 110204 h 389477"/>
                <a:gd name="connsiteX27" fmla="*/ 243840 w 397954"/>
                <a:gd name="connsiteY27" fmla="*/ 84392 h 389477"/>
                <a:gd name="connsiteX28" fmla="*/ 197834 w 397954"/>
                <a:gd name="connsiteY28" fmla="*/ 74867 h 389477"/>
                <a:gd name="connsiteX29" fmla="*/ 151829 w 397954"/>
                <a:gd name="connsiteY29" fmla="*/ 84392 h 389477"/>
                <a:gd name="connsiteX30" fmla="*/ 116396 w 397954"/>
                <a:gd name="connsiteY30" fmla="*/ 109823 h 389477"/>
                <a:gd name="connsiteX31" fmla="*/ 93916 w 397954"/>
                <a:gd name="connsiteY31" fmla="*/ 147638 h 389477"/>
                <a:gd name="connsiteX32" fmla="*/ 86201 w 397954"/>
                <a:gd name="connsiteY32" fmla="*/ 193548 h 389477"/>
                <a:gd name="connsiteX33" fmla="*/ 86201 w 397954"/>
                <a:gd name="connsiteY33" fmla="*/ 194977 h 389477"/>
                <a:gd name="connsiteX34" fmla="*/ 94583 w 397954"/>
                <a:gd name="connsiteY34" fmla="*/ 241268 h 389477"/>
                <a:gd name="connsiteX35" fmla="*/ 118110 w 397954"/>
                <a:gd name="connsiteY35" fmla="*/ 279463 h 389477"/>
                <a:gd name="connsiteX36" fmla="*/ 153924 w 397954"/>
                <a:gd name="connsiteY36" fmla="*/ 305562 h 389477"/>
                <a:gd name="connsiteX37" fmla="*/ 199263 w 397954"/>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954" h="389477">
                  <a:moveTo>
                    <a:pt x="197834" y="389477"/>
                  </a:moveTo>
                  <a:cubicBezTo>
                    <a:pt x="169545" y="389477"/>
                    <a:pt x="143351" y="384429"/>
                    <a:pt x="119063" y="374237"/>
                  </a:cubicBezTo>
                  <a:cubicBezTo>
                    <a:pt x="94774" y="364141"/>
                    <a:pt x="73819" y="350330"/>
                    <a:pt x="56198" y="332899"/>
                  </a:cubicBezTo>
                  <a:cubicBezTo>
                    <a:pt x="38576" y="315468"/>
                    <a:pt x="24765" y="294989"/>
                    <a:pt x="14859" y="271463"/>
                  </a:cubicBezTo>
                  <a:cubicBezTo>
                    <a:pt x="4953" y="247936"/>
                    <a:pt x="0" y="222980"/>
                    <a:pt x="0" y="196501"/>
                  </a:cubicBezTo>
                  <a:lnTo>
                    <a:pt x="0" y="195072"/>
                  </a:lnTo>
                  <a:cubicBezTo>
                    <a:pt x="0" y="168212"/>
                    <a:pt x="5049" y="143066"/>
                    <a:pt x="15240" y="119444"/>
                  </a:cubicBezTo>
                  <a:cubicBezTo>
                    <a:pt x="25337" y="95917"/>
                    <a:pt x="39243" y="75248"/>
                    <a:pt x="56960" y="57626"/>
                  </a:cubicBezTo>
                  <a:cubicBezTo>
                    <a:pt x="74676" y="39910"/>
                    <a:pt x="95631" y="25908"/>
                    <a:pt x="119825" y="15526"/>
                  </a:cubicBezTo>
                  <a:cubicBezTo>
                    <a:pt x="144113" y="5144"/>
                    <a:pt x="170593" y="0"/>
                    <a:pt x="199358" y="0"/>
                  </a:cubicBezTo>
                  <a:cubicBezTo>
                    <a:pt x="228124" y="0"/>
                    <a:pt x="254604" y="5048"/>
                    <a:pt x="278892" y="15240"/>
                  </a:cubicBezTo>
                  <a:cubicBezTo>
                    <a:pt x="303181" y="25337"/>
                    <a:pt x="324136" y="39243"/>
                    <a:pt x="341757" y="56959"/>
                  </a:cubicBezTo>
                  <a:cubicBezTo>
                    <a:pt x="359379" y="74676"/>
                    <a:pt x="373189" y="95155"/>
                    <a:pt x="383096" y="118396"/>
                  </a:cubicBezTo>
                  <a:cubicBezTo>
                    <a:pt x="393002" y="141732"/>
                    <a:pt x="397955" y="166783"/>
                    <a:pt x="397955" y="193643"/>
                  </a:cubicBezTo>
                  <a:lnTo>
                    <a:pt x="397955" y="195072"/>
                  </a:lnTo>
                  <a:cubicBezTo>
                    <a:pt x="397955" y="221456"/>
                    <a:pt x="392906" y="246412"/>
                    <a:pt x="382714" y="270034"/>
                  </a:cubicBezTo>
                  <a:cubicBezTo>
                    <a:pt x="372618" y="293561"/>
                    <a:pt x="358712" y="314230"/>
                    <a:pt x="340995" y="331851"/>
                  </a:cubicBezTo>
                  <a:cubicBezTo>
                    <a:pt x="323279" y="349472"/>
                    <a:pt x="302229" y="363569"/>
                    <a:pt x="277749" y="373856"/>
                  </a:cubicBezTo>
                  <a:cubicBezTo>
                    <a:pt x="253270" y="384238"/>
                    <a:pt x="226600" y="389382"/>
                    <a:pt x="197834" y="389382"/>
                  </a:cubicBezTo>
                  <a:close/>
                  <a:moveTo>
                    <a:pt x="199263" y="315278"/>
                  </a:moveTo>
                  <a:cubicBezTo>
                    <a:pt x="216598" y="315278"/>
                    <a:pt x="232124" y="312039"/>
                    <a:pt x="245936" y="305753"/>
                  </a:cubicBezTo>
                  <a:cubicBezTo>
                    <a:pt x="259747" y="299371"/>
                    <a:pt x="271558" y="290798"/>
                    <a:pt x="281369" y="279940"/>
                  </a:cubicBezTo>
                  <a:cubicBezTo>
                    <a:pt x="291179" y="269081"/>
                    <a:pt x="298704" y="256508"/>
                    <a:pt x="303848" y="242125"/>
                  </a:cubicBezTo>
                  <a:cubicBezTo>
                    <a:pt x="308991" y="227743"/>
                    <a:pt x="311563" y="212598"/>
                    <a:pt x="311563" y="196501"/>
                  </a:cubicBezTo>
                  <a:lnTo>
                    <a:pt x="311563" y="195072"/>
                  </a:lnTo>
                  <a:cubicBezTo>
                    <a:pt x="311563" y="178594"/>
                    <a:pt x="308706" y="163068"/>
                    <a:pt x="303181" y="148400"/>
                  </a:cubicBezTo>
                  <a:cubicBezTo>
                    <a:pt x="297561" y="133826"/>
                    <a:pt x="289750" y="121063"/>
                    <a:pt x="279654" y="110204"/>
                  </a:cubicBezTo>
                  <a:cubicBezTo>
                    <a:pt x="269557" y="99346"/>
                    <a:pt x="257651" y="90773"/>
                    <a:pt x="243840" y="84392"/>
                  </a:cubicBezTo>
                  <a:cubicBezTo>
                    <a:pt x="230029" y="78010"/>
                    <a:pt x="214694" y="74867"/>
                    <a:pt x="197834" y="74867"/>
                  </a:cubicBezTo>
                  <a:cubicBezTo>
                    <a:pt x="180975" y="74867"/>
                    <a:pt x="165640" y="78010"/>
                    <a:pt x="151829" y="84392"/>
                  </a:cubicBezTo>
                  <a:cubicBezTo>
                    <a:pt x="138017" y="90773"/>
                    <a:pt x="126206" y="99250"/>
                    <a:pt x="116396" y="109823"/>
                  </a:cubicBezTo>
                  <a:cubicBezTo>
                    <a:pt x="106585" y="120396"/>
                    <a:pt x="99060" y="133064"/>
                    <a:pt x="93916" y="147638"/>
                  </a:cubicBezTo>
                  <a:cubicBezTo>
                    <a:pt x="88773" y="162211"/>
                    <a:pt x="86201" y="177546"/>
                    <a:pt x="86201" y="193548"/>
                  </a:cubicBezTo>
                  <a:lnTo>
                    <a:pt x="86201" y="194977"/>
                  </a:lnTo>
                  <a:cubicBezTo>
                    <a:pt x="86201" y="211455"/>
                    <a:pt x="89059" y="226886"/>
                    <a:pt x="94583" y="241268"/>
                  </a:cubicBezTo>
                  <a:cubicBezTo>
                    <a:pt x="100203" y="255651"/>
                    <a:pt x="108014" y="268319"/>
                    <a:pt x="118110" y="279463"/>
                  </a:cubicBezTo>
                  <a:cubicBezTo>
                    <a:pt x="128207" y="290608"/>
                    <a:pt x="140113" y="299275"/>
                    <a:pt x="153924" y="305562"/>
                  </a:cubicBezTo>
                  <a:cubicBezTo>
                    <a:pt x="167735" y="311944"/>
                    <a:pt x="182785"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32" name="Freeform: Shape 31">
              <a:extLst>
                <a:ext uri="{FF2B5EF4-FFF2-40B4-BE49-F238E27FC236}">
                  <a16:creationId xmlns:a16="http://schemas.microsoft.com/office/drawing/2014/main" id="{3E9845B7-F4E0-6E0F-19F9-1353ECF8CCAA}"/>
                </a:ext>
              </a:extLst>
            </p:cNvPr>
            <p:cNvSpPr/>
            <p:nvPr/>
          </p:nvSpPr>
          <p:spPr>
            <a:xfrm>
              <a:off x="662071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1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7 w 296894"/>
                <a:gd name="connsiteY23" fmla="*/ 42863 h 386714"/>
                <a:gd name="connsiteX24" fmla="*/ 254318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7 w 296894"/>
                <a:gd name="connsiteY30" fmla="*/ 124587 h 386714"/>
                <a:gd name="connsiteX31" fmla="*/ 122682 w 296894"/>
                <a:gd name="connsiteY31" fmla="*/ 138017 h 386714"/>
                <a:gd name="connsiteX32" fmla="*/ 149543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6" y="348901"/>
                    <a:pt x="0" y="330327"/>
                  </a:cubicBezTo>
                  <a:lnTo>
                    <a:pt x="38195" y="272224"/>
                  </a:lnTo>
                  <a:cubicBezTo>
                    <a:pt x="58484" y="287274"/>
                    <a:pt x="79057" y="298704"/>
                    <a:pt x="100013" y="306514"/>
                  </a:cubicBezTo>
                  <a:cubicBezTo>
                    <a:pt x="120968" y="314325"/>
                    <a:pt x="141161" y="318135"/>
                    <a:pt x="160401" y="318135"/>
                  </a:cubicBezTo>
                  <a:cubicBezTo>
                    <a:pt x="179641" y="318135"/>
                    <a:pt x="192977"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1" y="241078"/>
                    <a:pt x="176498" y="237553"/>
                    <a:pt x="166401"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2" y="40195"/>
                    <a:pt x="56864" y="30385"/>
                  </a:cubicBezTo>
                  <a:cubicBezTo>
                    <a:pt x="68866" y="20479"/>
                    <a:pt x="82962" y="12954"/>
                    <a:pt x="99250" y="7810"/>
                  </a:cubicBezTo>
                  <a:cubicBezTo>
                    <a:pt x="115538" y="2667"/>
                    <a:pt x="132779" y="0"/>
                    <a:pt x="151162" y="0"/>
                  </a:cubicBezTo>
                  <a:cubicBezTo>
                    <a:pt x="174688" y="0"/>
                    <a:pt x="198501" y="3810"/>
                    <a:pt x="222504" y="11430"/>
                  </a:cubicBezTo>
                  <a:cubicBezTo>
                    <a:pt x="246507" y="19050"/>
                    <a:pt x="268414" y="29527"/>
                    <a:pt x="288227" y="42863"/>
                  </a:cubicBezTo>
                  <a:lnTo>
                    <a:pt x="254318"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7" y="124587"/>
                  </a:cubicBezTo>
                  <a:cubicBezTo>
                    <a:pt x="108585" y="129540"/>
                    <a:pt x="114871" y="134017"/>
                    <a:pt x="122682" y="138017"/>
                  </a:cubicBezTo>
                  <a:cubicBezTo>
                    <a:pt x="130493" y="142018"/>
                    <a:pt x="139351" y="145732"/>
                    <a:pt x="149543"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696"/>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33" name="Freeform: Shape 32">
              <a:extLst>
                <a:ext uri="{FF2B5EF4-FFF2-40B4-BE49-F238E27FC236}">
                  <a16:creationId xmlns:a16="http://schemas.microsoft.com/office/drawing/2014/main" id="{37A7EC33-63F4-2147-A760-DE3D338DCD2D}"/>
                </a:ext>
              </a:extLst>
            </p:cNvPr>
            <p:cNvSpPr/>
            <p:nvPr/>
          </p:nvSpPr>
          <p:spPr>
            <a:xfrm>
              <a:off x="526693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4 w 202977"/>
                <a:gd name="connsiteY17" fmla="*/ 19907 h 239267"/>
                <a:gd name="connsiteX18" fmla="*/ 59246 w 202977"/>
                <a:gd name="connsiteY18" fmla="*/ 5429 h 239267"/>
                <a:gd name="connsiteX19" fmla="*/ 104299 w 202977"/>
                <a:gd name="connsiteY19" fmla="*/ 0 h 239267"/>
                <a:gd name="connsiteX20" fmla="*/ 178880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5 w 202977"/>
                <a:gd name="connsiteY27" fmla="*/ 211169 h 239267"/>
                <a:gd name="connsiteX28" fmla="*/ 122968 w 202977"/>
                <a:gd name="connsiteY28" fmla="*/ 206788 h 239267"/>
                <a:gd name="connsiteX29" fmla="*/ 147257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9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9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3" y="99155"/>
                    <a:pt x="58674" y="95917"/>
                  </a:cubicBezTo>
                  <a:cubicBezTo>
                    <a:pt x="70771" y="92678"/>
                    <a:pt x="84011" y="90964"/>
                    <a:pt x="98584" y="90964"/>
                  </a:cubicBezTo>
                  <a:cubicBezTo>
                    <a:pt x="113157" y="90964"/>
                    <a:pt x="126301" y="91821"/>
                    <a:pt x="137160" y="93631"/>
                  </a:cubicBezTo>
                  <a:cubicBezTo>
                    <a:pt x="148019" y="95440"/>
                    <a:pt x="158687" y="97822"/>
                    <a:pt x="169069" y="100774"/>
                  </a:cubicBezTo>
                  <a:lnTo>
                    <a:pt x="169069" y="93726"/>
                  </a:lnTo>
                  <a:cubicBezTo>
                    <a:pt x="169069" y="73342"/>
                    <a:pt x="163068" y="57912"/>
                    <a:pt x="151162" y="47339"/>
                  </a:cubicBezTo>
                  <a:cubicBezTo>
                    <a:pt x="139256" y="36862"/>
                    <a:pt x="122492" y="31623"/>
                    <a:pt x="100679" y="31623"/>
                  </a:cubicBezTo>
                  <a:cubicBezTo>
                    <a:pt x="86963" y="31623"/>
                    <a:pt x="74581" y="33147"/>
                    <a:pt x="63437" y="36100"/>
                  </a:cubicBezTo>
                  <a:cubicBezTo>
                    <a:pt x="52292" y="39053"/>
                    <a:pt x="41339" y="43053"/>
                    <a:pt x="30671" y="48196"/>
                  </a:cubicBezTo>
                  <a:lnTo>
                    <a:pt x="20384" y="19907"/>
                  </a:lnTo>
                  <a:cubicBezTo>
                    <a:pt x="33147" y="13906"/>
                    <a:pt x="46101" y="9049"/>
                    <a:pt x="59246" y="5429"/>
                  </a:cubicBezTo>
                  <a:cubicBezTo>
                    <a:pt x="72295" y="1810"/>
                    <a:pt x="87344" y="0"/>
                    <a:pt x="104299" y="0"/>
                  </a:cubicBezTo>
                  <a:cubicBezTo>
                    <a:pt x="137065" y="0"/>
                    <a:pt x="161925" y="8477"/>
                    <a:pt x="178880"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99" y="239173"/>
                    <a:pt x="86011" y="239173"/>
                  </a:cubicBezTo>
                  <a:close/>
                  <a:moveTo>
                    <a:pt x="93155" y="211169"/>
                  </a:moveTo>
                  <a:cubicBezTo>
                    <a:pt x="103823" y="211169"/>
                    <a:pt x="113728" y="209740"/>
                    <a:pt x="122968" y="206788"/>
                  </a:cubicBezTo>
                  <a:cubicBezTo>
                    <a:pt x="132207" y="203835"/>
                    <a:pt x="140208" y="199644"/>
                    <a:pt x="147257"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9" y="121444"/>
                  </a:cubicBezTo>
                  <a:cubicBezTo>
                    <a:pt x="129445" y="119348"/>
                    <a:pt x="116776"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244" y="190500"/>
                    <a:pt x="47435" y="195358"/>
                    <a:pt x="52769" y="199263"/>
                  </a:cubicBezTo>
                  <a:cubicBezTo>
                    <a:pt x="58103" y="203073"/>
                    <a:pt x="64294" y="206026"/>
                    <a:pt x="71247" y="208121"/>
                  </a:cubicBezTo>
                  <a:cubicBezTo>
                    <a:pt x="78200" y="210217"/>
                    <a:pt x="85535"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34" name="Freeform: Shape 33">
              <a:extLst>
                <a:ext uri="{FF2B5EF4-FFF2-40B4-BE49-F238E27FC236}">
                  <a16:creationId xmlns:a16="http://schemas.microsoft.com/office/drawing/2014/main" id="{7C8C2520-5A36-D5A5-FC53-2E76BC4F3186}"/>
                </a:ext>
              </a:extLst>
            </p:cNvPr>
            <p:cNvSpPr/>
            <p:nvPr/>
          </p:nvSpPr>
          <p:spPr>
            <a:xfrm>
              <a:off x="5331227"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9" y="303276"/>
                    <a:pt x="71438" y="300895"/>
                  </a:cubicBezTo>
                  <a:cubicBezTo>
                    <a:pt x="63437"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2"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5" name="Freeform: Shape 34">
              <a:extLst>
                <a:ext uri="{FF2B5EF4-FFF2-40B4-BE49-F238E27FC236}">
                  <a16:creationId xmlns:a16="http://schemas.microsoft.com/office/drawing/2014/main" id="{15014C07-58A7-0C7F-2F16-38782D0FD281}"/>
                </a:ext>
              </a:extLst>
            </p:cNvPr>
            <p:cNvSpPr/>
            <p:nvPr/>
          </p:nvSpPr>
          <p:spPr>
            <a:xfrm>
              <a:off x="5381845"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191 w 39242"/>
                <a:gd name="connsiteY5" fmla="*/ 88392 h 319182"/>
                <a:gd name="connsiteX6" fmla="*/ 36576 w 39242"/>
                <a:gd name="connsiteY6" fmla="*/ 88392 h 319182"/>
                <a:gd name="connsiteX7" fmla="*/ 36576 w 39242"/>
                <a:gd name="connsiteY7" fmla="*/ 319183 h 319182"/>
                <a:gd name="connsiteX8" fmla="*/ 2191 w 39242"/>
                <a:gd name="connsiteY8" fmla="*/ 319183 h 319182"/>
                <a:gd name="connsiteX9" fmla="*/ 2191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191" y="88392"/>
                  </a:moveTo>
                  <a:lnTo>
                    <a:pt x="36576" y="88392"/>
                  </a:lnTo>
                  <a:lnTo>
                    <a:pt x="36576" y="319183"/>
                  </a:lnTo>
                  <a:lnTo>
                    <a:pt x="2191" y="319183"/>
                  </a:lnTo>
                  <a:lnTo>
                    <a:pt x="2191" y="88392"/>
                  </a:lnTo>
                  <a:close/>
                </a:path>
              </a:pathLst>
            </a:custGeom>
            <a:solidFill>
              <a:srgbClr val="44505E"/>
            </a:solidFill>
            <a:ln w="9525" cap="flat">
              <a:noFill/>
              <a:prstDash val="solid"/>
              <a:miter/>
            </a:ln>
          </p:spPr>
          <p:txBody>
            <a:bodyPr rtlCol="0" anchor="ctr"/>
            <a:lstStyle/>
            <a:p>
              <a:endParaRPr lang="pt-BR" noProof="0"/>
            </a:p>
          </p:txBody>
        </p:sp>
        <p:sp>
          <p:nvSpPr>
            <p:cNvPr id="36" name="Freeform: Shape 35">
              <a:extLst>
                <a:ext uri="{FF2B5EF4-FFF2-40B4-BE49-F238E27FC236}">
                  <a16:creationId xmlns:a16="http://schemas.microsoft.com/office/drawing/2014/main" id="{F564632B-F55C-531B-4BA9-B6F4A67A1565}"/>
                </a:ext>
              </a:extLst>
            </p:cNvPr>
            <p:cNvSpPr/>
            <p:nvPr/>
          </p:nvSpPr>
          <p:spPr>
            <a:xfrm>
              <a:off x="5406076"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8" y="303276"/>
                    <a:pt x="71438" y="300895"/>
                  </a:cubicBezTo>
                  <a:cubicBezTo>
                    <a:pt x="63436"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1"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7" name="Freeform: Shape 36">
              <a:extLst>
                <a:ext uri="{FF2B5EF4-FFF2-40B4-BE49-F238E27FC236}">
                  <a16:creationId xmlns:a16="http://schemas.microsoft.com/office/drawing/2014/main" id="{690613A3-990F-BEEA-7D00-A5D3E33D5951}"/>
                </a:ext>
              </a:extLst>
            </p:cNvPr>
            <p:cNvSpPr/>
            <p:nvPr/>
          </p:nvSpPr>
          <p:spPr>
            <a:xfrm>
              <a:off x="5455545" y="925297"/>
              <a:ext cx="50594" cy="59238"/>
            </a:xfrm>
            <a:custGeom>
              <a:avLst/>
              <a:gdLst>
                <a:gd name="connsiteX0" fmla="*/ 88392 w 201263"/>
                <a:gd name="connsiteY0" fmla="*/ 235648 h 235648"/>
                <a:gd name="connsiteX1" fmla="*/ 51149 w 201263"/>
                <a:gd name="connsiteY1" fmla="*/ 228981 h 235648"/>
                <a:gd name="connsiteX2" fmla="*/ 23431 w 201263"/>
                <a:gd name="connsiteY2" fmla="*/ 210026 h 235648"/>
                <a:gd name="connsiteX3" fmla="*/ 6001 w 201263"/>
                <a:gd name="connsiteY3" fmla="*/ 180784 h 235648"/>
                <a:gd name="connsiteX4" fmla="*/ 0 w 201263"/>
                <a:gd name="connsiteY4" fmla="*/ 143256 h 235648"/>
                <a:gd name="connsiteX5" fmla="*/ 0 w 201263"/>
                <a:gd name="connsiteY5" fmla="*/ 0 h 235648"/>
                <a:gd name="connsiteX6" fmla="*/ 34385 w 201263"/>
                <a:gd name="connsiteY6" fmla="*/ 0 h 235648"/>
                <a:gd name="connsiteX7" fmla="*/ 34385 w 201263"/>
                <a:gd name="connsiteY7" fmla="*/ 134493 h 235648"/>
                <a:gd name="connsiteX8" fmla="*/ 50864 w 201263"/>
                <a:gd name="connsiteY8" fmla="*/ 185261 h 235648"/>
                <a:gd name="connsiteX9" fmla="*/ 98203 w 201263"/>
                <a:gd name="connsiteY9" fmla="*/ 203930 h 235648"/>
                <a:gd name="connsiteX10" fmla="*/ 125635 w 201263"/>
                <a:gd name="connsiteY10" fmla="*/ 198787 h 235648"/>
                <a:gd name="connsiteX11" fmla="*/ 147542 w 201263"/>
                <a:gd name="connsiteY11" fmla="*/ 184118 h 235648"/>
                <a:gd name="connsiteX12" fmla="*/ 162020 w 201263"/>
                <a:gd name="connsiteY12" fmla="*/ 161163 h 235648"/>
                <a:gd name="connsiteX13" fmla="*/ 167354 w 201263"/>
                <a:gd name="connsiteY13" fmla="*/ 131826 h 235648"/>
                <a:gd name="connsiteX14" fmla="*/ 167354 w 201263"/>
                <a:gd name="connsiteY14" fmla="*/ 0 h 235648"/>
                <a:gd name="connsiteX15" fmla="*/ 201263 w 201263"/>
                <a:gd name="connsiteY15" fmla="*/ 0 h 235648"/>
                <a:gd name="connsiteX16" fmla="*/ 201263 w 201263"/>
                <a:gd name="connsiteY16" fmla="*/ 230791 h 235648"/>
                <a:gd name="connsiteX17" fmla="*/ 167354 w 201263"/>
                <a:gd name="connsiteY17" fmla="*/ 230791 h 235648"/>
                <a:gd name="connsiteX18" fmla="*/ 167354 w 201263"/>
                <a:gd name="connsiteY18" fmla="*/ 190595 h 235648"/>
                <a:gd name="connsiteX19" fmla="*/ 136969 w 201263"/>
                <a:gd name="connsiteY19" fmla="*/ 222504 h 235648"/>
                <a:gd name="connsiteX20" fmla="*/ 88297 w 201263"/>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263" h="235648">
                  <a:moveTo>
                    <a:pt x="88392" y="235648"/>
                  </a:moveTo>
                  <a:cubicBezTo>
                    <a:pt x="74390" y="235648"/>
                    <a:pt x="62008" y="233363"/>
                    <a:pt x="51149" y="228981"/>
                  </a:cubicBezTo>
                  <a:cubicBezTo>
                    <a:pt x="40291" y="224504"/>
                    <a:pt x="31052" y="218218"/>
                    <a:pt x="23431"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864" y="185261"/>
                  </a:cubicBezTo>
                  <a:cubicBezTo>
                    <a:pt x="61913" y="197739"/>
                    <a:pt x="77629" y="203930"/>
                    <a:pt x="98203" y="203930"/>
                  </a:cubicBezTo>
                  <a:cubicBezTo>
                    <a:pt x="108014" y="203930"/>
                    <a:pt x="117158" y="202216"/>
                    <a:pt x="125635" y="198787"/>
                  </a:cubicBezTo>
                  <a:cubicBezTo>
                    <a:pt x="134112" y="195358"/>
                    <a:pt x="141351" y="190500"/>
                    <a:pt x="147542" y="184118"/>
                  </a:cubicBezTo>
                  <a:cubicBezTo>
                    <a:pt x="153638" y="177736"/>
                    <a:pt x="158496" y="170116"/>
                    <a:pt x="162020" y="161163"/>
                  </a:cubicBezTo>
                  <a:cubicBezTo>
                    <a:pt x="165640" y="152305"/>
                    <a:pt x="167354" y="142494"/>
                    <a:pt x="167354" y="131826"/>
                  </a:cubicBezTo>
                  <a:lnTo>
                    <a:pt x="167354" y="0"/>
                  </a:lnTo>
                  <a:lnTo>
                    <a:pt x="201263" y="0"/>
                  </a:lnTo>
                  <a:lnTo>
                    <a:pt x="201263" y="230791"/>
                  </a:lnTo>
                  <a:lnTo>
                    <a:pt x="167354" y="230791"/>
                  </a:lnTo>
                  <a:lnTo>
                    <a:pt x="167354" y="190595"/>
                  </a:lnTo>
                  <a:cubicBezTo>
                    <a:pt x="159639" y="203073"/>
                    <a:pt x="149447" y="213741"/>
                    <a:pt x="136969" y="222504"/>
                  </a:cubicBezTo>
                  <a:cubicBezTo>
                    <a:pt x="124492" y="231267"/>
                    <a:pt x="108299" y="235648"/>
                    <a:pt x="88297" y="235648"/>
                  </a:cubicBezTo>
                  <a:close/>
                </a:path>
              </a:pathLst>
            </a:custGeom>
            <a:solidFill>
              <a:srgbClr val="44505E"/>
            </a:solidFill>
            <a:ln w="9525" cap="flat">
              <a:noFill/>
              <a:prstDash val="solid"/>
              <a:miter/>
            </a:ln>
          </p:spPr>
          <p:txBody>
            <a:bodyPr rtlCol="0" anchor="ctr"/>
            <a:lstStyle/>
            <a:p>
              <a:endParaRPr lang="pt-BR" noProof="0"/>
            </a:p>
          </p:txBody>
        </p:sp>
        <p:sp>
          <p:nvSpPr>
            <p:cNvPr id="38" name="Freeform: Shape 37">
              <a:extLst>
                <a:ext uri="{FF2B5EF4-FFF2-40B4-BE49-F238E27FC236}">
                  <a16:creationId xmlns:a16="http://schemas.microsoft.com/office/drawing/2014/main" id="{21046FFC-809A-A965-1F9E-F860DEA72F3E}"/>
                </a:ext>
              </a:extLst>
            </p:cNvPr>
            <p:cNvSpPr/>
            <p:nvPr/>
          </p:nvSpPr>
          <p:spPr>
            <a:xfrm>
              <a:off x="5522205" y="901353"/>
              <a:ext cx="58567" cy="83182"/>
            </a:xfrm>
            <a:custGeom>
              <a:avLst/>
              <a:gdLst>
                <a:gd name="connsiteX0" fmla="*/ 110204 w 232981"/>
                <a:gd name="connsiteY0" fmla="*/ 330898 h 330898"/>
                <a:gd name="connsiteX1" fmla="*/ 69628 w 232981"/>
                <a:gd name="connsiteY1" fmla="*/ 322897 h 330898"/>
                <a:gd name="connsiteX2" fmla="*/ 34385 w 232981"/>
                <a:gd name="connsiteY2" fmla="*/ 299466 h 330898"/>
                <a:gd name="connsiteX3" fmla="*/ 9334 w 232981"/>
                <a:gd name="connsiteY3" fmla="*/ 261938 h 330898"/>
                <a:gd name="connsiteX4" fmla="*/ 0 w 232981"/>
                <a:gd name="connsiteY4" fmla="*/ 211264 h 330898"/>
                <a:gd name="connsiteX5" fmla="*/ 0 w 232981"/>
                <a:gd name="connsiteY5" fmla="*/ 210407 h 330898"/>
                <a:gd name="connsiteX6" fmla="*/ 9334 w 232981"/>
                <a:gd name="connsiteY6" fmla="*/ 159925 h 330898"/>
                <a:gd name="connsiteX7" fmla="*/ 34385 w 232981"/>
                <a:gd name="connsiteY7" fmla="*/ 122206 h 330898"/>
                <a:gd name="connsiteX8" fmla="*/ 69628 w 232981"/>
                <a:gd name="connsiteY8" fmla="*/ 98488 h 330898"/>
                <a:gd name="connsiteX9" fmla="*/ 110204 w 232981"/>
                <a:gd name="connsiteY9" fmla="*/ 90202 h 330898"/>
                <a:gd name="connsiteX10" fmla="*/ 139636 w 232981"/>
                <a:gd name="connsiteY10" fmla="*/ 94202 h 330898"/>
                <a:gd name="connsiteX11" fmla="*/ 163735 w 232981"/>
                <a:gd name="connsiteY11" fmla="*/ 104870 h 330898"/>
                <a:gd name="connsiteX12" fmla="*/ 183166 w 232981"/>
                <a:gd name="connsiteY12" fmla="*/ 120491 h 330898"/>
                <a:gd name="connsiteX13" fmla="*/ 198596 w 232981"/>
                <a:gd name="connsiteY13" fmla="*/ 139255 h 330898"/>
                <a:gd name="connsiteX14" fmla="*/ 198596 w 232981"/>
                <a:gd name="connsiteY14" fmla="*/ 0 h 330898"/>
                <a:gd name="connsiteX15" fmla="*/ 232981 w 232981"/>
                <a:gd name="connsiteY15" fmla="*/ 0 h 330898"/>
                <a:gd name="connsiteX16" fmla="*/ 232981 w 232981"/>
                <a:gd name="connsiteY16" fmla="*/ 325850 h 330898"/>
                <a:gd name="connsiteX17" fmla="*/ 198596 w 232981"/>
                <a:gd name="connsiteY17" fmla="*/ 325850 h 330898"/>
                <a:gd name="connsiteX18" fmla="*/ 198596 w 232981"/>
                <a:gd name="connsiteY18" fmla="*/ 279463 h 330898"/>
                <a:gd name="connsiteX19" fmla="*/ 182785 w 232981"/>
                <a:gd name="connsiteY19" fmla="*/ 299085 h 330898"/>
                <a:gd name="connsiteX20" fmla="*/ 163354 w 232981"/>
                <a:gd name="connsiteY20" fmla="*/ 315658 h 330898"/>
                <a:gd name="connsiteX21" fmla="*/ 139446 w 232981"/>
                <a:gd name="connsiteY21" fmla="*/ 326803 h 330898"/>
                <a:gd name="connsiteX22" fmla="*/ 110204 w 232981"/>
                <a:gd name="connsiteY22" fmla="*/ 330803 h 330898"/>
                <a:gd name="connsiteX23" fmla="*/ 116491 w 232981"/>
                <a:gd name="connsiteY23" fmla="*/ 300133 h 330898"/>
                <a:gd name="connsiteX24" fmla="*/ 147542 w 232981"/>
                <a:gd name="connsiteY24" fmla="*/ 293656 h 330898"/>
                <a:gd name="connsiteX25" fmla="*/ 174307 w 232981"/>
                <a:gd name="connsiteY25" fmla="*/ 275368 h 330898"/>
                <a:gd name="connsiteX26" fmla="*/ 193072 w 232981"/>
                <a:gd name="connsiteY26" fmla="*/ 247269 h 330898"/>
                <a:gd name="connsiteX27" fmla="*/ 200025 w 232981"/>
                <a:gd name="connsiteY27" fmla="*/ 210883 h 330898"/>
                <a:gd name="connsiteX28" fmla="*/ 200025 w 232981"/>
                <a:gd name="connsiteY28" fmla="*/ 210026 h 330898"/>
                <a:gd name="connsiteX29" fmla="*/ 193072 w 232981"/>
                <a:gd name="connsiteY29" fmla="*/ 173641 h 330898"/>
                <a:gd name="connsiteX30" fmla="*/ 174307 w 232981"/>
                <a:gd name="connsiteY30" fmla="*/ 145732 h 330898"/>
                <a:gd name="connsiteX31" fmla="*/ 147542 w 232981"/>
                <a:gd name="connsiteY31" fmla="*/ 127635 h 330898"/>
                <a:gd name="connsiteX32" fmla="*/ 116491 w 232981"/>
                <a:gd name="connsiteY32" fmla="*/ 121158 h 330898"/>
                <a:gd name="connsiteX33" fmla="*/ 84772 w 232981"/>
                <a:gd name="connsiteY33" fmla="*/ 127159 h 330898"/>
                <a:gd name="connsiteX34" fmla="*/ 59150 w 232981"/>
                <a:gd name="connsiteY34" fmla="*/ 144589 h 330898"/>
                <a:gd name="connsiteX35" fmla="*/ 41719 w 232981"/>
                <a:gd name="connsiteY35" fmla="*/ 172498 h 330898"/>
                <a:gd name="connsiteX36" fmla="*/ 35242 w 232981"/>
                <a:gd name="connsiteY36" fmla="*/ 210026 h 330898"/>
                <a:gd name="connsiteX37" fmla="*/ 35242 w 232981"/>
                <a:gd name="connsiteY37" fmla="*/ 210883 h 330898"/>
                <a:gd name="connsiteX38" fmla="*/ 41719 w 232981"/>
                <a:gd name="connsiteY38" fmla="*/ 247936 h 330898"/>
                <a:gd name="connsiteX39" fmla="*/ 59341 w 232981"/>
                <a:gd name="connsiteY39" fmla="*/ 276034 h 330898"/>
                <a:gd name="connsiteX40" fmla="*/ 85249 w 232981"/>
                <a:gd name="connsiteY40" fmla="*/ 293941 h 330898"/>
                <a:gd name="connsiteX41" fmla="*/ 116491 w 23298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30898">
                  <a:moveTo>
                    <a:pt x="110204" y="330898"/>
                  </a:moveTo>
                  <a:cubicBezTo>
                    <a:pt x="96202" y="330898"/>
                    <a:pt x="82677" y="328231"/>
                    <a:pt x="69628" y="322897"/>
                  </a:cubicBezTo>
                  <a:cubicBezTo>
                    <a:pt x="56578" y="317563"/>
                    <a:pt x="44767" y="309753"/>
                    <a:pt x="34385" y="299466"/>
                  </a:cubicBezTo>
                  <a:cubicBezTo>
                    <a:pt x="24003" y="289179"/>
                    <a:pt x="15621" y="276701"/>
                    <a:pt x="9334" y="261938"/>
                  </a:cubicBezTo>
                  <a:cubicBezTo>
                    <a:pt x="3048" y="247174"/>
                    <a:pt x="0" y="230314"/>
                    <a:pt x="0" y="211264"/>
                  </a:cubicBezTo>
                  <a:lnTo>
                    <a:pt x="0" y="210407"/>
                  </a:lnTo>
                  <a:cubicBezTo>
                    <a:pt x="0" y="191643"/>
                    <a:pt x="3143" y="174879"/>
                    <a:pt x="9334" y="159925"/>
                  </a:cubicBezTo>
                  <a:cubicBezTo>
                    <a:pt x="15621" y="145066"/>
                    <a:pt x="23908" y="132493"/>
                    <a:pt x="34385" y="122206"/>
                  </a:cubicBezTo>
                  <a:cubicBezTo>
                    <a:pt x="44767" y="111919"/>
                    <a:pt x="56578" y="104013"/>
                    <a:pt x="69628" y="98488"/>
                  </a:cubicBezTo>
                  <a:cubicBezTo>
                    <a:pt x="82677" y="92964"/>
                    <a:pt x="96298" y="90202"/>
                    <a:pt x="110204" y="90202"/>
                  </a:cubicBezTo>
                  <a:cubicBezTo>
                    <a:pt x="120967" y="90202"/>
                    <a:pt x="130778" y="91535"/>
                    <a:pt x="139636" y="94202"/>
                  </a:cubicBezTo>
                  <a:cubicBezTo>
                    <a:pt x="148590" y="96869"/>
                    <a:pt x="156591" y="100489"/>
                    <a:pt x="163735" y="104870"/>
                  </a:cubicBezTo>
                  <a:cubicBezTo>
                    <a:pt x="170878" y="109347"/>
                    <a:pt x="177356" y="114586"/>
                    <a:pt x="183166" y="120491"/>
                  </a:cubicBezTo>
                  <a:cubicBezTo>
                    <a:pt x="188976" y="126492"/>
                    <a:pt x="194119" y="132683"/>
                    <a:pt x="198596" y="139255"/>
                  </a:cubicBezTo>
                  <a:lnTo>
                    <a:pt x="198596" y="0"/>
                  </a:lnTo>
                  <a:lnTo>
                    <a:pt x="232981" y="0"/>
                  </a:lnTo>
                  <a:lnTo>
                    <a:pt x="232981" y="325850"/>
                  </a:lnTo>
                  <a:lnTo>
                    <a:pt x="198596" y="325850"/>
                  </a:lnTo>
                  <a:lnTo>
                    <a:pt x="198596" y="279463"/>
                  </a:lnTo>
                  <a:cubicBezTo>
                    <a:pt x="193834" y="286321"/>
                    <a:pt x="188595" y="292894"/>
                    <a:pt x="182785" y="299085"/>
                  </a:cubicBezTo>
                  <a:cubicBezTo>
                    <a:pt x="176974" y="305371"/>
                    <a:pt x="170498" y="310896"/>
                    <a:pt x="163354" y="315658"/>
                  </a:cubicBezTo>
                  <a:cubicBezTo>
                    <a:pt x="156210" y="320421"/>
                    <a:pt x="148209" y="324136"/>
                    <a:pt x="139446" y="326803"/>
                  </a:cubicBezTo>
                  <a:cubicBezTo>
                    <a:pt x="130683" y="329470"/>
                    <a:pt x="120967" y="330803"/>
                    <a:pt x="110204" y="330803"/>
                  </a:cubicBezTo>
                  <a:close/>
                  <a:moveTo>
                    <a:pt x="116491" y="300133"/>
                  </a:moveTo>
                  <a:cubicBezTo>
                    <a:pt x="127159" y="300133"/>
                    <a:pt x="137541" y="297942"/>
                    <a:pt x="147542" y="293656"/>
                  </a:cubicBezTo>
                  <a:cubicBezTo>
                    <a:pt x="157544" y="289369"/>
                    <a:pt x="166402" y="283273"/>
                    <a:pt x="174307" y="275368"/>
                  </a:cubicBezTo>
                  <a:cubicBezTo>
                    <a:pt x="182213" y="267462"/>
                    <a:pt x="188404" y="258127"/>
                    <a:pt x="193072" y="247269"/>
                  </a:cubicBezTo>
                  <a:cubicBezTo>
                    <a:pt x="197644" y="236410"/>
                    <a:pt x="200025" y="224314"/>
                    <a:pt x="200025" y="210883"/>
                  </a:cubicBezTo>
                  <a:lnTo>
                    <a:pt x="200025" y="210026"/>
                  </a:lnTo>
                  <a:cubicBezTo>
                    <a:pt x="200025" y="196596"/>
                    <a:pt x="197739" y="184499"/>
                    <a:pt x="193072" y="173641"/>
                  </a:cubicBezTo>
                  <a:cubicBezTo>
                    <a:pt x="188500" y="162782"/>
                    <a:pt x="182213" y="153448"/>
                    <a:pt x="174307" y="145732"/>
                  </a:cubicBezTo>
                  <a:cubicBezTo>
                    <a:pt x="166402" y="138017"/>
                    <a:pt x="157448" y="132016"/>
                    <a:pt x="147542" y="127635"/>
                  </a:cubicBezTo>
                  <a:cubicBezTo>
                    <a:pt x="137541" y="123349"/>
                    <a:pt x="127254" y="121158"/>
                    <a:pt x="116491" y="121158"/>
                  </a:cubicBezTo>
                  <a:cubicBezTo>
                    <a:pt x="105156" y="121158"/>
                    <a:pt x="94583" y="123158"/>
                    <a:pt x="84772" y="127159"/>
                  </a:cubicBezTo>
                  <a:cubicBezTo>
                    <a:pt x="74962" y="131159"/>
                    <a:pt x="66389" y="136969"/>
                    <a:pt x="59150" y="144589"/>
                  </a:cubicBezTo>
                  <a:cubicBezTo>
                    <a:pt x="51816" y="152114"/>
                    <a:pt x="46101" y="161449"/>
                    <a:pt x="41719" y="172498"/>
                  </a:cubicBezTo>
                  <a:cubicBezTo>
                    <a:pt x="37433" y="183451"/>
                    <a:pt x="35242" y="196024"/>
                    <a:pt x="35242" y="210026"/>
                  </a:cubicBezTo>
                  <a:lnTo>
                    <a:pt x="35242" y="210883"/>
                  </a:lnTo>
                  <a:cubicBezTo>
                    <a:pt x="35242" y="224599"/>
                    <a:pt x="37433" y="236982"/>
                    <a:pt x="41719" y="247936"/>
                  </a:cubicBezTo>
                  <a:cubicBezTo>
                    <a:pt x="46006" y="258984"/>
                    <a:pt x="51911" y="268319"/>
                    <a:pt x="59341" y="276034"/>
                  </a:cubicBezTo>
                  <a:cubicBezTo>
                    <a:pt x="66770" y="283750"/>
                    <a:pt x="75438" y="289750"/>
                    <a:pt x="85249" y="293941"/>
                  </a:cubicBezTo>
                  <a:cubicBezTo>
                    <a:pt x="95059" y="298132"/>
                    <a:pt x="105442" y="300228"/>
                    <a:pt x="116491" y="300228"/>
                  </a:cubicBezTo>
                  <a:close/>
                </a:path>
              </a:pathLst>
            </a:custGeom>
            <a:solidFill>
              <a:srgbClr val="44505E"/>
            </a:solidFill>
            <a:ln w="9525" cap="flat">
              <a:noFill/>
              <a:prstDash val="solid"/>
              <a:miter/>
            </a:ln>
          </p:spPr>
          <p:txBody>
            <a:bodyPr rtlCol="0" anchor="ctr"/>
            <a:lstStyle/>
            <a:p>
              <a:endParaRPr lang="pt-BR" noProof="0"/>
            </a:p>
          </p:txBody>
        </p:sp>
        <p:sp>
          <p:nvSpPr>
            <p:cNvPr id="39" name="Freeform: Shape 38">
              <a:extLst>
                <a:ext uri="{FF2B5EF4-FFF2-40B4-BE49-F238E27FC236}">
                  <a16:creationId xmlns:a16="http://schemas.microsoft.com/office/drawing/2014/main" id="{DE2D373D-04BF-5E3A-1710-A915CF711404}"/>
                </a:ext>
              </a:extLst>
            </p:cNvPr>
            <p:cNvSpPr/>
            <p:nvPr/>
          </p:nvSpPr>
          <p:spPr>
            <a:xfrm>
              <a:off x="5596504"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6963 w 218217"/>
                <a:gd name="connsiteY3" fmla="*/ 206026 h 241077"/>
                <a:gd name="connsiteX4" fmla="*/ 116015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8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1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452 w 218217"/>
                <a:gd name="connsiteY25" fmla="*/ 106299 h 241077"/>
                <a:gd name="connsiteX26" fmla="*/ 176784 w 218217"/>
                <a:gd name="connsiteY26" fmla="*/ 76771 h 241077"/>
                <a:gd name="connsiteX27" fmla="*/ 162306 w 218217"/>
                <a:gd name="connsiteY27" fmla="*/ 52101 h 241077"/>
                <a:gd name="connsiteX28" fmla="*/ 140018 w 218217"/>
                <a:gd name="connsiteY28" fmla="*/ 35242 h 241077"/>
                <a:gd name="connsiteX29" fmla="*/ 109919 w 218217"/>
                <a:gd name="connsiteY29" fmla="*/ 29051 h 241077"/>
                <a:gd name="connsiteX30" fmla="*/ 82201 w 218217"/>
                <a:gd name="connsiteY30" fmla="*/ 34766 h 241077"/>
                <a:gd name="connsiteX31" fmla="*/ 59436 w 218217"/>
                <a:gd name="connsiteY31" fmla="*/ 50959 h 241077"/>
                <a:gd name="connsiteX32" fmla="*/ 43148 w 218217"/>
                <a:gd name="connsiteY32" fmla="*/ 75628 h 241077"/>
                <a:gd name="connsiteX33" fmla="*/ 34862 w 218217"/>
                <a:gd name="connsiteY33" fmla="*/ 106204 h 241077"/>
                <a:gd name="connsiteX34" fmla="*/ 183547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724" y="202597"/>
                    <a:pt x="86963" y="206026"/>
                  </a:cubicBezTo>
                  <a:cubicBezTo>
                    <a:pt x="96203" y="209455"/>
                    <a:pt x="105823" y="211169"/>
                    <a:pt x="116015" y="211169"/>
                  </a:cubicBezTo>
                  <a:cubicBezTo>
                    <a:pt x="132112" y="211169"/>
                    <a:pt x="145828" y="208216"/>
                    <a:pt x="157353" y="202216"/>
                  </a:cubicBezTo>
                  <a:cubicBezTo>
                    <a:pt x="168783" y="196310"/>
                    <a:pt x="179261" y="188404"/>
                    <a:pt x="188786" y="178594"/>
                  </a:cubicBezTo>
                  <a:lnTo>
                    <a:pt x="210217" y="197834"/>
                  </a:lnTo>
                  <a:cubicBezTo>
                    <a:pt x="198596" y="210979"/>
                    <a:pt x="185357" y="221361"/>
                    <a:pt x="170498" y="229267"/>
                  </a:cubicBezTo>
                  <a:cubicBezTo>
                    <a:pt x="155639"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679" y="0"/>
                    <a:pt x="110681"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452" y="106299"/>
                  </a:moveTo>
                  <a:cubicBezTo>
                    <a:pt x="182594" y="95917"/>
                    <a:pt x="180308" y="86106"/>
                    <a:pt x="176784" y="76771"/>
                  </a:cubicBezTo>
                  <a:cubicBezTo>
                    <a:pt x="173165" y="67437"/>
                    <a:pt x="168402" y="59245"/>
                    <a:pt x="162306" y="52101"/>
                  </a:cubicBezTo>
                  <a:cubicBezTo>
                    <a:pt x="156210" y="44958"/>
                    <a:pt x="148781" y="39338"/>
                    <a:pt x="140018" y="35242"/>
                  </a:cubicBezTo>
                  <a:cubicBezTo>
                    <a:pt x="131254" y="31147"/>
                    <a:pt x="121158" y="29051"/>
                    <a:pt x="109919" y="29051"/>
                  </a:cubicBezTo>
                  <a:cubicBezTo>
                    <a:pt x="100108" y="29051"/>
                    <a:pt x="90869" y="30956"/>
                    <a:pt x="82201" y="34766"/>
                  </a:cubicBezTo>
                  <a:cubicBezTo>
                    <a:pt x="73533" y="38671"/>
                    <a:pt x="66008" y="44005"/>
                    <a:pt x="59436" y="50959"/>
                  </a:cubicBezTo>
                  <a:cubicBezTo>
                    <a:pt x="52864" y="57912"/>
                    <a:pt x="47435" y="66103"/>
                    <a:pt x="43148" y="75628"/>
                  </a:cubicBezTo>
                  <a:cubicBezTo>
                    <a:pt x="38862" y="85058"/>
                    <a:pt x="36100" y="95345"/>
                    <a:pt x="34862" y="106204"/>
                  </a:cubicBezTo>
                  <a:lnTo>
                    <a:pt x="183547" y="106204"/>
                  </a:lnTo>
                  <a:close/>
                </a:path>
              </a:pathLst>
            </a:custGeom>
            <a:solidFill>
              <a:srgbClr val="44505E"/>
            </a:solidFill>
            <a:ln w="9525" cap="flat">
              <a:noFill/>
              <a:prstDash val="solid"/>
              <a:miter/>
            </a:ln>
          </p:spPr>
          <p:txBody>
            <a:bodyPr rtlCol="0" anchor="ctr"/>
            <a:lstStyle/>
            <a:p>
              <a:endParaRPr lang="pt-BR" noProof="0"/>
            </a:p>
          </p:txBody>
        </p:sp>
        <p:sp>
          <p:nvSpPr>
            <p:cNvPr id="40" name="Freeform: Shape 39">
              <a:extLst>
                <a:ext uri="{FF2B5EF4-FFF2-40B4-BE49-F238E27FC236}">
                  <a16:creationId xmlns:a16="http://schemas.microsoft.com/office/drawing/2014/main" id="{3039943F-1D34-C621-DFBC-19103841D9A0}"/>
                </a:ext>
              </a:extLst>
            </p:cNvPr>
            <p:cNvSpPr/>
            <p:nvPr/>
          </p:nvSpPr>
          <p:spPr>
            <a:xfrm>
              <a:off x="5661680" y="924268"/>
              <a:ext cx="44656" cy="60195"/>
            </a:xfrm>
            <a:custGeom>
              <a:avLst/>
              <a:gdLst>
                <a:gd name="connsiteX0" fmla="*/ 95536 w 177641"/>
                <a:gd name="connsiteY0" fmla="*/ 239268 h 239458"/>
                <a:gd name="connsiteX1" fmla="*/ 45053 w 177641"/>
                <a:gd name="connsiteY1" fmla="*/ 230124 h 239458"/>
                <a:gd name="connsiteX2" fmla="*/ 0 w 177641"/>
                <a:gd name="connsiteY2" fmla="*/ 205359 h 239458"/>
                <a:gd name="connsiteX3" fmla="*/ 17431 w 177641"/>
                <a:gd name="connsiteY3" fmla="*/ 180785 h 239458"/>
                <a:gd name="connsiteX4" fmla="*/ 56483 w 177641"/>
                <a:gd name="connsiteY4" fmla="*/ 202692 h 239458"/>
                <a:gd name="connsiteX5" fmla="*/ 97346 w 177641"/>
                <a:gd name="connsiteY5" fmla="*/ 210217 h 239458"/>
                <a:gd name="connsiteX6" fmla="*/ 131731 w 177641"/>
                <a:gd name="connsiteY6" fmla="*/ 200406 h 239458"/>
                <a:gd name="connsiteX7" fmla="*/ 145161 w 177641"/>
                <a:gd name="connsiteY7" fmla="*/ 173641 h 239458"/>
                <a:gd name="connsiteX8" fmla="*/ 145161 w 177641"/>
                <a:gd name="connsiteY8" fmla="*/ 172784 h 239458"/>
                <a:gd name="connsiteX9" fmla="*/ 140494 w 177641"/>
                <a:gd name="connsiteY9" fmla="*/ 158020 h 239458"/>
                <a:gd name="connsiteX10" fmla="*/ 127730 w 177641"/>
                <a:gd name="connsiteY10" fmla="*/ 147066 h 239458"/>
                <a:gd name="connsiteX11" fmla="*/ 109157 w 177641"/>
                <a:gd name="connsiteY11" fmla="*/ 138779 h 239458"/>
                <a:gd name="connsiteX12" fmla="*/ 87535 w 177641"/>
                <a:gd name="connsiteY12" fmla="*/ 132112 h 239458"/>
                <a:gd name="connsiteX13" fmla="*/ 60484 w 177641"/>
                <a:gd name="connsiteY13" fmla="*/ 123444 h 239458"/>
                <a:gd name="connsiteX14" fmla="*/ 35909 w 177641"/>
                <a:gd name="connsiteY14" fmla="*/ 111633 h 239458"/>
                <a:gd name="connsiteX15" fmla="*/ 18098 w 177641"/>
                <a:gd name="connsiteY15" fmla="*/ 93726 h 239458"/>
                <a:gd name="connsiteX16" fmla="*/ 11144 w 177641"/>
                <a:gd name="connsiteY16" fmla="*/ 66961 h 239458"/>
                <a:gd name="connsiteX17" fmla="*/ 11144 w 177641"/>
                <a:gd name="connsiteY17" fmla="*/ 66008 h 239458"/>
                <a:gd name="connsiteX18" fmla="*/ 16954 w 177641"/>
                <a:gd name="connsiteY18" fmla="*/ 39053 h 239458"/>
                <a:gd name="connsiteX19" fmla="*/ 33242 w 177641"/>
                <a:gd name="connsiteY19" fmla="*/ 18098 h 239458"/>
                <a:gd name="connsiteX20" fmla="*/ 58293 w 177641"/>
                <a:gd name="connsiteY20" fmla="*/ 4667 h 239458"/>
                <a:gd name="connsiteX21" fmla="*/ 89725 w 177641"/>
                <a:gd name="connsiteY21" fmla="*/ 0 h 239458"/>
                <a:gd name="connsiteX22" fmla="*/ 133064 w 177641"/>
                <a:gd name="connsiteY22" fmla="*/ 6953 h 239458"/>
                <a:gd name="connsiteX23" fmla="*/ 172784 w 177641"/>
                <a:gd name="connsiteY23" fmla="*/ 25527 h 239458"/>
                <a:gd name="connsiteX24" fmla="*/ 157163 w 177641"/>
                <a:gd name="connsiteY24" fmla="*/ 51435 h 239458"/>
                <a:gd name="connsiteX25" fmla="*/ 123444 w 177641"/>
                <a:gd name="connsiteY25" fmla="*/ 35147 h 239458"/>
                <a:gd name="connsiteX26" fmla="*/ 88868 w 177641"/>
                <a:gd name="connsiteY26" fmla="*/ 29146 h 239458"/>
                <a:gd name="connsiteX27" fmla="*/ 56293 w 177641"/>
                <a:gd name="connsiteY27" fmla="*/ 38767 h 239458"/>
                <a:gd name="connsiteX28" fmla="*/ 44196 w 177641"/>
                <a:gd name="connsiteY28" fmla="*/ 62675 h 239458"/>
                <a:gd name="connsiteX29" fmla="*/ 44196 w 177641"/>
                <a:gd name="connsiteY29" fmla="*/ 63627 h 239458"/>
                <a:gd name="connsiteX30" fmla="*/ 49149 w 177641"/>
                <a:gd name="connsiteY30" fmla="*/ 77724 h 239458"/>
                <a:gd name="connsiteX31" fmla="*/ 62294 w 177641"/>
                <a:gd name="connsiteY31" fmla="*/ 88202 h 239458"/>
                <a:gd name="connsiteX32" fmla="*/ 81248 w 177641"/>
                <a:gd name="connsiteY32" fmla="*/ 96203 h 239458"/>
                <a:gd name="connsiteX33" fmla="*/ 103537 w 177641"/>
                <a:gd name="connsiteY33" fmla="*/ 103346 h 239458"/>
                <a:gd name="connsiteX34" fmla="*/ 130112 w 177641"/>
                <a:gd name="connsiteY34" fmla="*/ 112300 h 239458"/>
                <a:gd name="connsiteX35" fmla="*/ 154019 w 177641"/>
                <a:gd name="connsiteY35" fmla="*/ 124778 h 239458"/>
                <a:gd name="connsiteX36" fmla="*/ 171164 w 177641"/>
                <a:gd name="connsiteY36" fmla="*/ 143066 h 239458"/>
                <a:gd name="connsiteX37" fmla="*/ 177641 w 177641"/>
                <a:gd name="connsiteY37" fmla="*/ 169450 h 239458"/>
                <a:gd name="connsiteX38" fmla="*/ 177641 w 177641"/>
                <a:gd name="connsiteY38" fmla="*/ 170307 h 239458"/>
                <a:gd name="connsiteX39" fmla="*/ 171164 w 177641"/>
                <a:gd name="connsiteY39" fmla="*/ 199549 h 239458"/>
                <a:gd name="connsiteX40" fmla="*/ 153734 w 177641"/>
                <a:gd name="connsiteY40" fmla="*/ 221171 h 239458"/>
                <a:gd name="connsiteX41" fmla="*/ 127825 w 177641"/>
                <a:gd name="connsiteY41" fmla="*/ 234791 h 239458"/>
                <a:gd name="connsiteX42" fmla="*/ 95441 w 177641"/>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641" h="239458">
                  <a:moveTo>
                    <a:pt x="95536" y="239268"/>
                  </a:moveTo>
                  <a:cubicBezTo>
                    <a:pt x="78867" y="239268"/>
                    <a:pt x="62008" y="236220"/>
                    <a:pt x="45053" y="230124"/>
                  </a:cubicBezTo>
                  <a:cubicBezTo>
                    <a:pt x="28099" y="224028"/>
                    <a:pt x="13049" y="215741"/>
                    <a:pt x="0" y="205359"/>
                  </a:cubicBezTo>
                  <a:lnTo>
                    <a:pt x="17431" y="180785"/>
                  </a:lnTo>
                  <a:cubicBezTo>
                    <a:pt x="29908"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542" y="162211"/>
                    <a:pt x="140494" y="158020"/>
                  </a:cubicBezTo>
                  <a:cubicBezTo>
                    <a:pt x="137350" y="153829"/>
                    <a:pt x="133160" y="150209"/>
                    <a:pt x="127730" y="147066"/>
                  </a:cubicBezTo>
                  <a:cubicBezTo>
                    <a:pt x="122396" y="143923"/>
                    <a:pt x="116205" y="141161"/>
                    <a:pt x="109157" y="138779"/>
                  </a:cubicBezTo>
                  <a:cubicBezTo>
                    <a:pt x="102203" y="136398"/>
                    <a:pt x="94964" y="134207"/>
                    <a:pt x="87535" y="132112"/>
                  </a:cubicBezTo>
                  <a:cubicBezTo>
                    <a:pt x="78581" y="129445"/>
                    <a:pt x="69628" y="126492"/>
                    <a:pt x="60484" y="123444"/>
                  </a:cubicBezTo>
                  <a:cubicBezTo>
                    <a:pt x="51435" y="120301"/>
                    <a:pt x="43244" y="116396"/>
                    <a:pt x="35909" y="111633"/>
                  </a:cubicBezTo>
                  <a:cubicBezTo>
                    <a:pt x="28575" y="106871"/>
                    <a:pt x="22670" y="100870"/>
                    <a:pt x="18098" y="93726"/>
                  </a:cubicBezTo>
                  <a:cubicBezTo>
                    <a:pt x="13525" y="86582"/>
                    <a:pt x="11144" y="77629"/>
                    <a:pt x="11144" y="66961"/>
                  </a:cubicBezTo>
                  <a:lnTo>
                    <a:pt x="11144" y="66008"/>
                  </a:lnTo>
                  <a:cubicBezTo>
                    <a:pt x="11144" y="56198"/>
                    <a:pt x="13049" y="47149"/>
                    <a:pt x="16954" y="39053"/>
                  </a:cubicBezTo>
                  <a:cubicBezTo>
                    <a:pt x="20860" y="30861"/>
                    <a:pt x="26289" y="23908"/>
                    <a:pt x="33242" y="18098"/>
                  </a:cubicBezTo>
                  <a:cubicBezTo>
                    <a:pt x="40196" y="12287"/>
                    <a:pt x="48578" y="7811"/>
                    <a:pt x="58293" y="4667"/>
                  </a:cubicBezTo>
                  <a:cubicBezTo>
                    <a:pt x="67913" y="1524"/>
                    <a:pt x="78486" y="0"/>
                    <a:pt x="89725" y="0"/>
                  </a:cubicBezTo>
                  <a:cubicBezTo>
                    <a:pt x="104013" y="0"/>
                    <a:pt x="118396" y="2286"/>
                    <a:pt x="133064" y="6953"/>
                  </a:cubicBezTo>
                  <a:cubicBezTo>
                    <a:pt x="147638" y="11621"/>
                    <a:pt x="160877" y="17717"/>
                    <a:pt x="172784" y="25527"/>
                  </a:cubicBezTo>
                  <a:lnTo>
                    <a:pt x="157163" y="51435"/>
                  </a:lnTo>
                  <a:cubicBezTo>
                    <a:pt x="146399" y="44577"/>
                    <a:pt x="135255" y="39148"/>
                    <a:pt x="123444" y="35147"/>
                  </a:cubicBezTo>
                  <a:cubicBezTo>
                    <a:pt x="111728" y="31147"/>
                    <a:pt x="100203" y="29146"/>
                    <a:pt x="88868" y="29146"/>
                  </a:cubicBezTo>
                  <a:cubicBezTo>
                    <a:pt x="75152" y="29146"/>
                    <a:pt x="64294" y="32385"/>
                    <a:pt x="56293" y="38767"/>
                  </a:cubicBezTo>
                  <a:cubicBezTo>
                    <a:pt x="48292" y="45149"/>
                    <a:pt x="44196" y="53150"/>
                    <a:pt x="44196" y="62675"/>
                  </a:cubicBezTo>
                  <a:lnTo>
                    <a:pt x="44196" y="63627"/>
                  </a:lnTo>
                  <a:cubicBezTo>
                    <a:pt x="44196" y="68961"/>
                    <a:pt x="45815" y="73628"/>
                    <a:pt x="49149" y="77724"/>
                  </a:cubicBezTo>
                  <a:cubicBezTo>
                    <a:pt x="52388" y="81725"/>
                    <a:pt x="56769" y="85249"/>
                    <a:pt x="62294" y="88202"/>
                  </a:cubicBezTo>
                  <a:cubicBezTo>
                    <a:pt x="67818" y="91154"/>
                    <a:pt x="74104" y="93821"/>
                    <a:pt x="81248" y="96203"/>
                  </a:cubicBezTo>
                  <a:cubicBezTo>
                    <a:pt x="88392" y="98584"/>
                    <a:pt x="95821" y="100965"/>
                    <a:pt x="103537" y="103346"/>
                  </a:cubicBezTo>
                  <a:cubicBezTo>
                    <a:pt x="112490" y="106013"/>
                    <a:pt x="121349" y="108966"/>
                    <a:pt x="130112" y="112300"/>
                  </a:cubicBezTo>
                  <a:cubicBezTo>
                    <a:pt x="138875" y="115538"/>
                    <a:pt x="146875" y="119729"/>
                    <a:pt x="154019" y="124778"/>
                  </a:cubicBezTo>
                  <a:cubicBezTo>
                    <a:pt x="161163" y="129826"/>
                    <a:pt x="166878" y="135922"/>
                    <a:pt x="171164" y="143066"/>
                  </a:cubicBezTo>
                  <a:cubicBezTo>
                    <a:pt x="175450" y="150209"/>
                    <a:pt x="177641" y="158972"/>
                    <a:pt x="177641" y="169450"/>
                  </a:cubicBezTo>
                  <a:lnTo>
                    <a:pt x="177641" y="170307"/>
                  </a:lnTo>
                  <a:cubicBezTo>
                    <a:pt x="177641" y="181356"/>
                    <a:pt x="175450" y="191071"/>
                    <a:pt x="171164" y="199549"/>
                  </a:cubicBezTo>
                  <a:cubicBezTo>
                    <a:pt x="166878" y="208026"/>
                    <a:pt x="161068" y="215265"/>
                    <a:pt x="153734" y="221171"/>
                  </a:cubicBezTo>
                  <a:cubicBezTo>
                    <a:pt x="146495" y="227171"/>
                    <a:pt x="137827" y="231648"/>
                    <a:pt x="127825" y="234791"/>
                  </a:cubicBezTo>
                  <a:cubicBezTo>
                    <a:pt x="117824" y="237935"/>
                    <a:pt x="107061" y="239459"/>
                    <a:pt x="95441" y="239459"/>
                  </a:cubicBezTo>
                  <a:close/>
                </a:path>
              </a:pathLst>
            </a:custGeom>
            <a:solidFill>
              <a:srgbClr val="44505E"/>
            </a:solidFill>
            <a:ln w="9525" cap="flat">
              <a:noFill/>
              <a:prstDash val="solid"/>
              <a:miter/>
            </a:ln>
          </p:spPr>
          <p:txBody>
            <a:bodyPr rtlCol="0" anchor="ctr"/>
            <a:lstStyle/>
            <a:p>
              <a:endParaRPr lang="pt-BR" noProof="0"/>
            </a:p>
          </p:txBody>
        </p:sp>
        <p:sp>
          <p:nvSpPr>
            <p:cNvPr id="41" name="Freeform: Shape 40">
              <a:extLst>
                <a:ext uri="{FF2B5EF4-FFF2-40B4-BE49-F238E27FC236}">
                  <a16:creationId xmlns:a16="http://schemas.microsoft.com/office/drawing/2014/main" id="{A4797721-BA92-BBD1-F80A-5E89442A4111}"/>
                </a:ext>
              </a:extLst>
            </p:cNvPr>
            <p:cNvSpPr/>
            <p:nvPr/>
          </p:nvSpPr>
          <p:spPr>
            <a:xfrm>
              <a:off x="5752668" y="924028"/>
              <a:ext cx="58567" cy="77196"/>
            </a:xfrm>
            <a:custGeom>
              <a:avLst/>
              <a:gdLst>
                <a:gd name="connsiteX0" fmla="*/ 198596 w 232981"/>
                <a:gd name="connsiteY0" fmla="*/ 189357 h 307085"/>
                <a:gd name="connsiteX1" fmla="*/ 182785 w 232981"/>
                <a:gd name="connsiteY1" fmla="*/ 208978 h 307085"/>
                <a:gd name="connsiteX2" fmla="*/ 163354 w 232981"/>
                <a:gd name="connsiteY2" fmla="*/ 225552 h 307085"/>
                <a:gd name="connsiteX3" fmla="*/ 139446 w 232981"/>
                <a:gd name="connsiteY3" fmla="*/ 236696 h 307085"/>
                <a:gd name="connsiteX4" fmla="*/ 110204 w 232981"/>
                <a:gd name="connsiteY4" fmla="*/ 240697 h 307085"/>
                <a:gd name="connsiteX5" fmla="*/ 69628 w 232981"/>
                <a:gd name="connsiteY5" fmla="*/ 232696 h 307085"/>
                <a:gd name="connsiteX6" fmla="*/ 34385 w 232981"/>
                <a:gd name="connsiteY6" fmla="*/ 209264 h 307085"/>
                <a:gd name="connsiteX7" fmla="*/ 9335 w 232981"/>
                <a:gd name="connsiteY7" fmla="*/ 171736 h 307085"/>
                <a:gd name="connsiteX8" fmla="*/ 0 w 232981"/>
                <a:gd name="connsiteY8" fmla="*/ 121063 h 307085"/>
                <a:gd name="connsiteX9" fmla="*/ 0 w 232981"/>
                <a:gd name="connsiteY9" fmla="*/ 120205 h 307085"/>
                <a:gd name="connsiteX10" fmla="*/ 9335 w 232981"/>
                <a:gd name="connsiteY10" fmla="*/ 69723 h 307085"/>
                <a:gd name="connsiteX11" fmla="*/ 34385 w 232981"/>
                <a:gd name="connsiteY11" fmla="*/ 32004 h 307085"/>
                <a:gd name="connsiteX12" fmla="*/ 69628 w 232981"/>
                <a:gd name="connsiteY12" fmla="*/ 8287 h 307085"/>
                <a:gd name="connsiteX13" fmla="*/ 110204 w 232981"/>
                <a:gd name="connsiteY13" fmla="*/ 0 h 307085"/>
                <a:gd name="connsiteX14" fmla="*/ 139637 w 232981"/>
                <a:gd name="connsiteY14" fmla="*/ 4000 h 307085"/>
                <a:gd name="connsiteX15" fmla="*/ 163735 w 232981"/>
                <a:gd name="connsiteY15" fmla="*/ 14668 h 307085"/>
                <a:gd name="connsiteX16" fmla="*/ 183166 w 232981"/>
                <a:gd name="connsiteY16" fmla="*/ 30289 h 307085"/>
                <a:gd name="connsiteX17" fmla="*/ 198596 w 232981"/>
                <a:gd name="connsiteY17" fmla="*/ 49054 h 307085"/>
                <a:gd name="connsiteX18" fmla="*/ 198596 w 232981"/>
                <a:gd name="connsiteY18" fmla="*/ 4858 h 307085"/>
                <a:gd name="connsiteX19" fmla="*/ 232982 w 232981"/>
                <a:gd name="connsiteY19" fmla="*/ 4858 h 307085"/>
                <a:gd name="connsiteX20" fmla="*/ 232982 w 232981"/>
                <a:gd name="connsiteY20" fmla="*/ 307086 h 307085"/>
                <a:gd name="connsiteX21" fmla="*/ 198596 w 232981"/>
                <a:gd name="connsiteY21" fmla="*/ 307086 h 307085"/>
                <a:gd name="connsiteX22" fmla="*/ 198596 w 232981"/>
                <a:gd name="connsiteY22" fmla="*/ 189262 h 307085"/>
                <a:gd name="connsiteX23" fmla="*/ 116491 w 232981"/>
                <a:gd name="connsiteY23" fmla="*/ 209931 h 307085"/>
                <a:gd name="connsiteX24" fmla="*/ 147542 w 232981"/>
                <a:gd name="connsiteY24" fmla="*/ 203454 h 307085"/>
                <a:gd name="connsiteX25" fmla="*/ 174308 w 232981"/>
                <a:gd name="connsiteY25" fmla="*/ 185166 h 307085"/>
                <a:gd name="connsiteX26" fmla="*/ 193072 w 232981"/>
                <a:gd name="connsiteY26" fmla="*/ 157067 h 307085"/>
                <a:gd name="connsiteX27" fmla="*/ 200025 w 232981"/>
                <a:gd name="connsiteY27" fmla="*/ 120682 h 307085"/>
                <a:gd name="connsiteX28" fmla="*/ 200025 w 232981"/>
                <a:gd name="connsiteY28" fmla="*/ 119824 h 307085"/>
                <a:gd name="connsiteX29" fmla="*/ 193072 w 232981"/>
                <a:gd name="connsiteY29" fmla="*/ 83439 h 307085"/>
                <a:gd name="connsiteX30" fmla="*/ 174308 w 232981"/>
                <a:gd name="connsiteY30" fmla="*/ 55531 h 307085"/>
                <a:gd name="connsiteX31" fmla="*/ 147542 w 232981"/>
                <a:gd name="connsiteY31" fmla="*/ 37433 h 307085"/>
                <a:gd name="connsiteX32" fmla="*/ 116491 w 232981"/>
                <a:gd name="connsiteY32" fmla="*/ 30956 h 307085"/>
                <a:gd name="connsiteX33" fmla="*/ 84773 w 232981"/>
                <a:gd name="connsiteY33" fmla="*/ 36957 h 307085"/>
                <a:gd name="connsiteX34" fmla="*/ 59150 w 232981"/>
                <a:gd name="connsiteY34" fmla="*/ 54388 h 307085"/>
                <a:gd name="connsiteX35" fmla="*/ 41720 w 232981"/>
                <a:gd name="connsiteY35" fmla="*/ 82296 h 307085"/>
                <a:gd name="connsiteX36" fmla="*/ 35242 w 232981"/>
                <a:gd name="connsiteY36" fmla="*/ 119824 h 307085"/>
                <a:gd name="connsiteX37" fmla="*/ 35242 w 232981"/>
                <a:gd name="connsiteY37" fmla="*/ 120682 h 307085"/>
                <a:gd name="connsiteX38" fmla="*/ 41720 w 232981"/>
                <a:gd name="connsiteY38" fmla="*/ 157734 h 307085"/>
                <a:gd name="connsiteX39" fmla="*/ 59341 w 232981"/>
                <a:gd name="connsiteY39" fmla="*/ 185833 h 307085"/>
                <a:gd name="connsiteX40" fmla="*/ 85249 w 232981"/>
                <a:gd name="connsiteY40" fmla="*/ 203740 h 307085"/>
                <a:gd name="connsiteX41" fmla="*/ 116491 w 232981"/>
                <a:gd name="connsiteY41" fmla="*/ 210026 h 30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07085">
                  <a:moveTo>
                    <a:pt x="198596" y="189357"/>
                  </a:moveTo>
                  <a:cubicBezTo>
                    <a:pt x="193834" y="196215"/>
                    <a:pt x="188595" y="202787"/>
                    <a:pt x="182785" y="208978"/>
                  </a:cubicBezTo>
                  <a:cubicBezTo>
                    <a:pt x="176975" y="215265"/>
                    <a:pt x="170498" y="220789"/>
                    <a:pt x="163354" y="225552"/>
                  </a:cubicBezTo>
                  <a:cubicBezTo>
                    <a:pt x="156210" y="230314"/>
                    <a:pt x="148209" y="234029"/>
                    <a:pt x="139446" y="236696"/>
                  </a:cubicBezTo>
                  <a:cubicBezTo>
                    <a:pt x="130683" y="239363"/>
                    <a:pt x="120967" y="240697"/>
                    <a:pt x="110204" y="240697"/>
                  </a:cubicBezTo>
                  <a:cubicBezTo>
                    <a:pt x="96203" y="240697"/>
                    <a:pt x="82677" y="238030"/>
                    <a:pt x="69628" y="232696"/>
                  </a:cubicBezTo>
                  <a:cubicBezTo>
                    <a:pt x="56579" y="227362"/>
                    <a:pt x="44767" y="219551"/>
                    <a:pt x="34385" y="209264"/>
                  </a:cubicBezTo>
                  <a:cubicBezTo>
                    <a:pt x="24003" y="198977"/>
                    <a:pt x="15621" y="186499"/>
                    <a:pt x="9335" y="171736"/>
                  </a:cubicBezTo>
                  <a:cubicBezTo>
                    <a:pt x="3048" y="156972"/>
                    <a:pt x="0" y="140113"/>
                    <a:pt x="0" y="121063"/>
                  </a:cubicBezTo>
                  <a:lnTo>
                    <a:pt x="0" y="120205"/>
                  </a:lnTo>
                  <a:cubicBezTo>
                    <a:pt x="0" y="101441"/>
                    <a:pt x="3143" y="84677"/>
                    <a:pt x="9335" y="69723"/>
                  </a:cubicBezTo>
                  <a:cubicBezTo>
                    <a:pt x="15621" y="54864"/>
                    <a:pt x="23908" y="42291"/>
                    <a:pt x="34385" y="32004"/>
                  </a:cubicBezTo>
                  <a:cubicBezTo>
                    <a:pt x="44767" y="21717"/>
                    <a:pt x="56579" y="13811"/>
                    <a:pt x="69628" y="8287"/>
                  </a:cubicBezTo>
                  <a:cubicBezTo>
                    <a:pt x="82677" y="2762"/>
                    <a:pt x="96298" y="0"/>
                    <a:pt x="110204" y="0"/>
                  </a:cubicBezTo>
                  <a:cubicBezTo>
                    <a:pt x="120967" y="0"/>
                    <a:pt x="130778" y="1333"/>
                    <a:pt x="139637" y="4000"/>
                  </a:cubicBezTo>
                  <a:cubicBezTo>
                    <a:pt x="148590" y="6667"/>
                    <a:pt x="156591" y="10287"/>
                    <a:pt x="163735" y="14668"/>
                  </a:cubicBezTo>
                  <a:cubicBezTo>
                    <a:pt x="170879" y="19145"/>
                    <a:pt x="177356" y="24384"/>
                    <a:pt x="183166" y="30289"/>
                  </a:cubicBezTo>
                  <a:cubicBezTo>
                    <a:pt x="188976" y="36290"/>
                    <a:pt x="194120" y="42481"/>
                    <a:pt x="198596" y="49054"/>
                  </a:cubicBezTo>
                  <a:lnTo>
                    <a:pt x="198596" y="4858"/>
                  </a:lnTo>
                  <a:lnTo>
                    <a:pt x="232982" y="4858"/>
                  </a:lnTo>
                  <a:lnTo>
                    <a:pt x="232982" y="307086"/>
                  </a:lnTo>
                  <a:lnTo>
                    <a:pt x="198596" y="307086"/>
                  </a:lnTo>
                  <a:lnTo>
                    <a:pt x="198596" y="189262"/>
                  </a:lnTo>
                  <a:close/>
                  <a:moveTo>
                    <a:pt x="116491" y="209931"/>
                  </a:moveTo>
                  <a:cubicBezTo>
                    <a:pt x="127159" y="209931"/>
                    <a:pt x="137541" y="207740"/>
                    <a:pt x="147542" y="203454"/>
                  </a:cubicBezTo>
                  <a:cubicBezTo>
                    <a:pt x="157544" y="199168"/>
                    <a:pt x="166402" y="193072"/>
                    <a:pt x="174308" y="185166"/>
                  </a:cubicBezTo>
                  <a:cubicBezTo>
                    <a:pt x="182213" y="177260"/>
                    <a:pt x="188404" y="167926"/>
                    <a:pt x="193072" y="157067"/>
                  </a:cubicBezTo>
                  <a:cubicBezTo>
                    <a:pt x="197739" y="146209"/>
                    <a:pt x="200025" y="134112"/>
                    <a:pt x="200025" y="120682"/>
                  </a:cubicBezTo>
                  <a:lnTo>
                    <a:pt x="200025" y="119824"/>
                  </a:lnTo>
                  <a:cubicBezTo>
                    <a:pt x="200025" y="106394"/>
                    <a:pt x="197739" y="94297"/>
                    <a:pt x="193072" y="83439"/>
                  </a:cubicBezTo>
                  <a:cubicBezTo>
                    <a:pt x="188500" y="72580"/>
                    <a:pt x="182213" y="63246"/>
                    <a:pt x="174308" y="55531"/>
                  </a:cubicBezTo>
                  <a:cubicBezTo>
                    <a:pt x="166402" y="47815"/>
                    <a:pt x="157544" y="41815"/>
                    <a:pt x="147542" y="37433"/>
                  </a:cubicBezTo>
                  <a:cubicBezTo>
                    <a:pt x="137541" y="33147"/>
                    <a:pt x="127254" y="30956"/>
                    <a:pt x="116491" y="30956"/>
                  </a:cubicBezTo>
                  <a:cubicBezTo>
                    <a:pt x="105156" y="30956"/>
                    <a:pt x="94583" y="32956"/>
                    <a:pt x="84773" y="36957"/>
                  </a:cubicBezTo>
                  <a:cubicBezTo>
                    <a:pt x="74962" y="40957"/>
                    <a:pt x="66389" y="46767"/>
                    <a:pt x="59150" y="54388"/>
                  </a:cubicBezTo>
                  <a:cubicBezTo>
                    <a:pt x="51816" y="61913"/>
                    <a:pt x="46101" y="71247"/>
                    <a:pt x="41720" y="82296"/>
                  </a:cubicBezTo>
                  <a:cubicBezTo>
                    <a:pt x="37433" y="93250"/>
                    <a:pt x="35242" y="105823"/>
                    <a:pt x="35242" y="119824"/>
                  </a:cubicBezTo>
                  <a:lnTo>
                    <a:pt x="35242" y="120682"/>
                  </a:lnTo>
                  <a:cubicBezTo>
                    <a:pt x="35242" y="134398"/>
                    <a:pt x="37433" y="146780"/>
                    <a:pt x="41720" y="157734"/>
                  </a:cubicBezTo>
                  <a:cubicBezTo>
                    <a:pt x="46006" y="168783"/>
                    <a:pt x="51911" y="178117"/>
                    <a:pt x="59341" y="185833"/>
                  </a:cubicBezTo>
                  <a:cubicBezTo>
                    <a:pt x="66770" y="193548"/>
                    <a:pt x="75438" y="199549"/>
                    <a:pt x="85249" y="203740"/>
                  </a:cubicBezTo>
                  <a:cubicBezTo>
                    <a:pt x="95060" y="207931"/>
                    <a:pt x="105442" y="210026"/>
                    <a:pt x="116491" y="210026"/>
                  </a:cubicBezTo>
                  <a:close/>
                </a:path>
              </a:pathLst>
            </a:custGeom>
            <a:solidFill>
              <a:srgbClr val="44505E"/>
            </a:solidFill>
            <a:ln w="9525" cap="flat">
              <a:noFill/>
              <a:prstDash val="solid"/>
              <a:miter/>
            </a:ln>
          </p:spPr>
          <p:txBody>
            <a:bodyPr rtlCol="0" anchor="ctr"/>
            <a:lstStyle/>
            <a:p>
              <a:endParaRPr lang="pt-BR" noProof="0"/>
            </a:p>
          </p:txBody>
        </p:sp>
        <p:sp>
          <p:nvSpPr>
            <p:cNvPr id="42" name="Freeform: Shape 41">
              <a:extLst>
                <a:ext uri="{FF2B5EF4-FFF2-40B4-BE49-F238E27FC236}">
                  <a16:creationId xmlns:a16="http://schemas.microsoft.com/office/drawing/2014/main" id="{80DB635F-B4AD-CC16-6BC4-63D8BFABB08B}"/>
                </a:ext>
              </a:extLst>
            </p:cNvPr>
            <p:cNvSpPr/>
            <p:nvPr/>
          </p:nvSpPr>
          <p:spPr>
            <a:xfrm>
              <a:off x="5829624" y="925297"/>
              <a:ext cx="50618" cy="59238"/>
            </a:xfrm>
            <a:custGeom>
              <a:avLst/>
              <a:gdLst>
                <a:gd name="connsiteX0" fmla="*/ 88392 w 201358"/>
                <a:gd name="connsiteY0" fmla="*/ 235648 h 235648"/>
                <a:gd name="connsiteX1" fmla="*/ 51149 w 201358"/>
                <a:gd name="connsiteY1" fmla="*/ 228981 h 235648"/>
                <a:gd name="connsiteX2" fmla="*/ 23432 w 201358"/>
                <a:gd name="connsiteY2" fmla="*/ 210026 h 235648"/>
                <a:gd name="connsiteX3" fmla="*/ 6001 w 201358"/>
                <a:gd name="connsiteY3" fmla="*/ 180784 h 235648"/>
                <a:gd name="connsiteX4" fmla="*/ 0 w 201358"/>
                <a:gd name="connsiteY4" fmla="*/ 143256 h 235648"/>
                <a:gd name="connsiteX5" fmla="*/ 0 w 201358"/>
                <a:gd name="connsiteY5" fmla="*/ 0 h 235648"/>
                <a:gd name="connsiteX6" fmla="*/ 34385 w 201358"/>
                <a:gd name="connsiteY6" fmla="*/ 0 h 235648"/>
                <a:gd name="connsiteX7" fmla="*/ 34385 w 201358"/>
                <a:gd name="connsiteY7" fmla="*/ 134493 h 235648"/>
                <a:gd name="connsiteX8" fmla="*/ 50959 w 201358"/>
                <a:gd name="connsiteY8" fmla="*/ 185261 h 235648"/>
                <a:gd name="connsiteX9" fmla="*/ 98298 w 201358"/>
                <a:gd name="connsiteY9" fmla="*/ 203930 h 235648"/>
                <a:gd name="connsiteX10" fmla="*/ 125730 w 201358"/>
                <a:gd name="connsiteY10" fmla="*/ 198787 h 235648"/>
                <a:gd name="connsiteX11" fmla="*/ 147638 w 201358"/>
                <a:gd name="connsiteY11" fmla="*/ 184118 h 235648"/>
                <a:gd name="connsiteX12" fmla="*/ 162116 w 201358"/>
                <a:gd name="connsiteY12" fmla="*/ 161163 h 235648"/>
                <a:gd name="connsiteX13" fmla="*/ 167450 w 201358"/>
                <a:gd name="connsiteY13" fmla="*/ 131826 h 235648"/>
                <a:gd name="connsiteX14" fmla="*/ 167450 w 201358"/>
                <a:gd name="connsiteY14" fmla="*/ 0 h 235648"/>
                <a:gd name="connsiteX15" fmla="*/ 201359 w 201358"/>
                <a:gd name="connsiteY15" fmla="*/ 0 h 235648"/>
                <a:gd name="connsiteX16" fmla="*/ 201359 w 201358"/>
                <a:gd name="connsiteY16" fmla="*/ 230791 h 235648"/>
                <a:gd name="connsiteX17" fmla="*/ 167450 w 201358"/>
                <a:gd name="connsiteY17" fmla="*/ 230791 h 235648"/>
                <a:gd name="connsiteX18" fmla="*/ 167450 w 201358"/>
                <a:gd name="connsiteY18" fmla="*/ 190595 h 235648"/>
                <a:gd name="connsiteX19" fmla="*/ 137065 w 201358"/>
                <a:gd name="connsiteY19" fmla="*/ 222504 h 235648"/>
                <a:gd name="connsiteX20" fmla="*/ 88392 w 201358"/>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358" h="235648">
                  <a:moveTo>
                    <a:pt x="88392" y="235648"/>
                  </a:moveTo>
                  <a:cubicBezTo>
                    <a:pt x="74390" y="235648"/>
                    <a:pt x="62008" y="233363"/>
                    <a:pt x="51149" y="228981"/>
                  </a:cubicBezTo>
                  <a:cubicBezTo>
                    <a:pt x="40291" y="224504"/>
                    <a:pt x="31052" y="218218"/>
                    <a:pt x="23432"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959" y="185261"/>
                  </a:cubicBezTo>
                  <a:cubicBezTo>
                    <a:pt x="61913" y="197739"/>
                    <a:pt x="77724" y="203930"/>
                    <a:pt x="98298" y="203930"/>
                  </a:cubicBezTo>
                  <a:cubicBezTo>
                    <a:pt x="108109" y="203930"/>
                    <a:pt x="117253" y="202216"/>
                    <a:pt x="125730" y="198787"/>
                  </a:cubicBezTo>
                  <a:cubicBezTo>
                    <a:pt x="134207" y="195358"/>
                    <a:pt x="141446" y="190500"/>
                    <a:pt x="147638" y="184118"/>
                  </a:cubicBezTo>
                  <a:cubicBezTo>
                    <a:pt x="153734" y="177736"/>
                    <a:pt x="158591" y="170116"/>
                    <a:pt x="162116" y="161163"/>
                  </a:cubicBezTo>
                  <a:cubicBezTo>
                    <a:pt x="165735" y="152305"/>
                    <a:pt x="167450" y="142494"/>
                    <a:pt x="167450" y="131826"/>
                  </a:cubicBezTo>
                  <a:lnTo>
                    <a:pt x="167450" y="0"/>
                  </a:lnTo>
                  <a:lnTo>
                    <a:pt x="201359" y="0"/>
                  </a:lnTo>
                  <a:lnTo>
                    <a:pt x="201359" y="230791"/>
                  </a:lnTo>
                  <a:lnTo>
                    <a:pt x="167450" y="230791"/>
                  </a:lnTo>
                  <a:lnTo>
                    <a:pt x="167450" y="190595"/>
                  </a:lnTo>
                  <a:cubicBezTo>
                    <a:pt x="159734" y="203073"/>
                    <a:pt x="149543" y="213741"/>
                    <a:pt x="137065" y="222504"/>
                  </a:cubicBezTo>
                  <a:cubicBezTo>
                    <a:pt x="124587" y="231267"/>
                    <a:pt x="108395" y="235648"/>
                    <a:pt x="88392" y="235648"/>
                  </a:cubicBezTo>
                  <a:close/>
                </a:path>
              </a:pathLst>
            </a:custGeom>
            <a:solidFill>
              <a:srgbClr val="44505E"/>
            </a:solidFill>
            <a:ln w="9525" cap="flat">
              <a:noFill/>
              <a:prstDash val="solid"/>
              <a:miter/>
            </a:ln>
          </p:spPr>
          <p:txBody>
            <a:bodyPr rtlCol="0" anchor="ctr"/>
            <a:lstStyle/>
            <a:p>
              <a:endParaRPr lang="pt-BR" noProof="0"/>
            </a:p>
          </p:txBody>
        </p:sp>
        <p:sp>
          <p:nvSpPr>
            <p:cNvPr id="43" name="Freeform: Shape 42">
              <a:extLst>
                <a:ext uri="{FF2B5EF4-FFF2-40B4-BE49-F238E27FC236}">
                  <a16:creationId xmlns:a16="http://schemas.microsoft.com/office/drawing/2014/main" id="{796A75BA-1C12-EA6D-E0E7-B876B34ACF3A}"/>
                </a:ext>
              </a:extLst>
            </p:cNvPr>
            <p:cNvSpPr/>
            <p:nvPr/>
          </p:nvSpPr>
          <p:spPr>
            <a:xfrm>
              <a:off x="5896069"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7059 w 218217"/>
                <a:gd name="connsiteY3" fmla="*/ 206026 h 241077"/>
                <a:gd name="connsiteX4" fmla="*/ 116110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7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0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356 w 218217"/>
                <a:gd name="connsiteY25" fmla="*/ 106299 h 241077"/>
                <a:gd name="connsiteX26" fmla="*/ 176689 w 218217"/>
                <a:gd name="connsiteY26" fmla="*/ 76771 h 241077"/>
                <a:gd name="connsiteX27" fmla="*/ 162211 w 218217"/>
                <a:gd name="connsiteY27" fmla="*/ 52101 h 241077"/>
                <a:gd name="connsiteX28" fmla="*/ 139922 w 218217"/>
                <a:gd name="connsiteY28" fmla="*/ 35242 h 241077"/>
                <a:gd name="connsiteX29" fmla="*/ 109823 w 218217"/>
                <a:gd name="connsiteY29" fmla="*/ 29051 h 241077"/>
                <a:gd name="connsiteX30" fmla="*/ 82105 w 218217"/>
                <a:gd name="connsiteY30" fmla="*/ 34766 h 241077"/>
                <a:gd name="connsiteX31" fmla="*/ 59341 w 218217"/>
                <a:gd name="connsiteY31" fmla="*/ 50959 h 241077"/>
                <a:gd name="connsiteX32" fmla="*/ 43053 w 218217"/>
                <a:gd name="connsiteY32" fmla="*/ 75628 h 241077"/>
                <a:gd name="connsiteX33" fmla="*/ 34766 w 218217"/>
                <a:gd name="connsiteY33" fmla="*/ 106204 h 241077"/>
                <a:gd name="connsiteX34" fmla="*/ 183356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819" y="202597"/>
                    <a:pt x="87059" y="206026"/>
                  </a:cubicBezTo>
                  <a:cubicBezTo>
                    <a:pt x="96298" y="209455"/>
                    <a:pt x="105918" y="211169"/>
                    <a:pt x="116110" y="211169"/>
                  </a:cubicBezTo>
                  <a:cubicBezTo>
                    <a:pt x="132207" y="211169"/>
                    <a:pt x="145923" y="208216"/>
                    <a:pt x="157353" y="202216"/>
                  </a:cubicBezTo>
                  <a:cubicBezTo>
                    <a:pt x="168783" y="196310"/>
                    <a:pt x="179261" y="188404"/>
                    <a:pt x="188786" y="178594"/>
                  </a:cubicBezTo>
                  <a:lnTo>
                    <a:pt x="210217" y="197834"/>
                  </a:lnTo>
                  <a:cubicBezTo>
                    <a:pt x="198596" y="210979"/>
                    <a:pt x="185356" y="221361"/>
                    <a:pt x="170497" y="229267"/>
                  </a:cubicBezTo>
                  <a:cubicBezTo>
                    <a:pt x="155638"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583" y="0"/>
                    <a:pt x="110680"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356" y="106299"/>
                  </a:moveTo>
                  <a:cubicBezTo>
                    <a:pt x="182499" y="95917"/>
                    <a:pt x="180213" y="86106"/>
                    <a:pt x="176689" y="76771"/>
                  </a:cubicBezTo>
                  <a:cubicBezTo>
                    <a:pt x="173069" y="67437"/>
                    <a:pt x="168307" y="59245"/>
                    <a:pt x="162211" y="52101"/>
                  </a:cubicBezTo>
                  <a:cubicBezTo>
                    <a:pt x="156115" y="44958"/>
                    <a:pt x="148685" y="39338"/>
                    <a:pt x="139922" y="35242"/>
                  </a:cubicBezTo>
                  <a:cubicBezTo>
                    <a:pt x="131159" y="31147"/>
                    <a:pt x="121063" y="29051"/>
                    <a:pt x="109823" y="29051"/>
                  </a:cubicBezTo>
                  <a:cubicBezTo>
                    <a:pt x="100013" y="29051"/>
                    <a:pt x="90773" y="30956"/>
                    <a:pt x="82105" y="34766"/>
                  </a:cubicBezTo>
                  <a:cubicBezTo>
                    <a:pt x="73438" y="38671"/>
                    <a:pt x="65913" y="44005"/>
                    <a:pt x="59341" y="50959"/>
                  </a:cubicBezTo>
                  <a:cubicBezTo>
                    <a:pt x="52769" y="57912"/>
                    <a:pt x="47339" y="66103"/>
                    <a:pt x="43053" y="75628"/>
                  </a:cubicBezTo>
                  <a:cubicBezTo>
                    <a:pt x="38767" y="85058"/>
                    <a:pt x="36004" y="95345"/>
                    <a:pt x="34766" y="106204"/>
                  </a:cubicBezTo>
                  <a:lnTo>
                    <a:pt x="183356" y="106204"/>
                  </a:lnTo>
                  <a:close/>
                </a:path>
              </a:pathLst>
            </a:custGeom>
            <a:solidFill>
              <a:srgbClr val="44505E"/>
            </a:solidFill>
            <a:ln w="9525" cap="flat">
              <a:noFill/>
              <a:prstDash val="solid"/>
              <a:miter/>
            </a:ln>
          </p:spPr>
          <p:txBody>
            <a:bodyPr rtlCol="0" anchor="ctr"/>
            <a:lstStyle/>
            <a:p>
              <a:endParaRPr lang="pt-BR" noProof="0"/>
            </a:p>
          </p:txBody>
        </p:sp>
        <p:sp>
          <p:nvSpPr>
            <p:cNvPr id="44" name="Freeform: Shape 43">
              <a:extLst>
                <a:ext uri="{FF2B5EF4-FFF2-40B4-BE49-F238E27FC236}">
                  <a16:creationId xmlns:a16="http://schemas.microsoft.com/office/drawing/2014/main" id="{DC0372A6-A58C-56C1-B29F-85F952773AE0}"/>
                </a:ext>
              </a:extLst>
            </p:cNvPr>
            <p:cNvSpPr/>
            <p:nvPr/>
          </p:nvSpPr>
          <p:spPr>
            <a:xfrm>
              <a:off x="5994910" y="924268"/>
              <a:ext cx="44680" cy="60195"/>
            </a:xfrm>
            <a:custGeom>
              <a:avLst/>
              <a:gdLst>
                <a:gd name="connsiteX0" fmla="*/ 95536 w 177736"/>
                <a:gd name="connsiteY0" fmla="*/ 239268 h 239458"/>
                <a:gd name="connsiteX1" fmla="*/ 45053 w 177736"/>
                <a:gd name="connsiteY1" fmla="*/ 230124 h 239458"/>
                <a:gd name="connsiteX2" fmla="*/ 0 w 177736"/>
                <a:gd name="connsiteY2" fmla="*/ 205359 h 239458"/>
                <a:gd name="connsiteX3" fmla="*/ 17431 w 177736"/>
                <a:gd name="connsiteY3" fmla="*/ 180785 h 239458"/>
                <a:gd name="connsiteX4" fmla="*/ 56483 w 177736"/>
                <a:gd name="connsiteY4" fmla="*/ 202692 h 239458"/>
                <a:gd name="connsiteX5" fmla="*/ 97346 w 177736"/>
                <a:gd name="connsiteY5" fmla="*/ 210217 h 239458"/>
                <a:gd name="connsiteX6" fmla="*/ 131731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730 w 177736"/>
                <a:gd name="connsiteY10" fmla="*/ 147066 h 239458"/>
                <a:gd name="connsiteX11" fmla="*/ 109252 w 177736"/>
                <a:gd name="connsiteY11" fmla="*/ 138779 h 239458"/>
                <a:gd name="connsiteX12" fmla="*/ 87630 w 177736"/>
                <a:gd name="connsiteY12" fmla="*/ 132112 h 239458"/>
                <a:gd name="connsiteX13" fmla="*/ 60674 w 177736"/>
                <a:gd name="connsiteY13" fmla="*/ 123444 h 239458"/>
                <a:gd name="connsiteX14" fmla="*/ 36100 w 177736"/>
                <a:gd name="connsiteY14" fmla="*/ 111633 h 239458"/>
                <a:gd name="connsiteX15" fmla="*/ 18193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60 w 177736"/>
                <a:gd name="connsiteY22" fmla="*/ 6953 h 239458"/>
                <a:gd name="connsiteX23" fmla="*/ 172879 w 177736"/>
                <a:gd name="connsiteY23" fmla="*/ 25527 h 239458"/>
                <a:gd name="connsiteX24" fmla="*/ 157258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4 w 177736"/>
                <a:gd name="connsiteY32" fmla="*/ 96203 h 239458"/>
                <a:gd name="connsiteX33" fmla="*/ 103632 w 177736"/>
                <a:gd name="connsiteY33" fmla="*/ 103346 h 239458"/>
                <a:gd name="connsiteX34" fmla="*/ 130207 w 177736"/>
                <a:gd name="connsiteY34" fmla="*/ 112300 h 239458"/>
                <a:gd name="connsiteX35" fmla="*/ 154114 w 177736"/>
                <a:gd name="connsiteY35" fmla="*/ 124778 h 239458"/>
                <a:gd name="connsiteX36" fmla="*/ 171260 w 177736"/>
                <a:gd name="connsiteY36" fmla="*/ 143066 h 239458"/>
                <a:gd name="connsiteX37" fmla="*/ 177737 w 177736"/>
                <a:gd name="connsiteY37" fmla="*/ 169450 h 239458"/>
                <a:gd name="connsiteX38" fmla="*/ 177737 w 177736"/>
                <a:gd name="connsiteY38" fmla="*/ 170307 h 239458"/>
                <a:gd name="connsiteX39" fmla="*/ 171260 w 177736"/>
                <a:gd name="connsiteY39" fmla="*/ 199549 h 239458"/>
                <a:gd name="connsiteX40" fmla="*/ 153829 w 177736"/>
                <a:gd name="connsiteY40" fmla="*/ 221171 h 239458"/>
                <a:gd name="connsiteX41" fmla="*/ 127921 w 177736"/>
                <a:gd name="connsiteY41" fmla="*/ 234791 h 239458"/>
                <a:gd name="connsiteX42" fmla="*/ 95536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6" y="239268"/>
                  </a:moveTo>
                  <a:cubicBezTo>
                    <a:pt x="78867" y="239268"/>
                    <a:pt x="62008" y="236220"/>
                    <a:pt x="45053" y="230124"/>
                  </a:cubicBezTo>
                  <a:cubicBezTo>
                    <a:pt x="28099" y="224028"/>
                    <a:pt x="13049" y="215741"/>
                    <a:pt x="0" y="205359"/>
                  </a:cubicBezTo>
                  <a:lnTo>
                    <a:pt x="17431" y="180785"/>
                  </a:lnTo>
                  <a:cubicBezTo>
                    <a:pt x="29909"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637" y="162211"/>
                    <a:pt x="140494" y="158020"/>
                  </a:cubicBezTo>
                  <a:cubicBezTo>
                    <a:pt x="137351" y="153829"/>
                    <a:pt x="133160" y="150209"/>
                    <a:pt x="127730" y="147066"/>
                  </a:cubicBezTo>
                  <a:cubicBezTo>
                    <a:pt x="122396" y="143923"/>
                    <a:pt x="116205" y="141161"/>
                    <a:pt x="109252" y="138779"/>
                  </a:cubicBezTo>
                  <a:cubicBezTo>
                    <a:pt x="102299" y="136398"/>
                    <a:pt x="95060" y="134207"/>
                    <a:pt x="87630" y="132112"/>
                  </a:cubicBezTo>
                  <a:cubicBezTo>
                    <a:pt x="78677" y="129445"/>
                    <a:pt x="69723" y="126492"/>
                    <a:pt x="60674" y="123444"/>
                  </a:cubicBezTo>
                  <a:cubicBezTo>
                    <a:pt x="51626" y="120301"/>
                    <a:pt x="43434" y="116396"/>
                    <a:pt x="36100" y="111633"/>
                  </a:cubicBezTo>
                  <a:cubicBezTo>
                    <a:pt x="28766" y="106871"/>
                    <a:pt x="22860" y="100870"/>
                    <a:pt x="18193" y="93726"/>
                  </a:cubicBezTo>
                  <a:cubicBezTo>
                    <a:pt x="13621" y="86582"/>
                    <a:pt x="11239" y="77629"/>
                    <a:pt x="11239" y="66961"/>
                  </a:cubicBezTo>
                  <a:lnTo>
                    <a:pt x="11239" y="66008"/>
                  </a:lnTo>
                  <a:cubicBezTo>
                    <a:pt x="11239" y="56198"/>
                    <a:pt x="13145" y="47149"/>
                    <a:pt x="17050" y="39053"/>
                  </a:cubicBezTo>
                  <a:cubicBezTo>
                    <a:pt x="20860" y="30861"/>
                    <a:pt x="26289" y="23908"/>
                    <a:pt x="33338" y="18098"/>
                  </a:cubicBezTo>
                  <a:cubicBezTo>
                    <a:pt x="40291" y="12287"/>
                    <a:pt x="48673" y="7811"/>
                    <a:pt x="58388" y="4667"/>
                  </a:cubicBezTo>
                  <a:cubicBezTo>
                    <a:pt x="68009" y="1524"/>
                    <a:pt x="78581" y="0"/>
                    <a:pt x="89821" y="0"/>
                  </a:cubicBezTo>
                  <a:cubicBezTo>
                    <a:pt x="104108" y="0"/>
                    <a:pt x="118491" y="2286"/>
                    <a:pt x="133160" y="6953"/>
                  </a:cubicBezTo>
                  <a:cubicBezTo>
                    <a:pt x="147733" y="11621"/>
                    <a:pt x="160972" y="17717"/>
                    <a:pt x="172879" y="25527"/>
                  </a:cubicBezTo>
                  <a:lnTo>
                    <a:pt x="157258" y="51435"/>
                  </a:lnTo>
                  <a:cubicBezTo>
                    <a:pt x="146495" y="44577"/>
                    <a:pt x="135350" y="39148"/>
                    <a:pt x="123539" y="35147"/>
                  </a:cubicBezTo>
                  <a:cubicBezTo>
                    <a:pt x="111824" y="31147"/>
                    <a:pt x="100298" y="29146"/>
                    <a:pt x="88963" y="29146"/>
                  </a:cubicBezTo>
                  <a:cubicBezTo>
                    <a:pt x="75247" y="29146"/>
                    <a:pt x="64389" y="32385"/>
                    <a:pt x="56388" y="38767"/>
                  </a:cubicBezTo>
                  <a:cubicBezTo>
                    <a:pt x="48387" y="45149"/>
                    <a:pt x="44291" y="53150"/>
                    <a:pt x="44291" y="62675"/>
                  </a:cubicBezTo>
                  <a:lnTo>
                    <a:pt x="44291" y="63627"/>
                  </a:lnTo>
                  <a:cubicBezTo>
                    <a:pt x="44291" y="68961"/>
                    <a:pt x="45911" y="73628"/>
                    <a:pt x="49244" y="77724"/>
                  </a:cubicBezTo>
                  <a:cubicBezTo>
                    <a:pt x="52483" y="81725"/>
                    <a:pt x="56960" y="85249"/>
                    <a:pt x="62389" y="88202"/>
                  </a:cubicBezTo>
                  <a:cubicBezTo>
                    <a:pt x="67913" y="91154"/>
                    <a:pt x="74200" y="93821"/>
                    <a:pt x="81344" y="96203"/>
                  </a:cubicBezTo>
                  <a:cubicBezTo>
                    <a:pt x="88487" y="98584"/>
                    <a:pt x="95917" y="100965"/>
                    <a:pt x="103632" y="103346"/>
                  </a:cubicBezTo>
                  <a:cubicBezTo>
                    <a:pt x="112586" y="106013"/>
                    <a:pt x="121444" y="108966"/>
                    <a:pt x="130207" y="112300"/>
                  </a:cubicBezTo>
                  <a:cubicBezTo>
                    <a:pt x="138970" y="115538"/>
                    <a:pt x="146971" y="119729"/>
                    <a:pt x="154114" y="124778"/>
                  </a:cubicBezTo>
                  <a:cubicBezTo>
                    <a:pt x="161258" y="129826"/>
                    <a:pt x="166973" y="135922"/>
                    <a:pt x="171260" y="143066"/>
                  </a:cubicBezTo>
                  <a:cubicBezTo>
                    <a:pt x="175546" y="150209"/>
                    <a:pt x="177737" y="158972"/>
                    <a:pt x="177737" y="169450"/>
                  </a:cubicBezTo>
                  <a:lnTo>
                    <a:pt x="177737" y="170307"/>
                  </a:lnTo>
                  <a:cubicBezTo>
                    <a:pt x="177737" y="181356"/>
                    <a:pt x="175546" y="191071"/>
                    <a:pt x="171260" y="199549"/>
                  </a:cubicBezTo>
                  <a:cubicBezTo>
                    <a:pt x="166973" y="208026"/>
                    <a:pt x="161163" y="215265"/>
                    <a:pt x="153829" y="221171"/>
                  </a:cubicBezTo>
                  <a:cubicBezTo>
                    <a:pt x="146495" y="227171"/>
                    <a:pt x="137922" y="231648"/>
                    <a:pt x="127921" y="234791"/>
                  </a:cubicBezTo>
                  <a:cubicBezTo>
                    <a:pt x="117920" y="237935"/>
                    <a:pt x="107156" y="239459"/>
                    <a:pt x="95536" y="239459"/>
                  </a:cubicBezTo>
                  <a:close/>
                </a:path>
              </a:pathLst>
            </a:custGeom>
            <a:solidFill>
              <a:srgbClr val="44505E"/>
            </a:solidFill>
            <a:ln w="9525" cap="flat">
              <a:noFill/>
              <a:prstDash val="solid"/>
              <a:miter/>
            </a:ln>
          </p:spPr>
          <p:txBody>
            <a:bodyPr rtlCol="0" anchor="ctr"/>
            <a:lstStyle/>
            <a:p>
              <a:endParaRPr lang="pt-BR" noProof="0"/>
            </a:p>
          </p:txBody>
        </p:sp>
        <p:sp>
          <p:nvSpPr>
            <p:cNvPr id="45" name="Freeform: Shape 44">
              <a:extLst>
                <a:ext uri="{FF2B5EF4-FFF2-40B4-BE49-F238E27FC236}">
                  <a16:creationId xmlns:a16="http://schemas.microsoft.com/office/drawing/2014/main" id="{A4CC74E1-F105-23FD-5E85-CD3B5CC3CD74}"/>
                </a:ext>
              </a:extLst>
            </p:cNvPr>
            <p:cNvSpPr/>
            <p:nvPr/>
          </p:nvSpPr>
          <p:spPr>
            <a:xfrm>
              <a:off x="605122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4 w 202977"/>
                <a:gd name="connsiteY30" fmla="*/ 174593 h 239267"/>
                <a:gd name="connsiteX31" fmla="*/ 169735 w 202977"/>
                <a:gd name="connsiteY31" fmla="*/ 149447 h 239267"/>
                <a:gd name="connsiteX32" fmla="*/ 169735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0" y="90964"/>
                    <a:pt x="98584" y="90964"/>
                  </a:cubicBezTo>
                  <a:cubicBezTo>
                    <a:pt x="113157" y="90964"/>
                    <a:pt x="126301"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1" y="33147"/>
                    <a:pt x="63436" y="36100"/>
                  </a:cubicBezTo>
                  <a:cubicBezTo>
                    <a:pt x="52292" y="39053"/>
                    <a:pt x="41338" y="43053"/>
                    <a:pt x="30671" y="48196"/>
                  </a:cubicBezTo>
                  <a:lnTo>
                    <a:pt x="20383" y="19907"/>
                  </a:lnTo>
                  <a:cubicBezTo>
                    <a:pt x="33147" y="13906"/>
                    <a:pt x="46101" y="9049"/>
                    <a:pt x="59246" y="5429"/>
                  </a:cubicBezTo>
                  <a:cubicBezTo>
                    <a:pt x="72295"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1" y="239173"/>
                  </a:cubicBezTo>
                  <a:close/>
                  <a:moveTo>
                    <a:pt x="93154" y="211169"/>
                  </a:moveTo>
                  <a:cubicBezTo>
                    <a:pt x="103822" y="211169"/>
                    <a:pt x="113728" y="209740"/>
                    <a:pt x="122967" y="206788"/>
                  </a:cubicBezTo>
                  <a:cubicBezTo>
                    <a:pt x="132207" y="203835"/>
                    <a:pt x="140208" y="199644"/>
                    <a:pt x="147256" y="194120"/>
                  </a:cubicBezTo>
                  <a:cubicBezTo>
                    <a:pt x="154209" y="188595"/>
                    <a:pt x="159734" y="182118"/>
                    <a:pt x="163734" y="174593"/>
                  </a:cubicBezTo>
                  <a:cubicBezTo>
                    <a:pt x="167735" y="167068"/>
                    <a:pt x="169735" y="158687"/>
                    <a:pt x="169735" y="149447"/>
                  </a:cubicBezTo>
                  <a:lnTo>
                    <a:pt x="169735" y="128111"/>
                  </a:lnTo>
                  <a:cubicBezTo>
                    <a:pt x="161163" y="125730"/>
                    <a:pt x="151352" y="123539"/>
                    <a:pt x="140398" y="121444"/>
                  </a:cubicBezTo>
                  <a:cubicBezTo>
                    <a:pt x="129445" y="119348"/>
                    <a:pt x="116872"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46" name="Freeform: Shape 45">
              <a:extLst>
                <a:ext uri="{FF2B5EF4-FFF2-40B4-BE49-F238E27FC236}">
                  <a16:creationId xmlns:a16="http://schemas.microsoft.com/office/drawing/2014/main" id="{7741785F-5CE3-FCAD-E167-A6B01F5EE739}"/>
                </a:ext>
              </a:extLst>
            </p:cNvPr>
            <p:cNvSpPr/>
            <p:nvPr/>
          </p:nvSpPr>
          <p:spPr>
            <a:xfrm>
              <a:off x="6121359" y="901377"/>
              <a:ext cx="8644" cy="81913"/>
            </a:xfrm>
            <a:custGeom>
              <a:avLst/>
              <a:gdLst>
                <a:gd name="connsiteX0" fmla="*/ 0 w 34385"/>
                <a:gd name="connsiteY0" fmla="*/ 0 h 325850"/>
                <a:gd name="connsiteX1" fmla="*/ 34385 w 34385"/>
                <a:gd name="connsiteY1" fmla="*/ 0 h 325850"/>
                <a:gd name="connsiteX2" fmla="*/ 34385 w 34385"/>
                <a:gd name="connsiteY2" fmla="*/ 325850 h 325850"/>
                <a:gd name="connsiteX3" fmla="*/ 0 w 34385"/>
                <a:gd name="connsiteY3" fmla="*/ 325850 h 325850"/>
                <a:gd name="connsiteX4" fmla="*/ 0 w 34385"/>
                <a:gd name="connsiteY4" fmla="*/ 0 h 32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 h="325850">
                  <a:moveTo>
                    <a:pt x="0" y="0"/>
                  </a:moveTo>
                  <a:lnTo>
                    <a:pt x="34385" y="0"/>
                  </a:lnTo>
                  <a:lnTo>
                    <a:pt x="34385" y="325850"/>
                  </a:lnTo>
                  <a:lnTo>
                    <a:pt x="0" y="325850"/>
                  </a:lnTo>
                  <a:lnTo>
                    <a:pt x="0" y="0"/>
                  </a:lnTo>
                  <a:close/>
                </a:path>
              </a:pathLst>
            </a:custGeom>
            <a:solidFill>
              <a:srgbClr val="44505E"/>
            </a:solidFill>
            <a:ln w="9525" cap="flat">
              <a:noFill/>
              <a:prstDash val="solid"/>
              <a:miter/>
            </a:ln>
          </p:spPr>
          <p:txBody>
            <a:bodyPr rtlCol="0" anchor="ctr"/>
            <a:lstStyle/>
            <a:p>
              <a:endParaRPr lang="pt-BR" noProof="0"/>
            </a:p>
          </p:txBody>
        </p:sp>
        <p:sp>
          <p:nvSpPr>
            <p:cNvPr id="47" name="Freeform: Shape 46">
              <a:extLst>
                <a:ext uri="{FF2B5EF4-FFF2-40B4-BE49-F238E27FC236}">
                  <a16:creationId xmlns:a16="http://schemas.microsoft.com/office/drawing/2014/main" id="{8DAF6CF4-CF25-D112-C107-5E92E8226D77}"/>
                </a:ext>
              </a:extLst>
            </p:cNvPr>
            <p:cNvSpPr/>
            <p:nvPr/>
          </p:nvSpPr>
          <p:spPr>
            <a:xfrm>
              <a:off x="6144346" y="925273"/>
              <a:ext cx="58016" cy="58448"/>
            </a:xfrm>
            <a:custGeom>
              <a:avLst/>
              <a:gdLst>
                <a:gd name="connsiteX0" fmla="*/ 95 w 230790"/>
                <a:gd name="connsiteY0" fmla="*/ 0 h 232505"/>
                <a:gd name="connsiteX1" fmla="*/ 38005 w 230790"/>
                <a:gd name="connsiteY1" fmla="*/ 0 h 232505"/>
                <a:gd name="connsiteX2" fmla="*/ 115634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4"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48" name="Freeform: Shape 47">
              <a:extLst>
                <a:ext uri="{FF2B5EF4-FFF2-40B4-BE49-F238E27FC236}">
                  <a16:creationId xmlns:a16="http://schemas.microsoft.com/office/drawing/2014/main" id="{DA5CB994-3ADC-1E1C-5980-725E67BDAB83}"/>
                </a:ext>
              </a:extLst>
            </p:cNvPr>
            <p:cNvSpPr/>
            <p:nvPr/>
          </p:nvSpPr>
          <p:spPr>
            <a:xfrm>
              <a:off x="621155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8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338 w 202977"/>
                <a:gd name="connsiteY36" fmla="*/ 164497 h 239267"/>
                <a:gd name="connsiteX37" fmla="*/ 35338 w 202977"/>
                <a:gd name="connsiteY37" fmla="*/ 165449 h 239267"/>
                <a:gd name="connsiteX38" fmla="*/ 40005 w 202977"/>
                <a:gd name="connsiteY38" fmla="*/ 184785 h 239267"/>
                <a:gd name="connsiteX39" fmla="*/ 52673 w 202977"/>
                <a:gd name="connsiteY39" fmla="*/ 199263 h 239267"/>
                <a:gd name="connsiteX40" fmla="*/ 71152 w 202977"/>
                <a:gd name="connsiteY40" fmla="*/ 208121 h 239267"/>
                <a:gd name="connsiteX41" fmla="*/ 93154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438" y="239268"/>
                    <a:pt x="64961"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1" y="90964"/>
                    <a:pt x="98584" y="90964"/>
                  </a:cubicBezTo>
                  <a:cubicBezTo>
                    <a:pt x="113157" y="90964"/>
                    <a:pt x="126302" y="91821"/>
                    <a:pt x="137160" y="93631"/>
                  </a:cubicBezTo>
                  <a:cubicBezTo>
                    <a:pt x="148019" y="95440"/>
                    <a:pt x="158687" y="97822"/>
                    <a:pt x="169069" y="100774"/>
                  </a:cubicBezTo>
                  <a:lnTo>
                    <a:pt x="169069" y="93726"/>
                  </a:lnTo>
                  <a:cubicBezTo>
                    <a:pt x="169069" y="73342"/>
                    <a:pt x="163068" y="57912"/>
                    <a:pt x="151162" y="47339"/>
                  </a:cubicBezTo>
                  <a:cubicBezTo>
                    <a:pt x="139255" y="36862"/>
                    <a:pt x="122491" y="31623"/>
                    <a:pt x="100679" y="31623"/>
                  </a:cubicBezTo>
                  <a:cubicBezTo>
                    <a:pt x="86963" y="31623"/>
                    <a:pt x="74581" y="33147"/>
                    <a:pt x="63437" y="36100"/>
                  </a:cubicBezTo>
                  <a:cubicBezTo>
                    <a:pt x="52292" y="39053"/>
                    <a:pt x="41338" y="43053"/>
                    <a:pt x="30671" y="48196"/>
                  </a:cubicBezTo>
                  <a:lnTo>
                    <a:pt x="20383" y="19907"/>
                  </a:lnTo>
                  <a:cubicBezTo>
                    <a:pt x="33147" y="13906"/>
                    <a:pt x="46101" y="9049"/>
                    <a:pt x="59246" y="5429"/>
                  </a:cubicBezTo>
                  <a:cubicBezTo>
                    <a:pt x="72390"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04" y="239173"/>
                    <a:pt x="86011" y="239173"/>
                  </a:cubicBezTo>
                  <a:close/>
                  <a:moveTo>
                    <a:pt x="93154" y="211169"/>
                  </a:moveTo>
                  <a:cubicBezTo>
                    <a:pt x="103822" y="211169"/>
                    <a:pt x="113824" y="209740"/>
                    <a:pt x="122968" y="206788"/>
                  </a:cubicBezTo>
                  <a:cubicBezTo>
                    <a:pt x="132112"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5" y="119348"/>
                    <a:pt x="116777" y="118300"/>
                    <a:pt x="102584" y="118300"/>
                  </a:cubicBezTo>
                  <a:cubicBezTo>
                    <a:pt x="81248" y="118300"/>
                    <a:pt x="64675" y="122491"/>
                    <a:pt x="52959" y="130969"/>
                  </a:cubicBezTo>
                  <a:cubicBezTo>
                    <a:pt x="41243" y="139446"/>
                    <a:pt x="35338" y="150590"/>
                    <a:pt x="35338" y="164497"/>
                  </a:cubicBezTo>
                  <a:lnTo>
                    <a:pt x="35338" y="165449"/>
                  </a:lnTo>
                  <a:cubicBezTo>
                    <a:pt x="35338" y="172498"/>
                    <a:pt x="36862" y="178975"/>
                    <a:pt x="40005" y="184785"/>
                  </a:cubicBezTo>
                  <a:cubicBezTo>
                    <a:pt x="43148" y="190500"/>
                    <a:pt x="47339" y="195358"/>
                    <a:pt x="52673" y="199263"/>
                  </a:cubicBezTo>
                  <a:cubicBezTo>
                    <a:pt x="58007" y="203073"/>
                    <a:pt x="64198" y="206026"/>
                    <a:pt x="71152" y="208121"/>
                  </a:cubicBezTo>
                  <a:cubicBezTo>
                    <a:pt x="78105" y="210217"/>
                    <a:pt x="85439" y="211169"/>
                    <a:pt x="93154" y="211169"/>
                  </a:cubicBezTo>
                  <a:close/>
                </a:path>
              </a:pathLst>
            </a:custGeom>
            <a:solidFill>
              <a:srgbClr val="44505E"/>
            </a:solidFill>
            <a:ln w="9525" cap="flat">
              <a:noFill/>
              <a:prstDash val="solid"/>
              <a:miter/>
            </a:ln>
          </p:spPr>
          <p:txBody>
            <a:bodyPr rtlCol="0" anchor="ctr"/>
            <a:lstStyle/>
            <a:p>
              <a:endParaRPr lang="pt-BR" noProof="0"/>
            </a:p>
          </p:txBody>
        </p:sp>
        <p:sp>
          <p:nvSpPr>
            <p:cNvPr id="49" name="Freeform: Shape 48">
              <a:extLst>
                <a:ext uri="{FF2B5EF4-FFF2-40B4-BE49-F238E27FC236}">
                  <a16:creationId xmlns:a16="http://schemas.microsoft.com/office/drawing/2014/main" id="{BB4126E9-B50A-A055-C998-69C48DD9AA5A}"/>
                </a:ext>
              </a:extLst>
            </p:cNvPr>
            <p:cNvSpPr/>
            <p:nvPr/>
          </p:nvSpPr>
          <p:spPr>
            <a:xfrm>
              <a:off x="6280899" y="923980"/>
              <a:ext cx="87995" cy="59238"/>
            </a:xfrm>
            <a:custGeom>
              <a:avLst/>
              <a:gdLst>
                <a:gd name="connsiteX0" fmla="*/ 0 w 350043"/>
                <a:gd name="connsiteY0" fmla="*/ 5144 h 235648"/>
                <a:gd name="connsiteX1" fmla="*/ 34385 w 350043"/>
                <a:gd name="connsiteY1" fmla="*/ 5144 h 235648"/>
                <a:gd name="connsiteX2" fmla="*/ 34385 w 350043"/>
                <a:gd name="connsiteY2" fmla="*/ 44005 h 235648"/>
                <a:gd name="connsiteX3" fmla="*/ 47149 w 350043"/>
                <a:gd name="connsiteY3" fmla="*/ 27432 h 235648"/>
                <a:gd name="connsiteX4" fmla="*/ 62960 w 350043"/>
                <a:gd name="connsiteY4" fmla="*/ 13335 h 235648"/>
                <a:gd name="connsiteX5" fmla="*/ 83058 w 350043"/>
                <a:gd name="connsiteY5" fmla="*/ 3715 h 235648"/>
                <a:gd name="connsiteX6" fmla="*/ 108966 w 350043"/>
                <a:gd name="connsiteY6" fmla="*/ 95 h 235648"/>
                <a:gd name="connsiteX7" fmla="*/ 155448 w 350043"/>
                <a:gd name="connsiteY7" fmla="*/ 13240 h 235648"/>
                <a:gd name="connsiteX8" fmla="*/ 183166 w 350043"/>
                <a:gd name="connsiteY8" fmla="*/ 46006 h 235648"/>
                <a:gd name="connsiteX9" fmla="*/ 197168 w 350043"/>
                <a:gd name="connsiteY9" fmla="*/ 28194 h 235648"/>
                <a:gd name="connsiteX10" fmla="*/ 214789 w 350043"/>
                <a:gd name="connsiteY10" fmla="*/ 13430 h 235648"/>
                <a:gd name="connsiteX11" fmla="*/ 236887 w 350043"/>
                <a:gd name="connsiteY11" fmla="*/ 3620 h 235648"/>
                <a:gd name="connsiteX12" fmla="*/ 264319 w 350043"/>
                <a:gd name="connsiteY12" fmla="*/ 0 h 235648"/>
                <a:gd name="connsiteX13" fmla="*/ 327279 w 350043"/>
                <a:gd name="connsiteY13" fmla="*/ 24765 h 235648"/>
                <a:gd name="connsiteX14" fmla="*/ 350044 w 350043"/>
                <a:gd name="connsiteY14" fmla="*/ 92773 h 235648"/>
                <a:gd name="connsiteX15" fmla="*/ 350044 w 350043"/>
                <a:gd name="connsiteY15" fmla="*/ 235648 h 235648"/>
                <a:gd name="connsiteX16" fmla="*/ 315659 w 350043"/>
                <a:gd name="connsiteY16" fmla="*/ 235648 h 235648"/>
                <a:gd name="connsiteX17" fmla="*/ 315659 w 350043"/>
                <a:gd name="connsiteY17" fmla="*/ 101155 h 235648"/>
                <a:gd name="connsiteX18" fmla="*/ 299847 w 350043"/>
                <a:gd name="connsiteY18" fmla="*/ 49721 h 235648"/>
                <a:gd name="connsiteX19" fmla="*/ 255937 w 350043"/>
                <a:gd name="connsiteY19" fmla="*/ 31718 h 235648"/>
                <a:gd name="connsiteX20" fmla="*/ 231362 w 350043"/>
                <a:gd name="connsiteY20" fmla="*/ 36386 h 235648"/>
                <a:gd name="connsiteX21" fmla="*/ 211074 w 350043"/>
                <a:gd name="connsiteY21" fmla="*/ 50197 h 235648"/>
                <a:gd name="connsiteX22" fmla="*/ 197263 w 350043"/>
                <a:gd name="connsiteY22" fmla="*/ 72676 h 235648"/>
                <a:gd name="connsiteX23" fmla="*/ 192119 w 350043"/>
                <a:gd name="connsiteY23" fmla="*/ 102965 h 235648"/>
                <a:gd name="connsiteX24" fmla="*/ 192119 w 350043"/>
                <a:gd name="connsiteY24" fmla="*/ 235648 h 235648"/>
                <a:gd name="connsiteX25" fmla="*/ 158210 w 350043"/>
                <a:gd name="connsiteY25" fmla="*/ 235648 h 235648"/>
                <a:gd name="connsiteX26" fmla="*/ 158210 w 350043"/>
                <a:gd name="connsiteY26" fmla="*/ 100298 h 235648"/>
                <a:gd name="connsiteX27" fmla="*/ 142399 w 350043"/>
                <a:gd name="connsiteY27" fmla="*/ 49721 h 235648"/>
                <a:gd name="connsiteX28" fmla="*/ 98870 w 350043"/>
                <a:gd name="connsiteY28" fmla="*/ 31718 h 235648"/>
                <a:gd name="connsiteX29" fmla="*/ 73438 w 350043"/>
                <a:gd name="connsiteY29" fmla="*/ 37052 h 235648"/>
                <a:gd name="connsiteX30" fmla="*/ 53150 w 350043"/>
                <a:gd name="connsiteY30" fmla="*/ 52197 h 235648"/>
                <a:gd name="connsiteX31" fmla="*/ 39529 w 350043"/>
                <a:gd name="connsiteY31" fmla="*/ 75152 h 235648"/>
                <a:gd name="connsiteX32" fmla="*/ 34576 w 350043"/>
                <a:gd name="connsiteY32" fmla="*/ 104299 h 235648"/>
                <a:gd name="connsiteX33" fmla="*/ 34576 w 350043"/>
                <a:gd name="connsiteY33" fmla="*/ 235648 h 235648"/>
                <a:gd name="connsiteX34" fmla="*/ 190 w 350043"/>
                <a:gd name="connsiteY34" fmla="*/ 235648 h 235648"/>
                <a:gd name="connsiteX35" fmla="*/ 190 w 350043"/>
                <a:gd name="connsiteY35" fmla="*/ 485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0043" h="235648">
                  <a:moveTo>
                    <a:pt x="0" y="5144"/>
                  </a:moveTo>
                  <a:lnTo>
                    <a:pt x="34385" y="5144"/>
                  </a:lnTo>
                  <a:lnTo>
                    <a:pt x="34385" y="44005"/>
                  </a:lnTo>
                  <a:cubicBezTo>
                    <a:pt x="38290" y="38386"/>
                    <a:pt x="42481" y="32861"/>
                    <a:pt x="47149" y="27432"/>
                  </a:cubicBezTo>
                  <a:cubicBezTo>
                    <a:pt x="51721" y="22098"/>
                    <a:pt x="57055" y="17431"/>
                    <a:pt x="62960" y="13335"/>
                  </a:cubicBezTo>
                  <a:cubicBezTo>
                    <a:pt x="68866" y="9335"/>
                    <a:pt x="75629" y="6096"/>
                    <a:pt x="83058" y="3715"/>
                  </a:cubicBezTo>
                  <a:cubicBezTo>
                    <a:pt x="90488" y="1334"/>
                    <a:pt x="99155" y="95"/>
                    <a:pt x="108966" y="95"/>
                  </a:cubicBezTo>
                  <a:cubicBezTo>
                    <a:pt x="127730" y="95"/>
                    <a:pt x="143161" y="4477"/>
                    <a:pt x="155448" y="13240"/>
                  </a:cubicBezTo>
                  <a:cubicBezTo>
                    <a:pt x="167640" y="22003"/>
                    <a:pt x="176879" y="32956"/>
                    <a:pt x="183166" y="46006"/>
                  </a:cubicBezTo>
                  <a:cubicBezTo>
                    <a:pt x="187357" y="39719"/>
                    <a:pt x="192024" y="33814"/>
                    <a:pt x="197168" y="28194"/>
                  </a:cubicBezTo>
                  <a:cubicBezTo>
                    <a:pt x="202406" y="22574"/>
                    <a:pt x="208217" y="17621"/>
                    <a:pt x="214789" y="13430"/>
                  </a:cubicBezTo>
                  <a:cubicBezTo>
                    <a:pt x="221361" y="9239"/>
                    <a:pt x="228695" y="6001"/>
                    <a:pt x="236887" y="3620"/>
                  </a:cubicBezTo>
                  <a:cubicBezTo>
                    <a:pt x="245078" y="1238"/>
                    <a:pt x="254222" y="0"/>
                    <a:pt x="264319" y="0"/>
                  </a:cubicBezTo>
                  <a:cubicBezTo>
                    <a:pt x="291084" y="0"/>
                    <a:pt x="312039" y="8287"/>
                    <a:pt x="327279" y="24765"/>
                  </a:cubicBezTo>
                  <a:cubicBezTo>
                    <a:pt x="342519" y="41243"/>
                    <a:pt x="350044" y="63913"/>
                    <a:pt x="350044" y="92773"/>
                  </a:cubicBezTo>
                  <a:lnTo>
                    <a:pt x="350044" y="235648"/>
                  </a:lnTo>
                  <a:lnTo>
                    <a:pt x="315659" y="235648"/>
                  </a:lnTo>
                  <a:lnTo>
                    <a:pt x="315659" y="101155"/>
                  </a:lnTo>
                  <a:cubicBezTo>
                    <a:pt x="315659" y="78867"/>
                    <a:pt x="310420" y="61722"/>
                    <a:pt x="299847" y="49721"/>
                  </a:cubicBezTo>
                  <a:cubicBezTo>
                    <a:pt x="289274" y="37719"/>
                    <a:pt x="274606" y="31718"/>
                    <a:pt x="255937" y="31718"/>
                  </a:cubicBezTo>
                  <a:cubicBezTo>
                    <a:pt x="247269" y="31718"/>
                    <a:pt x="239078" y="33242"/>
                    <a:pt x="231362" y="36386"/>
                  </a:cubicBezTo>
                  <a:cubicBezTo>
                    <a:pt x="223647" y="39529"/>
                    <a:pt x="216884" y="44101"/>
                    <a:pt x="211074" y="50197"/>
                  </a:cubicBezTo>
                  <a:cubicBezTo>
                    <a:pt x="205264" y="56293"/>
                    <a:pt x="200692" y="63818"/>
                    <a:pt x="197263" y="72676"/>
                  </a:cubicBezTo>
                  <a:cubicBezTo>
                    <a:pt x="193834" y="81629"/>
                    <a:pt x="192119" y="91726"/>
                    <a:pt x="192119" y="102965"/>
                  </a:cubicBezTo>
                  <a:lnTo>
                    <a:pt x="192119" y="235648"/>
                  </a:lnTo>
                  <a:lnTo>
                    <a:pt x="158210" y="235648"/>
                  </a:lnTo>
                  <a:lnTo>
                    <a:pt x="158210" y="100298"/>
                  </a:lnTo>
                  <a:cubicBezTo>
                    <a:pt x="158210" y="78677"/>
                    <a:pt x="152971" y="61817"/>
                    <a:pt x="142399" y="49721"/>
                  </a:cubicBezTo>
                  <a:cubicBezTo>
                    <a:pt x="131826" y="37719"/>
                    <a:pt x="117348" y="31718"/>
                    <a:pt x="98870" y="31718"/>
                  </a:cubicBezTo>
                  <a:cubicBezTo>
                    <a:pt x="89630" y="31718"/>
                    <a:pt x="81153" y="33528"/>
                    <a:pt x="73438" y="37052"/>
                  </a:cubicBezTo>
                  <a:cubicBezTo>
                    <a:pt x="65722" y="40672"/>
                    <a:pt x="58960" y="45720"/>
                    <a:pt x="53150" y="52197"/>
                  </a:cubicBezTo>
                  <a:cubicBezTo>
                    <a:pt x="47339" y="58769"/>
                    <a:pt x="42767" y="66389"/>
                    <a:pt x="39529" y="75152"/>
                  </a:cubicBezTo>
                  <a:cubicBezTo>
                    <a:pt x="36290" y="83915"/>
                    <a:pt x="34576" y="93631"/>
                    <a:pt x="34576" y="104299"/>
                  </a:cubicBezTo>
                  <a:lnTo>
                    <a:pt x="34576" y="235648"/>
                  </a:lnTo>
                  <a:lnTo>
                    <a:pt x="190" y="235648"/>
                  </a:lnTo>
                  <a:lnTo>
                    <a:pt x="190" y="4858"/>
                  </a:lnTo>
                  <a:close/>
                </a:path>
              </a:pathLst>
            </a:custGeom>
            <a:solidFill>
              <a:srgbClr val="44505E"/>
            </a:solidFill>
            <a:ln w="9525" cap="flat">
              <a:noFill/>
              <a:prstDash val="solid"/>
              <a:miter/>
            </a:ln>
          </p:spPr>
          <p:txBody>
            <a:bodyPr rtlCol="0" anchor="ctr"/>
            <a:lstStyle/>
            <a:p>
              <a:endParaRPr lang="pt-BR" noProof="0"/>
            </a:p>
          </p:txBody>
        </p:sp>
        <p:sp>
          <p:nvSpPr>
            <p:cNvPr id="50" name="Freeform: Shape 49">
              <a:extLst>
                <a:ext uri="{FF2B5EF4-FFF2-40B4-BE49-F238E27FC236}">
                  <a16:creationId xmlns:a16="http://schemas.microsoft.com/office/drawing/2014/main" id="{C4220802-8A07-CBF3-0849-ADC3A4016CE0}"/>
                </a:ext>
              </a:extLst>
            </p:cNvPr>
            <p:cNvSpPr/>
            <p:nvPr/>
          </p:nvSpPr>
          <p:spPr>
            <a:xfrm>
              <a:off x="6415537" y="925273"/>
              <a:ext cx="58016" cy="58448"/>
            </a:xfrm>
            <a:custGeom>
              <a:avLst/>
              <a:gdLst>
                <a:gd name="connsiteX0" fmla="*/ 95 w 230790"/>
                <a:gd name="connsiteY0" fmla="*/ 0 h 232505"/>
                <a:gd name="connsiteX1" fmla="*/ 38005 w 230790"/>
                <a:gd name="connsiteY1" fmla="*/ 0 h 232505"/>
                <a:gd name="connsiteX2" fmla="*/ 115633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3"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51" name="Freeform: Shape 50">
              <a:extLst>
                <a:ext uri="{FF2B5EF4-FFF2-40B4-BE49-F238E27FC236}">
                  <a16:creationId xmlns:a16="http://schemas.microsoft.com/office/drawing/2014/main" id="{AF0DBF7D-34A7-7E43-FF44-A5E69440C41C}"/>
                </a:ext>
              </a:extLst>
            </p:cNvPr>
            <p:cNvSpPr/>
            <p:nvPr/>
          </p:nvSpPr>
          <p:spPr>
            <a:xfrm>
              <a:off x="6487369"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286 w 39242"/>
                <a:gd name="connsiteY5" fmla="*/ 88392 h 319182"/>
                <a:gd name="connsiteX6" fmla="*/ 36671 w 39242"/>
                <a:gd name="connsiteY6" fmla="*/ 88392 h 319182"/>
                <a:gd name="connsiteX7" fmla="*/ 36671 w 39242"/>
                <a:gd name="connsiteY7" fmla="*/ 319183 h 319182"/>
                <a:gd name="connsiteX8" fmla="*/ 2286 w 39242"/>
                <a:gd name="connsiteY8" fmla="*/ 319183 h 319182"/>
                <a:gd name="connsiteX9" fmla="*/ 2286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286" y="88392"/>
                  </a:moveTo>
                  <a:lnTo>
                    <a:pt x="36671" y="88392"/>
                  </a:lnTo>
                  <a:lnTo>
                    <a:pt x="36671" y="319183"/>
                  </a:lnTo>
                  <a:lnTo>
                    <a:pt x="2286" y="319183"/>
                  </a:lnTo>
                  <a:lnTo>
                    <a:pt x="2286" y="88392"/>
                  </a:lnTo>
                  <a:close/>
                </a:path>
              </a:pathLst>
            </a:custGeom>
            <a:solidFill>
              <a:srgbClr val="44505E"/>
            </a:solidFill>
            <a:ln w="9525" cap="flat">
              <a:noFill/>
              <a:prstDash val="solid"/>
              <a:miter/>
            </a:ln>
          </p:spPr>
          <p:txBody>
            <a:bodyPr rtlCol="0" anchor="ctr"/>
            <a:lstStyle/>
            <a:p>
              <a:endParaRPr lang="pt-BR" noProof="0"/>
            </a:p>
          </p:txBody>
        </p:sp>
        <p:sp>
          <p:nvSpPr>
            <p:cNvPr id="52" name="Freeform: Shape 51">
              <a:extLst>
                <a:ext uri="{FF2B5EF4-FFF2-40B4-BE49-F238E27FC236}">
                  <a16:creationId xmlns:a16="http://schemas.microsoft.com/office/drawing/2014/main" id="{08232C51-28D9-F6FD-2130-2988EDF37A9F}"/>
                </a:ext>
              </a:extLst>
            </p:cNvPr>
            <p:cNvSpPr/>
            <p:nvPr/>
          </p:nvSpPr>
          <p:spPr>
            <a:xfrm>
              <a:off x="6513253" y="901353"/>
              <a:ext cx="58615" cy="83182"/>
            </a:xfrm>
            <a:custGeom>
              <a:avLst/>
              <a:gdLst>
                <a:gd name="connsiteX0" fmla="*/ 110394 w 233171"/>
                <a:gd name="connsiteY0" fmla="*/ 330898 h 330898"/>
                <a:gd name="connsiteX1" fmla="*/ 69723 w 233171"/>
                <a:gd name="connsiteY1" fmla="*/ 322897 h 330898"/>
                <a:gd name="connsiteX2" fmla="*/ 34480 w 233171"/>
                <a:gd name="connsiteY2" fmla="*/ 299466 h 330898"/>
                <a:gd name="connsiteX3" fmla="*/ 9430 w 233171"/>
                <a:gd name="connsiteY3" fmla="*/ 261938 h 330898"/>
                <a:gd name="connsiteX4" fmla="*/ 0 w 233171"/>
                <a:gd name="connsiteY4" fmla="*/ 211264 h 330898"/>
                <a:gd name="connsiteX5" fmla="*/ 0 w 233171"/>
                <a:gd name="connsiteY5" fmla="*/ 210407 h 330898"/>
                <a:gd name="connsiteX6" fmla="*/ 9430 w 233171"/>
                <a:gd name="connsiteY6" fmla="*/ 159925 h 330898"/>
                <a:gd name="connsiteX7" fmla="*/ 34480 w 233171"/>
                <a:gd name="connsiteY7" fmla="*/ 122206 h 330898"/>
                <a:gd name="connsiteX8" fmla="*/ 69723 w 233171"/>
                <a:gd name="connsiteY8" fmla="*/ 98488 h 330898"/>
                <a:gd name="connsiteX9" fmla="*/ 110394 w 233171"/>
                <a:gd name="connsiteY9" fmla="*/ 90202 h 330898"/>
                <a:gd name="connsiteX10" fmla="*/ 139827 w 233171"/>
                <a:gd name="connsiteY10" fmla="*/ 94202 h 330898"/>
                <a:gd name="connsiteX11" fmla="*/ 163925 w 233171"/>
                <a:gd name="connsiteY11" fmla="*/ 104870 h 330898"/>
                <a:gd name="connsiteX12" fmla="*/ 183356 w 233171"/>
                <a:gd name="connsiteY12" fmla="*/ 120491 h 330898"/>
                <a:gd name="connsiteX13" fmla="*/ 198787 w 233171"/>
                <a:gd name="connsiteY13" fmla="*/ 139255 h 330898"/>
                <a:gd name="connsiteX14" fmla="*/ 198787 w 233171"/>
                <a:gd name="connsiteY14" fmla="*/ 0 h 330898"/>
                <a:gd name="connsiteX15" fmla="*/ 233172 w 233171"/>
                <a:gd name="connsiteY15" fmla="*/ 0 h 330898"/>
                <a:gd name="connsiteX16" fmla="*/ 233172 w 233171"/>
                <a:gd name="connsiteY16" fmla="*/ 325850 h 330898"/>
                <a:gd name="connsiteX17" fmla="*/ 198787 w 233171"/>
                <a:gd name="connsiteY17" fmla="*/ 325850 h 330898"/>
                <a:gd name="connsiteX18" fmla="*/ 198787 w 233171"/>
                <a:gd name="connsiteY18" fmla="*/ 279463 h 330898"/>
                <a:gd name="connsiteX19" fmla="*/ 182975 w 233171"/>
                <a:gd name="connsiteY19" fmla="*/ 299085 h 330898"/>
                <a:gd name="connsiteX20" fmla="*/ 163544 w 233171"/>
                <a:gd name="connsiteY20" fmla="*/ 315658 h 330898"/>
                <a:gd name="connsiteX21" fmla="*/ 139636 w 233171"/>
                <a:gd name="connsiteY21" fmla="*/ 326803 h 330898"/>
                <a:gd name="connsiteX22" fmla="*/ 110394 w 233171"/>
                <a:gd name="connsiteY22" fmla="*/ 330803 h 330898"/>
                <a:gd name="connsiteX23" fmla="*/ 116681 w 233171"/>
                <a:gd name="connsiteY23" fmla="*/ 300133 h 330898"/>
                <a:gd name="connsiteX24" fmla="*/ 147733 w 233171"/>
                <a:gd name="connsiteY24" fmla="*/ 293656 h 330898"/>
                <a:gd name="connsiteX25" fmla="*/ 174498 w 233171"/>
                <a:gd name="connsiteY25" fmla="*/ 275368 h 330898"/>
                <a:gd name="connsiteX26" fmla="*/ 193262 w 233171"/>
                <a:gd name="connsiteY26" fmla="*/ 247269 h 330898"/>
                <a:gd name="connsiteX27" fmla="*/ 200216 w 233171"/>
                <a:gd name="connsiteY27" fmla="*/ 210883 h 330898"/>
                <a:gd name="connsiteX28" fmla="*/ 200216 w 233171"/>
                <a:gd name="connsiteY28" fmla="*/ 210026 h 330898"/>
                <a:gd name="connsiteX29" fmla="*/ 193262 w 233171"/>
                <a:gd name="connsiteY29" fmla="*/ 173641 h 330898"/>
                <a:gd name="connsiteX30" fmla="*/ 174498 w 233171"/>
                <a:gd name="connsiteY30" fmla="*/ 145732 h 330898"/>
                <a:gd name="connsiteX31" fmla="*/ 147733 w 233171"/>
                <a:gd name="connsiteY31" fmla="*/ 127635 h 330898"/>
                <a:gd name="connsiteX32" fmla="*/ 116681 w 233171"/>
                <a:gd name="connsiteY32" fmla="*/ 121158 h 330898"/>
                <a:gd name="connsiteX33" fmla="*/ 84963 w 233171"/>
                <a:gd name="connsiteY33" fmla="*/ 127159 h 330898"/>
                <a:gd name="connsiteX34" fmla="*/ 59341 w 233171"/>
                <a:gd name="connsiteY34" fmla="*/ 144589 h 330898"/>
                <a:gd name="connsiteX35" fmla="*/ 41910 w 233171"/>
                <a:gd name="connsiteY35" fmla="*/ 172498 h 330898"/>
                <a:gd name="connsiteX36" fmla="*/ 35433 w 233171"/>
                <a:gd name="connsiteY36" fmla="*/ 210026 h 330898"/>
                <a:gd name="connsiteX37" fmla="*/ 35433 w 233171"/>
                <a:gd name="connsiteY37" fmla="*/ 210883 h 330898"/>
                <a:gd name="connsiteX38" fmla="*/ 41910 w 233171"/>
                <a:gd name="connsiteY38" fmla="*/ 247936 h 330898"/>
                <a:gd name="connsiteX39" fmla="*/ 59531 w 233171"/>
                <a:gd name="connsiteY39" fmla="*/ 276034 h 330898"/>
                <a:gd name="connsiteX40" fmla="*/ 85439 w 233171"/>
                <a:gd name="connsiteY40" fmla="*/ 293941 h 330898"/>
                <a:gd name="connsiteX41" fmla="*/ 116681 w 23317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3171" h="330898">
                  <a:moveTo>
                    <a:pt x="110394" y="330898"/>
                  </a:moveTo>
                  <a:cubicBezTo>
                    <a:pt x="96393" y="330898"/>
                    <a:pt x="82868" y="328231"/>
                    <a:pt x="69723" y="322897"/>
                  </a:cubicBezTo>
                  <a:cubicBezTo>
                    <a:pt x="56674" y="317563"/>
                    <a:pt x="44863" y="309753"/>
                    <a:pt x="34480" y="299466"/>
                  </a:cubicBezTo>
                  <a:cubicBezTo>
                    <a:pt x="24003" y="289179"/>
                    <a:pt x="15716" y="276701"/>
                    <a:pt x="9430" y="261938"/>
                  </a:cubicBezTo>
                  <a:cubicBezTo>
                    <a:pt x="3143" y="247174"/>
                    <a:pt x="0" y="230314"/>
                    <a:pt x="0" y="211264"/>
                  </a:cubicBezTo>
                  <a:lnTo>
                    <a:pt x="0" y="210407"/>
                  </a:lnTo>
                  <a:cubicBezTo>
                    <a:pt x="0" y="191643"/>
                    <a:pt x="3143" y="174879"/>
                    <a:pt x="9430" y="159925"/>
                  </a:cubicBezTo>
                  <a:cubicBezTo>
                    <a:pt x="15716" y="145066"/>
                    <a:pt x="24003" y="132493"/>
                    <a:pt x="34480" y="122206"/>
                  </a:cubicBezTo>
                  <a:cubicBezTo>
                    <a:pt x="44863" y="111919"/>
                    <a:pt x="56674" y="104013"/>
                    <a:pt x="69723" y="98488"/>
                  </a:cubicBezTo>
                  <a:cubicBezTo>
                    <a:pt x="82868" y="92964"/>
                    <a:pt x="96393" y="90202"/>
                    <a:pt x="110394" y="90202"/>
                  </a:cubicBezTo>
                  <a:cubicBezTo>
                    <a:pt x="121158" y="90202"/>
                    <a:pt x="130969" y="91535"/>
                    <a:pt x="139827" y="94202"/>
                  </a:cubicBezTo>
                  <a:cubicBezTo>
                    <a:pt x="148780" y="96869"/>
                    <a:pt x="156782" y="100489"/>
                    <a:pt x="163925" y="104870"/>
                  </a:cubicBezTo>
                  <a:cubicBezTo>
                    <a:pt x="171069" y="109347"/>
                    <a:pt x="177546" y="114586"/>
                    <a:pt x="183356" y="120491"/>
                  </a:cubicBezTo>
                  <a:cubicBezTo>
                    <a:pt x="189166" y="126492"/>
                    <a:pt x="194310" y="132683"/>
                    <a:pt x="198787" y="139255"/>
                  </a:cubicBezTo>
                  <a:lnTo>
                    <a:pt x="198787" y="0"/>
                  </a:lnTo>
                  <a:lnTo>
                    <a:pt x="233172" y="0"/>
                  </a:lnTo>
                  <a:lnTo>
                    <a:pt x="233172" y="325850"/>
                  </a:lnTo>
                  <a:lnTo>
                    <a:pt x="198787" y="325850"/>
                  </a:lnTo>
                  <a:lnTo>
                    <a:pt x="198787" y="279463"/>
                  </a:lnTo>
                  <a:cubicBezTo>
                    <a:pt x="194024" y="286321"/>
                    <a:pt x="188786" y="292894"/>
                    <a:pt x="182975" y="299085"/>
                  </a:cubicBezTo>
                  <a:cubicBezTo>
                    <a:pt x="177165" y="305371"/>
                    <a:pt x="170688" y="310896"/>
                    <a:pt x="163544" y="315658"/>
                  </a:cubicBezTo>
                  <a:cubicBezTo>
                    <a:pt x="156400" y="320421"/>
                    <a:pt x="148494" y="324136"/>
                    <a:pt x="139636" y="326803"/>
                  </a:cubicBezTo>
                  <a:cubicBezTo>
                    <a:pt x="130873" y="329470"/>
                    <a:pt x="121158" y="330803"/>
                    <a:pt x="110394" y="330803"/>
                  </a:cubicBezTo>
                  <a:close/>
                  <a:moveTo>
                    <a:pt x="116681" y="300133"/>
                  </a:moveTo>
                  <a:cubicBezTo>
                    <a:pt x="127445" y="300133"/>
                    <a:pt x="137732" y="297942"/>
                    <a:pt x="147733" y="293656"/>
                  </a:cubicBezTo>
                  <a:cubicBezTo>
                    <a:pt x="157734" y="289369"/>
                    <a:pt x="166592" y="283273"/>
                    <a:pt x="174498" y="275368"/>
                  </a:cubicBezTo>
                  <a:cubicBezTo>
                    <a:pt x="182404" y="267462"/>
                    <a:pt x="188595" y="258127"/>
                    <a:pt x="193262" y="247269"/>
                  </a:cubicBezTo>
                  <a:cubicBezTo>
                    <a:pt x="197834" y="236410"/>
                    <a:pt x="200216" y="224314"/>
                    <a:pt x="200216" y="210883"/>
                  </a:cubicBezTo>
                  <a:lnTo>
                    <a:pt x="200216" y="210026"/>
                  </a:lnTo>
                  <a:cubicBezTo>
                    <a:pt x="200216" y="196596"/>
                    <a:pt x="197929" y="184499"/>
                    <a:pt x="193262" y="173641"/>
                  </a:cubicBezTo>
                  <a:cubicBezTo>
                    <a:pt x="188595" y="162782"/>
                    <a:pt x="182404" y="153448"/>
                    <a:pt x="174498" y="145732"/>
                  </a:cubicBezTo>
                  <a:cubicBezTo>
                    <a:pt x="166592" y="138017"/>
                    <a:pt x="157639" y="132016"/>
                    <a:pt x="147733" y="127635"/>
                  </a:cubicBezTo>
                  <a:cubicBezTo>
                    <a:pt x="137732" y="123349"/>
                    <a:pt x="127445" y="121158"/>
                    <a:pt x="116681" y="121158"/>
                  </a:cubicBezTo>
                  <a:cubicBezTo>
                    <a:pt x="105346" y="121158"/>
                    <a:pt x="94774" y="123158"/>
                    <a:pt x="84963" y="127159"/>
                  </a:cubicBezTo>
                  <a:cubicBezTo>
                    <a:pt x="75152" y="131159"/>
                    <a:pt x="66580" y="136969"/>
                    <a:pt x="59341" y="144589"/>
                  </a:cubicBezTo>
                  <a:cubicBezTo>
                    <a:pt x="52007" y="152114"/>
                    <a:pt x="46291" y="161449"/>
                    <a:pt x="41910" y="172498"/>
                  </a:cubicBezTo>
                  <a:cubicBezTo>
                    <a:pt x="37624" y="183451"/>
                    <a:pt x="35433" y="196024"/>
                    <a:pt x="35433" y="210026"/>
                  </a:cubicBezTo>
                  <a:lnTo>
                    <a:pt x="35433" y="210883"/>
                  </a:lnTo>
                  <a:cubicBezTo>
                    <a:pt x="35433" y="224599"/>
                    <a:pt x="37624" y="236982"/>
                    <a:pt x="41910" y="247936"/>
                  </a:cubicBezTo>
                  <a:cubicBezTo>
                    <a:pt x="46196" y="258984"/>
                    <a:pt x="52101" y="268319"/>
                    <a:pt x="59531" y="276034"/>
                  </a:cubicBezTo>
                  <a:cubicBezTo>
                    <a:pt x="66960" y="283750"/>
                    <a:pt x="75629" y="289750"/>
                    <a:pt x="85439" y="293941"/>
                  </a:cubicBezTo>
                  <a:cubicBezTo>
                    <a:pt x="95250" y="298132"/>
                    <a:pt x="105632" y="300228"/>
                    <a:pt x="116681" y="300228"/>
                  </a:cubicBezTo>
                  <a:close/>
                </a:path>
              </a:pathLst>
            </a:custGeom>
            <a:solidFill>
              <a:srgbClr val="44505E"/>
            </a:solidFill>
            <a:ln w="9525" cap="flat">
              <a:noFill/>
              <a:prstDash val="solid"/>
              <a:miter/>
            </a:ln>
          </p:spPr>
          <p:txBody>
            <a:bodyPr rtlCol="0" anchor="ctr"/>
            <a:lstStyle/>
            <a:p>
              <a:endParaRPr lang="pt-BR" noProof="0"/>
            </a:p>
          </p:txBody>
        </p:sp>
        <p:sp>
          <p:nvSpPr>
            <p:cNvPr id="53" name="Freeform: Shape 52">
              <a:extLst>
                <a:ext uri="{FF2B5EF4-FFF2-40B4-BE49-F238E27FC236}">
                  <a16:creationId xmlns:a16="http://schemas.microsoft.com/office/drawing/2014/main" id="{FF6C99DC-678B-4992-CB99-E559838619E3}"/>
                </a:ext>
              </a:extLst>
            </p:cNvPr>
            <p:cNvSpPr/>
            <p:nvPr/>
          </p:nvSpPr>
          <p:spPr>
            <a:xfrm>
              <a:off x="6586762"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0 w 202977"/>
                <a:gd name="connsiteY16" fmla="*/ 48196 h 239267"/>
                <a:gd name="connsiteX17" fmla="*/ 20383 w 202977"/>
                <a:gd name="connsiteY17" fmla="*/ 19907 h 239267"/>
                <a:gd name="connsiteX18" fmla="*/ 59245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0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1"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675" y="92678"/>
                    <a:pt x="84011" y="90964"/>
                    <a:pt x="98584" y="90964"/>
                  </a:cubicBezTo>
                  <a:cubicBezTo>
                    <a:pt x="113157" y="90964"/>
                    <a:pt x="126302"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0" y="33147"/>
                    <a:pt x="63436" y="36100"/>
                  </a:cubicBezTo>
                  <a:cubicBezTo>
                    <a:pt x="52292" y="39053"/>
                    <a:pt x="41338" y="43053"/>
                    <a:pt x="30670" y="48196"/>
                  </a:cubicBezTo>
                  <a:lnTo>
                    <a:pt x="20383" y="19907"/>
                  </a:lnTo>
                  <a:cubicBezTo>
                    <a:pt x="33147" y="13906"/>
                    <a:pt x="46101" y="9049"/>
                    <a:pt x="59245" y="5429"/>
                  </a:cubicBezTo>
                  <a:cubicBezTo>
                    <a:pt x="72294" y="1810"/>
                    <a:pt x="87344" y="0"/>
                    <a:pt x="104299" y="0"/>
                  </a:cubicBezTo>
                  <a:cubicBezTo>
                    <a:pt x="137064" y="0"/>
                    <a:pt x="161925" y="8477"/>
                    <a:pt x="178879" y="25432"/>
                  </a:cubicBezTo>
                  <a:cubicBezTo>
                    <a:pt x="194976"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0" y="239173"/>
                  </a:cubicBezTo>
                  <a:close/>
                  <a:moveTo>
                    <a:pt x="93154" y="211169"/>
                  </a:moveTo>
                  <a:cubicBezTo>
                    <a:pt x="103822" y="211169"/>
                    <a:pt x="113729" y="209740"/>
                    <a:pt x="122967" y="206788"/>
                  </a:cubicBezTo>
                  <a:cubicBezTo>
                    <a:pt x="132207"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4" y="119348"/>
                    <a:pt x="116871"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54" name="Freeform: Shape 53">
              <a:extLst>
                <a:ext uri="{FF2B5EF4-FFF2-40B4-BE49-F238E27FC236}">
                  <a16:creationId xmlns:a16="http://schemas.microsoft.com/office/drawing/2014/main" id="{B5006989-C64F-A040-2328-D1233857976C}"/>
                </a:ext>
              </a:extLst>
            </p:cNvPr>
            <p:cNvSpPr/>
            <p:nvPr/>
          </p:nvSpPr>
          <p:spPr>
            <a:xfrm>
              <a:off x="6651291" y="924268"/>
              <a:ext cx="44680" cy="60195"/>
            </a:xfrm>
            <a:custGeom>
              <a:avLst/>
              <a:gdLst>
                <a:gd name="connsiteX0" fmla="*/ 95535 w 177736"/>
                <a:gd name="connsiteY0" fmla="*/ 239268 h 239458"/>
                <a:gd name="connsiteX1" fmla="*/ 45053 w 177736"/>
                <a:gd name="connsiteY1" fmla="*/ 230124 h 239458"/>
                <a:gd name="connsiteX2" fmla="*/ 0 w 177736"/>
                <a:gd name="connsiteY2" fmla="*/ 205359 h 239458"/>
                <a:gd name="connsiteX3" fmla="*/ 17430 w 177736"/>
                <a:gd name="connsiteY3" fmla="*/ 180785 h 239458"/>
                <a:gd name="connsiteX4" fmla="*/ 56483 w 177736"/>
                <a:gd name="connsiteY4" fmla="*/ 202692 h 239458"/>
                <a:gd name="connsiteX5" fmla="*/ 97345 w 177736"/>
                <a:gd name="connsiteY5" fmla="*/ 210217 h 239458"/>
                <a:gd name="connsiteX6" fmla="*/ 131730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825 w 177736"/>
                <a:gd name="connsiteY10" fmla="*/ 147066 h 239458"/>
                <a:gd name="connsiteX11" fmla="*/ 109251 w 177736"/>
                <a:gd name="connsiteY11" fmla="*/ 138779 h 239458"/>
                <a:gd name="connsiteX12" fmla="*/ 87630 w 177736"/>
                <a:gd name="connsiteY12" fmla="*/ 132112 h 239458"/>
                <a:gd name="connsiteX13" fmla="*/ 60579 w 177736"/>
                <a:gd name="connsiteY13" fmla="*/ 123444 h 239458"/>
                <a:gd name="connsiteX14" fmla="*/ 36004 w 177736"/>
                <a:gd name="connsiteY14" fmla="*/ 111633 h 239458"/>
                <a:gd name="connsiteX15" fmla="*/ 18192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59 w 177736"/>
                <a:gd name="connsiteY22" fmla="*/ 6953 h 239458"/>
                <a:gd name="connsiteX23" fmla="*/ 172878 w 177736"/>
                <a:gd name="connsiteY23" fmla="*/ 25527 h 239458"/>
                <a:gd name="connsiteX24" fmla="*/ 157257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3 w 177736"/>
                <a:gd name="connsiteY32" fmla="*/ 96203 h 239458"/>
                <a:gd name="connsiteX33" fmla="*/ 103631 w 177736"/>
                <a:gd name="connsiteY33" fmla="*/ 103346 h 239458"/>
                <a:gd name="connsiteX34" fmla="*/ 130207 w 177736"/>
                <a:gd name="connsiteY34" fmla="*/ 112300 h 239458"/>
                <a:gd name="connsiteX35" fmla="*/ 154114 w 177736"/>
                <a:gd name="connsiteY35" fmla="*/ 124778 h 239458"/>
                <a:gd name="connsiteX36" fmla="*/ 171259 w 177736"/>
                <a:gd name="connsiteY36" fmla="*/ 143066 h 239458"/>
                <a:gd name="connsiteX37" fmla="*/ 177736 w 177736"/>
                <a:gd name="connsiteY37" fmla="*/ 169450 h 239458"/>
                <a:gd name="connsiteX38" fmla="*/ 177736 w 177736"/>
                <a:gd name="connsiteY38" fmla="*/ 170307 h 239458"/>
                <a:gd name="connsiteX39" fmla="*/ 171259 w 177736"/>
                <a:gd name="connsiteY39" fmla="*/ 199549 h 239458"/>
                <a:gd name="connsiteX40" fmla="*/ 153828 w 177736"/>
                <a:gd name="connsiteY40" fmla="*/ 221171 h 239458"/>
                <a:gd name="connsiteX41" fmla="*/ 127921 w 177736"/>
                <a:gd name="connsiteY41" fmla="*/ 234791 h 239458"/>
                <a:gd name="connsiteX42" fmla="*/ 95535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5" y="239268"/>
                  </a:moveTo>
                  <a:cubicBezTo>
                    <a:pt x="78867" y="239268"/>
                    <a:pt x="62007" y="236220"/>
                    <a:pt x="45053" y="230124"/>
                  </a:cubicBezTo>
                  <a:cubicBezTo>
                    <a:pt x="28098" y="224028"/>
                    <a:pt x="13049" y="215741"/>
                    <a:pt x="0" y="205359"/>
                  </a:cubicBezTo>
                  <a:lnTo>
                    <a:pt x="17430" y="180785"/>
                  </a:lnTo>
                  <a:cubicBezTo>
                    <a:pt x="29908" y="190310"/>
                    <a:pt x="42957" y="197644"/>
                    <a:pt x="56483" y="202692"/>
                  </a:cubicBezTo>
                  <a:cubicBezTo>
                    <a:pt x="70009" y="207740"/>
                    <a:pt x="83629" y="210217"/>
                    <a:pt x="97345" y="210217"/>
                  </a:cubicBezTo>
                  <a:cubicBezTo>
                    <a:pt x="111061" y="210217"/>
                    <a:pt x="122777" y="206978"/>
                    <a:pt x="131730" y="200406"/>
                  </a:cubicBezTo>
                  <a:cubicBezTo>
                    <a:pt x="140684" y="193834"/>
                    <a:pt x="145161" y="184976"/>
                    <a:pt x="145161" y="173641"/>
                  </a:cubicBezTo>
                  <a:lnTo>
                    <a:pt x="145161" y="172784"/>
                  </a:lnTo>
                  <a:cubicBezTo>
                    <a:pt x="145161" y="167164"/>
                    <a:pt x="143541" y="162211"/>
                    <a:pt x="140494" y="158020"/>
                  </a:cubicBezTo>
                  <a:cubicBezTo>
                    <a:pt x="137350" y="153829"/>
                    <a:pt x="133159" y="150209"/>
                    <a:pt x="127825" y="147066"/>
                  </a:cubicBezTo>
                  <a:cubicBezTo>
                    <a:pt x="122491" y="143923"/>
                    <a:pt x="116300" y="141161"/>
                    <a:pt x="109251" y="138779"/>
                  </a:cubicBezTo>
                  <a:cubicBezTo>
                    <a:pt x="102298" y="136398"/>
                    <a:pt x="95059" y="134207"/>
                    <a:pt x="87630" y="132112"/>
                  </a:cubicBezTo>
                  <a:cubicBezTo>
                    <a:pt x="78676" y="129445"/>
                    <a:pt x="69722" y="126492"/>
                    <a:pt x="60579" y="123444"/>
                  </a:cubicBezTo>
                  <a:cubicBezTo>
                    <a:pt x="51530" y="120301"/>
                    <a:pt x="43339" y="116396"/>
                    <a:pt x="36004" y="111633"/>
                  </a:cubicBezTo>
                  <a:cubicBezTo>
                    <a:pt x="28670" y="106871"/>
                    <a:pt x="22764" y="100870"/>
                    <a:pt x="18192" y="93726"/>
                  </a:cubicBezTo>
                  <a:cubicBezTo>
                    <a:pt x="13525" y="86582"/>
                    <a:pt x="11239" y="77629"/>
                    <a:pt x="11239" y="66961"/>
                  </a:cubicBezTo>
                  <a:lnTo>
                    <a:pt x="11239" y="66008"/>
                  </a:lnTo>
                  <a:cubicBezTo>
                    <a:pt x="11239" y="56198"/>
                    <a:pt x="13144" y="47149"/>
                    <a:pt x="17050" y="39053"/>
                  </a:cubicBezTo>
                  <a:cubicBezTo>
                    <a:pt x="20955" y="30861"/>
                    <a:pt x="26384" y="23908"/>
                    <a:pt x="33338" y="18098"/>
                  </a:cubicBezTo>
                  <a:cubicBezTo>
                    <a:pt x="40291" y="12287"/>
                    <a:pt x="48673" y="7811"/>
                    <a:pt x="58388" y="4667"/>
                  </a:cubicBezTo>
                  <a:cubicBezTo>
                    <a:pt x="68008" y="1524"/>
                    <a:pt x="78581" y="0"/>
                    <a:pt x="89821" y="0"/>
                  </a:cubicBezTo>
                  <a:cubicBezTo>
                    <a:pt x="104108" y="0"/>
                    <a:pt x="118586" y="2286"/>
                    <a:pt x="133159" y="6953"/>
                  </a:cubicBezTo>
                  <a:cubicBezTo>
                    <a:pt x="147732" y="11621"/>
                    <a:pt x="160972" y="17717"/>
                    <a:pt x="172878" y="25527"/>
                  </a:cubicBezTo>
                  <a:lnTo>
                    <a:pt x="157257" y="51435"/>
                  </a:lnTo>
                  <a:cubicBezTo>
                    <a:pt x="146494" y="44577"/>
                    <a:pt x="135255" y="39148"/>
                    <a:pt x="123539" y="35147"/>
                  </a:cubicBezTo>
                  <a:cubicBezTo>
                    <a:pt x="111823" y="31147"/>
                    <a:pt x="100203" y="29146"/>
                    <a:pt x="88963" y="29146"/>
                  </a:cubicBezTo>
                  <a:cubicBezTo>
                    <a:pt x="75247" y="29146"/>
                    <a:pt x="64389" y="32385"/>
                    <a:pt x="56388" y="38767"/>
                  </a:cubicBezTo>
                  <a:cubicBezTo>
                    <a:pt x="48291" y="45149"/>
                    <a:pt x="44291" y="53150"/>
                    <a:pt x="44291" y="62675"/>
                  </a:cubicBezTo>
                  <a:lnTo>
                    <a:pt x="44291" y="63627"/>
                  </a:lnTo>
                  <a:cubicBezTo>
                    <a:pt x="44291" y="68961"/>
                    <a:pt x="45910" y="73628"/>
                    <a:pt x="49244" y="77724"/>
                  </a:cubicBezTo>
                  <a:cubicBezTo>
                    <a:pt x="52482" y="81725"/>
                    <a:pt x="56864" y="85249"/>
                    <a:pt x="62389" y="88202"/>
                  </a:cubicBezTo>
                  <a:cubicBezTo>
                    <a:pt x="67913" y="91154"/>
                    <a:pt x="74200" y="93821"/>
                    <a:pt x="81343" y="96203"/>
                  </a:cubicBezTo>
                  <a:cubicBezTo>
                    <a:pt x="88487" y="98584"/>
                    <a:pt x="95916" y="100965"/>
                    <a:pt x="103631" y="103346"/>
                  </a:cubicBezTo>
                  <a:cubicBezTo>
                    <a:pt x="112585" y="106013"/>
                    <a:pt x="121444" y="108966"/>
                    <a:pt x="130207" y="112300"/>
                  </a:cubicBezTo>
                  <a:cubicBezTo>
                    <a:pt x="138969" y="115538"/>
                    <a:pt x="146971" y="119729"/>
                    <a:pt x="154114" y="124778"/>
                  </a:cubicBezTo>
                  <a:cubicBezTo>
                    <a:pt x="161258" y="129826"/>
                    <a:pt x="166973" y="135922"/>
                    <a:pt x="171259" y="143066"/>
                  </a:cubicBezTo>
                  <a:cubicBezTo>
                    <a:pt x="175546" y="150209"/>
                    <a:pt x="177736" y="158972"/>
                    <a:pt x="177736" y="169450"/>
                  </a:cubicBezTo>
                  <a:lnTo>
                    <a:pt x="177736" y="170307"/>
                  </a:lnTo>
                  <a:cubicBezTo>
                    <a:pt x="177736" y="181356"/>
                    <a:pt x="175546" y="191071"/>
                    <a:pt x="171259" y="199549"/>
                  </a:cubicBezTo>
                  <a:cubicBezTo>
                    <a:pt x="166973" y="208026"/>
                    <a:pt x="161163" y="215265"/>
                    <a:pt x="153828" y="221171"/>
                  </a:cubicBezTo>
                  <a:cubicBezTo>
                    <a:pt x="146589" y="227171"/>
                    <a:pt x="137922" y="231648"/>
                    <a:pt x="127921" y="234791"/>
                  </a:cubicBezTo>
                  <a:cubicBezTo>
                    <a:pt x="117919" y="237935"/>
                    <a:pt x="107156" y="239459"/>
                    <a:pt x="95535" y="239459"/>
                  </a:cubicBezTo>
                  <a:close/>
                </a:path>
              </a:pathLst>
            </a:custGeom>
            <a:solidFill>
              <a:srgbClr val="44505E"/>
            </a:solidFill>
            <a:ln w="9525" cap="flat">
              <a:noFill/>
              <a:prstDash val="solid"/>
              <a:miter/>
            </a:ln>
          </p:spPr>
          <p:txBody>
            <a:bodyPr rtlCol="0" anchor="ctr"/>
            <a:lstStyle/>
            <a:p>
              <a:endParaRPr lang="pt-BR" noProof="0"/>
            </a:p>
          </p:txBody>
        </p:sp>
        <p:sp>
          <p:nvSpPr>
            <p:cNvPr id="55" name="Freeform: Shape 54">
              <a:extLst>
                <a:ext uri="{FF2B5EF4-FFF2-40B4-BE49-F238E27FC236}">
                  <a16:creationId xmlns:a16="http://schemas.microsoft.com/office/drawing/2014/main" id="{06E7AE6A-6474-D555-008E-C70023E38EF6}"/>
                </a:ext>
              </a:extLst>
            </p:cNvPr>
            <p:cNvSpPr/>
            <p:nvPr/>
          </p:nvSpPr>
          <p:spPr>
            <a:xfrm>
              <a:off x="5250320" y="846952"/>
              <a:ext cx="1459036" cy="16186"/>
            </a:xfrm>
            <a:custGeom>
              <a:avLst/>
              <a:gdLst>
                <a:gd name="connsiteX0" fmla="*/ 0 w 5804058"/>
                <a:gd name="connsiteY0" fmla="*/ 0 h 64388"/>
                <a:gd name="connsiteX1" fmla="*/ 5804059 w 5804058"/>
                <a:gd name="connsiteY1" fmla="*/ 0 h 64388"/>
                <a:gd name="connsiteX2" fmla="*/ 5804059 w 5804058"/>
                <a:gd name="connsiteY2" fmla="*/ 64389 h 64388"/>
                <a:gd name="connsiteX3" fmla="*/ 0 w 5804058"/>
                <a:gd name="connsiteY3" fmla="*/ 64389 h 64388"/>
              </a:gdLst>
              <a:ahLst/>
              <a:cxnLst>
                <a:cxn ang="0">
                  <a:pos x="connsiteX0" y="connsiteY0"/>
                </a:cxn>
                <a:cxn ang="0">
                  <a:pos x="connsiteX1" y="connsiteY1"/>
                </a:cxn>
                <a:cxn ang="0">
                  <a:pos x="connsiteX2" y="connsiteY2"/>
                </a:cxn>
                <a:cxn ang="0">
                  <a:pos x="connsiteX3" y="connsiteY3"/>
                </a:cxn>
              </a:cxnLst>
              <a:rect l="l" t="t" r="r" b="b"/>
              <a:pathLst>
                <a:path w="5804058" h="64388">
                  <a:moveTo>
                    <a:pt x="0" y="0"/>
                  </a:moveTo>
                  <a:lnTo>
                    <a:pt x="5804059" y="0"/>
                  </a:lnTo>
                  <a:lnTo>
                    <a:pt x="5804059" y="64389"/>
                  </a:lnTo>
                  <a:lnTo>
                    <a:pt x="0" y="64389"/>
                  </a:lnTo>
                  <a:close/>
                </a:path>
              </a:pathLst>
            </a:custGeom>
            <a:solidFill>
              <a:srgbClr val="44505E"/>
            </a:solidFill>
            <a:ln w="9525" cap="flat">
              <a:noFill/>
              <a:prstDash val="solid"/>
              <a:miter/>
            </a:ln>
          </p:spPr>
          <p:txBody>
            <a:bodyPr rtlCol="0" anchor="ctr"/>
            <a:lstStyle/>
            <a:p>
              <a:endParaRPr lang="pt-BR" noProof="0"/>
            </a:p>
          </p:txBody>
        </p:sp>
        <p:sp>
          <p:nvSpPr>
            <p:cNvPr id="56" name="Freeform: Shape 55">
              <a:extLst>
                <a:ext uri="{FF2B5EF4-FFF2-40B4-BE49-F238E27FC236}">
                  <a16:creationId xmlns:a16="http://schemas.microsoft.com/office/drawing/2014/main" id="{5790489B-D041-FAA7-E93F-EA464A4E56AE}"/>
                </a:ext>
              </a:extLst>
            </p:cNvPr>
            <p:cNvSpPr/>
            <p:nvPr/>
          </p:nvSpPr>
          <p:spPr>
            <a:xfrm>
              <a:off x="6902633" y="268821"/>
              <a:ext cx="273418" cy="601046"/>
            </a:xfrm>
            <a:custGeom>
              <a:avLst/>
              <a:gdLst>
                <a:gd name="connsiteX0" fmla="*/ 0 w 1087659"/>
                <a:gd name="connsiteY0" fmla="*/ 210979 h 2390965"/>
                <a:gd name="connsiteX1" fmla="*/ 125063 w 1087659"/>
                <a:gd name="connsiteY1" fmla="*/ 103442 h 2390965"/>
                <a:gd name="connsiteX2" fmla="*/ 250031 w 1087659"/>
                <a:gd name="connsiteY2" fmla="*/ 210979 h 2390965"/>
                <a:gd name="connsiteX3" fmla="*/ 250031 w 1087659"/>
                <a:gd name="connsiteY3" fmla="*/ 1922717 h 2390965"/>
                <a:gd name="connsiteX4" fmla="*/ 249841 w 1087659"/>
                <a:gd name="connsiteY4" fmla="*/ 1922717 h 2390965"/>
                <a:gd name="connsiteX5" fmla="*/ 249841 w 1087659"/>
                <a:gd name="connsiteY5" fmla="*/ 1925955 h 2390965"/>
                <a:gd name="connsiteX6" fmla="*/ 333756 w 1087659"/>
                <a:gd name="connsiteY6" fmla="*/ 2100263 h 2390965"/>
                <a:gd name="connsiteX7" fmla="*/ 335566 w 1087659"/>
                <a:gd name="connsiteY7" fmla="*/ 2101787 h 2390965"/>
                <a:gd name="connsiteX8" fmla="*/ 336042 w 1087659"/>
                <a:gd name="connsiteY8" fmla="*/ 2102168 h 2390965"/>
                <a:gd name="connsiteX9" fmla="*/ 543877 w 1087659"/>
                <a:gd name="connsiteY9" fmla="*/ 2175891 h 2390965"/>
                <a:gd name="connsiteX10" fmla="*/ 749998 w 1087659"/>
                <a:gd name="connsiteY10" fmla="*/ 2103692 h 2390965"/>
                <a:gd name="connsiteX11" fmla="*/ 751713 w 1087659"/>
                <a:gd name="connsiteY11" fmla="*/ 2102168 h 2390965"/>
                <a:gd name="connsiteX12" fmla="*/ 752189 w 1087659"/>
                <a:gd name="connsiteY12" fmla="*/ 2101787 h 2390965"/>
                <a:gd name="connsiteX13" fmla="*/ 837819 w 1087659"/>
                <a:gd name="connsiteY13" fmla="*/ 1922812 h 2390965"/>
                <a:gd name="connsiteX14" fmla="*/ 837819 w 1087659"/>
                <a:gd name="connsiteY14" fmla="*/ 107537 h 2390965"/>
                <a:gd name="connsiteX15" fmla="*/ 962787 w 1087659"/>
                <a:gd name="connsiteY15" fmla="*/ 0 h 2390965"/>
                <a:gd name="connsiteX16" fmla="*/ 1087660 w 1087659"/>
                <a:gd name="connsiteY16" fmla="*/ 107537 h 2390965"/>
                <a:gd name="connsiteX17" fmla="*/ 1087660 w 1087659"/>
                <a:gd name="connsiteY17" fmla="*/ 1922621 h 2390965"/>
                <a:gd name="connsiteX18" fmla="*/ 928307 w 1087659"/>
                <a:gd name="connsiteY18" fmla="*/ 2253234 h 2390965"/>
                <a:gd name="connsiteX19" fmla="*/ 928116 w 1087659"/>
                <a:gd name="connsiteY19" fmla="*/ 2253424 h 2390965"/>
                <a:gd name="connsiteX20" fmla="*/ 927830 w 1087659"/>
                <a:gd name="connsiteY20" fmla="*/ 2253710 h 2390965"/>
                <a:gd name="connsiteX21" fmla="*/ 927354 w 1087659"/>
                <a:gd name="connsiteY21" fmla="*/ 2254187 h 2390965"/>
                <a:gd name="connsiteX22" fmla="*/ 543783 w 1087659"/>
                <a:gd name="connsiteY22" fmla="*/ 2390966 h 2390965"/>
                <a:gd name="connsiteX23" fmla="*/ 159734 w 1087659"/>
                <a:gd name="connsiteY23" fmla="*/ 2253710 h 2390965"/>
                <a:gd name="connsiteX24" fmla="*/ 159734 w 1087659"/>
                <a:gd name="connsiteY24" fmla="*/ 2253424 h 2390965"/>
                <a:gd name="connsiteX25" fmla="*/ 159353 w 1087659"/>
                <a:gd name="connsiteY25" fmla="*/ 2253234 h 2390965"/>
                <a:gd name="connsiteX26" fmla="*/ 158877 w 1087659"/>
                <a:gd name="connsiteY26" fmla="*/ 2252948 h 2390965"/>
                <a:gd name="connsiteX27" fmla="*/ 0 w 1087659"/>
                <a:gd name="connsiteY27" fmla="*/ 1922621 h 2390965"/>
                <a:gd name="connsiteX28" fmla="*/ 0 w 1087659"/>
                <a:gd name="connsiteY28" fmla="*/ 1922621 h 2390965"/>
                <a:gd name="connsiteX29" fmla="*/ 0 w 1087659"/>
                <a:gd name="connsiteY29" fmla="*/ 210979 h 239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87659" h="2390965">
                  <a:moveTo>
                    <a:pt x="0" y="210979"/>
                  </a:moveTo>
                  <a:cubicBezTo>
                    <a:pt x="0" y="151638"/>
                    <a:pt x="56007" y="103442"/>
                    <a:pt x="125063" y="103442"/>
                  </a:cubicBezTo>
                  <a:cubicBezTo>
                    <a:pt x="194120" y="103442"/>
                    <a:pt x="250031" y="151638"/>
                    <a:pt x="250031" y="210979"/>
                  </a:cubicBezTo>
                  <a:lnTo>
                    <a:pt x="250031" y="1922717"/>
                  </a:lnTo>
                  <a:lnTo>
                    <a:pt x="249841" y="1922717"/>
                  </a:lnTo>
                  <a:lnTo>
                    <a:pt x="249841" y="1925955"/>
                  </a:lnTo>
                  <a:cubicBezTo>
                    <a:pt x="250793" y="1994059"/>
                    <a:pt x="282797" y="2055495"/>
                    <a:pt x="333756" y="2100263"/>
                  </a:cubicBezTo>
                  <a:lnTo>
                    <a:pt x="335566" y="2101787"/>
                  </a:lnTo>
                  <a:lnTo>
                    <a:pt x="336042" y="2102168"/>
                  </a:lnTo>
                  <a:cubicBezTo>
                    <a:pt x="388906" y="2147697"/>
                    <a:pt x="462343" y="2175891"/>
                    <a:pt x="543877" y="2175891"/>
                  </a:cubicBezTo>
                  <a:cubicBezTo>
                    <a:pt x="625411" y="2175891"/>
                    <a:pt x="697420" y="2148364"/>
                    <a:pt x="749998" y="2103692"/>
                  </a:cubicBezTo>
                  <a:lnTo>
                    <a:pt x="751713" y="2102168"/>
                  </a:lnTo>
                  <a:lnTo>
                    <a:pt x="752189" y="2101787"/>
                  </a:lnTo>
                  <a:cubicBezTo>
                    <a:pt x="805053" y="2056352"/>
                    <a:pt x="837819" y="1993011"/>
                    <a:pt x="837819" y="1922812"/>
                  </a:cubicBezTo>
                  <a:lnTo>
                    <a:pt x="837819" y="107537"/>
                  </a:lnTo>
                  <a:cubicBezTo>
                    <a:pt x="837819" y="48196"/>
                    <a:pt x="893731" y="0"/>
                    <a:pt x="962787" y="0"/>
                  </a:cubicBezTo>
                  <a:cubicBezTo>
                    <a:pt x="1031843" y="0"/>
                    <a:pt x="1087660" y="48196"/>
                    <a:pt x="1087660" y="107537"/>
                  </a:cubicBezTo>
                  <a:lnTo>
                    <a:pt x="1087660" y="1922621"/>
                  </a:lnTo>
                  <a:cubicBezTo>
                    <a:pt x="1087660" y="2051399"/>
                    <a:pt x="1026795" y="2168366"/>
                    <a:pt x="928307" y="2253234"/>
                  </a:cubicBezTo>
                  <a:lnTo>
                    <a:pt x="928116" y="2253424"/>
                  </a:lnTo>
                  <a:lnTo>
                    <a:pt x="927830" y="2253710"/>
                  </a:lnTo>
                  <a:lnTo>
                    <a:pt x="927354" y="2254187"/>
                  </a:lnTo>
                  <a:cubicBezTo>
                    <a:pt x="828770" y="2338673"/>
                    <a:pt x="693134" y="2390966"/>
                    <a:pt x="543783" y="2390966"/>
                  </a:cubicBezTo>
                  <a:cubicBezTo>
                    <a:pt x="394430" y="2390966"/>
                    <a:pt x="258413" y="2338483"/>
                    <a:pt x="159734" y="2253710"/>
                  </a:cubicBezTo>
                  <a:lnTo>
                    <a:pt x="159734" y="2253424"/>
                  </a:lnTo>
                  <a:cubicBezTo>
                    <a:pt x="159734" y="2253424"/>
                    <a:pt x="159353" y="2253234"/>
                    <a:pt x="159353" y="2253234"/>
                  </a:cubicBezTo>
                  <a:lnTo>
                    <a:pt x="158877" y="2252948"/>
                  </a:lnTo>
                  <a:cubicBezTo>
                    <a:pt x="60770" y="2167985"/>
                    <a:pt x="0" y="2051304"/>
                    <a:pt x="0" y="1922621"/>
                  </a:cubicBezTo>
                  <a:lnTo>
                    <a:pt x="0" y="1922621"/>
                  </a:lnTo>
                  <a:lnTo>
                    <a:pt x="0" y="210979"/>
                  </a:lnTo>
                  <a:close/>
                </a:path>
              </a:pathLst>
            </a:custGeom>
            <a:solidFill>
              <a:srgbClr val="8FC640"/>
            </a:solidFill>
            <a:ln w="9525" cap="flat">
              <a:noFill/>
              <a:prstDash val="solid"/>
              <a:miter/>
            </a:ln>
          </p:spPr>
          <p:txBody>
            <a:bodyPr rtlCol="0" anchor="ctr"/>
            <a:lstStyle/>
            <a:p>
              <a:endParaRPr lang="pt-BR" noProof="0"/>
            </a:p>
          </p:txBody>
        </p:sp>
        <p:sp>
          <p:nvSpPr>
            <p:cNvPr id="57" name="Freeform: Shape 56">
              <a:extLst>
                <a:ext uri="{FF2B5EF4-FFF2-40B4-BE49-F238E27FC236}">
                  <a16:creationId xmlns:a16="http://schemas.microsoft.com/office/drawing/2014/main" id="{D69D942F-483F-5408-C30D-9CE525A797E6}"/>
                </a:ext>
              </a:extLst>
            </p:cNvPr>
            <p:cNvSpPr/>
            <p:nvPr/>
          </p:nvSpPr>
          <p:spPr>
            <a:xfrm>
              <a:off x="7013590" y="213965"/>
              <a:ext cx="54018" cy="562280"/>
            </a:xfrm>
            <a:custGeom>
              <a:avLst/>
              <a:gdLst>
                <a:gd name="connsiteX0" fmla="*/ 0 w 214883"/>
                <a:gd name="connsiteY0" fmla="*/ 107537 h 2236755"/>
                <a:gd name="connsiteX1" fmla="*/ 107537 w 214883"/>
                <a:gd name="connsiteY1" fmla="*/ 0 h 2236755"/>
                <a:gd name="connsiteX2" fmla="*/ 214884 w 214883"/>
                <a:gd name="connsiteY2" fmla="*/ 107537 h 2236755"/>
                <a:gd name="connsiteX3" fmla="*/ 214884 w 214883"/>
                <a:gd name="connsiteY3" fmla="*/ 2129219 h 2236755"/>
                <a:gd name="connsiteX4" fmla="*/ 107537 w 214883"/>
                <a:gd name="connsiteY4" fmla="*/ 2236756 h 2236755"/>
                <a:gd name="connsiteX5" fmla="*/ 0 w 214883"/>
                <a:gd name="connsiteY5" fmla="*/ 2129219 h 2236755"/>
                <a:gd name="connsiteX6" fmla="*/ 0 w 214883"/>
                <a:gd name="connsiteY6" fmla="*/ 107537 h 223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 h="2236755">
                  <a:moveTo>
                    <a:pt x="0" y="107537"/>
                  </a:moveTo>
                  <a:cubicBezTo>
                    <a:pt x="0" y="48197"/>
                    <a:pt x="48101" y="0"/>
                    <a:pt x="107537" y="0"/>
                  </a:cubicBezTo>
                  <a:cubicBezTo>
                    <a:pt x="166973" y="0"/>
                    <a:pt x="214884" y="48197"/>
                    <a:pt x="214884" y="107537"/>
                  </a:cubicBezTo>
                  <a:lnTo>
                    <a:pt x="214884" y="2129219"/>
                  </a:lnTo>
                  <a:cubicBezTo>
                    <a:pt x="214884" y="2188559"/>
                    <a:pt x="166782" y="2236756"/>
                    <a:pt x="107537" y="2236756"/>
                  </a:cubicBezTo>
                  <a:cubicBezTo>
                    <a:pt x="48291" y="2236756"/>
                    <a:pt x="0" y="2188559"/>
                    <a:pt x="0" y="2129219"/>
                  </a:cubicBezTo>
                  <a:lnTo>
                    <a:pt x="0" y="107537"/>
                  </a:lnTo>
                  <a:close/>
                </a:path>
              </a:pathLst>
            </a:custGeom>
            <a:solidFill>
              <a:srgbClr val="3698B0"/>
            </a:solidFill>
            <a:ln w="9525" cap="flat">
              <a:noFill/>
              <a:prstDash val="solid"/>
              <a:miter/>
            </a:ln>
          </p:spPr>
          <p:txBody>
            <a:bodyPr rtlCol="0" anchor="ctr"/>
            <a:lstStyle/>
            <a:p>
              <a:endParaRPr lang="pt-BR" noProof="0"/>
            </a:p>
          </p:txBody>
        </p:sp>
        <p:sp>
          <p:nvSpPr>
            <p:cNvPr id="58" name="Freeform: Shape 57">
              <a:extLst>
                <a:ext uri="{FF2B5EF4-FFF2-40B4-BE49-F238E27FC236}">
                  <a16:creationId xmlns:a16="http://schemas.microsoft.com/office/drawing/2014/main" id="{320BD57D-5A94-E587-7E16-91B8D2EE2A35}"/>
                </a:ext>
              </a:extLst>
            </p:cNvPr>
            <p:cNvSpPr/>
            <p:nvPr/>
          </p:nvSpPr>
          <p:spPr>
            <a:xfrm>
              <a:off x="6795770" y="332991"/>
              <a:ext cx="485994" cy="649437"/>
            </a:xfrm>
            <a:custGeom>
              <a:avLst/>
              <a:gdLst>
                <a:gd name="connsiteX0" fmla="*/ 1933290 w 1933289"/>
                <a:gd name="connsiteY0" fmla="*/ 138017 h 2583465"/>
                <a:gd name="connsiteX1" fmla="*/ 1933290 w 1933289"/>
                <a:gd name="connsiteY1" fmla="*/ 1734122 h 2583465"/>
                <a:gd name="connsiteX2" fmla="*/ 1796606 w 1933289"/>
                <a:gd name="connsiteY2" fmla="*/ 2229136 h 2583465"/>
                <a:gd name="connsiteX3" fmla="*/ 977742 w 1933289"/>
                <a:gd name="connsiteY3" fmla="*/ 2583466 h 2583465"/>
                <a:gd name="connsiteX4" fmla="*/ 955357 w 1933289"/>
                <a:gd name="connsiteY4" fmla="*/ 2583466 h 2583465"/>
                <a:gd name="connsiteX5" fmla="*/ 136589 w 1933289"/>
                <a:gd name="connsiteY5" fmla="*/ 2229136 h 2583465"/>
                <a:gd name="connsiteX6" fmla="*/ 0 w 1933289"/>
                <a:gd name="connsiteY6" fmla="*/ 1734122 h 2583465"/>
                <a:gd name="connsiteX7" fmla="*/ 0 w 1933289"/>
                <a:gd name="connsiteY7" fmla="*/ 794194 h 2583465"/>
                <a:gd name="connsiteX8" fmla="*/ 137827 w 1933289"/>
                <a:gd name="connsiteY8" fmla="*/ 656273 h 2583465"/>
                <a:gd name="connsiteX9" fmla="*/ 275463 w 1933289"/>
                <a:gd name="connsiteY9" fmla="*/ 794194 h 2583465"/>
                <a:gd name="connsiteX10" fmla="*/ 275463 w 1933289"/>
                <a:gd name="connsiteY10" fmla="*/ 1734122 h 2583465"/>
                <a:gd name="connsiteX11" fmla="*/ 354235 w 1933289"/>
                <a:gd name="connsiteY11" fmla="*/ 2059686 h 2583465"/>
                <a:gd name="connsiteX12" fmla="*/ 958215 w 1933289"/>
                <a:gd name="connsiteY12" fmla="*/ 2307527 h 2583465"/>
                <a:gd name="connsiteX13" fmla="*/ 974789 w 1933289"/>
                <a:gd name="connsiteY13" fmla="*/ 2307527 h 2583465"/>
                <a:gd name="connsiteX14" fmla="*/ 1578959 w 1933289"/>
                <a:gd name="connsiteY14" fmla="*/ 2059686 h 2583465"/>
                <a:gd name="connsiteX15" fmla="*/ 1657636 w 1933289"/>
                <a:gd name="connsiteY15" fmla="*/ 1734122 h 2583465"/>
                <a:gd name="connsiteX16" fmla="*/ 1657636 w 1933289"/>
                <a:gd name="connsiteY16" fmla="*/ 138017 h 2583465"/>
                <a:gd name="connsiteX17" fmla="*/ 1795463 w 1933289"/>
                <a:gd name="connsiteY17" fmla="*/ 0 h 2583465"/>
                <a:gd name="connsiteX18" fmla="*/ 1933290 w 1933289"/>
                <a:gd name="connsiteY18" fmla="*/ 138017 h 25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3289" h="2583465">
                  <a:moveTo>
                    <a:pt x="1933290" y="138017"/>
                  </a:moveTo>
                  <a:lnTo>
                    <a:pt x="1933290" y="1734122"/>
                  </a:lnTo>
                  <a:cubicBezTo>
                    <a:pt x="1933290" y="1870996"/>
                    <a:pt x="1919002" y="2071211"/>
                    <a:pt x="1796606" y="2229136"/>
                  </a:cubicBezTo>
                  <a:cubicBezTo>
                    <a:pt x="1634395" y="2438305"/>
                    <a:pt x="1432084" y="2578703"/>
                    <a:pt x="977742" y="2583466"/>
                  </a:cubicBezTo>
                  <a:lnTo>
                    <a:pt x="955357" y="2583466"/>
                  </a:lnTo>
                  <a:cubicBezTo>
                    <a:pt x="501015" y="2578703"/>
                    <a:pt x="298704" y="2438400"/>
                    <a:pt x="136589" y="2229136"/>
                  </a:cubicBezTo>
                  <a:cubicBezTo>
                    <a:pt x="14192" y="2071211"/>
                    <a:pt x="0" y="1870996"/>
                    <a:pt x="0" y="1734122"/>
                  </a:cubicBezTo>
                  <a:lnTo>
                    <a:pt x="0" y="794194"/>
                  </a:lnTo>
                  <a:cubicBezTo>
                    <a:pt x="0" y="718185"/>
                    <a:pt x="61436" y="656273"/>
                    <a:pt x="137827" y="656273"/>
                  </a:cubicBezTo>
                  <a:cubicBezTo>
                    <a:pt x="214217" y="656273"/>
                    <a:pt x="275463" y="718185"/>
                    <a:pt x="275463" y="794194"/>
                  </a:cubicBezTo>
                  <a:lnTo>
                    <a:pt x="275463" y="1734122"/>
                  </a:lnTo>
                  <a:cubicBezTo>
                    <a:pt x="275463" y="1887188"/>
                    <a:pt x="300324" y="1990630"/>
                    <a:pt x="354235" y="2059686"/>
                  </a:cubicBezTo>
                  <a:cubicBezTo>
                    <a:pt x="476250" y="2217611"/>
                    <a:pt x="609791" y="2304479"/>
                    <a:pt x="958215" y="2307527"/>
                  </a:cubicBezTo>
                  <a:lnTo>
                    <a:pt x="974789" y="2307527"/>
                  </a:lnTo>
                  <a:cubicBezTo>
                    <a:pt x="1323499" y="2304479"/>
                    <a:pt x="1456563" y="2217611"/>
                    <a:pt x="1578959" y="2059686"/>
                  </a:cubicBezTo>
                  <a:cubicBezTo>
                    <a:pt x="1632490" y="1990630"/>
                    <a:pt x="1657636" y="1887093"/>
                    <a:pt x="1657636" y="1734122"/>
                  </a:cubicBezTo>
                  <a:lnTo>
                    <a:pt x="1657636" y="138017"/>
                  </a:lnTo>
                  <a:cubicBezTo>
                    <a:pt x="1657636" y="61531"/>
                    <a:pt x="1719453" y="0"/>
                    <a:pt x="1795463" y="0"/>
                  </a:cubicBezTo>
                  <a:cubicBezTo>
                    <a:pt x="1871472" y="0"/>
                    <a:pt x="1933290" y="61531"/>
                    <a:pt x="1933290" y="138017"/>
                  </a:cubicBezTo>
                </a:path>
              </a:pathLst>
            </a:custGeom>
            <a:solidFill>
              <a:srgbClr val="49306E"/>
            </a:solidFill>
            <a:ln w="9525" cap="flat">
              <a:noFill/>
              <a:prstDash val="solid"/>
              <a:miter/>
            </a:ln>
          </p:spPr>
          <p:txBody>
            <a:bodyPr rtlCol="0" anchor="ctr"/>
            <a:lstStyle/>
            <a:p>
              <a:endParaRPr lang="pt-BR" noProof="0"/>
            </a:p>
          </p:txBody>
        </p:sp>
      </p:grpSp>
      <p:sp>
        <p:nvSpPr>
          <p:cNvPr id="8" name="CaixaDeTexto 7">
            <a:extLst>
              <a:ext uri="{FF2B5EF4-FFF2-40B4-BE49-F238E27FC236}">
                <a16:creationId xmlns:a16="http://schemas.microsoft.com/office/drawing/2014/main" id="{328C73AE-775B-675F-667A-DBF59C178BE8}"/>
              </a:ext>
            </a:extLst>
          </p:cNvPr>
          <p:cNvSpPr txBox="1"/>
          <p:nvPr/>
        </p:nvSpPr>
        <p:spPr>
          <a:xfrm>
            <a:off x="2519500" y="361172"/>
            <a:ext cx="1741715" cy="461665"/>
          </a:xfrm>
          <a:prstGeom prst="rect">
            <a:avLst/>
          </a:prstGeom>
          <a:noFill/>
        </p:spPr>
        <p:txBody>
          <a:bodyPr wrap="square" rtlCol="0">
            <a:spAutoFit/>
          </a:bodyPr>
          <a:lstStyle/>
          <a:p>
            <a:r>
              <a:rPr lang="pt-BR" sz="2400" b="1" noProof="0"/>
              <a:t>Discussão</a:t>
            </a:r>
          </a:p>
        </p:txBody>
      </p:sp>
      <p:pic>
        <p:nvPicPr>
          <p:cNvPr id="7" name="Imagem 6" descr="322 Stick Figure With Thought Bubble Stock Photos, Pictures &amp; Royalty-Free  Images - iStock">
            <a:extLst>
              <a:ext uri="{FF2B5EF4-FFF2-40B4-BE49-F238E27FC236}">
                <a16:creationId xmlns:a16="http://schemas.microsoft.com/office/drawing/2014/main" id="{AC544E1B-C555-80CA-2449-590AAFEC277C}"/>
              </a:ext>
            </a:extLst>
          </p:cNvPr>
          <p:cNvPicPr>
            <a:picLocks noChangeAspect="1"/>
          </p:cNvPicPr>
          <p:nvPr/>
        </p:nvPicPr>
        <p:blipFill>
          <a:blip r:embed="rId6"/>
          <a:stretch>
            <a:fillRect/>
          </a:stretch>
        </p:blipFill>
        <p:spPr>
          <a:xfrm>
            <a:off x="-1492" y="1518516"/>
            <a:ext cx="4467225" cy="5391150"/>
          </a:xfrm>
          <a:prstGeom prst="rect">
            <a:avLst/>
          </a:prstGeom>
        </p:spPr>
      </p:pic>
      <p:sp>
        <p:nvSpPr>
          <p:cNvPr id="10" name="CaixaDeTexto 60">
            <a:extLst>
              <a:ext uri="{FF2B5EF4-FFF2-40B4-BE49-F238E27FC236}">
                <a16:creationId xmlns:a16="http://schemas.microsoft.com/office/drawing/2014/main" id="{92BE8060-7D9D-8CEB-3A06-FECA648A7B81}"/>
              </a:ext>
            </a:extLst>
          </p:cNvPr>
          <p:cNvSpPr txBox="1"/>
          <p:nvPr/>
        </p:nvSpPr>
        <p:spPr>
          <a:xfrm>
            <a:off x="5417344" y="2647237"/>
            <a:ext cx="6774655" cy="1569660"/>
          </a:xfrm>
          <a:prstGeom prst="rect">
            <a:avLst/>
          </a:prstGeom>
          <a:noFill/>
        </p:spPr>
        <p:txBody>
          <a:bodyPr wrap="square" lIns="91440" tIns="45720" rIns="91440" bIns="45720" rtlCol="0" anchor="t">
            <a:spAutoFit/>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r>
              <a:rPr lang="pt-BR" sz="3200" b="1" noProof="0">
                <a:solidFill>
                  <a:srgbClr val="46326A"/>
                </a:solidFill>
              </a:rPr>
              <a:t>Esse quadro fecha critérios IRAS?</a:t>
            </a:r>
            <a:endParaRPr lang="pt-BR" sz="3200" b="1" noProof="0" dirty="0">
              <a:solidFill>
                <a:srgbClr val="46326A"/>
              </a:solidFill>
            </a:endParaRPr>
          </a:p>
          <a:p>
            <a:pPr lvl="0" algn="ctr"/>
            <a:endParaRPr lang="pt-BR" sz="3200" b="1" noProof="0" dirty="0">
              <a:solidFill>
                <a:srgbClr val="46326A"/>
              </a:solidFill>
            </a:endParaRPr>
          </a:p>
          <a:p>
            <a:pPr lvl="0" algn="ctr"/>
            <a:r>
              <a:rPr lang="pt-BR" sz="3200" b="1" noProof="0">
                <a:solidFill>
                  <a:srgbClr val="46326A"/>
                </a:solidFill>
              </a:rPr>
              <a:t>Qual?</a:t>
            </a:r>
            <a:endParaRPr lang="pt-BR" sz="3200" b="1" noProof="0" dirty="0">
              <a:solidFill>
                <a:srgbClr val="46326A"/>
              </a:solidFill>
            </a:endParaRPr>
          </a:p>
        </p:txBody>
      </p:sp>
      <p:sp>
        <p:nvSpPr>
          <p:cNvPr id="15" name="CaixaDeTexto 66">
            <a:extLst>
              <a:ext uri="{FF2B5EF4-FFF2-40B4-BE49-F238E27FC236}">
                <a16:creationId xmlns:a16="http://schemas.microsoft.com/office/drawing/2014/main" id="{70BB9082-E005-8C36-FB26-DB2AA3958E32}"/>
              </a:ext>
            </a:extLst>
          </p:cNvPr>
          <p:cNvSpPr txBox="1"/>
          <p:nvPr/>
        </p:nvSpPr>
        <p:spPr>
          <a:xfrm>
            <a:off x="-418381" y="2605459"/>
            <a:ext cx="6201408" cy="1323439"/>
          </a:xfrm>
          <a:prstGeom prst="rect">
            <a:avLst/>
          </a:prstGeom>
          <a:noFill/>
        </p:spPr>
        <p:txBody>
          <a:bodyPr wrap="square" lIns="91440" tIns="45720" rIns="91440" bIns="45720" rtlCol="0" anchor="t">
            <a:spAutoFit/>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r>
              <a:rPr lang="pt-BR" sz="2800" b="1" noProof="0">
                <a:solidFill>
                  <a:srgbClr val="9DC457"/>
                </a:solidFill>
              </a:rPr>
              <a:t>E agora</a:t>
            </a:r>
            <a:r>
              <a:rPr lang="pt-BR" sz="3200" b="1" noProof="0">
                <a:solidFill>
                  <a:srgbClr val="9DC457"/>
                </a:solidFill>
              </a:rPr>
              <a:t>?</a:t>
            </a:r>
          </a:p>
          <a:p>
            <a:pPr lvl="0" algn="ctr"/>
            <a:endParaRPr lang="pt-BR" sz="2400" noProof="0" dirty="0">
              <a:solidFill>
                <a:srgbClr val="9DC457"/>
              </a:solidFill>
            </a:endParaRPr>
          </a:p>
          <a:p>
            <a:pPr lvl="0" algn="ctr"/>
            <a:endParaRPr lang="pt-BR" sz="2400" noProof="0" dirty="0">
              <a:solidFill>
                <a:srgbClr val="9DC457"/>
              </a:solidFill>
            </a:endParaRPr>
          </a:p>
        </p:txBody>
      </p:sp>
    </p:spTree>
    <p:extLst>
      <p:ext uri="{BB962C8B-B14F-4D97-AF65-F5344CB8AC3E}">
        <p14:creationId xmlns:p14="http://schemas.microsoft.com/office/powerpoint/2010/main" val="3249545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AC4266-8C84-6093-4883-71E25F0A7DFD}"/>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F842211-4F87-5560-3B8E-FFCB6E02A0A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8" progId="TCLayout.ActiveDocument.1">
                  <p:embed/>
                </p:oleObj>
              </mc:Choice>
              <mc:Fallback>
                <p:oleObj name="think-cell Slide" r:id="rId4" imgW="306" imgH="308" progId="TCLayout.ActiveDocument.1">
                  <p:embed/>
                  <p:pic>
                    <p:nvPicPr>
                      <p:cNvPr id="12" name="think-cell data - do not delete" hidden="1">
                        <a:extLst>
                          <a:ext uri="{FF2B5EF4-FFF2-40B4-BE49-F238E27FC236}">
                            <a16:creationId xmlns:a16="http://schemas.microsoft.com/office/drawing/2014/main" id="{3F842211-4F87-5560-3B8E-FFCB6E02A0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7F28E325-E83E-0B2A-C672-8A8C1D6AAEE4}"/>
              </a:ext>
            </a:extLst>
          </p:cNvPr>
          <p:cNvSpPr txBox="1">
            <a:spLocks/>
          </p:cNvSpPr>
          <p:nvPr/>
        </p:nvSpPr>
        <p:spPr>
          <a:xfrm>
            <a:off x="2157359" y="238418"/>
            <a:ext cx="10058400" cy="631231"/>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pt-BR" sz="3600" b="1">
                <a:solidFill>
                  <a:srgbClr val="3299B1"/>
                </a:solidFill>
                <a:latin typeface="Agency FB" panose="020B0503020202020204" pitchFamily="34" charset="0"/>
              </a:rPr>
              <a:t>Construção dos indicadores</a:t>
            </a:r>
          </a:p>
        </p:txBody>
      </p:sp>
      <p:pic>
        <p:nvPicPr>
          <p:cNvPr id="6" name="Imagem 5">
            <a:extLst>
              <a:ext uri="{FF2B5EF4-FFF2-40B4-BE49-F238E27FC236}">
                <a16:creationId xmlns:a16="http://schemas.microsoft.com/office/drawing/2014/main" id="{7FB3C1AD-0F30-4230-916D-88FC8E47A0FF}"/>
              </a:ext>
            </a:extLst>
          </p:cNvPr>
          <p:cNvPicPr>
            <a:picLocks noChangeAspect="1"/>
          </p:cNvPicPr>
          <p:nvPr/>
        </p:nvPicPr>
        <p:blipFill rotWithShape="1">
          <a:blip r:embed="rId6"/>
          <a:srcRect l="14910" t="23902" r="14573" b="3440"/>
          <a:stretch/>
        </p:blipFill>
        <p:spPr>
          <a:xfrm>
            <a:off x="1450699" y="932492"/>
            <a:ext cx="9812511" cy="5687090"/>
          </a:xfrm>
          <a:prstGeom prst="rect">
            <a:avLst/>
          </a:prstGeom>
          <a:ln w="28575">
            <a:solidFill>
              <a:srgbClr val="49306E"/>
            </a:solidFill>
          </a:ln>
        </p:spPr>
      </p:pic>
      <p:sp>
        <p:nvSpPr>
          <p:cNvPr id="7" name="Seta: para a Direita 6">
            <a:extLst>
              <a:ext uri="{FF2B5EF4-FFF2-40B4-BE49-F238E27FC236}">
                <a16:creationId xmlns:a16="http://schemas.microsoft.com/office/drawing/2014/main" id="{EDC820DE-82D4-B0DA-7EF4-A9E2FF6314D9}"/>
              </a:ext>
            </a:extLst>
          </p:cNvPr>
          <p:cNvSpPr/>
          <p:nvPr/>
        </p:nvSpPr>
        <p:spPr>
          <a:xfrm>
            <a:off x="1848971" y="1640541"/>
            <a:ext cx="463923" cy="208430"/>
          </a:xfrm>
          <a:prstGeom prst="rightArrow">
            <a:avLst/>
          </a:prstGeom>
          <a:solidFill>
            <a:srgbClr val="8FC640"/>
          </a:solidFill>
          <a:ln>
            <a:solidFill>
              <a:srgbClr val="8FC64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 name="Seta: para a Direita 8">
            <a:extLst>
              <a:ext uri="{FF2B5EF4-FFF2-40B4-BE49-F238E27FC236}">
                <a16:creationId xmlns:a16="http://schemas.microsoft.com/office/drawing/2014/main" id="{EDD1AE5F-EB39-53CF-E710-68F602FBEA82}"/>
              </a:ext>
            </a:extLst>
          </p:cNvPr>
          <p:cNvSpPr/>
          <p:nvPr/>
        </p:nvSpPr>
        <p:spPr>
          <a:xfrm>
            <a:off x="5632077" y="3104030"/>
            <a:ext cx="463923" cy="208430"/>
          </a:xfrm>
          <a:prstGeom prst="rightArrow">
            <a:avLst/>
          </a:prstGeom>
          <a:solidFill>
            <a:srgbClr val="8FC640"/>
          </a:solidFill>
          <a:ln>
            <a:solidFill>
              <a:srgbClr val="8FC64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1" name="Seta: para a Direita 10">
            <a:extLst>
              <a:ext uri="{FF2B5EF4-FFF2-40B4-BE49-F238E27FC236}">
                <a16:creationId xmlns:a16="http://schemas.microsoft.com/office/drawing/2014/main" id="{B9128F0B-FA3D-3CE3-71D1-91ED9DC37B8A}"/>
              </a:ext>
            </a:extLst>
          </p:cNvPr>
          <p:cNvSpPr/>
          <p:nvPr/>
        </p:nvSpPr>
        <p:spPr>
          <a:xfrm>
            <a:off x="2492189" y="4542865"/>
            <a:ext cx="463923" cy="208430"/>
          </a:xfrm>
          <a:prstGeom prst="rightArrow">
            <a:avLst/>
          </a:prstGeom>
          <a:solidFill>
            <a:srgbClr val="8FC640"/>
          </a:solidFill>
          <a:ln>
            <a:solidFill>
              <a:srgbClr val="8FC64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5" name="Seta: para a Direita 14">
            <a:extLst>
              <a:ext uri="{FF2B5EF4-FFF2-40B4-BE49-F238E27FC236}">
                <a16:creationId xmlns:a16="http://schemas.microsoft.com/office/drawing/2014/main" id="{5BE19E97-9342-BB79-476E-2A90D4ADAB30}"/>
              </a:ext>
            </a:extLst>
          </p:cNvPr>
          <p:cNvSpPr/>
          <p:nvPr/>
        </p:nvSpPr>
        <p:spPr>
          <a:xfrm>
            <a:off x="4865594" y="6069106"/>
            <a:ext cx="463923" cy="208430"/>
          </a:xfrm>
          <a:prstGeom prst="rightArrow">
            <a:avLst/>
          </a:prstGeom>
          <a:solidFill>
            <a:srgbClr val="8FC640"/>
          </a:solidFill>
          <a:ln>
            <a:solidFill>
              <a:srgbClr val="8FC64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grpSp>
        <p:nvGrpSpPr>
          <p:cNvPr id="59" name="Group 12">
            <a:extLst>
              <a:ext uri="{FF2B5EF4-FFF2-40B4-BE49-F238E27FC236}">
                <a16:creationId xmlns:a16="http://schemas.microsoft.com/office/drawing/2014/main" id="{1E27E79C-E5E1-147D-0BF2-82D873E4BF4C}"/>
              </a:ext>
            </a:extLst>
          </p:cNvPr>
          <p:cNvGrpSpPr/>
          <p:nvPr/>
        </p:nvGrpSpPr>
        <p:grpSpPr>
          <a:xfrm>
            <a:off x="304800" y="249455"/>
            <a:ext cx="1193800" cy="462985"/>
            <a:chOff x="5245100" y="211355"/>
            <a:chExt cx="2036664" cy="789869"/>
          </a:xfrm>
        </p:grpSpPr>
        <p:sp>
          <p:nvSpPr>
            <p:cNvPr id="60" name="Freeform: Shape 13">
              <a:extLst>
                <a:ext uri="{FF2B5EF4-FFF2-40B4-BE49-F238E27FC236}">
                  <a16:creationId xmlns:a16="http://schemas.microsoft.com/office/drawing/2014/main" id="{9A3DD916-386E-E3FB-B446-1326C88A4F59}"/>
                </a:ext>
              </a:extLst>
            </p:cNvPr>
            <p:cNvSpPr/>
            <p:nvPr/>
          </p:nvSpPr>
          <p:spPr>
            <a:xfrm>
              <a:off x="5245100" y="308520"/>
              <a:ext cx="247894" cy="322815"/>
            </a:xfrm>
            <a:custGeom>
              <a:avLst/>
              <a:gdLst>
                <a:gd name="connsiteX0" fmla="*/ 529590 w 986123"/>
                <a:gd name="connsiteY0" fmla="*/ 1284160 h 1284160"/>
                <a:gd name="connsiteX1" fmla="*/ 249650 w 986123"/>
                <a:gd name="connsiteY1" fmla="*/ 1235107 h 1284160"/>
                <a:gd name="connsiteX2" fmla="*/ 0 w 986123"/>
                <a:gd name="connsiteY2" fmla="*/ 1084421 h 1284160"/>
                <a:gd name="connsiteX3" fmla="*/ 162306 w 986123"/>
                <a:gd name="connsiteY3" fmla="*/ 890016 h 1284160"/>
                <a:gd name="connsiteX4" fmla="*/ 337947 w 986123"/>
                <a:gd name="connsiteY4" fmla="*/ 1000601 h 1284160"/>
                <a:gd name="connsiteX5" fmla="*/ 535019 w 986123"/>
                <a:gd name="connsiteY5" fmla="*/ 1041654 h 1284160"/>
                <a:gd name="connsiteX6" fmla="*/ 667893 w 986123"/>
                <a:gd name="connsiteY6" fmla="*/ 1010412 h 1284160"/>
                <a:gd name="connsiteX7" fmla="*/ 715137 w 986123"/>
                <a:gd name="connsiteY7" fmla="*/ 923925 h 1284160"/>
                <a:gd name="connsiteX8" fmla="*/ 715137 w 986123"/>
                <a:gd name="connsiteY8" fmla="*/ 920305 h 1284160"/>
                <a:gd name="connsiteX9" fmla="*/ 705326 w 986123"/>
                <a:gd name="connsiteY9" fmla="*/ 873062 h 1284160"/>
                <a:gd name="connsiteX10" fmla="*/ 667798 w 986123"/>
                <a:gd name="connsiteY10" fmla="*/ 834676 h 1284160"/>
                <a:gd name="connsiteX11" fmla="*/ 590931 w 986123"/>
                <a:gd name="connsiteY11" fmla="*/ 798957 h 1284160"/>
                <a:gd name="connsiteX12" fmla="*/ 463106 w 986123"/>
                <a:gd name="connsiteY12" fmla="*/ 761524 h 1284160"/>
                <a:gd name="connsiteX13" fmla="*/ 291465 w 986123"/>
                <a:gd name="connsiteY13" fmla="*/ 709803 h 1284160"/>
                <a:gd name="connsiteX14" fmla="*/ 160973 w 986123"/>
                <a:gd name="connsiteY14" fmla="*/ 639318 h 1284160"/>
                <a:gd name="connsiteX15" fmla="*/ 77819 w 986123"/>
                <a:gd name="connsiteY15" fmla="*/ 535019 h 1284160"/>
                <a:gd name="connsiteX16" fmla="*/ 48292 w 986123"/>
                <a:gd name="connsiteY16" fmla="*/ 379857 h 1284160"/>
                <a:gd name="connsiteX17" fmla="*/ 48292 w 986123"/>
                <a:gd name="connsiteY17" fmla="*/ 376238 h 1284160"/>
                <a:gd name="connsiteX18" fmla="*/ 80201 w 986123"/>
                <a:gd name="connsiteY18" fmla="*/ 222028 h 1284160"/>
                <a:gd name="connsiteX19" fmla="*/ 169640 w 986123"/>
                <a:gd name="connsiteY19" fmla="*/ 103441 h 1284160"/>
                <a:gd name="connsiteX20" fmla="*/ 307181 w 986123"/>
                <a:gd name="connsiteY20" fmla="*/ 26765 h 1284160"/>
                <a:gd name="connsiteX21" fmla="*/ 483394 w 986123"/>
                <a:gd name="connsiteY21" fmla="*/ 0 h 1284160"/>
                <a:gd name="connsiteX22" fmla="*/ 735711 w 986123"/>
                <a:gd name="connsiteY22" fmla="*/ 41053 h 1284160"/>
                <a:gd name="connsiteX23" fmla="*/ 946976 w 986123"/>
                <a:gd name="connsiteY23" fmla="*/ 158687 h 1284160"/>
                <a:gd name="connsiteX24" fmla="*/ 804291 w 986123"/>
                <a:gd name="connsiteY24" fmla="*/ 365569 h 1284160"/>
                <a:gd name="connsiteX25" fmla="*/ 640271 w 986123"/>
                <a:gd name="connsiteY25" fmla="*/ 275558 h 1284160"/>
                <a:gd name="connsiteX26" fmla="*/ 479774 w 986123"/>
                <a:gd name="connsiteY26" fmla="*/ 242602 h 1284160"/>
                <a:gd name="connsiteX27" fmla="*/ 359378 w 986123"/>
                <a:gd name="connsiteY27" fmla="*/ 273844 h 1284160"/>
                <a:gd name="connsiteX28" fmla="*/ 319278 w 986123"/>
                <a:gd name="connsiteY28" fmla="*/ 351377 h 1284160"/>
                <a:gd name="connsiteX29" fmla="*/ 319278 w 986123"/>
                <a:gd name="connsiteY29" fmla="*/ 354997 h 1284160"/>
                <a:gd name="connsiteX30" fmla="*/ 330899 w 986123"/>
                <a:gd name="connsiteY30" fmla="*/ 407575 h 1284160"/>
                <a:gd name="connsiteX31" fmla="*/ 372904 w 986123"/>
                <a:gd name="connsiteY31" fmla="*/ 447675 h 1284160"/>
                <a:gd name="connsiteX32" fmla="*/ 456057 w 986123"/>
                <a:gd name="connsiteY32" fmla="*/ 481489 h 1284160"/>
                <a:gd name="connsiteX33" fmla="*/ 589217 w 986123"/>
                <a:gd name="connsiteY33" fmla="*/ 518922 h 1284160"/>
                <a:gd name="connsiteX34" fmla="*/ 758190 w 986123"/>
                <a:gd name="connsiteY34" fmla="*/ 575120 h 1284160"/>
                <a:gd name="connsiteX35" fmla="*/ 883349 w 986123"/>
                <a:gd name="connsiteY35" fmla="*/ 649986 h 1284160"/>
                <a:gd name="connsiteX36" fmla="*/ 960215 w 986123"/>
                <a:gd name="connsiteY36" fmla="*/ 752570 h 1284160"/>
                <a:gd name="connsiteX37" fmla="*/ 986123 w 986123"/>
                <a:gd name="connsiteY37" fmla="*/ 893445 h 1284160"/>
                <a:gd name="connsiteX38" fmla="*/ 986123 w 986123"/>
                <a:gd name="connsiteY38" fmla="*/ 897064 h 1284160"/>
                <a:gd name="connsiteX39" fmla="*/ 952500 w 986123"/>
                <a:gd name="connsiteY39" fmla="*/ 1062038 h 1284160"/>
                <a:gd name="connsiteX40" fmla="*/ 858584 w 986123"/>
                <a:gd name="connsiteY40" fmla="*/ 1183291 h 1284160"/>
                <a:gd name="connsiteX41" fmla="*/ 714851 w 986123"/>
                <a:gd name="connsiteY41" fmla="*/ 1258157 h 1284160"/>
                <a:gd name="connsiteX42" fmla="*/ 529685 w 986123"/>
                <a:gd name="connsiteY42" fmla="*/ 1284065 h 128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6123" h="1284160">
                  <a:moveTo>
                    <a:pt x="529590" y="1284160"/>
                  </a:moveTo>
                  <a:cubicBezTo>
                    <a:pt x="434435" y="1284160"/>
                    <a:pt x="341186" y="1267777"/>
                    <a:pt x="249650" y="1235107"/>
                  </a:cubicBezTo>
                  <a:cubicBezTo>
                    <a:pt x="158115" y="1202436"/>
                    <a:pt x="74867" y="1152239"/>
                    <a:pt x="0" y="1084421"/>
                  </a:cubicBezTo>
                  <a:lnTo>
                    <a:pt x="162306" y="890016"/>
                  </a:lnTo>
                  <a:cubicBezTo>
                    <a:pt x="219361" y="936403"/>
                    <a:pt x="277844" y="973264"/>
                    <a:pt x="337947" y="1000601"/>
                  </a:cubicBezTo>
                  <a:cubicBezTo>
                    <a:pt x="397955" y="1027938"/>
                    <a:pt x="463677" y="1041654"/>
                    <a:pt x="535019" y="1041654"/>
                  </a:cubicBezTo>
                  <a:cubicBezTo>
                    <a:pt x="592074" y="1041654"/>
                    <a:pt x="636365" y="1031272"/>
                    <a:pt x="667893" y="1010412"/>
                  </a:cubicBezTo>
                  <a:cubicBezTo>
                    <a:pt x="699421" y="989647"/>
                    <a:pt x="715137" y="960787"/>
                    <a:pt x="715137" y="923925"/>
                  </a:cubicBezTo>
                  <a:lnTo>
                    <a:pt x="715137" y="920305"/>
                  </a:lnTo>
                  <a:cubicBezTo>
                    <a:pt x="715137" y="902494"/>
                    <a:pt x="711803" y="886777"/>
                    <a:pt x="705326" y="873062"/>
                  </a:cubicBezTo>
                  <a:cubicBezTo>
                    <a:pt x="698754" y="859441"/>
                    <a:pt x="686276" y="846582"/>
                    <a:pt x="667798" y="834676"/>
                  </a:cubicBezTo>
                  <a:cubicBezTo>
                    <a:pt x="649319" y="822770"/>
                    <a:pt x="623697" y="810863"/>
                    <a:pt x="590931" y="798957"/>
                  </a:cubicBezTo>
                  <a:cubicBezTo>
                    <a:pt x="558165" y="787146"/>
                    <a:pt x="515493" y="774573"/>
                    <a:pt x="463106" y="761524"/>
                  </a:cubicBezTo>
                  <a:cubicBezTo>
                    <a:pt x="399955" y="746093"/>
                    <a:pt x="342710" y="728853"/>
                    <a:pt x="291465" y="709803"/>
                  </a:cubicBezTo>
                  <a:cubicBezTo>
                    <a:pt x="240221" y="690753"/>
                    <a:pt x="196691" y="667322"/>
                    <a:pt x="160973" y="639318"/>
                  </a:cubicBezTo>
                  <a:cubicBezTo>
                    <a:pt x="125159" y="611410"/>
                    <a:pt x="97536" y="576644"/>
                    <a:pt x="77819" y="535019"/>
                  </a:cubicBezTo>
                  <a:cubicBezTo>
                    <a:pt x="58103" y="493395"/>
                    <a:pt x="48292" y="441674"/>
                    <a:pt x="48292" y="379857"/>
                  </a:cubicBezTo>
                  <a:lnTo>
                    <a:pt x="48292" y="376238"/>
                  </a:lnTo>
                  <a:cubicBezTo>
                    <a:pt x="48292" y="319183"/>
                    <a:pt x="58865" y="267748"/>
                    <a:pt x="80201" y="222028"/>
                  </a:cubicBezTo>
                  <a:cubicBezTo>
                    <a:pt x="101441" y="176308"/>
                    <a:pt x="131255" y="136779"/>
                    <a:pt x="169640" y="103441"/>
                  </a:cubicBezTo>
                  <a:cubicBezTo>
                    <a:pt x="208026" y="70199"/>
                    <a:pt x="253841" y="44577"/>
                    <a:pt x="307181" y="26765"/>
                  </a:cubicBezTo>
                  <a:cubicBezTo>
                    <a:pt x="360426" y="8953"/>
                    <a:pt x="419195" y="0"/>
                    <a:pt x="483394" y="0"/>
                  </a:cubicBezTo>
                  <a:cubicBezTo>
                    <a:pt x="574929" y="0"/>
                    <a:pt x="659035" y="13716"/>
                    <a:pt x="735711" y="41053"/>
                  </a:cubicBezTo>
                  <a:cubicBezTo>
                    <a:pt x="812387" y="68389"/>
                    <a:pt x="882777" y="107632"/>
                    <a:pt x="946976" y="158687"/>
                  </a:cubicBezTo>
                  <a:lnTo>
                    <a:pt x="804291" y="365569"/>
                  </a:lnTo>
                  <a:cubicBezTo>
                    <a:pt x="748379" y="327565"/>
                    <a:pt x="693706" y="297561"/>
                    <a:pt x="640271" y="275558"/>
                  </a:cubicBezTo>
                  <a:cubicBezTo>
                    <a:pt x="586740" y="253555"/>
                    <a:pt x="533305" y="242602"/>
                    <a:pt x="479774" y="242602"/>
                  </a:cubicBezTo>
                  <a:cubicBezTo>
                    <a:pt x="426244" y="242602"/>
                    <a:pt x="386144" y="252984"/>
                    <a:pt x="359378" y="273844"/>
                  </a:cubicBezTo>
                  <a:cubicBezTo>
                    <a:pt x="332613" y="294608"/>
                    <a:pt x="319278" y="320516"/>
                    <a:pt x="319278" y="351377"/>
                  </a:cubicBezTo>
                  <a:lnTo>
                    <a:pt x="319278" y="354997"/>
                  </a:lnTo>
                  <a:cubicBezTo>
                    <a:pt x="319278" y="375190"/>
                    <a:pt x="323183" y="392716"/>
                    <a:pt x="330899" y="407575"/>
                  </a:cubicBezTo>
                  <a:cubicBezTo>
                    <a:pt x="338614" y="422434"/>
                    <a:pt x="352616" y="435864"/>
                    <a:pt x="372904" y="447675"/>
                  </a:cubicBezTo>
                  <a:cubicBezTo>
                    <a:pt x="393192" y="459581"/>
                    <a:pt x="420910" y="470821"/>
                    <a:pt x="456057" y="481489"/>
                  </a:cubicBezTo>
                  <a:cubicBezTo>
                    <a:pt x="491204" y="492157"/>
                    <a:pt x="535591" y="504730"/>
                    <a:pt x="589217" y="518922"/>
                  </a:cubicBezTo>
                  <a:cubicBezTo>
                    <a:pt x="652367" y="535591"/>
                    <a:pt x="708660" y="554260"/>
                    <a:pt x="758190" y="575120"/>
                  </a:cubicBezTo>
                  <a:cubicBezTo>
                    <a:pt x="807625" y="595979"/>
                    <a:pt x="849344" y="620935"/>
                    <a:pt x="883349" y="649986"/>
                  </a:cubicBezTo>
                  <a:cubicBezTo>
                    <a:pt x="917353" y="679132"/>
                    <a:pt x="942975" y="713327"/>
                    <a:pt x="960215" y="752570"/>
                  </a:cubicBezTo>
                  <a:cubicBezTo>
                    <a:pt x="977456" y="791813"/>
                    <a:pt x="986123" y="838772"/>
                    <a:pt x="986123" y="893445"/>
                  </a:cubicBezTo>
                  <a:lnTo>
                    <a:pt x="986123" y="897064"/>
                  </a:lnTo>
                  <a:cubicBezTo>
                    <a:pt x="986123" y="958882"/>
                    <a:pt x="974884" y="1013841"/>
                    <a:pt x="952500" y="1062038"/>
                  </a:cubicBezTo>
                  <a:cubicBezTo>
                    <a:pt x="930021" y="1110139"/>
                    <a:pt x="898779" y="1150620"/>
                    <a:pt x="858584" y="1183291"/>
                  </a:cubicBezTo>
                  <a:cubicBezTo>
                    <a:pt x="818388" y="1216057"/>
                    <a:pt x="770477" y="1241012"/>
                    <a:pt x="714851" y="1258157"/>
                  </a:cubicBezTo>
                  <a:cubicBezTo>
                    <a:pt x="659130" y="1275398"/>
                    <a:pt x="597503" y="1284065"/>
                    <a:pt x="529685" y="1284065"/>
                  </a:cubicBezTo>
                  <a:close/>
                </a:path>
              </a:pathLst>
            </a:custGeom>
            <a:solidFill>
              <a:srgbClr val="44505E"/>
            </a:solidFill>
            <a:ln w="9525" cap="flat">
              <a:noFill/>
              <a:prstDash val="solid"/>
              <a:miter/>
            </a:ln>
          </p:spPr>
          <p:txBody>
            <a:bodyPr rtlCol="0" anchor="ctr"/>
            <a:lstStyle/>
            <a:p>
              <a:endParaRPr lang="pt-BR" noProof="0"/>
            </a:p>
          </p:txBody>
        </p:sp>
        <p:sp>
          <p:nvSpPr>
            <p:cNvPr id="61" name="Freeform: Shape 16">
              <a:extLst>
                <a:ext uri="{FF2B5EF4-FFF2-40B4-BE49-F238E27FC236}">
                  <a16:creationId xmlns:a16="http://schemas.microsoft.com/office/drawing/2014/main" id="{FC1E23D6-EBAE-F982-6848-D3F44DA34DF9}"/>
                </a:ext>
              </a:extLst>
            </p:cNvPr>
            <p:cNvSpPr/>
            <p:nvPr/>
          </p:nvSpPr>
          <p:spPr>
            <a:xfrm>
              <a:off x="5492084" y="310867"/>
              <a:ext cx="332584" cy="315991"/>
            </a:xfrm>
            <a:custGeom>
              <a:avLst/>
              <a:gdLst>
                <a:gd name="connsiteX0" fmla="*/ 534924 w 1323022"/>
                <a:gd name="connsiteY0" fmla="*/ 0 h 1257014"/>
                <a:gd name="connsiteX1" fmla="*/ 788099 w 1323022"/>
                <a:gd name="connsiteY1" fmla="*/ 0 h 1257014"/>
                <a:gd name="connsiteX2" fmla="*/ 1323023 w 1323022"/>
                <a:gd name="connsiteY2" fmla="*/ 1257014 h 1257014"/>
                <a:gd name="connsiteX3" fmla="*/ 1035939 w 1323022"/>
                <a:gd name="connsiteY3" fmla="*/ 1257014 h 1257014"/>
                <a:gd name="connsiteX4" fmla="*/ 921829 w 1323022"/>
                <a:gd name="connsiteY4" fmla="*/ 977075 h 1257014"/>
                <a:gd name="connsiteX5" fmla="*/ 394049 w 1323022"/>
                <a:gd name="connsiteY5" fmla="*/ 977075 h 1257014"/>
                <a:gd name="connsiteX6" fmla="*/ 279940 w 1323022"/>
                <a:gd name="connsiteY6" fmla="*/ 1257014 h 1257014"/>
                <a:gd name="connsiteX7" fmla="*/ 0 w 1323022"/>
                <a:gd name="connsiteY7" fmla="*/ 1257014 h 1257014"/>
                <a:gd name="connsiteX8" fmla="*/ 534924 w 1323022"/>
                <a:gd name="connsiteY8" fmla="*/ 0 h 1257014"/>
                <a:gd name="connsiteX9" fmla="*/ 823817 w 1323022"/>
                <a:gd name="connsiteY9" fmla="*/ 734568 h 1257014"/>
                <a:gd name="connsiteX10" fmla="*/ 657987 w 1323022"/>
                <a:gd name="connsiteY10" fmla="*/ 329851 h 1257014"/>
                <a:gd name="connsiteX11" fmla="*/ 492157 w 1323022"/>
                <a:gd name="connsiteY11" fmla="*/ 734568 h 1257014"/>
                <a:gd name="connsiteX12" fmla="*/ 823817 w 1323022"/>
                <a:gd name="connsiteY12" fmla="*/ 734568 h 125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022" h="1257014">
                  <a:moveTo>
                    <a:pt x="534924" y="0"/>
                  </a:moveTo>
                  <a:lnTo>
                    <a:pt x="788099" y="0"/>
                  </a:lnTo>
                  <a:lnTo>
                    <a:pt x="1323023" y="1257014"/>
                  </a:lnTo>
                  <a:lnTo>
                    <a:pt x="1035939" y="1257014"/>
                  </a:lnTo>
                  <a:lnTo>
                    <a:pt x="921829" y="977075"/>
                  </a:lnTo>
                  <a:lnTo>
                    <a:pt x="394049" y="977075"/>
                  </a:lnTo>
                  <a:lnTo>
                    <a:pt x="279940" y="1257014"/>
                  </a:lnTo>
                  <a:lnTo>
                    <a:pt x="0" y="1257014"/>
                  </a:lnTo>
                  <a:lnTo>
                    <a:pt x="534924" y="0"/>
                  </a:lnTo>
                  <a:close/>
                  <a:moveTo>
                    <a:pt x="823817" y="734568"/>
                  </a:moveTo>
                  <a:lnTo>
                    <a:pt x="657987" y="329851"/>
                  </a:lnTo>
                  <a:lnTo>
                    <a:pt x="492157" y="734568"/>
                  </a:lnTo>
                  <a:lnTo>
                    <a:pt x="823817" y="734568"/>
                  </a:lnTo>
                  <a:close/>
                </a:path>
              </a:pathLst>
            </a:custGeom>
            <a:solidFill>
              <a:srgbClr val="44505E"/>
            </a:solidFill>
            <a:ln w="9525" cap="flat">
              <a:noFill/>
              <a:prstDash val="solid"/>
              <a:miter/>
            </a:ln>
          </p:spPr>
          <p:txBody>
            <a:bodyPr rtlCol="0" anchor="ctr"/>
            <a:lstStyle/>
            <a:p>
              <a:endParaRPr lang="pt-BR" noProof="0"/>
            </a:p>
          </p:txBody>
        </p:sp>
        <p:sp>
          <p:nvSpPr>
            <p:cNvPr id="62" name="Freeform: Shape 17">
              <a:extLst>
                <a:ext uri="{FF2B5EF4-FFF2-40B4-BE49-F238E27FC236}">
                  <a16:creationId xmlns:a16="http://schemas.microsoft.com/office/drawing/2014/main" id="{4B97061D-0BFF-D68D-1839-AE5E134A9174}"/>
                </a:ext>
              </a:extLst>
            </p:cNvPr>
            <p:cNvSpPr/>
            <p:nvPr/>
          </p:nvSpPr>
          <p:spPr>
            <a:xfrm>
              <a:off x="5834078" y="211355"/>
              <a:ext cx="273442" cy="420435"/>
            </a:xfrm>
            <a:custGeom>
              <a:avLst/>
              <a:gdLst>
                <a:gd name="connsiteX0" fmla="*/ 540258 w 1087754"/>
                <a:gd name="connsiteY0" fmla="*/ 1672495 h 1672494"/>
                <a:gd name="connsiteX1" fmla="*/ 144399 w 1087754"/>
                <a:gd name="connsiteY1" fmla="*/ 1533430 h 1672494"/>
                <a:gd name="connsiteX2" fmla="*/ 0 w 1087754"/>
                <a:gd name="connsiteY2" fmla="*/ 1117949 h 1672494"/>
                <a:gd name="connsiteX3" fmla="*/ 0 w 1087754"/>
                <a:gd name="connsiteY3" fmla="*/ 404717 h 1672494"/>
                <a:gd name="connsiteX4" fmla="*/ 274606 w 1087754"/>
                <a:gd name="connsiteY4" fmla="*/ 404717 h 1672494"/>
                <a:gd name="connsiteX5" fmla="*/ 274606 w 1087754"/>
                <a:gd name="connsiteY5" fmla="*/ 1110806 h 1672494"/>
                <a:gd name="connsiteX6" fmla="*/ 345948 w 1087754"/>
                <a:gd name="connsiteY6" fmla="*/ 1341692 h 1672494"/>
                <a:gd name="connsiteX7" fmla="*/ 543877 w 1087754"/>
                <a:gd name="connsiteY7" fmla="*/ 1419225 h 1672494"/>
                <a:gd name="connsiteX8" fmla="*/ 741807 w 1087754"/>
                <a:gd name="connsiteY8" fmla="*/ 1344359 h 1672494"/>
                <a:gd name="connsiteX9" fmla="*/ 813149 w 1087754"/>
                <a:gd name="connsiteY9" fmla="*/ 1119664 h 1672494"/>
                <a:gd name="connsiteX10" fmla="*/ 813149 w 1087754"/>
                <a:gd name="connsiteY10" fmla="*/ 404717 h 1672494"/>
                <a:gd name="connsiteX11" fmla="*/ 1087755 w 1087754"/>
                <a:gd name="connsiteY11" fmla="*/ 404717 h 1672494"/>
                <a:gd name="connsiteX12" fmla="*/ 1087755 w 1087754"/>
                <a:gd name="connsiteY12" fmla="*/ 1108996 h 1672494"/>
                <a:gd name="connsiteX13" fmla="*/ 1049369 w 1087754"/>
                <a:gd name="connsiteY13" fmla="*/ 1356836 h 1672494"/>
                <a:gd name="connsiteX14" fmla="*/ 939737 w 1087754"/>
                <a:gd name="connsiteY14" fmla="*/ 1532477 h 1672494"/>
                <a:gd name="connsiteX15" fmla="*/ 766763 w 1087754"/>
                <a:gd name="connsiteY15" fmla="*/ 1637729 h 1672494"/>
                <a:gd name="connsiteX16" fmla="*/ 540353 w 1087754"/>
                <a:gd name="connsiteY16" fmla="*/ 1672495 h 1672494"/>
                <a:gd name="connsiteX17" fmla="*/ 622268 w 1087754"/>
                <a:gd name="connsiteY17" fmla="*/ 0 h 1672494"/>
                <a:gd name="connsiteX18" fmla="*/ 855821 w 1087754"/>
                <a:gd name="connsiteY18" fmla="*/ 101632 h 1672494"/>
                <a:gd name="connsiteX19" fmla="*/ 627602 w 1087754"/>
                <a:gd name="connsiteY19" fmla="*/ 315563 h 1672494"/>
                <a:gd name="connsiteX20" fmla="*/ 420719 w 1087754"/>
                <a:gd name="connsiteY20" fmla="*/ 315563 h 1672494"/>
                <a:gd name="connsiteX21" fmla="*/ 622268 w 1087754"/>
                <a:gd name="connsiteY21" fmla="*/ 0 h 16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754" h="1672494">
                  <a:moveTo>
                    <a:pt x="540258" y="1672495"/>
                  </a:moveTo>
                  <a:cubicBezTo>
                    <a:pt x="372618" y="1672495"/>
                    <a:pt x="240697" y="1626108"/>
                    <a:pt x="144399" y="1533430"/>
                  </a:cubicBezTo>
                  <a:cubicBezTo>
                    <a:pt x="48101" y="1440752"/>
                    <a:pt x="0" y="1302258"/>
                    <a:pt x="0" y="1117949"/>
                  </a:cubicBezTo>
                  <a:lnTo>
                    <a:pt x="0" y="404717"/>
                  </a:lnTo>
                  <a:lnTo>
                    <a:pt x="274606" y="404717"/>
                  </a:lnTo>
                  <a:lnTo>
                    <a:pt x="274606" y="1110806"/>
                  </a:lnTo>
                  <a:cubicBezTo>
                    <a:pt x="274606" y="1213009"/>
                    <a:pt x="298418" y="1289971"/>
                    <a:pt x="345948" y="1341692"/>
                  </a:cubicBezTo>
                  <a:cubicBezTo>
                    <a:pt x="393478" y="1393412"/>
                    <a:pt x="459486" y="1419225"/>
                    <a:pt x="543877" y="1419225"/>
                  </a:cubicBezTo>
                  <a:cubicBezTo>
                    <a:pt x="628269" y="1419225"/>
                    <a:pt x="694277" y="1394270"/>
                    <a:pt x="741807" y="1344359"/>
                  </a:cubicBezTo>
                  <a:cubicBezTo>
                    <a:pt x="789337" y="1294448"/>
                    <a:pt x="813149" y="1219581"/>
                    <a:pt x="813149" y="1119664"/>
                  </a:cubicBezTo>
                  <a:lnTo>
                    <a:pt x="813149" y="404717"/>
                  </a:lnTo>
                  <a:lnTo>
                    <a:pt x="1087755" y="404717"/>
                  </a:lnTo>
                  <a:lnTo>
                    <a:pt x="1087755" y="1108996"/>
                  </a:lnTo>
                  <a:cubicBezTo>
                    <a:pt x="1087755" y="1204151"/>
                    <a:pt x="1074992" y="1286732"/>
                    <a:pt x="1049369" y="1356836"/>
                  </a:cubicBezTo>
                  <a:cubicBezTo>
                    <a:pt x="1023747" y="1426940"/>
                    <a:pt x="987266" y="1485519"/>
                    <a:pt x="939737" y="1532477"/>
                  </a:cubicBezTo>
                  <a:cubicBezTo>
                    <a:pt x="892207" y="1579436"/>
                    <a:pt x="834485" y="1614488"/>
                    <a:pt x="766763" y="1637729"/>
                  </a:cubicBezTo>
                  <a:cubicBezTo>
                    <a:pt x="699040" y="1660874"/>
                    <a:pt x="623507" y="1672495"/>
                    <a:pt x="540353" y="1672495"/>
                  </a:cubicBezTo>
                  <a:close/>
                  <a:moveTo>
                    <a:pt x="622268" y="0"/>
                  </a:moveTo>
                  <a:lnTo>
                    <a:pt x="855821" y="101632"/>
                  </a:lnTo>
                  <a:lnTo>
                    <a:pt x="627602" y="315563"/>
                  </a:lnTo>
                  <a:lnTo>
                    <a:pt x="420719" y="315563"/>
                  </a:lnTo>
                  <a:lnTo>
                    <a:pt x="622268" y="0"/>
                  </a:lnTo>
                  <a:close/>
                </a:path>
              </a:pathLst>
            </a:custGeom>
            <a:solidFill>
              <a:srgbClr val="44505E"/>
            </a:solidFill>
            <a:ln w="9525" cap="flat">
              <a:noFill/>
              <a:prstDash val="solid"/>
              <a:miter/>
            </a:ln>
          </p:spPr>
          <p:txBody>
            <a:bodyPr rtlCol="0" anchor="ctr"/>
            <a:lstStyle/>
            <a:p>
              <a:endParaRPr lang="pt-BR" noProof="0"/>
            </a:p>
          </p:txBody>
        </p:sp>
        <p:sp>
          <p:nvSpPr>
            <p:cNvPr id="63" name="Freeform: Shape 18">
              <a:extLst>
                <a:ext uri="{FF2B5EF4-FFF2-40B4-BE49-F238E27FC236}">
                  <a16:creationId xmlns:a16="http://schemas.microsoft.com/office/drawing/2014/main" id="{0E9AA454-E1B5-A00E-0C78-AA2E72ED803D}"/>
                </a:ext>
              </a:extLst>
            </p:cNvPr>
            <p:cNvSpPr/>
            <p:nvPr/>
          </p:nvSpPr>
          <p:spPr>
            <a:xfrm>
              <a:off x="6143795" y="313094"/>
              <a:ext cx="289101" cy="313764"/>
            </a:xfrm>
            <a:custGeom>
              <a:avLst/>
              <a:gdLst>
                <a:gd name="connsiteX0" fmla="*/ 0 w 1150048"/>
                <a:gd name="connsiteY0" fmla="*/ 0 h 1248155"/>
                <a:gd name="connsiteX1" fmla="*/ 486728 w 1150048"/>
                <a:gd name="connsiteY1" fmla="*/ 0 h 1248155"/>
                <a:gd name="connsiteX2" fmla="*/ 755047 w 1150048"/>
                <a:gd name="connsiteY2" fmla="*/ 47244 h 1248155"/>
                <a:gd name="connsiteX3" fmla="*/ 965454 w 1150048"/>
                <a:gd name="connsiteY3" fmla="*/ 178308 h 1248155"/>
                <a:gd name="connsiteX4" fmla="*/ 1101852 w 1150048"/>
                <a:gd name="connsiteY4" fmla="*/ 375380 h 1248155"/>
                <a:gd name="connsiteX5" fmla="*/ 1150049 w 1150048"/>
                <a:gd name="connsiteY5" fmla="*/ 620554 h 1248155"/>
                <a:gd name="connsiteX6" fmla="*/ 1150049 w 1150048"/>
                <a:gd name="connsiteY6" fmla="*/ 624173 h 1248155"/>
                <a:gd name="connsiteX7" fmla="*/ 1101852 w 1150048"/>
                <a:gd name="connsiteY7" fmla="*/ 870204 h 1248155"/>
                <a:gd name="connsiteX8" fmla="*/ 965454 w 1150048"/>
                <a:gd name="connsiteY8" fmla="*/ 1068134 h 1248155"/>
                <a:gd name="connsiteX9" fmla="*/ 755047 w 1150048"/>
                <a:gd name="connsiteY9" fmla="*/ 1200055 h 1248155"/>
                <a:gd name="connsiteX10" fmla="*/ 486728 w 1150048"/>
                <a:gd name="connsiteY10" fmla="*/ 1248156 h 1248155"/>
                <a:gd name="connsiteX11" fmla="*/ 0 w 1150048"/>
                <a:gd name="connsiteY11" fmla="*/ 1248156 h 1248155"/>
                <a:gd name="connsiteX12" fmla="*/ 0 w 1150048"/>
                <a:gd name="connsiteY12" fmla="*/ 0 h 1248155"/>
                <a:gd name="connsiteX13" fmla="*/ 486728 w 1150048"/>
                <a:gd name="connsiteY13" fmla="*/ 1000315 h 1248155"/>
                <a:gd name="connsiteX14" fmla="*/ 640080 w 1150048"/>
                <a:gd name="connsiteY14" fmla="*/ 973550 h 1248155"/>
                <a:gd name="connsiteX15" fmla="*/ 758667 w 1150048"/>
                <a:gd name="connsiteY15" fmla="*/ 896874 h 1248155"/>
                <a:gd name="connsiteX16" fmla="*/ 835343 w 1150048"/>
                <a:gd name="connsiteY16" fmla="*/ 779240 h 1248155"/>
                <a:gd name="connsiteX17" fmla="*/ 862965 w 1150048"/>
                <a:gd name="connsiteY17" fmla="*/ 627698 h 1248155"/>
                <a:gd name="connsiteX18" fmla="*/ 862965 w 1150048"/>
                <a:gd name="connsiteY18" fmla="*/ 624078 h 1248155"/>
                <a:gd name="connsiteX19" fmla="*/ 835343 w 1150048"/>
                <a:gd name="connsiteY19" fmla="*/ 472535 h 1248155"/>
                <a:gd name="connsiteX20" fmla="*/ 758667 w 1150048"/>
                <a:gd name="connsiteY20" fmla="*/ 353092 h 1248155"/>
                <a:gd name="connsiteX21" fmla="*/ 640080 w 1150048"/>
                <a:gd name="connsiteY21" fmla="*/ 275558 h 1248155"/>
                <a:gd name="connsiteX22" fmla="*/ 486728 w 1150048"/>
                <a:gd name="connsiteY22" fmla="*/ 247936 h 1248155"/>
                <a:gd name="connsiteX23" fmla="*/ 274511 w 1150048"/>
                <a:gd name="connsiteY23" fmla="*/ 247936 h 1248155"/>
                <a:gd name="connsiteX24" fmla="*/ 274511 w 1150048"/>
                <a:gd name="connsiteY24" fmla="*/ 1000411 h 1248155"/>
                <a:gd name="connsiteX25" fmla="*/ 486728 w 1150048"/>
                <a:gd name="connsiteY25" fmla="*/ 1000411 h 124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50048" h="1248155">
                  <a:moveTo>
                    <a:pt x="0" y="0"/>
                  </a:moveTo>
                  <a:lnTo>
                    <a:pt x="486728" y="0"/>
                  </a:lnTo>
                  <a:cubicBezTo>
                    <a:pt x="584168" y="0"/>
                    <a:pt x="673608" y="15811"/>
                    <a:pt x="755047" y="47244"/>
                  </a:cubicBezTo>
                  <a:cubicBezTo>
                    <a:pt x="836486" y="78772"/>
                    <a:pt x="906590" y="122396"/>
                    <a:pt x="965454" y="178308"/>
                  </a:cubicBezTo>
                  <a:cubicBezTo>
                    <a:pt x="1024319" y="234220"/>
                    <a:pt x="1069753" y="299847"/>
                    <a:pt x="1101852" y="375380"/>
                  </a:cubicBezTo>
                  <a:cubicBezTo>
                    <a:pt x="1133951" y="450914"/>
                    <a:pt x="1150049" y="532543"/>
                    <a:pt x="1150049" y="620554"/>
                  </a:cubicBezTo>
                  <a:lnTo>
                    <a:pt x="1150049" y="624173"/>
                  </a:lnTo>
                  <a:cubicBezTo>
                    <a:pt x="1150049" y="712184"/>
                    <a:pt x="1133951" y="794195"/>
                    <a:pt x="1101852" y="870204"/>
                  </a:cubicBezTo>
                  <a:cubicBezTo>
                    <a:pt x="1069753" y="946309"/>
                    <a:pt x="1024319" y="1012222"/>
                    <a:pt x="965454" y="1068134"/>
                  </a:cubicBezTo>
                  <a:cubicBezTo>
                    <a:pt x="906590" y="1124045"/>
                    <a:pt x="836486" y="1167956"/>
                    <a:pt x="755047" y="1200055"/>
                  </a:cubicBezTo>
                  <a:cubicBezTo>
                    <a:pt x="673608" y="1232154"/>
                    <a:pt x="584168" y="1248156"/>
                    <a:pt x="486728" y="1248156"/>
                  </a:cubicBezTo>
                  <a:lnTo>
                    <a:pt x="0" y="1248156"/>
                  </a:lnTo>
                  <a:lnTo>
                    <a:pt x="0" y="0"/>
                  </a:lnTo>
                  <a:close/>
                  <a:moveTo>
                    <a:pt x="486728" y="1000315"/>
                  </a:moveTo>
                  <a:cubicBezTo>
                    <a:pt x="542639" y="1000315"/>
                    <a:pt x="593693" y="991457"/>
                    <a:pt x="640080" y="973550"/>
                  </a:cubicBezTo>
                  <a:cubicBezTo>
                    <a:pt x="686467" y="955739"/>
                    <a:pt x="725900" y="930211"/>
                    <a:pt x="758667" y="896874"/>
                  </a:cubicBezTo>
                  <a:cubicBezTo>
                    <a:pt x="791337" y="863632"/>
                    <a:pt x="816864" y="824389"/>
                    <a:pt x="835343" y="779240"/>
                  </a:cubicBezTo>
                  <a:cubicBezTo>
                    <a:pt x="853726" y="734092"/>
                    <a:pt x="862965" y="683609"/>
                    <a:pt x="862965" y="627698"/>
                  </a:cubicBezTo>
                  <a:lnTo>
                    <a:pt x="862965" y="624078"/>
                  </a:lnTo>
                  <a:cubicBezTo>
                    <a:pt x="862965" y="569404"/>
                    <a:pt x="853726" y="518827"/>
                    <a:pt x="835343" y="472535"/>
                  </a:cubicBezTo>
                  <a:cubicBezTo>
                    <a:pt x="816864" y="426149"/>
                    <a:pt x="791337" y="386334"/>
                    <a:pt x="758667" y="353092"/>
                  </a:cubicBezTo>
                  <a:cubicBezTo>
                    <a:pt x="725996" y="319849"/>
                    <a:pt x="686467" y="293941"/>
                    <a:pt x="640080" y="275558"/>
                  </a:cubicBezTo>
                  <a:cubicBezTo>
                    <a:pt x="593693" y="257175"/>
                    <a:pt x="542639" y="247936"/>
                    <a:pt x="486728" y="247936"/>
                  </a:cubicBezTo>
                  <a:lnTo>
                    <a:pt x="274511" y="247936"/>
                  </a:lnTo>
                  <a:lnTo>
                    <a:pt x="274511" y="1000411"/>
                  </a:lnTo>
                  <a:lnTo>
                    <a:pt x="486728" y="1000411"/>
                  </a:lnTo>
                  <a:close/>
                </a:path>
              </a:pathLst>
            </a:custGeom>
            <a:solidFill>
              <a:srgbClr val="44505E"/>
            </a:solidFill>
            <a:ln w="9525" cap="flat">
              <a:noFill/>
              <a:prstDash val="solid"/>
              <a:miter/>
            </a:ln>
          </p:spPr>
          <p:txBody>
            <a:bodyPr rtlCol="0" anchor="ctr"/>
            <a:lstStyle/>
            <a:p>
              <a:endParaRPr lang="pt-BR" noProof="0"/>
            </a:p>
          </p:txBody>
        </p:sp>
        <p:sp>
          <p:nvSpPr>
            <p:cNvPr id="1024" name="Freeform: Shape 19">
              <a:extLst>
                <a:ext uri="{FF2B5EF4-FFF2-40B4-BE49-F238E27FC236}">
                  <a16:creationId xmlns:a16="http://schemas.microsoft.com/office/drawing/2014/main" id="{0DA5B9F5-A0E3-8F1A-A079-9FA2334431C4}"/>
                </a:ext>
              </a:extLst>
            </p:cNvPr>
            <p:cNvSpPr/>
            <p:nvPr/>
          </p:nvSpPr>
          <p:spPr>
            <a:xfrm>
              <a:off x="6460217" y="313094"/>
              <a:ext cx="238459" cy="313788"/>
            </a:xfrm>
            <a:custGeom>
              <a:avLst/>
              <a:gdLst>
                <a:gd name="connsiteX0" fmla="*/ 95 w 948594"/>
                <a:gd name="connsiteY0" fmla="*/ 0 h 1248251"/>
                <a:gd name="connsiteX1" fmla="*/ 939737 w 948594"/>
                <a:gd name="connsiteY1" fmla="*/ 0 h 1248251"/>
                <a:gd name="connsiteX2" fmla="*/ 939737 w 948594"/>
                <a:gd name="connsiteY2" fmla="*/ 244316 h 1248251"/>
                <a:gd name="connsiteX3" fmla="*/ 271081 w 948594"/>
                <a:gd name="connsiteY3" fmla="*/ 244316 h 1248251"/>
                <a:gd name="connsiteX4" fmla="*/ 271081 w 948594"/>
                <a:gd name="connsiteY4" fmla="*/ 497491 h 1248251"/>
                <a:gd name="connsiteX5" fmla="*/ 859441 w 948594"/>
                <a:gd name="connsiteY5" fmla="*/ 497491 h 1248251"/>
                <a:gd name="connsiteX6" fmla="*/ 859441 w 948594"/>
                <a:gd name="connsiteY6" fmla="*/ 741807 h 1248251"/>
                <a:gd name="connsiteX7" fmla="*/ 271081 w 948594"/>
                <a:gd name="connsiteY7" fmla="*/ 741807 h 1248251"/>
                <a:gd name="connsiteX8" fmla="*/ 271081 w 948594"/>
                <a:gd name="connsiteY8" fmla="*/ 1003935 h 1248251"/>
                <a:gd name="connsiteX9" fmla="*/ 948595 w 948594"/>
                <a:gd name="connsiteY9" fmla="*/ 1003935 h 1248251"/>
                <a:gd name="connsiteX10" fmla="*/ 948595 w 948594"/>
                <a:gd name="connsiteY10" fmla="*/ 1248251 h 1248251"/>
                <a:gd name="connsiteX11" fmla="*/ 0 w 948594"/>
                <a:gd name="connsiteY11" fmla="*/ 1248251 h 1248251"/>
                <a:gd name="connsiteX12" fmla="*/ 0 w 948594"/>
                <a:gd name="connsiteY12" fmla="*/ 0 h 124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594" h="1248251">
                  <a:moveTo>
                    <a:pt x="95" y="0"/>
                  </a:moveTo>
                  <a:lnTo>
                    <a:pt x="939737" y="0"/>
                  </a:lnTo>
                  <a:lnTo>
                    <a:pt x="939737" y="244316"/>
                  </a:lnTo>
                  <a:lnTo>
                    <a:pt x="271081" y="244316"/>
                  </a:lnTo>
                  <a:lnTo>
                    <a:pt x="271081" y="497491"/>
                  </a:lnTo>
                  <a:lnTo>
                    <a:pt x="859441" y="497491"/>
                  </a:lnTo>
                  <a:lnTo>
                    <a:pt x="859441" y="741807"/>
                  </a:lnTo>
                  <a:lnTo>
                    <a:pt x="271081" y="741807"/>
                  </a:lnTo>
                  <a:lnTo>
                    <a:pt x="271081" y="1003935"/>
                  </a:lnTo>
                  <a:lnTo>
                    <a:pt x="948595" y="1003935"/>
                  </a:lnTo>
                  <a:lnTo>
                    <a:pt x="948595" y="1248251"/>
                  </a:lnTo>
                  <a:lnTo>
                    <a:pt x="0" y="1248251"/>
                  </a:lnTo>
                  <a:lnTo>
                    <a:pt x="0" y="0"/>
                  </a:lnTo>
                  <a:close/>
                </a:path>
              </a:pathLst>
            </a:custGeom>
            <a:solidFill>
              <a:srgbClr val="44505E"/>
            </a:solidFill>
            <a:ln w="9525" cap="flat">
              <a:noFill/>
              <a:prstDash val="solid"/>
              <a:miter/>
            </a:ln>
          </p:spPr>
          <p:txBody>
            <a:bodyPr rtlCol="0" anchor="ctr"/>
            <a:lstStyle/>
            <a:p>
              <a:endParaRPr lang="pt-BR" noProof="0"/>
            </a:p>
          </p:txBody>
        </p:sp>
        <p:sp>
          <p:nvSpPr>
            <p:cNvPr id="1025" name="Freeform: Shape 20">
              <a:extLst>
                <a:ext uri="{FF2B5EF4-FFF2-40B4-BE49-F238E27FC236}">
                  <a16:creationId xmlns:a16="http://schemas.microsoft.com/office/drawing/2014/main" id="{31EA72AE-ED2A-68EB-F33D-D2218B92D461}"/>
                </a:ext>
              </a:extLst>
            </p:cNvPr>
            <p:cNvSpPr/>
            <p:nvPr/>
          </p:nvSpPr>
          <p:spPr>
            <a:xfrm>
              <a:off x="5253193" y="699983"/>
              <a:ext cx="90796" cy="97883"/>
            </a:xfrm>
            <a:custGeom>
              <a:avLst/>
              <a:gdLst>
                <a:gd name="connsiteX0" fmla="*/ 191548 w 361187"/>
                <a:gd name="connsiteY0" fmla="*/ 389382 h 389381"/>
                <a:gd name="connsiteX1" fmla="*/ 116300 w 361187"/>
                <a:gd name="connsiteY1" fmla="*/ 375285 h 389381"/>
                <a:gd name="connsiteX2" fmla="*/ 55531 w 361187"/>
                <a:gd name="connsiteY2" fmla="*/ 335756 h 389381"/>
                <a:gd name="connsiteX3" fmla="*/ 14859 w 361187"/>
                <a:gd name="connsiteY3" fmla="*/ 274606 h 389381"/>
                <a:gd name="connsiteX4" fmla="*/ 0 w 361187"/>
                <a:gd name="connsiteY4" fmla="*/ 195834 h 389381"/>
                <a:gd name="connsiteX5" fmla="*/ 0 w 361187"/>
                <a:gd name="connsiteY5" fmla="*/ 194405 h 389381"/>
                <a:gd name="connsiteX6" fmla="*/ 13430 w 361187"/>
                <a:gd name="connsiteY6" fmla="*/ 118777 h 389381"/>
                <a:gd name="connsiteX7" fmla="*/ 51245 w 361187"/>
                <a:gd name="connsiteY7" fmla="*/ 56959 h 389381"/>
                <a:gd name="connsiteX8" fmla="*/ 108871 w 361187"/>
                <a:gd name="connsiteY8" fmla="*/ 15240 h 389381"/>
                <a:gd name="connsiteX9" fmla="*/ 182404 w 361187"/>
                <a:gd name="connsiteY9" fmla="*/ 0 h 389381"/>
                <a:gd name="connsiteX10" fmla="*/ 260509 w 361187"/>
                <a:gd name="connsiteY10" fmla="*/ 16288 h 389381"/>
                <a:gd name="connsiteX11" fmla="*/ 316325 w 361187"/>
                <a:gd name="connsiteY11" fmla="*/ 60103 h 389381"/>
                <a:gd name="connsiteX12" fmla="*/ 349853 w 361187"/>
                <a:gd name="connsiteY12" fmla="*/ 124015 h 389381"/>
                <a:gd name="connsiteX13" fmla="*/ 361188 w 361187"/>
                <a:gd name="connsiteY13" fmla="*/ 200692 h 389381"/>
                <a:gd name="connsiteX14" fmla="*/ 360807 w 361187"/>
                <a:gd name="connsiteY14" fmla="*/ 212312 h 389381"/>
                <a:gd name="connsiteX15" fmla="*/ 359759 w 361187"/>
                <a:gd name="connsiteY15" fmla="*/ 224695 h 389381"/>
                <a:gd name="connsiteX16" fmla="*/ 85534 w 361187"/>
                <a:gd name="connsiteY16" fmla="*/ 224695 h 389381"/>
                <a:gd name="connsiteX17" fmla="*/ 121920 w 361187"/>
                <a:gd name="connsiteY17" fmla="*/ 294989 h 389381"/>
                <a:gd name="connsiteX18" fmla="*/ 192977 w 361187"/>
                <a:gd name="connsiteY18" fmla="*/ 319373 h 389381"/>
                <a:gd name="connsiteX19" fmla="*/ 248126 w 361187"/>
                <a:gd name="connsiteY19" fmla="*/ 308038 h 389381"/>
                <a:gd name="connsiteX20" fmla="*/ 294037 w 361187"/>
                <a:gd name="connsiteY20" fmla="*/ 274796 h 389381"/>
                <a:gd name="connsiteX21" fmla="*/ 344234 w 361187"/>
                <a:gd name="connsiteY21" fmla="*/ 319278 h 389381"/>
                <a:gd name="connsiteX22" fmla="*/ 280226 w 361187"/>
                <a:gd name="connsiteY22" fmla="*/ 370141 h 389381"/>
                <a:gd name="connsiteX23" fmla="*/ 191548 w 361187"/>
                <a:gd name="connsiteY23" fmla="*/ 389191 h 389381"/>
                <a:gd name="connsiteX24" fmla="*/ 276320 w 361187"/>
                <a:gd name="connsiteY24" fmla="*/ 168211 h 389381"/>
                <a:gd name="connsiteX25" fmla="*/ 267176 w 361187"/>
                <a:gd name="connsiteY25" fmla="*/ 129730 h 389381"/>
                <a:gd name="connsiteX26" fmla="*/ 248126 w 361187"/>
                <a:gd name="connsiteY26" fmla="*/ 98679 h 389381"/>
                <a:gd name="connsiteX27" fmla="*/ 219551 w 361187"/>
                <a:gd name="connsiteY27" fmla="*/ 77819 h 389381"/>
                <a:gd name="connsiteX28" fmla="*/ 181737 w 361187"/>
                <a:gd name="connsiteY28" fmla="*/ 70009 h 389381"/>
                <a:gd name="connsiteX29" fmla="*/ 116396 w 361187"/>
                <a:gd name="connsiteY29" fmla="*/ 97250 h 389381"/>
                <a:gd name="connsiteX30" fmla="*/ 84963 w 361187"/>
                <a:gd name="connsiteY30" fmla="*/ 168307 h 389381"/>
                <a:gd name="connsiteX31" fmla="*/ 276511 w 361187"/>
                <a:gd name="connsiteY31" fmla="*/ 168307 h 38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187" h="389381">
                  <a:moveTo>
                    <a:pt x="191548" y="389382"/>
                  </a:moveTo>
                  <a:cubicBezTo>
                    <a:pt x="164687" y="389382"/>
                    <a:pt x="139637" y="384715"/>
                    <a:pt x="116300" y="375285"/>
                  </a:cubicBezTo>
                  <a:cubicBezTo>
                    <a:pt x="92964" y="365855"/>
                    <a:pt x="72771" y="352711"/>
                    <a:pt x="55531" y="335756"/>
                  </a:cubicBezTo>
                  <a:cubicBezTo>
                    <a:pt x="38291" y="318802"/>
                    <a:pt x="24765" y="298418"/>
                    <a:pt x="14859" y="274606"/>
                  </a:cubicBezTo>
                  <a:cubicBezTo>
                    <a:pt x="4953" y="250793"/>
                    <a:pt x="0" y="224599"/>
                    <a:pt x="0" y="195834"/>
                  </a:cubicBezTo>
                  <a:lnTo>
                    <a:pt x="0" y="194405"/>
                  </a:lnTo>
                  <a:cubicBezTo>
                    <a:pt x="0" y="167545"/>
                    <a:pt x="4477" y="142399"/>
                    <a:pt x="13430" y="118777"/>
                  </a:cubicBezTo>
                  <a:cubicBezTo>
                    <a:pt x="22384" y="95250"/>
                    <a:pt x="34957" y="74581"/>
                    <a:pt x="51245" y="56959"/>
                  </a:cubicBezTo>
                  <a:cubicBezTo>
                    <a:pt x="67532" y="39338"/>
                    <a:pt x="86677" y="25432"/>
                    <a:pt x="108871" y="15240"/>
                  </a:cubicBezTo>
                  <a:cubicBezTo>
                    <a:pt x="131064" y="5143"/>
                    <a:pt x="155543" y="0"/>
                    <a:pt x="182404" y="0"/>
                  </a:cubicBezTo>
                  <a:cubicBezTo>
                    <a:pt x="212122" y="0"/>
                    <a:pt x="238125" y="5429"/>
                    <a:pt x="260509" y="16288"/>
                  </a:cubicBezTo>
                  <a:cubicBezTo>
                    <a:pt x="282893" y="27146"/>
                    <a:pt x="301466" y="41719"/>
                    <a:pt x="316325" y="60103"/>
                  </a:cubicBezTo>
                  <a:cubicBezTo>
                    <a:pt x="331184" y="78486"/>
                    <a:pt x="342329" y="99822"/>
                    <a:pt x="349853" y="124015"/>
                  </a:cubicBezTo>
                  <a:cubicBezTo>
                    <a:pt x="357378" y="148304"/>
                    <a:pt x="361188" y="173831"/>
                    <a:pt x="361188" y="200692"/>
                  </a:cubicBezTo>
                  <a:cubicBezTo>
                    <a:pt x="361188" y="204502"/>
                    <a:pt x="361093" y="208312"/>
                    <a:pt x="360807" y="212312"/>
                  </a:cubicBezTo>
                  <a:cubicBezTo>
                    <a:pt x="360521" y="216313"/>
                    <a:pt x="360236" y="220409"/>
                    <a:pt x="359759" y="224695"/>
                  </a:cubicBezTo>
                  <a:lnTo>
                    <a:pt x="85534" y="224695"/>
                  </a:lnTo>
                  <a:cubicBezTo>
                    <a:pt x="90202" y="255365"/>
                    <a:pt x="102394" y="278797"/>
                    <a:pt x="121920" y="294989"/>
                  </a:cubicBezTo>
                  <a:cubicBezTo>
                    <a:pt x="141446" y="311277"/>
                    <a:pt x="165164" y="319373"/>
                    <a:pt x="192977" y="319373"/>
                  </a:cubicBezTo>
                  <a:cubicBezTo>
                    <a:pt x="214217" y="319373"/>
                    <a:pt x="232505" y="315563"/>
                    <a:pt x="248126" y="308038"/>
                  </a:cubicBezTo>
                  <a:cubicBezTo>
                    <a:pt x="263652" y="300514"/>
                    <a:pt x="278987" y="289465"/>
                    <a:pt x="294037" y="274796"/>
                  </a:cubicBezTo>
                  <a:lnTo>
                    <a:pt x="344234" y="319278"/>
                  </a:lnTo>
                  <a:cubicBezTo>
                    <a:pt x="326327" y="340519"/>
                    <a:pt x="304991" y="357473"/>
                    <a:pt x="280226" y="370141"/>
                  </a:cubicBezTo>
                  <a:cubicBezTo>
                    <a:pt x="255461" y="382810"/>
                    <a:pt x="225933" y="389191"/>
                    <a:pt x="191548" y="389191"/>
                  </a:cubicBezTo>
                  <a:close/>
                  <a:moveTo>
                    <a:pt x="276320" y="168211"/>
                  </a:moveTo>
                  <a:cubicBezTo>
                    <a:pt x="274892" y="154591"/>
                    <a:pt x="271844" y="141732"/>
                    <a:pt x="267176" y="129730"/>
                  </a:cubicBezTo>
                  <a:cubicBezTo>
                    <a:pt x="262414" y="117729"/>
                    <a:pt x="256127" y="107347"/>
                    <a:pt x="248126" y="98679"/>
                  </a:cubicBezTo>
                  <a:cubicBezTo>
                    <a:pt x="240125" y="89916"/>
                    <a:pt x="230600" y="82963"/>
                    <a:pt x="219551" y="77819"/>
                  </a:cubicBezTo>
                  <a:cubicBezTo>
                    <a:pt x="208502" y="72676"/>
                    <a:pt x="195834" y="70009"/>
                    <a:pt x="181737" y="70009"/>
                  </a:cubicBezTo>
                  <a:cubicBezTo>
                    <a:pt x="155353" y="70009"/>
                    <a:pt x="133541" y="79057"/>
                    <a:pt x="116396" y="97250"/>
                  </a:cubicBezTo>
                  <a:cubicBezTo>
                    <a:pt x="99155" y="115348"/>
                    <a:pt x="88678" y="139065"/>
                    <a:pt x="84963" y="168307"/>
                  </a:cubicBezTo>
                  <a:lnTo>
                    <a:pt x="276511" y="168307"/>
                  </a:lnTo>
                  <a:close/>
                </a:path>
              </a:pathLst>
            </a:custGeom>
            <a:solidFill>
              <a:srgbClr val="44505E"/>
            </a:solidFill>
            <a:ln w="9525" cap="flat">
              <a:noFill/>
              <a:prstDash val="solid"/>
              <a:miter/>
            </a:ln>
          </p:spPr>
          <p:txBody>
            <a:bodyPr rtlCol="0" anchor="ctr"/>
            <a:lstStyle/>
            <a:p>
              <a:endParaRPr lang="pt-BR" noProof="0"/>
            </a:p>
          </p:txBody>
        </p:sp>
        <p:sp>
          <p:nvSpPr>
            <p:cNvPr id="1031" name="Freeform: Shape 21">
              <a:extLst>
                <a:ext uri="{FF2B5EF4-FFF2-40B4-BE49-F238E27FC236}">
                  <a16:creationId xmlns:a16="http://schemas.microsoft.com/office/drawing/2014/main" id="{E24F4E75-0FA2-79DE-8555-1AA05C90CBEA}"/>
                </a:ext>
              </a:extLst>
            </p:cNvPr>
            <p:cNvSpPr/>
            <p:nvPr/>
          </p:nvSpPr>
          <p:spPr>
            <a:xfrm>
              <a:off x="5365659"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5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8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3 w 568166"/>
                <a:gd name="connsiteY21" fmla="*/ 381000 h 381000"/>
                <a:gd name="connsiteX22" fmla="*/ 240983 w 568166"/>
                <a:gd name="connsiteY22" fmla="*/ 168783 h 381000"/>
                <a:gd name="connsiteX23" fmla="*/ 221266 w 568166"/>
                <a:gd name="connsiteY23" fmla="*/ 101822 h 381000"/>
                <a:gd name="connsiteX24" fmla="*/ 165640 w 568166"/>
                <a:gd name="connsiteY24" fmla="*/ 78581 h 381000"/>
                <a:gd name="connsiteX25" fmla="*/ 108014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70" y="48196"/>
                    <a:pt x="105918" y="40576"/>
                  </a:cubicBezTo>
                  <a:cubicBezTo>
                    <a:pt x="112967" y="32956"/>
                    <a:pt x="121063" y="26099"/>
                    <a:pt x="130207" y="19907"/>
                  </a:cubicBezTo>
                  <a:cubicBezTo>
                    <a:pt x="139351" y="13716"/>
                    <a:pt x="149733" y="8858"/>
                    <a:pt x="161163" y="5334"/>
                  </a:cubicBezTo>
                  <a:cubicBezTo>
                    <a:pt x="172688" y="1714"/>
                    <a:pt x="185452" y="0"/>
                    <a:pt x="199549" y="0"/>
                  </a:cubicBezTo>
                  <a:cubicBezTo>
                    <a:pt x="226314" y="0"/>
                    <a:pt x="248984" y="6096"/>
                    <a:pt x="267557" y="18193"/>
                  </a:cubicBezTo>
                  <a:cubicBezTo>
                    <a:pt x="286131" y="30289"/>
                    <a:pt x="300323" y="46387"/>
                    <a:pt x="310134" y="66294"/>
                  </a:cubicBezTo>
                  <a:cubicBezTo>
                    <a:pt x="325279" y="46387"/>
                    <a:pt x="343091" y="30289"/>
                    <a:pt x="363665" y="18193"/>
                  </a:cubicBezTo>
                  <a:cubicBezTo>
                    <a:pt x="384239" y="6096"/>
                    <a:pt x="408718" y="0"/>
                    <a:pt x="437007" y="0"/>
                  </a:cubicBezTo>
                  <a:cubicBezTo>
                    <a:pt x="478060"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8" y="78486"/>
                  </a:cubicBezTo>
                  <a:cubicBezTo>
                    <a:pt x="382810" y="78486"/>
                    <a:pt x="364141" y="86392"/>
                    <a:pt x="349377" y="102108"/>
                  </a:cubicBezTo>
                  <a:cubicBezTo>
                    <a:pt x="334613" y="117824"/>
                    <a:pt x="327184" y="140779"/>
                    <a:pt x="327184" y="170879"/>
                  </a:cubicBezTo>
                  <a:lnTo>
                    <a:pt x="327184" y="381000"/>
                  </a:lnTo>
                  <a:lnTo>
                    <a:pt x="240983" y="381000"/>
                  </a:lnTo>
                  <a:lnTo>
                    <a:pt x="240983" y="168783"/>
                  </a:lnTo>
                  <a:cubicBezTo>
                    <a:pt x="240983" y="139637"/>
                    <a:pt x="234410" y="117348"/>
                    <a:pt x="221266" y="101822"/>
                  </a:cubicBezTo>
                  <a:cubicBezTo>
                    <a:pt x="208121" y="86296"/>
                    <a:pt x="189643" y="78581"/>
                    <a:pt x="165640" y="78581"/>
                  </a:cubicBezTo>
                  <a:cubicBezTo>
                    <a:pt x="141637" y="78581"/>
                    <a:pt x="122492" y="86773"/>
                    <a:pt x="108014"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1034" name="Freeform: Shape 22">
              <a:extLst>
                <a:ext uri="{FF2B5EF4-FFF2-40B4-BE49-F238E27FC236}">
                  <a16:creationId xmlns:a16="http://schemas.microsoft.com/office/drawing/2014/main" id="{EB2CE022-B324-91AB-B553-86531F397ED9}"/>
                </a:ext>
              </a:extLst>
            </p:cNvPr>
            <p:cNvSpPr/>
            <p:nvPr/>
          </p:nvSpPr>
          <p:spPr>
            <a:xfrm>
              <a:off x="5587693" y="700007"/>
              <a:ext cx="84211" cy="95752"/>
            </a:xfrm>
            <a:custGeom>
              <a:avLst/>
              <a:gdLst>
                <a:gd name="connsiteX0" fmla="*/ 95 w 334994"/>
                <a:gd name="connsiteY0" fmla="*/ 7715 h 380904"/>
                <a:gd name="connsiteX1" fmla="*/ 86296 w 334994"/>
                <a:gd name="connsiteY1" fmla="*/ 7715 h 380904"/>
                <a:gd name="connsiteX2" fmla="*/ 86296 w 334994"/>
                <a:gd name="connsiteY2" fmla="*/ 66294 h 380904"/>
                <a:gd name="connsiteX3" fmla="*/ 106394 w 334994"/>
                <a:gd name="connsiteY3" fmla="*/ 40958 h 380904"/>
                <a:gd name="connsiteX4" fmla="*/ 131731 w 334994"/>
                <a:gd name="connsiteY4" fmla="*/ 19907 h 380904"/>
                <a:gd name="connsiteX5" fmla="*/ 163449 w 334994"/>
                <a:gd name="connsiteY5" fmla="*/ 5334 h 380904"/>
                <a:gd name="connsiteX6" fmla="*/ 202597 w 334994"/>
                <a:gd name="connsiteY6" fmla="*/ 0 h 380904"/>
                <a:gd name="connsiteX7" fmla="*/ 300514 w 334994"/>
                <a:gd name="connsiteY7" fmla="*/ 38862 h 380904"/>
                <a:gd name="connsiteX8" fmla="*/ 334994 w 334994"/>
                <a:gd name="connsiteY8" fmla="*/ 143446 h 380904"/>
                <a:gd name="connsiteX9" fmla="*/ 334994 w 334994"/>
                <a:gd name="connsiteY9" fmla="*/ 380905 h 380904"/>
                <a:gd name="connsiteX10" fmla="*/ 248793 w 334994"/>
                <a:gd name="connsiteY10" fmla="*/ 380905 h 380904"/>
                <a:gd name="connsiteX11" fmla="*/ 248793 w 334994"/>
                <a:gd name="connsiteY11" fmla="*/ 169450 h 380904"/>
                <a:gd name="connsiteX12" fmla="*/ 228124 w 334994"/>
                <a:gd name="connsiteY12" fmla="*/ 102108 h 380904"/>
                <a:gd name="connsiteX13" fmla="*/ 169640 w 334994"/>
                <a:gd name="connsiteY13" fmla="*/ 78486 h 380904"/>
                <a:gd name="connsiteX14" fmla="*/ 109347 w 334994"/>
                <a:gd name="connsiteY14" fmla="*/ 102775 h 380904"/>
                <a:gd name="connsiteX15" fmla="*/ 86201 w 334994"/>
                <a:gd name="connsiteY15" fmla="*/ 170783 h 380904"/>
                <a:gd name="connsiteX16" fmla="*/ 86201 w 334994"/>
                <a:gd name="connsiteY16" fmla="*/ 380905 h 380904"/>
                <a:gd name="connsiteX17" fmla="*/ 0 w 334994"/>
                <a:gd name="connsiteY17" fmla="*/ 380905 h 380904"/>
                <a:gd name="connsiteX18" fmla="*/ 0 w 334994"/>
                <a:gd name="connsiteY18" fmla="*/ 7810 h 38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94" h="380904">
                  <a:moveTo>
                    <a:pt x="95" y="7715"/>
                  </a:moveTo>
                  <a:lnTo>
                    <a:pt x="86296" y="7715"/>
                  </a:lnTo>
                  <a:lnTo>
                    <a:pt x="86296" y="66294"/>
                  </a:lnTo>
                  <a:cubicBezTo>
                    <a:pt x="92392" y="57245"/>
                    <a:pt x="99060" y="48863"/>
                    <a:pt x="106394" y="40958"/>
                  </a:cubicBezTo>
                  <a:cubicBezTo>
                    <a:pt x="113633" y="33147"/>
                    <a:pt x="122110" y="26099"/>
                    <a:pt x="131731" y="19907"/>
                  </a:cubicBezTo>
                  <a:cubicBezTo>
                    <a:pt x="141351" y="13716"/>
                    <a:pt x="151924" y="8858"/>
                    <a:pt x="163449" y="5334"/>
                  </a:cubicBezTo>
                  <a:cubicBezTo>
                    <a:pt x="174974" y="1714"/>
                    <a:pt x="188024" y="0"/>
                    <a:pt x="202597" y="0"/>
                  </a:cubicBezTo>
                  <a:cubicBezTo>
                    <a:pt x="244888" y="0"/>
                    <a:pt x="277559" y="12954"/>
                    <a:pt x="300514" y="38862"/>
                  </a:cubicBezTo>
                  <a:cubicBezTo>
                    <a:pt x="323564" y="64770"/>
                    <a:pt x="334994" y="99631"/>
                    <a:pt x="334994" y="143446"/>
                  </a:cubicBezTo>
                  <a:lnTo>
                    <a:pt x="334994" y="380905"/>
                  </a:lnTo>
                  <a:lnTo>
                    <a:pt x="248793" y="380905"/>
                  </a:lnTo>
                  <a:lnTo>
                    <a:pt x="248793" y="169450"/>
                  </a:lnTo>
                  <a:cubicBezTo>
                    <a:pt x="248793" y="140303"/>
                    <a:pt x="241935" y="117824"/>
                    <a:pt x="228124" y="102108"/>
                  </a:cubicBezTo>
                  <a:cubicBezTo>
                    <a:pt x="214313" y="86392"/>
                    <a:pt x="194881" y="78486"/>
                    <a:pt x="169640" y="78486"/>
                  </a:cubicBezTo>
                  <a:cubicBezTo>
                    <a:pt x="144399" y="78486"/>
                    <a:pt x="124777" y="86582"/>
                    <a:pt x="109347" y="102775"/>
                  </a:cubicBezTo>
                  <a:cubicBezTo>
                    <a:pt x="93917" y="118967"/>
                    <a:pt x="86201" y="141637"/>
                    <a:pt x="86201" y="170783"/>
                  </a:cubicBezTo>
                  <a:lnTo>
                    <a:pt x="86201" y="380905"/>
                  </a:lnTo>
                  <a:lnTo>
                    <a:pt x="0" y="380905"/>
                  </a:lnTo>
                  <a:lnTo>
                    <a:pt x="0" y="7810"/>
                  </a:lnTo>
                  <a:close/>
                </a:path>
              </a:pathLst>
            </a:custGeom>
            <a:solidFill>
              <a:srgbClr val="44505E"/>
            </a:solidFill>
            <a:ln w="9525" cap="flat">
              <a:noFill/>
              <a:prstDash val="solid"/>
              <a:miter/>
            </a:ln>
          </p:spPr>
          <p:txBody>
            <a:bodyPr rtlCol="0" anchor="ctr"/>
            <a:lstStyle/>
            <a:p>
              <a:endParaRPr lang="pt-BR" noProof="0"/>
            </a:p>
          </p:txBody>
        </p:sp>
        <p:sp>
          <p:nvSpPr>
            <p:cNvPr id="1035" name="Freeform: Shape 23">
              <a:extLst>
                <a:ext uri="{FF2B5EF4-FFF2-40B4-BE49-F238E27FC236}">
                  <a16:creationId xmlns:a16="http://schemas.microsoft.com/office/drawing/2014/main" id="{E3F5C630-6DC2-A71D-8B8C-955662E0AC3B}"/>
                </a:ext>
              </a:extLst>
            </p:cNvPr>
            <p:cNvSpPr/>
            <p:nvPr/>
          </p:nvSpPr>
          <p:spPr>
            <a:xfrm>
              <a:off x="5692712" y="699959"/>
              <a:ext cx="100015" cy="97908"/>
            </a:xfrm>
            <a:custGeom>
              <a:avLst/>
              <a:gdLst>
                <a:gd name="connsiteX0" fmla="*/ 197834 w 397859"/>
                <a:gd name="connsiteY0" fmla="*/ 389477 h 389477"/>
                <a:gd name="connsiteX1" fmla="*/ 119063 w 397859"/>
                <a:gd name="connsiteY1" fmla="*/ 374237 h 389477"/>
                <a:gd name="connsiteX2" fmla="*/ 56197 w 397859"/>
                <a:gd name="connsiteY2" fmla="*/ 332899 h 389477"/>
                <a:gd name="connsiteX3" fmla="*/ 14859 w 397859"/>
                <a:gd name="connsiteY3" fmla="*/ 271463 h 389477"/>
                <a:gd name="connsiteX4" fmla="*/ 0 w 397859"/>
                <a:gd name="connsiteY4" fmla="*/ 196501 h 389477"/>
                <a:gd name="connsiteX5" fmla="*/ 0 w 397859"/>
                <a:gd name="connsiteY5" fmla="*/ 195072 h 389477"/>
                <a:gd name="connsiteX6" fmla="*/ 15145 w 397859"/>
                <a:gd name="connsiteY6" fmla="*/ 119444 h 389477"/>
                <a:gd name="connsiteX7" fmla="*/ 56864 w 397859"/>
                <a:gd name="connsiteY7" fmla="*/ 57626 h 389477"/>
                <a:gd name="connsiteX8" fmla="*/ 119729 w 397859"/>
                <a:gd name="connsiteY8" fmla="*/ 15526 h 389477"/>
                <a:gd name="connsiteX9" fmla="*/ 199263 w 397859"/>
                <a:gd name="connsiteY9" fmla="*/ 0 h 389477"/>
                <a:gd name="connsiteX10" fmla="*/ 278797 w 397859"/>
                <a:gd name="connsiteY10" fmla="*/ 15240 h 389477"/>
                <a:gd name="connsiteX11" fmla="*/ 341662 w 397859"/>
                <a:gd name="connsiteY11" fmla="*/ 56959 h 389477"/>
                <a:gd name="connsiteX12" fmla="*/ 383000 w 397859"/>
                <a:gd name="connsiteY12" fmla="*/ 118396 h 389477"/>
                <a:gd name="connsiteX13" fmla="*/ 397859 w 397859"/>
                <a:gd name="connsiteY13" fmla="*/ 193643 h 389477"/>
                <a:gd name="connsiteX14" fmla="*/ 397859 w 397859"/>
                <a:gd name="connsiteY14" fmla="*/ 195072 h 389477"/>
                <a:gd name="connsiteX15" fmla="*/ 382619 w 397859"/>
                <a:gd name="connsiteY15" fmla="*/ 270034 h 389477"/>
                <a:gd name="connsiteX16" fmla="*/ 340900 w 397859"/>
                <a:gd name="connsiteY16" fmla="*/ 331851 h 389477"/>
                <a:gd name="connsiteX17" fmla="*/ 277654 w 397859"/>
                <a:gd name="connsiteY17" fmla="*/ 373856 h 389477"/>
                <a:gd name="connsiteX18" fmla="*/ 197834 w 397859"/>
                <a:gd name="connsiteY18" fmla="*/ 389382 h 389477"/>
                <a:gd name="connsiteX19" fmla="*/ 199263 w 397859"/>
                <a:gd name="connsiteY19" fmla="*/ 315278 h 389477"/>
                <a:gd name="connsiteX20" fmla="*/ 245935 w 397859"/>
                <a:gd name="connsiteY20" fmla="*/ 305753 h 389477"/>
                <a:gd name="connsiteX21" fmla="*/ 281368 w 397859"/>
                <a:gd name="connsiteY21" fmla="*/ 279940 h 389477"/>
                <a:gd name="connsiteX22" fmla="*/ 303847 w 397859"/>
                <a:gd name="connsiteY22" fmla="*/ 242125 h 389477"/>
                <a:gd name="connsiteX23" fmla="*/ 311563 w 397859"/>
                <a:gd name="connsiteY23" fmla="*/ 196501 h 389477"/>
                <a:gd name="connsiteX24" fmla="*/ 311563 w 397859"/>
                <a:gd name="connsiteY24" fmla="*/ 195072 h 389477"/>
                <a:gd name="connsiteX25" fmla="*/ 303181 w 397859"/>
                <a:gd name="connsiteY25" fmla="*/ 148400 h 389477"/>
                <a:gd name="connsiteX26" fmla="*/ 279654 w 397859"/>
                <a:gd name="connsiteY26" fmla="*/ 110204 h 389477"/>
                <a:gd name="connsiteX27" fmla="*/ 243840 w 397859"/>
                <a:gd name="connsiteY27" fmla="*/ 84392 h 389477"/>
                <a:gd name="connsiteX28" fmla="*/ 197834 w 397859"/>
                <a:gd name="connsiteY28" fmla="*/ 74867 h 389477"/>
                <a:gd name="connsiteX29" fmla="*/ 151829 w 397859"/>
                <a:gd name="connsiteY29" fmla="*/ 84392 h 389477"/>
                <a:gd name="connsiteX30" fmla="*/ 116396 w 397859"/>
                <a:gd name="connsiteY30" fmla="*/ 109823 h 389477"/>
                <a:gd name="connsiteX31" fmla="*/ 93917 w 397859"/>
                <a:gd name="connsiteY31" fmla="*/ 147638 h 389477"/>
                <a:gd name="connsiteX32" fmla="*/ 86201 w 397859"/>
                <a:gd name="connsiteY32" fmla="*/ 193548 h 389477"/>
                <a:gd name="connsiteX33" fmla="*/ 86201 w 397859"/>
                <a:gd name="connsiteY33" fmla="*/ 194977 h 389477"/>
                <a:gd name="connsiteX34" fmla="*/ 94583 w 397859"/>
                <a:gd name="connsiteY34" fmla="*/ 241268 h 389477"/>
                <a:gd name="connsiteX35" fmla="*/ 118110 w 397859"/>
                <a:gd name="connsiteY35" fmla="*/ 279463 h 389477"/>
                <a:gd name="connsiteX36" fmla="*/ 153924 w 397859"/>
                <a:gd name="connsiteY36" fmla="*/ 305562 h 389477"/>
                <a:gd name="connsiteX37" fmla="*/ 199263 w 397859"/>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859" h="389477">
                  <a:moveTo>
                    <a:pt x="197834" y="389477"/>
                  </a:moveTo>
                  <a:cubicBezTo>
                    <a:pt x="169545" y="389477"/>
                    <a:pt x="143351" y="384429"/>
                    <a:pt x="119063" y="374237"/>
                  </a:cubicBezTo>
                  <a:cubicBezTo>
                    <a:pt x="94774" y="364141"/>
                    <a:pt x="73819" y="350330"/>
                    <a:pt x="56197" y="332899"/>
                  </a:cubicBezTo>
                  <a:cubicBezTo>
                    <a:pt x="38481" y="315468"/>
                    <a:pt x="24765" y="294989"/>
                    <a:pt x="14859" y="271463"/>
                  </a:cubicBezTo>
                  <a:cubicBezTo>
                    <a:pt x="4953" y="247936"/>
                    <a:pt x="0" y="222980"/>
                    <a:pt x="0" y="196501"/>
                  </a:cubicBezTo>
                  <a:lnTo>
                    <a:pt x="0" y="195072"/>
                  </a:lnTo>
                  <a:cubicBezTo>
                    <a:pt x="0" y="168212"/>
                    <a:pt x="5048" y="143066"/>
                    <a:pt x="15145" y="119444"/>
                  </a:cubicBezTo>
                  <a:cubicBezTo>
                    <a:pt x="25241" y="95917"/>
                    <a:pt x="39148" y="75248"/>
                    <a:pt x="56864" y="57626"/>
                  </a:cubicBezTo>
                  <a:cubicBezTo>
                    <a:pt x="74581" y="39910"/>
                    <a:pt x="95536" y="25908"/>
                    <a:pt x="119729" y="15526"/>
                  </a:cubicBezTo>
                  <a:cubicBezTo>
                    <a:pt x="144018" y="5144"/>
                    <a:pt x="170497" y="0"/>
                    <a:pt x="199263" y="0"/>
                  </a:cubicBezTo>
                  <a:cubicBezTo>
                    <a:pt x="228029" y="0"/>
                    <a:pt x="254508" y="5048"/>
                    <a:pt x="278797" y="15240"/>
                  </a:cubicBezTo>
                  <a:cubicBezTo>
                    <a:pt x="303085" y="25337"/>
                    <a:pt x="324041" y="39243"/>
                    <a:pt x="341662" y="56959"/>
                  </a:cubicBezTo>
                  <a:cubicBezTo>
                    <a:pt x="359378" y="74676"/>
                    <a:pt x="373094" y="95155"/>
                    <a:pt x="383000" y="118396"/>
                  </a:cubicBezTo>
                  <a:cubicBezTo>
                    <a:pt x="392906" y="141732"/>
                    <a:pt x="397859" y="166783"/>
                    <a:pt x="397859" y="193643"/>
                  </a:cubicBezTo>
                  <a:lnTo>
                    <a:pt x="397859" y="195072"/>
                  </a:lnTo>
                  <a:cubicBezTo>
                    <a:pt x="397859" y="221456"/>
                    <a:pt x="392811" y="246412"/>
                    <a:pt x="382619" y="270034"/>
                  </a:cubicBezTo>
                  <a:cubicBezTo>
                    <a:pt x="372523" y="293561"/>
                    <a:pt x="358616" y="314230"/>
                    <a:pt x="340900" y="331851"/>
                  </a:cubicBezTo>
                  <a:cubicBezTo>
                    <a:pt x="323183" y="349472"/>
                    <a:pt x="302133" y="363569"/>
                    <a:pt x="277654" y="373856"/>
                  </a:cubicBezTo>
                  <a:cubicBezTo>
                    <a:pt x="253175" y="384238"/>
                    <a:pt x="226504" y="389382"/>
                    <a:pt x="197834" y="389382"/>
                  </a:cubicBezTo>
                  <a:close/>
                  <a:moveTo>
                    <a:pt x="199263" y="315278"/>
                  </a:moveTo>
                  <a:cubicBezTo>
                    <a:pt x="216598" y="315278"/>
                    <a:pt x="232124" y="312039"/>
                    <a:pt x="245935" y="305753"/>
                  </a:cubicBezTo>
                  <a:cubicBezTo>
                    <a:pt x="259747" y="299371"/>
                    <a:pt x="271558" y="290798"/>
                    <a:pt x="281368" y="279940"/>
                  </a:cubicBezTo>
                  <a:cubicBezTo>
                    <a:pt x="291179" y="269081"/>
                    <a:pt x="298704" y="256508"/>
                    <a:pt x="303847" y="242125"/>
                  </a:cubicBezTo>
                  <a:cubicBezTo>
                    <a:pt x="308991" y="227743"/>
                    <a:pt x="311563" y="212598"/>
                    <a:pt x="311563" y="196501"/>
                  </a:cubicBezTo>
                  <a:lnTo>
                    <a:pt x="311563" y="195072"/>
                  </a:lnTo>
                  <a:cubicBezTo>
                    <a:pt x="311563" y="178594"/>
                    <a:pt x="308800" y="163068"/>
                    <a:pt x="303181" y="148400"/>
                  </a:cubicBezTo>
                  <a:cubicBezTo>
                    <a:pt x="297561" y="133826"/>
                    <a:pt x="289750" y="121063"/>
                    <a:pt x="279654" y="110204"/>
                  </a:cubicBezTo>
                  <a:cubicBezTo>
                    <a:pt x="269558" y="99346"/>
                    <a:pt x="257651" y="90773"/>
                    <a:pt x="243840" y="84392"/>
                  </a:cubicBezTo>
                  <a:cubicBezTo>
                    <a:pt x="230029" y="78010"/>
                    <a:pt x="214693" y="74867"/>
                    <a:pt x="197834" y="74867"/>
                  </a:cubicBezTo>
                  <a:cubicBezTo>
                    <a:pt x="180975" y="74867"/>
                    <a:pt x="165640" y="78010"/>
                    <a:pt x="151829" y="84392"/>
                  </a:cubicBezTo>
                  <a:cubicBezTo>
                    <a:pt x="138017" y="90773"/>
                    <a:pt x="126206" y="99250"/>
                    <a:pt x="116396" y="109823"/>
                  </a:cubicBezTo>
                  <a:cubicBezTo>
                    <a:pt x="106585" y="120396"/>
                    <a:pt x="99060" y="133064"/>
                    <a:pt x="93917" y="147638"/>
                  </a:cubicBezTo>
                  <a:cubicBezTo>
                    <a:pt x="88773" y="162211"/>
                    <a:pt x="86201" y="177546"/>
                    <a:pt x="86201" y="193548"/>
                  </a:cubicBezTo>
                  <a:lnTo>
                    <a:pt x="86201" y="194977"/>
                  </a:lnTo>
                  <a:cubicBezTo>
                    <a:pt x="86201" y="211455"/>
                    <a:pt x="88963" y="226886"/>
                    <a:pt x="94583" y="241268"/>
                  </a:cubicBezTo>
                  <a:cubicBezTo>
                    <a:pt x="100203" y="255651"/>
                    <a:pt x="108013" y="268319"/>
                    <a:pt x="118110" y="279463"/>
                  </a:cubicBezTo>
                  <a:cubicBezTo>
                    <a:pt x="128206" y="290513"/>
                    <a:pt x="140113" y="299275"/>
                    <a:pt x="153924" y="305562"/>
                  </a:cubicBezTo>
                  <a:cubicBezTo>
                    <a:pt x="167735" y="311944"/>
                    <a:pt x="182880"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1036" name="Freeform: Shape 24">
              <a:extLst>
                <a:ext uri="{FF2B5EF4-FFF2-40B4-BE49-F238E27FC236}">
                  <a16:creationId xmlns:a16="http://schemas.microsoft.com/office/drawing/2014/main" id="{11537D93-0AD1-EE73-209E-C0772B8B3008}"/>
                </a:ext>
              </a:extLst>
            </p:cNvPr>
            <p:cNvSpPr/>
            <p:nvPr/>
          </p:nvSpPr>
          <p:spPr>
            <a:xfrm>
              <a:off x="5806925"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2 w 296894"/>
                <a:gd name="connsiteY36" fmla="*/ 224980 h 386714"/>
                <a:gd name="connsiteX37" fmla="*/ 296894 w 296894"/>
                <a:gd name="connsiteY37" fmla="*/ 267938 h 386714"/>
                <a:gd name="connsiteX38" fmla="*/ 296894 w 296894"/>
                <a:gd name="connsiteY38" fmla="*/ 269367 h 386714"/>
                <a:gd name="connsiteX39" fmla="*/ 286322 w 296894"/>
                <a:gd name="connsiteY39" fmla="*/ 320897 h 386714"/>
                <a:gd name="connsiteX40" fmla="*/ 256984 w 296894"/>
                <a:gd name="connsiteY40" fmla="*/ 357188 h 386714"/>
                <a:gd name="connsiteX41" fmla="*/ 212789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8" y="298704"/>
                    <a:pt x="100013" y="306514"/>
                  </a:cubicBezTo>
                  <a:cubicBezTo>
                    <a:pt x="120967" y="314325"/>
                    <a:pt x="141161" y="318135"/>
                    <a:pt x="160401" y="318135"/>
                  </a:cubicBezTo>
                  <a:cubicBezTo>
                    <a:pt x="179642" y="318135"/>
                    <a:pt x="192976"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2" y="241078"/>
                    <a:pt x="176498" y="237553"/>
                    <a:pt x="166402" y="234220"/>
                  </a:cubicBezTo>
                  <a:cubicBezTo>
                    <a:pt x="156305" y="230886"/>
                    <a:pt x="145733" y="227647"/>
                    <a:pt x="134969" y="224314"/>
                  </a:cubicBezTo>
                  <a:cubicBezTo>
                    <a:pt x="121253" y="220599"/>
                    <a:pt x="107537" y="216122"/>
                    <a:pt x="93631" y="210884"/>
                  </a:cubicBezTo>
                  <a:cubicBezTo>
                    <a:pt x="79724" y="205740"/>
                    <a:pt x="67246" y="198977"/>
                    <a:pt x="56197" y="190786"/>
                  </a:cubicBezTo>
                  <a:cubicBezTo>
                    <a:pt x="45149" y="182594"/>
                    <a:pt x="36100" y="172307"/>
                    <a:pt x="28956" y="160115"/>
                  </a:cubicBezTo>
                  <a:cubicBezTo>
                    <a:pt x="21908"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5"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7" y="156210"/>
                    <a:pt x="180975" y="159448"/>
                  </a:cubicBezTo>
                  <a:cubicBezTo>
                    <a:pt x="194596" y="163639"/>
                    <a:pt x="208312" y="168592"/>
                    <a:pt x="222028" y="174212"/>
                  </a:cubicBezTo>
                  <a:cubicBezTo>
                    <a:pt x="235649" y="179832"/>
                    <a:pt x="248031" y="186785"/>
                    <a:pt x="259080" y="194977"/>
                  </a:cubicBezTo>
                  <a:cubicBezTo>
                    <a:pt x="270129" y="203168"/>
                    <a:pt x="279273" y="213169"/>
                    <a:pt x="286322" y="224980"/>
                  </a:cubicBezTo>
                  <a:cubicBezTo>
                    <a:pt x="293370" y="236696"/>
                    <a:pt x="296894" y="251079"/>
                    <a:pt x="296894" y="267938"/>
                  </a:cubicBezTo>
                  <a:lnTo>
                    <a:pt x="296894" y="269367"/>
                  </a:lnTo>
                  <a:cubicBezTo>
                    <a:pt x="296894" y="289084"/>
                    <a:pt x="293370" y="306229"/>
                    <a:pt x="286322" y="320897"/>
                  </a:cubicBezTo>
                  <a:cubicBezTo>
                    <a:pt x="279273" y="335470"/>
                    <a:pt x="269462" y="347567"/>
                    <a:pt x="256984" y="357188"/>
                  </a:cubicBezTo>
                  <a:cubicBezTo>
                    <a:pt x="244507" y="366808"/>
                    <a:pt x="229743" y="374142"/>
                    <a:pt x="212789"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1037" name="Freeform: Shape 25">
              <a:extLst>
                <a:ext uri="{FF2B5EF4-FFF2-40B4-BE49-F238E27FC236}">
                  <a16:creationId xmlns:a16="http://schemas.microsoft.com/office/drawing/2014/main" id="{12091C8F-7E02-933D-4AD4-534785E4D29A}"/>
                </a:ext>
              </a:extLst>
            </p:cNvPr>
            <p:cNvSpPr/>
            <p:nvPr/>
          </p:nvSpPr>
          <p:spPr>
            <a:xfrm>
              <a:off x="589573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6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160" y="318135"/>
                    <a:pt x="160401" y="318135"/>
                  </a:cubicBezTo>
                  <a:cubicBezTo>
                    <a:pt x="179641" y="318135"/>
                    <a:pt x="192976"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4"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792"/>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1038" name="Freeform: Shape 26">
              <a:extLst>
                <a:ext uri="{FF2B5EF4-FFF2-40B4-BE49-F238E27FC236}">
                  <a16:creationId xmlns:a16="http://schemas.microsoft.com/office/drawing/2014/main" id="{2EBF8D1C-15BB-6B17-D7B0-E22DADA214DD}"/>
                </a:ext>
              </a:extLst>
            </p:cNvPr>
            <p:cNvSpPr/>
            <p:nvPr/>
          </p:nvSpPr>
          <p:spPr>
            <a:xfrm>
              <a:off x="5985812" y="700558"/>
              <a:ext cx="85097" cy="97141"/>
            </a:xfrm>
            <a:custGeom>
              <a:avLst/>
              <a:gdLst>
                <a:gd name="connsiteX0" fmla="*/ 253651 w 338518"/>
                <a:gd name="connsiteY0" fmla="*/ 378619 h 386429"/>
                <a:gd name="connsiteX1" fmla="*/ 253651 w 338518"/>
                <a:gd name="connsiteY1" fmla="*/ 332708 h 386429"/>
                <a:gd name="connsiteX2" fmla="*/ 204883 w 338518"/>
                <a:gd name="connsiteY2" fmla="*/ 370904 h 386429"/>
                <a:gd name="connsiteX3" fmla="*/ 132779 w 338518"/>
                <a:gd name="connsiteY3" fmla="*/ 386429 h 386429"/>
                <a:gd name="connsiteX4" fmla="*/ 81915 w 338518"/>
                <a:gd name="connsiteY4" fmla="*/ 379000 h 386429"/>
                <a:gd name="connsiteX5" fmla="*/ 39910 w 338518"/>
                <a:gd name="connsiteY5" fmla="*/ 357092 h 386429"/>
                <a:gd name="connsiteX6" fmla="*/ 10954 w 338518"/>
                <a:gd name="connsiteY6" fmla="*/ 321088 h 386429"/>
                <a:gd name="connsiteX7" fmla="*/ 0 w 338518"/>
                <a:gd name="connsiteY7" fmla="*/ 271272 h 386429"/>
                <a:gd name="connsiteX8" fmla="*/ 0 w 338518"/>
                <a:gd name="connsiteY8" fmla="*/ 269843 h 386429"/>
                <a:gd name="connsiteX9" fmla="*/ 11335 w 338518"/>
                <a:gd name="connsiteY9" fmla="*/ 215741 h 386429"/>
                <a:gd name="connsiteX10" fmla="*/ 42767 w 338518"/>
                <a:gd name="connsiteY10" fmla="*/ 177546 h 386429"/>
                <a:gd name="connsiteX11" fmla="*/ 90773 w 338518"/>
                <a:gd name="connsiteY11" fmla="*/ 154972 h 386429"/>
                <a:gd name="connsiteX12" fmla="*/ 151162 w 338518"/>
                <a:gd name="connsiteY12" fmla="*/ 147542 h 386429"/>
                <a:gd name="connsiteX13" fmla="*/ 208788 w 338518"/>
                <a:gd name="connsiteY13" fmla="*/ 151829 h 386429"/>
                <a:gd name="connsiteX14" fmla="*/ 254413 w 338518"/>
                <a:gd name="connsiteY14" fmla="*/ 163163 h 386429"/>
                <a:gd name="connsiteX15" fmla="*/ 254413 w 338518"/>
                <a:gd name="connsiteY15" fmla="*/ 156115 h 386429"/>
                <a:gd name="connsiteX16" fmla="*/ 230696 w 338518"/>
                <a:gd name="connsiteY16" fmla="*/ 96774 h 386429"/>
                <a:gd name="connsiteX17" fmla="*/ 162496 w 338518"/>
                <a:gd name="connsiteY17" fmla="*/ 76295 h 386429"/>
                <a:gd name="connsiteX18" fmla="*/ 106013 w 338518"/>
                <a:gd name="connsiteY18" fmla="*/ 82677 h 386429"/>
                <a:gd name="connsiteX19" fmla="*/ 55816 w 338518"/>
                <a:gd name="connsiteY19" fmla="*/ 99632 h 386429"/>
                <a:gd name="connsiteX20" fmla="*/ 32480 w 338518"/>
                <a:gd name="connsiteY20" fmla="*/ 31052 h 386429"/>
                <a:gd name="connsiteX21" fmla="*/ 96107 w 338518"/>
                <a:gd name="connsiteY21" fmla="*/ 8477 h 386429"/>
                <a:gd name="connsiteX22" fmla="*/ 174593 w 338518"/>
                <a:gd name="connsiteY22" fmla="*/ 0 h 386429"/>
                <a:gd name="connsiteX23" fmla="*/ 298228 w 338518"/>
                <a:gd name="connsiteY23" fmla="*/ 41338 h 386429"/>
                <a:gd name="connsiteX24" fmla="*/ 338519 w 338518"/>
                <a:gd name="connsiteY24" fmla="*/ 157544 h 386429"/>
                <a:gd name="connsiteX25" fmla="*/ 338519 w 338518"/>
                <a:gd name="connsiteY25" fmla="*/ 378714 h 386429"/>
                <a:gd name="connsiteX26" fmla="*/ 253746 w 338518"/>
                <a:gd name="connsiteY26" fmla="*/ 378714 h 386429"/>
                <a:gd name="connsiteX27" fmla="*/ 255746 w 338518"/>
                <a:gd name="connsiteY27" fmla="*/ 222409 h 386429"/>
                <a:gd name="connsiteX28" fmla="*/ 217265 w 338518"/>
                <a:gd name="connsiteY28" fmla="*/ 211836 h 386429"/>
                <a:gd name="connsiteX29" fmla="*/ 170307 w 338518"/>
                <a:gd name="connsiteY29" fmla="*/ 207550 h 386429"/>
                <a:gd name="connsiteX30" fmla="*/ 107442 w 338518"/>
                <a:gd name="connsiteY30" fmla="*/ 223075 h 386429"/>
                <a:gd name="connsiteX31" fmla="*/ 84868 w 338518"/>
                <a:gd name="connsiteY31" fmla="*/ 265462 h 386429"/>
                <a:gd name="connsiteX32" fmla="*/ 84868 w 338518"/>
                <a:gd name="connsiteY32" fmla="*/ 266891 h 386429"/>
                <a:gd name="connsiteX33" fmla="*/ 105728 w 338518"/>
                <a:gd name="connsiteY33" fmla="*/ 307848 h 386429"/>
                <a:gd name="connsiteX34" fmla="*/ 156972 w 338518"/>
                <a:gd name="connsiteY34" fmla="*/ 321945 h 386429"/>
                <a:gd name="connsiteX35" fmla="*/ 196215 w 338518"/>
                <a:gd name="connsiteY35" fmla="*/ 316325 h 386429"/>
                <a:gd name="connsiteX36" fmla="*/ 227647 w 338518"/>
                <a:gd name="connsiteY36" fmla="*/ 300419 h 386429"/>
                <a:gd name="connsiteX37" fmla="*/ 248507 w 338518"/>
                <a:gd name="connsiteY37" fmla="*/ 275654 h 386429"/>
                <a:gd name="connsiteX38" fmla="*/ 255937 w 338518"/>
                <a:gd name="connsiteY38" fmla="*/ 243459 h 386429"/>
                <a:gd name="connsiteX39" fmla="*/ 255937 w 338518"/>
                <a:gd name="connsiteY39" fmla="*/ 222218 h 3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8518" h="386429">
                  <a:moveTo>
                    <a:pt x="253651" y="378619"/>
                  </a:moveTo>
                  <a:lnTo>
                    <a:pt x="253651" y="332708"/>
                  </a:lnTo>
                  <a:cubicBezTo>
                    <a:pt x="240887" y="347758"/>
                    <a:pt x="224695" y="360521"/>
                    <a:pt x="204883" y="370904"/>
                  </a:cubicBezTo>
                  <a:cubicBezTo>
                    <a:pt x="185071" y="381286"/>
                    <a:pt x="161068" y="386429"/>
                    <a:pt x="132779" y="386429"/>
                  </a:cubicBezTo>
                  <a:cubicBezTo>
                    <a:pt x="114871" y="386429"/>
                    <a:pt x="97917" y="383953"/>
                    <a:pt x="81915" y="379000"/>
                  </a:cubicBezTo>
                  <a:cubicBezTo>
                    <a:pt x="65913" y="374047"/>
                    <a:pt x="51911" y="366713"/>
                    <a:pt x="39910" y="357092"/>
                  </a:cubicBezTo>
                  <a:cubicBezTo>
                    <a:pt x="27908" y="347472"/>
                    <a:pt x="18193" y="335471"/>
                    <a:pt x="10954" y="321088"/>
                  </a:cubicBezTo>
                  <a:cubicBezTo>
                    <a:pt x="3620" y="306705"/>
                    <a:pt x="0" y="290132"/>
                    <a:pt x="0" y="271272"/>
                  </a:cubicBezTo>
                  <a:lnTo>
                    <a:pt x="0" y="269843"/>
                  </a:lnTo>
                  <a:cubicBezTo>
                    <a:pt x="0" y="249079"/>
                    <a:pt x="3810" y="231077"/>
                    <a:pt x="11335" y="215741"/>
                  </a:cubicBezTo>
                  <a:cubicBezTo>
                    <a:pt x="18859" y="200406"/>
                    <a:pt x="29337" y="187738"/>
                    <a:pt x="42767" y="177546"/>
                  </a:cubicBezTo>
                  <a:cubicBezTo>
                    <a:pt x="56197" y="167450"/>
                    <a:pt x="72199" y="159925"/>
                    <a:pt x="90773" y="154972"/>
                  </a:cubicBezTo>
                  <a:cubicBezTo>
                    <a:pt x="109347" y="150019"/>
                    <a:pt x="129540" y="147542"/>
                    <a:pt x="151162" y="147542"/>
                  </a:cubicBezTo>
                  <a:cubicBezTo>
                    <a:pt x="172783" y="147542"/>
                    <a:pt x="192976" y="148971"/>
                    <a:pt x="208788" y="151829"/>
                  </a:cubicBezTo>
                  <a:cubicBezTo>
                    <a:pt x="224599" y="154686"/>
                    <a:pt x="239744" y="158401"/>
                    <a:pt x="254413" y="163163"/>
                  </a:cubicBezTo>
                  <a:lnTo>
                    <a:pt x="254413" y="156115"/>
                  </a:lnTo>
                  <a:cubicBezTo>
                    <a:pt x="254413" y="130207"/>
                    <a:pt x="246507" y="110395"/>
                    <a:pt x="230696" y="96774"/>
                  </a:cubicBezTo>
                  <a:cubicBezTo>
                    <a:pt x="214884" y="83153"/>
                    <a:pt x="192214" y="76295"/>
                    <a:pt x="162496" y="76295"/>
                  </a:cubicBezTo>
                  <a:cubicBezTo>
                    <a:pt x="141351" y="76295"/>
                    <a:pt x="122491" y="78391"/>
                    <a:pt x="106013" y="82677"/>
                  </a:cubicBezTo>
                  <a:cubicBezTo>
                    <a:pt x="89535" y="86963"/>
                    <a:pt x="72771" y="92583"/>
                    <a:pt x="55816" y="99632"/>
                  </a:cubicBezTo>
                  <a:lnTo>
                    <a:pt x="32480" y="31052"/>
                  </a:lnTo>
                  <a:cubicBezTo>
                    <a:pt x="53149" y="21622"/>
                    <a:pt x="74390" y="14097"/>
                    <a:pt x="96107" y="8477"/>
                  </a:cubicBezTo>
                  <a:cubicBezTo>
                    <a:pt x="117729" y="2858"/>
                    <a:pt x="143923" y="0"/>
                    <a:pt x="174593" y="0"/>
                  </a:cubicBezTo>
                  <a:cubicBezTo>
                    <a:pt x="230124" y="0"/>
                    <a:pt x="271367" y="13811"/>
                    <a:pt x="298228" y="41338"/>
                  </a:cubicBezTo>
                  <a:cubicBezTo>
                    <a:pt x="325088" y="68866"/>
                    <a:pt x="338519" y="107633"/>
                    <a:pt x="338519" y="157544"/>
                  </a:cubicBezTo>
                  <a:lnTo>
                    <a:pt x="338519" y="378714"/>
                  </a:lnTo>
                  <a:lnTo>
                    <a:pt x="253746" y="378714"/>
                  </a:lnTo>
                  <a:close/>
                  <a:moveTo>
                    <a:pt x="255746" y="222409"/>
                  </a:moveTo>
                  <a:cubicBezTo>
                    <a:pt x="244888" y="218123"/>
                    <a:pt x="232029" y="214598"/>
                    <a:pt x="217265" y="211836"/>
                  </a:cubicBezTo>
                  <a:cubicBezTo>
                    <a:pt x="202406" y="208979"/>
                    <a:pt x="186785" y="207550"/>
                    <a:pt x="170307" y="207550"/>
                  </a:cubicBezTo>
                  <a:cubicBezTo>
                    <a:pt x="143446" y="207550"/>
                    <a:pt x="122491" y="212693"/>
                    <a:pt x="107442" y="223075"/>
                  </a:cubicBezTo>
                  <a:cubicBezTo>
                    <a:pt x="92392" y="233458"/>
                    <a:pt x="84868" y="247555"/>
                    <a:pt x="84868" y="265462"/>
                  </a:cubicBezTo>
                  <a:lnTo>
                    <a:pt x="84868" y="266891"/>
                  </a:lnTo>
                  <a:cubicBezTo>
                    <a:pt x="84868" y="284798"/>
                    <a:pt x="91821" y="298418"/>
                    <a:pt x="105728" y="307848"/>
                  </a:cubicBezTo>
                  <a:cubicBezTo>
                    <a:pt x="119634" y="317278"/>
                    <a:pt x="136684" y="321945"/>
                    <a:pt x="156972" y="321945"/>
                  </a:cubicBezTo>
                  <a:cubicBezTo>
                    <a:pt x="171069" y="321945"/>
                    <a:pt x="184213" y="320040"/>
                    <a:pt x="196215" y="316325"/>
                  </a:cubicBezTo>
                  <a:cubicBezTo>
                    <a:pt x="208216" y="312515"/>
                    <a:pt x="218694" y="307277"/>
                    <a:pt x="227647" y="300419"/>
                  </a:cubicBezTo>
                  <a:cubicBezTo>
                    <a:pt x="236601" y="293561"/>
                    <a:pt x="243554" y="285369"/>
                    <a:pt x="248507" y="275654"/>
                  </a:cubicBezTo>
                  <a:cubicBezTo>
                    <a:pt x="253460" y="266033"/>
                    <a:pt x="255937" y="255270"/>
                    <a:pt x="255937" y="243459"/>
                  </a:cubicBezTo>
                  <a:lnTo>
                    <a:pt x="255937" y="222218"/>
                  </a:lnTo>
                  <a:close/>
                </a:path>
              </a:pathLst>
            </a:custGeom>
            <a:solidFill>
              <a:srgbClr val="44505E"/>
            </a:solidFill>
            <a:ln w="9525" cap="flat">
              <a:noFill/>
              <a:prstDash val="solid"/>
              <a:miter/>
            </a:ln>
          </p:spPr>
          <p:txBody>
            <a:bodyPr rtlCol="0" anchor="ctr"/>
            <a:lstStyle/>
            <a:p>
              <a:endParaRPr lang="pt-BR" noProof="0"/>
            </a:p>
          </p:txBody>
        </p:sp>
        <p:sp>
          <p:nvSpPr>
            <p:cNvPr id="1039" name="Freeform: Shape 27">
              <a:extLst>
                <a:ext uri="{FF2B5EF4-FFF2-40B4-BE49-F238E27FC236}">
                  <a16:creationId xmlns:a16="http://schemas.microsoft.com/office/drawing/2014/main" id="{22960EAE-B499-9A1F-59FC-A7A2BBCB3889}"/>
                </a:ext>
              </a:extLst>
            </p:cNvPr>
            <p:cNvSpPr/>
            <p:nvPr/>
          </p:nvSpPr>
          <p:spPr>
            <a:xfrm>
              <a:off x="6088843" y="700318"/>
              <a:ext cx="74610" cy="97213"/>
            </a:xfrm>
            <a:custGeom>
              <a:avLst/>
              <a:gdLst>
                <a:gd name="connsiteX0" fmla="*/ 158305 w 296799"/>
                <a:gd name="connsiteY0" fmla="*/ 386715 h 386714"/>
                <a:gd name="connsiteX1" fmla="*/ 76676 w 296799"/>
                <a:gd name="connsiteY1" fmla="*/ 372427 h 386714"/>
                <a:gd name="connsiteX2" fmla="*/ 0 w 296799"/>
                <a:gd name="connsiteY2" fmla="*/ 330327 h 386714"/>
                <a:gd name="connsiteX3" fmla="*/ 38195 w 296799"/>
                <a:gd name="connsiteY3" fmla="*/ 272224 h 386714"/>
                <a:gd name="connsiteX4" fmla="*/ 100013 w 296799"/>
                <a:gd name="connsiteY4" fmla="*/ 306514 h 386714"/>
                <a:gd name="connsiteX5" fmla="*/ 160401 w 296799"/>
                <a:gd name="connsiteY5" fmla="*/ 318135 h 386714"/>
                <a:gd name="connsiteX6" fmla="*/ 203168 w 296799"/>
                <a:gd name="connsiteY6" fmla="*/ 307181 h 386714"/>
                <a:gd name="connsiteX7" fmla="*/ 218408 w 296799"/>
                <a:gd name="connsiteY7" fmla="*/ 277939 h 386714"/>
                <a:gd name="connsiteX8" fmla="*/ 218408 w 296799"/>
                <a:gd name="connsiteY8" fmla="*/ 276511 h 386714"/>
                <a:gd name="connsiteX9" fmla="*/ 211646 w 296799"/>
                <a:gd name="connsiteY9" fmla="*/ 258223 h 386714"/>
                <a:gd name="connsiteX10" fmla="*/ 193262 w 296799"/>
                <a:gd name="connsiteY10" fmla="*/ 244792 h 386714"/>
                <a:gd name="connsiteX11" fmla="*/ 166402 w 296799"/>
                <a:gd name="connsiteY11" fmla="*/ 234220 h 386714"/>
                <a:gd name="connsiteX12" fmla="*/ 134969 w 296799"/>
                <a:gd name="connsiteY12" fmla="*/ 224314 h 386714"/>
                <a:gd name="connsiteX13" fmla="*/ 93631 w 296799"/>
                <a:gd name="connsiteY13" fmla="*/ 210884 h 386714"/>
                <a:gd name="connsiteX14" fmla="*/ 56197 w 296799"/>
                <a:gd name="connsiteY14" fmla="*/ 190786 h 386714"/>
                <a:gd name="connsiteX15" fmla="*/ 28956 w 296799"/>
                <a:gd name="connsiteY15" fmla="*/ 160115 h 386714"/>
                <a:gd name="connsiteX16" fmla="*/ 18383 w 296799"/>
                <a:gd name="connsiteY16" fmla="*/ 114967 h 386714"/>
                <a:gd name="connsiteX17" fmla="*/ 18383 w 296799"/>
                <a:gd name="connsiteY17" fmla="*/ 113538 h 386714"/>
                <a:gd name="connsiteX18" fmla="*/ 28575 w 296799"/>
                <a:gd name="connsiteY18" fmla="*/ 66294 h 386714"/>
                <a:gd name="connsiteX19" fmla="*/ 56864 w 296799"/>
                <a:gd name="connsiteY19" fmla="*/ 30385 h 386714"/>
                <a:gd name="connsiteX20" fmla="*/ 99250 w 296799"/>
                <a:gd name="connsiteY20" fmla="*/ 7810 h 386714"/>
                <a:gd name="connsiteX21" fmla="*/ 151162 w 296799"/>
                <a:gd name="connsiteY21" fmla="*/ 0 h 386714"/>
                <a:gd name="connsiteX22" fmla="*/ 222504 w 296799"/>
                <a:gd name="connsiteY22" fmla="*/ 11430 h 386714"/>
                <a:gd name="connsiteX23" fmla="*/ 288227 w 296799"/>
                <a:gd name="connsiteY23" fmla="*/ 42863 h 386714"/>
                <a:gd name="connsiteX24" fmla="*/ 254317 w 296799"/>
                <a:gd name="connsiteY24" fmla="*/ 103918 h 386714"/>
                <a:gd name="connsiteX25" fmla="*/ 199930 w 296799"/>
                <a:gd name="connsiteY25" fmla="*/ 78105 h 386714"/>
                <a:gd name="connsiteX26" fmla="*/ 149066 w 296799"/>
                <a:gd name="connsiteY26" fmla="*/ 68580 h 386714"/>
                <a:gd name="connsiteX27" fmla="*/ 110585 w 296799"/>
                <a:gd name="connsiteY27" fmla="*/ 79153 h 386714"/>
                <a:gd name="connsiteX28" fmla="*/ 96774 w 296799"/>
                <a:gd name="connsiteY28" fmla="*/ 105918 h 386714"/>
                <a:gd name="connsiteX29" fmla="*/ 96774 w 296799"/>
                <a:gd name="connsiteY29" fmla="*/ 107347 h 386714"/>
                <a:gd name="connsiteX30" fmla="*/ 103822 w 296799"/>
                <a:gd name="connsiteY30" fmla="*/ 124587 h 386714"/>
                <a:gd name="connsiteX31" fmla="*/ 122587 w 296799"/>
                <a:gd name="connsiteY31" fmla="*/ 138017 h 386714"/>
                <a:gd name="connsiteX32" fmla="*/ 149447 w 296799"/>
                <a:gd name="connsiteY32" fmla="*/ 149257 h 386714"/>
                <a:gd name="connsiteX33" fmla="*/ 180880 w 296799"/>
                <a:gd name="connsiteY33" fmla="*/ 159448 h 386714"/>
                <a:gd name="connsiteX34" fmla="*/ 221837 w 296799"/>
                <a:gd name="connsiteY34" fmla="*/ 174212 h 386714"/>
                <a:gd name="connsiteX35" fmla="*/ 258985 w 296799"/>
                <a:gd name="connsiteY35" fmla="*/ 194977 h 386714"/>
                <a:gd name="connsiteX36" fmla="*/ 286226 w 296799"/>
                <a:gd name="connsiteY36" fmla="*/ 224980 h 386714"/>
                <a:gd name="connsiteX37" fmla="*/ 296799 w 296799"/>
                <a:gd name="connsiteY37" fmla="*/ 267938 h 386714"/>
                <a:gd name="connsiteX38" fmla="*/ 296799 w 296799"/>
                <a:gd name="connsiteY38" fmla="*/ 269367 h 386714"/>
                <a:gd name="connsiteX39" fmla="*/ 286226 w 296799"/>
                <a:gd name="connsiteY39" fmla="*/ 320897 h 386714"/>
                <a:gd name="connsiteX40" fmla="*/ 256889 w 296799"/>
                <a:gd name="connsiteY40" fmla="*/ 357188 h 386714"/>
                <a:gd name="connsiteX41" fmla="*/ 212693 w 296799"/>
                <a:gd name="connsiteY41" fmla="*/ 379095 h 386714"/>
                <a:gd name="connsiteX42" fmla="*/ 158305 w 296799"/>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799"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065" y="318135"/>
                    <a:pt x="160401" y="318135"/>
                  </a:cubicBezTo>
                  <a:cubicBezTo>
                    <a:pt x="179737" y="318135"/>
                    <a:pt x="193072"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828" y="227647"/>
                    <a:pt x="134969" y="224314"/>
                  </a:cubicBezTo>
                  <a:cubicBezTo>
                    <a:pt x="121348" y="220599"/>
                    <a:pt x="107537" y="216122"/>
                    <a:pt x="93631" y="210884"/>
                  </a:cubicBezTo>
                  <a:cubicBezTo>
                    <a:pt x="79724" y="205740"/>
                    <a:pt x="67246" y="198977"/>
                    <a:pt x="56197" y="190786"/>
                  </a:cubicBezTo>
                  <a:cubicBezTo>
                    <a:pt x="45148" y="182594"/>
                    <a:pt x="36004"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874" y="0"/>
                    <a:pt x="151162" y="0"/>
                  </a:cubicBezTo>
                  <a:cubicBezTo>
                    <a:pt x="174688" y="0"/>
                    <a:pt x="198501" y="3810"/>
                    <a:pt x="222504" y="11430"/>
                  </a:cubicBezTo>
                  <a:cubicBezTo>
                    <a:pt x="246507" y="19050"/>
                    <a:pt x="268414" y="29527"/>
                    <a:pt x="288227" y="42863"/>
                  </a:cubicBezTo>
                  <a:lnTo>
                    <a:pt x="254317"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774" y="95155"/>
                    <a:pt x="96774" y="105918"/>
                  </a:cubicBezTo>
                  <a:lnTo>
                    <a:pt x="96774" y="107347"/>
                  </a:lnTo>
                  <a:cubicBezTo>
                    <a:pt x="96774" y="113919"/>
                    <a:pt x="99155" y="119634"/>
                    <a:pt x="103822" y="124587"/>
                  </a:cubicBezTo>
                  <a:cubicBezTo>
                    <a:pt x="108490" y="129540"/>
                    <a:pt x="114776" y="134017"/>
                    <a:pt x="122587" y="138017"/>
                  </a:cubicBezTo>
                  <a:cubicBezTo>
                    <a:pt x="130397" y="142018"/>
                    <a:pt x="139351" y="145732"/>
                    <a:pt x="149447" y="149257"/>
                  </a:cubicBezTo>
                  <a:cubicBezTo>
                    <a:pt x="159544" y="152781"/>
                    <a:pt x="170021" y="156210"/>
                    <a:pt x="180880" y="159448"/>
                  </a:cubicBezTo>
                  <a:cubicBezTo>
                    <a:pt x="194500" y="163639"/>
                    <a:pt x="208216" y="168592"/>
                    <a:pt x="221837" y="174212"/>
                  </a:cubicBezTo>
                  <a:cubicBezTo>
                    <a:pt x="235458" y="179832"/>
                    <a:pt x="247840" y="186785"/>
                    <a:pt x="258985" y="194977"/>
                  </a:cubicBezTo>
                  <a:cubicBezTo>
                    <a:pt x="270034" y="203168"/>
                    <a:pt x="279178" y="213169"/>
                    <a:pt x="286226" y="224980"/>
                  </a:cubicBezTo>
                  <a:cubicBezTo>
                    <a:pt x="293275" y="236696"/>
                    <a:pt x="296799" y="251079"/>
                    <a:pt x="296799" y="267938"/>
                  </a:cubicBezTo>
                  <a:lnTo>
                    <a:pt x="296799" y="269367"/>
                  </a:lnTo>
                  <a:cubicBezTo>
                    <a:pt x="296799" y="289084"/>
                    <a:pt x="293275" y="306229"/>
                    <a:pt x="286226" y="320897"/>
                  </a:cubicBezTo>
                  <a:cubicBezTo>
                    <a:pt x="279178" y="335470"/>
                    <a:pt x="269367" y="347567"/>
                    <a:pt x="256889" y="357188"/>
                  </a:cubicBezTo>
                  <a:cubicBezTo>
                    <a:pt x="244412" y="366808"/>
                    <a:pt x="229648" y="374142"/>
                    <a:pt x="212693" y="379095"/>
                  </a:cubicBezTo>
                  <a:cubicBezTo>
                    <a:pt x="195739" y="384048"/>
                    <a:pt x="177641" y="386524"/>
                    <a:pt x="158305" y="386524"/>
                  </a:cubicBezTo>
                  <a:close/>
                </a:path>
              </a:pathLst>
            </a:custGeom>
            <a:solidFill>
              <a:srgbClr val="44505E"/>
            </a:solidFill>
            <a:ln w="9525" cap="flat">
              <a:noFill/>
              <a:prstDash val="solid"/>
              <a:miter/>
            </a:ln>
          </p:spPr>
          <p:txBody>
            <a:bodyPr rtlCol="0" anchor="ctr"/>
            <a:lstStyle/>
            <a:p>
              <a:endParaRPr lang="pt-BR" noProof="0"/>
            </a:p>
          </p:txBody>
        </p:sp>
        <p:sp>
          <p:nvSpPr>
            <p:cNvPr id="1040" name="Freeform: Shape 28">
              <a:extLst>
                <a:ext uri="{FF2B5EF4-FFF2-40B4-BE49-F238E27FC236}">
                  <a16:creationId xmlns:a16="http://schemas.microsoft.com/office/drawing/2014/main" id="{3FC3C9A3-4EF6-B53B-5040-072411642124}"/>
                </a:ext>
              </a:extLst>
            </p:cNvPr>
            <p:cNvSpPr/>
            <p:nvPr/>
          </p:nvSpPr>
          <p:spPr>
            <a:xfrm>
              <a:off x="6238590"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4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7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2 w 568166"/>
                <a:gd name="connsiteY21" fmla="*/ 381000 h 381000"/>
                <a:gd name="connsiteX22" fmla="*/ 240982 w 568166"/>
                <a:gd name="connsiteY22" fmla="*/ 168783 h 381000"/>
                <a:gd name="connsiteX23" fmla="*/ 221266 w 568166"/>
                <a:gd name="connsiteY23" fmla="*/ 101822 h 381000"/>
                <a:gd name="connsiteX24" fmla="*/ 165640 w 568166"/>
                <a:gd name="connsiteY24" fmla="*/ 78581 h 381000"/>
                <a:gd name="connsiteX25" fmla="*/ 108013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69" y="48196"/>
                    <a:pt x="105918" y="40576"/>
                  </a:cubicBezTo>
                  <a:cubicBezTo>
                    <a:pt x="112966" y="32956"/>
                    <a:pt x="121063" y="26099"/>
                    <a:pt x="130207" y="19907"/>
                  </a:cubicBezTo>
                  <a:cubicBezTo>
                    <a:pt x="139351" y="13716"/>
                    <a:pt x="149638" y="8858"/>
                    <a:pt x="161163" y="5334"/>
                  </a:cubicBezTo>
                  <a:cubicBezTo>
                    <a:pt x="172688" y="1714"/>
                    <a:pt x="185452" y="0"/>
                    <a:pt x="199549" y="0"/>
                  </a:cubicBezTo>
                  <a:cubicBezTo>
                    <a:pt x="226314" y="0"/>
                    <a:pt x="248983" y="6096"/>
                    <a:pt x="267557" y="18193"/>
                  </a:cubicBezTo>
                  <a:cubicBezTo>
                    <a:pt x="286131" y="30289"/>
                    <a:pt x="300323" y="46387"/>
                    <a:pt x="310134" y="66294"/>
                  </a:cubicBezTo>
                  <a:cubicBezTo>
                    <a:pt x="325279" y="46387"/>
                    <a:pt x="343090" y="30289"/>
                    <a:pt x="363664" y="18193"/>
                  </a:cubicBezTo>
                  <a:cubicBezTo>
                    <a:pt x="384238" y="6096"/>
                    <a:pt x="408718" y="0"/>
                    <a:pt x="437007" y="0"/>
                  </a:cubicBezTo>
                  <a:cubicBezTo>
                    <a:pt x="478155"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7" y="78486"/>
                  </a:cubicBezTo>
                  <a:cubicBezTo>
                    <a:pt x="382809" y="78486"/>
                    <a:pt x="364141" y="86392"/>
                    <a:pt x="349377" y="102108"/>
                  </a:cubicBezTo>
                  <a:cubicBezTo>
                    <a:pt x="334613" y="117824"/>
                    <a:pt x="327184" y="140779"/>
                    <a:pt x="327184" y="170879"/>
                  </a:cubicBezTo>
                  <a:lnTo>
                    <a:pt x="327184" y="381000"/>
                  </a:lnTo>
                  <a:lnTo>
                    <a:pt x="240982" y="381000"/>
                  </a:lnTo>
                  <a:lnTo>
                    <a:pt x="240982" y="168783"/>
                  </a:lnTo>
                  <a:cubicBezTo>
                    <a:pt x="240982" y="139637"/>
                    <a:pt x="234410" y="117348"/>
                    <a:pt x="221266" y="101822"/>
                  </a:cubicBezTo>
                  <a:cubicBezTo>
                    <a:pt x="208121" y="86296"/>
                    <a:pt x="189547" y="78581"/>
                    <a:pt x="165640" y="78581"/>
                  </a:cubicBezTo>
                  <a:cubicBezTo>
                    <a:pt x="141732" y="78581"/>
                    <a:pt x="122491" y="86773"/>
                    <a:pt x="108013"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1041" name="Freeform: Shape 29">
              <a:extLst>
                <a:ext uri="{FF2B5EF4-FFF2-40B4-BE49-F238E27FC236}">
                  <a16:creationId xmlns:a16="http://schemas.microsoft.com/office/drawing/2014/main" id="{ADEC0F17-3682-86FB-E8F8-C4EC84E4A3E6}"/>
                </a:ext>
              </a:extLst>
            </p:cNvPr>
            <p:cNvSpPr/>
            <p:nvPr/>
          </p:nvSpPr>
          <p:spPr>
            <a:xfrm>
              <a:off x="6400979" y="664258"/>
              <a:ext cx="85097" cy="133441"/>
            </a:xfrm>
            <a:custGeom>
              <a:avLst/>
              <a:gdLst>
                <a:gd name="connsiteX0" fmla="*/ 253651 w 338518"/>
                <a:gd name="connsiteY0" fmla="*/ 523018 h 530828"/>
                <a:gd name="connsiteX1" fmla="*/ 253651 w 338518"/>
                <a:gd name="connsiteY1" fmla="*/ 477107 h 530828"/>
                <a:gd name="connsiteX2" fmla="*/ 204883 w 338518"/>
                <a:gd name="connsiteY2" fmla="*/ 515303 h 530828"/>
                <a:gd name="connsiteX3" fmla="*/ 132779 w 338518"/>
                <a:gd name="connsiteY3" fmla="*/ 530828 h 530828"/>
                <a:gd name="connsiteX4" fmla="*/ 81915 w 338518"/>
                <a:gd name="connsiteY4" fmla="*/ 523399 h 530828"/>
                <a:gd name="connsiteX5" fmla="*/ 39910 w 338518"/>
                <a:gd name="connsiteY5" fmla="*/ 501491 h 530828"/>
                <a:gd name="connsiteX6" fmla="*/ 10954 w 338518"/>
                <a:gd name="connsiteY6" fmla="*/ 465487 h 530828"/>
                <a:gd name="connsiteX7" fmla="*/ 0 w 338518"/>
                <a:gd name="connsiteY7" fmla="*/ 415671 h 530828"/>
                <a:gd name="connsiteX8" fmla="*/ 0 w 338518"/>
                <a:gd name="connsiteY8" fmla="*/ 414242 h 530828"/>
                <a:gd name="connsiteX9" fmla="*/ 11335 w 338518"/>
                <a:gd name="connsiteY9" fmla="*/ 360140 h 530828"/>
                <a:gd name="connsiteX10" fmla="*/ 42767 w 338518"/>
                <a:gd name="connsiteY10" fmla="*/ 321945 h 530828"/>
                <a:gd name="connsiteX11" fmla="*/ 90773 w 338518"/>
                <a:gd name="connsiteY11" fmla="*/ 299371 h 530828"/>
                <a:gd name="connsiteX12" fmla="*/ 151162 w 338518"/>
                <a:gd name="connsiteY12" fmla="*/ 291941 h 530828"/>
                <a:gd name="connsiteX13" fmla="*/ 208788 w 338518"/>
                <a:gd name="connsiteY13" fmla="*/ 296228 h 530828"/>
                <a:gd name="connsiteX14" fmla="*/ 254413 w 338518"/>
                <a:gd name="connsiteY14" fmla="*/ 307562 h 530828"/>
                <a:gd name="connsiteX15" fmla="*/ 254413 w 338518"/>
                <a:gd name="connsiteY15" fmla="*/ 300514 h 530828"/>
                <a:gd name="connsiteX16" fmla="*/ 230696 w 338518"/>
                <a:gd name="connsiteY16" fmla="*/ 241173 h 530828"/>
                <a:gd name="connsiteX17" fmla="*/ 162496 w 338518"/>
                <a:gd name="connsiteY17" fmla="*/ 220694 h 530828"/>
                <a:gd name="connsiteX18" fmla="*/ 106013 w 338518"/>
                <a:gd name="connsiteY18" fmla="*/ 227076 h 530828"/>
                <a:gd name="connsiteX19" fmla="*/ 55817 w 338518"/>
                <a:gd name="connsiteY19" fmla="*/ 244031 h 530828"/>
                <a:gd name="connsiteX20" fmla="*/ 32480 w 338518"/>
                <a:gd name="connsiteY20" fmla="*/ 175451 h 530828"/>
                <a:gd name="connsiteX21" fmla="*/ 96107 w 338518"/>
                <a:gd name="connsiteY21" fmla="*/ 152876 h 530828"/>
                <a:gd name="connsiteX22" fmla="*/ 174593 w 338518"/>
                <a:gd name="connsiteY22" fmla="*/ 144399 h 530828"/>
                <a:gd name="connsiteX23" fmla="*/ 298228 w 338518"/>
                <a:gd name="connsiteY23" fmla="*/ 185738 h 530828"/>
                <a:gd name="connsiteX24" fmla="*/ 338519 w 338518"/>
                <a:gd name="connsiteY24" fmla="*/ 301943 h 530828"/>
                <a:gd name="connsiteX25" fmla="*/ 338519 w 338518"/>
                <a:gd name="connsiteY25" fmla="*/ 523113 h 530828"/>
                <a:gd name="connsiteX26" fmla="*/ 253746 w 338518"/>
                <a:gd name="connsiteY26" fmla="*/ 523113 h 530828"/>
                <a:gd name="connsiteX27" fmla="*/ 45911 w 338518"/>
                <a:gd name="connsiteY27" fmla="*/ 95441 h 530828"/>
                <a:gd name="connsiteX28" fmla="*/ 75248 w 338518"/>
                <a:gd name="connsiteY28" fmla="*/ 29718 h 530828"/>
                <a:gd name="connsiteX29" fmla="*/ 125063 w 338518"/>
                <a:gd name="connsiteY29" fmla="*/ 7144 h 530828"/>
                <a:gd name="connsiteX30" fmla="*/ 154019 w 338518"/>
                <a:gd name="connsiteY30" fmla="*/ 11716 h 530828"/>
                <a:gd name="connsiteX31" fmla="*/ 181261 w 338518"/>
                <a:gd name="connsiteY31" fmla="*/ 21622 h 530828"/>
                <a:gd name="connsiteX32" fmla="*/ 205645 w 338518"/>
                <a:gd name="connsiteY32" fmla="*/ 31147 h 530828"/>
                <a:gd name="connsiteX33" fmla="*/ 226790 w 338518"/>
                <a:gd name="connsiteY33" fmla="*/ 35338 h 530828"/>
                <a:gd name="connsiteX34" fmla="*/ 250127 w 338518"/>
                <a:gd name="connsiteY34" fmla="*/ 26861 h 530828"/>
                <a:gd name="connsiteX35" fmla="*/ 265652 w 338518"/>
                <a:gd name="connsiteY35" fmla="*/ 0 h 530828"/>
                <a:gd name="connsiteX36" fmla="*/ 312991 w 338518"/>
                <a:gd name="connsiteY36" fmla="*/ 14859 h 530828"/>
                <a:gd name="connsiteX37" fmla="*/ 283655 w 338518"/>
                <a:gd name="connsiteY37" fmla="*/ 79820 h 530828"/>
                <a:gd name="connsiteX38" fmla="*/ 233839 w 338518"/>
                <a:gd name="connsiteY38" fmla="*/ 102394 h 530828"/>
                <a:gd name="connsiteX39" fmla="*/ 204883 w 338518"/>
                <a:gd name="connsiteY39" fmla="*/ 98203 h 530828"/>
                <a:gd name="connsiteX40" fmla="*/ 177641 w 338518"/>
                <a:gd name="connsiteY40" fmla="*/ 88678 h 530828"/>
                <a:gd name="connsiteX41" fmla="*/ 152876 w 338518"/>
                <a:gd name="connsiteY41" fmla="*/ 78772 h 530828"/>
                <a:gd name="connsiteX42" fmla="*/ 132017 w 338518"/>
                <a:gd name="connsiteY42" fmla="*/ 74200 h 530828"/>
                <a:gd name="connsiteX43" fmla="*/ 108680 w 338518"/>
                <a:gd name="connsiteY43" fmla="*/ 82677 h 530828"/>
                <a:gd name="connsiteX44" fmla="*/ 93154 w 338518"/>
                <a:gd name="connsiteY44" fmla="*/ 109538 h 530828"/>
                <a:gd name="connsiteX45" fmla="*/ 45815 w 338518"/>
                <a:gd name="connsiteY45" fmla="*/ 95441 h 530828"/>
                <a:gd name="connsiteX46" fmla="*/ 255842 w 338518"/>
                <a:gd name="connsiteY46" fmla="*/ 366808 h 530828"/>
                <a:gd name="connsiteX47" fmla="*/ 217361 w 338518"/>
                <a:gd name="connsiteY47" fmla="*/ 356235 h 530828"/>
                <a:gd name="connsiteX48" fmla="*/ 170402 w 338518"/>
                <a:gd name="connsiteY48" fmla="*/ 351949 h 530828"/>
                <a:gd name="connsiteX49" fmla="*/ 107537 w 338518"/>
                <a:gd name="connsiteY49" fmla="*/ 367475 h 530828"/>
                <a:gd name="connsiteX50" fmla="*/ 84963 w 338518"/>
                <a:gd name="connsiteY50" fmla="*/ 409861 h 530828"/>
                <a:gd name="connsiteX51" fmla="*/ 84963 w 338518"/>
                <a:gd name="connsiteY51" fmla="*/ 411290 h 530828"/>
                <a:gd name="connsiteX52" fmla="*/ 105823 w 338518"/>
                <a:gd name="connsiteY52" fmla="*/ 452247 h 530828"/>
                <a:gd name="connsiteX53" fmla="*/ 157067 w 338518"/>
                <a:gd name="connsiteY53" fmla="*/ 466344 h 530828"/>
                <a:gd name="connsiteX54" fmla="*/ 196310 w 338518"/>
                <a:gd name="connsiteY54" fmla="*/ 460724 h 530828"/>
                <a:gd name="connsiteX55" fmla="*/ 227743 w 338518"/>
                <a:gd name="connsiteY55" fmla="*/ 444818 h 530828"/>
                <a:gd name="connsiteX56" fmla="*/ 248603 w 338518"/>
                <a:gd name="connsiteY56" fmla="*/ 420053 h 530828"/>
                <a:gd name="connsiteX57" fmla="*/ 256032 w 338518"/>
                <a:gd name="connsiteY57" fmla="*/ 387858 h 530828"/>
                <a:gd name="connsiteX58" fmla="*/ 256032 w 338518"/>
                <a:gd name="connsiteY58" fmla="*/ 366617 h 5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8518" h="530828">
                  <a:moveTo>
                    <a:pt x="253651" y="523018"/>
                  </a:moveTo>
                  <a:lnTo>
                    <a:pt x="253651" y="477107"/>
                  </a:lnTo>
                  <a:cubicBezTo>
                    <a:pt x="240887" y="492157"/>
                    <a:pt x="224695" y="504920"/>
                    <a:pt x="204883" y="515303"/>
                  </a:cubicBezTo>
                  <a:cubicBezTo>
                    <a:pt x="185071" y="525685"/>
                    <a:pt x="161068" y="530828"/>
                    <a:pt x="132779" y="530828"/>
                  </a:cubicBezTo>
                  <a:cubicBezTo>
                    <a:pt x="114871" y="530828"/>
                    <a:pt x="97917" y="528352"/>
                    <a:pt x="81915" y="523399"/>
                  </a:cubicBezTo>
                  <a:cubicBezTo>
                    <a:pt x="65913" y="518446"/>
                    <a:pt x="51911" y="511112"/>
                    <a:pt x="39910" y="501491"/>
                  </a:cubicBezTo>
                  <a:cubicBezTo>
                    <a:pt x="27908" y="491871"/>
                    <a:pt x="18193" y="479870"/>
                    <a:pt x="10954" y="465487"/>
                  </a:cubicBezTo>
                  <a:cubicBezTo>
                    <a:pt x="3620" y="451104"/>
                    <a:pt x="0" y="434531"/>
                    <a:pt x="0" y="415671"/>
                  </a:cubicBezTo>
                  <a:lnTo>
                    <a:pt x="0" y="414242"/>
                  </a:lnTo>
                  <a:cubicBezTo>
                    <a:pt x="0" y="393478"/>
                    <a:pt x="3810" y="375476"/>
                    <a:pt x="11335" y="360140"/>
                  </a:cubicBezTo>
                  <a:cubicBezTo>
                    <a:pt x="18860" y="344805"/>
                    <a:pt x="29337" y="332137"/>
                    <a:pt x="42767" y="321945"/>
                  </a:cubicBezTo>
                  <a:cubicBezTo>
                    <a:pt x="56198" y="311849"/>
                    <a:pt x="72200" y="304324"/>
                    <a:pt x="90773" y="299371"/>
                  </a:cubicBezTo>
                  <a:cubicBezTo>
                    <a:pt x="109347" y="294418"/>
                    <a:pt x="129540" y="291941"/>
                    <a:pt x="151162" y="291941"/>
                  </a:cubicBezTo>
                  <a:cubicBezTo>
                    <a:pt x="172784" y="291941"/>
                    <a:pt x="192977" y="293370"/>
                    <a:pt x="208788" y="296228"/>
                  </a:cubicBezTo>
                  <a:cubicBezTo>
                    <a:pt x="224600" y="299085"/>
                    <a:pt x="239744" y="302800"/>
                    <a:pt x="254413" y="307562"/>
                  </a:cubicBezTo>
                  <a:lnTo>
                    <a:pt x="254413" y="300514"/>
                  </a:lnTo>
                  <a:cubicBezTo>
                    <a:pt x="254413" y="274606"/>
                    <a:pt x="246507" y="254794"/>
                    <a:pt x="230696" y="241173"/>
                  </a:cubicBezTo>
                  <a:cubicBezTo>
                    <a:pt x="214884" y="227552"/>
                    <a:pt x="192215" y="220694"/>
                    <a:pt x="162496" y="220694"/>
                  </a:cubicBezTo>
                  <a:cubicBezTo>
                    <a:pt x="141351" y="220694"/>
                    <a:pt x="122492" y="222790"/>
                    <a:pt x="106013" y="227076"/>
                  </a:cubicBezTo>
                  <a:cubicBezTo>
                    <a:pt x="89535" y="231362"/>
                    <a:pt x="72771" y="236982"/>
                    <a:pt x="55817" y="244031"/>
                  </a:cubicBezTo>
                  <a:lnTo>
                    <a:pt x="32480" y="175451"/>
                  </a:lnTo>
                  <a:cubicBezTo>
                    <a:pt x="53150" y="166021"/>
                    <a:pt x="74390" y="158496"/>
                    <a:pt x="96107" y="152876"/>
                  </a:cubicBezTo>
                  <a:cubicBezTo>
                    <a:pt x="117729" y="147257"/>
                    <a:pt x="143923" y="144399"/>
                    <a:pt x="174593" y="144399"/>
                  </a:cubicBezTo>
                  <a:cubicBezTo>
                    <a:pt x="230124" y="144399"/>
                    <a:pt x="271367" y="158210"/>
                    <a:pt x="298228" y="185738"/>
                  </a:cubicBezTo>
                  <a:cubicBezTo>
                    <a:pt x="325088" y="213265"/>
                    <a:pt x="338519" y="252032"/>
                    <a:pt x="338519" y="301943"/>
                  </a:cubicBezTo>
                  <a:lnTo>
                    <a:pt x="338519" y="523113"/>
                  </a:lnTo>
                  <a:lnTo>
                    <a:pt x="253746" y="523113"/>
                  </a:lnTo>
                  <a:close/>
                  <a:moveTo>
                    <a:pt x="45911" y="95441"/>
                  </a:moveTo>
                  <a:cubicBezTo>
                    <a:pt x="53912" y="66675"/>
                    <a:pt x="63722" y="44768"/>
                    <a:pt x="75248" y="29718"/>
                  </a:cubicBezTo>
                  <a:cubicBezTo>
                    <a:pt x="86773" y="14669"/>
                    <a:pt x="103442" y="7144"/>
                    <a:pt x="125063" y="7144"/>
                  </a:cubicBezTo>
                  <a:cubicBezTo>
                    <a:pt x="134969" y="7144"/>
                    <a:pt x="144590" y="8668"/>
                    <a:pt x="154019" y="11716"/>
                  </a:cubicBezTo>
                  <a:cubicBezTo>
                    <a:pt x="163449" y="14764"/>
                    <a:pt x="172498" y="18098"/>
                    <a:pt x="181261" y="21622"/>
                  </a:cubicBezTo>
                  <a:cubicBezTo>
                    <a:pt x="189929" y="25146"/>
                    <a:pt x="198120" y="28385"/>
                    <a:pt x="205645" y="31147"/>
                  </a:cubicBezTo>
                  <a:cubicBezTo>
                    <a:pt x="213170" y="34004"/>
                    <a:pt x="220218" y="35338"/>
                    <a:pt x="226790" y="35338"/>
                  </a:cubicBezTo>
                  <a:cubicBezTo>
                    <a:pt x="237173" y="35338"/>
                    <a:pt x="244888" y="32480"/>
                    <a:pt x="250127" y="26861"/>
                  </a:cubicBezTo>
                  <a:cubicBezTo>
                    <a:pt x="255270" y="21241"/>
                    <a:pt x="260509" y="12287"/>
                    <a:pt x="265652" y="0"/>
                  </a:cubicBezTo>
                  <a:lnTo>
                    <a:pt x="312991" y="14859"/>
                  </a:lnTo>
                  <a:cubicBezTo>
                    <a:pt x="304991" y="43148"/>
                    <a:pt x="295180" y="64770"/>
                    <a:pt x="283655" y="79820"/>
                  </a:cubicBezTo>
                  <a:cubicBezTo>
                    <a:pt x="272129" y="94869"/>
                    <a:pt x="255461" y="102394"/>
                    <a:pt x="233839" y="102394"/>
                  </a:cubicBezTo>
                  <a:cubicBezTo>
                    <a:pt x="223933" y="102394"/>
                    <a:pt x="214313" y="100965"/>
                    <a:pt x="204883" y="98203"/>
                  </a:cubicBezTo>
                  <a:cubicBezTo>
                    <a:pt x="195453" y="95345"/>
                    <a:pt x="186404" y="92202"/>
                    <a:pt x="177641" y="88678"/>
                  </a:cubicBezTo>
                  <a:cubicBezTo>
                    <a:pt x="168878" y="85154"/>
                    <a:pt x="160687" y="81820"/>
                    <a:pt x="152876" y="78772"/>
                  </a:cubicBezTo>
                  <a:cubicBezTo>
                    <a:pt x="145066" y="75724"/>
                    <a:pt x="138113" y="74200"/>
                    <a:pt x="132017" y="74200"/>
                  </a:cubicBezTo>
                  <a:cubicBezTo>
                    <a:pt x="121634" y="74200"/>
                    <a:pt x="113919" y="77057"/>
                    <a:pt x="108680" y="82677"/>
                  </a:cubicBezTo>
                  <a:cubicBezTo>
                    <a:pt x="103537" y="88297"/>
                    <a:pt x="98298" y="97250"/>
                    <a:pt x="93154" y="109538"/>
                  </a:cubicBezTo>
                  <a:lnTo>
                    <a:pt x="45815" y="95441"/>
                  </a:lnTo>
                  <a:close/>
                  <a:moveTo>
                    <a:pt x="255842" y="366808"/>
                  </a:moveTo>
                  <a:cubicBezTo>
                    <a:pt x="244983" y="362522"/>
                    <a:pt x="232124" y="358997"/>
                    <a:pt x="217361" y="356235"/>
                  </a:cubicBezTo>
                  <a:cubicBezTo>
                    <a:pt x="202502" y="353378"/>
                    <a:pt x="186880" y="351949"/>
                    <a:pt x="170402" y="351949"/>
                  </a:cubicBezTo>
                  <a:cubicBezTo>
                    <a:pt x="143542" y="351949"/>
                    <a:pt x="122587" y="357092"/>
                    <a:pt x="107537" y="367475"/>
                  </a:cubicBezTo>
                  <a:cubicBezTo>
                    <a:pt x="92488" y="377857"/>
                    <a:pt x="84963" y="391954"/>
                    <a:pt x="84963" y="409861"/>
                  </a:cubicBezTo>
                  <a:lnTo>
                    <a:pt x="84963" y="411290"/>
                  </a:lnTo>
                  <a:cubicBezTo>
                    <a:pt x="84963" y="429197"/>
                    <a:pt x="91916" y="442817"/>
                    <a:pt x="105823" y="452247"/>
                  </a:cubicBezTo>
                  <a:cubicBezTo>
                    <a:pt x="119729" y="461677"/>
                    <a:pt x="136779" y="466344"/>
                    <a:pt x="157067" y="466344"/>
                  </a:cubicBezTo>
                  <a:cubicBezTo>
                    <a:pt x="171164" y="466344"/>
                    <a:pt x="184309" y="464439"/>
                    <a:pt x="196310" y="460724"/>
                  </a:cubicBezTo>
                  <a:cubicBezTo>
                    <a:pt x="208312" y="456914"/>
                    <a:pt x="218789" y="451676"/>
                    <a:pt x="227743" y="444818"/>
                  </a:cubicBezTo>
                  <a:cubicBezTo>
                    <a:pt x="236696" y="437960"/>
                    <a:pt x="243650" y="429768"/>
                    <a:pt x="248603" y="420053"/>
                  </a:cubicBezTo>
                  <a:cubicBezTo>
                    <a:pt x="253555" y="410432"/>
                    <a:pt x="256032" y="399669"/>
                    <a:pt x="256032" y="387858"/>
                  </a:cubicBezTo>
                  <a:lnTo>
                    <a:pt x="256032" y="366617"/>
                  </a:lnTo>
                  <a:close/>
                </a:path>
              </a:pathLst>
            </a:custGeom>
            <a:solidFill>
              <a:srgbClr val="44505E"/>
            </a:solidFill>
            <a:ln w="9525" cap="flat">
              <a:noFill/>
              <a:prstDash val="solid"/>
              <a:miter/>
            </a:ln>
          </p:spPr>
          <p:txBody>
            <a:bodyPr rtlCol="0" anchor="ctr"/>
            <a:lstStyle/>
            <a:p>
              <a:endParaRPr lang="pt-BR" noProof="0"/>
            </a:p>
          </p:txBody>
        </p:sp>
        <p:sp>
          <p:nvSpPr>
            <p:cNvPr id="1042" name="Freeform: Shape 30">
              <a:extLst>
                <a:ext uri="{FF2B5EF4-FFF2-40B4-BE49-F238E27FC236}">
                  <a16:creationId xmlns:a16="http://schemas.microsoft.com/office/drawing/2014/main" id="{FBE452EE-CA48-798E-463D-9DE31A5C5C90}"/>
                </a:ext>
              </a:extLst>
            </p:cNvPr>
            <p:cNvSpPr/>
            <p:nvPr/>
          </p:nvSpPr>
          <p:spPr>
            <a:xfrm>
              <a:off x="6506477" y="699959"/>
              <a:ext cx="100038" cy="97908"/>
            </a:xfrm>
            <a:custGeom>
              <a:avLst/>
              <a:gdLst>
                <a:gd name="connsiteX0" fmla="*/ 197834 w 397954"/>
                <a:gd name="connsiteY0" fmla="*/ 389477 h 389477"/>
                <a:gd name="connsiteX1" fmla="*/ 119063 w 397954"/>
                <a:gd name="connsiteY1" fmla="*/ 374237 h 389477"/>
                <a:gd name="connsiteX2" fmla="*/ 56198 w 397954"/>
                <a:gd name="connsiteY2" fmla="*/ 332899 h 389477"/>
                <a:gd name="connsiteX3" fmla="*/ 14859 w 397954"/>
                <a:gd name="connsiteY3" fmla="*/ 271463 h 389477"/>
                <a:gd name="connsiteX4" fmla="*/ 0 w 397954"/>
                <a:gd name="connsiteY4" fmla="*/ 196501 h 389477"/>
                <a:gd name="connsiteX5" fmla="*/ 0 w 397954"/>
                <a:gd name="connsiteY5" fmla="*/ 195072 h 389477"/>
                <a:gd name="connsiteX6" fmla="*/ 15240 w 397954"/>
                <a:gd name="connsiteY6" fmla="*/ 119444 h 389477"/>
                <a:gd name="connsiteX7" fmla="*/ 56960 w 397954"/>
                <a:gd name="connsiteY7" fmla="*/ 57626 h 389477"/>
                <a:gd name="connsiteX8" fmla="*/ 119825 w 397954"/>
                <a:gd name="connsiteY8" fmla="*/ 15526 h 389477"/>
                <a:gd name="connsiteX9" fmla="*/ 199358 w 397954"/>
                <a:gd name="connsiteY9" fmla="*/ 0 h 389477"/>
                <a:gd name="connsiteX10" fmla="*/ 278892 w 397954"/>
                <a:gd name="connsiteY10" fmla="*/ 15240 h 389477"/>
                <a:gd name="connsiteX11" fmla="*/ 341757 w 397954"/>
                <a:gd name="connsiteY11" fmla="*/ 56959 h 389477"/>
                <a:gd name="connsiteX12" fmla="*/ 383096 w 397954"/>
                <a:gd name="connsiteY12" fmla="*/ 118396 h 389477"/>
                <a:gd name="connsiteX13" fmla="*/ 397955 w 397954"/>
                <a:gd name="connsiteY13" fmla="*/ 193643 h 389477"/>
                <a:gd name="connsiteX14" fmla="*/ 397955 w 397954"/>
                <a:gd name="connsiteY14" fmla="*/ 195072 h 389477"/>
                <a:gd name="connsiteX15" fmla="*/ 382714 w 397954"/>
                <a:gd name="connsiteY15" fmla="*/ 270034 h 389477"/>
                <a:gd name="connsiteX16" fmla="*/ 340995 w 397954"/>
                <a:gd name="connsiteY16" fmla="*/ 331851 h 389477"/>
                <a:gd name="connsiteX17" fmla="*/ 277749 w 397954"/>
                <a:gd name="connsiteY17" fmla="*/ 373856 h 389477"/>
                <a:gd name="connsiteX18" fmla="*/ 197834 w 397954"/>
                <a:gd name="connsiteY18" fmla="*/ 389382 h 389477"/>
                <a:gd name="connsiteX19" fmla="*/ 199263 w 397954"/>
                <a:gd name="connsiteY19" fmla="*/ 315278 h 389477"/>
                <a:gd name="connsiteX20" fmla="*/ 245936 w 397954"/>
                <a:gd name="connsiteY20" fmla="*/ 305753 h 389477"/>
                <a:gd name="connsiteX21" fmla="*/ 281369 w 397954"/>
                <a:gd name="connsiteY21" fmla="*/ 279940 h 389477"/>
                <a:gd name="connsiteX22" fmla="*/ 303848 w 397954"/>
                <a:gd name="connsiteY22" fmla="*/ 242125 h 389477"/>
                <a:gd name="connsiteX23" fmla="*/ 311563 w 397954"/>
                <a:gd name="connsiteY23" fmla="*/ 196501 h 389477"/>
                <a:gd name="connsiteX24" fmla="*/ 311563 w 397954"/>
                <a:gd name="connsiteY24" fmla="*/ 195072 h 389477"/>
                <a:gd name="connsiteX25" fmla="*/ 303181 w 397954"/>
                <a:gd name="connsiteY25" fmla="*/ 148400 h 389477"/>
                <a:gd name="connsiteX26" fmla="*/ 279654 w 397954"/>
                <a:gd name="connsiteY26" fmla="*/ 110204 h 389477"/>
                <a:gd name="connsiteX27" fmla="*/ 243840 w 397954"/>
                <a:gd name="connsiteY27" fmla="*/ 84392 h 389477"/>
                <a:gd name="connsiteX28" fmla="*/ 197834 w 397954"/>
                <a:gd name="connsiteY28" fmla="*/ 74867 h 389477"/>
                <a:gd name="connsiteX29" fmla="*/ 151829 w 397954"/>
                <a:gd name="connsiteY29" fmla="*/ 84392 h 389477"/>
                <a:gd name="connsiteX30" fmla="*/ 116396 w 397954"/>
                <a:gd name="connsiteY30" fmla="*/ 109823 h 389477"/>
                <a:gd name="connsiteX31" fmla="*/ 93916 w 397954"/>
                <a:gd name="connsiteY31" fmla="*/ 147638 h 389477"/>
                <a:gd name="connsiteX32" fmla="*/ 86201 w 397954"/>
                <a:gd name="connsiteY32" fmla="*/ 193548 h 389477"/>
                <a:gd name="connsiteX33" fmla="*/ 86201 w 397954"/>
                <a:gd name="connsiteY33" fmla="*/ 194977 h 389477"/>
                <a:gd name="connsiteX34" fmla="*/ 94583 w 397954"/>
                <a:gd name="connsiteY34" fmla="*/ 241268 h 389477"/>
                <a:gd name="connsiteX35" fmla="*/ 118110 w 397954"/>
                <a:gd name="connsiteY35" fmla="*/ 279463 h 389477"/>
                <a:gd name="connsiteX36" fmla="*/ 153924 w 397954"/>
                <a:gd name="connsiteY36" fmla="*/ 305562 h 389477"/>
                <a:gd name="connsiteX37" fmla="*/ 199263 w 397954"/>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954" h="389477">
                  <a:moveTo>
                    <a:pt x="197834" y="389477"/>
                  </a:moveTo>
                  <a:cubicBezTo>
                    <a:pt x="169545" y="389477"/>
                    <a:pt x="143351" y="384429"/>
                    <a:pt x="119063" y="374237"/>
                  </a:cubicBezTo>
                  <a:cubicBezTo>
                    <a:pt x="94774" y="364141"/>
                    <a:pt x="73819" y="350330"/>
                    <a:pt x="56198" y="332899"/>
                  </a:cubicBezTo>
                  <a:cubicBezTo>
                    <a:pt x="38576" y="315468"/>
                    <a:pt x="24765" y="294989"/>
                    <a:pt x="14859" y="271463"/>
                  </a:cubicBezTo>
                  <a:cubicBezTo>
                    <a:pt x="4953" y="247936"/>
                    <a:pt x="0" y="222980"/>
                    <a:pt x="0" y="196501"/>
                  </a:cubicBezTo>
                  <a:lnTo>
                    <a:pt x="0" y="195072"/>
                  </a:lnTo>
                  <a:cubicBezTo>
                    <a:pt x="0" y="168212"/>
                    <a:pt x="5049" y="143066"/>
                    <a:pt x="15240" y="119444"/>
                  </a:cubicBezTo>
                  <a:cubicBezTo>
                    <a:pt x="25337" y="95917"/>
                    <a:pt x="39243" y="75248"/>
                    <a:pt x="56960" y="57626"/>
                  </a:cubicBezTo>
                  <a:cubicBezTo>
                    <a:pt x="74676" y="39910"/>
                    <a:pt x="95631" y="25908"/>
                    <a:pt x="119825" y="15526"/>
                  </a:cubicBezTo>
                  <a:cubicBezTo>
                    <a:pt x="144113" y="5144"/>
                    <a:pt x="170593" y="0"/>
                    <a:pt x="199358" y="0"/>
                  </a:cubicBezTo>
                  <a:cubicBezTo>
                    <a:pt x="228124" y="0"/>
                    <a:pt x="254604" y="5048"/>
                    <a:pt x="278892" y="15240"/>
                  </a:cubicBezTo>
                  <a:cubicBezTo>
                    <a:pt x="303181" y="25337"/>
                    <a:pt x="324136" y="39243"/>
                    <a:pt x="341757" y="56959"/>
                  </a:cubicBezTo>
                  <a:cubicBezTo>
                    <a:pt x="359379" y="74676"/>
                    <a:pt x="373189" y="95155"/>
                    <a:pt x="383096" y="118396"/>
                  </a:cubicBezTo>
                  <a:cubicBezTo>
                    <a:pt x="393002" y="141732"/>
                    <a:pt x="397955" y="166783"/>
                    <a:pt x="397955" y="193643"/>
                  </a:cubicBezTo>
                  <a:lnTo>
                    <a:pt x="397955" y="195072"/>
                  </a:lnTo>
                  <a:cubicBezTo>
                    <a:pt x="397955" y="221456"/>
                    <a:pt x="392906" y="246412"/>
                    <a:pt x="382714" y="270034"/>
                  </a:cubicBezTo>
                  <a:cubicBezTo>
                    <a:pt x="372618" y="293561"/>
                    <a:pt x="358712" y="314230"/>
                    <a:pt x="340995" y="331851"/>
                  </a:cubicBezTo>
                  <a:cubicBezTo>
                    <a:pt x="323279" y="349472"/>
                    <a:pt x="302229" y="363569"/>
                    <a:pt x="277749" y="373856"/>
                  </a:cubicBezTo>
                  <a:cubicBezTo>
                    <a:pt x="253270" y="384238"/>
                    <a:pt x="226600" y="389382"/>
                    <a:pt x="197834" y="389382"/>
                  </a:cubicBezTo>
                  <a:close/>
                  <a:moveTo>
                    <a:pt x="199263" y="315278"/>
                  </a:moveTo>
                  <a:cubicBezTo>
                    <a:pt x="216598" y="315278"/>
                    <a:pt x="232124" y="312039"/>
                    <a:pt x="245936" y="305753"/>
                  </a:cubicBezTo>
                  <a:cubicBezTo>
                    <a:pt x="259747" y="299371"/>
                    <a:pt x="271558" y="290798"/>
                    <a:pt x="281369" y="279940"/>
                  </a:cubicBezTo>
                  <a:cubicBezTo>
                    <a:pt x="291179" y="269081"/>
                    <a:pt x="298704" y="256508"/>
                    <a:pt x="303848" y="242125"/>
                  </a:cubicBezTo>
                  <a:cubicBezTo>
                    <a:pt x="308991" y="227743"/>
                    <a:pt x="311563" y="212598"/>
                    <a:pt x="311563" y="196501"/>
                  </a:cubicBezTo>
                  <a:lnTo>
                    <a:pt x="311563" y="195072"/>
                  </a:lnTo>
                  <a:cubicBezTo>
                    <a:pt x="311563" y="178594"/>
                    <a:pt x="308706" y="163068"/>
                    <a:pt x="303181" y="148400"/>
                  </a:cubicBezTo>
                  <a:cubicBezTo>
                    <a:pt x="297561" y="133826"/>
                    <a:pt x="289750" y="121063"/>
                    <a:pt x="279654" y="110204"/>
                  </a:cubicBezTo>
                  <a:cubicBezTo>
                    <a:pt x="269557" y="99346"/>
                    <a:pt x="257651" y="90773"/>
                    <a:pt x="243840" y="84392"/>
                  </a:cubicBezTo>
                  <a:cubicBezTo>
                    <a:pt x="230029" y="78010"/>
                    <a:pt x="214694" y="74867"/>
                    <a:pt x="197834" y="74867"/>
                  </a:cubicBezTo>
                  <a:cubicBezTo>
                    <a:pt x="180975" y="74867"/>
                    <a:pt x="165640" y="78010"/>
                    <a:pt x="151829" y="84392"/>
                  </a:cubicBezTo>
                  <a:cubicBezTo>
                    <a:pt x="138017" y="90773"/>
                    <a:pt x="126206" y="99250"/>
                    <a:pt x="116396" y="109823"/>
                  </a:cubicBezTo>
                  <a:cubicBezTo>
                    <a:pt x="106585" y="120396"/>
                    <a:pt x="99060" y="133064"/>
                    <a:pt x="93916" y="147638"/>
                  </a:cubicBezTo>
                  <a:cubicBezTo>
                    <a:pt x="88773" y="162211"/>
                    <a:pt x="86201" y="177546"/>
                    <a:pt x="86201" y="193548"/>
                  </a:cubicBezTo>
                  <a:lnTo>
                    <a:pt x="86201" y="194977"/>
                  </a:lnTo>
                  <a:cubicBezTo>
                    <a:pt x="86201" y="211455"/>
                    <a:pt x="89059" y="226886"/>
                    <a:pt x="94583" y="241268"/>
                  </a:cubicBezTo>
                  <a:cubicBezTo>
                    <a:pt x="100203" y="255651"/>
                    <a:pt x="108014" y="268319"/>
                    <a:pt x="118110" y="279463"/>
                  </a:cubicBezTo>
                  <a:cubicBezTo>
                    <a:pt x="128207" y="290608"/>
                    <a:pt x="140113" y="299275"/>
                    <a:pt x="153924" y="305562"/>
                  </a:cubicBezTo>
                  <a:cubicBezTo>
                    <a:pt x="167735" y="311944"/>
                    <a:pt x="182785"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1043" name="Freeform: Shape 31">
              <a:extLst>
                <a:ext uri="{FF2B5EF4-FFF2-40B4-BE49-F238E27FC236}">
                  <a16:creationId xmlns:a16="http://schemas.microsoft.com/office/drawing/2014/main" id="{350AA1DC-1396-0F38-B313-8F62BA41DE9E}"/>
                </a:ext>
              </a:extLst>
            </p:cNvPr>
            <p:cNvSpPr/>
            <p:nvPr/>
          </p:nvSpPr>
          <p:spPr>
            <a:xfrm>
              <a:off x="662071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1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7 w 296894"/>
                <a:gd name="connsiteY23" fmla="*/ 42863 h 386714"/>
                <a:gd name="connsiteX24" fmla="*/ 254318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7 w 296894"/>
                <a:gd name="connsiteY30" fmla="*/ 124587 h 386714"/>
                <a:gd name="connsiteX31" fmla="*/ 122682 w 296894"/>
                <a:gd name="connsiteY31" fmla="*/ 138017 h 386714"/>
                <a:gd name="connsiteX32" fmla="*/ 149543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6" y="348901"/>
                    <a:pt x="0" y="330327"/>
                  </a:cubicBezTo>
                  <a:lnTo>
                    <a:pt x="38195" y="272224"/>
                  </a:lnTo>
                  <a:cubicBezTo>
                    <a:pt x="58484" y="287274"/>
                    <a:pt x="79057" y="298704"/>
                    <a:pt x="100013" y="306514"/>
                  </a:cubicBezTo>
                  <a:cubicBezTo>
                    <a:pt x="120968" y="314325"/>
                    <a:pt x="141161" y="318135"/>
                    <a:pt x="160401" y="318135"/>
                  </a:cubicBezTo>
                  <a:cubicBezTo>
                    <a:pt x="179641" y="318135"/>
                    <a:pt x="192977"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1" y="241078"/>
                    <a:pt x="176498" y="237553"/>
                    <a:pt x="166401"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2" y="40195"/>
                    <a:pt x="56864" y="30385"/>
                  </a:cubicBezTo>
                  <a:cubicBezTo>
                    <a:pt x="68866" y="20479"/>
                    <a:pt x="82962" y="12954"/>
                    <a:pt x="99250" y="7810"/>
                  </a:cubicBezTo>
                  <a:cubicBezTo>
                    <a:pt x="115538" y="2667"/>
                    <a:pt x="132779" y="0"/>
                    <a:pt x="151162" y="0"/>
                  </a:cubicBezTo>
                  <a:cubicBezTo>
                    <a:pt x="174688" y="0"/>
                    <a:pt x="198501" y="3810"/>
                    <a:pt x="222504" y="11430"/>
                  </a:cubicBezTo>
                  <a:cubicBezTo>
                    <a:pt x="246507" y="19050"/>
                    <a:pt x="268414" y="29527"/>
                    <a:pt x="288227" y="42863"/>
                  </a:cubicBezTo>
                  <a:lnTo>
                    <a:pt x="254318"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7" y="124587"/>
                  </a:cubicBezTo>
                  <a:cubicBezTo>
                    <a:pt x="108585" y="129540"/>
                    <a:pt x="114871" y="134017"/>
                    <a:pt x="122682" y="138017"/>
                  </a:cubicBezTo>
                  <a:cubicBezTo>
                    <a:pt x="130493" y="142018"/>
                    <a:pt x="139351" y="145732"/>
                    <a:pt x="149543"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696"/>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1044" name="Freeform: Shape 32">
              <a:extLst>
                <a:ext uri="{FF2B5EF4-FFF2-40B4-BE49-F238E27FC236}">
                  <a16:creationId xmlns:a16="http://schemas.microsoft.com/office/drawing/2014/main" id="{975F1BD1-C613-B3D2-3EF4-F9E0F72933E0}"/>
                </a:ext>
              </a:extLst>
            </p:cNvPr>
            <p:cNvSpPr/>
            <p:nvPr/>
          </p:nvSpPr>
          <p:spPr>
            <a:xfrm>
              <a:off x="526693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4 w 202977"/>
                <a:gd name="connsiteY17" fmla="*/ 19907 h 239267"/>
                <a:gd name="connsiteX18" fmla="*/ 59246 w 202977"/>
                <a:gd name="connsiteY18" fmla="*/ 5429 h 239267"/>
                <a:gd name="connsiteX19" fmla="*/ 104299 w 202977"/>
                <a:gd name="connsiteY19" fmla="*/ 0 h 239267"/>
                <a:gd name="connsiteX20" fmla="*/ 178880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5 w 202977"/>
                <a:gd name="connsiteY27" fmla="*/ 211169 h 239267"/>
                <a:gd name="connsiteX28" fmla="*/ 122968 w 202977"/>
                <a:gd name="connsiteY28" fmla="*/ 206788 h 239267"/>
                <a:gd name="connsiteX29" fmla="*/ 147257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9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9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3" y="99155"/>
                    <a:pt x="58674" y="95917"/>
                  </a:cubicBezTo>
                  <a:cubicBezTo>
                    <a:pt x="70771" y="92678"/>
                    <a:pt x="84011" y="90964"/>
                    <a:pt x="98584" y="90964"/>
                  </a:cubicBezTo>
                  <a:cubicBezTo>
                    <a:pt x="113157" y="90964"/>
                    <a:pt x="126301" y="91821"/>
                    <a:pt x="137160" y="93631"/>
                  </a:cubicBezTo>
                  <a:cubicBezTo>
                    <a:pt x="148019" y="95440"/>
                    <a:pt x="158687" y="97822"/>
                    <a:pt x="169069" y="100774"/>
                  </a:cubicBezTo>
                  <a:lnTo>
                    <a:pt x="169069" y="93726"/>
                  </a:lnTo>
                  <a:cubicBezTo>
                    <a:pt x="169069" y="73342"/>
                    <a:pt x="163068" y="57912"/>
                    <a:pt x="151162" y="47339"/>
                  </a:cubicBezTo>
                  <a:cubicBezTo>
                    <a:pt x="139256" y="36862"/>
                    <a:pt x="122492" y="31623"/>
                    <a:pt x="100679" y="31623"/>
                  </a:cubicBezTo>
                  <a:cubicBezTo>
                    <a:pt x="86963" y="31623"/>
                    <a:pt x="74581" y="33147"/>
                    <a:pt x="63437" y="36100"/>
                  </a:cubicBezTo>
                  <a:cubicBezTo>
                    <a:pt x="52292" y="39053"/>
                    <a:pt x="41339" y="43053"/>
                    <a:pt x="30671" y="48196"/>
                  </a:cubicBezTo>
                  <a:lnTo>
                    <a:pt x="20384" y="19907"/>
                  </a:lnTo>
                  <a:cubicBezTo>
                    <a:pt x="33147" y="13906"/>
                    <a:pt x="46101" y="9049"/>
                    <a:pt x="59246" y="5429"/>
                  </a:cubicBezTo>
                  <a:cubicBezTo>
                    <a:pt x="72295" y="1810"/>
                    <a:pt x="87344" y="0"/>
                    <a:pt x="104299" y="0"/>
                  </a:cubicBezTo>
                  <a:cubicBezTo>
                    <a:pt x="137065" y="0"/>
                    <a:pt x="161925" y="8477"/>
                    <a:pt x="178880"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99" y="239173"/>
                    <a:pt x="86011" y="239173"/>
                  </a:cubicBezTo>
                  <a:close/>
                  <a:moveTo>
                    <a:pt x="93155" y="211169"/>
                  </a:moveTo>
                  <a:cubicBezTo>
                    <a:pt x="103823" y="211169"/>
                    <a:pt x="113728" y="209740"/>
                    <a:pt x="122968" y="206788"/>
                  </a:cubicBezTo>
                  <a:cubicBezTo>
                    <a:pt x="132207" y="203835"/>
                    <a:pt x="140208" y="199644"/>
                    <a:pt x="147257"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9" y="121444"/>
                  </a:cubicBezTo>
                  <a:cubicBezTo>
                    <a:pt x="129445" y="119348"/>
                    <a:pt x="116776"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244" y="190500"/>
                    <a:pt x="47435" y="195358"/>
                    <a:pt x="52769" y="199263"/>
                  </a:cubicBezTo>
                  <a:cubicBezTo>
                    <a:pt x="58103" y="203073"/>
                    <a:pt x="64294" y="206026"/>
                    <a:pt x="71247" y="208121"/>
                  </a:cubicBezTo>
                  <a:cubicBezTo>
                    <a:pt x="78200" y="210217"/>
                    <a:pt x="85535"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1045" name="Freeform: Shape 33">
              <a:extLst>
                <a:ext uri="{FF2B5EF4-FFF2-40B4-BE49-F238E27FC236}">
                  <a16:creationId xmlns:a16="http://schemas.microsoft.com/office/drawing/2014/main" id="{76AF5800-95CA-763B-83D2-B73B2111B5ED}"/>
                </a:ext>
              </a:extLst>
            </p:cNvPr>
            <p:cNvSpPr/>
            <p:nvPr/>
          </p:nvSpPr>
          <p:spPr>
            <a:xfrm>
              <a:off x="5331227"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9" y="303276"/>
                    <a:pt x="71438" y="300895"/>
                  </a:cubicBezTo>
                  <a:cubicBezTo>
                    <a:pt x="63437"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2"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1046" name="Freeform: Shape 34">
              <a:extLst>
                <a:ext uri="{FF2B5EF4-FFF2-40B4-BE49-F238E27FC236}">
                  <a16:creationId xmlns:a16="http://schemas.microsoft.com/office/drawing/2014/main" id="{B08378B9-7AE1-5E7B-7788-959E40377AEB}"/>
                </a:ext>
              </a:extLst>
            </p:cNvPr>
            <p:cNvSpPr/>
            <p:nvPr/>
          </p:nvSpPr>
          <p:spPr>
            <a:xfrm>
              <a:off x="5381845"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191 w 39242"/>
                <a:gd name="connsiteY5" fmla="*/ 88392 h 319182"/>
                <a:gd name="connsiteX6" fmla="*/ 36576 w 39242"/>
                <a:gd name="connsiteY6" fmla="*/ 88392 h 319182"/>
                <a:gd name="connsiteX7" fmla="*/ 36576 w 39242"/>
                <a:gd name="connsiteY7" fmla="*/ 319183 h 319182"/>
                <a:gd name="connsiteX8" fmla="*/ 2191 w 39242"/>
                <a:gd name="connsiteY8" fmla="*/ 319183 h 319182"/>
                <a:gd name="connsiteX9" fmla="*/ 2191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191" y="88392"/>
                  </a:moveTo>
                  <a:lnTo>
                    <a:pt x="36576" y="88392"/>
                  </a:lnTo>
                  <a:lnTo>
                    <a:pt x="36576" y="319183"/>
                  </a:lnTo>
                  <a:lnTo>
                    <a:pt x="2191" y="319183"/>
                  </a:lnTo>
                  <a:lnTo>
                    <a:pt x="2191" y="88392"/>
                  </a:lnTo>
                  <a:close/>
                </a:path>
              </a:pathLst>
            </a:custGeom>
            <a:solidFill>
              <a:srgbClr val="44505E"/>
            </a:solidFill>
            <a:ln w="9525" cap="flat">
              <a:noFill/>
              <a:prstDash val="solid"/>
              <a:miter/>
            </a:ln>
          </p:spPr>
          <p:txBody>
            <a:bodyPr rtlCol="0" anchor="ctr"/>
            <a:lstStyle/>
            <a:p>
              <a:endParaRPr lang="pt-BR" noProof="0"/>
            </a:p>
          </p:txBody>
        </p:sp>
        <p:sp>
          <p:nvSpPr>
            <p:cNvPr id="1047" name="Freeform: Shape 35">
              <a:extLst>
                <a:ext uri="{FF2B5EF4-FFF2-40B4-BE49-F238E27FC236}">
                  <a16:creationId xmlns:a16="http://schemas.microsoft.com/office/drawing/2014/main" id="{3BBF9686-E87A-F26C-9963-D70145FE2B4D}"/>
                </a:ext>
              </a:extLst>
            </p:cNvPr>
            <p:cNvSpPr/>
            <p:nvPr/>
          </p:nvSpPr>
          <p:spPr>
            <a:xfrm>
              <a:off x="5406076"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8" y="303276"/>
                    <a:pt x="71438" y="300895"/>
                  </a:cubicBezTo>
                  <a:cubicBezTo>
                    <a:pt x="63436"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1"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1048" name="Freeform: Shape 36">
              <a:extLst>
                <a:ext uri="{FF2B5EF4-FFF2-40B4-BE49-F238E27FC236}">
                  <a16:creationId xmlns:a16="http://schemas.microsoft.com/office/drawing/2014/main" id="{B7F81EB6-7DB1-DEFB-67D8-FF28F202B226}"/>
                </a:ext>
              </a:extLst>
            </p:cNvPr>
            <p:cNvSpPr/>
            <p:nvPr/>
          </p:nvSpPr>
          <p:spPr>
            <a:xfrm>
              <a:off x="5455545" y="925297"/>
              <a:ext cx="50594" cy="59238"/>
            </a:xfrm>
            <a:custGeom>
              <a:avLst/>
              <a:gdLst>
                <a:gd name="connsiteX0" fmla="*/ 88392 w 201263"/>
                <a:gd name="connsiteY0" fmla="*/ 235648 h 235648"/>
                <a:gd name="connsiteX1" fmla="*/ 51149 w 201263"/>
                <a:gd name="connsiteY1" fmla="*/ 228981 h 235648"/>
                <a:gd name="connsiteX2" fmla="*/ 23431 w 201263"/>
                <a:gd name="connsiteY2" fmla="*/ 210026 h 235648"/>
                <a:gd name="connsiteX3" fmla="*/ 6001 w 201263"/>
                <a:gd name="connsiteY3" fmla="*/ 180784 h 235648"/>
                <a:gd name="connsiteX4" fmla="*/ 0 w 201263"/>
                <a:gd name="connsiteY4" fmla="*/ 143256 h 235648"/>
                <a:gd name="connsiteX5" fmla="*/ 0 w 201263"/>
                <a:gd name="connsiteY5" fmla="*/ 0 h 235648"/>
                <a:gd name="connsiteX6" fmla="*/ 34385 w 201263"/>
                <a:gd name="connsiteY6" fmla="*/ 0 h 235648"/>
                <a:gd name="connsiteX7" fmla="*/ 34385 w 201263"/>
                <a:gd name="connsiteY7" fmla="*/ 134493 h 235648"/>
                <a:gd name="connsiteX8" fmla="*/ 50864 w 201263"/>
                <a:gd name="connsiteY8" fmla="*/ 185261 h 235648"/>
                <a:gd name="connsiteX9" fmla="*/ 98203 w 201263"/>
                <a:gd name="connsiteY9" fmla="*/ 203930 h 235648"/>
                <a:gd name="connsiteX10" fmla="*/ 125635 w 201263"/>
                <a:gd name="connsiteY10" fmla="*/ 198787 h 235648"/>
                <a:gd name="connsiteX11" fmla="*/ 147542 w 201263"/>
                <a:gd name="connsiteY11" fmla="*/ 184118 h 235648"/>
                <a:gd name="connsiteX12" fmla="*/ 162020 w 201263"/>
                <a:gd name="connsiteY12" fmla="*/ 161163 h 235648"/>
                <a:gd name="connsiteX13" fmla="*/ 167354 w 201263"/>
                <a:gd name="connsiteY13" fmla="*/ 131826 h 235648"/>
                <a:gd name="connsiteX14" fmla="*/ 167354 w 201263"/>
                <a:gd name="connsiteY14" fmla="*/ 0 h 235648"/>
                <a:gd name="connsiteX15" fmla="*/ 201263 w 201263"/>
                <a:gd name="connsiteY15" fmla="*/ 0 h 235648"/>
                <a:gd name="connsiteX16" fmla="*/ 201263 w 201263"/>
                <a:gd name="connsiteY16" fmla="*/ 230791 h 235648"/>
                <a:gd name="connsiteX17" fmla="*/ 167354 w 201263"/>
                <a:gd name="connsiteY17" fmla="*/ 230791 h 235648"/>
                <a:gd name="connsiteX18" fmla="*/ 167354 w 201263"/>
                <a:gd name="connsiteY18" fmla="*/ 190595 h 235648"/>
                <a:gd name="connsiteX19" fmla="*/ 136969 w 201263"/>
                <a:gd name="connsiteY19" fmla="*/ 222504 h 235648"/>
                <a:gd name="connsiteX20" fmla="*/ 88297 w 201263"/>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263" h="235648">
                  <a:moveTo>
                    <a:pt x="88392" y="235648"/>
                  </a:moveTo>
                  <a:cubicBezTo>
                    <a:pt x="74390" y="235648"/>
                    <a:pt x="62008" y="233363"/>
                    <a:pt x="51149" y="228981"/>
                  </a:cubicBezTo>
                  <a:cubicBezTo>
                    <a:pt x="40291" y="224504"/>
                    <a:pt x="31052" y="218218"/>
                    <a:pt x="23431"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864" y="185261"/>
                  </a:cubicBezTo>
                  <a:cubicBezTo>
                    <a:pt x="61913" y="197739"/>
                    <a:pt x="77629" y="203930"/>
                    <a:pt x="98203" y="203930"/>
                  </a:cubicBezTo>
                  <a:cubicBezTo>
                    <a:pt x="108014" y="203930"/>
                    <a:pt x="117158" y="202216"/>
                    <a:pt x="125635" y="198787"/>
                  </a:cubicBezTo>
                  <a:cubicBezTo>
                    <a:pt x="134112" y="195358"/>
                    <a:pt x="141351" y="190500"/>
                    <a:pt x="147542" y="184118"/>
                  </a:cubicBezTo>
                  <a:cubicBezTo>
                    <a:pt x="153638" y="177736"/>
                    <a:pt x="158496" y="170116"/>
                    <a:pt x="162020" y="161163"/>
                  </a:cubicBezTo>
                  <a:cubicBezTo>
                    <a:pt x="165640" y="152305"/>
                    <a:pt x="167354" y="142494"/>
                    <a:pt x="167354" y="131826"/>
                  </a:cubicBezTo>
                  <a:lnTo>
                    <a:pt x="167354" y="0"/>
                  </a:lnTo>
                  <a:lnTo>
                    <a:pt x="201263" y="0"/>
                  </a:lnTo>
                  <a:lnTo>
                    <a:pt x="201263" y="230791"/>
                  </a:lnTo>
                  <a:lnTo>
                    <a:pt x="167354" y="230791"/>
                  </a:lnTo>
                  <a:lnTo>
                    <a:pt x="167354" y="190595"/>
                  </a:lnTo>
                  <a:cubicBezTo>
                    <a:pt x="159639" y="203073"/>
                    <a:pt x="149447" y="213741"/>
                    <a:pt x="136969" y="222504"/>
                  </a:cubicBezTo>
                  <a:cubicBezTo>
                    <a:pt x="124492" y="231267"/>
                    <a:pt x="108299" y="235648"/>
                    <a:pt x="88297" y="235648"/>
                  </a:cubicBezTo>
                  <a:close/>
                </a:path>
              </a:pathLst>
            </a:custGeom>
            <a:solidFill>
              <a:srgbClr val="44505E"/>
            </a:solidFill>
            <a:ln w="9525" cap="flat">
              <a:noFill/>
              <a:prstDash val="solid"/>
              <a:miter/>
            </a:ln>
          </p:spPr>
          <p:txBody>
            <a:bodyPr rtlCol="0" anchor="ctr"/>
            <a:lstStyle/>
            <a:p>
              <a:endParaRPr lang="pt-BR" noProof="0"/>
            </a:p>
          </p:txBody>
        </p:sp>
        <p:sp>
          <p:nvSpPr>
            <p:cNvPr id="1049" name="Freeform: Shape 37">
              <a:extLst>
                <a:ext uri="{FF2B5EF4-FFF2-40B4-BE49-F238E27FC236}">
                  <a16:creationId xmlns:a16="http://schemas.microsoft.com/office/drawing/2014/main" id="{CDB961E7-72E2-C3A0-3823-A62397C7D832}"/>
                </a:ext>
              </a:extLst>
            </p:cNvPr>
            <p:cNvSpPr/>
            <p:nvPr/>
          </p:nvSpPr>
          <p:spPr>
            <a:xfrm>
              <a:off x="5522205" y="901353"/>
              <a:ext cx="58567" cy="83182"/>
            </a:xfrm>
            <a:custGeom>
              <a:avLst/>
              <a:gdLst>
                <a:gd name="connsiteX0" fmla="*/ 110204 w 232981"/>
                <a:gd name="connsiteY0" fmla="*/ 330898 h 330898"/>
                <a:gd name="connsiteX1" fmla="*/ 69628 w 232981"/>
                <a:gd name="connsiteY1" fmla="*/ 322897 h 330898"/>
                <a:gd name="connsiteX2" fmla="*/ 34385 w 232981"/>
                <a:gd name="connsiteY2" fmla="*/ 299466 h 330898"/>
                <a:gd name="connsiteX3" fmla="*/ 9334 w 232981"/>
                <a:gd name="connsiteY3" fmla="*/ 261938 h 330898"/>
                <a:gd name="connsiteX4" fmla="*/ 0 w 232981"/>
                <a:gd name="connsiteY4" fmla="*/ 211264 h 330898"/>
                <a:gd name="connsiteX5" fmla="*/ 0 w 232981"/>
                <a:gd name="connsiteY5" fmla="*/ 210407 h 330898"/>
                <a:gd name="connsiteX6" fmla="*/ 9334 w 232981"/>
                <a:gd name="connsiteY6" fmla="*/ 159925 h 330898"/>
                <a:gd name="connsiteX7" fmla="*/ 34385 w 232981"/>
                <a:gd name="connsiteY7" fmla="*/ 122206 h 330898"/>
                <a:gd name="connsiteX8" fmla="*/ 69628 w 232981"/>
                <a:gd name="connsiteY8" fmla="*/ 98488 h 330898"/>
                <a:gd name="connsiteX9" fmla="*/ 110204 w 232981"/>
                <a:gd name="connsiteY9" fmla="*/ 90202 h 330898"/>
                <a:gd name="connsiteX10" fmla="*/ 139636 w 232981"/>
                <a:gd name="connsiteY10" fmla="*/ 94202 h 330898"/>
                <a:gd name="connsiteX11" fmla="*/ 163735 w 232981"/>
                <a:gd name="connsiteY11" fmla="*/ 104870 h 330898"/>
                <a:gd name="connsiteX12" fmla="*/ 183166 w 232981"/>
                <a:gd name="connsiteY12" fmla="*/ 120491 h 330898"/>
                <a:gd name="connsiteX13" fmla="*/ 198596 w 232981"/>
                <a:gd name="connsiteY13" fmla="*/ 139255 h 330898"/>
                <a:gd name="connsiteX14" fmla="*/ 198596 w 232981"/>
                <a:gd name="connsiteY14" fmla="*/ 0 h 330898"/>
                <a:gd name="connsiteX15" fmla="*/ 232981 w 232981"/>
                <a:gd name="connsiteY15" fmla="*/ 0 h 330898"/>
                <a:gd name="connsiteX16" fmla="*/ 232981 w 232981"/>
                <a:gd name="connsiteY16" fmla="*/ 325850 h 330898"/>
                <a:gd name="connsiteX17" fmla="*/ 198596 w 232981"/>
                <a:gd name="connsiteY17" fmla="*/ 325850 h 330898"/>
                <a:gd name="connsiteX18" fmla="*/ 198596 w 232981"/>
                <a:gd name="connsiteY18" fmla="*/ 279463 h 330898"/>
                <a:gd name="connsiteX19" fmla="*/ 182785 w 232981"/>
                <a:gd name="connsiteY19" fmla="*/ 299085 h 330898"/>
                <a:gd name="connsiteX20" fmla="*/ 163354 w 232981"/>
                <a:gd name="connsiteY20" fmla="*/ 315658 h 330898"/>
                <a:gd name="connsiteX21" fmla="*/ 139446 w 232981"/>
                <a:gd name="connsiteY21" fmla="*/ 326803 h 330898"/>
                <a:gd name="connsiteX22" fmla="*/ 110204 w 232981"/>
                <a:gd name="connsiteY22" fmla="*/ 330803 h 330898"/>
                <a:gd name="connsiteX23" fmla="*/ 116491 w 232981"/>
                <a:gd name="connsiteY23" fmla="*/ 300133 h 330898"/>
                <a:gd name="connsiteX24" fmla="*/ 147542 w 232981"/>
                <a:gd name="connsiteY24" fmla="*/ 293656 h 330898"/>
                <a:gd name="connsiteX25" fmla="*/ 174307 w 232981"/>
                <a:gd name="connsiteY25" fmla="*/ 275368 h 330898"/>
                <a:gd name="connsiteX26" fmla="*/ 193072 w 232981"/>
                <a:gd name="connsiteY26" fmla="*/ 247269 h 330898"/>
                <a:gd name="connsiteX27" fmla="*/ 200025 w 232981"/>
                <a:gd name="connsiteY27" fmla="*/ 210883 h 330898"/>
                <a:gd name="connsiteX28" fmla="*/ 200025 w 232981"/>
                <a:gd name="connsiteY28" fmla="*/ 210026 h 330898"/>
                <a:gd name="connsiteX29" fmla="*/ 193072 w 232981"/>
                <a:gd name="connsiteY29" fmla="*/ 173641 h 330898"/>
                <a:gd name="connsiteX30" fmla="*/ 174307 w 232981"/>
                <a:gd name="connsiteY30" fmla="*/ 145732 h 330898"/>
                <a:gd name="connsiteX31" fmla="*/ 147542 w 232981"/>
                <a:gd name="connsiteY31" fmla="*/ 127635 h 330898"/>
                <a:gd name="connsiteX32" fmla="*/ 116491 w 232981"/>
                <a:gd name="connsiteY32" fmla="*/ 121158 h 330898"/>
                <a:gd name="connsiteX33" fmla="*/ 84772 w 232981"/>
                <a:gd name="connsiteY33" fmla="*/ 127159 h 330898"/>
                <a:gd name="connsiteX34" fmla="*/ 59150 w 232981"/>
                <a:gd name="connsiteY34" fmla="*/ 144589 h 330898"/>
                <a:gd name="connsiteX35" fmla="*/ 41719 w 232981"/>
                <a:gd name="connsiteY35" fmla="*/ 172498 h 330898"/>
                <a:gd name="connsiteX36" fmla="*/ 35242 w 232981"/>
                <a:gd name="connsiteY36" fmla="*/ 210026 h 330898"/>
                <a:gd name="connsiteX37" fmla="*/ 35242 w 232981"/>
                <a:gd name="connsiteY37" fmla="*/ 210883 h 330898"/>
                <a:gd name="connsiteX38" fmla="*/ 41719 w 232981"/>
                <a:gd name="connsiteY38" fmla="*/ 247936 h 330898"/>
                <a:gd name="connsiteX39" fmla="*/ 59341 w 232981"/>
                <a:gd name="connsiteY39" fmla="*/ 276034 h 330898"/>
                <a:gd name="connsiteX40" fmla="*/ 85249 w 232981"/>
                <a:gd name="connsiteY40" fmla="*/ 293941 h 330898"/>
                <a:gd name="connsiteX41" fmla="*/ 116491 w 23298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30898">
                  <a:moveTo>
                    <a:pt x="110204" y="330898"/>
                  </a:moveTo>
                  <a:cubicBezTo>
                    <a:pt x="96202" y="330898"/>
                    <a:pt x="82677" y="328231"/>
                    <a:pt x="69628" y="322897"/>
                  </a:cubicBezTo>
                  <a:cubicBezTo>
                    <a:pt x="56578" y="317563"/>
                    <a:pt x="44767" y="309753"/>
                    <a:pt x="34385" y="299466"/>
                  </a:cubicBezTo>
                  <a:cubicBezTo>
                    <a:pt x="24003" y="289179"/>
                    <a:pt x="15621" y="276701"/>
                    <a:pt x="9334" y="261938"/>
                  </a:cubicBezTo>
                  <a:cubicBezTo>
                    <a:pt x="3048" y="247174"/>
                    <a:pt x="0" y="230314"/>
                    <a:pt x="0" y="211264"/>
                  </a:cubicBezTo>
                  <a:lnTo>
                    <a:pt x="0" y="210407"/>
                  </a:lnTo>
                  <a:cubicBezTo>
                    <a:pt x="0" y="191643"/>
                    <a:pt x="3143" y="174879"/>
                    <a:pt x="9334" y="159925"/>
                  </a:cubicBezTo>
                  <a:cubicBezTo>
                    <a:pt x="15621" y="145066"/>
                    <a:pt x="23908" y="132493"/>
                    <a:pt x="34385" y="122206"/>
                  </a:cubicBezTo>
                  <a:cubicBezTo>
                    <a:pt x="44767" y="111919"/>
                    <a:pt x="56578" y="104013"/>
                    <a:pt x="69628" y="98488"/>
                  </a:cubicBezTo>
                  <a:cubicBezTo>
                    <a:pt x="82677" y="92964"/>
                    <a:pt x="96298" y="90202"/>
                    <a:pt x="110204" y="90202"/>
                  </a:cubicBezTo>
                  <a:cubicBezTo>
                    <a:pt x="120967" y="90202"/>
                    <a:pt x="130778" y="91535"/>
                    <a:pt x="139636" y="94202"/>
                  </a:cubicBezTo>
                  <a:cubicBezTo>
                    <a:pt x="148590" y="96869"/>
                    <a:pt x="156591" y="100489"/>
                    <a:pt x="163735" y="104870"/>
                  </a:cubicBezTo>
                  <a:cubicBezTo>
                    <a:pt x="170878" y="109347"/>
                    <a:pt x="177356" y="114586"/>
                    <a:pt x="183166" y="120491"/>
                  </a:cubicBezTo>
                  <a:cubicBezTo>
                    <a:pt x="188976" y="126492"/>
                    <a:pt x="194119" y="132683"/>
                    <a:pt x="198596" y="139255"/>
                  </a:cubicBezTo>
                  <a:lnTo>
                    <a:pt x="198596" y="0"/>
                  </a:lnTo>
                  <a:lnTo>
                    <a:pt x="232981" y="0"/>
                  </a:lnTo>
                  <a:lnTo>
                    <a:pt x="232981" y="325850"/>
                  </a:lnTo>
                  <a:lnTo>
                    <a:pt x="198596" y="325850"/>
                  </a:lnTo>
                  <a:lnTo>
                    <a:pt x="198596" y="279463"/>
                  </a:lnTo>
                  <a:cubicBezTo>
                    <a:pt x="193834" y="286321"/>
                    <a:pt x="188595" y="292894"/>
                    <a:pt x="182785" y="299085"/>
                  </a:cubicBezTo>
                  <a:cubicBezTo>
                    <a:pt x="176974" y="305371"/>
                    <a:pt x="170498" y="310896"/>
                    <a:pt x="163354" y="315658"/>
                  </a:cubicBezTo>
                  <a:cubicBezTo>
                    <a:pt x="156210" y="320421"/>
                    <a:pt x="148209" y="324136"/>
                    <a:pt x="139446" y="326803"/>
                  </a:cubicBezTo>
                  <a:cubicBezTo>
                    <a:pt x="130683" y="329470"/>
                    <a:pt x="120967" y="330803"/>
                    <a:pt x="110204" y="330803"/>
                  </a:cubicBezTo>
                  <a:close/>
                  <a:moveTo>
                    <a:pt x="116491" y="300133"/>
                  </a:moveTo>
                  <a:cubicBezTo>
                    <a:pt x="127159" y="300133"/>
                    <a:pt x="137541" y="297942"/>
                    <a:pt x="147542" y="293656"/>
                  </a:cubicBezTo>
                  <a:cubicBezTo>
                    <a:pt x="157544" y="289369"/>
                    <a:pt x="166402" y="283273"/>
                    <a:pt x="174307" y="275368"/>
                  </a:cubicBezTo>
                  <a:cubicBezTo>
                    <a:pt x="182213" y="267462"/>
                    <a:pt x="188404" y="258127"/>
                    <a:pt x="193072" y="247269"/>
                  </a:cubicBezTo>
                  <a:cubicBezTo>
                    <a:pt x="197644" y="236410"/>
                    <a:pt x="200025" y="224314"/>
                    <a:pt x="200025" y="210883"/>
                  </a:cubicBezTo>
                  <a:lnTo>
                    <a:pt x="200025" y="210026"/>
                  </a:lnTo>
                  <a:cubicBezTo>
                    <a:pt x="200025" y="196596"/>
                    <a:pt x="197739" y="184499"/>
                    <a:pt x="193072" y="173641"/>
                  </a:cubicBezTo>
                  <a:cubicBezTo>
                    <a:pt x="188500" y="162782"/>
                    <a:pt x="182213" y="153448"/>
                    <a:pt x="174307" y="145732"/>
                  </a:cubicBezTo>
                  <a:cubicBezTo>
                    <a:pt x="166402" y="138017"/>
                    <a:pt x="157448" y="132016"/>
                    <a:pt x="147542" y="127635"/>
                  </a:cubicBezTo>
                  <a:cubicBezTo>
                    <a:pt x="137541" y="123349"/>
                    <a:pt x="127254" y="121158"/>
                    <a:pt x="116491" y="121158"/>
                  </a:cubicBezTo>
                  <a:cubicBezTo>
                    <a:pt x="105156" y="121158"/>
                    <a:pt x="94583" y="123158"/>
                    <a:pt x="84772" y="127159"/>
                  </a:cubicBezTo>
                  <a:cubicBezTo>
                    <a:pt x="74962" y="131159"/>
                    <a:pt x="66389" y="136969"/>
                    <a:pt x="59150" y="144589"/>
                  </a:cubicBezTo>
                  <a:cubicBezTo>
                    <a:pt x="51816" y="152114"/>
                    <a:pt x="46101" y="161449"/>
                    <a:pt x="41719" y="172498"/>
                  </a:cubicBezTo>
                  <a:cubicBezTo>
                    <a:pt x="37433" y="183451"/>
                    <a:pt x="35242" y="196024"/>
                    <a:pt x="35242" y="210026"/>
                  </a:cubicBezTo>
                  <a:lnTo>
                    <a:pt x="35242" y="210883"/>
                  </a:lnTo>
                  <a:cubicBezTo>
                    <a:pt x="35242" y="224599"/>
                    <a:pt x="37433" y="236982"/>
                    <a:pt x="41719" y="247936"/>
                  </a:cubicBezTo>
                  <a:cubicBezTo>
                    <a:pt x="46006" y="258984"/>
                    <a:pt x="51911" y="268319"/>
                    <a:pt x="59341" y="276034"/>
                  </a:cubicBezTo>
                  <a:cubicBezTo>
                    <a:pt x="66770" y="283750"/>
                    <a:pt x="75438" y="289750"/>
                    <a:pt x="85249" y="293941"/>
                  </a:cubicBezTo>
                  <a:cubicBezTo>
                    <a:pt x="95059" y="298132"/>
                    <a:pt x="105442" y="300228"/>
                    <a:pt x="116491" y="300228"/>
                  </a:cubicBezTo>
                  <a:close/>
                </a:path>
              </a:pathLst>
            </a:custGeom>
            <a:solidFill>
              <a:srgbClr val="44505E"/>
            </a:solidFill>
            <a:ln w="9525" cap="flat">
              <a:noFill/>
              <a:prstDash val="solid"/>
              <a:miter/>
            </a:ln>
          </p:spPr>
          <p:txBody>
            <a:bodyPr rtlCol="0" anchor="ctr"/>
            <a:lstStyle/>
            <a:p>
              <a:endParaRPr lang="pt-BR" noProof="0"/>
            </a:p>
          </p:txBody>
        </p:sp>
        <p:sp>
          <p:nvSpPr>
            <p:cNvPr id="1050" name="Freeform: Shape 38">
              <a:extLst>
                <a:ext uri="{FF2B5EF4-FFF2-40B4-BE49-F238E27FC236}">
                  <a16:creationId xmlns:a16="http://schemas.microsoft.com/office/drawing/2014/main" id="{F6FADB3E-DF0E-F283-58CC-E755152CD879}"/>
                </a:ext>
              </a:extLst>
            </p:cNvPr>
            <p:cNvSpPr/>
            <p:nvPr/>
          </p:nvSpPr>
          <p:spPr>
            <a:xfrm>
              <a:off x="5596504"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6963 w 218217"/>
                <a:gd name="connsiteY3" fmla="*/ 206026 h 241077"/>
                <a:gd name="connsiteX4" fmla="*/ 116015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8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1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452 w 218217"/>
                <a:gd name="connsiteY25" fmla="*/ 106299 h 241077"/>
                <a:gd name="connsiteX26" fmla="*/ 176784 w 218217"/>
                <a:gd name="connsiteY26" fmla="*/ 76771 h 241077"/>
                <a:gd name="connsiteX27" fmla="*/ 162306 w 218217"/>
                <a:gd name="connsiteY27" fmla="*/ 52101 h 241077"/>
                <a:gd name="connsiteX28" fmla="*/ 140018 w 218217"/>
                <a:gd name="connsiteY28" fmla="*/ 35242 h 241077"/>
                <a:gd name="connsiteX29" fmla="*/ 109919 w 218217"/>
                <a:gd name="connsiteY29" fmla="*/ 29051 h 241077"/>
                <a:gd name="connsiteX30" fmla="*/ 82201 w 218217"/>
                <a:gd name="connsiteY30" fmla="*/ 34766 h 241077"/>
                <a:gd name="connsiteX31" fmla="*/ 59436 w 218217"/>
                <a:gd name="connsiteY31" fmla="*/ 50959 h 241077"/>
                <a:gd name="connsiteX32" fmla="*/ 43148 w 218217"/>
                <a:gd name="connsiteY32" fmla="*/ 75628 h 241077"/>
                <a:gd name="connsiteX33" fmla="*/ 34862 w 218217"/>
                <a:gd name="connsiteY33" fmla="*/ 106204 h 241077"/>
                <a:gd name="connsiteX34" fmla="*/ 183547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724" y="202597"/>
                    <a:pt x="86963" y="206026"/>
                  </a:cubicBezTo>
                  <a:cubicBezTo>
                    <a:pt x="96203" y="209455"/>
                    <a:pt x="105823" y="211169"/>
                    <a:pt x="116015" y="211169"/>
                  </a:cubicBezTo>
                  <a:cubicBezTo>
                    <a:pt x="132112" y="211169"/>
                    <a:pt x="145828" y="208216"/>
                    <a:pt x="157353" y="202216"/>
                  </a:cubicBezTo>
                  <a:cubicBezTo>
                    <a:pt x="168783" y="196310"/>
                    <a:pt x="179261" y="188404"/>
                    <a:pt x="188786" y="178594"/>
                  </a:cubicBezTo>
                  <a:lnTo>
                    <a:pt x="210217" y="197834"/>
                  </a:lnTo>
                  <a:cubicBezTo>
                    <a:pt x="198596" y="210979"/>
                    <a:pt x="185357" y="221361"/>
                    <a:pt x="170498" y="229267"/>
                  </a:cubicBezTo>
                  <a:cubicBezTo>
                    <a:pt x="155639"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679" y="0"/>
                    <a:pt x="110681"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452" y="106299"/>
                  </a:moveTo>
                  <a:cubicBezTo>
                    <a:pt x="182594" y="95917"/>
                    <a:pt x="180308" y="86106"/>
                    <a:pt x="176784" y="76771"/>
                  </a:cubicBezTo>
                  <a:cubicBezTo>
                    <a:pt x="173165" y="67437"/>
                    <a:pt x="168402" y="59245"/>
                    <a:pt x="162306" y="52101"/>
                  </a:cubicBezTo>
                  <a:cubicBezTo>
                    <a:pt x="156210" y="44958"/>
                    <a:pt x="148781" y="39338"/>
                    <a:pt x="140018" y="35242"/>
                  </a:cubicBezTo>
                  <a:cubicBezTo>
                    <a:pt x="131254" y="31147"/>
                    <a:pt x="121158" y="29051"/>
                    <a:pt x="109919" y="29051"/>
                  </a:cubicBezTo>
                  <a:cubicBezTo>
                    <a:pt x="100108" y="29051"/>
                    <a:pt x="90869" y="30956"/>
                    <a:pt x="82201" y="34766"/>
                  </a:cubicBezTo>
                  <a:cubicBezTo>
                    <a:pt x="73533" y="38671"/>
                    <a:pt x="66008" y="44005"/>
                    <a:pt x="59436" y="50959"/>
                  </a:cubicBezTo>
                  <a:cubicBezTo>
                    <a:pt x="52864" y="57912"/>
                    <a:pt x="47435" y="66103"/>
                    <a:pt x="43148" y="75628"/>
                  </a:cubicBezTo>
                  <a:cubicBezTo>
                    <a:pt x="38862" y="85058"/>
                    <a:pt x="36100" y="95345"/>
                    <a:pt x="34862" y="106204"/>
                  </a:cubicBezTo>
                  <a:lnTo>
                    <a:pt x="183547" y="106204"/>
                  </a:lnTo>
                  <a:close/>
                </a:path>
              </a:pathLst>
            </a:custGeom>
            <a:solidFill>
              <a:srgbClr val="44505E"/>
            </a:solidFill>
            <a:ln w="9525" cap="flat">
              <a:noFill/>
              <a:prstDash val="solid"/>
              <a:miter/>
            </a:ln>
          </p:spPr>
          <p:txBody>
            <a:bodyPr rtlCol="0" anchor="ctr"/>
            <a:lstStyle/>
            <a:p>
              <a:endParaRPr lang="pt-BR" noProof="0"/>
            </a:p>
          </p:txBody>
        </p:sp>
        <p:sp>
          <p:nvSpPr>
            <p:cNvPr id="1051" name="Freeform: Shape 39">
              <a:extLst>
                <a:ext uri="{FF2B5EF4-FFF2-40B4-BE49-F238E27FC236}">
                  <a16:creationId xmlns:a16="http://schemas.microsoft.com/office/drawing/2014/main" id="{608C6C02-EB5D-3C8B-49C3-DB249C78BE89}"/>
                </a:ext>
              </a:extLst>
            </p:cNvPr>
            <p:cNvSpPr/>
            <p:nvPr/>
          </p:nvSpPr>
          <p:spPr>
            <a:xfrm>
              <a:off x="5661680" y="924268"/>
              <a:ext cx="44656" cy="60195"/>
            </a:xfrm>
            <a:custGeom>
              <a:avLst/>
              <a:gdLst>
                <a:gd name="connsiteX0" fmla="*/ 95536 w 177641"/>
                <a:gd name="connsiteY0" fmla="*/ 239268 h 239458"/>
                <a:gd name="connsiteX1" fmla="*/ 45053 w 177641"/>
                <a:gd name="connsiteY1" fmla="*/ 230124 h 239458"/>
                <a:gd name="connsiteX2" fmla="*/ 0 w 177641"/>
                <a:gd name="connsiteY2" fmla="*/ 205359 h 239458"/>
                <a:gd name="connsiteX3" fmla="*/ 17431 w 177641"/>
                <a:gd name="connsiteY3" fmla="*/ 180785 h 239458"/>
                <a:gd name="connsiteX4" fmla="*/ 56483 w 177641"/>
                <a:gd name="connsiteY4" fmla="*/ 202692 h 239458"/>
                <a:gd name="connsiteX5" fmla="*/ 97346 w 177641"/>
                <a:gd name="connsiteY5" fmla="*/ 210217 h 239458"/>
                <a:gd name="connsiteX6" fmla="*/ 131731 w 177641"/>
                <a:gd name="connsiteY6" fmla="*/ 200406 h 239458"/>
                <a:gd name="connsiteX7" fmla="*/ 145161 w 177641"/>
                <a:gd name="connsiteY7" fmla="*/ 173641 h 239458"/>
                <a:gd name="connsiteX8" fmla="*/ 145161 w 177641"/>
                <a:gd name="connsiteY8" fmla="*/ 172784 h 239458"/>
                <a:gd name="connsiteX9" fmla="*/ 140494 w 177641"/>
                <a:gd name="connsiteY9" fmla="*/ 158020 h 239458"/>
                <a:gd name="connsiteX10" fmla="*/ 127730 w 177641"/>
                <a:gd name="connsiteY10" fmla="*/ 147066 h 239458"/>
                <a:gd name="connsiteX11" fmla="*/ 109157 w 177641"/>
                <a:gd name="connsiteY11" fmla="*/ 138779 h 239458"/>
                <a:gd name="connsiteX12" fmla="*/ 87535 w 177641"/>
                <a:gd name="connsiteY12" fmla="*/ 132112 h 239458"/>
                <a:gd name="connsiteX13" fmla="*/ 60484 w 177641"/>
                <a:gd name="connsiteY13" fmla="*/ 123444 h 239458"/>
                <a:gd name="connsiteX14" fmla="*/ 35909 w 177641"/>
                <a:gd name="connsiteY14" fmla="*/ 111633 h 239458"/>
                <a:gd name="connsiteX15" fmla="*/ 18098 w 177641"/>
                <a:gd name="connsiteY15" fmla="*/ 93726 h 239458"/>
                <a:gd name="connsiteX16" fmla="*/ 11144 w 177641"/>
                <a:gd name="connsiteY16" fmla="*/ 66961 h 239458"/>
                <a:gd name="connsiteX17" fmla="*/ 11144 w 177641"/>
                <a:gd name="connsiteY17" fmla="*/ 66008 h 239458"/>
                <a:gd name="connsiteX18" fmla="*/ 16954 w 177641"/>
                <a:gd name="connsiteY18" fmla="*/ 39053 h 239458"/>
                <a:gd name="connsiteX19" fmla="*/ 33242 w 177641"/>
                <a:gd name="connsiteY19" fmla="*/ 18098 h 239458"/>
                <a:gd name="connsiteX20" fmla="*/ 58293 w 177641"/>
                <a:gd name="connsiteY20" fmla="*/ 4667 h 239458"/>
                <a:gd name="connsiteX21" fmla="*/ 89725 w 177641"/>
                <a:gd name="connsiteY21" fmla="*/ 0 h 239458"/>
                <a:gd name="connsiteX22" fmla="*/ 133064 w 177641"/>
                <a:gd name="connsiteY22" fmla="*/ 6953 h 239458"/>
                <a:gd name="connsiteX23" fmla="*/ 172784 w 177641"/>
                <a:gd name="connsiteY23" fmla="*/ 25527 h 239458"/>
                <a:gd name="connsiteX24" fmla="*/ 157163 w 177641"/>
                <a:gd name="connsiteY24" fmla="*/ 51435 h 239458"/>
                <a:gd name="connsiteX25" fmla="*/ 123444 w 177641"/>
                <a:gd name="connsiteY25" fmla="*/ 35147 h 239458"/>
                <a:gd name="connsiteX26" fmla="*/ 88868 w 177641"/>
                <a:gd name="connsiteY26" fmla="*/ 29146 h 239458"/>
                <a:gd name="connsiteX27" fmla="*/ 56293 w 177641"/>
                <a:gd name="connsiteY27" fmla="*/ 38767 h 239458"/>
                <a:gd name="connsiteX28" fmla="*/ 44196 w 177641"/>
                <a:gd name="connsiteY28" fmla="*/ 62675 h 239458"/>
                <a:gd name="connsiteX29" fmla="*/ 44196 w 177641"/>
                <a:gd name="connsiteY29" fmla="*/ 63627 h 239458"/>
                <a:gd name="connsiteX30" fmla="*/ 49149 w 177641"/>
                <a:gd name="connsiteY30" fmla="*/ 77724 h 239458"/>
                <a:gd name="connsiteX31" fmla="*/ 62294 w 177641"/>
                <a:gd name="connsiteY31" fmla="*/ 88202 h 239458"/>
                <a:gd name="connsiteX32" fmla="*/ 81248 w 177641"/>
                <a:gd name="connsiteY32" fmla="*/ 96203 h 239458"/>
                <a:gd name="connsiteX33" fmla="*/ 103537 w 177641"/>
                <a:gd name="connsiteY33" fmla="*/ 103346 h 239458"/>
                <a:gd name="connsiteX34" fmla="*/ 130112 w 177641"/>
                <a:gd name="connsiteY34" fmla="*/ 112300 h 239458"/>
                <a:gd name="connsiteX35" fmla="*/ 154019 w 177641"/>
                <a:gd name="connsiteY35" fmla="*/ 124778 h 239458"/>
                <a:gd name="connsiteX36" fmla="*/ 171164 w 177641"/>
                <a:gd name="connsiteY36" fmla="*/ 143066 h 239458"/>
                <a:gd name="connsiteX37" fmla="*/ 177641 w 177641"/>
                <a:gd name="connsiteY37" fmla="*/ 169450 h 239458"/>
                <a:gd name="connsiteX38" fmla="*/ 177641 w 177641"/>
                <a:gd name="connsiteY38" fmla="*/ 170307 h 239458"/>
                <a:gd name="connsiteX39" fmla="*/ 171164 w 177641"/>
                <a:gd name="connsiteY39" fmla="*/ 199549 h 239458"/>
                <a:gd name="connsiteX40" fmla="*/ 153734 w 177641"/>
                <a:gd name="connsiteY40" fmla="*/ 221171 h 239458"/>
                <a:gd name="connsiteX41" fmla="*/ 127825 w 177641"/>
                <a:gd name="connsiteY41" fmla="*/ 234791 h 239458"/>
                <a:gd name="connsiteX42" fmla="*/ 95441 w 177641"/>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641" h="239458">
                  <a:moveTo>
                    <a:pt x="95536" y="239268"/>
                  </a:moveTo>
                  <a:cubicBezTo>
                    <a:pt x="78867" y="239268"/>
                    <a:pt x="62008" y="236220"/>
                    <a:pt x="45053" y="230124"/>
                  </a:cubicBezTo>
                  <a:cubicBezTo>
                    <a:pt x="28099" y="224028"/>
                    <a:pt x="13049" y="215741"/>
                    <a:pt x="0" y="205359"/>
                  </a:cubicBezTo>
                  <a:lnTo>
                    <a:pt x="17431" y="180785"/>
                  </a:lnTo>
                  <a:cubicBezTo>
                    <a:pt x="29908"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542" y="162211"/>
                    <a:pt x="140494" y="158020"/>
                  </a:cubicBezTo>
                  <a:cubicBezTo>
                    <a:pt x="137350" y="153829"/>
                    <a:pt x="133160" y="150209"/>
                    <a:pt x="127730" y="147066"/>
                  </a:cubicBezTo>
                  <a:cubicBezTo>
                    <a:pt x="122396" y="143923"/>
                    <a:pt x="116205" y="141161"/>
                    <a:pt x="109157" y="138779"/>
                  </a:cubicBezTo>
                  <a:cubicBezTo>
                    <a:pt x="102203" y="136398"/>
                    <a:pt x="94964" y="134207"/>
                    <a:pt x="87535" y="132112"/>
                  </a:cubicBezTo>
                  <a:cubicBezTo>
                    <a:pt x="78581" y="129445"/>
                    <a:pt x="69628" y="126492"/>
                    <a:pt x="60484" y="123444"/>
                  </a:cubicBezTo>
                  <a:cubicBezTo>
                    <a:pt x="51435" y="120301"/>
                    <a:pt x="43244" y="116396"/>
                    <a:pt x="35909" y="111633"/>
                  </a:cubicBezTo>
                  <a:cubicBezTo>
                    <a:pt x="28575" y="106871"/>
                    <a:pt x="22670" y="100870"/>
                    <a:pt x="18098" y="93726"/>
                  </a:cubicBezTo>
                  <a:cubicBezTo>
                    <a:pt x="13525" y="86582"/>
                    <a:pt x="11144" y="77629"/>
                    <a:pt x="11144" y="66961"/>
                  </a:cubicBezTo>
                  <a:lnTo>
                    <a:pt x="11144" y="66008"/>
                  </a:lnTo>
                  <a:cubicBezTo>
                    <a:pt x="11144" y="56198"/>
                    <a:pt x="13049" y="47149"/>
                    <a:pt x="16954" y="39053"/>
                  </a:cubicBezTo>
                  <a:cubicBezTo>
                    <a:pt x="20860" y="30861"/>
                    <a:pt x="26289" y="23908"/>
                    <a:pt x="33242" y="18098"/>
                  </a:cubicBezTo>
                  <a:cubicBezTo>
                    <a:pt x="40196" y="12287"/>
                    <a:pt x="48578" y="7811"/>
                    <a:pt x="58293" y="4667"/>
                  </a:cubicBezTo>
                  <a:cubicBezTo>
                    <a:pt x="67913" y="1524"/>
                    <a:pt x="78486" y="0"/>
                    <a:pt x="89725" y="0"/>
                  </a:cubicBezTo>
                  <a:cubicBezTo>
                    <a:pt x="104013" y="0"/>
                    <a:pt x="118396" y="2286"/>
                    <a:pt x="133064" y="6953"/>
                  </a:cubicBezTo>
                  <a:cubicBezTo>
                    <a:pt x="147638" y="11621"/>
                    <a:pt x="160877" y="17717"/>
                    <a:pt x="172784" y="25527"/>
                  </a:cubicBezTo>
                  <a:lnTo>
                    <a:pt x="157163" y="51435"/>
                  </a:lnTo>
                  <a:cubicBezTo>
                    <a:pt x="146399" y="44577"/>
                    <a:pt x="135255" y="39148"/>
                    <a:pt x="123444" y="35147"/>
                  </a:cubicBezTo>
                  <a:cubicBezTo>
                    <a:pt x="111728" y="31147"/>
                    <a:pt x="100203" y="29146"/>
                    <a:pt x="88868" y="29146"/>
                  </a:cubicBezTo>
                  <a:cubicBezTo>
                    <a:pt x="75152" y="29146"/>
                    <a:pt x="64294" y="32385"/>
                    <a:pt x="56293" y="38767"/>
                  </a:cubicBezTo>
                  <a:cubicBezTo>
                    <a:pt x="48292" y="45149"/>
                    <a:pt x="44196" y="53150"/>
                    <a:pt x="44196" y="62675"/>
                  </a:cubicBezTo>
                  <a:lnTo>
                    <a:pt x="44196" y="63627"/>
                  </a:lnTo>
                  <a:cubicBezTo>
                    <a:pt x="44196" y="68961"/>
                    <a:pt x="45815" y="73628"/>
                    <a:pt x="49149" y="77724"/>
                  </a:cubicBezTo>
                  <a:cubicBezTo>
                    <a:pt x="52388" y="81725"/>
                    <a:pt x="56769" y="85249"/>
                    <a:pt x="62294" y="88202"/>
                  </a:cubicBezTo>
                  <a:cubicBezTo>
                    <a:pt x="67818" y="91154"/>
                    <a:pt x="74104" y="93821"/>
                    <a:pt x="81248" y="96203"/>
                  </a:cubicBezTo>
                  <a:cubicBezTo>
                    <a:pt x="88392" y="98584"/>
                    <a:pt x="95821" y="100965"/>
                    <a:pt x="103537" y="103346"/>
                  </a:cubicBezTo>
                  <a:cubicBezTo>
                    <a:pt x="112490" y="106013"/>
                    <a:pt x="121349" y="108966"/>
                    <a:pt x="130112" y="112300"/>
                  </a:cubicBezTo>
                  <a:cubicBezTo>
                    <a:pt x="138875" y="115538"/>
                    <a:pt x="146875" y="119729"/>
                    <a:pt x="154019" y="124778"/>
                  </a:cubicBezTo>
                  <a:cubicBezTo>
                    <a:pt x="161163" y="129826"/>
                    <a:pt x="166878" y="135922"/>
                    <a:pt x="171164" y="143066"/>
                  </a:cubicBezTo>
                  <a:cubicBezTo>
                    <a:pt x="175450" y="150209"/>
                    <a:pt x="177641" y="158972"/>
                    <a:pt x="177641" y="169450"/>
                  </a:cubicBezTo>
                  <a:lnTo>
                    <a:pt x="177641" y="170307"/>
                  </a:lnTo>
                  <a:cubicBezTo>
                    <a:pt x="177641" y="181356"/>
                    <a:pt x="175450" y="191071"/>
                    <a:pt x="171164" y="199549"/>
                  </a:cubicBezTo>
                  <a:cubicBezTo>
                    <a:pt x="166878" y="208026"/>
                    <a:pt x="161068" y="215265"/>
                    <a:pt x="153734" y="221171"/>
                  </a:cubicBezTo>
                  <a:cubicBezTo>
                    <a:pt x="146495" y="227171"/>
                    <a:pt x="137827" y="231648"/>
                    <a:pt x="127825" y="234791"/>
                  </a:cubicBezTo>
                  <a:cubicBezTo>
                    <a:pt x="117824" y="237935"/>
                    <a:pt x="107061" y="239459"/>
                    <a:pt x="95441" y="239459"/>
                  </a:cubicBezTo>
                  <a:close/>
                </a:path>
              </a:pathLst>
            </a:custGeom>
            <a:solidFill>
              <a:srgbClr val="44505E"/>
            </a:solidFill>
            <a:ln w="9525" cap="flat">
              <a:noFill/>
              <a:prstDash val="solid"/>
              <a:miter/>
            </a:ln>
          </p:spPr>
          <p:txBody>
            <a:bodyPr rtlCol="0" anchor="ctr"/>
            <a:lstStyle/>
            <a:p>
              <a:endParaRPr lang="pt-BR" noProof="0"/>
            </a:p>
          </p:txBody>
        </p:sp>
        <p:sp>
          <p:nvSpPr>
            <p:cNvPr id="1052" name="Freeform: Shape 40">
              <a:extLst>
                <a:ext uri="{FF2B5EF4-FFF2-40B4-BE49-F238E27FC236}">
                  <a16:creationId xmlns:a16="http://schemas.microsoft.com/office/drawing/2014/main" id="{F854222C-5091-B8DC-C10B-2C57BE8A6120}"/>
                </a:ext>
              </a:extLst>
            </p:cNvPr>
            <p:cNvSpPr/>
            <p:nvPr/>
          </p:nvSpPr>
          <p:spPr>
            <a:xfrm>
              <a:off x="5752668" y="924028"/>
              <a:ext cx="58567" cy="77196"/>
            </a:xfrm>
            <a:custGeom>
              <a:avLst/>
              <a:gdLst>
                <a:gd name="connsiteX0" fmla="*/ 198596 w 232981"/>
                <a:gd name="connsiteY0" fmla="*/ 189357 h 307085"/>
                <a:gd name="connsiteX1" fmla="*/ 182785 w 232981"/>
                <a:gd name="connsiteY1" fmla="*/ 208978 h 307085"/>
                <a:gd name="connsiteX2" fmla="*/ 163354 w 232981"/>
                <a:gd name="connsiteY2" fmla="*/ 225552 h 307085"/>
                <a:gd name="connsiteX3" fmla="*/ 139446 w 232981"/>
                <a:gd name="connsiteY3" fmla="*/ 236696 h 307085"/>
                <a:gd name="connsiteX4" fmla="*/ 110204 w 232981"/>
                <a:gd name="connsiteY4" fmla="*/ 240697 h 307085"/>
                <a:gd name="connsiteX5" fmla="*/ 69628 w 232981"/>
                <a:gd name="connsiteY5" fmla="*/ 232696 h 307085"/>
                <a:gd name="connsiteX6" fmla="*/ 34385 w 232981"/>
                <a:gd name="connsiteY6" fmla="*/ 209264 h 307085"/>
                <a:gd name="connsiteX7" fmla="*/ 9335 w 232981"/>
                <a:gd name="connsiteY7" fmla="*/ 171736 h 307085"/>
                <a:gd name="connsiteX8" fmla="*/ 0 w 232981"/>
                <a:gd name="connsiteY8" fmla="*/ 121063 h 307085"/>
                <a:gd name="connsiteX9" fmla="*/ 0 w 232981"/>
                <a:gd name="connsiteY9" fmla="*/ 120205 h 307085"/>
                <a:gd name="connsiteX10" fmla="*/ 9335 w 232981"/>
                <a:gd name="connsiteY10" fmla="*/ 69723 h 307085"/>
                <a:gd name="connsiteX11" fmla="*/ 34385 w 232981"/>
                <a:gd name="connsiteY11" fmla="*/ 32004 h 307085"/>
                <a:gd name="connsiteX12" fmla="*/ 69628 w 232981"/>
                <a:gd name="connsiteY12" fmla="*/ 8287 h 307085"/>
                <a:gd name="connsiteX13" fmla="*/ 110204 w 232981"/>
                <a:gd name="connsiteY13" fmla="*/ 0 h 307085"/>
                <a:gd name="connsiteX14" fmla="*/ 139637 w 232981"/>
                <a:gd name="connsiteY14" fmla="*/ 4000 h 307085"/>
                <a:gd name="connsiteX15" fmla="*/ 163735 w 232981"/>
                <a:gd name="connsiteY15" fmla="*/ 14668 h 307085"/>
                <a:gd name="connsiteX16" fmla="*/ 183166 w 232981"/>
                <a:gd name="connsiteY16" fmla="*/ 30289 h 307085"/>
                <a:gd name="connsiteX17" fmla="*/ 198596 w 232981"/>
                <a:gd name="connsiteY17" fmla="*/ 49054 h 307085"/>
                <a:gd name="connsiteX18" fmla="*/ 198596 w 232981"/>
                <a:gd name="connsiteY18" fmla="*/ 4858 h 307085"/>
                <a:gd name="connsiteX19" fmla="*/ 232982 w 232981"/>
                <a:gd name="connsiteY19" fmla="*/ 4858 h 307085"/>
                <a:gd name="connsiteX20" fmla="*/ 232982 w 232981"/>
                <a:gd name="connsiteY20" fmla="*/ 307086 h 307085"/>
                <a:gd name="connsiteX21" fmla="*/ 198596 w 232981"/>
                <a:gd name="connsiteY21" fmla="*/ 307086 h 307085"/>
                <a:gd name="connsiteX22" fmla="*/ 198596 w 232981"/>
                <a:gd name="connsiteY22" fmla="*/ 189262 h 307085"/>
                <a:gd name="connsiteX23" fmla="*/ 116491 w 232981"/>
                <a:gd name="connsiteY23" fmla="*/ 209931 h 307085"/>
                <a:gd name="connsiteX24" fmla="*/ 147542 w 232981"/>
                <a:gd name="connsiteY24" fmla="*/ 203454 h 307085"/>
                <a:gd name="connsiteX25" fmla="*/ 174308 w 232981"/>
                <a:gd name="connsiteY25" fmla="*/ 185166 h 307085"/>
                <a:gd name="connsiteX26" fmla="*/ 193072 w 232981"/>
                <a:gd name="connsiteY26" fmla="*/ 157067 h 307085"/>
                <a:gd name="connsiteX27" fmla="*/ 200025 w 232981"/>
                <a:gd name="connsiteY27" fmla="*/ 120682 h 307085"/>
                <a:gd name="connsiteX28" fmla="*/ 200025 w 232981"/>
                <a:gd name="connsiteY28" fmla="*/ 119824 h 307085"/>
                <a:gd name="connsiteX29" fmla="*/ 193072 w 232981"/>
                <a:gd name="connsiteY29" fmla="*/ 83439 h 307085"/>
                <a:gd name="connsiteX30" fmla="*/ 174308 w 232981"/>
                <a:gd name="connsiteY30" fmla="*/ 55531 h 307085"/>
                <a:gd name="connsiteX31" fmla="*/ 147542 w 232981"/>
                <a:gd name="connsiteY31" fmla="*/ 37433 h 307085"/>
                <a:gd name="connsiteX32" fmla="*/ 116491 w 232981"/>
                <a:gd name="connsiteY32" fmla="*/ 30956 h 307085"/>
                <a:gd name="connsiteX33" fmla="*/ 84773 w 232981"/>
                <a:gd name="connsiteY33" fmla="*/ 36957 h 307085"/>
                <a:gd name="connsiteX34" fmla="*/ 59150 w 232981"/>
                <a:gd name="connsiteY34" fmla="*/ 54388 h 307085"/>
                <a:gd name="connsiteX35" fmla="*/ 41720 w 232981"/>
                <a:gd name="connsiteY35" fmla="*/ 82296 h 307085"/>
                <a:gd name="connsiteX36" fmla="*/ 35242 w 232981"/>
                <a:gd name="connsiteY36" fmla="*/ 119824 h 307085"/>
                <a:gd name="connsiteX37" fmla="*/ 35242 w 232981"/>
                <a:gd name="connsiteY37" fmla="*/ 120682 h 307085"/>
                <a:gd name="connsiteX38" fmla="*/ 41720 w 232981"/>
                <a:gd name="connsiteY38" fmla="*/ 157734 h 307085"/>
                <a:gd name="connsiteX39" fmla="*/ 59341 w 232981"/>
                <a:gd name="connsiteY39" fmla="*/ 185833 h 307085"/>
                <a:gd name="connsiteX40" fmla="*/ 85249 w 232981"/>
                <a:gd name="connsiteY40" fmla="*/ 203740 h 307085"/>
                <a:gd name="connsiteX41" fmla="*/ 116491 w 232981"/>
                <a:gd name="connsiteY41" fmla="*/ 210026 h 30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07085">
                  <a:moveTo>
                    <a:pt x="198596" y="189357"/>
                  </a:moveTo>
                  <a:cubicBezTo>
                    <a:pt x="193834" y="196215"/>
                    <a:pt x="188595" y="202787"/>
                    <a:pt x="182785" y="208978"/>
                  </a:cubicBezTo>
                  <a:cubicBezTo>
                    <a:pt x="176975" y="215265"/>
                    <a:pt x="170498" y="220789"/>
                    <a:pt x="163354" y="225552"/>
                  </a:cubicBezTo>
                  <a:cubicBezTo>
                    <a:pt x="156210" y="230314"/>
                    <a:pt x="148209" y="234029"/>
                    <a:pt x="139446" y="236696"/>
                  </a:cubicBezTo>
                  <a:cubicBezTo>
                    <a:pt x="130683" y="239363"/>
                    <a:pt x="120967" y="240697"/>
                    <a:pt x="110204" y="240697"/>
                  </a:cubicBezTo>
                  <a:cubicBezTo>
                    <a:pt x="96203" y="240697"/>
                    <a:pt x="82677" y="238030"/>
                    <a:pt x="69628" y="232696"/>
                  </a:cubicBezTo>
                  <a:cubicBezTo>
                    <a:pt x="56579" y="227362"/>
                    <a:pt x="44767" y="219551"/>
                    <a:pt x="34385" y="209264"/>
                  </a:cubicBezTo>
                  <a:cubicBezTo>
                    <a:pt x="24003" y="198977"/>
                    <a:pt x="15621" y="186499"/>
                    <a:pt x="9335" y="171736"/>
                  </a:cubicBezTo>
                  <a:cubicBezTo>
                    <a:pt x="3048" y="156972"/>
                    <a:pt x="0" y="140113"/>
                    <a:pt x="0" y="121063"/>
                  </a:cubicBezTo>
                  <a:lnTo>
                    <a:pt x="0" y="120205"/>
                  </a:lnTo>
                  <a:cubicBezTo>
                    <a:pt x="0" y="101441"/>
                    <a:pt x="3143" y="84677"/>
                    <a:pt x="9335" y="69723"/>
                  </a:cubicBezTo>
                  <a:cubicBezTo>
                    <a:pt x="15621" y="54864"/>
                    <a:pt x="23908" y="42291"/>
                    <a:pt x="34385" y="32004"/>
                  </a:cubicBezTo>
                  <a:cubicBezTo>
                    <a:pt x="44767" y="21717"/>
                    <a:pt x="56579" y="13811"/>
                    <a:pt x="69628" y="8287"/>
                  </a:cubicBezTo>
                  <a:cubicBezTo>
                    <a:pt x="82677" y="2762"/>
                    <a:pt x="96298" y="0"/>
                    <a:pt x="110204" y="0"/>
                  </a:cubicBezTo>
                  <a:cubicBezTo>
                    <a:pt x="120967" y="0"/>
                    <a:pt x="130778" y="1333"/>
                    <a:pt x="139637" y="4000"/>
                  </a:cubicBezTo>
                  <a:cubicBezTo>
                    <a:pt x="148590" y="6667"/>
                    <a:pt x="156591" y="10287"/>
                    <a:pt x="163735" y="14668"/>
                  </a:cubicBezTo>
                  <a:cubicBezTo>
                    <a:pt x="170879" y="19145"/>
                    <a:pt x="177356" y="24384"/>
                    <a:pt x="183166" y="30289"/>
                  </a:cubicBezTo>
                  <a:cubicBezTo>
                    <a:pt x="188976" y="36290"/>
                    <a:pt x="194120" y="42481"/>
                    <a:pt x="198596" y="49054"/>
                  </a:cubicBezTo>
                  <a:lnTo>
                    <a:pt x="198596" y="4858"/>
                  </a:lnTo>
                  <a:lnTo>
                    <a:pt x="232982" y="4858"/>
                  </a:lnTo>
                  <a:lnTo>
                    <a:pt x="232982" y="307086"/>
                  </a:lnTo>
                  <a:lnTo>
                    <a:pt x="198596" y="307086"/>
                  </a:lnTo>
                  <a:lnTo>
                    <a:pt x="198596" y="189262"/>
                  </a:lnTo>
                  <a:close/>
                  <a:moveTo>
                    <a:pt x="116491" y="209931"/>
                  </a:moveTo>
                  <a:cubicBezTo>
                    <a:pt x="127159" y="209931"/>
                    <a:pt x="137541" y="207740"/>
                    <a:pt x="147542" y="203454"/>
                  </a:cubicBezTo>
                  <a:cubicBezTo>
                    <a:pt x="157544" y="199168"/>
                    <a:pt x="166402" y="193072"/>
                    <a:pt x="174308" y="185166"/>
                  </a:cubicBezTo>
                  <a:cubicBezTo>
                    <a:pt x="182213" y="177260"/>
                    <a:pt x="188404" y="167926"/>
                    <a:pt x="193072" y="157067"/>
                  </a:cubicBezTo>
                  <a:cubicBezTo>
                    <a:pt x="197739" y="146209"/>
                    <a:pt x="200025" y="134112"/>
                    <a:pt x="200025" y="120682"/>
                  </a:cubicBezTo>
                  <a:lnTo>
                    <a:pt x="200025" y="119824"/>
                  </a:lnTo>
                  <a:cubicBezTo>
                    <a:pt x="200025" y="106394"/>
                    <a:pt x="197739" y="94297"/>
                    <a:pt x="193072" y="83439"/>
                  </a:cubicBezTo>
                  <a:cubicBezTo>
                    <a:pt x="188500" y="72580"/>
                    <a:pt x="182213" y="63246"/>
                    <a:pt x="174308" y="55531"/>
                  </a:cubicBezTo>
                  <a:cubicBezTo>
                    <a:pt x="166402" y="47815"/>
                    <a:pt x="157544" y="41815"/>
                    <a:pt x="147542" y="37433"/>
                  </a:cubicBezTo>
                  <a:cubicBezTo>
                    <a:pt x="137541" y="33147"/>
                    <a:pt x="127254" y="30956"/>
                    <a:pt x="116491" y="30956"/>
                  </a:cubicBezTo>
                  <a:cubicBezTo>
                    <a:pt x="105156" y="30956"/>
                    <a:pt x="94583" y="32956"/>
                    <a:pt x="84773" y="36957"/>
                  </a:cubicBezTo>
                  <a:cubicBezTo>
                    <a:pt x="74962" y="40957"/>
                    <a:pt x="66389" y="46767"/>
                    <a:pt x="59150" y="54388"/>
                  </a:cubicBezTo>
                  <a:cubicBezTo>
                    <a:pt x="51816" y="61913"/>
                    <a:pt x="46101" y="71247"/>
                    <a:pt x="41720" y="82296"/>
                  </a:cubicBezTo>
                  <a:cubicBezTo>
                    <a:pt x="37433" y="93250"/>
                    <a:pt x="35242" y="105823"/>
                    <a:pt x="35242" y="119824"/>
                  </a:cubicBezTo>
                  <a:lnTo>
                    <a:pt x="35242" y="120682"/>
                  </a:lnTo>
                  <a:cubicBezTo>
                    <a:pt x="35242" y="134398"/>
                    <a:pt x="37433" y="146780"/>
                    <a:pt x="41720" y="157734"/>
                  </a:cubicBezTo>
                  <a:cubicBezTo>
                    <a:pt x="46006" y="168783"/>
                    <a:pt x="51911" y="178117"/>
                    <a:pt x="59341" y="185833"/>
                  </a:cubicBezTo>
                  <a:cubicBezTo>
                    <a:pt x="66770" y="193548"/>
                    <a:pt x="75438" y="199549"/>
                    <a:pt x="85249" y="203740"/>
                  </a:cubicBezTo>
                  <a:cubicBezTo>
                    <a:pt x="95060" y="207931"/>
                    <a:pt x="105442" y="210026"/>
                    <a:pt x="116491" y="210026"/>
                  </a:cubicBezTo>
                  <a:close/>
                </a:path>
              </a:pathLst>
            </a:custGeom>
            <a:solidFill>
              <a:srgbClr val="44505E"/>
            </a:solidFill>
            <a:ln w="9525" cap="flat">
              <a:noFill/>
              <a:prstDash val="solid"/>
              <a:miter/>
            </a:ln>
          </p:spPr>
          <p:txBody>
            <a:bodyPr rtlCol="0" anchor="ctr"/>
            <a:lstStyle/>
            <a:p>
              <a:endParaRPr lang="pt-BR" noProof="0"/>
            </a:p>
          </p:txBody>
        </p:sp>
        <p:sp>
          <p:nvSpPr>
            <p:cNvPr id="1053" name="Freeform: Shape 41">
              <a:extLst>
                <a:ext uri="{FF2B5EF4-FFF2-40B4-BE49-F238E27FC236}">
                  <a16:creationId xmlns:a16="http://schemas.microsoft.com/office/drawing/2014/main" id="{BCAB3FDD-FF2D-F95A-CF18-DBB289B70AA0}"/>
                </a:ext>
              </a:extLst>
            </p:cNvPr>
            <p:cNvSpPr/>
            <p:nvPr/>
          </p:nvSpPr>
          <p:spPr>
            <a:xfrm>
              <a:off x="5829624" y="925297"/>
              <a:ext cx="50618" cy="59238"/>
            </a:xfrm>
            <a:custGeom>
              <a:avLst/>
              <a:gdLst>
                <a:gd name="connsiteX0" fmla="*/ 88392 w 201358"/>
                <a:gd name="connsiteY0" fmla="*/ 235648 h 235648"/>
                <a:gd name="connsiteX1" fmla="*/ 51149 w 201358"/>
                <a:gd name="connsiteY1" fmla="*/ 228981 h 235648"/>
                <a:gd name="connsiteX2" fmla="*/ 23432 w 201358"/>
                <a:gd name="connsiteY2" fmla="*/ 210026 h 235648"/>
                <a:gd name="connsiteX3" fmla="*/ 6001 w 201358"/>
                <a:gd name="connsiteY3" fmla="*/ 180784 h 235648"/>
                <a:gd name="connsiteX4" fmla="*/ 0 w 201358"/>
                <a:gd name="connsiteY4" fmla="*/ 143256 h 235648"/>
                <a:gd name="connsiteX5" fmla="*/ 0 w 201358"/>
                <a:gd name="connsiteY5" fmla="*/ 0 h 235648"/>
                <a:gd name="connsiteX6" fmla="*/ 34385 w 201358"/>
                <a:gd name="connsiteY6" fmla="*/ 0 h 235648"/>
                <a:gd name="connsiteX7" fmla="*/ 34385 w 201358"/>
                <a:gd name="connsiteY7" fmla="*/ 134493 h 235648"/>
                <a:gd name="connsiteX8" fmla="*/ 50959 w 201358"/>
                <a:gd name="connsiteY8" fmla="*/ 185261 h 235648"/>
                <a:gd name="connsiteX9" fmla="*/ 98298 w 201358"/>
                <a:gd name="connsiteY9" fmla="*/ 203930 h 235648"/>
                <a:gd name="connsiteX10" fmla="*/ 125730 w 201358"/>
                <a:gd name="connsiteY10" fmla="*/ 198787 h 235648"/>
                <a:gd name="connsiteX11" fmla="*/ 147638 w 201358"/>
                <a:gd name="connsiteY11" fmla="*/ 184118 h 235648"/>
                <a:gd name="connsiteX12" fmla="*/ 162116 w 201358"/>
                <a:gd name="connsiteY12" fmla="*/ 161163 h 235648"/>
                <a:gd name="connsiteX13" fmla="*/ 167450 w 201358"/>
                <a:gd name="connsiteY13" fmla="*/ 131826 h 235648"/>
                <a:gd name="connsiteX14" fmla="*/ 167450 w 201358"/>
                <a:gd name="connsiteY14" fmla="*/ 0 h 235648"/>
                <a:gd name="connsiteX15" fmla="*/ 201359 w 201358"/>
                <a:gd name="connsiteY15" fmla="*/ 0 h 235648"/>
                <a:gd name="connsiteX16" fmla="*/ 201359 w 201358"/>
                <a:gd name="connsiteY16" fmla="*/ 230791 h 235648"/>
                <a:gd name="connsiteX17" fmla="*/ 167450 w 201358"/>
                <a:gd name="connsiteY17" fmla="*/ 230791 h 235648"/>
                <a:gd name="connsiteX18" fmla="*/ 167450 w 201358"/>
                <a:gd name="connsiteY18" fmla="*/ 190595 h 235648"/>
                <a:gd name="connsiteX19" fmla="*/ 137065 w 201358"/>
                <a:gd name="connsiteY19" fmla="*/ 222504 h 235648"/>
                <a:gd name="connsiteX20" fmla="*/ 88392 w 201358"/>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358" h="235648">
                  <a:moveTo>
                    <a:pt x="88392" y="235648"/>
                  </a:moveTo>
                  <a:cubicBezTo>
                    <a:pt x="74390" y="235648"/>
                    <a:pt x="62008" y="233363"/>
                    <a:pt x="51149" y="228981"/>
                  </a:cubicBezTo>
                  <a:cubicBezTo>
                    <a:pt x="40291" y="224504"/>
                    <a:pt x="31052" y="218218"/>
                    <a:pt x="23432"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959" y="185261"/>
                  </a:cubicBezTo>
                  <a:cubicBezTo>
                    <a:pt x="61913" y="197739"/>
                    <a:pt x="77724" y="203930"/>
                    <a:pt x="98298" y="203930"/>
                  </a:cubicBezTo>
                  <a:cubicBezTo>
                    <a:pt x="108109" y="203930"/>
                    <a:pt x="117253" y="202216"/>
                    <a:pt x="125730" y="198787"/>
                  </a:cubicBezTo>
                  <a:cubicBezTo>
                    <a:pt x="134207" y="195358"/>
                    <a:pt x="141446" y="190500"/>
                    <a:pt x="147638" y="184118"/>
                  </a:cubicBezTo>
                  <a:cubicBezTo>
                    <a:pt x="153734" y="177736"/>
                    <a:pt x="158591" y="170116"/>
                    <a:pt x="162116" y="161163"/>
                  </a:cubicBezTo>
                  <a:cubicBezTo>
                    <a:pt x="165735" y="152305"/>
                    <a:pt x="167450" y="142494"/>
                    <a:pt x="167450" y="131826"/>
                  </a:cubicBezTo>
                  <a:lnTo>
                    <a:pt x="167450" y="0"/>
                  </a:lnTo>
                  <a:lnTo>
                    <a:pt x="201359" y="0"/>
                  </a:lnTo>
                  <a:lnTo>
                    <a:pt x="201359" y="230791"/>
                  </a:lnTo>
                  <a:lnTo>
                    <a:pt x="167450" y="230791"/>
                  </a:lnTo>
                  <a:lnTo>
                    <a:pt x="167450" y="190595"/>
                  </a:lnTo>
                  <a:cubicBezTo>
                    <a:pt x="159734" y="203073"/>
                    <a:pt x="149543" y="213741"/>
                    <a:pt x="137065" y="222504"/>
                  </a:cubicBezTo>
                  <a:cubicBezTo>
                    <a:pt x="124587" y="231267"/>
                    <a:pt x="108395" y="235648"/>
                    <a:pt x="88392" y="235648"/>
                  </a:cubicBezTo>
                  <a:close/>
                </a:path>
              </a:pathLst>
            </a:custGeom>
            <a:solidFill>
              <a:srgbClr val="44505E"/>
            </a:solidFill>
            <a:ln w="9525" cap="flat">
              <a:noFill/>
              <a:prstDash val="solid"/>
              <a:miter/>
            </a:ln>
          </p:spPr>
          <p:txBody>
            <a:bodyPr rtlCol="0" anchor="ctr"/>
            <a:lstStyle/>
            <a:p>
              <a:endParaRPr lang="pt-BR" noProof="0"/>
            </a:p>
          </p:txBody>
        </p:sp>
        <p:sp>
          <p:nvSpPr>
            <p:cNvPr id="1054" name="Freeform: Shape 42">
              <a:extLst>
                <a:ext uri="{FF2B5EF4-FFF2-40B4-BE49-F238E27FC236}">
                  <a16:creationId xmlns:a16="http://schemas.microsoft.com/office/drawing/2014/main" id="{16658765-A369-04B7-8E85-0C6323B8B943}"/>
                </a:ext>
              </a:extLst>
            </p:cNvPr>
            <p:cNvSpPr/>
            <p:nvPr/>
          </p:nvSpPr>
          <p:spPr>
            <a:xfrm>
              <a:off x="5896069"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7059 w 218217"/>
                <a:gd name="connsiteY3" fmla="*/ 206026 h 241077"/>
                <a:gd name="connsiteX4" fmla="*/ 116110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7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0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356 w 218217"/>
                <a:gd name="connsiteY25" fmla="*/ 106299 h 241077"/>
                <a:gd name="connsiteX26" fmla="*/ 176689 w 218217"/>
                <a:gd name="connsiteY26" fmla="*/ 76771 h 241077"/>
                <a:gd name="connsiteX27" fmla="*/ 162211 w 218217"/>
                <a:gd name="connsiteY27" fmla="*/ 52101 h 241077"/>
                <a:gd name="connsiteX28" fmla="*/ 139922 w 218217"/>
                <a:gd name="connsiteY28" fmla="*/ 35242 h 241077"/>
                <a:gd name="connsiteX29" fmla="*/ 109823 w 218217"/>
                <a:gd name="connsiteY29" fmla="*/ 29051 h 241077"/>
                <a:gd name="connsiteX30" fmla="*/ 82105 w 218217"/>
                <a:gd name="connsiteY30" fmla="*/ 34766 h 241077"/>
                <a:gd name="connsiteX31" fmla="*/ 59341 w 218217"/>
                <a:gd name="connsiteY31" fmla="*/ 50959 h 241077"/>
                <a:gd name="connsiteX32" fmla="*/ 43053 w 218217"/>
                <a:gd name="connsiteY32" fmla="*/ 75628 h 241077"/>
                <a:gd name="connsiteX33" fmla="*/ 34766 w 218217"/>
                <a:gd name="connsiteY33" fmla="*/ 106204 h 241077"/>
                <a:gd name="connsiteX34" fmla="*/ 183356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819" y="202597"/>
                    <a:pt x="87059" y="206026"/>
                  </a:cubicBezTo>
                  <a:cubicBezTo>
                    <a:pt x="96298" y="209455"/>
                    <a:pt x="105918" y="211169"/>
                    <a:pt x="116110" y="211169"/>
                  </a:cubicBezTo>
                  <a:cubicBezTo>
                    <a:pt x="132207" y="211169"/>
                    <a:pt x="145923" y="208216"/>
                    <a:pt x="157353" y="202216"/>
                  </a:cubicBezTo>
                  <a:cubicBezTo>
                    <a:pt x="168783" y="196310"/>
                    <a:pt x="179261" y="188404"/>
                    <a:pt x="188786" y="178594"/>
                  </a:cubicBezTo>
                  <a:lnTo>
                    <a:pt x="210217" y="197834"/>
                  </a:lnTo>
                  <a:cubicBezTo>
                    <a:pt x="198596" y="210979"/>
                    <a:pt x="185356" y="221361"/>
                    <a:pt x="170497" y="229267"/>
                  </a:cubicBezTo>
                  <a:cubicBezTo>
                    <a:pt x="155638"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583" y="0"/>
                    <a:pt x="110680"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356" y="106299"/>
                  </a:moveTo>
                  <a:cubicBezTo>
                    <a:pt x="182499" y="95917"/>
                    <a:pt x="180213" y="86106"/>
                    <a:pt x="176689" y="76771"/>
                  </a:cubicBezTo>
                  <a:cubicBezTo>
                    <a:pt x="173069" y="67437"/>
                    <a:pt x="168307" y="59245"/>
                    <a:pt x="162211" y="52101"/>
                  </a:cubicBezTo>
                  <a:cubicBezTo>
                    <a:pt x="156115" y="44958"/>
                    <a:pt x="148685" y="39338"/>
                    <a:pt x="139922" y="35242"/>
                  </a:cubicBezTo>
                  <a:cubicBezTo>
                    <a:pt x="131159" y="31147"/>
                    <a:pt x="121063" y="29051"/>
                    <a:pt x="109823" y="29051"/>
                  </a:cubicBezTo>
                  <a:cubicBezTo>
                    <a:pt x="100013" y="29051"/>
                    <a:pt x="90773" y="30956"/>
                    <a:pt x="82105" y="34766"/>
                  </a:cubicBezTo>
                  <a:cubicBezTo>
                    <a:pt x="73438" y="38671"/>
                    <a:pt x="65913" y="44005"/>
                    <a:pt x="59341" y="50959"/>
                  </a:cubicBezTo>
                  <a:cubicBezTo>
                    <a:pt x="52769" y="57912"/>
                    <a:pt x="47339" y="66103"/>
                    <a:pt x="43053" y="75628"/>
                  </a:cubicBezTo>
                  <a:cubicBezTo>
                    <a:pt x="38767" y="85058"/>
                    <a:pt x="36004" y="95345"/>
                    <a:pt x="34766" y="106204"/>
                  </a:cubicBezTo>
                  <a:lnTo>
                    <a:pt x="183356" y="106204"/>
                  </a:lnTo>
                  <a:close/>
                </a:path>
              </a:pathLst>
            </a:custGeom>
            <a:solidFill>
              <a:srgbClr val="44505E"/>
            </a:solidFill>
            <a:ln w="9525" cap="flat">
              <a:noFill/>
              <a:prstDash val="solid"/>
              <a:miter/>
            </a:ln>
          </p:spPr>
          <p:txBody>
            <a:bodyPr rtlCol="0" anchor="ctr"/>
            <a:lstStyle/>
            <a:p>
              <a:endParaRPr lang="pt-BR" noProof="0"/>
            </a:p>
          </p:txBody>
        </p:sp>
        <p:sp>
          <p:nvSpPr>
            <p:cNvPr id="1055" name="Freeform: Shape 43">
              <a:extLst>
                <a:ext uri="{FF2B5EF4-FFF2-40B4-BE49-F238E27FC236}">
                  <a16:creationId xmlns:a16="http://schemas.microsoft.com/office/drawing/2014/main" id="{69CDF0B9-B889-8313-B5DA-41846F13E283}"/>
                </a:ext>
              </a:extLst>
            </p:cNvPr>
            <p:cNvSpPr/>
            <p:nvPr/>
          </p:nvSpPr>
          <p:spPr>
            <a:xfrm>
              <a:off x="5994910" y="924268"/>
              <a:ext cx="44680" cy="60195"/>
            </a:xfrm>
            <a:custGeom>
              <a:avLst/>
              <a:gdLst>
                <a:gd name="connsiteX0" fmla="*/ 95536 w 177736"/>
                <a:gd name="connsiteY0" fmla="*/ 239268 h 239458"/>
                <a:gd name="connsiteX1" fmla="*/ 45053 w 177736"/>
                <a:gd name="connsiteY1" fmla="*/ 230124 h 239458"/>
                <a:gd name="connsiteX2" fmla="*/ 0 w 177736"/>
                <a:gd name="connsiteY2" fmla="*/ 205359 h 239458"/>
                <a:gd name="connsiteX3" fmla="*/ 17431 w 177736"/>
                <a:gd name="connsiteY3" fmla="*/ 180785 h 239458"/>
                <a:gd name="connsiteX4" fmla="*/ 56483 w 177736"/>
                <a:gd name="connsiteY4" fmla="*/ 202692 h 239458"/>
                <a:gd name="connsiteX5" fmla="*/ 97346 w 177736"/>
                <a:gd name="connsiteY5" fmla="*/ 210217 h 239458"/>
                <a:gd name="connsiteX6" fmla="*/ 131731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730 w 177736"/>
                <a:gd name="connsiteY10" fmla="*/ 147066 h 239458"/>
                <a:gd name="connsiteX11" fmla="*/ 109252 w 177736"/>
                <a:gd name="connsiteY11" fmla="*/ 138779 h 239458"/>
                <a:gd name="connsiteX12" fmla="*/ 87630 w 177736"/>
                <a:gd name="connsiteY12" fmla="*/ 132112 h 239458"/>
                <a:gd name="connsiteX13" fmla="*/ 60674 w 177736"/>
                <a:gd name="connsiteY13" fmla="*/ 123444 h 239458"/>
                <a:gd name="connsiteX14" fmla="*/ 36100 w 177736"/>
                <a:gd name="connsiteY14" fmla="*/ 111633 h 239458"/>
                <a:gd name="connsiteX15" fmla="*/ 18193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60 w 177736"/>
                <a:gd name="connsiteY22" fmla="*/ 6953 h 239458"/>
                <a:gd name="connsiteX23" fmla="*/ 172879 w 177736"/>
                <a:gd name="connsiteY23" fmla="*/ 25527 h 239458"/>
                <a:gd name="connsiteX24" fmla="*/ 157258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4 w 177736"/>
                <a:gd name="connsiteY32" fmla="*/ 96203 h 239458"/>
                <a:gd name="connsiteX33" fmla="*/ 103632 w 177736"/>
                <a:gd name="connsiteY33" fmla="*/ 103346 h 239458"/>
                <a:gd name="connsiteX34" fmla="*/ 130207 w 177736"/>
                <a:gd name="connsiteY34" fmla="*/ 112300 h 239458"/>
                <a:gd name="connsiteX35" fmla="*/ 154114 w 177736"/>
                <a:gd name="connsiteY35" fmla="*/ 124778 h 239458"/>
                <a:gd name="connsiteX36" fmla="*/ 171260 w 177736"/>
                <a:gd name="connsiteY36" fmla="*/ 143066 h 239458"/>
                <a:gd name="connsiteX37" fmla="*/ 177737 w 177736"/>
                <a:gd name="connsiteY37" fmla="*/ 169450 h 239458"/>
                <a:gd name="connsiteX38" fmla="*/ 177737 w 177736"/>
                <a:gd name="connsiteY38" fmla="*/ 170307 h 239458"/>
                <a:gd name="connsiteX39" fmla="*/ 171260 w 177736"/>
                <a:gd name="connsiteY39" fmla="*/ 199549 h 239458"/>
                <a:gd name="connsiteX40" fmla="*/ 153829 w 177736"/>
                <a:gd name="connsiteY40" fmla="*/ 221171 h 239458"/>
                <a:gd name="connsiteX41" fmla="*/ 127921 w 177736"/>
                <a:gd name="connsiteY41" fmla="*/ 234791 h 239458"/>
                <a:gd name="connsiteX42" fmla="*/ 95536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6" y="239268"/>
                  </a:moveTo>
                  <a:cubicBezTo>
                    <a:pt x="78867" y="239268"/>
                    <a:pt x="62008" y="236220"/>
                    <a:pt x="45053" y="230124"/>
                  </a:cubicBezTo>
                  <a:cubicBezTo>
                    <a:pt x="28099" y="224028"/>
                    <a:pt x="13049" y="215741"/>
                    <a:pt x="0" y="205359"/>
                  </a:cubicBezTo>
                  <a:lnTo>
                    <a:pt x="17431" y="180785"/>
                  </a:lnTo>
                  <a:cubicBezTo>
                    <a:pt x="29909"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637" y="162211"/>
                    <a:pt x="140494" y="158020"/>
                  </a:cubicBezTo>
                  <a:cubicBezTo>
                    <a:pt x="137351" y="153829"/>
                    <a:pt x="133160" y="150209"/>
                    <a:pt x="127730" y="147066"/>
                  </a:cubicBezTo>
                  <a:cubicBezTo>
                    <a:pt x="122396" y="143923"/>
                    <a:pt x="116205" y="141161"/>
                    <a:pt x="109252" y="138779"/>
                  </a:cubicBezTo>
                  <a:cubicBezTo>
                    <a:pt x="102299" y="136398"/>
                    <a:pt x="95060" y="134207"/>
                    <a:pt x="87630" y="132112"/>
                  </a:cubicBezTo>
                  <a:cubicBezTo>
                    <a:pt x="78677" y="129445"/>
                    <a:pt x="69723" y="126492"/>
                    <a:pt x="60674" y="123444"/>
                  </a:cubicBezTo>
                  <a:cubicBezTo>
                    <a:pt x="51626" y="120301"/>
                    <a:pt x="43434" y="116396"/>
                    <a:pt x="36100" y="111633"/>
                  </a:cubicBezTo>
                  <a:cubicBezTo>
                    <a:pt x="28766" y="106871"/>
                    <a:pt x="22860" y="100870"/>
                    <a:pt x="18193" y="93726"/>
                  </a:cubicBezTo>
                  <a:cubicBezTo>
                    <a:pt x="13621" y="86582"/>
                    <a:pt x="11239" y="77629"/>
                    <a:pt x="11239" y="66961"/>
                  </a:cubicBezTo>
                  <a:lnTo>
                    <a:pt x="11239" y="66008"/>
                  </a:lnTo>
                  <a:cubicBezTo>
                    <a:pt x="11239" y="56198"/>
                    <a:pt x="13145" y="47149"/>
                    <a:pt x="17050" y="39053"/>
                  </a:cubicBezTo>
                  <a:cubicBezTo>
                    <a:pt x="20860" y="30861"/>
                    <a:pt x="26289" y="23908"/>
                    <a:pt x="33338" y="18098"/>
                  </a:cubicBezTo>
                  <a:cubicBezTo>
                    <a:pt x="40291" y="12287"/>
                    <a:pt x="48673" y="7811"/>
                    <a:pt x="58388" y="4667"/>
                  </a:cubicBezTo>
                  <a:cubicBezTo>
                    <a:pt x="68009" y="1524"/>
                    <a:pt x="78581" y="0"/>
                    <a:pt x="89821" y="0"/>
                  </a:cubicBezTo>
                  <a:cubicBezTo>
                    <a:pt x="104108" y="0"/>
                    <a:pt x="118491" y="2286"/>
                    <a:pt x="133160" y="6953"/>
                  </a:cubicBezTo>
                  <a:cubicBezTo>
                    <a:pt x="147733" y="11621"/>
                    <a:pt x="160972" y="17717"/>
                    <a:pt x="172879" y="25527"/>
                  </a:cubicBezTo>
                  <a:lnTo>
                    <a:pt x="157258" y="51435"/>
                  </a:lnTo>
                  <a:cubicBezTo>
                    <a:pt x="146495" y="44577"/>
                    <a:pt x="135350" y="39148"/>
                    <a:pt x="123539" y="35147"/>
                  </a:cubicBezTo>
                  <a:cubicBezTo>
                    <a:pt x="111824" y="31147"/>
                    <a:pt x="100298" y="29146"/>
                    <a:pt x="88963" y="29146"/>
                  </a:cubicBezTo>
                  <a:cubicBezTo>
                    <a:pt x="75247" y="29146"/>
                    <a:pt x="64389" y="32385"/>
                    <a:pt x="56388" y="38767"/>
                  </a:cubicBezTo>
                  <a:cubicBezTo>
                    <a:pt x="48387" y="45149"/>
                    <a:pt x="44291" y="53150"/>
                    <a:pt x="44291" y="62675"/>
                  </a:cubicBezTo>
                  <a:lnTo>
                    <a:pt x="44291" y="63627"/>
                  </a:lnTo>
                  <a:cubicBezTo>
                    <a:pt x="44291" y="68961"/>
                    <a:pt x="45911" y="73628"/>
                    <a:pt x="49244" y="77724"/>
                  </a:cubicBezTo>
                  <a:cubicBezTo>
                    <a:pt x="52483" y="81725"/>
                    <a:pt x="56960" y="85249"/>
                    <a:pt x="62389" y="88202"/>
                  </a:cubicBezTo>
                  <a:cubicBezTo>
                    <a:pt x="67913" y="91154"/>
                    <a:pt x="74200" y="93821"/>
                    <a:pt x="81344" y="96203"/>
                  </a:cubicBezTo>
                  <a:cubicBezTo>
                    <a:pt x="88487" y="98584"/>
                    <a:pt x="95917" y="100965"/>
                    <a:pt x="103632" y="103346"/>
                  </a:cubicBezTo>
                  <a:cubicBezTo>
                    <a:pt x="112586" y="106013"/>
                    <a:pt x="121444" y="108966"/>
                    <a:pt x="130207" y="112300"/>
                  </a:cubicBezTo>
                  <a:cubicBezTo>
                    <a:pt x="138970" y="115538"/>
                    <a:pt x="146971" y="119729"/>
                    <a:pt x="154114" y="124778"/>
                  </a:cubicBezTo>
                  <a:cubicBezTo>
                    <a:pt x="161258" y="129826"/>
                    <a:pt x="166973" y="135922"/>
                    <a:pt x="171260" y="143066"/>
                  </a:cubicBezTo>
                  <a:cubicBezTo>
                    <a:pt x="175546" y="150209"/>
                    <a:pt x="177737" y="158972"/>
                    <a:pt x="177737" y="169450"/>
                  </a:cubicBezTo>
                  <a:lnTo>
                    <a:pt x="177737" y="170307"/>
                  </a:lnTo>
                  <a:cubicBezTo>
                    <a:pt x="177737" y="181356"/>
                    <a:pt x="175546" y="191071"/>
                    <a:pt x="171260" y="199549"/>
                  </a:cubicBezTo>
                  <a:cubicBezTo>
                    <a:pt x="166973" y="208026"/>
                    <a:pt x="161163" y="215265"/>
                    <a:pt x="153829" y="221171"/>
                  </a:cubicBezTo>
                  <a:cubicBezTo>
                    <a:pt x="146495" y="227171"/>
                    <a:pt x="137922" y="231648"/>
                    <a:pt x="127921" y="234791"/>
                  </a:cubicBezTo>
                  <a:cubicBezTo>
                    <a:pt x="117920" y="237935"/>
                    <a:pt x="107156" y="239459"/>
                    <a:pt x="95536" y="239459"/>
                  </a:cubicBezTo>
                  <a:close/>
                </a:path>
              </a:pathLst>
            </a:custGeom>
            <a:solidFill>
              <a:srgbClr val="44505E"/>
            </a:solidFill>
            <a:ln w="9525" cap="flat">
              <a:noFill/>
              <a:prstDash val="solid"/>
              <a:miter/>
            </a:ln>
          </p:spPr>
          <p:txBody>
            <a:bodyPr rtlCol="0" anchor="ctr"/>
            <a:lstStyle/>
            <a:p>
              <a:endParaRPr lang="pt-BR" noProof="0"/>
            </a:p>
          </p:txBody>
        </p:sp>
        <p:sp>
          <p:nvSpPr>
            <p:cNvPr id="1056" name="Freeform: Shape 44">
              <a:extLst>
                <a:ext uri="{FF2B5EF4-FFF2-40B4-BE49-F238E27FC236}">
                  <a16:creationId xmlns:a16="http://schemas.microsoft.com/office/drawing/2014/main" id="{3042FAF3-D38B-B554-81D0-A5105C51993D}"/>
                </a:ext>
              </a:extLst>
            </p:cNvPr>
            <p:cNvSpPr/>
            <p:nvPr/>
          </p:nvSpPr>
          <p:spPr>
            <a:xfrm>
              <a:off x="605122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4 w 202977"/>
                <a:gd name="connsiteY30" fmla="*/ 174593 h 239267"/>
                <a:gd name="connsiteX31" fmla="*/ 169735 w 202977"/>
                <a:gd name="connsiteY31" fmla="*/ 149447 h 239267"/>
                <a:gd name="connsiteX32" fmla="*/ 169735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0" y="90964"/>
                    <a:pt x="98584" y="90964"/>
                  </a:cubicBezTo>
                  <a:cubicBezTo>
                    <a:pt x="113157" y="90964"/>
                    <a:pt x="126301"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1" y="33147"/>
                    <a:pt x="63436" y="36100"/>
                  </a:cubicBezTo>
                  <a:cubicBezTo>
                    <a:pt x="52292" y="39053"/>
                    <a:pt x="41338" y="43053"/>
                    <a:pt x="30671" y="48196"/>
                  </a:cubicBezTo>
                  <a:lnTo>
                    <a:pt x="20383" y="19907"/>
                  </a:lnTo>
                  <a:cubicBezTo>
                    <a:pt x="33147" y="13906"/>
                    <a:pt x="46101" y="9049"/>
                    <a:pt x="59246" y="5429"/>
                  </a:cubicBezTo>
                  <a:cubicBezTo>
                    <a:pt x="72295"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1" y="239173"/>
                  </a:cubicBezTo>
                  <a:close/>
                  <a:moveTo>
                    <a:pt x="93154" y="211169"/>
                  </a:moveTo>
                  <a:cubicBezTo>
                    <a:pt x="103822" y="211169"/>
                    <a:pt x="113728" y="209740"/>
                    <a:pt x="122967" y="206788"/>
                  </a:cubicBezTo>
                  <a:cubicBezTo>
                    <a:pt x="132207" y="203835"/>
                    <a:pt x="140208" y="199644"/>
                    <a:pt x="147256" y="194120"/>
                  </a:cubicBezTo>
                  <a:cubicBezTo>
                    <a:pt x="154209" y="188595"/>
                    <a:pt x="159734" y="182118"/>
                    <a:pt x="163734" y="174593"/>
                  </a:cubicBezTo>
                  <a:cubicBezTo>
                    <a:pt x="167735" y="167068"/>
                    <a:pt x="169735" y="158687"/>
                    <a:pt x="169735" y="149447"/>
                  </a:cubicBezTo>
                  <a:lnTo>
                    <a:pt x="169735" y="128111"/>
                  </a:lnTo>
                  <a:cubicBezTo>
                    <a:pt x="161163" y="125730"/>
                    <a:pt x="151352" y="123539"/>
                    <a:pt x="140398" y="121444"/>
                  </a:cubicBezTo>
                  <a:cubicBezTo>
                    <a:pt x="129445" y="119348"/>
                    <a:pt x="116872"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1057" name="Freeform: Shape 45">
              <a:extLst>
                <a:ext uri="{FF2B5EF4-FFF2-40B4-BE49-F238E27FC236}">
                  <a16:creationId xmlns:a16="http://schemas.microsoft.com/office/drawing/2014/main" id="{4744E7A0-EEB7-84D8-51AE-04F9A392FA33}"/>
                </a:ext>
              </a:extLst>
            </p:cNvPr>
            <p:cNvSpPr/>
            <p:nvPr/>
          </p:nvSpPr>
          <p:spPr>
            <a:xfrm>
              <a:off x="6121359" y="901377"/>
              <a:ext cx="8644" cy="81913"/>
            </a:xfrm>
            <a:custGeom>
              <a:avLst/>
              <a:gdLst>
                <a:gd name="connsiteX0" fmla="*/ 0 w 34385"/>
                <a:gd name="connsiteY0" fmla="*/ 0 h 325850"/>
                <a:gd name="connsiteX1" fmla="*/ 34385 w 34385"/>
                <a:gd name="connsiteY1" fmla="*/ 0 h 325850"/>
                <a:gd name="connsiteX2" fmla="*/ 34385 w 34385"/>
                <a:gd name="connsiteY2" fmla="*/ 325850 h 325850"/>
                <a:gd name="connsiteX3" fmla="*/ 0 w 34385"/>
                <a:gd name="connsiteY3" fmla="*/ 325850 h 325850"/>
                <a:gd name="connsiteX4" fmla="*/ 0 w 34385"/>
                <a:gd name="connsiteY4" fmla="*/ 0 h 32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 h="325850">
                  <a:moveTo>
                    <a:pt x="0" y="0"/>
                  </a:moveTo>
                  <a:lnTo>
                    <a:pt x="34385" y="0"/>
                  </a:lnTo>
                  <a:lnTo>
                    <a:pt x="34385" y="325850"/>
                  </a:lnTo>
                  <a:lnTo>
                    <a:pt x="0" y="325850"/>
                  </a:lnTo>
                  <a:lnTo>
                    <a:pt x="0" y="0"/>
                  </a:lnTo>
                  <a:close/>
                </a:path>
              </a:pathLst>
            </a:custGeom>
            <a:solidFill>
              <a:srgbClr val="44505E"/>
            </a:solidFill>
            <a:ln w="9525" cap="flat">
              <a:noFill/>
              <a:prstDash val="solid"/>
              <a:miter/>
            </a:ln>
          </p:spPr>
          <p:txBody>
            <a:bodyPr rtlCol="0" anchor="ctr"/>
            <a:lstStyle/>
            <a:p>
              <a:endParaRPr lang="pt-BR" noProof="0"/>
            </a:p>
          </p:txBody>
        </p:sp>
        <p:sp>
          <p:nvSpPr>
            <p:cNvPr id="1058" name="Freeform: Shape 46">
              <a:extLst>
                <a:ext uri="{FF2B5EF4-FFF2-40B4-BE49-F238E27FC236}">
                  <a16:creationId xmlns:a16="http://schemas.microsoft.com/office/drawing/2014/main" id="{DC4585D5-C6D4-ADB7-B163-5F02DF753AEF}"/>
                </a:ext>
              </a:extLst>
            </p:cNvPr>
            <p:cNvSpPr/>
            <p:nvPr/>
          </p:nvSpPr>
          <p:spPr>
            <a:xfrm>
              <a:off x="6144346" y="925273"/>
              <a:ext cx="58016" cy="58448"/>
            </a:xfrm>
            <a:custGeom>
              <a:avLst/>
              <a:gdLst>
                <a:gd name="connsiteX0" fmla="*/ 95 w 230790"/>
                <a:gd name="connsiteY0" fmla="*/ 0 h 232505"/>
                <a:gd name="connsiteX1" fmla="*/ 38005 w 230790"/>
                <a:gd name="connsiteY1" fmla="*/ 0 h 232505"/>
                <a:gd name="connsiteX2" fmla="*/ 115634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4"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1059" name="Freeform: Shape 47">
              <a:extLst>
                <a:ext uri="{FF2B5EF4-FFF2-40B4-BE49-F238E27FC236}">
                  <a16:creationId xmlns:a16="http://schemas.microsoft.com/office/drawing/2014/main" id="{87BDE715-12C1-0F4D-40BF-906F7EB04989}"/>
                </a:ext>
              </a:extLst>
            </p:cNvPr>
            <p:cNvSpPr/>
            <p:nvPr/>
          </p:nvSpPr>
          <p:spPr>
            <a:xfrm>
              <a:off x="621155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8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338 w 202977"/>
                <a:gd name="connsiteY36" fmla="*/ 164497 h 239267"/>
                <a:gd name="connsiteX37" fmla="*/ 35338 w 202977"/>
                <a:gd name="connsiteY37" fmla="*/ 165449 h 239267"/>
                <a:gd name="connsiteX38" fmla="*/ 40005 w 202977"/>
                <a:gd name="connsiteY38" fmla="*/ 184785 h 239267"/>
                <a:gd name="connsiteX39" fmla="*/ 52673 w 202977"/>
                <a:gd name="connsiteY39" fmla="*/ 199263 h 239267"/>
                <a:gd name="connsiteX40" fmla="*/ 71152 w 202977"/>
                <a:gd name="connsiteY40" fmla="*/ 208121 h 239267"/>
                <a:gd name="connsiteX41" fmla="*/ 93154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438" y="239268"/>
                    <a:pt x="64961"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1" y="90964"/>
                    <a:pt x="98584" y="90964"/>
                  </a:cubicBezTo>
                  <a:cubicBezTo>
                    <a:pt x="113157" y="90964"/>
                    <a:pt x="126302" y="91821"/>
                    <a:pt x="137160" y="93631"/>
                  </a:cubicBezTo>
                  <a:cubicBezTo>
                    <a:pt x="148019" y="95440"/>
                    <a:pt x="158687" y="97822"/>
                    <a:pt x="169069" y="100774"/>
                  </a:cubicBezTo>
                  <a:lnTo>
                    <a:pt x="169069" y="93726"/>
                  </a:lnTo>
                  <a:cubicBezTo>
                    <a:pt x="169069" y="73342"/>
                    <a:pt x="163068" y="57912"/>
                    <a:pt x="151162" y="47339"/>
                  </a:cubicBezTo>
                  <a:cubicBezTo>
                    <a:pt x="139255" y="36862"/>
                    <a:pt x="122491" y="31623"/>
                    <a:pt x="100679" y="31623"/>
                  </a:cubicBezTo>
                  <a:cubicBezTo>
                    <a:pt x="86963" y="31623"/>
                    <a:pt x="74581" y="33147"/>
                    <a:pt x="63437" y="36100"/>
                  </a:cubicBezTo>
                  <a:cubicBezTo>
                    <a:pt x="52292" y="39053"/>
                    <a:pt x="41338" y="43053"/>
                    <a:pt x="30671" y="48196"/>
                  </a:cubicBezTo>
                  <a:lnTo>
                    <a:pt x="20383" y="19907"/>
                  </a:lnTo>
                  <a:cubicBezTo>
                    <a:pt x="33147" y="13906"/>
                    <a:pt x="46101" y="9049"/>
                    <a:pt x="59246" y="5429"/>
                  </a:cubicBezTo>
                  <a:cubicBezTo>
                    <a:pt x="72390"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04" y="239173"/>
                    <a:pt x="86011" y="239173"/>
                  </a:cubicBezTo>
                  <a:close/>
                  <a:moveTo>
                    <a:pt x="93154" y="211169"/>
                  </a:moveTo>
                  <a:cubicBezTo>
                    <a:pt x="103822" y="211169"/>
                    <a:pt x="113824" y="209740"/>
                    <a:pt x="122968" y="206788"/>
                  </a:cubicBezTo>
                  <a:cubicBezTo>
                    <a:pt x="132112"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5" y="119348"/>
                    <a:pt x="116777" y="118300"/>
                    <a:pt x="102584" y="118300"/>
                  </a:cubicBezTo>
                  <a:cubicBezTo>
                    <a:pt x="81248" y="118300"/>
                    <a:pt x="64675" y="122491"/>
                    <a:pt x="52959" y="130969"/>
                  </a:cubicBezTo>
                  <a:cubicBezTo>
                    <a:pt x="41243" y="139446"/>
                    <a:pt x="35338" y="150590"/>
                    <a:pt x="35338" y="164497"/>
                  </a:cubicBezTo>
                  <a:lnTo>
                    <a:pt x="35338" y="165449"/>
                  </a:lnTo>
                  <a:cubicBezTo>
                    <a:pt x="35338" y="172498"/>
                    <a:pt x="36862" y="178975"/>
                    <a:pt x="40005" y="184785"/>
                  </a:cubicBezTo>
                  <a:cubicBezTo>
                    <a:pt x="43148" y="190500"/>
                    <a:pt x="47339" y="195358"/>
                    <a:pt x="52673" y="199263"/>
                  </a:cubicBezTo>
                  <a:cubicBezTo>
                    <a:pt x="58007" y="203073"/>
                    <a:pt x="64198" y="206026"/>
                    <a:pt x="71152" y="208121"/>
                  </a:cubicBezTo>
                  <a:cubicBezTo>
                    <a:pt x="78105" y="210217"/>
                    <a:pt x="85439" y="211169"/>
                    <a:pt x="93154" y="211169"/>
                  </a:cubicBezTo>
                  <a:close/>
                </a:path>
              </a:pathLst>
            </a:custGeom>
            <a:solidFill>
              <a:srgbClr val="44505E"/>
            </a:solidFill>
            <a:ln w="9525" cap="flat">
              <a:noFill/>
              <a:prstDash val="solid"/>
              <a:miter/>
            </a:ln>
          </p:spPr>
          <p:txBody>
            <a:bodyPr rtlCol="0" anchor="ctr"/>
            <a:lstStyle/>
            <a:p>
              <a:endParaRPr lang="pt-BR" noProof="0"/>
            </a:p>
          </p:txBody>
        </p:sp>
        <p:sp>
          <p:nvSpPr>
            <p:cNvPr id="1060" name="Freeform: Shape 48">
              <a:extLst>
                <a:ext uri="{FF2B5EF4-FFF2-40B4-BE49-F238E27FC236}">
                  <a16:creationId xmlns:a16="http://schemas.microsoft.com/office/drawing/2014/main" id="{D31E1F7E-B83A-5C04-90C4-275749D601CB}"/>
                </a:ext>
              </a:extLst>
            </p:cNvPr>
            <p:cNvSpPr/>
            <p:nvPr/>
          </p:nvSpPr>
          <p:spPr>
            <a:xfrm>
              <a:off x="6280899" y="923980"/>
              <a:ext cx="87995" cy="59238"/>
            </a:xfrm>
            <a:custGeom>
              <a:avLst/>
              <a:gdLst>
                <a:gd name="connsiteX0" fmla="*/ 0 w 350043"/>
                <a:gd name="connsiteY0" fmla="*/ 5144 h 235648"/>
                <a:gd name="connsiteX1" fmla="*/ 34385 w 350043"/>
                <a:gd name="connsiteY1" fmla="*/ 5144 h 235648"/>
                <a:gd name="connsiteX2" fmla="*/ 34385 w 350043"/>
                <a:gd name="connsiteY2" fmla="*/ 44005 h 235648"/>
                <a:gd name="connsiteX3" fmla="*/ 47149 w 350043"/>
                <a:gd name="connsiteY3" fmla="*/ 27432 h 235648"/>
                <a:gd name="connsiteX4" fmla="*/ 62960 w 350043"/>
                <a:gd name="connsiteY4" fmla="*/ 13335 h 235648"/>
                <a:gd name="connsiteX5" fmla="*/ 83058 w 350043"/>
                <a:gd name="connsiteY5" fmla="*/ 3715 h 235648"/>
                <a:gd name="connsiteX6" fmla="*/ 108966 w 350043"/>
                <a:gd name="connsiteY6" fmla="*/ 95 h 235648"/>
                <a:gd name="connsiteX7" fmla="*/ 155448 w 350043"/>
                <a:gd name="connsiteY7" fmla="*/ 13240 h 235648"/>
                <a:gd name="connsiteX8" fmla="*/ 183166 w 350043"/>
                <a:gd name="connsiteY8" fmla="*/ 46006 h 235648"/>
                <a:gd name="connsiteX9" fmla="*/ 197168 w 350043"/>
                <a:gd name="connsiteY9" fmla="*/ 28194 h 235648"/>
                <a:gd name="connsiteX10" fmla="*/ 214789 w 350043"/>
                <a:gd name="connsiteY10" fmla="*/ 13430 h 235648"/>
                <a:gd name="connsiteX11" fmla="*/ 236887 w 350043"/>
                <a:gd name="connsiteY11" fmla="*/ 3620 h 235648"/>
                <a:gd name="connsiteX12" fmla="*/ 264319 w 350043"/>
                <a:gd name="connsiteY12" fmla="*/ 0 h 235648"/>
                <a:gd name="connsiteX13" fmla="*/ 327279 w 350043"/>
                <a:gd name="connsiteY13" fmla="*/ 24765 h 235648"/>
                <a:gd name="connsiteX14" fmla="*/ 350044 w 350043"/>
                <a:gd name="connsiteY14" fmla="*/ 92773 h 235648"/>
                <a:gd name="connsiteX15" fmla="*/ 350044 w 350043"/>
                <a:gd name="connsiteY15" fmla="*/ 235648 h 235648"/>
                <a:gd name="connsiteX16" fmla="*/ 315659 w 350043"/>
                <a:gd name="connsiteY16" fmla="*/ 235648 h 235648"/>
                <a:gd name="connsiteX17" fmla="*/ 315659 w 350043"/>
                <a:gd name="connsiteY17" fmla="*/ 101155 h 235648"/>
                <a:gd name="connsiteX18" fmla="*/ 299847 w 350043"/>
                <a:gd name="connsiteY18" fmla="*/ 49721 h 235648"/>
                <a:gd name="connsiteX19" fmla="*/ 255937 w 350043"/>
                <a:gd name="connsiteY19" fmla="*/ 31718 h 235648"/>
                <a:gd name="connsiteX20" fmla="*/ 231362 w 350043"/>
                <a:gd name="connsiteY20" fmla="*/ 36386 h 235648"/>
                <a:gd name="connsiteX21" fmla="*/ 211074 w 350043"/>
                <a:gd name="connsiteY21" fmla="*/ 50197 h 235648"/>
                <a:gd name="connsiteX22" fmla="*/ 197263 w 350043"/>
                <a:gd name="connsiteY22" fmla="*/ 72676 h 235648"/>
                <a:gd name="connsiteX23" fmla="*/ 192119 w 350043"/>
                <a:gd name="connsiteY23" fmla="*/ 102965 h 235648"/>
                <a:gd name="connsiteX24" fmla="*/ 192119 w 350043"/>
                <a:gd name="connsiteY24" fmla="*/ 235648 h 235648"/>
                <a:gd name="connsiteX25" fmla="*/ 158210 w 350043"/>
                <a:gd name="connsiteY25" fmla="*/ 235648 h 235648"/>
                <a:gd name="connsiteX26" fmla="*/ 158210 w 350043"/>
                <a:gd name="connsiteY26" fmla="*/ 100298 h 235648"/>
                <a:gd name="connsiteX27" fmla="*/ 142399 w 350043"/>
                <a:gd name="connsiteY27" fmla="*/ 49721 h 235648"/>
                <a:gd name="connsiteX28" fmla="*/ 98870 w 350043"/>
                <a:gd name="connsiteY28" fmla="*/ 31718 h 235648"/>
                <a:gd name="connsiteX29" fmla="*/ 73438 w 350043"/>
                <a:gd name="connsiteY29" fmla="*/ 37052 h 235648"/>
                <a:gd name="connsiteX30" fmla="*/ 53150 w 350043"/>
                <a:gd name="connsiteY30" fmla="*/ 52197 h 235648"/>
                <a:gd name="connsiteX31" fmla="*/ 39529 w 350043"/>
                <a:gd name="connsiteY31" fmla="*/ 75152 h 235648"/>
                <a:gd name="connsiteX32" fmla="*/ 34576 w 350043"/>
                <a:gd name="connsiteY32" fmla="*/ 104299 h 235648"/>
                <a:gd name="connsiteX33" fmla="*/ 34576 w 350043"/>
                <a:gd name="connsiteY33" fmla="*/ 235648 h 235648"/>
                <a:gd name="connsiteX34" fmla="*/ 190 w 350043"/>
                <a:gd name="connsiteY34" fmla="*/ 235648 h 235648"/>
                <a:gd name="connsiteX35" fmla="*/ 190 w 350043"/>
                <a:gd name="connsiteY35" fmla="*/ 485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0043" h="235648">
                  <a:moveTo>
                    <a:pt x="0" y="5144"/>
                  </a:moveTo>
                  <a:lnTo>
                    <a:pt x="34385" y="5144"/>
                  </a:lnTo>
                  <a:lnTo>
                    <a:pt x="34385" y="44005"/>
                  </a:lnTo>
                  <a:cubicBezTo>
                    <a:pt x="38290" y="38386"/>
                    <a:pt x="42481" y="32861"/>
                    <a:pt x="47149" y="27432"/>
                  </a:cubicBezTo>
                  <a:cubicBezTo>
                    <a:pt x="51721" y="22098"/>
                    <a:pt x="57055" y="17431"/>
                    <a:pt x="62960" y="13335"/>
                  </a:cubicBezTo>
                  <a:cubicBezTo>
                    <a:pt x="68866" y="9335"/>
                    <a:pt x="75629" y="6096"/>
                    <a:pt x="83058" y="3715"/>
                  </a:cubicBezTo>
                  <a:cubicBezTo>
                    <a:pt x="90488" y="1334"/>
                    <a:pt x="99155" y="95"/>
                    <a:pt x="108966" y="95"/>
                  </a:cubicBezTo>
                  <a:cubicBezTo>
                    <a:pt x="127730" y="95"/>
                    <a:pt x="143161" y="4477"/>
                    <a:pt x="155448" y="13240"/>
                  </a:cubicBezTo>
                  <a:cubicBezTo>
                    <a:pt x="167640" y="22003"/>
                    <a:pt x="176879" y="32956"/>
                    <a:pt x="183166" y="46006"/>
                  </a:cubicBezTo>
                  <a:cubicBezTo>
                    <a:pt x="187357" y="39719"/>
                    <a:pt x="192024" y="33814"/>
                    <a:pt x="197168" y="28194"/>
                  </a:cubicBezTo>
                  <a:cubicBezTo>
                    <a:pt x="202406" y="22574"/>
                    <a:pt x="208217" y="17621"/>
                    <a:pt x="214789" y="13430"/>
                  </a:cubicBezTo>
                  <a:cubicBezTo>
                    <a:pt x="221361" y="9239"/>
                    <a:pt x="228695" y="6001"/>
                    <a:pt x="236887" y="3620"/>
                  </a:cubicBezTo>
                  <a:cubicBezTo>
                    <a:pt x="245078" y="1238"/>
                    <a:pt x="254222" y="0"/>
                    <a:pt x="264319" y="0"/>
                  </a:cubicBezTo>
                  <a:cubicBezTo>
                    <a:pt x="291084" y="0"/>
                    <a:pt x="312039" y="8287"/>
                    <a:pt x="327279" y="24765"/>
                  </a:cubicBezTo>
                  <a:cubicBezTo>
                    <a:pt x="342519" y="41243"/>
                    <a:pt x="350044" y="63913"/>
                    <a:pt x="350044" y="92773"/>
                  </a:cubicBezTo>
                  <a:lnTo>
                    <a:pt x="350044" y="235648"/>
                  </a:lnTo>
                  <a:lnTo>
                    <a:pt x="315659" y="235648"/>
                  </a:lnTo>
                  <a:lnTo>
                    <a:pt x="315659" y="101155"/>
                  </a:lnTo>
                  <a:cubicBezTo>
                    <a:pt x="315659" y="78867"/>
                    <a:pt x="310420" y="61722"/>
                    <a:pt x="299847" y="49721"/>
                  </a:cubicBezTo>
                  <a:cubicBezTo>
                    <a:pt x="289274" y="37719"/>
                    <a:pt x="274606" y="31718"/>
                    <a:pt x="255937" y="31718"/>
                  </a:cubicBezTo>
                  <a:cubicBezTo>
                    <a:pt x="247269" y="31718"/>
                    <a:pt x="239078" y="33242"/>
                    <a:pt x="231362" y="36386"/>
                  </a:cubicBezTo>
                  <a:cubicBezTo>
                    <a:pt x="223647" y="39529"/>
                    <a:pt x="216884" y="44101"/>
                    <a:pt x="211074" y="50197"/>
                  </a:cubicBezTo>
                  <a:cubicBezTo>
                    <a:pt x="205264" y="56293"/>
                    <a:pt x="200692" y="63818"/>
                    <a:pt x="197263" y="72676"/>
                  </a:cubicBezTo>
                  <a:cubicBezTo>
                    <a:pt x="193834" y="81629"/>
                    <a:pt x="192119" y="91726"/>
                    <a:pt x="192119" y="102965"/>
                  </a:cubicBezTo>
                  <a:lnTo>
                    <a:pt x="192119" y="235648"/>
                  </a:lnTo>
                  <a:lnTo>
                    <a:pt x="158210" y="235648"/>
                  </a:lnTo>
                  <a:lnTo>
                    <a:pt x="158210" y="100298"/>
                  </a:lnTo>
                  <a:cubicBezTo>
                    <a:pt x="158210" y="78677"/>
                    <a:pt x="152971" y="61817"/>
                    <a:pt x="142399" y="49721"/>
                  </a:cubicBezTo>
                  <a:cubicBezTo>
                    <a:pt x="131826" y="37719"/>
                    <a:pt x="117348" y="31718"/>
                    <a:pt x="98870" y="31718"/>
                  </a:cubicBezTo>
                  <a:cubicBezTo>
                    <a:pt x="89630" y="31718"/>
                    <a:pt x="81153" y="33528"/>
                    <a:pt x="73438" y="37052"/>
                  </a:cubicBezTo>
                  <a:cubicBezTo>
                    <a:pt x="65722" y="40672"/>
                    <a:pt x="58960" y="45720"/>
                    <a:pt x="53150" y="52197"/>
                  </a:cubicBezTo>
                  <a:cubicBezTo>
                    <a:pt x="47339" y="58769"/>
                    <a:pt x="42767" y="66389"/>
                    <a:pt x="39529" y="75152"/>
                  </a:cubicBezTo>
                  <a:cubicBezTo>
                    <a:pt x="36290" y="83915"/>
                    <a:pt x="34576" y="93631"/>
                    <a:pt x="34576" y="104299"/>
                  </a:cubicBezTo>
                  <a:lnTo>
                    <a:pt x="34576" y="235648"/>
                  </a:lnTo>
                  <a:lnTo>
                    <a:pt x="190" y="235648"/>
                  </a:lnTo>
                  <a:lnTo>
                    <a:pt x="190" y="4858"/>
                  </a:lnTo>
                  <a:close/>
                </a:path>
              </a:pathLst>
            </a:custGeom>
            <a:solidFill>
              <a:srgbClr val="44505E"/>
            </a:solidFill>
            <a:ln w="9525" cap="flat">
              <a:noFill/>
              <a:prstDash val="solid"/>
              <a:miter/>
            </a:ln>
          </p:spPr>
          <p:txBody>
            <a:bodyPr rtlCol="0" anchor="ctr"/>
            <a:lstStyle/>
            <a:p>
              <a:endParaRPr lang="pt-BR" noProof="0"/>
            </a:p>
          </p:txBody>
        </p:sp>
        <p:sp>
          <p:nvSpPr>
            <p:cNvPr id="1061" name="Freeform: Shape 49">
              <a:extLst>
                <a:ext uri="{FF2B5EF4-FFF2-40B4-BE49-F238E27FC236}">
                  <a16:creationId xmlns:a16="http://schemas.microsoft.com/office/drawing/2014/main" id="{264D514A-A2D3-3EEB-6DEA-E9D04F98B434}"/>
                </a:ext>
              </a:extLst>
            </p:cNvPr>
            <p:cNvSpPr/>
            <p:nvPr/>
          </p:nvSpPr>
          <p:spPr>
            <a:xfrm>
              <a:off x="6415537" y="925273"/>
              <a:ext cx="58016" cy="58448"/>
            </a:xfrm>
            <a:custGeom>
              <a:avLst/>
              <a:gdLst>
                <a:gd name="connsiteX0" fmla="*/ 95 w 230790"/>
                <a:gd name="connsiteY0" fmla="*/ 0 h 232505"/>
                <a:gd name="connsiteX1" fmla="*/ 38005 w 230790"/>
                <a:gd name="connsiteY1" fmla="*/ 0 h 232505"/>
                <a:gd name="connsiteX2" fmla="*/ 115633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3"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1062" name="Freeform: Shape 50">
              <a:extLst>
                <a:ext uri="{FF2B5EF4-FFF2-40B4-BE49-F238E27FC236}">
                  <a16:creationId xmlns:a16="http://schemas.microsoft.com/office/drawing/2014/main" id="{1E62538F-4CD8-8F1F-7DC7-68496EC8E752}"/>
                </a:ext>
              </a:extLst>
            </p:cNvPr>
            <p:cNvSpPr/>
            <p:nvPr/>
          </p:nvSpPr>
          <p:spPr>
            <a:xfrm>
              <a:off x="6487369"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286 w 39242"/>
                <a:gd name="connsiteY5" fmla="*/ 88392 h 319182"/>
                <a:gd name="connsiteX6" fmla="*/ 36671 w 39242"/>
                <a:gd name="connsiteY6" fmla="*/ 88392 h 319182"/>
                <a:gd name="connsiteX7" fmla="*/ 36671 w 39242"/>
                <a:gd name="connsiteY7" fmla="*/ 319183 h 319182"/>
                <a:gd name="connsiteX8" fmla="*/ 2286 w 39242"/>
                <a:gd name="connsiteY8" fmla="*/ 319183 h 319182"/>
                <a:gd name="connsiteX9" fmla="*/ 2286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286" y="88392"/>
                  </a:moveTo>
                  <a:lnTo>
                    <a:pt x="36671" y="88392"/>
                  </a:lnTo>
                  <a:lnTo>
                    <a:pt x="36671" y="319183"/>
                  </a:lnTo>
                  <a:lnTo>
                    <a:pt x="2286" y="319183"/>
                  </a:lnTo>
                  <a:lnTo>
                    <a:pt x="2286" y="88392"/>
                  </a:lnTo>
                  <a:close/>
                </a:path>
              </a:pathLst>
            </a:custGeom>
            <a:solidFill>
              <a:srgbClr val="44505E"/>
            </a:solidFill>
            <a:ln w="9525" cap="flat">
              <a:noFill/>
              <a:prstDash val="solid"/>
              <a:miter/>
            </a:ln>
          </p:spPr>
          <p:txBody>
            <a:bodyPr rtlCol="0" anchor="ctr"/>
            <a:lstStyle/>
            <a:p>
              <a:endParaRPr lang="pt-BR" noProof="0"/>
            </a:p>
          </p:txBody>
        </p:sp>
        <p:sp>
          <p:nvSpPr>
            <p:cNvPr id="1063" name="Freeform: Shape 51">
              <a:extLst>
                <a:ext uri="{FF2B5EF4-FFF2-40B4-BE49-F238E27FC236}">
                  <a16:creationId xmlns:a16="http://schemas.microsoft.com/office/drawing/2014/main" id="{87CA3703-C149-0469-5E5D-9F02C00FC4A4}"/>
                </a:ext>
              </a:extLst>
            </p:cNvPr>
            <p:cNvSpPr/>
            <p:nvPr/>
          </p:nvSpPr>
          <p:spPr>
            <a:xfrm>
              <a:off x="6513253" y="901353"/>
              <a:ext cx="58615" cy="83182"/>
            </a:xfrm>
            <a:custGeom>
              <a:avLst/>
              <a:gdLst>
                <a:gd name="connsiteX0" fmla="*/ 110394 w 233171"/>
                <a:gd name="connsiteY0" fmla="*/ 330898 h 330898"/>
                <a:gd name="connsiteX1" fmla="*/ 69723 w 233171"/>
                <a:gd name="connsiteY1" fmla="*/ 322897 h 330898"/>
                <a:gd name="connsiteX2" fmla="*/ 34480 w 233171"/>
                <a:gd name="connsiteY2" fmla="*/ 299466 h 330898"/>
                <a:gd name="connsiteX3" fmla="*/ 9430 w 233171"/>
                <a:gd name="connsiteY3" fmla="*/ 261938 h 330898"/>
                <a:gd name="connsiteX4" fmla="*/ 0 w 233171"/>
                <a:gd name="connsiteY4" fmla="*/ 211264 h 330898"/>
                <a:gd name="connsiteX5" fmla="*/ 0 w 233171"/>
                <a:gd name="connsiteY5" fmla="*/ 210407 h 330898"/>
                <a:gd name="connsiteX6" fmla="*/ 9430 w 233171"/>
                <a:gd name="connsiteY6" fmla="*/ 159925 h 330898"/>
                <a:gd name="connsiteX7" fmla="*/ 34480 w 233171"/>
                <a:gd name="connsiteY7" fmla="*/ 122206 h 330898"/>
                <a:gd name="connsiteX8" fmla="*/ 69723 w 233171"/>
                <a:gd name="connsiteY8" fmla="*/ 98488 h 330898"/>
                <a:gd name="connsiteX9" fmla="*/ 110394 w 233171"/>
                <a:gd name="connsiteY9" fmla="*/ 90202 h 330898"/>
                <a:gd name="connsiteX10" fmla="*/ 139827 w 233171"/>
                <a:gd name="connsiteY10" fmla="*/ 94202 h 330898"/>
                <a:gd name="connsiteX11" fmla="*/ 163925 w 233171"/>
                <a:gd name="connsiteY11" fmla="*/ 104870 h 330898"/>
                <a:gd name="connsiteX12" fmla="*/ 183356 w 233171"/>
                <a:gd name="connsiteY12" fmla="*/ 120491 h 330898"/>
                <a:gd name="connsiteX13" fmla="*/ 198787 w 233171"/>
                <a:gd name="connsiteY13" fmla="*/ 139255 h 330898"/>
                <a:gd name="connsiteX14" fmla="*/ 198787 w 233171"/>
                <a:gd name="connsiteY14" fmla="*/ 0 h 330898"/>
                <a:gd name="connsiteX15" fmla="*/ 233172 w 233171"/>
                <a:gd name="connsiteY15" fmla="*/ 0 h 330898"/>
                <a:gd name="connsiteX16" fmla="*/ 233172 w 233171"/>
                <a:gd name="connsiteY16" fmla="*/ 325850 h 330898"/>
                <a:gd name="connsiteX17" fmla="*/ 198787 w 233171"/>
                <a:gd name="connsiteY17" fmla="*/ 325850 h 330898"/>
                <a:gd name="connsiteX18" fmla="*/ 198787 w 233171"/>
                <a:gd name="connsiteY18" fmla="*/ 279463 h 330898"/>
                <a:gd name="connsiteX19" fmla="*/ 182975 w 233171"/>
                <a:gd name="connsiteY19" fmla="*/ 299085 h 330898"/>
                <a:gd name="connsiteX20" fmla="*/ 163544 w 233171"/>
                <a:gd name="connsiteY20" fmla="*/ 315658 h 330898"/>
                <a:gd name="connsiteX21" fmla="*/ 139636 w 233171"/>
                <a:gd name="connsiteY21" fmla="*/ 326803 h 330898"/>
                <a:gd name="connsiteX22" fmla="*/ 110394 w 233171"/>
                <a:gd name="connsiteY22" fmla="*/ 330803 h 330898"/>
                <a:gd name="connsiteX23" fmla="*/ 116681 w 233171"/>
                <a:gd name="connsiteY23" fmla="*/ 300133 h 330898"/>
                <a:gd name="connsiteX24" fmla="*/ 147733 w 233171"/>
                <a:gd name="connsiteY24" fmla="*/ 293656 h 330898"/>
                <a:gd name="connsiteX25" fmla="*/ 174498 w 233171"/>
                <a:gd name="connsiteY25" fmla="*/ 275368 h 330898"/>
                <a:gd name="connsiteX26" fmla="*/ 193262 w 233171"/>
                <a:gd name="connsiteY26" fmla="*/ 247269 h 330898"/>
                <a:gd name="connsiteX27" fmla="*/ 200216 w 233171"/>
                <a:gd name="connsiteY27" fmla="*/ 210883 h 330898"/>
                <a:gd name="connsiteX28" fmla="*/ 200216 w 233171"/>
                <a:gd name="connsiteY28" fmla="*/ 210026 h 330898"/>
                <a:gd name="connsiteX29" fmla="*/ 193262 w 233171"/>
                <a:gd name="connsiteY29" fmla="*/ 173641 h 330898"/>
                <a:gd name="connsiteX30" fmla="*/ 174498 w 233171"/>
                <a:gd name="connsiteY30" fmla="*/ 145732 h 330898"/>
                <a:gd name="connsiteX31" fmla="*/ 147733 w 233171"/>
                <a:gd name="connsiteY31" fmla="*/ 127635 h 330898"/>
                <a:gd name="connsiteX32" fmla="*/ 116681 w 233171"/>
                <a:gd name="connsiteY32" fmla="*/ 121158 h 330898"/>
                <a:gd name="connsiteX33" fmla="*/ 84963 w 233171"/>
                <a:gd name="connsiteY33" fmla="*/ 127159 h 330898"/>
                <a:gd name="connsiteX34" fmla="*/ 59341 w 233171"/>
                <a:gd name="connsiteY34" fmla="*/ 144589 h 330898"/>
                <a:gd name="connsiteX35" fmla="*/ 41910 w 233171"/>
                <a:gd name="connsiteY35" fmla="*/ 172498 h 330898"/>
                <a:gd name="connsiteX36" fmla="*/ 35433 w 233171"/>
                <a:gd name="connsiteY36" fmla="*/ 210026 h 330898"/>
                <a:gd name="connsiteX37" fmla="*/ 35433 w 233171"/>
                <a:gd name="connsiteY37" fmla="*/ 210883 h 330898"/>
                <a:gd name="connsiteX38" fmla="*/ 41910 w 233171"/>
                <a:gd name="connsiteY38" fmla="*/ 247936 h 330898"/>
                <a:gd name="connsiteX39" fmla="*/ 59531 w 233171"/>
                <a:gd name="connsiteY39" fmla="*/ 276034 h 330898"/>
                <a:gd name="connsiteX40" fmla="*/ 85439 w 233171"/>
                <a:gd name="connsiteY40" fmla="*/ 293941 h 330898"/>
                <a:gd name="connsiteX41" fmla="*/ 116681 w 23317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3171" h="330898">
                  <a:moveTo>
                    <a:pt x="110394" y="330898"/>
                  </a:moveTo>
                  <a:cubicBezTo>
                    <a:pt x="96393" y="330898"/>
                    <a:pt x="82868" y="328231"/>
                    <a:pt x="69723" y="322897"/>
                  </a:cubicBezTo>
                  <a:cubicBezTo>
                    <a:pt x="56674" y="317563"/>
                    <a:pt x="44863" y="309753"/>
                    <a:pt x="34480" y="299466"/>
                  </a:cubicBezTo>
                  <a:cubicBezTo>
                    <a:pt x="24003" y="289179"/>
                    <a:pt x="15716" y="276701"/>
                    <a:pt x="9430" y="261938"/>
                  </a:cubicBezTo>
                  <a:cubicBezTo>
                    <a:pt x="3143" y="247174"/>
                    <a:pt x="0" y="230314"/>
                    <a:pt x="0" y="211264"/>
                  </a:cubicBezTo>
                  <a:lnTo>
                    <a:pt x="0" y="210407"/>
                  </a:lnTo>
                  <a:cubicBezTo>
                    <a:pt x="0" y="191643"/>
                    <a:pt x="3143" y="174879"/>
                    <a:pt x="9430" y="159925"/>
                  </a:cubicBezTo>
                  <a:cubicBezTo>
                    <a:pt x="15716" y="145066"/>
                    <a:pt x="24003" y="132493"/>
                    <a:pt x="34480" y="122206"/>
                  </a:cubicBezTo>
                  <a:cubicBezTo>
                    <a:pt x="44863" y="111919"/>
                    <a:pt x="56674" y="104013"/>
                    <a:pt x="69723" y="98488"/>
                  </a:cubicBezTo>
                  <a:cubicBezTo>
                    <a:pt x="82868" y="92964"/>
                    <a:pt x="96393" y="90202"/>
                    <a:pt x="110394" y="90202"/>
                  </a:cubicBezTo>
                  <a:cubicBezTo>
                    <a:pt x="121158" y="90202"/>
                    <a:pt x="130969" y="91535"/>
                    <a:pt x="139827" y="94202"/>
                  </a:cubicBezTo>
                  <a:cubicBezTo>
                    <a:pt x="148780" y="96869"/>
                    <a:pt x="156782" y="100489"/>
                    <a:pt x="163925" y="104870"/>
                  </a:cubicBezTo>
                  <a:cubicBezTo>
                    <a:pt x="171069" y="109347"/>
                    <a:pt x="177546" y="114586"/>
                    <a:pt x="183356" y="120491"/>
                  </a:cubicBezTo>
                  <a:cubicBezTo>
                    <a:pt x="189166" y="126492"/>
                    <a:pt x="194310" y="132683"/>
                    <a:pt x="198787" y="139255"/>
                  </a:cubicBezTo>
                  <a:lnTo>
                    <a:pt x="198787" y="0"/>
                  </a:lnTo>
                  <a:lnTo>
                    <a:pt x="233172" y="0"/>
                  </a:lnTo>
                  <a:lnTo>
                    <a:pt x="233172" y="325850"/>
                  </a:lnTo>
                  <a:lnTo>
                    <a:pt x="198787" y="325850"/>
                  </a:lnTo>
                  <a:lnTo>
                    <a:pt x="198787" y="279463"/>
                  </a:lnTo>
                  <a:cubicBezTo>
                    <a:pt x="194024" y="286321"/>
                    <a:pt x="188786" y="292894"/>
                    <a:pt x="182975" y="299085"/>
                  </a:cubicBezTo>
                  <a:cubicBezTo>
                    <a:pt x="177165" y="305371"/>
                    <a:pt x="170688" y="310896"/>
                    <a:pt x="163544" y="315658"/>
                  </a:cubicBezTo>
                  <a:cubicBezTo>
                    <a:pt x="156400" y="320421"/>
                    <a:pt x="148494" y="324136"/>
                    <a:pt x="139636" y="326803"/>
                  </a:cubicBezTo>
                  <a:cubicBezTo>
                    <a:pt x="130873" y="329470"/>
                    <a:pt x="121158" y="330803"/>
                    <a:pt x="110394" y="330803"/>
                  </a:cubicBezTo>
                  <a:close/>
                  <a:moveTo>
                    <a:pt x="116681" y="300133"/>
                  </a:moveTo>
                  <a:cubicBezTo>
                    <a:pt x="127445" y="300133"/>
                    <a:pt x="137732" y="297942"/>
                    <a:pt x="147733" y="293656"/>
                  </a:cubicBezTo>
                  <a:cubicBezTo>
                    <a:pt x="157734" y="289369"/>
                    <a:pt x="166592" y="283273"/>
                    <a:pt x="174498" y="275368"/>
                  </a:cubicBezTo>
                  <a:cubicBezTo>
                    <a:pt x="182404" y="267462"/>
                    <a:pt x="188595" y="258127"/>
                    <a:pt x="193262" y="247269"/>
                  </a:cubicBezTo>
                  <a:cubicBezTo>
                    <a:pt x="197834" y="236410"/>
                    <a:pt x="200216" y="224314"/>
                    <a:pt x="200216" y="210883"/>
                  </a:cubicBezTo>
                  <a:lnTo>
                    <a:pt x="200216" y="210026"/>
                  </a:lnTo>
                  <a:cubicBezTo>
                    <a:pt x="200216" y="196596"/>
                    <a:pt x="197929" y="184499"/>
                    <a:pt x="193262" y="173641"/>
                  </a:cubicBezTo>
                  <a:cubicBezTo>
                    <a:pt x="188595" y="162782"/>
                    <a:pt x="182404" y="153448"/>
                    <a:pt x="174498" y="145732"/>
                  </a:cubicBezTo>
                  <a:cubicBezTo>
                    <a:pt x="166592" y="138017"/>
                    <a:pt x="157639" y="132016"/>
                    <a:pt x="147733" y="127635"/>
                  </a:cubicBezTo>
                  <a:cubicBezTo>
                    <a:pt x="137732" y="123349"/>
                    <a:pt x="127445" y="121158"/>
                    <a:pt x="116681" y="121158"/>
                  </a:cubicBezTo>
                  <a:cubicBezTo>
                    <a:pt x="105346" y="121158"/>
                    <a:pt x="94774" y="123158"/>
                    <a:pt x="84963" y="127159"/>
                  </a:cubicBezTo>
                  <a:cubicBezTo>
                    <a:pt x="75152" y="131159"/>
                    <a:pt x="66580" y="136969"/>
                    <a:pt x="59341" y="144589"/>
                  </a:cubicBezTo>
                  <a:cubicBezTo>
                    <a:pt x="52007" y="152114"/>
                    <a:pt x="46291" y="161449"/>
                    <a:pt x="41910" y="172498"/>
                  </a:cubicBezTo>
                  <a:cubicBezTo>
                    <a:pt x="37624" y="183451"/>
                    <a:pt x="35433" y="196024"/>
                    <a:pt x="35433" y="210026"/>
                  </a:cubicBezTo>
                  <a:lnTo>
                    <a:pt x="35433" y="210883"/>
                  </a:lnTo>
                  <a:cubicBezTo>
                    <a:pt x="35433" y="224599"/>
                    <a:pt x="37624" y="236982"/>
                    <a:pt x="41910" y="247936"/>
                  </a:cubicBezTo>
                  <a:cubicBezTo>
                    <a:pt x="46196" y="258984"/>
                    <a:pt x="52101" y="268319"/>
                    <a:pt x="59531" y="276034"/>
                  </a:cubicBezTo>
                  <a:cubicBezTo>
                    <a:pt x="66960" y="283750"/>
                    <a:pt x="75629" y="289750"/>
                    <a:pt x="85439" y="293941"/>
                  </a:cubicBezTo>
                  <a:cubicBezTo>
                    <a:pt x="95250" y="298132"/>
                    <a:pt x="105632" y="300228"/>
                    <a:pt x="116681" y="300228"/>
                  </a:cubicBezTo>
                  <a:close/>
                </a:path>
              </a:pathLst>
            </a:custGeom>
            <a:solidFill>
              <a:srgbClr val="44505E"/>
            </a:solidFill>
            <a:ln w="9525" cap="flat">
              <a:noFill/>
              <a:prstDash val="solid"/>
              <a:miter/>
            </a:ln>
          </p:spPr>
          <p:txBody>
            <a:bodyPr rtlCol="0" anchor="ctr"/>
            <a:lstStyle/>
            <a:p>
              <a:endParaRPr lang="pt-BR" noProof="0"/>
            </a:p>
          </p:txBody>
        </p:sp>
        <p:sp>
          <p:nvSpPr>
            <p:cNvPr id="1064" name="Freeform: Shape 52">
              <a:extLst>
                <a:ext uri="{FF2B5EF4-FFF2-40B4-BE49-F238E27FC236}">
                  <a16:creationId xmlns:a16="http://schemas.microsoft.com/office/drawing/2014/main" id="{63B68E9C-6BBB-5E85-4983-AD4572E75700}"/>
                </a:ext>
              </a:extLst>
            </p:cNvPr>
            <p:cNvSpPr/>
            <p:nvPr/>
          </p:nvSpPr>
          <p:spPr>
            <a:xfrm>
              <a:off x="6586762"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0 w 202977"/>
                <a:gd name="connsiteY16" fmla="*/ 48196 h 239267"/>
                <a:gd name="connsiteX17" fmla="*/ 20383 w 202977"/>
                <a:gd name="connsiteY17" fmla="*/ 19907 h 239267"/>
                <a:gd name="connsiteX18" fmla="*/ 59245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0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1"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675" y="92678"/>
                    <a:pt x="84011" y="90964"/>
                    <a:pt x="98584" y="90964"/>
                  </a:cubicBezTo>
                  <a:cubicBezTo>
                    <a:pt x="113157" y="90964"/>
                    <a:pt x="126302"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0" y="33147"/>
                    <a:pt x="63436" y="36100"/>
                  </a:cubicBezTo>
                  <a:cubicBezTo>
                    <a:pt x="52292" y="39053"/>
                    <a:pt x="41338" y="43053"/>
                    <a:pt x="30670" y="48196"/>
                  </a:cubicBezTo>
                  <a:lnTo>
                    <a:pt x="20383" y="19907"/>
                  </a:lnTo>
                  <a:cubicBezTo>
                    <a:pt x="33147" y="13906"/>
                    <a:pt x="46101" y="9049"/>
                    <a:pt x="59245" y="5429"/>
                  </a:cubicBezTo>
                  <a:cubicBezTo>
                    <a:pt x="72294" y="1810"/>
                    <a:pt x="87344" y="0"/>
                    <a:pt x="104299" y="0"/>
                  </a:cubicBezTo>
                  <a:cubicBezTo>
                    <a:pt x="137064" y="0"/>
                    <a:pt x="161925" y="8477"/>
                    <a:pt x="178879" y="25432"/>
                  </a:cubicBezTo>
                  <a:cubicBezTo>
                    <a:pt x="194976"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0" y="239173"/>
                  </a:cubicBezTo>
                  <a:close/>
                  <a:moveTo>
                    <a:pt x="93154" y="211169"/>
                  </a:moveTo>
                  <a:cubicBezTo>
                    <a:pt x="103822" y="211169"/>
                    <a:pt x="113729" y="209740"/>
                    <a:pt x="122967" y="206788"/>
                  </a:cubicBezTo>
                  <a:cubicBezTo>
                    <a:pt x="132207"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4" y="119348"/>
                    <a:pt x="116871"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1065" name="Freeform: Shape 53">
              <a:extLst>
                <a:ext uri="{FF2B5EF4-FFF2-40B4-BE49-F238E27FC236}">
                  <a16:creationId xmlns:a16="http://schemas.microsoft.com/office/drawing/2014/main" id="{6C37C68C-4ACF-9EDB-B877-491A3C60A06A}"/>
                </a:ext>
              </a:extLst>
            </p:cNvPr>
            <p:cNvSpPr/>
            <p:nvPr/>
          </p:nvSpPr>
          <p:spPr>
            <a:xfrm>
              <a:off x="6651291" y="924268"/>
              <a:ext cx="44680" cy="60195"/>
            </a:xfrm>
            <a:custGeom>
              <a:avLst/>
              <a:gdLst>
                <a:gd name="connsiteX0" fmla="*/ 95535 w 177736"/>
                <a:gd name="connsiteY0" fmla="*/ 239268 h 239458"/>
                <a:gd name="connsiteX1" fmla="*/ 45053 w 177736"/>
                <a:gd name="connsiteY1" fmla="*/ 230124 h 239458"/>
                <a:gd name="connsiteX2" fmla="*/ 0 w 177736"/>
                <a:gd name="connsiteY2" fmla="*/ 205359 h 239458"/>
                <a:gd name="connsiteX3" fmla="*/ 17430 w 177736"/>
                <a:gd name="connsiteY3" fmla="*/ 180785 h 239458"/>
                <a:gd name="connsiteX4" fmla="*/ 56483 w 177736"/>
                <a:gd name="connsiteY4" fmla="*/ 202692 h 239458"/>
                <a:gd name="connsiteX5" fmla="*/ 97345 w 177736"/>
                <a:gd name="connsiteY5" fmla="*/ 210217 h 239458"/>
                <a:gd name="connsiteX6" fmla="*/ 131730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825 w 177736"/>
                <a:gd name="connsiteY10" fmla="*/ 147066 h 239458"/>
                <a:gd name="connsiteX11" fmla="*/ 109251 w 177736"/>
                <a:gd name="connsiteY11" fmla="*/ 138779 h 239458"/>
                <a:gd name="connsiteX12" fmla="*/ 87630 w 177736"/>
                <a:gd name="connsiteY12" fmla="*/ 132112 h 239458"/>
                <a:gd name="connsiteX13" fmla="*/ 60579 w 177736"/>
                <a:gd name="connsiteY13" fmla="*/ 123444 h 239458"/>
                <a:gd name="connsiteX14" fmla="*/ 36004 w 177736"/>
                <a:gd name="connsiteY14" fmla="*/ 111633 h 239458"/>
                <a:gd name="connsiteX15" fmla="*/ 18192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59 w 177736"/>
                <a:gd name="connsiteY22" fmla="*/ 6953 h 239458"/>
                <a:gd name="connsiteX23" fmla="*/ 172878 w 177736"/>
                <a:gd name="connsiteY23" fmla="*/ 25527 h 239458"/>
                <a:gd name="connsiteX24" fmla="*/ 157257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3 w 177736"/>
                <a:gd name="connsiteY32" fmla="*/ 96203 h 239458"/>
                <a:gd name="connsiteX33" fmla="*/ 103631 w 177736"/>
                <a:gd name="connsiteY33" fmla="*/ 103346 h 239458"/>
                <a:gd name="connsiteX34" fmla="*/ 130207 w 177736"/>
                <a:gd name="connsiteY34" fmla="*/ 112300 h 239458"/>
                <a:gd name="connsiteX35" fmla="*/ 154114 w 177736"/>
                <a:gd name="connsiteY35" fmla="*/ 124778 h 239458"/>
                <a:gd name="connsiteX36" fmla="*/ 171259 w 177736"/>
                <a:gd name="connsiteY36" fmla="*/ 143066 h 239458"/>
                <a:gd name="connsiteX37" fmla="*/ 177736 w 177736"/>
                <a:gd name="connsiteY37" fmla="*/ 169450 h 239458"/>
                <a:gd name="connsiteX38" fmla="*/ 177736 w 177736"/>
                <a:gd name="connsiteY38" fmla="*/ 170307 h 239458"/>
                <a:gd name="connsiteX39" fmla="*/ 171259 w 177736"/>
                <a:gd name="connsiteY39" fmla="*/ 199549 h 239458"/>
                <a:gd name="connsiteX40" fmla="*/ 153828 w 177736"/>
                <a:gd name="connsiteY40" fmla="*/ 221171 h 239458"/>
                <a:gd name="connsiteX41" fmla="*/ 127921 w 177736"/>
                <a:gd name="connsiteY41" fmla="*/ 234791 h 239458"/>
                <a:gd name="connsiteX42" fmla="*/ 95535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5" y="239268"/>
                  </a:moveTo>
                  <a:cubicBezTo>
                    <a:pt x="78867" y="239268"/>
                    <a:pt x="62007" y="236220"/>
                    <a:pt x="45053" y="230124"/>
                  </a:cubicBezTo>
                  <a:cubicBezTo>
                    <a:pt x="28098" y="224028"/>
                    <a:pt x="13049" y="215741"/>
                    <a:pt x="0" y="205359"/>
                  </a:cubicBezTo>
                  <a:lnTo>
                    <a:pt x="17430" y="180785"/>
                  </a:lnTo>
                  <a:cubicBezTo>
                    <a:pt x="29908" y="190310"/>
                    <a:pt x="42957" y="197644"/>
                    <a:pt x="56483" y="202692"/>
                  </a:cubicBezTo>
                  <a:cubicBezTo>
                    <a:pt x="70009" y="207740"/>
                    <a:pt x="83629" y="210217"/>
                    <a:pt x="97345" y="210217"/>
                  </a:cubicBezTo>
                  <a:cubicBezTo>
                    <a:pt x="111061" y="210217"/>
                    <a:pt x="122777" y="206978"/>
                    <a:pt x="131730" y="200406"/>
                  </a:cubicBezTo>
                  <a:cubicBezTo>
                    <a:pt x="140684" y="193834"/>
                    <a:pt x="145161" y="184976"/>
                    <a:pt x="145161" y="173641"/>
                  </a:cubicBezTo>
                  <a:lnTo>
                    <a:pt x="145161" y="172784"/>
                  </a:lnTo>
                  <a:cubicBezTo>
                    <a:pt x="145161" y="167164"/>
                    <a:pt x="143541" y="162211"/>
                    <a:pt x="140494" y="158020"/>
                  </a:cubicBezTo>
                  <a:cubicBezTo>
                    <a:pt x="137350" y="153829"/>
                    <a:pt x="133159" y="150209"/>
                    <a:pt x="127825" y="147066"/>
                  </a:cubicBezTo>
                  <a:cubicBezTo>
                    <a:pt x="122491" y="143923"/>
                    <a:pt x="116300" y="141161"/>
                    <a:pt x="109251" y="138779"/>
                  </a:cubicBezTo>
                  <a:cubicBezTo>
                    <a:pt x="102298" y="136398"/>
                    <a:pt x="95059" y="134207"/>
                    <a:pt x="87630" y="132112"/>
                  </a:cubicBezTo>
                  <a:cubicBezTo>
                    <a:pt x="78676" y="129445"/>
                    <a:pt x="69722" y="126492"/>
                    <a:pt x="60579" y="123444"/>
                  </a:cubicBezTo>
                  <a:cubicBezTo>
                    <a:pt x="51530" y="120301"/>
                    <a:pt x="43339" y="116396"/>
                    <a:pt x="36004" y="111633"/>
                  </a:cubicBezTo>
                  <a:cubicBezTo>
                    <a:pt x="28670" y="106871"/>
                    <a:pt x="22764" y="100870"/>
                    <a:pt x="18192" y="93726"/>
                  </a:cubicBezTo>
                  <a:cubicBezTo>
                    <a:pt x="13525" y="86582"/>
                    <a:pt x="11239" y="77629"/>
                    <a:pt x="11239" y="66961"/>
                  </a:cubicBezTo>
                  <a:lnTo>
                    <a:pt x="11239" y="66008"/>
                  </a:lnTo>
                  <a:cubicBezTo>
                    <a:pt x="11239" y="56198"/>
                    <a:pt x="13144" y="47149"/>
                    <a:pt x="17050" y="39053"/>
                  </a:cubicBezTo>
                  <a:cubicBezTo>
                    <a:pt x="20955" y="30861"/>
                    <a:pt x="26384" y="23908"/>
                    <a:pt x="33338" y="18098"/>
                  </a:cubicBezTo>
                  <a:cubicBezTo>
                    <a:pt x="40291" y="12287"/>
                    <a:pt x="48673" y="7811"/>
                    <a:pt x="58388" y="4667"/>
                  </a:cubicBezTo>
                  <a:cubicBezTo>
                    <a:pt x="68008" y="1524"/>
                    <a:pt x="78581" y="0"/>
                    <a:pt x="89821" y="0"/>
                  </a:cubicBezTo>
                  <a:cubicBezTo>
                    <a:pt x="104108" y="0"/>
                    <a:pt x="118586" y="2286"/>
                    <a:pt x="133159" y="6953"/>
                  </a:cubicBezTo>
                  <a:cubicBezTo>
                    <a:pt x="147732" y="11621"/>
                    <a:pt x="160972" y="17717"/>
                    <a:pt x="172878" y="25527"/>
                  </a:cubicBezTo>
                  <a:lnTo>
                    <a:pt x="157257" y="51435"/>
                  </a:lnTo>
                  <a:cubicBezTo>
                    <a:pt x="146494" y="44577"/>
                    <a:pt x="135255" y="39148"/>
                    <a:pt x="123539" y="35147"/>
                  </a:cubicBezTo>
                  <a:cubicBezTo>
                    <a:pt x="111823" y="31147"/>
                    <a:pt x="100203" y="29146"/>
                    <a:pt x="88963" y="29146"/>
                  </a:cubicBezTo>
                  <a:cubicBezTo>
                    <a:pt x="75247" y="29146"/>
                    <a:pt x="64389" y="32385"/>
                    <a:pt x="56388" y="38767"/>
                  </a:cubicBezTo>
                  <a:cubicBezTo>
                    <a:pt x="48291" y="45149"/>
                    <a:pt x="44291" y="53150"/>
                    <a:pt x="44291" y="62675"/>
                  </a:cubicBezTo>
                  <a:lnTo>
                    <a:pt x="44291" y="63627"/>
                  </a:lnTo>
                  <a:cubicBezTo>
                    <a:pt x="44291" y="68961"/>
                    <a:pt x="45910" y="73628"/>
                    <a:pt x="49244" y="77724"/>
                  </a:cubicBezTo>
                  <a:cubicBezTo>
                    <a:pt x="52482" y="81725"/>
                    <a:pt x="56864" y="85249"/>
                    <a:pt x="62389" y="88202"/>
                  </a:cubicBezTo>
                  <a:cubicBezTo>
                    <a:pt x="67913" y="91154"/>
                    <a:pt x="74200" y="93821"/>
                    <a:pt x="81343" y="96203"/>
                  </a:cubicBezTo>
                  <a:cubicBezTo>
                    <a:pt x="88487" y="98584"/>
                    <a:pt x="95916" y="100965"/>
                    <a:pt x="103631" y="103346"/>
                  </a:cubicBezTo>
                  <a:cubicBezTo>
                    <a:pt x="112585" y="106013"/>
                    <a:pt x="121444" y="108966"/>
                    <a:pt x="130207" y="112300"/>
                  </a:cubicBezTo>
                  <a:cubicBezTo>
                    <a:pt x="138969" y="115538"/>
                    <a:pt x="146971" y="119729"/>
                    <a:pt x="154114" y="124778"/>
                  </a:cubicBezTo>
                  <a:cubicBezTo>
                    <a:pt x="161258" y="129826"/>
                    <a:pt x="166973" y="135922"/>
                    <a:pt x="171259" y="143066"/>
                  </a:cubicBezTo>
                  <a:cubicBezTo>
                    <a:pt x="175546" y="150209"/>
                    <a:pt x="177736" y="158972"/>
                    <a:pt x="177736" y="169450"/>
                  </a:cubicBezTo>
                  <a:lnTo>
                    <a:pt x="177736" y="170307"/>
                  </a:lnTo>
                  <a:cubicBezTo>
                    <a:pt x="177736" y="181356"/>
                    <a:pt x="175546" y="191071"/>
                    <a:pt x="171259" y="199549"/>
                  </a:cubicBezTo>
                  <a:cubicBezTo>
                    <a:pt x="166973" y="208026"/>
                    <a:pt x="161163" y="215265"/>
                    <a:pt x="153828" y="221171"/>
                  </a:cubicBezTo>
                  <a:cubicBezTo>
                    <a:pt x="146589" y="227171"/>
                    <a:pt x="137922" y="231648"/>
                    <a:pt x="127921" y="234791"/>
                  </a:cubicBezTo>
                  <a:cubicBezTo>
                    <a:pt x="117919" y="237935"/>
                    <a:pt x="107156" y="239459"/>
                    <a:pt x="95535" y="239459"/>
                  </a:cubicBezTo>
                  <a:close/>
                </a:path>
              </a:pathLst>
            </a:custGeom>
            <a:solidFill>
              <a:srgbClr val="44505E"/>
            </a:solidFill>
            <a:ln w="9525" cap="flat">
              <a:noFill/>
              <a:prstDash val="solid"/>
              <a:miter/>
            </a:ln>
          </p:spPr>
          <p:txBody>
            <a:bodyPr rtlCol="0" anchor="ctr"/>
            <a:lstStyle/>
            <a:p>
              <a:endParaRPr lang="pt-BR" noProof="0"/>
            </a:p>
          </p:txBody>
        </p:sp>
        <p:sp>
          <p:nvSpPr>
            <p:cNvPr id="1066" name="Freeform: Shape 54">
              <a:extLst>
                <a:ext uri="{FF2B5EF4-FFF2-40B4-BE49-F238E27FC236}">
                  <a16:creationId xmlns:a16="http://schemas.microsoft.com/office/drawing/2014/main" id="{846E7C0D-184F-D3E3-D6B0-25CE0762B3CF}"/>
                </a:ext>
              </a:extLst>
            </p:cNvPr>
            <p:cNvSpPr/>
            <p:nvPr/>
          </p:nvSpPr>
          <p:spPr>
            <a:xfrm>
              <a:off x="5250320" y="846952"/>
              <a:ext cx="1459036" cy="16186"/>
            </a:xfrm>
            <a:custGeom>
              <a:avLst/>
              <a:gdLst>
                <a:gd name="connsiteX0" fmla="*/ 0 w 5804058"/>
                <a:gd name="connsiteY0" fmla="*/ 0 h 64388"/>
                <a:gd name="connsiteX1" fmla="*/ 5804059 w 5804058"/>
                <a:gd name="connsiteY1" fmla="*/ 0 h 64388"/>
                <a:gd name="connsiteX2" fmla="*/ 5804059 w 5804058"/>
                <a:gd name="connsiteY2" fmla="*/ 64389 h 64388"/>
                <a:gd name="connsiteX3" fmla="*/ 0 w 5804058"/>
                <a:gd name="connsiteY3" fmla="*/ 64389 h 64388"/>
              </a:gdLst>
              <a:ahLst/>
              <a:cxnLst>
                <a:cxn ang="0">
                  <a:pos x="connsiteX0" y="connsiteY0"/>
                </a:cxn>
                <a:cxn ang="0">
                  <a:pos x="connsiteX1" y="connsiteY1"/>
                </a:cxn>
                <a:cxn ang="0">
                  <a:pos x="connsiteX2" y="connsiteY2"/>
                </a:cxn>
                <a:cxn ang="0">
                  <a:pos x="connsiteX3" y="connsiteY3"/>
                </a:cxn>
              </a:cxnLst>
              <a:rect l="l" t="t" r="r" b="b"/>
              <a:pathLst>
                <a:path w="5804058" h="64388">
                  <a:moveTo>
                    <a:pt x="0" y="0"/>
                  </a:moveTo>
                  <a:lnTo>
                    <a:pt x="5804059" y="0"/>
                  </a:lnTo>
                  <a:lnTo>
                    <a:pt x="5804059" y="64389"/>
                  </a:lnTo>
                  <a:lnTo>
                    <a:pt x="0" y="64389"/>
                  </a:lnTo>
                  <a:close/>
                </a:path>
              </a:pathLst>
            </a:custGeom>
            <a:solidFill>
              <a:srgbClr val="44505E"/>
            </a:solidFill>
            <a:ln w="9525" cap="flat">
              <a:noFill/>
              <a:prstDash val="solid"/>
              <a:miter/>
            </a:ln>
          </p:spPr>
          <p:txBody>
            <a:bodyPr rtlCol="0" anchor="ctr"/>
            <a:lstStyle/>
            <a:p>
              <a:endParaRPr lang="pt-BR" noProof="0"/>
            </a:p>
          </p:txBody>
        </p:sp>
        <p:sp>
          <p:nvSpPr>
            <p:cNvPr id="1067" name="Freeform: Shape 55">
              <a:extLst>
                <a:ext uri="{FF2B5EF4-FFF2-40B4-BE49-F238E27FC236}">
                  <a16:creationId xmlns:a16="http://schemas.microsoft.com/office/drawing/2014/main" id="{41A74035-BF00-4765-8313-8927A0B5AF90}"/>
                </a:ext>
              </a:extLst>
            </p:cNvPr>
            <p:cNvSpPr/>
            <p:nvPr/>
          </p:nvSpPr>
          <p:spPr>
            <a:xfrm>
              <a:off x="6902633" y="268821"/>
              <a:ext cx="273418" cy="601046"/>
            </a:xfrm>
            <a:custGeom>
              <a:avLst/>
              <a:gdLst>
                <a:gd name="connsiteX0" fmla="*/ 0 w 1087659"/>
                <a:gd name="connsiteY0" fmla="*/ 210979 h 2390965"/>
                <a:gd name="connsiteX1" fmla="*/ 125063 w 1087659"/>
                <a:gd name="connsiteY1" fmla="*/ 103442 h 2390965"/>
                <a:gd name="connsiteX2" fmla="*/ 250031 w 1087659"/>
                <a:gd name="connsiteY2" fmla="*/ 210979 h 2390965"/>
                <a:gd name="connsiteX3" fmla="*/ 250031 w 1087659"/>
                <a:gd name="connsiteY3" fmla="*/ 1922717 h 2390965"/>
                <a:gd name="connsiteX4" fmla="*/ 249841 w 1087659"/>
                <a:gd name="connsiteY4" fmla="*/ 1922717 h 2390965"/>
                <a:gd name="connsiteX5" fmla="*/ 249841 w 1087659"/>
                <a:gd name="connsiteY5" fmla="*/ 1925955 h 2390965"/>
                <a:gd name="connsiteX6" fmla="*/ 333756 w 1087659"/>
                <a:gd name="connsiteY6" fmla="*/ 2100263 h 2390965"/>
                <a:gd name="connsiteX7" fmla="*/ 335566 w 1087659"/>
                <a:gd name="connsiteY7" fmla="*/ 2101787 h 2390965"/>
                <a:gd name="connsiteX8" fmla="*/ 336042 w 1087659"/>
                <a:gd name="connsiteY8" fmla="*/ 2102168 h 2390965"/>
                <a:gd name="connsiteX9" fmla="*/ 543877 w 1087659"/>
                <a:gd name="connsiteY9" fmla="*/ 2175891 h 2390965"/>
                <a:gd name="connsiteX10" fmla="*/ 749998 w 1087659"/>
                <a:gd name="connsiteY10" fmla="*/ 2103692 h 2390965"/>
                <a:gd name="connsiteX11" fmla="*/ 751713 w 1087659"/>
                <a:gd name="connsiteY11" fmla="*/ 2102168 h 2390965"/>
                <a:gd name="connsiteX12" fmla="*/ 752189 w 1087659"/>
                <a:gd name="connsiteY12" fmla="*/ 2101787 h 2390965"/>
                <a:gd name="connsiteX13" fmla="*/ 837819 w 1087659"/>
                <a:gd name="connsiteY13" fmla="*/ 1922812 h 2390965"/>
                <a:gd name="connsiteX14" fmla="*/ 837819 w 1087659"/>
                <a:gd name="connsiteY14" fmla="*/ 107537 h 2390965"/>
                <a:gd name="connsiteX15" fmla="*/ 962787 w 1087659"/>
                <a:gd name="connsiteY15" fmla="*/ 0 h 2390965"/>
                <a:gd name="connsiteX16" fmla="*/ 1087660 w 1087659"/>
                <a:gd name="connsiteY16" fmla="*/ 107537 h 2390965"/>
                <a:gd name="connsiteX17" fmla="*/ 1087660 w 1087659"/>
                <a:gd name="connsiteY17" fmla="*/ 1922621 h 2390965"/>
                <a:gd name="connsiteX18" fmla="*/ 928307 w 1087659"/>
                <a:gd name="connsiteY18" fmla="*/ 2253234 h 2390965"/>
                <a:gd name="connsiteX19" fmla="*/ 928116 w 1087659"/>
                <a:gd name="connsiteY19" fmla="*/ 2253424 h 2390965"/>
                <a:gd name="connsiteX20" fmla="*/ 927830 w 1087659"/>
                <a:gd name="connsiteY20" fmla="*/ 2253710 h 2390965"/>
                <a:gd name="connsiteX21" fmla="*/ 927354 w 1087659"/>
                <a:gd name="connsiteY21" fmla="*/ 2254187 h 2390965"/>
                <a:gd name="connsiteX22" fmla="*/ 543783 w 1087659"/>
                <a:gd name="connsiteY22" fmla="*/ 2390966 h 2390965"/>
                <a:gd name="connsiteX23" fmla="*/ 159734 w 1087659"/>
                <a:gd name="connsiteY23" fmla="*/ 2253710 h 2390965"/>
                <a:gd name="connsiteX24" fmla="*/ 159734 w 1087659"/>
                <a:gd name="connsiteY24" fmla="*/ 2253424 h 2390965"/>
                <a:gd name="connsiteX25" fmla="*/ 159353 w 1087659"/>
                <a:gd name="connsiteY25" fmla="*/ 2253234 h 2390965"/>
                <a:gd name="connsiteX26" fmla="*/ 158877 w 1087659"/>
                <a:gd name="connsiteY26" fmla="*/ 2252948 h 2390965"/>
                <a:gd name="connsiteX27" fmla="*/ 0 w 1087659"/>
                <a:gd name="connsiteY27" fmla="*/ 1922621 h 2390965"/>
                <a:gd name="connsiteX28" fmla="*/ 0 w 1087659"/>
                <a:gd name="connsiteY28" fmla="*/ 1922621 h 2390965"/>
                <a:gd name="connsiteX29" fmla="*/ 0 w 1087659"/>
                <a:gd name="connsiteY29" fmla="*/ 210979 h 239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87659" h="2390965">
                  <a:moveTo>
                    <a:pt x="0" y="210979"/>
                  </a:moveTo>
                  <a:cubicBezTo>
                    <a:pt x="0" y="151638"/>
                    <a:pt x="56007" y="103442"/>
                    <a:pt x="125063" y="103442"/>
                  </a:cubicBezTo>
                  <a:cubicBezTo>
                    <a:pt x="194120" y="103442"/>
                    <a:pt x="250031" y="151638"/>
                    <a:pt x="250031" y="210979"/>
                  </a:cubicBezTo>
                  <a:lnTo>
                    <a:pt x="250031" y="1922717"/>
                  </a:lnTo>
                  <a:lnTo>
                    <a:pt x="249841" y="1922717"/>
                  </a:lnTo>
                  <a:lnTo>
                    <a:pt x="249841" y="1925955"/>
                  </a:lnTo>
                  <a:cubicBezTo>
                    <a:pt x="250793" y="1994059"/>
                    <a:pt x="282797" y="2055495"/>
                    <a:pt x="333756" y="2100263"/>
                  </a:cubicBezTo>
                  <a:lnTo>
                    <a:pt x="335566" y="2101787"/>
                  </a:lnTo>
                  <a:lnTo>
                    <a:pt x="336042" y="2102168"/>
                  </a:lnTo>
                  <a:cubicBezTo>
                    <a:pt x="388906" y="2147697"/>
                    <a:pt x="462343" y="2175891"/>
                    <a:pt x="543877" y="2175891"/>
                  </a:cubicBezTo>
                  <a:cubicBezTo>
                    <a:pt x="625411" y="2175891"/>
                    <a:pt x="697420" y="2148364"/>
                    <a:pt x="749998" y="2103692"/>
                  </a:cubicBezTo>
                  <a:lnTo>
                    <a:pt x="751713" y="2102168"/>
                  </a:lnTo>
                  <a:lnTo>
                    <a:pt x="752189" y="2101787"/>
                  </a:lnTo>
                  <a:cubicBezTo>
                    <a:pt x="805053" y="2056352"/>
                    <a:pt x="837819" y="1993011"/>
                    <a:pt x="837819" y="1922812"/>
                  </a:cubicBezTo>
                  <a:lnTo>
                    <a:pt x="837819" y="107537"/>
                  </a:lnTo>
                  <a:cubicBezTo>
                    <a:pt x="837819" y="48196"/>
                    <a:pt x="893731" y="0"/>
                    <a:pt x="962787" y="0"/>
                  </a:cubicBezTo>
                  <a:cubicBezTo>
                    <a:pt x="1031843" y="0"/>
                    <a:pt x="1087660" y="48196"/>
                    <a:pt x="1087660" y="107537"/>
                  </a:cubicBezTo>
                  <a:lnTo>
                    <a:pt x="1087660" y="1922621"/>
                  </a:lnTo>
                  <a:cubicBezTo>
                    <a:pt x="1087660" y="2051399"/>
                    <a:pt x="1026795" y="2168366"/>
                    <a:pt x="928307" y="2253234"/>
                  </a:cubicBezTo>
                  <a:lnTo>
                    <a:pt x="928116" y="2253424"/>
                  </a:lnTo>
                  <a:lnTo>
                    <a:pt x="927830" y="2253710"/>
                  </a:lnTo>
                  <a:lnTo>
                    <a:pt x="927354" y="2254187"/>
                  </a:lnTo>
                  <a:cubicBezTo>
                    <a:pt x="828770" y="2338673"/>
                    <a:pt x="693134" y="2390966"/>
                    <a:pt x="543783" y="2390966"/>
                  </a:cubicBezTo>
                  <a:cubicBezTo>
                    <a:pt x="394430" y="2390966"/>
                    <a:pt x="258413" y="2338483"/>
                    <a:pt x="159734" y="2253710"/>
                  </a:cubicBezTo>
                  <a:lnTo>
                    <a:pt x="159734" y="2253424"/>
                  </a:lnTo>
                  <a:cubicBezTo>
                    <a:pt x="159734" y="2253424"/>
                    <a:pt x="159353" y="2253234"/>
                    <a:pt x="159353" y="2253234"/>
                  </a:cubicBezTo>
                  <a:lnTo>
                    <a:pt x="158877" y="2252948"/>
                  </a:lnTo>
                  <a:cubicBezTo>
                    <a:pt x="60770" y="2167985"/>
                    <a:pt x="0" y="2051304"/>
                    <a:pt x="0" y="1922621"/>
                  </a:cubicBezTo>
                  <a:lnTo>
                    <a:pt x="0" y="1922621"/>
                  </a:lnTo>
                  <a:lnTo>
                    <a:pt x="0" y="210979"/>
                  </a:lnTo>
                  <a:close/>
                </a:path>
              </a:pathLst>
            </a:custGeom>
            <a:solidFill>
              <a:srgbClr val="8FC640"/>
            </a:solidFill>
            <a:ln w="9525" cap="flat">
              <a:noFill/>
              <a:prstDash val="solid"/>
              <a:miter/>
            </a:ln>
          </p:spPr>
          <p:txBody>
            <a:bodyPr rtlCol="0" anchor="ctr"/>
            <a:lstStyle/>
            <a:p>
              <a:endParaRPr lang="pt-BR" noProof="0"/>
            </a:p>
          </p:txBody>
        </p:sp>
        <p:sp>
          <p:nvSpPr>
            <p:cNvPr id="1068" name="Freeform: Shape 56">
              <a:extLst>
                <a:ext uri="{FF2B5EF4-FFF2-40B4-BE49-F238E27FC236}">
                  <a16:creationId xmlns:a16="http://schemas.microsoft.com/office/drawing/2014/main" id="{CA9DAA3C-6B21-3BF4-F568-62921ADDA0FF}"/>
                </a:ext>
              </a:extLst>
            </p:cNvPr>
            <p:cNvSpPr/>
            <p:nvPr/>
          </p:nvSpPr>
          <p:spPr>
            <a:xfrm>
              <a:off x="7013590" y="213965"/>
              <a:ext cx="54018" cy="562280"/>
            </a:xfrm>
            <a:custGeom>
              <a:avLst/>
              <a:gdLst>
                <a:gd name="connsiteX0" fmla="*/ 0 w 214883"/>
                <a:gd name="connsiteY0" fmla="*/ 107537 h 2236755"/>
                <a:gd name="connsiteX1" fmla="*/ 107537 w 214883"/>
                <a:gd name="connsiteY1" fmla="*/ 0 h 2236755"/>
                <a:gd name="connsiteX2" fmla="*/ 214884 w 214883"/>
                <a:gd name="connsiteY2" fmla="*/ 107537 h 2236755"/>
                <a:gd name="connsiteX3" fmla="*/ 214884 w 214883"/>
                <a:gd name="connsiteY3" fmla="*/ 2129219 h 2236755"/>
                <a:gd name="connsiteX4" fmla="*/ 107537 w 214883"/>
                <a:gd name="connsiteY4" fmla="*/ 2236756 h 2236755"/>
                <a:gd name="connsiteX5" fmla="*/ 0 w 214883"/>
                <a:gd name="connsiteY5" fmla="*/ 2129219 h 2236755"/>
                <a:gd name="connsiteX6" fmla="*/ 0 w 214883"/>
                <a:gd name="connsiteY6" fmla="*/ 107537 h 223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 h="2236755">
                  <a:moveTo>
                    <a:pt x="0" y="107537"/>
                  </a:moveTo>
                  <a:cubicBezTo>
                    <a:pt x="0" y="48197"/>
                    <a:pt x="48101" y="0"/>
                    <a:pt x="107537" y="0"/>
                  </a:cubicBezTo>
                  <a:cubicBezTo>
                    <a:pt x="166973" y="0"/>
                    <a:pt x="214884" y="48197"/>
                    <a:pt x="214884" y="107537"/>
                  </a:cubicBezTo>
                  <a:lnTo>
                    <a:pt x="214884" y="2129219"/>
                  </a:lnTo>
                  <a:cubicBezTo>
                    <a:pt x="214884" y="2188559"/>
                    <a:pt x="166782" y="2236756"/>
                    <a:pt x="107537" y="2236756"/>
                  </a:cubicBezTo>
                  <a:cubicBezTo>
                    <a:pt x="48291" y="2236756"/>
                    <a:pt x="0" y="2188559"/>
                    <a:pt x="0" y="2129219"/>
                  </a:cubicBezTo>
                  <a:lnTo>
                    <a:pt x="0" y="107537"/>
                  </a:lnTo>
                  <a:close/>
                </a:path>
              </a:pathLst>
            </a:custGeom>
            <a:solidFill>
              <a:srgbClr val="3698B0"/>
            </a:solidFill>
            <a:ln w="9525" cap="flat">
              <a:noFill/>
              <a:prstDash val="solid"/>
              <a:miter/>
            </a:ln>
          </p:spPr>
          <p:txBody>
            <a:bodyPr rtlCol="0" anchor="ctr"/>
            <a:lstStyle/>
            <a:p>
              <a:endParaRPr lang="pt-BR" noProof="0"/>
            </a:p>
          </p:txBody>
        </p:sp>
        <p:sp>
          <p:nvSpPr>
            <p:cNvPr id="1069" name="Freeform: Shape 57">
              <a:extLst>
                <a:ext uri="{FF2B5EF4-FFF2-40B4-BE49-F238E27FC236}">
                  <a16:creationId xmlns:a16="http://schemas.microsoft.com/office/drawing/2014/main" id="{4D83C208-2BDD-0393-F9D1-299B38F44E59}"/>
                </a:ext>
              </a:extLst>
            </p:cNvPr>
            <p:cNvSpPr/>
            <p:nvPr/>
          </p:nvSpPr>
          <p:spPr>
            <a:xfrm>
              <a:off x="6795770" y="332991"/>
              <a:ext cx="485994" cy="649437"/>
            </a:xfrm>
            <a:custGeom>
              <a:avLst/>
              <a:gdLst>
                <a:gd name="connsiteX0" fmla="*/ 1933290 w 1933289"/>
                <a:gd name="connsiteY0" fmla="*/ 138017 h 2583465"/>
                <a:gd name="connsiteX1" fmla="*/ 1933290 w 1933289"/>
                <a:gd name="connsiteY1" fmla="*/ 1734122 h 2583465"/>
                <a:gd name="connsiteX2" fmla="*/ 1796606 w 1933289"/>
                <a:gd name="connsiteY2" fmla="*/ 2229136 h 2583465"/>
                <a:gd name="connsiteX3" fmla="*/ 977742 w 1933289"/>
                <a:gd name="connsiteY3" fmla="*/ 2583466 h 2583465"/>
                <a:gd name="connsiteX4" fmla="*/ 955357 w 1933289"/>
                <a:gd name="connsiteY4" fmla="*/ 2583466 h 2583465"/>
                <a:gd name="connsiteX5" fmla="*/ 136589 w 1933289"/>
                <a:gd name="connsiteY5" fmla="*/ 2229136 h 2583465"/>
                <a:gd name="connsiteX6" fmla="*/ 0 w 1933289"/>
                <a:gd name="connsiteY6" fmla="*/ 1734122 h 2583465"/>
                <a:gd name="connsiteX7" fmla="*/ 0 w 1933289"/>
                <a:gd name="connsiteY7" fmla="*/ 794194 h 2583465"/>
                <a:gd name="connsiteX8" fmla="*/ 137827 w 1933289"/>
                <a:gd name="connsiteY8" fmla="*/ 656273 h 2583465"/>
                <a:gd name="connsiteX9" fmla="*/ 275463 w 1933289"/>
                <a:gd name="connsiteY9" fmla="*/ 794194 h 2583465"/>
                <a:gd name="connsiteX10" fmla="*/ 275463 w 1933289"/>
                <a:gd name="connsiteY10" fmla="*/ 1734122 h 2583465"/>
                <a:gd name="connsiteX11" fmla="*/ 354235 w 1933289"/>
                <a:gd name="connsiteY11" fmla="*/ 2059686 h 2583465"/>
                <a:gd name="connsiteX12" fmla="*/ 958215 w 1933289"/>
                <a:gd name="connsiteY12" fmla="*/ 2307527 h 2583465"/>
                <a:gd name="connsiteX13" fmla="*/ 974789 w 1933289"/>
                <a:gd name="connsiteY13" fmla="*/ 2307527 h 2583465"/>
                <a:gd name="connsiteX14" fmla="*/ 1578959 w 1933289"/>
                <a:gd name="connsiteY14" fmla="*/ 2059686 h 2583465"/>
                <a:gd name="connsiteX15" fmla="*/ 1657636 w 1933289"/>
                <a:gd name="connsiteY15" fmla="*/ 1734122 h 2583465"/>
                <a:gd name="connsiteX16" fmla="*/ 1657636 w 1933289"/>
                <a:gd name="connsiteY16" fmla="*/ 138017 h 2583465"/>
                <a:gd name="connsiteX17" fmla="*/ 1795463 w 1933289"/>
                <a:gd name="connsiteY17" fmla="*/ 0 h 2583465"/>
                <a:gd name="connsiteX18" fmla="*/ 1933290 w 1933289"/>
                <a:gd name="connsiteY18" fmla="*/ 138017 h 25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3289" h="2583465">
                  <a:moveTo>
                    <a:pt x="1933290" y="138017"/>
                  </a:moveTo>
                  <a:lnTo>
                    <a:pt x="1933290" y="1734122"/>
                  </a:lnTo>
                  <a:cubicBezTo>
                    <a:pt x="1933290" y="1870996"/>
                    <a:pt x="1919002" y="2071211"/>
                    <a:pt x="1796606" y="2229136"/>
                  </a:cubicBezTo>
                  <a:cubicBezTo>
                    <a:pt x="1634395" y="2438305"/>
                    <a:pt x="1432084" y="2578703"/>
                    <a:pt x="977742" y="2583466"/>
                  </a:cubicBezTo>
                  <a:lnTo>
                    <a:pt x="955357" y="2583466"/>
                  </a:lnTo>
                  <a:cubicBezTo>
                    <a:pt x="501015" y="2578703"/>
                    <a:pt x="298704" y="2438400"/>
                    <a:pt x="136589" y="2229136"/>
                  </a:cubicBezTo>
                  <a:cubicBezTo>
                    <a:pt x="14192" y="2071211"/>
                    <a:pt x="0" y="1870996"/>
                    <a:pt x="0" y="1734122"/>
                  </a:cubicBezTo>
                  <a:lnTo>
                    <a:pt x="0" y="794194"/>
                  </a:lnTo>
                  <a:cubicBezTo>
                    <a:pt x="0" y="718185"/>
                    <a:pt x="61436" y="656273"/>
                    <a:pt x="137827" y="656273"/>
                  </a:cubicBezTo>
                  <a:cubicBezTo>
                    <a:pt x="214217" y="656273"/>
                    <a:pt x="275463" y="718185"/>
                    <a:pt x="275463" y="794194"/>
                  </a:cubicBezTo>
                  <a:lnTo>
                    <a:pt x="275463" y="1734122"/>
                  </a:lnTo>
                  <a:cubicBezTo>
                    <a:pt x="275463" y="1887188"/>
                    <a:pt x="300324" y="1990630"/>
                    <a:pt x="354235" y="2059686"/>
                  </a:cubicBezTo>
                  <a:cubicBezTo>
                    <a:pt x="476250" y="2217611"/>
                    <a:pt x="609791" y="2304479"/>
                    <a:pt x="958215" y="2307527"/>
                  </a:cubicBezTo>
                  <a:lnTo>
                    <a:pt x="974789" y="2307527"/>
                  </a:lnTo>
                  <a:cubicBezTo>
                    <a:pt x="1323499" y="2304479"/>
                    <a:pt x="1456563" y="2217611"/>
                    <a:pt x="1578959" y="2059686"/>
                  </a:cubicBezTo>
                  <a:cubicBezTo>
                    <a:pt x="1632490" y="1990630"/>
                    <a:pt x="1657636" y="1887093"/>
                    <a:pt x="1657636" y="1734122"/>
                  </a:cubicBezTo>
                  <a:lnTo>
                    <a:pt x="1657636" y="138017"/>
                  </a:lnTo>
                  <a:cubicBezTo>
                    <a:pt x="1657636" y="61531"/>
                    <a:pt x="1719453" y="0"/>
                    <a:pt x="1795463" y="0"/>
                  </a:cubicBezTo>
                  <a:cubicBezTo>
                    <a:pt x="1871472" y="0"/>
                    <a:pt x="1933290" y="61531"/>
                    <a:pt x="1933290" y="138017"/>
                  </a:cubicBezTo>
                </a:path>
              </a:pathLst>
            </a:custGeom>
            <a:solidFill>
              <a:srgbClr val="49306E"/>
            </a:solidFill>
            <a:ln w="9525" cap="flat">
              <a:noFill/>
              <a:prstDash val="solid"/>
              <a:miter/>
            </a:ln>
          </p:spPr>
          <p:txBody>
            <a:bodyPr rtlCol="0" anchor="ctr"/>
            <a:lstStyle/>
            <a:p>
              <a:endParaRPr lang="pt-BR" noProof="0"/>
            </a:p>
          </p:txBody>
        </p:sp>
      </p:grpSp>
    </p:spTree>
    <p:extLst>
      <p:ext uri="{BB962C8B-B14F-4D97-AF65-F5344CB8AC3E}">
        <p14:creationId xmlns:p14="http://schemas.microsoft.com/office/powerpoint/2010/main" val="177096088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aixaDeTexto 3">
            <a:extLst>
              <a:ext uri="{FF2B5EF4-FFF2-40B4-BE49-F238E27FC236}">
                <a16:creationId xmlns:a16="http://schemas.microsoft.com/office/drawing/2014/main" id="{03425247-9CC8-E59C-1B22-FCA41BF790D0}"/>
              </a:ext>
            </a:extLst>
          </p:cNvPr>
          <p:cNvSpPr txBox="1"/>
          <p:nvPr/>
        </p:nvSpPr>
        <p:spPr>
          <a:xfrm>
            <a:off x="2519500" y="361172"/>
            <a:ext cx="3542143" cy="461665"/>
          </a:xfrm>
          <a:prstGeom prst="rect">
            <a:avLst/>
          </a:prstGeom>
          <a:noFill/>
        </p:spPr>
        <p:txBody>
          <a:bodyPr wrap="square" rtlCol="0">
            <a:spAutoFit/>
          </a:bodyPr>
          <a:lstStyle/>
          <a:p>
            <a:r>
              <a:rPr lang="pt-BR" sz="2400" b="1" noProof="0"/>
              <a:t>CASO 1- ADULTO</a:t>
            </a:r>
          </a:p>
        </p:txBody>
      </p:sp>
      <p:pic>
        <p:nvPicPr>
          <p:cNvPr id="5" name="Imagem 4" descr="Tabela&#10;&#10;O conteúdo gerado por IA pode estar incorreto.">
            <a:extLst>
              <a:ext uri="{FF2B5EF4-FFF2-40B4-BE49-F238E27FC236}">
                <a16:creationId xmlns:a16="http://schemas.microsoft.com/office/drawing/2014/main" id="{BC3C5764-4CB4-F967-7B80-612A7A9568D5}"/>
              </a:ext>
            </a:extLst>
          </p:cNvPr>
          <p:cNvPicPr>
            <a:picLocks noChangeAspect="1"/>
          </p:cNvPicPr>
          <p:nvPr/>
        </p:nvPicPr>
        <p:blipFill>
          <a:blip r:embed="rId2"/>
          <a:stretch>
            <a:fillRect/>
          </a:stretch>
        </p:blipFill>
        <p:spPr>
          <a:xfrm>
            <a:off x="1138597" y="989073"/>
            <a:ext cx="9497862" cy="4894232"/>
          </a:xfrm>
          <a:prstGeom prst="rect">
            <a:avLst/>
          </a:prstGeom>
        </p:spPr>
      </p:pic>
      <p:sp>
        <p:nvSpPr>
          <p:cNvPr id="6" name="CaixaDeTexto 5">
            <a:extLst>
              <a:ext uri="{FF2B5EF4-FFF2-40B4-BE49-F238E27FC236}">
                <a16:creationId xmlns:a16="http://schemas.microsoft.com/office/drawing/2014/main" id="{7E636D4A-880F-C829-C1F5-7454FE4143CE}"/>
              </a:ext>
            </a:extLst>
          </p:cNvPr>
          <p:cNvSpPr txBox="1"/>
          <p:nvPr/>
        </p:nvSpPr>
        <p:spPr>
          <a:xfrm>
            <a:off x="9322598" y="6322842"/>
            <a:ext cx="26416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pt-BR"/>
              <a:t>Continua........</a:t>
            </a:r>
          </a:p>
        </p:txBody>
      </p:sp>
      <p:sp>
        <p:nvSpPr>
          <p:cNvPr id="10" name="CaixaDeTexto 9">
            <a:extLst>
              <a:ext uri="{FF2B5EF4-FFF2-40B4-BE49-F238E27FC236}">
                <a16:creationId xmlns:a16="http://schemas.microsoft.com/office/drawing/2014/main" id="{1C7A7D3E-29BF-4B1F-0CF7-40D7735DEA34}"/>
              </a:ext>
            </a:extLst>
          </p:cNvPr>
          <p:cNvSpPr txBox="1"/>
          <p:nvPr/>
        </p:nvSpPr>
        <p:spPr>
          <a:xfrm>
            <a:off x="7926326" y="1645181"/>
            <a:ext cx="463890"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pt-BR" sz="2000" b="1">
                <a:solidFill>
                  <a:srgbClr val="C00000"/>
                </a:solidFill>
              </a:rPr>
              <a:t>X</a:t>
            </a:r>
            <a:endParaRPr lang="pt-BR" sz="2000">
              <a:solidFill>
                <a:srgbClr val="C00000"/>
              </a:solidFill>
            </a:endParaRPr>
          </a:p>
        </p:txBody>
      </p:sp>
      <p:sp>
        <p:nvSpPr>
          <p:cNvPr id="14" name="CaixaDeTexto 13">
            <a:extLst>
              <a:ext uri="{FF2B5EF4-FFF2-40B4-BE49-F238E27FC236}">
                <a16:creationId xmlns:a16="http://schemas.microsoft.com/office/drawing/2014/main" id="{CAFB1E88-6839-6456-9D4F-D30A221ACD4E}"/>
              </a:ext>
            </a:extLst>
          </p:cNvPr>
          <p:cNvSpPr txBox="1"/>
          <p:nvPr/>
        </p:nvSpPr>
        <p:spPr>
          <a:xfrm>
            <a:off x="7854439" y="3025407"/>
            <a:ext cx="463890"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pt-BR" sz="2000" b="1">
                <a:solidFill>
                  <a:srgbClr val="C00000"/>
                </a:solidFill>
              </a:rPr>
              <a:t>X</a:t>
            </a:r>
            <a:endParaRPr lang="pt-BR" sz="2000">
              <a:solidFill>
                <a:srgbClr val="C00000"/>
              </a:solidFill>
            </a:endParaRPr>
          </a:p>
        </p:txBody>
      </p:sp>
      <p:sp>
        <p:nvSpPr>
          <p:cNvPr id="16" name="CaixaDeTexto 15">
            <a:extLst>
              <a:ext uri="{FF2B5EF4-FFF2-40B4-BE49-F238E27FC236}">
                <a16:creationId xmlns:a16="http://schemas.microsoft.com/office/drawing/2014/main" id="{143E70CE-954A-B64A-6997-E93AE7FD5A99}"/>
              </a:ext>
            </a:extLst>
          </p:cNvPr>
          <p:cNvSpPr txBox="1"/>
          <p:nvPr/>
        </p:nvSpPr>
        <p:spPr>
          <a:xfrm>
            <a:off x="7854437" y="4161218"/>
            <a:ext cx="463890"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pt-BR" sz="2000" b="1">
                <a:solidFill>
                  <a:srgbClr val="C00000"/>
                </a:solidFill>
              </a:rPr>
              <a:t>X</a:t>
            </a:r>
            <a:endParaRPr lang="pt-BR" sz="2000">
              <a:solidFill>
                <a:srgbClr val="C00000"/>
              </a:solidFill>
            </a:endParaRPr>
          </a:p>
        </p:txBody>
      </p:sp>
      <p:sp>
        <p:nvSpPr>
          <p:cNvPr id="18" name="CaixaDeTexto 17">
            <a:extLst>
              <a:ext uri="{FF2B5EF4-FFF2-40B4-BE49-F238E27FC236}">
                <a16:creationId xmlns:a16="http://schemas.microsoft.com/office/drawing/2014/main" id="{3F585EBA-71DA-8A0C-71A0-3A3034FE5029}"/>
              </a:ext>
            </a:extLst>
          </p:cNvPr>
          <p:cNvSpPr txBox="1"/>
          <p:nvPr/>
        </p:nvSpPr>
        <p:spPr>
          <a:xfrm>
            <a:off x="7854439" y="4808199"/>
            <a:ext cx="463890"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pt-BR" sz="2000" b="1">
                <a:solidFill>
                  <a:srgbClr val="C00000"/>
                </a:solidFill>
              </a:rPr>
              <a:t>X</a:t>
            </a:r>
            <a:endParaRPr lang="pt-BR" sz="2000">
              <a:solidFill>
                <a:srgbClr val="C00000"/>
              </a:solidFill>
            </a:endParaRPr>
          </a:p>
        </p:txBody>
      </p:sp>
    </p:spTree>
    <p:extLst>
      <p:ext uri="{BB962C8B-B14F-4D97-AF65-F5344CB8AC3E}">
        <p14:creationId xmlns:p14="http://schemas.microsoft.com/office/powerpoint/2010/main" val="42482882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4" grpId="0"/>
      <p:bldP spid="16" grpId="0"/>
      <p:bldP spid="1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ixaDeTexto 2">
            <a:extLst>
              <a:ext uri="{FF2B5EF4-FFF2-40B4-BE49-F238E27FC236}">
                <a16:creationId xmlns:a16="http://schemas.microsoft.com/office/drawing/2014/main" id="{D0369D70-F2F5-0E20-00EC-709FA1F6C541}"/>
              </a:ext>
            </a:extLst>
          </p:cNvPr>
          <p:cNvSpPr txBox="1"/>
          <p:nvPr/>
        </p:nvSpPr>
        <p:spPr>
          <a:xfrm>
            <a:off x="1800632" y="289286"/>
            <a:ext cx="8516709" cy="461665"/>
          </a:xfrm>
          <a:prstGeom prst="rect">
            <a:avLst/>
          </a:prstGeom>
          <a:noFill/>
        </p:spPr>
        <p:txBody>
          <a:bodyPr wrap="square" lIns="91440" tIns="45720" rIns="91440" bIns="45720" rtlCol="0" anchor="t">
            <a:spAutoFit/>
          </a:bodyPr>
          <a:lstStyle/>
          <a:p>
            <a:r>
              <a:rPr lang="pt-BR" sz="2400" b="1" noProof="0"/>
              <a:t>CASO 1- ADULTO</a:t>
            </a:r>
            <a:r>
              <a:rPr lang="pt-BR" sz="2400" b="1"/>
              <a:t>                                                         continuação......</a:t>
            </a:r>
            <a:endParaRPr lang="pt-BR" sz="2400" b="1" noProof="0"/>
          </a:p>
        </p:txBody>
      </p:sp>
      <p:pic>
        <p:nvPicPr>
          <p:cNvPr id="4" name="Imagem 3" descr="Tabela&#10;&#10;O conteúdo gerado por IA pode estar incorreto.">
            <a:extLst>
              <a:ext uri="{FF2B5EF4-FFF2-40B4-BE49-F238E27FC236}">
                <a16:creationId xmlns:a16="http://schemas.microsoft.com/office/drawing/2014/main" id="{17D0CB30-38FC-2120-CA76-F8C8DAEAB21D}"/>
              </a:ext>
            </a:extLst>
          </p:cNvPr>
          <p:cNvPicPr>
            <a:picLocks noChangeAspect="1"/>
          </p:cNvPicPr>
          <p:nvPr/>
        </p:nvPicPr>
        <p:blipFill>
          <a:blip r:embed="rId2"/>
          <a:stretch>
            <a:fillRect/>
          </a:stretch>
        </p:blipFill>
        <p:spPr>
          <a:xfrm>
            <a:off x="1799955" y="935966"/>
            <a:ext cx="8793371" cy="5863086"/>
          </a:xfrm>
          <a:prstGeom prst="rect">
            <a:avLst/>
          </a:prstGeom>
        </p:spPr>
      </p:pic>
      <p:sp>
        <p:nvSpPr>
          <p:cNvPr id="10" name="CaixaDeTexto 9">
            <a:extLst>
              <a:ext uri="{FF2B5EF4-FFF2-40B4-BE49-F238E27FC236}">
                <a16:creationId xmlns:a16="http://schemas.microsoft.com/office/drawing/2014/main" id="{D0795EF6-BBAA-968C-E7AA-82F6CB68C2CF}"/>
              </a:ext>
            </a:extLst>
          </p:cNvPr>
          <p:cNvSpPr txBox="1"/>
          <p:nvPr/>
        </p:nvSpPr>
        <p:spPr>
          <a:xfrm>
            <a:off x="8026967" y="1774576"/>
            <a:ext cx="463890"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pt-BR" sz="2000" b="1">
                <a:solidFill>
                  <a:srgbClr val="C00000"/>
                </a:solidFill>
              </a:rPr>
              <a:t>X</a:t>
            </a:r>
            <a:endParaRPr lang="pt-BR" sz="2000">
              <a:solidFill>
                <a:srgbClr val="C00000"/>
              </a:solidFill>
            </a:endParaRPr>
          </a:p>
        </p:txBody>
      </p:sp>
      <p:sp>
        <p:nvSpPr>
          <p:cNvPr id="14" name="CaixaDeTexto 13">
            <a:extLst>
              <a:ext uri="{FF2B5EF4-FFF2-40B4-BE49-F238E27FC236}">
                <a16:creationId xmlns:a16="http://schemas.microsoft.com/office/drawing/2014/main" id="{5C54E341-AD59-2873-08D6-7AC08A128B92}"/>
              </a:ext>
            </a:extLst>
          </p:cNvPr>
          <p:cNvSpPr txBox="1"/>
          <p:nvPr/>
        </p:nvSpPr>
        <p:spPr>
          <a:xfrm>
            <a:off x="8012588" y="2852878"/>
            <a:ext cx="463890"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pt-BR" sz="2000" b="1">
                <a:solidFill>
                  <a:srgbClr val="C00000"/>
                </a:solidFill>
              </a:rPr>
              <a:t>X</a:t>
            </a:r>
            <a:endParaRPr lang="pt-BR" sz="2000">
              <a:solidFill>
                <a:srgbClr val="C00000"/>
              </a:solidFill>
            </a:endParaRPr>
          </a:p>
        </p:txBody>
      </p:sp>
      <p:sp>
        <p:nvSpPr>
          <p:cNvPr id="16" name="CaixaDeTexto 15">
            <a:extLst>
              <a:ext uri="{FF2B5EF4-FFF2-40B4-BE49-F238E27FC236}">
                <a16:creationId xmlns:a16="http://schemas.microsoft.com/office/drawing/2014/main" id="{4B0CF780-B653-1DE2-B1DE-CB48FEFA8763}"/>
              </a:ext>
            </a:extLst>
          </p:cNvPr>
          <p:cNvSpPr txBox="1"/>
          <p:nvPr/>
        </p:nvSpPr>
        <p:spPr>
          <a:xfrm>
            <a:off x="7998212" y="3384840"/>
            <a:ext cx="463890"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pt-BR" sz="2000" b="1">
                <a:solidFill>
                  <a:srgbClr val="C00000"/>
                </a:solidFill>
              </a:rPr>
              <a:t>X</a:t>
            </a:r>
            <a:endParaRPr lang="pt-BR" sz="2000">
              <a:solidFill>
                <a:srgbClr val="C00000"/>
              </a:solidFill>
            </a:endParaRPr>
          </a:p>
        </p:txBody>
      </p:sp>
      <p:sp>
        <p:nvSpPr>
          <p:cNvPr id="18" name="CaixaDeTexto 17">
            <a:extLst>
              <a:ext uri="{FF2B5EF4-FFF2-40B4-BE49-F238E27FC236}">
                <a16:creationId xmlns:a16="http://schemas.microsoft.com/office/drawing/2014/main" id="{AF9F7824-A330-7310-8B85-23D531265BAD}"/>
              </a:ext>
            </a:extLst>
          </p:cNvPr>
          <p:cNvSpPr txBox="1"/>
          <p:nvPr/>
        </p:nvSpPr>
        <p:spPr>
          <a:xfrm>
            <a:off x="8012589" y="3801783"/>
            <a:ext cx="463890"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pt-BR" sz="2000" b="1">
                <a:solidFill>
                  <a:srgbClr val="C00000"/>
                </a:solidFill>
              </a:rPr>
              <a:t>X</a:t>
            </a:r>
            <a:endParaRPr lang="pt-BR" sz="2000">
              <a:solidFill>
                <a:srgbClr val="C00000"/>
              </a:solidFill>
            </a:endParaRPr>
          </a:p>
        </p:txBody>
      </p:sp>
      <p:sp>
        <p:nvSpPr>
          <p:cNvPr id="34" name="CaixaDeTexto 33">
            <a:extLst>
              <a:ext uri="{FF2B5EF4-FFF2-40B4-BE49-F238E27FC236}">
                <a16:creationId xmlns:a16="http://schemas.microsoft.com/office/drawing/2014/main" id="{09066FCB-945C-0542-57DE-3600AB64E1C3}"/>
              </a:ext>
            </a:extLst>
          </p:cNvPr>
          <p:cNvSpPr txBox="1"/>
          <p:nvPr/>
        </p:nvSpPr>
        <p:spPr>
          <a:xfrm>
            <a:off x="9174671" y="3956969"/>
            <a:ext cx="1913466"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pt-BR" sz="1400" b="1" i="1" err="1">
                <a:solidFill>
                  <a:srgbClr val="C00000"/>
                </a:solidFill>
              </a:rPr>
              <a:t>K.pneumoniae</a:t>
            </a:r>
            <a:endParaRPr lang="pt-BR" sz="1400" b="1" i="1">
              <a:solidFill>
                <a:srgbClr val="C00000"/>
              </a:solidFill>
            </a:endParaRPr>
          </a:p>
        </p:txBody>
      </p:sp>
      <p:sp>
        <p:nvSpPr>
          <p:cNvPr id="36" name="CaixaDeTexto 35">
            <a:extLst>
              <a:ext uri="{FF2B5EF4-FFF2-40B4-BE49-F238E27FC236}">
                <a16:creationId xmlns:a16="http://schemas.microsoft.com/office/drawing/2014/main" id="{731010DD-CA35-C11F-695D-C5D75D269292}"/>
              </a:ext>
            </a:extLst>
          </p:cNvPr>
          <p:cNvSpPr txBox="1"/>
          <p:nvPr/>
        </p:nvSpPr>
        <p:spPr>
          <a:xfrm>
            <a:off x="8035593" y="6455844"/>
            <a:ext cx="463890"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pt-BR" sz="2000" b="1">
                <a:solidFill>
                  <a:srgbClr val="C00000"/>
                </a:solidFill>
              </a:rPr>
              <a:t>X</a:t>
            </a:r>
            <a:endParaRPr lang="pt-BR" sz="2000">
              <a:solidFill>
                <a:srgbClr val="C00000"/>
              </a:solidFill>
            </a:endParaRPr>
          </a:p>
        </p:txBody>
      </p:sp>
    </p:spTree>
    <p:extLst>
      <p:ext uri="{BB962C8B-B14F-4D97-AF65-F5344CB8AC3E}">
        <p14:creationId xmlns:p14="http://schemas.microsoft.com/office/powerpoint/2010/main" val="28435064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4" grpId="0"/>
      <p:bldP spid="16" grpId="0"/>
      <p:bldP spid="18" grpId="0"/>
      <p:bldP spid="34" grpId="0"/>
      <p:bldP spid="36"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4EB4DE-54E5-19C8-BE99-01C5E909A5BD}"/>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04AB520B-B79F-A8E5-5919-51419AF2FE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8" progId="TCLayout.ActiveDocument.1">
                  <p:embed/>
                </p:oleObj>
              </mc:Choice>
              <mc:Fallback>
                <p:oleObj name="think-cell Slide" r:id="rId4" imgW="306" imgH="308" progId="TCLayout.ActiveDocument.1">
                  <p:embed/>
                  <p:pic>
                    <p:nvPicPr>
                      <p:cNvPr id="12" name="think-cell data - do not delete" hidden="1">
                        <a:extLst>
                          <a:ext uri="{FF2B5EF4-FFF2-40B4-BE49-F238E27FC236}">
                            <a16:creationId xmlns:a16="http://schemas.microsoft.com/office/drawing/2014/main" id="{04AB520B-B79F-A8E5-5919-51419AF2FE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3" name="Group 12">
            <a:extLst>
              <a:ext uri="{FF2B5EF4-FFF2-40B4-BE49-F238E27FC236}">
                <a16:creationId xmlns:a16="http://schemas.microsoft.com/office/drawing/2014/main" id="{A6383451-A5F0-BE47-05F6-21B79B52C294}"/>
              </a:ext>
            </a:extLst>
          </p:cNvPr>
          <p:cNvGrpSpPr/>
          <p:nvPr/>
        </p:nvGrpSpPr>
        <p:grpSpPr>
          <a:xfrm>
            <a:off x="304800" y="249455"/>
            <a:ext cx="1193800" cy="462985"/>
            <a:chOff x="5245100" y="211355"/>
            <a:chExt cx="2036664" cy="789869"/>
          </a:xfrm>
        </p:grpSpPr>
        <p:sp>
          <p:nvSpPr>
            <p:cNvPr id="14" name="Freeform: Shape 13">
              <a:extLst>
                <a:ext uri="{FF2B5EF4-FFF2-40B4-BE49-F238E27FC236}">
                  <a16:creationId xmlns:a16="http://schemas.microsoft.com/office/drawing/2014/main" id="{51041EAB-E474-71EB-B4C3-DE9E9796BB51}"/>
                </a:ext>
              </a:extLst>
            </p:cNvPr>
            <p:cNvSpPr/>
            <p:nvPr/>
          </p:nvSpPr>
          <p:spPr>
            <a:xfrm>
              <a:off x="5245100" y="308520"/>
              <a:ext cx="247894" cy="322815"/>
            </a:xfrm>
            <a:custGeom>
              <a:avLst/>
              <a:gdLst>
                <a:gd name="connsiteX0" fmla="*/ 529590 w 986123"/>
                <a:gd name="connsiteY0" fmla="*/ 1284160 h 1284160"/>
                <a:gd name="connsiteX1" fmla="*/ 249650 w 986123"/>
                <a:gd name="connsiteY1" fmla="*/ 1235107 h 1284160"/>
                <a:gd name="connsiteX2" fmla="*/ 0 w 986123"/>
                <a:gd name="connsiteY2" fmla="*/ 1084421 h 1284160"/>
                <a:gd name="connsiteX3" fmla="*/ 162306 w 986123"/>
                <a:gd name="connsiteY3" fmla="*/ 890016 h 1284160"/>
                <a:gd name="connsiteX4" fmla="*/ 337947 w 986123"/>
                <a:gd name="connsiteY4" fmla="*/ 1000601 h 1284160"/>
                <a:gd name="connsiteX5" fmla="*/ 535019 w 986123"/>
                <a:gd name="connsiteY5" fmla="*/ 1041654 h 1284160"/>
                <a:gd name="connsiteX6" fmla="*/ 667893 w 986123"/>
                <a:gd name="connsiteY6" fmla="*/ 1010412 h 1284160"/>
                <a:gd name="connsiteX7" fmla="*/ 715137 w 986123"/>
                <a:gd name="connsiteY7" fmla="*/ 923925 h 1284160"/>
                <a:gd name="connsiteX8" fmla="*/ 715137 w 986123"/>
                <a:gd name="connsiteY8" fmla="*/ 920305 h 1284160"/>
                <a:gd name="connsiteX9" fmla="*/ 705326 w 986123"/>
                <a:gd name="connsiteY9" fmla="*/ 873062 h 1284160"/>
                <a:gd name="connsiteX10" fmla="*/ 667798 w 986123"/>
                <a:gd name="connsiteY10" fmla="*/ 834676 h 1284160"/>
                <a:gd name="connsiteX11" fmla="*/ 590931 w 986123"/>
                <a:gd name="connsiteY11" fmla="*/ 798957 h 1284160"/>
                <a:gd name="connsiteX12" fmla="*/ 463106 w 986123"/>
                <a:gd name="connsiteY12" fmla="*/ 761524 h 1284160"/>
                <a:gd name="connsiteX13" fmla="*/ 291465 w 986123"/>
                <a:gd name="connsiteY13" fmla="*/ 709803 h 1284160"/>
                <a:gd name="connsiteX14" fmla="*/ 160973 w 986123"/>
                <a:gd name="connsiteY14" fmla="*/ 639318 h 1284160"/>
                <a:gd name="connsiteX15" fmla="*/ 77819 w 986123"/>
                <a:gd name="connsiteY15" fmla="*/ 535019 h 1284160"/>
                <a:gd name="connsiteX16" fmla="*/ 48292 w 986123"/>
                <a:gd name="connsiteY16" fmla="*/ 379857 h 1284160"/>
                <a:gd name="connsiteX17" fmla="*/ 48292 w 986123"/>
                <a:gd name="connsiteY17" fmla="*/ 376238 h 1284160"/>
                <a:gd name="connsiteX18" fmla="*/ 80201 w 986123"/>
                <a:gd name="connsiteY18" fmla="*/ 222028 h 1284160"/>
                <a:gd name="connsiteX19" fmla="*/ 169640 w 986123"/>
                <a:gd name="connsiteY19" fmla="*/ 103441 h 1284160"/>
                <a:gd name="connsiteX20" fmla="*/ 307181 w 986123"/>
                <a:gd name="connsiteY20" fmla="*/ 26765 h 1284160"/>
                <a:gd name="connsiteX21" fmla="*/ 483394 w 986123"/>
                <a:gd name="connsiteY21" fmla="*/ 0 h 1284160"/>
                <a:gd name="connsiteX22" fmla="*/ 735711 w 986123"/>
                <a:gd name="connsiteY22" fmla="*/ 41053 h 1284160"/>
                <a:gd name="connsiteX23" fmla="*/ 946976 w 986123"/>
                <a:gd name="connsiteY23" fmla="*/ 158687 h 1284160"/>
                <a:gd name="connsiteX24" fmla="*/ 804291 w 986123"/>
                <a:gd name="connsiteY24" fmla="*/ 365569 h 1284160"/>
                <a:gd name="connsiteX25" fmla="*/ 640271 w 986123"/>
                <a:gd name="connsiteY25" fmla="*/ 275558 h 1284160"/>
                <a:gd name="connsiteX26" fmla="*/ 479774 w 986123"/>
                <a:gd name="connsiteY26" fmla="*/ 242602 h 1284160"/>
                <a:gd name="connsiteX27" fmla="*/ 359378 w 986123"/>
                <a:gd name="connsiteY27" fmla="*/ 273844 h 1284160"/>
                <a:gd name="connsiteX28" fmla="*/ 319278 w 986123"/>
                <a:gd name="connsiteY28" fmla="*/ 351377 h 1284160"/>
                <a:gd name="connsiteX29" fmla="*/ 319278 w 986123"/>
                <a:gd name="connsiteY29" fmla="*/ 354997 h 1284160"/>
                <a:gd name="connsiteX30" fmla="*/ 330899 w 986123"/>
                <a:gd name="connsiteY30" fmla="*/ 407575 h 1284160"/>
                <a:gd name="connsiteX31" fmla="*/ 372904 w 986123"/>
                <a:gd name="connsiteY31" fmla="*/ 447675 h 1284160"/>
                <a:gd name="connsiteX32" fmla="*/ 456057 w 986123"/>
                <a:gd name="connsiteY32" fmla="*/ 481489 h 1284160"/>
                <a:gd name="connsiteX33" fmla="*/ 589217 w 986123"/>
                <a:gd name="connsiteY33" fmla="*/ 518922 h 1284160"/>
                <a:gd name="connsiteX34" fmla="*/ 758190 w 986123"/>
                <a:gd name="connsiteY34" fmla="*/ 575120 h 1284160"/>
                <a:gd name="connsiteX35" fmla="*/ 883349 w 986123"/>
                <a:gd name="connsiteY35" fmla="*/ 649986 h 1284160"/>
                <a:gd name="connsiteX36" fmla="*/ 960215 w 986123"/>
                <a:gd name="connsiteY36" fmla="*/ 752570 h 1284160"/>
                <a:gd name="connsiteX37" fmla="*/ 986123 w 986123"/>
                <a:gd name="connsiteY37" fmla="*/ 893445 h 1284160"/>
                <a:gd name="connsiteX38" fmla="*/ 986123 w 986123"/>
                <a:gd name="connsiteY38" fmla="*/ 897064 h 1284160"/>
                <a:gd name="connsiteX39" fmla="*/ 952500 w 986123"/>
                <a:gd name="connsiteY39" fmla="*/ 1062038 h 1284160"/>
                <a:gd name="connsiteX40" fmla="*/ 858584 w 986123"/>
                <a:gd name="connsiteY40" fmla="*/ 1183291 h 1284160"/>
                <a:gd name="connsiteX41" fmla="*/ 714851 w 986123"/>
                <a:gd name="connsiteY41" fmla="*/ 1258157 h 1284160"/>
                <a:gd name="connsiteX42" fmla="*/ 529685 w 986123"/>
                <a:gd name="connsiteY42" fmla="*/ 1284065 h 128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6123" h="1284160">
                  <a:moveTo>
                    <a:pt x="529590" y="1284160"/>
                  </a:moveTo>
                  <a:cubicBezTo>
                    <a:pt x="434435" y="1284160"/>
                    <a:pt x="341186" y="1267777"/>
                    <a:pt x="249650" y="1235107"/>
                  </a:cubicBezTo>
                  <a:cubicBezTo>
                    <a:pt x="158115" y="1202436"/>
                    <a:pt x="74867" y="1152239"/>
                    <a:pt x="0" y="1084421"/>
                  </a:cubicBezTo>
                  <a:lnTo>
                    <a:pt x="162306" y="890016"/>
                  </a:lnTo>
                  <a:cubicBezTo>
                    <a:pt x="219361" y="936403"/>
                    <a:pt x="277844" y="973264"/>
                    <a:pt x="337947" y="1000601"/>
                  </a:cubicBezTo>
                  <a:cubicBezTo>
                    <a:pt x="397955" y="1027938"/>
                    <a:pt x="463677" y="1041654"/>
                    <a:pt x="535019" y="1041654"/>
                  </a:cubicBezTo>
                  <a:cubicBezTo>
                    <a:pt x="592074" y="1041654"/>
                    <a:pt x="636365" y="1031272"/>
                    <a:pt x="667893" y="1010412"/>
                  </a:cubicBezTo>
                  <a:cubicBezTo>
                    <a:pt x="699421" y="989647"/>
                    <a:pt x="715137" y="960787"/>
                    <a:pt x="715137" y="923925"/>
                  </a:cubicBezTo>
                  <a:lnTo>
                    <a:pt x="715137" y="920305"/>
                  </a:lnTo>
                  <a:cubicBezTo>
                    <a:pt x="715137" y="902494"/>
                    <a:pt x="711803" y="886777"/>
                    <a:pt x="705326" y="873062"/>
                  </a:cubicBezTo>
                  <a:cubicBezTo>
                    <a:pt x="698754" y="859441"/>
                    <a:pt x="686276" y="846582"/>
                    <a:pt x="667798" y="834676"/>
                  </a:cubicBezTo>
                  <a:cubicBezTo>
                    <a:pt x="649319" y="822770"/>
                    <a:pt x="623697" y="810863"/>
                    <a:pt x="590931" y="798957"/>
                  </a:cubicBezTo>
                  <a:cubicBezTo>
                    <a:pt x="558165" y="787146"/>
                    <a:pt x="515493" y="774573"/>
                    <a:pt x="463106" y="761524"/>
                  </a:cubicBezTo>
                  <a:cubicBezTo>
                    <a:pt x="399955" y="746093"/>
                    <a:pt x="342710" y="728853"/>
                    <a:pt x="291465" y="709803"/>
                  </a:cubicBezTo>
                  <a:cubicBezTo>
                    <a:pt x="240221" y="690753"/>
                    <a:pt x="196691" y="667322"/>
                    <a:pt x="160973" y="639318"/>
                  </a:cubicBezTo>
                  <a:cubicBezTo>
                    <a:pt x="125159" y="611410"/>
                    <a:pt x="97536" y="576644"/>
                    <a:pt x="77819" y="535019"/>
                  </a:cubicBezTo>
                  <a:cubicBezTo>
                    <a:pt x="58103" y="493395"/>
                    <a:pt x="48292" y="441674"/>
                    <a:pt x="48292" y="379857"/>
                  </a:cubicBezTo>
                  <a:lnTo>
                    <a:pt x="48292" y="376238"/>
                  </a:lnTo>
                  <a:cubicBezTo>
                    <a:pt x="48292" y="319183"/>
                    <a:pt x="58865" y="267748"/>
                    <a:pt x="80201" y="222028"/>
                  </a:cubicBezTo>
                  <a:cubicBezTo>
                    <a:pt x="101441" y="176308"/>
                    <a:pt x="131255" y="136779"/>
                    <a:pt x="169640" y="103441"/>
                  </a:cubicBezTo>
                  <a:cubicBezTo>
                    <a:pt x="208026" y="70199"/>
                    <a:pt x="253841" y="44577"/>
                    <a:pt x="307181" y="26765"/>
                  </a:cubicBezTo>
                  <a:cubicBezTo>
                    <a:pt x="360426" y="8953"/>
                    <a:pt x="419195" y="0"/>
                    <a:pt x="483394" y="0"/>
                  </a:cubicBezTo>
                  <a:cubicBezTo>
                    <a:pt x="574929" y="0"/>
                    <a:pt x="659035" y="13716"/>
                    <a:pt x="735711" y="41053"/>
                  </a:cubicBezTo>
                  <a:cubicBezTo>
                    <a:pt x="812387" y="68389"/>
                    <a:pt x="882777" y="107632"/>
                    <a:pt x="946976" y="158687"/>
                  </a:cubicBezTo>
                  <a:lnTo>
                    <a:pt x="804291" y="365569"/>
                  </a:lnTo>
                  <a:cubicBezTo>
                    <a:pt x="748379" y="327565"/>
                    <a:pt x="693706" y="297561"/>
                    <a:pt x="640271" y="275558"/>
                  </a:cubicBezTo>
                  <a:cubicBezTo>
                    <a:pt x="586740" y="253555"/>
                    <a:pt x="533305" y="242602"/>
                    <a:pt x="479774" y="242602"/>
                  </a:cubicBezTo>
                  <a:cubicBezTo>
                    <a:pt x="426244" y="242602"/>
                    <a:pt x="386144" y="252984"/>
                    <a:pt x="359378" y="273844"/>
                  </a:cubicBezTo>
                  <a:cubicBezTo>
                    <a:pt x="332613" y="294608"/>
                    <a:pt x="319278" y="320516"/>
                    <a:pt x="319278" y="351377"/>
                  </a:cubicBezTo>
                  <a:lnTo>
                    <a:pt x="319278" y="354997"/>
                  </a:lnTo>
                  <a:cubicBezTo>
                    <a:pt x="319278" y="375190"/>
                    <a:pt x="323183" y="392716"/>
                    <a:pt x="330899" y="407575"/>
                  </a:cubicBezTo>
                  <a:cubicBezTo>
                    <a:pt x="338614" y="422434"/>
                    <a:pt x="352616" y="435864"/>
                    <a:pt x="372904" y="447675"/>
                  </a:cubicBezTo>
                  <a:cubicBezTo>
                    <a:pt x="393192" y="459581"/>
                    <a:pt x="420910" y="470821"/>
                    <a:pt x="456057" y="481489"/>
                  </a:cubicBezTo>
                  <a:cubicBezTo>
                    <a:pt x="491204" y="492157"/>
                    <a:pt x="535591" y="504730"/>
                    <a:pt x="589217" y="518922"/>
                  </a:cubicBezTo>
                  <a:cubicBezTo>
                    <a:pt x="652367" y="535591"/>
                    <a:pt x="708660" y="554260"/>
                    <a:pt x="758190" y="575120"/>
                  </a:cubicBezTo>
                  <a:cubicBezTo>
                    <a:pt x="807625" y="595979"/>
                    <a:pt x="849344" y="620935"/>
                    <a:pt x="883349" y="649986"/>
                  </a:cubicBezTo>
                  <a:cubicBezTo>
                    <a:pt x="917353" y="679132"/>
                    <a:pt x="942975" y="713327"/>
                    <a:pt x="960215" y="752570"/>
                  </a:cubicBezTo>
                  <a:cubicBezTo>
                    <a:pt x="977456" y="791813"/>
                    <a:pt x="986123" y="838772"/>
                    <a:pt x="986123" y="893445"/>
                  </a:cubicBezTo>
                  <a:lnTo>
                    <a:pt x="986123" y="897064"/>
                  </a:lnTo>
                  <a:cubicBezTo>
                    <a:pt x="986123" y="958882"/>
                    <a:pt x="974884" y="1013841"/>
                    <a:pt x="952500" y="1062038"/>
                  </a:cubicBezTo>
                  <a:cubicBezTo>
                    <a:pt x="930021" y="1110139"/>
                    <a:pt x="898779" y="1150620"/>
                    <a:pt x="858584" y="1183291"/>
                  </a:cubicBezTo>
                  <a:cubicBezTo>
                    <a:pt x="818388" y="1216057"/>
                    <a:pt x="770477" y="1241012"/>
                    <a:pt x="714851" y="1258157"/>
                  </a:cubicBezTo>
                  <a:cubicBezTo>
                    <a:pt x="659130" y="1275398"/>
                    <a:pt x="597503" y="1284065"/>
                    <a:pt x="529685" y="1284065"/>
                  </a:cubicBezTo>
                  <a:close/>
                </a:path>
              </a:pathLst>
            </a:custGeom>
            <a:solidFill>
              <a:srgbClr val="44505E"/>
            </a:solidFill>
            <a:ln w="9525" cap="flat">
              <a:noFill/>
              <a:prstDash val="solid"/>
              <a:miter/>
            </a:ln>
          </p:spPr>
          <p:txBody>
            <a:bodyPr rtlCol="0" anchor="ctr"/>
            <a:lstStyle/>
            <a:p>
              <a:endParaRPr lang="pt-BR" noProof="0"/>
            </a:p>
          </p:txBody>
        </p:sp>
        <p:sp>
          <p:nvSpPr>
            <p:cNvPr id="17" name="Freeform: Shape 16">
              <a:extLst>
                <a:ext uri="{FF2B5EF4-FFF2-40B4-BE49-F238E27FC236}">
                  <a16:creationId xmlns:a16="http://schemas.microsoft.com/office/drawing/2014/main" id="{9555D73F-8350-8DD9-93E6-8BA903CDBB0A}"/>
                </a:ext>
              </a:extLst>
            </p:cNvPr>
            <p:cNvSpPr/>
            <p:nvPr/>
          </p:nvSpPr>
          <p:spPr>
            <a:xfrm>
              <a:off x="5492084" y="310867"/>
              <a:ext cx="332584" cy="315991"/>
            </a:xfrm>
            <a:custGeom>
              <a:avLst/>
              <a:gdLst>
                <a:gd name="connsiteX0" fmla="*/ 534924 w 1323022"/>
                <a:gd name="connsiteY0" fmla="*/ 0 h 1257014"/>
                <a:gd name="connsiteX1" fmla="*/ 788099 w 1323022"/>
                <a:gd name="connsiteY1" fmla="*/ 0 h 1257014"/>
                <a:gd name="connsiteX2" fmla="*/ 1323023 w 1323022"/>
                <a:gd name="connsiteY2" fmla="*/ 1257014 h 1257014"/>
                <a:gd name="connsiteX3" fmla="*/ 1035939 w 1323022"/>
                <a:gd name="connsiteY3" fmla="*/ 1257014 h 1257014"/>
                <a:gd name="connsiteX4" fmla="*/ 921829 w 1323022"/>
                <a:gd name="connsiteY4" fmla="*/ 977075 h 1257014"/>
                <a:gd name="connsiteX5" fmla="*/ 394049 w 1323022"/>
                <a:gd name="connsiteY5" fmla="*/ 977075 h 1257014"/>
                <a:gd name="connsiteX6" fmla="*/ 279940 w 1323022"/>
                <a:gd name="connsiteY6" fmla="*/ 1257014 h 1257014"/>
                <a:gd name="connsiteX7" fmla="*/ 0 w 1323022"/>
                <a:gd name="connsiteY7" fmla="*/ 1257014 h 1257014"/>
                <a:gd name="connsiteX8" fmla="*/ 534924 w 1323022"/>
                <a:gd name="connsiteY8" fmla="*/ 0 h 1257014"/>
                <a:gd name="connsiteX9" fmla="*/ 823817 w 1323022"/>
                <a:gd name="connsiteY9" fmla="*/ 734568 h 1257014"/>
                <a:gd name="connsiteX10" fmla="*/ 657987 w 1323022"/>
                <a:gd name="connsiteY10" fmla="*/ 329851 h 1257014"/>
                <a:gd name="connsiteX11" fmla="*/ 492157 w 1323022"/>
                <a:gd name="connsiteY11" fmla="*/ 734568 h 1257014"/>
                <a:gd name="connsiteX12" fmla="*/ 823817 w 1323022"/>
                <a:gd name="connsiteY12" fmla="*/ 734568 h 125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022" h="1257014">
                  <a:moveTo>
                    <a:pt x="534924" y="0"/>
                  </a:moveTo>
                  <a:lnTo>
                    <a:pt x="788099" y="0"/>
                  </a:lnTo>
                  <a:lnTo>
                    <a:pt x="1323023" y="1257014"/>
                  </a:lnTo>
                  <a:lnTo>
                    <a:pt x="1035939" y="1257014"/>
                  </a:lnTo>
                  <a:lnTo>
                    <a:pt x="921829" y="977075"/>
                  </a:lnTo>
                  <a:lnTo>
                    <a:pt x="394049" y="977075"/>
                  </a:lnTo>
                  <a:lnTo>
                    <a:pt x="279940" y="1257014"/>
                  </a:lnTo>
                  <a:lnTo>
                    <a:pt x="0" y="1257014"/>
                  </a:lnTo>
                  <a:lnTo>
                    <a:pt x="534924" y="0"/>
                  </a:lnTo>
                  <a:close/>
                  <a:moveTo>
                    <a:pt x="823817" y="734568"/>
                  </a:moveTo>
                  <a:lnTo>
                    <a:pt x="657987" y="329851"/>
                  </a:lnTo>
                  <a:lnTo>
                    <a:pt x="492157" y="734568"/>
                  </a:lnTo>
                  <a:lnTo>
                    <a:pt x="823817" y="734568"/>
                  </a:lnTo>
                  <a:close/>
                </a:path>
              </a:pathLst>
            </a:custGeom>
            <a:solidFill>
              <a:srgbClr val="44505E"/>
            </a:solidFill>
            <a:ln w="9525" cap="flat">
              <a:noFill/>
              <a:prstDash val="solid"/>
              <a:miter/>
            </a:ln>
          </p:spPr>
          <p:txBody>
            <a:bodyPr rtlCol="0" anchor="ctr"/>
            <a:lstStyle/>
            <a:p>
              <a:endParaRPr lang="pt-BR" noProof="0"/>
            </a:p>
          </p:txBody>
        </p:sp>
        <p:sp>
          <p:nvSpPr>
            <p:cNvPr id="18" name="Freeform: Shape 17">
              <a:extLst>
                <a:ext uri="{FF2B5EF4-FFF2-40B4-BE49-F238E27FC236}">
                  <a16:creationId xmlns:a16="http://schemas.microsoft.com/office/drawing/2014/main" id="{AA344983-50AC-6F45-0953-F8C82942790F}"/>
                </a:ext>
              </a:extLst>
            </p:cNvPr>
            <p:cNvSpPr/>
            <p:nvPr/>
          </p:nvSpPr>
          <p:spPr>
            <a:xfrm>
              <a:off x="5834078" y="211355"/>
              <a:ext cx="273442" cy="420435"/>
            </a:xfrm>
            <a:custGeom>
              <a:avLst/>
              <a:gdLst>
                <a:gd name="connsiteX0" fmla="*/ 540258 w 1087754"/>
                <a:gd name="connsiteY0" fmla="*/ 1672495 h 1672494"/>
                <a:gd name="connsiteX1" fmla="*/ 144399 w 1087754"/>
                <a:gd name="connsiteY1" fmla="*/ 1533430 h 1672494"/>
                <a:gd name="connsiteX2" fmla="*/ 0 w 1087754"/>
                <a:gd name="connsiteY2" fmla="*/ 1117949 h 1672494"/>
                <a:gd name="connsiteX3" fmla="*/ 0 w 1087754"/>
                <a:gd name="connsiteY3" fmla="*/ 404717 h 1672494"/>
                <a:gd name="connsiteX4" fmla="*/ 274606 w 1087754"/>
                <a:gd name="connsiteY4" fmla="*/ 404717 h 1672494"/>
                <a:gd name="connsiteX5" fmla="*/ 274606 w 1087754"/>
                <a:gd name="connsiteY5" fmla="*/ 1110806 h 1672494"/>
                <a:gd name="connsiteX6" fmla="*/ 345948 w 1087754"/>
                <a:gd name="connsiteY6" fmla="*/ 1341692 h 1672494"/>
                <a:gd name="connsiteX7" fmla="*/ 543877 w 1087754"/>
                <a:gd name="connsiteY7" fmla="*/ 1419225 h 1672494"/>
                <a:gd name="connsiteX8" fmla="*/ 741807 w 1087754"/>
                <a:gd name="connsiteY8" fmla="*/ 1344359 h 1672494"/>
                <a:gd name="connsiteX9" fmla="*/ 813149 w 1087754"/>
                <a:gd name="connsiteY9" fmla="*/ 1119664 h 1672494"/>
                <a:gd name="connsiteX10" fmla="*/ 813149 w 1087754"/>
                <a:gd name="connsiteY10" fmla="*/ 404717 h 1672494"/>
                <a:gd name="connsiteX11" fmla="*/ 1087755 w 1087754"/>
                <a:gd name="connsiteY11" fmla="*/ 404717 h 1672494"/>
                <a:gd name="connsiteX12" fmla="*/ 1087755 w 1087754"/>
                <a:gd name="connsiteY12" fmla="*/ 1108996 h 1672494"/>
                <a:gd name="connsiteX13" fmla="*/ 1049369 w 1087754"/>
                <a:gd name="connsiteY13" fmla="*/ 1356836 h 1672494"/>
                <a:gd name="connsiteX14" fmla="*/ 939737 w 1087754"/>
                <a:gd name="connsiteY14" fmla="*/ 1532477 h 1672494"/>
                <a:gd name="connsiteX15" fmla="*/ 766763 w 1087754"/>
                <a:gd name="connsiteY15" fmla="*/ 1637729 h 1672494"/>
                <a:gd name="connsiteX16" fmla="*/ 540353 w 1087754"/>
                <a:gd name="connsiteY16" fmla="*/ 1672495 h 1672494"/>
                <a:gd name="connsiteX17" fmla="*/ 622268 w 1087754"/>
                <a:gd name="connsiteY17" fmla="*/ 0 h 1672494"/>
                <a:gd name="connsiteX18" fmla="*/ 855821 w 1087754"/>
                <a:gd name="connsiteY18" fmla="*/ 101632 h 1672494"/>
                <a:gd name="connsiteX19" fmla="*/ 627602 w 1087754"/>
                <a:gd name="connsiteY19" fmla="*/ 315563 h 1672494"/>
                <a:gd name="connsiteX20" fmla="*/ 420719 w 1087754"/>
                <a:gd name="connsiteY20" fmla="*/ 315563 h 1672494"/>
                <a:gd name="connsiteX21" fmla="*/ 622268 w 1087754"/>
                <a:gd name="connsiteY21" fmla="*/ 0 h 16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754" h="1672494">
                  <a:moveTo>
                    <a:pt x="540258" y="1672495"/>
                  </a:moveTo>
                  <a:cubicBezTo>
                    <a:pt x="372618" y="1672495"/>
                    <a:pt x="240697" y="1626108"/>
                    <a:pt x="144399" y="1533430"/>
                  </a:cubicBezTo>
                  <a:cubicBezTo>
                    <a:pt x="48101" y="1440752"/>
                    <a:pt x="0" y="1302258"/>
                    <a:pt x="0" y="1117949"/>
                  </a:cubicBezTo>
                  <a:lnTo>
                    <a:pt x="0" y="404717"/>
                  </a:lnTo>
                  <a:lnTo>
                    <a:pt x="274606" y="404717"/>
                  </a:lnTo>
                  <a:lnTo>
                    <a:pt x="274606" y="1110806"/>
                  </a:lnTo>
                  <a:cubicBezTo>
                    <a:pt x="274606" y="1213009"/>
                    <a:pt x="298418" y="1289971"/>
                    <a:pt x="345948" y="1341692"/>
                  </a:cubicBezTo>
                  <a:cubicBezTo>
                    <a:pt x="393478" y="1393412"/>
                    <a:pt x="459486" y="1419225"/>
                    <a:pt x="543877" y="1419225"/>
                  </a:cubicBezTo>
                  <a:cubicBezTo>
                    <a:pt x="628269" y="1419225"/>
                    <a:pt x="694277" y="1394270"/>
                    <a:pt x="741807" y="1344359"/>
                  </a:cubicBezTo>
                  <a:cubicBezTo>
                    <a:pt x="789337" y="1294448"/>
                    <a:pt x="813149" y="1219581"/>
                    <a:pt x="813149" y="1119664"/>
                  </a:cubicBezTo>
                  <a:lnTo>
                    <a:pt x="813149" y="404717"/>
                  </a:lnTo>
                  <a:lnTo>
                    <a:pt x="1087755" y="404717"/>
                  </a:lnTo>
                  <a:lnTo>
                    <a:pt x="1087755" y="1108996"/>
                  </a:lnTo>
                  <a:cubicBezTo>
                    <a:pt x="1087755" y="1204151"/>
                    <a:pt x="1074992" y="1286732"/>
                    <a:pt x="1049369" y="1356836"/>
                  </a:cubicBezTo>
                  <a:cubicBezTo>
                    <a:pt x="1023747" y="1426940"/>
                    <a:pt x="987266" y="1485519"/>
                    <a:pt x="939737" y="1532477"/>
                  </a:cubicBezTo>
                  <a:cubicBezTo>
                    <a:pt x="892207" y="1579436"/>
                    <a:pt x="834485" y="1614488"/>
                    <a:pt x="766763" y="1637729"/>
                  </a:cubicBezTo>
                  <a:cubicBezTo>
                    <a:pt x="699040" y="1660874"/>
                    <a:pt x="623507" y="1672495"/>
                    <a:pt x="540353" y="1672495"/>
                  </a:cubicBezTo>
                  <a:close/>
                  <a:moveTo>
                    <a:pt x="622268" y="0"/>
                  </a:moveTo>
                  <a:lnTo>
                    <a:pt x="855821" y="101632"/>
                  </a:lnTo>
                  <a:lnTo>
                    <a:pt x="627602" y="315563"/>
                  </a:lnTo>
                  <a:lnTo>
                    <a:pt x="420719" y="315563"/>
                  </a:lnTo>
                  <a:lnTo>
                    <a:pt x="622268" y="0"/>
                  </a:lnTo>
                  <a:close/>
                </a:path>
              </a:pathLst>
            </a:custGeom>
            <a:solidFill>
              <a:srgbClr val="44505E"/>
            </a:solidFill>
            <a:ln w="9525" cap="flat">
              <a:noFill/>
              <a:prstDash val="solid"/>
              <a:miter/>
            </a:ln>
          </p:spPr>
          <p:txBody>
            <a:bodyPr rtlCol="0" anchor="ctr"/>
            <a:lstStyle/>
            <a:p>
              <a:endParaRPr lang="pt-BR" noProof="0"/>
            </a:p>
          </p:txBody>
        </p:sp>
        <p:sp>
          <p:nvSpPr>
            <p:cNvPr id="19" name="Freeform: Shape 18">
              <a:extLst>
                <a:ext uri="{FF2B5EF4-FFF2-40B4-BE49-F238E27FC236}">
                  <a16:creationId xmlns:a16="http://schemas.microsoft.com/office/drawing/2014/main" id="{723EEEA2-BFCD-9213-7FC3-8DC806E18439}"/>
                </a:ext>
              </a:extLst>
            </p:cNvPr>
            <p:cNvSpPr/>
            <p:nvPr/>
          </p:nvSpPr>
          <p:spPr>
            <a:xfrm>
              <a:off x="6143795" y="313094"/>
              <a:ext cx="289101" cy="313764"/>
            </a:xfrm>
            <a:custGeom>
              <a:avLst/>
              <a:gdLst>
                <a:gd name="connsiteX0" fmla="*/ 0 w 1150048"/>
                <a:gd name="connsiteY0" fmla="*/ 0 h 1248155"/>
                <a:gd name="connsiteX1" fmla="*/ 486728 w 1150048"/>
                <a:gd name="connsiteY1" fmla="*/ 0 h 1248155"/>
                <a:gd name="connsiteX2" fmla="*/ 755047 w 1150048"/>
                <a:gd name="connsiteY2" fmla="*/ 47244 h 1248155"/>
                <a:gd name="connsiteX3" fmla="*/ 965454 w 1150048"/>
                <a:gd name="connsiteY3" fmla="*/ 178308 h 1248155"/>
                <a:gd name="connsiteX4" fmla="*/ 1101852 w 1150048"/>
                <a:gd name="connsiteY4" fmla="*/ 375380 h 1248155"/>
                <a:gd name="connsiteX5" fmla="*/ 1150049 w 1150048"/>
                <a:gd name="connsiteY5" fmla="*/ 620554 h 1248155"/>
                <a:gd name="connsiteX6" fmla="*/ 1150049 w 1150048"/>
                <a:gd name="connsiteY6" fmla="*/ 624173 h 1248155"/>
                <a:gd name="connsiteX7" fmla="*/ 1101852 w 1150048"/>
                <a:gd name="connsiteY7" fmla="*/ 870204 h 1248155"/>
                <a:gd name="connsiteX8" fmla="*/ 965454 w 1150048"/>
                <a:gd name="connsiteY8" fmla="*/ 1068134 h 1248155"/>
                <a:gd name="connsiteX9" fmla="*/ 755047 w 1150048"/>
                <a:gd name="connsiteY9" fmla="*/ 1200055 h 1248155"/>
                <a:gd name="connsiteX10" fmla="*/ 486728 w 1150048"/>
                <a:gd name="connsiteY10" fmla="*/ 1248156 h 1248155"/>
                <a:gd name="connsiteX11" fmla="*/ 0 w 1150048"/>
                <a:gd name="connsiteY11" fmla="*/ 1248156 h 1248155"/>
                <a:gd name="connsiteX12" fmla="*/ 0 w 1150048"/>
                <a:gd name="connsiteY12" fmla="*/ 0 h 1248155"/>
                <a:gd name="connsiteX13" fmla="*/ 486728 w 1150048"/>
                <a:gd name="connsiteY13" fmla="*/ 1000315 h 1248155"/>
                <a:gd name="connsiteX14" fmla="*/ 640080 w 1150048"/>
                <a:gd name="connsiteY14" fmla="*/ 973550 h 1248155"/>
                <a:gd name="connsiteX15" fmla="*/ 758667 w 1150048"/>
                <a:gd name="connsiteY15" fmla="*/ 896874 h 1248155"/>
                <a:gd name="connsiteX16" fmla="*/ 835343 w 1150048"/>
                <a:gd name="connsiteY16" fmla="*/ 779240 h 1248155"/>
                <a:gd name="connsiteX17" fmla="*/ 862965 w 1150048"/>
                <a:gd name="connsiteY17" fmla="*/ 627698 h 1248155"/>
                <a:gd name="connsiteX18" fmla="*/ 862965 w 1150048"/>
                <a:gd name="connsiteY18" fmla="*/ 624078 h 1248155"/>
                <a:gd name="connsiteX19" fmla="*/ 835343 w 1150048"/>
                <a:gd name="connsiteY19" fmla="*/ 472535 h 1248155"/>
                <a:gd name="connsiteX20" fmla="*/ 758667 w 1150048"/>
                <a:gd name="connsiteY20" fmla="*/ 353092 h 1248155"/>
                <a:gd name="connsiteX21" fmla="*/ 640080 w 1150048"/>
                <a:gd name="connsiteY21" fmla="*/ 275558 h 1248155"/>
                <a:gd name="connsiteX22" fmla="*/ 486728 w 1150048"/>
                <a:gd name="connsiteY22" fmla="*/ 247936 h 1248155"/>
                <a:gd name="connsiteX23" fmla="*/ 274511 w 1150048"/>
                <a:gd name="connsiteY23" fmla="*/ 247936 h 1248155"/>
                <a:gd name="connsiteX24" fmla="*/ 274511 w 1150048"/>
                <a:gd name="connsiteY24" fmla="*/ 1000411 h 1248155"/>
                <a:gd name="connsiteX25" fmla="*/ 486728 w 1150048"/>
                <a:gd name="connsiteY25" fmla="*/ 1000411 h 124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50048" h="1248155">
                  <a:moveTo>
                    <a:pt x="0" y="0"/>
                  </a:moveTo>
                  <a:lnTo>
                    <a:pt x="486728" y="0"/>
                  </a:lnTo>
                  <a:cubicBezTo>
                    <a:pt x="584168" y="0"/>
                    <a:pt x="673608" y="15811"/>
                    <a:pt x="755047" y="47244"/>
                  </a:cubicBezTo>
                  <a:cubicBezTo>
                    <a:pt x="836486" y="78772"/>
                    <a:pt x="906590" y="122396"/>
                    <a:pt x="965454" y="178308"/>
                  </a:cubicBezTo>
                  <a:cubicBezTo>
                    <a:pt x="1024319" y="234220"/>
                    <a:pt x="1069753" y="299847"/>
                    <a:pt x="1101852" y="375380"/>
                  </a:cubicBezTo>
                  <a:cubicBezTo>
                    <a:pt x="1133951" y="450914"/>
                    <a:pt x="1150049" y="532543"/>
                    <a:pt x="1150049" y="620554"/>
                  </a:cubicBezTo>
                  <a:lnTo>
                    <a:pt x="1150049" y="624173"/>
                  </a:lnTo>
                  <a:cubicBezTo>
                    <a:pt x="1150049" y="712184"/>
                    <a:pt x="1133951" y="794195"/>
                    <a:pt x="1101852" y="870204"/>
                  </a:cubicBezTo>
                  <a:cubicBezTo>
                    <a:pt x="1069753" y="946309"/>
                    <a:pt x="1024319" y="1012222"/>
                    <a:pt x="965454" y="1068134"/>
                  </a:cubicBezTo>
                  <a:cubicBezTo>
                    <a:pt x="906590" y="1124045"/>
                    <a:pt x="836486" y="1167956"/>
                    <a:pt x="755047" y="1200055"/>
                  </a:cubicBezTo>
                  <a:cubicBezTo>
                    <a:pt x="673608" y="1232154"/>
                    <a:pt x="584168" y="1248156"/>
                    <a:pt x="486728" y="1248156"/>
                  </a:cubicBezTo>
                  <a:lnTo>
                    <a:pt x="0" y="1248156"/>
                  </a:lnTo>
                  <a:lnTo>
                    <a:pt x="0" y="0"/>
                  </a:lnTo>
                  <a:close/>
                  <a:moveTo>
                    <a:pt x="486728" y="1000315"/>
                  </a:moveTo>
                  <a:cubicBezTo>
                    <a:pt x="542639" y="1000315"/>
                    <a:pt x="593693" y="991457"/>
                    <a:pt x="640080" y="973550"/>
                  </a:cubicBezTo>
                  <a:cubicBezTo>
                    <a:pt x="686467" y="955739"/>
                    <a:pt x="725900" y="930211"/>
                    <a:pt x="758667" y="896874"/>
                  </a:cubicBezTo>
                  <a:cubicBezTo>
                    <a:pt x="791337" y="863632"/>
                    <a:pt x="816864" y="824389"/>
                    <a:pt x="835343" y="779240"/>
                  </a:cubicBezTo>
                  <a:cubicBezTo>
                    <a:pt x="853726" y="734092"/>
                    <a:pt x="862965" y="683609"/>
                    <a:pt x="862965" y="627698"/>
                  </a:cubicBezTo>
                  <a:lnTo>
                    <a:pt x="862965" y="624078"/>
                  </a:lnTo>
                  <a:cubicBezTo>
                    <a:pt x="862965" y="569404"/>
                    <a:pt x="853726" y="518827"/>
                    <a:pt x="835343" y="472535"/>
                  </a:cubicBezTo>
                  <a:cubicBezTo>
                    <a:pt x="816864" y="426149"/>
                    <a:pt x="791337" y="386334"/>
                    <a:pt x="758667" y="353092"/>
                  </a:cubicBezTo>
                  <a:cubicBezTo>
                    <a:pt x="725996" y="319849"/>
                    <a:pt x="686467" y="293941"/>
                    <a:pt x="640080" y="275558"/>
                  </a:cubicBezTo>
                  <a:cubicBezTo>
                    <a:pt x="593693" y="257175"/>
                    <a:pt x="542639" y="247936"/>
                    <a:pt x="486728" y="247936"/>
                  </a:cubicBezTo>
                  <a:lnTo>
                    <a:pt x="274511" y="247936"/>
                  </a:lnTo>
                  <a:lnTo>
                    <a:pt x="274511" y="1000411"/>
                  </a:lnTo>
                  <a:lnTo>
                    <a:pt x="486728" y="1000411"/>
                  </a:lnTo>
                  <a:close/>
                </a:path>
              </a:pathLst>
            </a:custGeom>
            <a:solidFill>
              <a:srgbClr val="44505E"/>
            </a:solidFill>
            <a:ln w="9525" cap="flat">
              <a:noFill/>
              <a:prstDash val="solid"/>
              <a:miter/>
            </a:ln>
          </p:spPr>
          <p:txBody>
            <a:bodyPr rtlCol="0" anchor="ctr"/>
            <a:lstStyle/>
            <a:p>
              <a:endParaRPr lang="pt-BR" noProof="0"/>
            </a:p>
          </p:txBody>
        </p:sp>
        <p:sp>
          <p:nvSpPr>
            <p:cNvPr id="20" name="Freeform: Shape 19">
              <a:extLst>
                <a:ext uri="{FF2B5EF4-FFF2-40B4-BE49-F238E27FC236}">
                  <a16:creationId xmlns:a16="http://schemas.microsoft.com/office/drawing/2014/main" id="{D73F46A7-9304-DC17-6480-BFE1C33292C1}"/>
                </a:ext>
              </a:extLst>
            </p:cNvPr>
            <p:cNvSpPr/>
            <p:nvPr/>
          </p:nvSpPr>
          <p:spPr>
            <a:xfrm>
              <a:off x="6460217" y="313094"/>
              <a:ext cx="238459" cy="313788"/>
            </a:xfrm>
            <a:custGeom>
              <a:avLst/>
              <a:gdLst>
                <a:gd name="connsiteX0" fmla="*/ 95 w 948594"/>
                <a:gd name="connsiteY0" fmla="*/ 0 h 1248251"/>
                <a:gd name="connsiteX1" fmla="*/ 939737 w 948594"/>
                <a:gd name="connsiteY1" fmla="*/ 0 h 1248251"/>
                <a:gd name="connsiteX2" fmla="*/ 939737 w 948594"/>
                <a:gd name="connsiteY2" fmla="*/ 244316 h 1248251"/>
                <a:gd name="connsiteX3" fmla="*/ 271081 w 948594"/>
                <a:gd name="connsiteY3" fmla="*/ 244316 h 1248251"/>
                <a:gd name="connsiteX4" fmla="*/ 271081 w 948594"/>
                <a:gd name="connsiteY4" fmla="*/ 497491 h 1248251"/>
                <a:gd name="connsiteX5" fmla="*/ 859441 w 948594"/>
                <a:gd name="connsiteY5" fmla="*/ 497491 h 1248251"/>
                <a:gd name="connsiteX6" fmla="*/ 859441 w 948594"/>
                <a:gd name="connsiteY6" fmla="*/ 741807 h 1248251"/>
                <a:gd name="connsiteX7" fmla="*/ 271081 w 948594"/>
                <a:gd name="connsiteY7" fmla="*/ 741807 h 1248251"/>
                <a:gd name="connsiteX8" fmla="*/ 271081 w 948594"/>
                <a:gd name="connsiteY8" fmla="*/ 1003935 h 1248251"/>
                <a:gd name="connsiteX9" fmla="*/ 948595 w 948594"/>
                <a:gd name="connsiteY9" fmla="*/ 1003935 h 1248251"/>
                <a:gd name="connsiteX10" fmla="*/ 948595 w 948594"/>
                <a:gd name="connsiteY10" fmla="*/ 1248251 h 1248251"/>
                <a:gd name="connsiteX11" fmla="*/ 0 w 948594"/>
                <a:gd name="connsiteY11" fmla="*/ 1248251 h 1248251"/>
                <a:gd name="connsiteX12" fmla="*/ 0 w 948594"/>
                <a:gd name="connsiteY12" fmla="*/ 0 h 124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594" h="1248251">
                  <a:moveTo>
                    <a:pt x="95" y="0"/>
                  </a:moveTo>
                  <a:lnTo>
                    <a:pt x="939737" y="0"/>
                  </a:lnTo>
                  <a:lnTo>
                    <a:pt x="939737" y="244316"/>
                  </a:lnTo>
                  <a:lnTo>
                    <a:pt x="271081" y="244316"/>
                  </a:lnTo>
                  <a:lnTo>
                    <a:pt x="271081" y="497491"/>
                  </a:lnTo>
                  <a:lnTo>
                    <a:pt x="859441" y="497491"/>
                  </a:lnTo>
                  <a:lnTo>
                    <a:pt x="859441" y="741807"/>
                  </a:lnTo>
                  <a:lnTo>
                    <a:pt x="271081" y="741807"/>
                  </a:lnTo>
                  <a:lnTo>
                    <a:pt x="271081" y="1003935"/>
                  </a:lnTo>
                  <a:lnTo>
                    <a:pt x="948595" y="1003935"/>
                  </a:lnTo>
                  <a:lnTo>
                    <a:pt x="948595" y="1248251"/>
                  </a:lnTo>
                  <a:lnTo>
                    <a:pt x="0" y="1248251"/>
                  </a:lnTo>
                  <a:lnTo>
                    <a:pt x="0" y="0"/>
                  </a:lnTo>
                  <a:close/>
                </a:path>
              </a:pathLst>
            </a:custGeom>
            <a:solidFill>
              <a:srgbClr val="44505E"/>
            </a:solidFill>
            <a:ln w="9525" cap="flat">
              <a:noFill/>
              <a:prstDash val="solid"/>
              <a:miter/>
            </a:ln>
          </p:spPr>
          <p:txBody>
            <a:bodyPr rtlCol="0" anchor="ctr"/>
            <a:lstStyle/>
            <a:p>
              <a:endParaRPr lang="pt-BR" noProof="0"/>
            </a:p>
          </p:txBody>
        </p:sp>
        <p:sp>
          <p:nvSpPr>
            <p:cNvPr id="21" name="Freeform: Shape 20">
              <a:extLst>
                <a:ext uri="{FF2B5EF4-FFF2-40B4-BE49-F238E27FC236}">
                  <a16:creationId xmlns:a16="http://schemas.microsoft.com/office/drawing/2014/main" id="{6946F625-1B5F-A385-E870-BB7AEEEDF5A5}"/>
                </a:ext>
              </a:extLst>
            </p:cNvPr>
            <p:cNvSpPr/>
            <p:nvPr/>
          </p:nvSpPr>
          <p:spPr>
            <a:xfrm>
              <a:off x="5253193" y="699983"/>
              <a:ext cx="90796" cy="97883"/>
            </a:xfrm>
            <a:custGeom>
              <a:avLst/>
              <a:gdLst>
                <a:gd name="connsiteX0" fmla="*/ 191548 w 361187"/>
                <a:gd name="connsiteY0" fmla="*/ 389382 h 389381"/>
                <a:gd name="connsiteX1" fmla="*/ 116300 w 361187"/>
                <a:gd name="connsiteY1" fmla="*/ 375285 h 389381"/>
                <a:gd name="connsiteX2" fmla="*/ 55531 w 361187"/>
                <a:gd name="connsiteY2" fmla="*/ 335756 h 389381"/>
                <a:gd name="connsiteX3" fmla="*/ 14859 w 361187"/>
                <a:gd name="connsiteY3" fmla="*/ 274606 h 389381"/>
                <a:gd name="connsiteX4" fmla="*/ 0 w 361187"/>
                <a:gd name="connsiteY4" fmla="*/ 195834 h 389381"/>
                <a:gd name="connsiteX5" fmla="*/ 0 w 361187"/>
                <a:gd name="connsiteY5" fmla="*/ 194405 h 389381"/>
                <a:gd name="connsiteX6" fmla="*/ 13430 w 361187"/>
                <a:gd name="connsiteY6" fmla="*/ 118777 h 389381"/>
                <a:gd name="connsiteX7" fmla="*/ 51245 w 361187"/>
                <a:gd name="connsiteY7" fmla="*/ 56959 h 389381"/>
                <a:gd name="connsiteX8" fmla="*/ 108871 w 361187"/>
                <a:gd name="connsiteY8" fmla="*/ 15240 h 389381"/>
                <a:gd name="connsiteX9" fmla="*/ 182404 w 361187"/>
                <a:gd name="connsiteY9" fmla="*/ 0 h 389381"/>
                <a:gd name="connsiteX10" fmla="*/ 260509 w 361187"/>
                <a:gd name="connsiteY10" fmla="*/ 16288 h 389381"/>
                <a:gd name="connsiteX11" fmla="*/ 316325 w 361187"/>
                <a:gd name="connsiteY11" fmla="*/ 60103 h 389381"/>
                <a:gd name="connsiteX12" fmla="*/ 349853 w 361187"/>
                <a:gd name="connsiteY12" fmla="*/ 124015 h 389381"/>
                <a:gd name="connsiteX13" fmla="*/ 361188 w 361187"/>
                <a:gd name="connsiteY13" fmla="*/ 200692 h 389381"/>
                <a:gd name="connsiteX14" fmla="*/ 360807 w 361187"/>
                <a:gd name="connsiteY14" fmla="*/ 212312 h 389381"/>
                <a:gd name="connsiteX15" fmla="*/ 359759 w 361187"/>
                <a:gd name="connsiteY15" fmla="*/ 224695 h 389381"/>
                <a:gd name="connsiteX16" fmla="*/ 85534 w 361187"/>
                <a:gd name="connsiteY16" fmla="*/ 224695 h 389381"/>
                <a:gd name="connsiteX17" fmla="*/ 121920 w 361187"/>
                <a:gd name="connsiteY17" fmla="*/ 294989 h 389381"/>
                <a:gd name="connsiteX18" fmla="*/ 192977 w 361187"/>
                <a:gd name="connsiteY18" fmla="*/ 319373 h 389381"/>
                <a:gd name="connsiteX19" fmla="*/ 248126 w 361187"/>
                <a:gd name="connsiteY19" fmla="*/ 308038 h 389381"/>
                <a:gd name="connsiteX20" fmla="*/ 294037 w 361187"/>
                <a:gd name="connsiteY20" fmla="*/ 274796 h 389381"/>
                <a:gd name="connsiteX21" fmla="*/ 344234 w 361187"/>
                <a:gd name="connsiteY21" fmla="*/ 319278 h 389381"/>
                <a:gd name="connsiteX22" fmla="*/ 280226 w 361187"/>
                <a:gd name="connsiteY22" fmla="*/ 370141 h 389381"/>
                <a:gd name="connsiteX23" fmla="*/ 191548 w 361187"/>
                <a:gd name="connsiteY23" fmla="*/ 389191 h 389381"/>
                <a:gd name="connsiteX24" fmla="*/ 276320 w 361187"/>
                <a:gd name="connsiteY24" fmla="*/ 168211 h 389381"/>
                <a:gd name="connsiteX25" fmla="*/ 267176 w 361187"/>
                <a:gd name="connsiteY25" fmla="*/ 129730 h 389381"/>
                <a:gd name="connsiteX26" fmla="*/ 248126 w 361187"/>
                <a:gd name="connsiteY26" fmla="*/ 98679 h 389381"/>
                <a:gd name="connsiteX27" fmla="*/ 219551 w 361187"/>
                <a:gd name="connsiteY27" fmla="*/ 77819 h 389381"/>
                <a:gd name="connsiteX28" fmla="*/ 181737 w 361187"/>
                <a:gd name="connsiteY28" fmla="*/ 70009 h 389381"/>
                <a:gd name="connsiteX29" fmla="*/ 116396 w 361187"/>
                <a:gd name="connsiteY29" fmla="*/ 97250 h 389381"/>
                <a:gd name="connsiteX30" fmla="*/ 84963 w 361187"/>
                <a:gd name="connsiteY30" fmla="*/ 168307 h 389381"/>
                <a:gd name="connsiteX31" fmla="*/ 276511 w 361187"/>
                <a:gd name="connsiteY31" fmla="*/ 168307 h 38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187" h="389381">
                  <a:moveTo>
                    <a:pt x="191548" y="389382"/>
                  </a:moveTo>
                  <a:cubicBezTo>
                    <a:pt x="164687" y="389382"/>
                    <a:pt x="139637" y="384715"/>
                    <a:pt x="116300" y="375285"/>
                  </a:cubicBezTo>
                  <a:cubicBezTo>
                    <a:pt x="92964" y="365855"/>
                    <a:pt x="72771" y="352711"/>
                    <a:pt x="55531" y="335756"/>
                  </a:cubicBezTo>
                  <a:cubicBezTo>
                    <a:pt x="38291" y="318802"/>
                    <a:pt x="24765" y="298418"/>
                    <a:pt x="14859" y="274606"/>
                  </a:cubicBezTo>
                  <a:cubicBezTo>
                    <a:pt x="4953" y="250793"/>
                    <a:pt x="0" y="224599"/>
                    <a:pt x="0" y="195834"/>
                  </a:cubicBezTo>
                  <a:lnTo>
                    <a:pt x="0" y="194405"/>
                  </a:lnTo>
                  <a:cubicBezTo>
                    <a:pt x="0" y="167545"/>
                    <a:pt x="4477" y="142399"/>
                    <a:pt x="13430" y="118777"/>
                  </a:cubicBezTo>
                  <a:cubicBezTo>
                    <a:pt x="22384" y="95250"/>
                    <a:pt x="34957" y="74581"/>
                    <a:pt x="51245" y="56959"/>
                  </a:cubicBezTo>
                  <a:cubicBezTo>
                    <a:pt x="67532" y="39338"/>
                    <a:pt x="86677" y="25432"/>
                    <a:pt x="108871" y="15240"/>
                  </a:cubicBezTo>
                  <a:cubicBezTo>
                    <a:pt x="131064" y="5143"/>
                    <a:pt x="155543" y="0"/>
                    <a:pt x="182404" y="0"/>
                  </a:cubicBezTo>
                  <a:cubicBezTo>
                    <a:pt x="212122" y="0"/>
                    <a:pt x="238125" y="5429"/>
                    <a:pt x="260509" y="16288"/>
                  </a:cubicBezTo>
                  <a:cubicBezTo>
                    <a:pt x="282893" y="27146"/>
                    <a:pt x="301466" y="41719"/>
                    <a:pt x="316325" y="60103"/>
                  </a:cubicBezTo>
                  <a:cubicBezTo>
                    <a:pt x="331184" y="78486"/>
                    <a:pt x="342329" y="99822"/>
                    <a:pt x="349853" y="124015"/>
                  </a:cubicBezTo>
                  <a:cubicBezTo>
                    <a:pt x="357378" y="148304"/>
                    <a:pt x="361188" y="173831"/>
                    <a:pt x="361188" y="200692"/>
                  </a:cubicBezTo>
                  <a:cubicBezTo>
                    <a:pt x="361188" y="204502"/>
                    <a:pt x="361093" y="208312"/>
                    <a:pt x="360807" y="212312"/>
                  </a:cubicBezTo>
                  <a:cubicBezTo>
                    <a:pt x="360521" y="216313"/>
                    <a:pt x="360236" y="220409"/>
                    <a:pt x="359759" y="224695"/>
                  </a:cubicBezTo>
                  <a:lnTo>
                    <a:pt x="85534" y="224695"/>
                  </a:lnTo>
                  <a:cubicBezTo>
                    <a:pt x="90202" y="255365"/>
                    <a:pt x="102394" y="278797"/>
                    <a:pt x="121920" y="294989"/>
                  </a:cubicBezTo>
                  <a:cubicBezTo>
                    <a:pt x="141446" y="311277"/>
                    <a:pt x="165164" y="319373"/>
                    <a:pt x="192977" y="319373"/>
                  </a:cubicBezTo>
                  <a:cubicBezTo>
                    <a:pt x="214217" y="319373"/>
                    <a:pt x="232505" y="315563"/>
                    <a:pt x="248126" y="308038"/>
                  </a:cubicBezTo>
                  <a:cubicBezTo>
                    <a:pt x="263652" y="300514"/>
                    <a:pt x="278987" y="289465"/>
                    <a:pt x="294037" y="274796"/>
                  </a:cubicBezTo>
                  <a:lnTo>
                    <a:pt x="344234" y="319278"/>
                  </a:lnTo>
                  <a:cubicBezTo>
                    <a:pt x="326327" y="340519"/>
                    <a:pt x="304991" y="357473"/>
                    <a:pt x="280226" y="370141"/>
                  </a:cubicBezTo>
                  <a:cubicBezTo>
                    <a:pt x="255461" y="382810"/>
                    <a:pt x="225933" y="389191"/>
                    <a:pt x="191548" y="389191"/>
                  </a:cubicBezTo>
                  <a:close/>
                  <a:moveTo>
                    <a:pt x="276320" y="168211"/>
                  </a:moveTo>
                  <a:cubicBezTo>
                    <a:pt x="274892" y="154591"/>
                    <a:pt x="271844" y="141732"/>
                    <a:pt x="267176" y="129730"/>
                  </a:cubicBezTo>
                  <a:cubicBezTo>
                    <a:pt x="262414" y="117729"/>
                    <a:pt x="256127" y="107347"/>
                    <a:pt x="248126" y="98679"/>
                  </a:cubicBezTo>
                  <a:cubicBezTo>
                    <a:pt x="240125" y="89916"/>
                    <a:pt x="230600" y="82963"/>
                    <a:pt x="219551" y="77819"/>
                  </a:cubicBezTo>
                  <a:cubicBezTo>
                    <a:pt x="208502" y="72676"/>
                    <a:pt x="195834" y="70009"/>
                    <a:pt x="181737" y="70009"/>
                  </a:cubicBezTo>
                  <a:cubicBezTo>
                    <a:pt x="155353" y="70009"/>
                    <a:pt x="133541" y="79057"/>
                    <a:pt x="116396" y="97250"/>
                  </a:cubicBezTo>
                  <a:cubicBezTo>
                    <a:pt x="99155" y="115348"/>
                    <a:pt x="88678" y="139065"/>
                    <a:pt x="84963" y="168307"/>
                  </a:cubicBezTo>
                  <a:lnTo>
                    <a:pt x="276511" y="168307"/>
                  </a:lnTo>
                  <a:close/>
                </a:path>
              </a:pathLst>
            </a:custGeom>
            <a:solidFill>
              <a:srgbClr val="44505E"/>
            </a:solidFill>
            <a:ln w="9525" cap="flat">
              <a:noFill/>
              <a:prstDash val="solid"/>
              <a:miter/>
            </a:ln>
          </p:spPr>
          <p:txBody>
            <a:bodyPr rtlCol="0" anchor="ctr"/>
            <a:lstStyle/>
            <a:p>
              <a:endParaRPr lang="pt-BR" noProof="0"/>
            </a:p>
          </p:txBody>
        </p:sp>
        <p:sp>
          <p:nvSpPr>
            <p:cNvPr id="22" name="Freeform: Shape 21">
              <a:extLst>
                <a:ext uri="{FF2B5EF4-FFF2-40B4-BE49-F238E27FC236}">
                  <a16:creationId xmlns:a16="http://schemas.microsoft.com/office/drawing/2014/main" id="{82D32145-3D76-AB1C-6E44-64AE885BB2F4}"/>
                </a:ext>
              </a:extLst>
            </p:cNvPr>
            <p:cNvSpPr/>
            <p:nvPr/>
          </p:nvSpPr>
          <p:spPr>
            <a:xfrm>
              <a:off x="5365659"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5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8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3 w 568166"/>
                <a:gd name="connsiteY21" fmla="*/ 381000 h 381000"/>
                <a:gd name="connsiteX22" fmla="*/ 240983 w 568166"/>
                <a:gd name="connsiteY22" fmla="*/ 168783 h 381000"/>
                <a:gd name="connsiteX23" fmla="*/ 221266 w 568166"/>
                <a:gd name="connsiteY23" fmla="*/ 101822 h 381000"/>
                <a:gd name="connsiteX24" fmla="*/ 165640 w 568166"/>
                <a:gd name="connsiteY24" fmla="*/ 78581 h 381000"/>
                <a:gd name="connsiteX25" fmla="*/ 108014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70" y="48196"/>
                    <a:pt x="105918" y="40576"/>
                  </a:cubicBezTo>
                  <a:cubicBezTo>
                    <a:pt x="112967" y="32956"/>
                    <a:pt x="121063" y="26099"/>
                    <a:pt x="130207" y="19907"/>
                  </a:cubicBezTo>
                  <a:cubicBezTo>
                    <a:pt x="139351" y="13716"/>
                    <a:pt x="149733" y="8858"/>
                    <a:pt x="161163" y="5334"/>
                  </a:cubicBezTo>
                  <a:cubicBezTo>
                    <a:pt x="172688" y="1714"/>
                    <a:pt x="185452" y="0"/>
                    <a:pt x="199549" y="0"/>
                  </a:cubicBezTo>
                  <a:cubicBezTo>
                    <a:pt x="226314" y="0"/>
                    <a:pt x="248984" y="6096"/>
                    <a:pt x="267557" y="18193"/>
                  </a:cubicBezTo>
                  <a:cubicBezTo>
                    <a:pt x="286131" y="30289"/>
                    <a:pt x="300323" y="46387"/>
                    <a:pt x="310134" y="66294"/>
                  </a:cubicBezTo>
                  <a:cubicBezTo>
                    <a:pt x="325279" y="46387"/>
                    <a:pt x="343091" y="30289"/>
                    <a:pt x="363665" y="18193"/>
                  </a:cubicBezTo>
                  <a:cubicBezTo>
                    <a:pt x="384239" y="6096"/>
                    <a:pt x="408718" y="0"/>
                    <a:pt x="437007" y="0"/>
                  </a:cubicBezTo>
                  <a:cubicBezTo>
                    <a:pt x="478060"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8" y="78486"/>
                  </a:cubicBezTo>
                  <a:cubicBezTo>
                    <a:pt x="382810" y="78486"/>
                    <a:pt x="364141" y="86392"/>
                    <a:pt x="349377" y="102108"/>
                  </a:cubicBezTo>
                  <a:cubicBezTo>
                    <a:pt x="334613" y="117824"/>
                    <a:pt x="327184" y="140779"/>
                    <a:pt x="327184" y="170879"/>
                  </a:cubicBezTo>
                  <a:lnTo>
                    <a:pt x="327184" y="381000"/>
                  </a:lnTo>
                  <a:lnTo>
                    <a:pt x="240983" y="381000"/>
                  </a:lnTo>
                  <a:lnTo>
                    <a:pt x="240983" y="168783"/>
                  </a:lnTo>
                  <a:cubicBezTo>
                    <a:pt x="240983" y="139637"/>
                    <a:pt x="234410" y="117348"/>
                    <a:pt x="221266" y="101822"/>
                  </a:cubicBezTo>
                  <a:cubicBezTo>
                    <a:pt x="208121" y="86296"/>
                    <a:pt x="189643" y="78581"/>
                    <a:pt x="165640" y="78581"/>
                  </a:cubicBezTo>
                  <a:cubicBezTo>
                    <a:pt x="141637" y="78581"/>
                    <a:pt x="122492" y="86773"/>
                    <a:pt x="108014"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23" name="Freeform: Shape 22">
              <a:extLst>
                <a:ext uri="{FF2B5EF4-FFF2-40B4-BE49-F238E27FC236}">
                  <a16:creationId xmlns:a16="http://schemas.microsoft.com/office/drawing/2014/main" id="{1C5AA2CB-A072-6530-EE42-01EB951697B9}"/>
                </a:ext>
              </a:extLst>
            </p:cNvPr>
            <p:cNvSpPr/>
            <p:nvPr/>
          </p:nvSpPr>
          <p:spPr>
            <a:xfrm>
              <a:off x="5587693" y="700007"/>
              <a:ext cx="84211" cy="95752"/>
            </a:xfrm>
            <a:custGeom>
              <a:avLst/>
              <a:gdLst>
                <a:gd name="connsiteX0" fmla="*/ 95 w 334994"/>
                <a:gd name="connsiteY0" fmla="*/ 7715 h 380904"/>
                <a:gd name="connsiteX1" fmla="*/ 86296 w 334994"/>
                <a:gd name="connsiteY1" fmla="*/ 7715 h 380904"/>
                <a:gd name="connsiteX2" fmla="*/ 86296 w 334994"/>
                <a:gd name="connsiteY2" fmla="*/ 66294 h 380904"/>
                <a:gd name="connsiteX3" fmla="*/ 106394 w 334994"/>
                <a:gd name="connsiteY3" fmla="*/ 40958 h 380904"/>
                <a:gd name="connsiteX4" fmla="*/ 131731 w 334994"/>
                <a:gd name="connsiteY4" fmla="*/ 19907 h 380904"/>
                <a:gd name="connsiteX5" fmla="*/ 163449 w 334994"/>
                <a:gd name="connsiteY5" fmla="*/ 5334 h 380904"/>
                <a:gd name="connsiteX6" fmla="*/ 202597 w 334994"/>
                <a:gd name="connsiteY6" fmla="*/ 0 h 380904"/>
                <a:gd name="connsiteX7" fmla="*/ 300514 w 334994"/>
                <a:gd name="connsiteY7" fmla="*/ 38862 h 380904"/>
                <a:gd name="connsiteX8" fmla="*/ 334994 w 334994"/>
                <a:gd name="connsiteY8" fmla="*/ 143446 h 380904"/>
                <a:gd name="connsiteX9" fmla="*/ 334994 w 334994"/>
                <a:gd name="connsiteY9" fmla="*/ 380905 h 380904"/>
                <a:gd name="connsiteX10" fmla="*/ 248793 w 334994"/>
                <a:gd name="connsiteY10" fmla="*/ 380905 h 380904"/>
                <a:gd name="connsiteX11" fmla="*/ 248793 w 334994"/>
                <a:gd name="connsiteY11" fmla="*/ 169450 h 380904"/>
                <a:gd name="connsiteX12" fmla="*/ 228124 w 334994"/>
                <a:gd name="connsiteY12" fmla="*/ 102108 h 380904"/>
                <a:gd name="connsiteX13" fmla="*/ 169640 w 334994"/>
                <a:gd name="connsiteY13" fmla="*/ 78486 h 380904"/>
                <a:gd name="connsiteX14" fmla="*/ 109347 w 334994"/>
                <a:gd name="connsiteY14" fmla="*/ 102775 h 380904"/>
                <a:gd name="connsiteX15" fmla="*/ 86201 w 334994"/>
                <a:gd name="connsiteY15" fmla="*/ 170783 h 380904"/>
                <a:gd name="connsiteX16" fmla="*/ 86201 w 334994"/>
                <a:gd name="connsiteY16" fmla="*/ 380905 h 380904"/>
                <a:gd name="connsiteX17" fmla="*/ 0 w 334994"/>
                <a:gd name="connsiteY17" fmla="*/ 380905 h 380904"/>
                <a:gd name="connsiteX18" fmla="*/ 0 w 334994"/>
                <a:gd name="connsiteY18" fmla="*/ 7810 h 38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94" h="380904">
                  <a:moveTo>
                    <a:pt x="95" y="7715"/>
                  </a:moveTo>
                  <a:lnTo>
                    <a:pt x="86296" y="7715"/>
                  </a:lnTo>
                  <a:lnTo>
                    <a:pt x="86296" y="66294"/>
                  </a:lnTo>
                  <a:cubicBezTo>
                    <a:pt x="92392" y="57245"/>
                    <a:pt x="99060" y="48863"/>
                    <a:pt x="106394" y="40958"/>
                  </a:cubicBezTo>
                  <a:cubicBezTo>
                    <a:pt x="113633" y="33147"/>
                    <a:pt x="122110" y="26099"/>
                    <a:pt x="131731" y="19907"/>
                  </a:cubicBezTo>
                  <a:cubicBezTo>
                    <a:pt x="141351" y="13716"/>
                    <a:pt x="151924" y="8858"/>
                    <a:pt x="163449" y="5334"/>
                  </a:cubicBezTo>
                  <a:cubicBezTo>
                    <a:pt x="174974" y="1714"/>
                    <a:pt x="188024" y="0"/>
                    <a:pt x="202597" y="0"/>
                  </a:cubicBezTo>
                  <a:cubicBezTo>
                    <a:pt x="244888" y="0"/>
                    <a:pt x="277559" y="12954"/>
                    <a:pt x="300514" y="38862"/>
                  </a:cubicBezTo>
                  <a:cubicBezTo>
                    <a:pt x="323564" y="64770"/>
                    <a:pt x="334994" y="99631"/>
                    <a:pt x="334994" y="143446"/>
                  </a:cubicBezTo>
                  <a:lnTo>
                    <a:pt x="334994" y="380905"/>
                  </a:lnTo>
                  <a:lnTo>
                    <a:pt x="248793" y="380905"/>
                  </a:lnTo>
                  <a:lnTo>
                    <a:pt x="248793" y="169450"/>
                  </a:lnTo>
                  <a:cubicBezTo>
                    <a:pt x="248793" y="140303"/>
                    <a:pt x="241935" y="117824"/>
                    <a:pt x="228124" y="102108"/>
                  </a:cubicBezTo>
                  <a:cubicBezTo>
                    <a:pt x="214313" y="86392"/>
                    <a:pt x="194881" y="78486"/>
                    <a:pt x="169640" y="78486"/>
                  </a:cubicBezTo>
                  <a:cubicBezTo>
                    <a:pt x="144399" y="78486"/>
                    <a:pt x="124777" y="86582"/>
                    <a:pt x="109347" y="102775"/>
                  </a:cubicBezTo>
                  <a:cubicBezTo>
                    <a:pt x="93917" y="118967"/>
                    <a:pt x="86201" y="141637"/>
                    <a:pt x="86201" y="170783"/>
                  </a:cubicBezTo>
                  <a:lnTo>
                    <a:pt x="86201" y="380905"/>
                  </a:lnTo>
                  <a:lnTo>
                    <a:pt x="0" y="380905"/>
                  </a:lnTo>
                  <a:lnTo>
                    <a:pt x="0" y="7810"/>
                  </a:lnTo>
                  <a:close/>
                </a:path>
              </a:pathLst>
            </a:custGeom>
            <a:solidFill>
              <a:srgbClr val="44505E"/>
            </a:solidFill>
            <a:ln w="9525" cap="flat">
              <a:noFill/>
              <a:prstDash val="solid"/>
              <a:miter/>
            </a:ln>
          </p:spPr>
          <p:txBody>
            <a:bodyPr rtlCol="0" anchor="ctr"/>
            <a:lstStyle/>
            <a:p>
              <a:endParaRPr lang="pt-BR" noProof="0"/>
            </a:p>
          </p:txBody>
        </p:sp>
        <p:sp>
          <p:nvSpPr>
            <p:cNvPr id="24" name="Freeform: Shape 23">
              <a:extLst>
                <a:ext uri="{FF2B5EF4-FFF2-40B4-BE49-F238E27FC236}">
                  <a16:creationId xmlns:a16="http://schemas.microsoft.com/office/drawing/2014/main" id="{75DF0F6D-DF62-76C4-C5C6-061E03C1AE86}"/>
                </a:ext>
              </a:extLst>
            </p:cNvPr>
            <p:cNvSpPr/>
            <p:nvPr/>
          </p:nvSpPr>
          <p:spPr>
            <a:xfrm>
              <a:off x="5692712" y="699959"/>
              <a:ext cx="100015" cy="97908"/>
            </a:xfrm>
            <a:custGeom>
              <a:avLst/>
              <a:gdLst>
                <a:gd name="connsiteX0" fmla="*/ 197834 w 397859"/>
                <a:gd name="connsiteY0" fmla="*/ 389477 h 389477"/>
                <a:gd name="connsiteX1" fmla="*/ 119063 w 397859"/>
                <a:gd name="connsiteY1" fmla="*/ 374237 h 389477"/>
                <a:gd name="connsiteX2" fmla="*/ 56197 w 397859"/>
                <a:gd name="connsiteY2" fmla="*/ 332899 h 389477"/>
                <a:gd name="connsiteX3" fmla="*/ 14859 w 397859"/>
                <a:gd name="connsiteY3" fmla="*/ 271463 h 389477"/>
                <a:gd name="connsiteX4" fmla="*/ 0 w 397859"/>
                <a:gd name="connsiteY4" fmla="*/ 196501 h 389477"/>
                <a:gd name="connsiteX5" fmla="*/ 0 w 397859"/>
                <a:gd name="connsiteY5" fmla="*/ 195072 h 389477"/>
                <a:gd name="connsiteX6" fmla="*/ 15145 w 397859"/>
                <a:gd name="connsiteY6" fmla="*/ 119444 h 389477"/>
                <a:gd name="connsiteX7" fmla="*/ 56864 w 397859"/>
                <a:gd name="connsiteY7" fmla="*/ 57626 h 389477"/>
                <a:gd name="connsiteX8" fmla="*/ 119729 w 397859"/>
                <a:gd name="connsiteY8" fmla="*/ 15526 h 389477"/>
                <a:gd name="connsiteX9" fmla="*/ 199263 w 397859"/>
                <a:gd name="connsiteY9" fmla="*/ 0 h 389477"/>
                <a:gd name="connsiteX10" fmla="*/ 278797 w 397859"/>
                <a:gd name="connsiteY10" fmla="*/ 15240 h 389477"/>
                <a:gd name="connsiteX11" fmla="*/ 341662 w 397859"/>
                <a:gd name="connsiteY11" fmla="*/ 56959 h 389477"/>
                <a:gd name="connsiteX12" fmla="*/ 383000 w 397859"/>
                <a:gd name="connsiteY12" fmla="*/ 118396 h 389477"/>
                <a:gd name="connsiteX13" fmla="*/ 397859 w 397859"/>
                <a:gd name="connsiteY13" fmla="*/ 193643 h 389477"/>
                <a:gd name="connsiteX14" fmla="*/ 397859 w 397859"/>
                <a:gd name="connsiteY14" fmla="*/ 195072 h 389477"/>
                <a:gd name="connsiteX15" fmla="*/ 382619 w 397859"/>
                <a:gd name="connsiteY15" fmla="*/ 270034 h 389477"/>
                <a:gd name="connsiteX16" fmla="*/ 340900 w 397859"/>
                <a:gd name="connsiteY16" fmla="*/ 331851 h 389477"/>
                <a:gd name="connsiteX17" fmla="*/ 277654 w 397859"/>
                <a:gd name="connsiteY17" fmla="*/ 373856 h 389477"/>
                <a:gd name="connsiteX18" fmla="*/ 197834 w 397859"/>
                <a:gd name="connsiteY18" fmla="*/ 389382 h 389477"/>
                <a:gd name="connsiteX19" fmla="*/ 199263 w 397859"/>
                <a:gd name="connsiteY19" fmla="*/ 315278 h 389477"/>
                <a:gd name="connsiteX20" fmla="*/ 245935 w 397859"/>
                <a:gd name="connsiteY20" fmla="*/ 305753 h 389477"/>
                <a:gd name="connsiteX21" fmla="*/ 281368 w 397859"/>
                <a:gd name="connsiteY21" fmla="*/ 279940 h 389477"/>
                <a:gd name="connsiteX22" fmla="*/ 303847 w 397859"/>
                <a:gd name="connsiteY22" fmla="*/ 242125 h 389477"/>
                <a:gd name="connsiteX23" fmla="*/ 311563 w 397859"/>
                <a:gd name="connsiteY23" fmla="*/ 196501 h 389477"/>
                <a:gd name="connsiteX24" fmla="*/ 311563 w 397859"/>
                <a:gd name="connsiteY24" fmla="*/ 195072 h 389477"/>
                <a:gd name="connsiteX25" fmla="*/ 303181 w 397859"/>
                <a:gd name="connsiteY25" fmla="*/ 148400 h 389477"/>
                <a:gd name="connsiteX26" fmla="*/ 279654 w 397859"/>
                <a:gd name="connsiteY26" fmla="*/ 110204 h 389477"/>
                <a:gd name="connsiteX27" fmla="*/ 243840 w 397859"/>
                <a:gd name="connsiteY27" fmla="*/ 84392 h 389477"/>
                <a:gd name="connsiteX28" fmla="*/ 197834 w 397859"/>
                <a:gd name="connsiteY28" fmla="*/ 74867 h 389477"/>
                <a:gd name="connsiteX29" fmla="*/ 151829 w 397859"/>
                <a:gd name="connsiteY29" fmla="*/ 84392 h 389477"/>
                <a:gd name="connsiteX30" fmla="*/ 116396 w 397859"/>
                <a:gd name="connsiteY30" fmla="*/ 109823 h 389477"/>
                <a:gd name="connsiteX31" fmla="*/ 93917 w 397859"/>
                <a:gd name="connsiteY31" fmla="*/ 147638 h 389477"/>
                <a:gd name="connsiteX32" fmla="*/ 86201 w 397859"/>
                <a:gd name="connsiteY32" fmla="*/ 193548 h 389477"/>
                <a:gd name="connsiteX33" fmla="*/ 86201 w 397859"/>
                <a:gd name="connsiteY33" fmla="*/ 194977 h 389477"/>
                <a:gd name="connsiteX34" fmla="*/ 94583 w 397859"/>
                <a:gd name="connsiteY34" fmla="*/ 241268 h 389477"/>
                <a:gd name="connsiteX35" fmla="*/ 118110 w 397859"/>
                <a:gd name="connsiteY35" fmla="*/ 279463 h 389477"/>
                <a:gd name="connsiteX36" fmla="*/ 153924 w 397859"/>
                <a:gd name="connsiteY36" fmla="*/ 305562 h 389477"/>
                <a:gd name="connsiteX37" fmla="*/ 199263 w 397859"/>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859" h="389477">
                  <a:moveTo>
                    <a:pt x="197834" y="389477"/>
                  </a:moveTo>
                  <a:cubicBezTo>
                    <a:pt x="169545" y="389477"/>
                    <a:pt x="143351" y="384429"/>
                    <a:pt x="119063" y="374237"/>
                  </a:cubicBezTo>
                  <a:cubicBezTo>
                    <a:pt x="94774" y="364141"/>
                    <a:pt x="73819" y="350330"/>
                    <a:pt x="56197" y="332899"/>
                  </a:cubicBezTo>
                  <a:cubicBezTo>
                    <a:pt x="38481" y="315468"/>
                    <a:pt x="24765" y="294989"/>
                    <a:pt x="14859" y="271463"/>
                  </a:cubicBezTo>
                  <a:cubicBezTo>
                    <a:pt x="4953" y="247936"/>
                    <a:pt x="0" y="222980"/>
                    <a:pt x="0" y="196501"/>
                  </a:cubicBezTo>
                  <a:lnTo>
                    <a:pt x="0" y="195072"/>
                  </a:lnTo>
                  <a:cubicBezTo>
                    <a:pt x="0" y="168212"/>
                    <a:pt x="5048" y="143066"/>
                    <a:pt x="15145" y="119444"/>
                  </a:cubicBezTo>
                  <a:cubicBezTo>
                    <a:pt x="25241" y="95917"/>
                    <a:pt x="39148" y="75248"/>
                    <a:pt x="56864" y="57626"/>
                  </a:cubicBezTo>
                  <a:cubicBezTo>
                    <a:pt x="74581" y="39910"/>
                    <a:pt x="95536" y="25908"/>
                    <a:pt x="119729" y="15526"/>
                  </a:cubicBezTo>
                  <a:cubicBezTo>
                    <a:pt x="144018" y="5144"/>
                    <a:pt x="170497" y="0"/>
                    <a:pt x="199263" y="0"/>
                  </a:cubicBezTo>
                  <a:cubicBezTo>
                    <a:pt x="228029" y="0"/>
                    <a:pt x="254508" y="5048"/>
                    <a:pt x="278797" y="15240"/>
                  </a:cubicBezTo>
                  <a:cubicBezTo>
                    <a:pt x="303085" y="25337"/>
                    <a:pt x="324041" y="39243"/>
                    <a:pt x="341662" y="56959"/>
                  </a:cubicBezTo>
                  <a:cubicBezTo>
                    <a:pt x="359378" y="74676"/>
                    <a:pt x="373094" y="95155"/>
                    <a:pt x="383000" y="118396"/>
                  </a:cubicBezTo>
                  <a:cubicBezTo>
                    <a:pt x="392906" y="141732"/>
                    <a:pt x="397859" y="166783"/>
                    <a:pt x="397859" y="193643"/>
                  </a:cubicBezTo>
                  <a:lnTo>
                    <a:pt x="397859" y="195072"/>
                  </a:lnTo>
                  <a:cubicBezTo>
                    <a:pt x="397859" y="221456"/>
                    <a:pt x="392811" y="246412"/>
                    <a:pt x="382619" y="270034"/>
                  </a:cubicBezTo>
                  <a:cubicBezTo>
                    <a:pt x="372523" y="293561"/>
                    <a:pt x="358616" y="314230"/>
                    <a:pt x="340900" y="331851"/>
                  </a:cubicBezTo>
                  <a:cubicBezTo>
                    <a:pt x="323183" y="349472"/>
                    <a:pt x="302133" y="363569"/>
                    <a:pt x="277654" y="373856"/>
                  </a:cubicBezTo>
                  <a:cubicBezTo>
                    <a:pt x="253175" y="384238"/>
                    <a:pt x="226504" y="389382"/>
                    <a:pt x="197834" y="389382"/>
                  </a:cubicBezTo>
                  <a:close/>
                  <a:moveTo>
                    <a:pt x="199263" y="315278"/>
                  </a:moveTo>
                  <a:cubicBezTo>
                    <a:pt x="216598" y="315278"/>
                    <a:pt x="232124" y="312039"/>
                    <a:pt x="245935" y="305753"/>
                  </a:cubicBezTo>
                  <a:cubicBezTo>
                    <a:pt x="259747" y="299371"/>
                    <a:pt x="271558" y="290798"/>
                    <a:pt x="281368" y="279940"/>
                  </a:cubicBezTo>
                  <a:cubicBezTo>
                    <a:pt x="291179" y="269081"/>
                    <a:pt x="298704" y="256508"/>
                    <a:pt x="303847" y="242125"/>
                  </a:cubicBezTo>
                  <a:cubicBezTo>
                    <a:pt x="308991" y="227743"/>
                    <a:pt x="311563" y="212598"/>
                    <a:pt x="311563" y="196501"/>
                  </a:cubicBezTo>
                  <a:lnTo>
                    <a:pt x="311563" y="195072"/>
                  </a:lnTo>
                  <a:cubicBezTo>
                    <a:pt x="311563" y="178594"/>
                    <a:pt x="308800" y="163068"/>
                    <a:pt x="303181" y="148400"/>
                  </a:cubicBezTo>
                  <a:cubicBezTo>
                    <a:pt x="297561" y="133826"/>
                    <a:pt x="289750" y="121063"/>
                    <a:pt x="279654" y="110204"/>
                  </a:cubicBezTo>
                  <a:cubicBezTo>
                    <a:pt x="269558" y="99346"/>
                    <a:pt x="257651" y="90773"/>
                    <a:pt x="243840" y="84392"/>
                  </a:cubicBezTo>
                  <a:cubicBezTo>
                    <a:pt x="230029" y="78010"/>
                    <a:pt x="214693" y="74867"/>
                    <a:pt x="197834" y="74867"/>
                  </a:cubicBezTo>
                  <a:cubicBezTo>
                    <a:pt x="180975" y="74867"/>
                    <a:pt x="165640" y="78010"/>
                    <a:pt x="151829" y="84392"/>
                  </a:cubicBezTo>
                  <a:cubicBezTo>
                    <a:pt x="138017" y="90773"/>
                    <a:pt x="126206" y="99250"/>
                    <a:pt x="116396" y="109823"/>
                  </a:cubicBezTo>
                  <a:cubicBezTo>
                    <a:pt x="106585" y="120396"/>
                    <a:pt x="99060" y="133064"/>
                    <a:pt x="93917" y="147638"/>
                  </a:cubicBezTo>
                  <a:cubicBezTo>
                    <a:pt x="88773" y="162211"/>
                    <a:pt x="86201" y="177546"/>
                    <a:pt x="86201" y="193548"/>
                  </a:cubicBezTo>
                  <a:lnTo>
                    <a:pt x="86201" y="194977"/>
                  </a:lnTo>
                  <a:cubicBezTo>
                    <a:pt x="86201" y="211455"/>
                    <a:pt x="88963" y="226886"/>
                    <a:pt x="94583" y="241268"/>
                  </a:cubicBezTo>
                  <a:cubicBezTo>
                    <a:pt x="100203" y="255651"/>
                    <a:pt x="108013" y="268319"/>
                    <a:pt x="118110" y="279463"/>
                  </a:cubicBezTo>
                  <a:cubicBezTo>
                    <a:pt x="128206" y="290513"/>
                    <a:pt x="140113" y="299275"/>
                    <a:pt x="153924" y="305562"/>
                  </a:cubicBezTo>
                  <a:cubicBezTo>
                    <a:pt x="167735" y="311944"/>
                    <a:pt x="182880"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25" name="Freeform: Shape 24">
              <a:extLst>
                <a:ext uri="{FF2B5EF4-FFF2-40B4-BE49-F238E27FC236}">
                  <a16:creationId xmlns:a16="http://schemas.microsoft.com/office/drawing/2014/main" id="{5ABECB0E-867B-23EE-611F-D47BC967FBDC}"/>
                </a:ext>
              </a:extLst>
            </p:cNvPr>
            <p:cNvSpPr/>
            <p:nvPr/>
          </p:nvSpPr>
          <p:spPr>
            <a:xfrm>
              <a:off x="5806925"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2 w 296894"/>
                <a:gd name="connsiteY36" fmla="*/ 224980 h 386714"/>
                <a:gd name="connsiteX37" fmla="*/ 296894 w 296894"/>
                <a:gd name="connsiteY37" fmla="*/ 267938 h 386714"/>
                <a:gd name="connsiteX38" fmla="*/ 296894 w 296894"/>
                <a:gd name="connsiteY38" fmla="*/ 269367 h 386714"/>
                <a:gd name="connsiteX39" fmla="*/ 286322 w 296894"/>
                <a:gd name="connsiteY39" fmla="*/ 320897 h 386714"/>
                <a:gd name="connsiteX40" fmla="*/ 256984 w 296894"/>
                <a:gd name="connsiteY40" fmla="*/ 357188 h 386714"/>
                <a:gd name="connsiteX41" fmla="*/ 212789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8" y="298704"/>
                    <a:pt x="100013" y="306514"/>
                  </a:cubicBezTo>
                  <a:cubicBezTo>
                    <a:pt x="120967" y="314325"/>
                    <a:pt x="141161" y="318135"/>
                    <a:pt x="160401" y="318135"/>
                  </a:cubicBezTo>
                  <a:cubicBezTo>
                    <a:pt x="179642" y="318135"/>
                    <a:pt x="192976"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2" y="241078"/>
                    <a:pt x="176498" y="237553"/>
                    <a:pt x="166402" y="234220"/>
                  </a:cubicBezTo>
                  <a:cubicBezTo>
                    <a:pt x="156305" y="230886"/>
                    <a:pt x="145733" y="227647"/>
                    <a:pt x="134969" y="224314"/>
                  </a:cubicBezTo>
                  <a:cubicBezTo>
                    <a:pt x="121253" y="220599"/>
                    <a:pt x="107537" y="216122"/>
                    <a:pt x="93631" y="210884"/>
                  </a:cubicBezTo>
                  <a:cubicBezTo>
                    <a:pt x="79724" y="205740"/>
                    <a:pt x="67246" y="198977"/>
                    <a:pt x="56197" y="190786"/>
                  </a:cubicBezTo>
                  <a:cubicBezTo>
                    <a:pt x="45149" y="182594"/>
                    <a:pt x="36100" y="172307"/>
                    <a:pt x="28956" y="160115"/>
                  </a:cubicBezTo>
                  <a:cubicBezTo>
                    <a:pt x="21908"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5"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7" y="156210"/>
                    <a:pt x="180975" y="159448"/>
                  </a:cubicBezTo>
                  <a:cubicBezTo>
                    <a:pt x="194596" y="163639"/>
                    <a:pt x="208312" y="168592"/>
                    <a:pt x="222028" y="174212"/>
                  </a:cubicBezTo>
                  <a:cubicBezTo>
                    <a:pt x="235649" y="179832"/>
                    <a:pt x="248031" y="186785"/>
                    <a:pt x="259080" y="194977"/>
                  </a:cubicBezTo>
                  <a:cubicBezTo>
                    <a:pt x="270129" y="203168"/>
                    <a:pt x="279273" y="213169"/>
                    <a:pt x="286322" y="224980"/>
                  </a:cubicBezTo>
                  <a:cubicBezTo>
                    <a:pt x="293370" y="236696"/>
                    <a:pt x="296894" y="251079"/>
                    <a:pt x="296894" y="267938"/>
                  </a:cubicBezTo>
                  <a:lnTo>
                    <a:pt x="296894" y="269367"/>
                  </a:lnTo>
                  <a:cubicBezTo>
                    <a:pt x="296894" y="289084"/>
                    <a:pt x="293370" y="306229"/>
                    <a:pt x="286322" y="320897"/>
                  </a:cubicBezTo>
                  <a:cubicBezTo>
                    <a:pt x="279273" y="335470"/>
                    <a:pt x="269462" y="347567"/>
                    <a:pt x="256984" y="357188"/>
                  </a:cubicBezTo>
                  <a:cubicBezTo>
                    <a:pt x="244507" y="366808"/>
                    <a:pt x="229743" y="374142"/>
                    <a:pt x="212789"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6" name="Freeform: Shape 25">
              <a:extLst>
                <a:ext uri="{FF2B5EF4-FFF2-40B4-BE49-F238E27FC236}">
                  <a16:creationId xmlns:a16="http://schemas.microsoft.com/office/drawing/2014/main" id="{13E3A888-8134-8F26-024E-56658FAE3B76}"/>
                </a:ext>
              </a:extLst>
            </p:cNvPr>
            <p:cNvSpPr/>
            <p:nvPr/>
          </p:nvSpPr>
          <p:spPr>
            <a:xfrm>
              <a:off x="589573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6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160" y="318135"/>
                    <a:pt x="160401" y="318135"/>
                  </a:cubicBezTo>
                  <a:cubicBezTo>
                    <a:pt x="179641" y="318135"/>
                    <a:pt x="192976"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4"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792"/>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7" name="Freeform: Shape 26">
              <a:extLst>
                <a:ext uri="{FF2B5EF4-FFF2-40B4-BE49-F238E27FC236}">
                  <a16:creationId xmlns:a16="http://schemas.microsoft.com/office/drawing/2014/main" id="{B6382948-55A6-1769-E497-B00C520C10C6}"/>
                </a:ext>
              </a:extLst>
            </p:cNvPr>
            <p:cNvSpPr/>
            <p:nvPr/>
          </p:nvSpPr>
          <p:spPr>
            <a:xfrm>
              <a:off x="5985812" y="700558"/>
              <a:ext cx="85097" cy="97141"/>
            </a:xfrm>
            <a:custGeom>
              <a:avLst/>
              <a:gdLst>
                <a:gd name="connsiteX0" fmla="*/ 253651 w 338518"/>
                <a:gd name="connsiteY0" fmla="*/ 378619 h 386429"/>
                <a:gd name="connsiteX1" fmla="*/ 253651 w 338518"/>
                <a:gd name="connsiteY1" fmla="*/ 332708 h 386429"/>
                <a:gd name="connsiteX2" fmla="*/ 204883 w 338518"/>
                <a:gd name="connsiteY2" fmla="*/ 370904 h 386429"/>
                <a:gd name="connsiteX3" fmla="*/ 132779 w 338518"/>
                <a:gd name="connsiteY3" fmla="*/ 386429 h 386429"/>
                <a:gd name="connsiteX4" fmla="*/ 81915 w 338518"/>
                <a:gd name="connsiteY4" fmla="*/ 379000 h 386429"/>
                <a:gd name="connsiteX5" fmla="*/ 39910 w 338518"/>
                <a:gd name="connsiteY5" fmla="*/ 357092 h 386429"/>
                <a:gd name="connsiteX6" fmla="*/ 10954 w 338518"/>
                <a:gd name="connsiteY6" fmla="*/ 321088 h 386429"/>
                <a:gd name="connsiteX7" fmla="*/ 0 w 338518"/>
                <a:gd name="connsiteY7" fmla="*/ 271272 h 386429"/>
                <a:gd name="connsiteX8" fmla="*/ 0 w 338518"/>
                <a:gd name="connsiteY8" fmla="*/ 269843 h 386429"/>
                <a:gd name="connsiteX9" fmla="*/ 11335 w 338518"/>
                <a:gd name="connsiteY9" fmla="*/ 215741 h 386429"/>
                <a:gd name="connsiteX10" fmla="*/ 42767 w 338518"/>
                <a:gd name="connsiteY10" fmla="*/ 177546 h 386429"/>
                <a:gd name="connsiteX11" fmla="*/ 90773 w 338518"/>
                <a:gd name="connsiteY11" fmla="*/ 154972 h 386429"/>
                <a:gd name="connsiteX12" fmla="*/ 151162 w 338518"/>
                <a:gd name="connsiteY12" fmla="*/ 147542 h 386429"/>
                <a:gd name="connsiteX13" fmla="*/ 208788 w 338518"/>
                <a:gd name="connsiteY13" fmla="*/ 151829 h 386429"/>
                <a:gd name="connsiteX14" fmla="*/ 254413 w 338518"/>
                <a:gd name="connsiteY14" fmla="*/ 163163 h 386429"/>
                <a:gd name="connsiteX15" fmla="*/ 254413 w 338518"/>
                <a:gd name="connsiteY15" fmla="*/ 156115 h 386429"/>
                <a:gd name="connsiteX16" fmla="*/ 230696 w 338518"/>
                <a:gd name="connsiteY16" fmla="*/ 96774 h 386429"/>
                <a:gd name="connsiteX17" fmla="*/ 162496 w 338518"/>
                <a:gd name="connsiteY17" fmla="*/ 76295 h 386429"/>
                <a:gd name="connsiteX18" fmla="*/ 106013 w 338518"/>
                <a:gd name="connsiteY18" fmla="*/ 82677 h 386429"/>
                <a:gd name="connsiteX19" fmla="*/ 55816 w 338518"/>
                <a:gd name="connsiteY19" fmla="*/ 99632 h 386429"/>
                <a:gd name="connsiteX20" fmla="*/ 32480 w 338518"/>
                <a:gd name="connsiteY20" fmla="*/ 31052 h 386429"/>
                <a:gd name="connsiteX21" fmla="*/ 96107 w 338518"/>
                <a:gd name="connsiteY21" fmla="*/ 8477 h 386429"/>
                <a:gd name="connsiteX22" fmla="*/ 174593 w 338518"/>
                <a:gd name="connsiteY22" fmla="*/ 0 h 386429"/>
                <a:gd name="connsiteX23" fmla="*/ 298228 w 338518"/>
                <a:gd name="connsiteY23" fmla="*/ 41338 h 386429"/>
                <a:gd name="connsiteX24" fmla="*/ 338519 w 338518"/>
                <a:gd name="connsiteY24" fmla="*/ 157544 h 386429"/>
                <a:gd name="connsiteX25" fmla="*/ 338519 w 338518"/>
                <a:gd name="connsiteY25" fmla="*/ 378714 h 386429"/>
                <a:gd name="connsiteX26" fmla="*/ 253746 w 338518"/>
                <a:gd name="connsiteY26" fmla="*/ 378714 h 386429"/>
                <a:gd name="connsiteX27" fmla="*/ 255746 w 338518"/>
                <a:gd name="connsiteY27" fmla="*/ 222409 h 386429"/>
                <a:gd name="connsiteX28" fmla="*/ 217265 w 338518"/>
                <a:gd name="connsiteY28" fmla="*/ 211836 h 386429"/>
                <a:gd name="connsiteX29" fmla="*/ 170307 w 338518"/>
                <a:gd name="connsiteY29" fmla="*/ 207550 h 386429"/>
                <a:gd name="connsiteX30" fmla="*/ 107442 w 338518"/>
                <a:gd name="connsiteY30" fmla="*/ 223075 h 386429"/>
                <a:gd name="connsiteX31" fmla="*/ 84868 w 338518"/>
                <a:gd name="connsiteY31" fmla="*/ 265462 h 386429"/>
                <a:gd name="connsiteX32" fmla="*/ 84868 w 338518"/>
                <a:gd name="connsiteY32" fmla="*/ 266891 h 386429"/>
                <a:gd name="connsiteX33" fmla="*/ 105728 w 338518"/>
                <a:gd name="connsiteY33" fmla="*/ 307848 h 386429"/>
                <a:gd name="connsiteX34" fmla="*/ 156972 w 338518"/>
                <a:gd name="connsiteY34" fmla="*/ 321945 h 386429"/>
                <a:gd name="connsiteX35" fmla="*/ 196215 w 338518"/>
                <a:gd name="connsiteY35" fmla="*/ 316325 h 386429"/>
                <a:gd name="connsiteX36" fmla="*/ 227647 w 338518"/>
                <a:gd name="connsiteY36" fmla="*/ 300419 h 386429"/>
                <a:gd name="connsiteX37" fmla="*/ 248507 w 338518"/>
                <a:gd name="connsiteY37" fmla="*/ 275654 h 386429"/>
                <a:gd name="connsiteX38" fmla="*/ 255937 w 338518"/>
                <a:gd name="connsiteY38" fmla="*/ 243459 h 386429"/>
                <a:gd name="connsiteX39" fmla="*/ 255937 w 338518"/>
                <a:gd name="connsiteY39" fmla="*/ 222218 h 3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8518" h="386429">
                  <a:moveTo>
                    <a:pt x="253651" y="378619"/>
                  </a:moveTo>
                  <a:lnTo>
                    <a:pt x="253651" y="332708"/>
                  </a:lnTo>
                  <a:cubicBezTo>
                    <a:pt x="240887" y="347758"/>
                    <a:pt x="224695" y="360521"/>
                    <a:pt x="204883" y="370904"/>
                  </a:cubicBezTo>
                  <a:cubicBezTo>
                    <a:pt x="185071" y="381286"/>
                    <a:pt x="161068" y="386429"/>
                    <a:pt x="132779" y="386429"/>
                  </a:cubicBezTo>
                  <a:cubicBezTo>
                    <a:pt x="114871" y="386429"/>
                    <a:pt x="97917" y="383953"/>
                    <a:pt x="81915" y="379000"/>
                  </a:cubicBezTo>
                  <a:cubicBezTo>
                    <a:pt x="65913" y="374047"/>
                    <a:pt x="51911" y="366713"/>
                    <a:pt x="39910" y="357092"/>
                  </a:cubicBezTo>
                  <a:cubicBezTo>
                    <a:pt x="27908" y="347472"/>
                    <a:pt x="18193" y="335471"/>
                    <a:pt x="10954" y="321088"/>
                  </a:cubicBezTo>
                  <a:cubicBezTo>
                    <a:pt x="3620" y="306705"/>
                    <a:pt x="0" y="290132"/>
                    <a:pt x="0" y="271272"/>
                  </a:cubicBezTo>
                  <a:lnTo>
                    <a:pt x="0" y="269843"/>
                  </a:lnTo>
                  <a:cubicBezTo>
                    <a:pt x="0" y="249079"/>
                    <a:pt x="3810" y="231077"/>
                    <a:pt x="11335" y="215741"/>
                  </a:cubicBezTo>
                  <a:cubicBezTo>
                    <a:pt x="18859" y="200406"/>
                    <a:pt x="29337" y="187738"/>
                    <a:pt x="42767" y="177546"/>
                  </a:cubicBezTo>
                  <a:cubicBezTo>
                    <a:pt x="56197" y="167450"/>
                    <a:pt x="72199" y="159925"/>
                    <a:pt x="90773" y="154972"/>
                  </a:cubicBezTo>
                  <a:cubicBezTo>
                    <a:pt x="109347" y="150019"/>
                    <a:pt x="129540" y="147542"/>
                    <a:pt x="151162" y="147542"/>
                  </a:cubicBezTo>
                  <a:cubicBezTo>
                    <a:pt x="172783" y="147542"/>
                    <a:pt x="192976" y="148971"/>
                    <a:pt x="208788" y="151829"/>
                  </a:cubicBezTo>
                  <a:cubicBezTo>
                    <a:pt x="224599" y="154686"/>
                    <a:pt x="239744" y="158401"/>
                    <a:pt x="254413" y="163163"/>
                  </a:cubicBezTo>
                  <a:lnTo>
                    <a:pt x="254413" y="156115"/>
                  </a:lnTo>
                  <a:cubicBezTo>
                    <a:pt x="254413" y="130207"/>
                    <a:pt x="246507" y="110395"/>
                    <a:pt x="230696" y="96774"/>
                  </a:cubicBezTo>
                  <a:cubicBezTo>
                    <a:pt x="214884" y="83153"/>
                    <a:pt x="192214" y="76295"/>
                    <a:pt x="162496" y="76295"/>
                  </a:cubicBezTo>
                  <a:cubicBezTo>
                    <a:pt x="141351" y="76295"/>
                    <a:pt x="122491" y="78391"/>
                    <a:pt x="106013" y="82677"/>
                  </a:cubicBezTo>
                  <a:cubicBezTo>
                    <a:pt x="89535" y="86963"/>
                    <a:pt x="72771" y="92583"/>
                    <a:pt x="55816" y="99632"/>
                  </a:cubicBezTo>
                  <a:lnTo>
                    <a:pt x="32480" y="31052"/>
                  </a:lnTo>
                  <a:cubicBezTo>
                    <a:pt x="53149" y="21622"/>
                    <a:pt x="74390" y="14097"/>
                    <a:pt x="96107" y="8477"/>
                  </a:cubicBezTo>
                  <a:cubicBezTo>
                    <a:pt x="117729" y="2858"/>
                    <a:pt x="143923" y="0"/>
                    <a:pt x="174593" y="0"/>
                  </a:cubicBezTo>
                  <a:cubicBezTo>
                    <a:pt x="230124" y="0"/>
                    <a:pt x="271367" y="13811"/>
                    <a:pt x="298228" y="41338"/>
                  </a:cubicBezTo>
                  <a:cubicBezTo>
                    <a:pt x="325088" y="68866"/>
                    <a:pt x="338519" y="107633"/>
                    <a:pt x="338519" y="157544"/>
                  </a:cubicBezTo>
                  <a:lnTo>
                    <a:pt x="338519" y="378714"/>
                  </a:lnTo>
                  <a:lnTo>
                    <a:pt x="253746" y="378714"/>
                  </a:lnTo>
                  <a:close/>
                  <a:moveTo>
                    <a:pt x="255746" y="222409"/>
                  </a:moveTo>
                  <a:cubicBezTo>
                    <a:pt x="244888" y="218123"/>
                    <a:pt x="232029" y="214598"/>
                    <a:pt x="217265" y="211836"/>
                  </a:cubicBezTo>
                  <a:cubicBezTo>
                    <a:pt x="202406" y="208979"/>
                    <a:pt x="186785" y="207550"/>
                    <a:pt x="170307" y="207550"/>
                  </a:cubicBezTo>
                  <a:cubicBezTo>
                    <a:pt x="143446" y="207550"/>
                    <a:pt x="122491" y="212693"/>
                    <a:pt x="107442" y="223075"/>
                  </a:cubicBezTo>
                  <a:cubicBezTo>
                    <a:pt x="92392" y="233458"/>
                    <a:pt x="84868" y="247555"/>
                    <a:pt x="84868" y="265462"/>
                  </a:cubicBezTo>
                  <a:lnTo>
                    <a:pt x="84868" y="266891"/>
                  </a:lnTo>
                  <a:cubicBezTo>
                    <a:pt x="84868" y="284798"/>
                    <a:pt x="91821" y="298418"/>
                    <a:pt x="105728" y="307848"/>
                  </a:cubicBezTo>
                  <a:cubicBezTo>
                    <a:pt x="119634" y="317278"/>
                    <a:pt x="136684" y="321945"/>
                    <a:pt x="156972" y="321945"/>
                  </a:cubicBezTo>
                  <a:cubicBezTo>
                    <a:pt x="171069" y="321945"/>
                    <a:pt x="184213" y="320040"/>
                    <a:pt x="196215" y="316325"/>
                  </a:cubicBezTo>
                  <a:cubicBezTo>
                    <a:pt x="208216" y="312515"/>
                    <a:pt x="218694" y="307277"/>
                    <a:pt x="227647" y="300419"/>
                  </a:cubicBezTo>
                  <a:cubicBezTo>
                    <a:pt x="236601" y="293561"/>
                    <a:pt x="243554" y="285369"/>
                    <a:pt x="248507" y="275654"/>
                  </a:cubicBezTo>
                  <a:cubicBezTo>
                    <a:pt x="253460" y="266033"/>
                    <a:pt x="255937" y="255270"/>
                    <a:pt x="255937" y="243459"/>
                  </a:cubicBezTo>
                  <a:lnTo>
                    <a:pt x="255937" y="222218"/>
                  </a:lnTo>
                  <a:close/>
                </a:path>
              </a:pathLst>
            </a:custGeom>
            <a:solidFill>
              <a:srgbClr val="44505E"/>
            </a:solidFill>
            <a:ln w="9525" cap="flat">
              <a:noFill/>
              <a:prstDash val="solid"/>
              <a:miter/>
            </a:ln>
          </p:spPr>
          <p:txBody>
            <a:bodyPr rtlCol="0" anchor="ctr"/>
            <a:lstStyle/>
            <a:p>
              <a:endParaRPr lang="pt-BR" noProof="0"/>
            </a:p>
          </p:txBody>
        </p:sp>
        <p:sp>
          <p:nvSpPr>
            <p:cNvPr id="28" name="Freeform: Shape 27">
              <a:extLst>
                <a:ext uri="{FF2B5EF4-FFF2-40B4-BE49-F238E27FC236}">
                  <a16:creationId xmlns:a16="http://schemas.microsoft.com/office/drawing/2014/main" id="{1B65CE3F-FD2B-811E-EF86-8C45658F22CB}"/>
                </a:ext>
              </a:extLst>
            </p:cNvPr>
            <p:cNvSpPr/>
            <p:nvPr/>
          </p:nvSpPr>
          <p:spPr>
            <a:xfrm>
              <a:off x="6088843" y="700318"/>
              <a:ext cx="74610" cy="97213"/>
            </a:xfrm>
            <a:custGeom>
              <a:avLst/>
              <a:gdLst>
                <a:gd name="connsiteX0" fmla="*/ 158305 w 296799"/>
                <a:gd name="connsiteY0" fmla="*/ 386715 h 386714"/>
                <a:gd name="connsiteX1" fmla="*/ 76676 w 296799"/>
                <a:gd name="connsiteY1" fmla="*/ 372427 h 386714"/>
                <a:gd name="connsiteX2" fmla="*/ 0 w 296799"/>
                <a:gd name="connsiteY2" fmla="*/ 330327 h 386714"/>
                <a:gd name="connsiteX3" fmla="*/ 38195 w 296799"/>
                <a:gd name="connsiteY3" fmla="*/ 272224 h 386714"/>
                <a:gd name="connsiteX4" fmla="*/ 100013 w 296799"/>
                <a:gd name="connsiteY4" fmla="*/ 306514 h 386714"/>
                <a:gd name="connsiteX5" fmla="*/ 160401 w 296799"/>
                <a:gd name="connsiteY5" fmla="*/ 318135 h 386714"/>
                <a:gd name="connsiteX6" fmla="*/ 203168 w 296799"/>
                <a:gd name="connsiteY6" fmla="*/ 307181 h 386714"/>
                <a:gd name="connsiteX7" fmla="*/ 218408 w 296799"/>
                <a:gd name="connsiteY7" fmla="*/ 277939 h 386714"/>
                <a:gd name="connsiteX8" fmla="*/ 218408 w 296799"/>
                <a:gd name="connsiteY8" fmla="*/ 276511 h 386714"/>
                <a:gd name="connsiteX9" fmla="*/ 211646 w 296799"/>
                <a:gd name="connsiteY9" fmla="*/ 258223 h 386714"/>
                <a:gd name="connsiteX10" fmla="*/ 193262 w 296799"/>
                <a:gd name="connsiteY10" fmla="*/ 244792 h 386714"/>
                <a:gd name="connsiteX11" fmla="*/ 166402 w 296799"/>
                <a:gd name="connsiteY11" fmla="*/ 234220 h 386714"/>
                <a:gd name="connsiteX12" fmla="*/ 134969 w 296799"/>
                <a:gd name="connsiteY12" fmla="*/ 224314 h 386714"/>
                <a:gd name="connsiteX13" fmla="*/ 93631 w 296799"/>
                <a:gd name="connsiteY13" fmla="*/ 210884 h 386714"/>
                <a:gd name="connsiteX14" fmla="*/ 56197 w 296799"/>
                <a:gd name="connsiteY14" fmla="*/ 190786 h 386714"/>
                <a:gd name="connsiteX15" fmla="*/ 28956 w 296799"/>
                <a:gd name="connsiteY15" fmla="*/ 160115 h 386714"/>
                <a:gd name="connsiteX16" fmla="*/ 18383 w 296799"/>
                <a:gd name="connsiteY16" fmla="*/ 114967 h 386714"/>
                <a:gd name="connsiteX17" fmla="*/ 18383 w 296799"/>
                <a:gd name="connsiteY17" fmla="*/ 113538 h 386714"/>
                <a:gd name="connsiteX18" fmla="*/ 28575 w 296799"/>
                <a:gd name="connsiteY18" fmla="*/ 66294 h 386714"/>
                <a:gd name="connsiteX19" fmla="*/ 56864 w 296799"/>
                <a:gd name="connsiteY19" fmla="*/ 30385 h 386714"/>
                <a:gd name="connsiteX20" fmla="*/ 99250 w 296799"/>
                <a:gd name="connsiteY20" fmla="*/ 7810 h 386714"/>
                <a:gd name="connsiteX21" fmla="*/ 151162 w 296799"/>
                <a:gd name="connsiteY21" fmla="*/ 0 h 386714"/>
                <a:gd name="connsiteX22" fmla="*/ 222504 w 296799"/>
                <a:gd name="connsiteY22" fmla="*/ 11430 h 386714"/>
                <a:gd name="connsiteX23" fmla="*/ 288227 w 296799"/>
                <a:gd name="connsiteY23" fmla="*/ 42863 h 386714"/>
                <a:gd name="connsiteX24" fmla="*/ 254317 w 296799"/>
                <a:gd name="connsiteY24" fmla="*/ 103918 h 386714"/>
                <a:gd name="connsiteX25" fmla="*/ 199930 w 296799"/>
                <a:gd name="connsiteY25" fmla="*/ 78105 h 386714"/>
                <a:gd name="connsiteX26" fmla="*/ 149066 w 296799"/>
                <a:gd name="connsiteY26" fmla="*/ 68580 h 386714"/>
                <a:gd name="connsiteX27" fmla="*/ 110585 w 296799"/>
                <a:gd name="connsiteY27" fmla="*/ 79153 h 386714"/>
                <a:gd name="connsiteX28" fmla="*/ 96774 w 296799"/>
                <a:gd name="connsiteY28" fmla="*/ 105918 h 386714"/>
                <a:gd name="connsiteX29" fmla="*/ 96774 w 296799"/>
                <a:gd name="connsiteY29" fmla="*/ 107347 h 386714"/>
                <a:gd name="connsiteX30" fmla="*/ 103822 w 296799"/>
                <a:gd name="connsiteY30" fmla="*/ 124587 h 386714"/>
                <a:gd name="connsiteX31" fmla="*/ 122587 w 296799"/>
                <a:gd name="connsiteY31" fmla="*/ 138017 h 386714"/>
                <a:gd name="connsiteX32" fmla="*/ 149447 w 296799"/>
                <a:gd name="connsiteY32" fmla="*/ 149257 h 386714"/>
                <a:gd name="connsiteX33" fmla="*/ 180880 w 296799"/>
                <a:gd name="connsiteY33" fmla="*/ 159448 h 386714"/>
                <a:gd name="connsiteX34" fmla="*/ 221837 w 296799"/>
                <a:gd name="connsiteY34" fmla="*/ 174212 h 386714"/>
                <a:gd name="connsiteX35" fmla="*/ 258985 w 296799"/>
                <a:gd name="connsiteY35" fmla="*/ 194977 h 386714"/>
                <a:gd name="connsiteX36" fmla="*/ 286226 w 296799"/>
                <a:gd name="connsiteY36" fmla="*/ 224980 h 386714"/>
                <a:gd name="connsiteX37" fmla="*/ 296799 w 296799"/>
                <a:gd name="connsiteY37" fmla="*/ 267938 h 386714"/>
                <a:gd name="connsiteX38" fmla="*/ 296799 w 296799"/>
                <a:gd name="connsiteY38" fmla="*/ 269367 h 386714"/>
                <a:gd name="connsiteX39" fmla="*/ 286226 w 296799"/>
                <a:gd name="connsiteY39" fmla="*/ 320897 h 386714"/>
                <a:gd name="connsiteX40" fmla="*/ 256889 w 296799"/>
                <a:gd name="connsiteY40" fmla="*/ 357188 h 386714"/>
                <a:gd name="connsiteX41" fmla="*/ 212693 w 296799"/>
                <a:gd name="connsiteY41" fmla="*/ 379095 h 386714"/>
                <a:gd name="connsiteX42" fmla="*/ 158305 w 296799"/>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799"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065" y="318135"/>
                    <a:pt x="160401" y="318135"/>
                  </a:cubicBezTo>
                  <a:cubicBezTo>
                    <a:pt x="179737" y="318135"/>
                    <a:pt x="193072"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828" y="227647"/>
                    <a:pt x="134969" y="224314"/>
                  </a:cubicBezTo>
                  <a:cubicBezTo>
                    <a:pt x="121348" y="220599"/>
                    <a:pt x="107537" y="216122"/>
                    <a:pt x="93631" y="210884"/>
                  </a:cubicBezTo>
                  <a:cubicBezTo>
                    <a:pt x="79724" y="205740"/>
                    <a:pt x="67246" y="198977"/>
                    <a:pt x="56197" y="190786"/>
                  </a:cubicBezTo>
                  <a:cubicBezTo>
                    <a:pt x="45148" y="182594"/>
                    <a:pt x="36004"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874" y="0"/>
                    <a:pt x="151162" y="0"/>
                  </a:cubicBezTo>
                  <a:cubicBezTo>
                    <a:pt x="174688" y="0"/>
                    <a:pt x="198501" y="3810"/>
                    <a:pt x="222504" y="11430"/>
                  </a:cubicBezTo>
                  <a:cubicBezTo>
                    <a:pt x="246507" y="19050"/>
                    <a:pt x="268414" y="29527"/>
                    <a:pt x="288227" y="42863"/>
                  </a:cubicBezTo>
                  <a:lnTo>
                    <a:pt x="254317"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774" y="95155"/>
                    <a:pt x="96774" y="105918"/>
                  </a:cubicBezTo>
                  <a:lnTo>
                    <a:pt x="96774" y="107347"/>
                  </a:lnTo>
                  <a:cubicBezTo>
                    <a:pt x="96774" y="113919"/>
                    <a:pt x="99155" y="119634"/>
                    <a:pt x="103822" y="124587"/>
                  </a:cubicBezTo>
                  <a:cubicBezTo>
                    <a:pt x="108490" y="129540"/>
                    <a:pt x="114776" y="134017"/>
                    <a:pt x="122587" y="138017"/>
                  </a:cubicBezTo>
                  <a:cubicBezTo>
                    <a:pt x="130397" y="142018"/>
                    <a:pt x="139351" y="145732"/>
                    <a:pt x="149447" y="149257"/>
                  </a:cubicBezTo>
                  <a:cubicBezTo>
                    <a:pt x="159544" y="152781"/>
                    <a:pt x="170021" y="156210"/>
                    <a:pt x="180880" y="159448"/>
                  </a:cubicBezTo>
                  <a:cubicBezTo>
                    <a:pt x="194500" y="163639"/>
                    <a:pt x="208216" y="168592"/>
                    <a:pt x="221837" y="174212"/>
                  </a:cubicBezTo>
                  <a:cubicBezTo>
                    <a:pt x="235458" y="179832"/>
                    <a:pt x="247840" y="186785"/>
                    <a:pt x="258985" y="194977"/>
                  </a:cubicBezTo>
                  <a:cubicBezTo>
                    <a:pt x="270034" y="203168"/>
                    <a:pt x="279178" y="213169"/>
                    <a:pt x="286226" y="224980"/>
                  </a:cubicBezTo>
                  <a:cubicBezTo>
                    <a:pt x="293275" y="236696"/>
                    <a:pt x="296799" y="251079"/>
                    <a:pt x="296799" y="267938"/>
                  </a:cubicBezTo>
                  <a:lnTo>
                    <a:pt x="296799" y="269367"/>
                  </a:lnTo>
                  <a:cubicBezTo>
                    <a:pt x="296799" y="289084"/>
                    <a:pt x="293275" y="306229"/>
                    <a:pt x="286226" y="320897"/>
                  </a:cubicBezTo>
                  <a:cubicBezTo>
                    <a:pt x="279178" y="335470"/>
                    <a:pt x="269367" y="347567"/>
                    <a:pt x="256889" y="357188"/>
                  </a:cubicBezTo>
                  <a:cubicBezTo>
                    <a:pt x="244412" y="366808"/>
                    <a:pt x="229648" y="374142"/>
                    <a:pt x="212693" y="379095"/>
                  </a:cubicBezTo>
                  <a:cubicBezTo>
                    <a:pt x="195739" y="384048"/>
                    <a:pt x="177641" y="386524"/>
                    <a:pt x="158305" y="386524"/>
                  </a:cubicBezTo>
                  <a:close/>
                </a:path>
              </a:pathLst>
            </a:custGeom>
            <a:solidFill>
              <a:srgbClr val="44505E"/>
            </a:solidFill>
            <a:ln w="9525" cap="flat">
              <a:noFill/>
              <a:prstDash val="solid"/>
              <a:miter/>
            </a:ln>
          </p:spPr>
          <p:txBody>
            <a:bodyPr rtlCol="0" anchor="ctr"/>
            <a:lstStyle/>
            <a:p>
              <a:endParaRPr lang="pt-BR" noProof="0"/>
            </a:p>
          </p:txBody>
        </p:sp>
        <p:sp>
          <p:nvSpPr>
            <p:cNvPr id="29" name="Freeform: Shape 28">
              <a:extLst>
                <a:ext uri="{FF2B5EF4-FFF2-40B4-BE49-F238E27FC236}">
                  <a16:creationId xmlns:a16="http://schemas.microsoft.com/office/drawing/2014/main" id="{0B9973D3-E513-6588-D278-F3607FD320BD}"/>
                </a:ext>
              </a:extLst>
            </p:cNvPr>
            <p:cNvSpPr/>
            <p:nvPr/>
          </p:nvSpPr>
          <p:spPr>
            <a:xfrm>
              <a:off x="6238590"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4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7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2 w 568166"/>
                <a:gd name="connsiteY21" fmla="*/ 381000 h 381000"/>
                <a:gd name="connsiteX22" fmla="*/ 240982 w 568166"/>
                <a:gd name="connsiteY22" fmla="*/ 168783 h 381000"/>
                <a:gd name="connsiteX23" fmla="*/ 221266 w 568166"/>
                <a:gd name="connsiteY23" fmla="*/ 101822 h 381000"/>
                <a:gd name="connsiteX24" fmla="*/ 165640 w 568166"/>
                <a:gd name="connsiteY24" fmla="*/ 78581 h 381000"/>
                <a:gd name="connsiteX25" fmla="*/ 108013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69" y="48196"/>
                    <a:pt x="105918" y="40576"/>
                  </a:cubicBezTo>
                  <a:cubicBezTo>
                    <a:pt x="112966" y="32956"/>
                    <a:pt x="121063" y="26099"/>
                    <a:pt x="130207" y="19907"/>
                  </a:cubicBezTo>
                  <a:cubicBezTo>
                    <a:pt x="139351" y="13716"/>
                    <a:pt x="149638" y="8858"/>
                    <a:pt x="161163" y="5334"/>
                  </a:cubicBezTo>
                  <a:cubicBezTo>
                    <a:pt x="172688" y="1714"/>
                    <a:pt x="185452" y="0"/>
                    <a:pt x="199549" y="0"/>
                  </a:cubicBezTo>
                  <a:cubicBezTo>
                    <a:pt x="226314" y="0"/>
                    <a:pt x="248983" y="6096"/>
                    <a:pt x="267557" y="18193"/>
                  </a:cubicBezTo>
                  <a:cubicBezTo>
                    <a:pt x="286131" y="30289"/>
                    <a:pt x="300323" y="46387"/>
                    <a:pt x="310134" y="66294"/>
                  </a:cubicBezTo>
                  <a:cubicBezTo>
                    <a:pt x="325279" y="46387"/>
                    <a:pt x="343090" y="30289"/>
                    <a:pt x="363664" y="18193"/>
                  </a:cubicBezTo>
                  <a:cubicBezTo>
                    <a:pt x="384238" y="6096"/>
                    <a:pt x="408718" y="0"/>
                    <a:pt x="437007" y="0"/>
                  </a:cubicBezTo>
                  <a:cubicBezTo>
                    <a:pt x="478155"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7" y="78486"/>
                  </a:cubicBezTo>
                  <a:cubicBezTo>
                    <a:pt x="382809" y="78486"/>
                    <a:pt x="364141" y="86392"/>
                    <a:pt x="349377" y="102108"/>
                  </a:cubicBezTo>
                  <a:cubicBezTo>
                    <a:pt x="334613" y="117824"/>
                    <a:pt x="327184" y="140779"/>
                    <a:pt x="327184" y="170879"/>
                  </a:cubicBezTo>
                  <a:lnTo>
                    <a:pt x="327184" y="381000"/>
                  </a:lnTo>
                  <a:lnTo>
                    <a:pt x="240982" y="381000"/>
                  </a:lnTo>
                  <a:lnTo>
                    <a:pt x="240982" y="168783"/>
                  </a:lnTo>
                  <a:cubicBezTo>
                    <a:pt x="240982" y="139637"/>
                    <a:pt x="234410" y="117348"/>
                    <a:pt x="221266" y="101822"/>
                  </a:cubicBezTo>
                  <a:cubicBezTo>
                    <a:pt x="208121" y="86296"/>
                    <a:pt x="189547" y="78581"/>
                    <a:pt x="165640" y="78581"/>
                  </a:cubicBezTo>
                  <a:cubicBezTo>
                    <a:pt x="141732" y="78581"/>
                    <a:pt x="122491" y="86773"/>
                    <a:pt x="108013"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30" name="Freeform: Shape 29">
              <a:extLst>
                <a:ext uri="{FF2B5EF4-FFF2-40B4-BE49-F238E27FC236}">
                  <a16:creationId xmlns:a16="http://schemas.microsoft.com/office/drawing/2014/main" id="{982CDE6E-FAEE-6D12-F0E7-EC160640A37F}"/>
                </a:ext>
              </a:extLst>
            </p:cNvPr>
            <p:cNvSpPr/>
            <p:nvPr/>
          </p:nvSpPr>
          <p:spPr>
            <a:xfrm>
              <a:off x="6400979" y="664258"/>
              <a:ext cx="85097" cy="133441"/>
            </a:xfrm>
            <a:custGeom>
              <a:avLst/>
              <a:gdLst>
                <a:gd name="connsiteX0" fmla="*/ 253651 w 338518"/>
                <a:gd name="connsiteY0" fmla="*/ 523018 h 530828"/>
                <a:gd name="connsiteX1" fmla="*/ 253651 w 338518"/>
                <a:gd name="connsiteY1" fmla="*/ 477107 h 530828"/>
                <a:gd name="connsiteX2" fmla="*/ 204883 w 338518"/>
                <a:gd name="connsiteY2" fmla="*/ 515303 h 530828"/>
                <a:gd name="connsiteX3" fmla="*/ 132779 w 338518"/>
                <a:gd name="connsiteY3" fmla="*/ 530828 h 530828"/>
                <a:gd name="connsiteX4" fmla="*/ 81915 w 338518"/>
                <a:gd name="connsiteY4" fmla="*/ 523399 h 530828"/>
                <a:gd name="connsiteX5" fmla="*/ 39910 w 338518"/>
                <a:gd name="connsiteY5" fmla="*/ 501491 h 530828"/>
                <a:gd name="connsiteX6" fmla="*/ 10954 w 338518"/>
                <a:gd name="connsiteY6" fmla="*/ 465487 h 530828"/>
                <a:gd name="connsiteX7" fmla="*/ 0 w 338518"/>
                <a:gd name="connsiteY7" fmla="*/ 415671 h 530828"/>
                <a:gd name="connsiteX8" fmla="*/ 0 w 338518"/>
                <a:gd name="connsiteY8" fmla="*/ 414242 h 530828"/>
                <a:gd name="connsiteX9" fmla="*/ 11335 w 338518"/>
                <a:gd name="connsiteY9" fmla="*/ 360140 h 530828"/>
                <a:gd name="connsiteX10" fmla="*/ 42767 w 338518"/>
                <a:gd name="connsiteY10" fmla="*/ 321945 h 530828"/>
                <a:gd name="connsiteX11" fmla="*/ 90773 w 338518"/>
                <a:gd name="connsiteY11" fmla="*/ 299371 h 530828"/>
                <a:gd name="connsiteX12" fmla="*/ 151162 w 338518"/>
                <a:gd name="connsiteY12" fmla="*/ 291941 h 530828"/>
                <a:gd name="connsiteX13" fmla="*/ 208788 w 338518"/>
                <a:gd name="connsiteY13" fmla="*/ 296228 h 530828"/>
                <a:gd name="connsiteX14" fmla="*/ 254413 w 338518"/>
                <a:gd name="connsiteY14" fmla="*/ 307562 h 530828"/>
                <a:gd name="connsiteX15" fmla="*/ 254413 w 338518"/>
                <a:gd name="connsiteY15" fmla="*/ 300514 h 530828"/>
                <a:gd name="connsiteX16" fmla="*/ 230696 w 338518"/>
                <a:gd name="connsiteY16" fmla="*/ 241173 h 530828"/>
                <a:gd name="connsiteX17" fmla="*/ 162496 w 338518"/>
                <a:gd name="connsiteY17" fmla="*/ 220694 h 530828"/>
                <a:gd name="connsiteX18" fmla="*/ 106013 w 338518"/>
                <a:gd name="connsiteY18" fmla="*/ 227076 h 530828"/>
                <a:gd name="connsiteX19" fmla="*/ 55817 w 338518"/>
                <a:gd name="connsiteY19" fmla="*/ 244031 h 530828"/>
                <a:gd name="connsiteX20" fmla="*/ 32480 w 338518"/>
                <a:gd name="connsiteY20" fmla="*/ 175451 h 530828"/>
                <a:gd name="connsiteX21" fmla="*/ 96107 w 338518"/>
                <a:gd name="connsiteY21" fmla="*/ 152876 h 530828"/>
                <a:gd name="connsiteX22" fmla="*/ 174593 w 338518"/>
                <a:gd name="connsiteY22" fmla="*/ 144399 h 530828"/>
                <a:gd name="connsiteX23" fmla="*/ 298228 w 338518"/>
                <a:gd name="connsiteY23" fmla="*/ 185738 h 530828"/>
                <a:gd name="connsiteX24" fmla="*/ 338519 w 338518"/>
                <a:gd name="connsiteY24" fmla="*/ 301943 h 530828"/>
                <a:gd name="connsiteX25" fmla="*/ 338519 w 338518"/>
                <a:gd name="connsiteY25" fmla="*/ 523113 h 530828"/>
                <a:gd name="connsiteX26" fmla="*/ 253746 w 338518"/>
                <a:gd name="connsiteY26" fmla="*/ 523113 h 530828"/>
                <a:gd name="connsiteX27" fmla="*/ 45911 w 338518"/>
                <a:gd name="connsiteY27" fmla="*/ 95441 h 530828"/>
                <a:gd name="connsiteX28" fmla="*/ 75248 w 338518"/>
                <a:gd name="connsiteY28" fmla="*/ 29718 h 530828"/>
                <a:gd name="connsiteX29" fmla="*/ 125063 w 338518"/>
                <a:gd name="connsiteY29" fmla="*/ 7144 h 530828"/>
                <a:gd name="connsiteX30" fmla="*/ 154019 w 338518"/>
                <a:gd name="connsiteY30" fmla="*/ 11716 h 530828"/>
                <a:gd name="connsiteX31" fmla="*/ 181261 w 338518"/>
                <a:gd name="connsiteY31" fmla="*/ 21622 h 530828"/>
                <a:gd name="connsiteX32" fmla="*/ 205645 w 338518"/>
                <a:gd name="connsiteY32" fmla="*/ 31147 h 530828"/>
                <a:gd name="connsiteX33" fmla="*/ 226790 w 338518"/>
                <a:gd name="connsiteY33" fmla="*/ 35338 h 530828"/>
                <a:gd name="connsiteX34" fmla="*/ 250127 w 338518"/>
                <a:gd name="connsiteY34" fmla="*/ 26861 h 530828"/>
                <a:gd name="connsiteX35" fmla="*/ 265652 w 338518"/>
                <a:gd name="connsiteY35" fmla="*/ 0 h 530828"/>
                <a:gd name="connsiteX36" fmla="*/ 312991 w 338518"/>
                <a:gd name="connsiteY36" fmla="*/ 14859 h 530828"/>
                <a:gd name="connsiteX37" fmla="*/ 283655 w 338518"/>
                <a:gd name="connsiteY37" fmla="*/ 79820 h 530828"/>
                <a:gd name="connsiteX38" fmla="*/ 233839 w 338518"/>
                <a:gd name="connsiteY38" fmla="*/ 102394 h 530828"/>
                <a:gd name="connsiteX39" fmla="*/ 204883 w 338518"/>
                <a:gd name="connsiteY39" fmla="*/ 98203 h 530828"/>
                <a:gd name="connsiteX40" fmla="*/ 177641 w 338518"/>
                <a:gd name="connsiteY40" fmla="*/ 88678 h 530828"/>
                <a:gd name="connsiteX41" fmla="*/ 152876 w 338518"/>
                <a:gd name="connsiteY41" fmla="*/ 78772 h 530828"/>
                <a:gd name="connsiteX42" fmla="*/ 132017 w 338518"/>
                <a:gd name="connsiteY42" fmla="*/ 74200 h 530828"/>
                <a:gd name="connsiteX43" fmla="*/ 108680 w 338518"/>
                <a:gd name="connsiteY43" fmla="*/ 82677 h 530828"/>
                <a:gd name="connsiteX44" fmla="*/ 93154 w 338518"/>
                <a:gd name="connsiteY44" fmla="*/ 109538 h 530828"/>
                <a:gd name="connsiteX45" fmla="*/ 45815 w 338518"/>
                <a:gd name="connsiteY45" fmla="*/ 95441 h 530828"/>
                <a:gd name="connsiteX46" fmla="*/ 255842 w 338518"/>
                <a:gd name="connsiteY46" fmla="*/ 366808 h 530828"/>
                <a:gd name="connsiteX47" fmla="*/ 217361 w 338518"/>
                <a:gd name="connsiteY47" fmla="*/ 356235 h 530828"/>
                <a:gd name="connsiteX48" fmla="*/ 170402 w 338518"/>
                <a:gd name="connsiteY48" fmla="*/ 351949 h 530828"/>
                <a:gd name="connsiteX49" fmla="*/ 107537 w 338518"/>
                <a:gd name="connsiteY49" fmla="*/ 367475 h 530828"/>
                <a:gd name="connsiteX50" fmla="*/ 84963 w 338518"/>
                <a:gd name="connsiteY50" fmla="*/ 409861 h 530828"/>
                <a:gd name="connsiteX51" fmla="*/ 84963 w 338518"/>
                <a:gd name="connsiteY51" fmla="*/ 411290 h 530828"/>
                <a:gd name="connsiteX52" fmla="*/ 105823 w 338518"/>
                <a:gd name="connsiteY52" fmla="*/ 452247 h 530828"/>
                <a:gd name="connsiteX53" fmla="*/ 157067 w 338518"/>
                <a:gd name="connsiteY53" fmla="*/ 466344 h 530828"/>
                <a:gd name="connsiteX54" fmla="*/ 196310 w 338518"/>
                <a:gd name="connsiteY54" fmla="*/ 460724 h 530828"/>
                <a:gd name="connsiteX55" fmla="*/ 227743 w 338518"/>
                <a:gd name="connsiteY55" fmla="*/ 444818 h 530828"/>
                <a:gd name="connsiteX56" fmla="*/ 248603 w 338518"/>
                <a:gd name="connsiteY56" fmla="*/ 420053 h 530828"/>
                <a:gd name="connsiteX57" fmla="*/ 256032 w 338518"/>
                <a:gd name="connsiteY57" fmla="*/ 387858 h 530828"/>
                <a:gd name="connsiteX58" fmla="*/ 256032 w 338518"/>
                <a:gd name="connsiteY58" fmla="*/ 366617 h 5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8518" h="530828">
                  <a:moveTo>
                    <a:pt x="253651" y="523018"/>
                  </a:moveTo>
                  <a:lnTo>
                    <a:pt x="253651" y="477107"/>
                  </a:lnTo>
                  <a:cubicBezTo>
                    <a:pt x="240887" y="492157"/>
                    <a:pt x="224695" y="504920"/>
                    <a:pt x="204883" y="515303"/>
                  </a:cubicBezTo>
                  <a:cubicBezTo>
                    <a:pt x="185071" y="525685"/>
                    <a:pt x="161068" y="530828"/>
                    <a:pt x="132779" y="530828"/>
                  </a:cubicBezTo>
                  <a:cubicBezTo>
                    <a:pt x="114871" y="530828"/>
                    <a:pt x="97917" y="528352"/>
                    <a:pt x="81915" y="523399"/>
                  </a:cubicBezTo>
                  <a:cubicBezTo>
                    <a:pt x="65913" y="518446"/>
                    <a:pt x="51911" y="511112"/>
                    <a:pt x="39910" y="501491"/>
                  </a:cubicBezTo>
                  <a:cubicBezTo>
                    <a:pt x="27908" y="491871"/>
                    <a:pt x="18193" y="479870"/>
                    <a:pt x="10954" y="465487"/>
                  </a:cubicBezTo>
                  <a:cubicBezTo>
                    <a:pt x="3620" y="451104"/>
                    <a:pt x="0" y="434531"/>
                    <a:pt x="0" y="415671"/>
                  </a:cubicBezTo>
                  <a:lnTo>
                    <a:pt x="0" y="414242"/>
                  </a:lnTo>
                  <a:cubicBezTo>
                    <a:pt x="0" y="393478"/>
                    <a:pt x="3810" y="375476"/>
                    <a:pt x="11335" y="360140"/>
                  </a:cubicBezTo>
                  <a:cubicBezTo>
                    <a:pt x="18860" y="344805"/>
                    <a:pt x="29337" y="332137"/>
                    <a:pt x="42767" y="321945"/>
                  </a:cubicBezTo>
                  <a:cubicBezTo>
                    <a:pt x="56198" y="311849"/>
                    <a:pt x="72200" y="304324"/>
                    <a:pt x="90773" y="299371"/>
                  </a:cubicBezTo>
                  <a:cubicBezTo>
                    <a:pt x="109347" y="294418"/>
                    <a:pt x="129540" y="291941"/>
                    <a:pt x="151162" y="291941"/>
                  </a:cubicBezTo>
                  <a:cubicBezTo>
                    <a:pt x="172784" y="291941"/>
                    <a:pt x="192977" y="293370"/>
                    <a:pt x="208788" y="296228"/>
                  </a:cubicBezTo>
                  <a:cubicBezTo>
                    <a:pt x="224600" y="299085"/>
                    <a:pt x="239744" y="302800"/>
                    <a:pt x="254413" y="307562"/>
                  </a:cubicBezTo>
                  <a:lnTo>
                    <a:pt x="254413" y="300514"/>
                  </a:lnTo>
                  <a:cubicBezTo>
                    <a:pt x="254413" y="274606"/>
                    <a:pt x="246507" y="254794"/>
                    <a:pt x="230696" y="241173"/>
                  </a:cubicBezTo>
                  <a:cubicBezTo>
                    <a:pt x="214884" y="227552"/>
                    <a:pt x="192215" y="220694"/>
                    <a:pt x="162496" y="220694"/>
                  </a:cubicBezTo>
                  <a:cubicBezTo>
                    <a:pt x="141351" y="220694"/>
                    <a:pt x="122492" y="222790"/>
                    <a:pt x="106013" y="227076"/>
                  </a:cubicBezTo>
                  <a:cubicBezTo>
                    <a:pt x="89535" y="231362"/>
                    <a:pt x="72771" y="236982"/>
                    <a:pt x="55817" y="244031"/>
                  </a:cubicBezTo>
                  <a:lnTo>
                    <a:pt x="32480" y="175451"/>
                  </a:lnTo>
                  <a:cubicBezTo>
                    <a:pt x="53150" y="166021"/>
                    <a:pt x="74390" y="158496"/>
                    <a:pt x="96107" y="152876"/>
                  </a:cubicBezTo>
                  <a:cubicBezTo>
                    <a:pt x="117729" y="147257"/>
                    <a:pt x="143923" y="144399"/>
                    <a:pt x="174593" y="144399"/>
                  </a:cubicBezTo>
                  <a:cubicBezTo>
                    <a:pt x="230124" y="144399"/>
                    <a:pt x="271367" y="158210"/>
                    <a:pt x="298228" y="185738"/>
                  </a:cubicBezTo>
                  <a:cubicBezTo>
                    <a:pt x="325088" y="213265"/>
                    <a:pt x="338519" y="252032"/>
                    <a:pt x="338519" y="301943"/>
                  </a:cubicBezTo>
                  <a:lnTo>
                    <a:pt x="338519" y="523113"/>
                  </a:lnTo>
                  <a:lnTo>
                    <a:pt x="253746" y="523113"/>
                  </a:lnTo>
                  <a:close/>
                  <a:moveTo>
                    <a:pt x="45911" y="95441"/>
                  </a:moveTo>
                  <a:cubicBezTo>
                    <a:pt x="53912" y="66675"/>
                    <a:pt x="63722" y="44768"/>
                    <a:pt x="75248" y="29718"/>
                  </a:cubicBezTo>
                  <a:cubicBezTo>
                    <a:pt x="86773" y="14669"/>
                    <a:pt x="103442" y="7144"/>
                    <a:pt x="125063" y="7144"/>
                  </a:cubicBezTo>
                  <a:cubicBezTo>
                    <a:pt x="134969" y="7144"/>
                    <a:pt x="144590" y="8668"/>
                    <a:pt x="154019" y="11716"/>
                  </a:cubicBezTo>
                  <a:cubicBezTo>
                    <a:pt x="163449" y="14764"/>
                    <a:pt x="172498" y="18098"/>
                    <a:pt x="181261" y="21622"/>
                  </a:cubicBezTo>
                  <a:cubicBezTo>
                    <a:pt x="189929" y="25146"/>
                    <a:pt x="198120" y="28385"/>
                    <a:pt x="205645" y="31147"/>
                  </a:cubicBezTo>
                  <a:cubicBezTo>
                    <a:pt x="213170" y="34004"/>
                    <a:pt x="220218" y="35338"/>
                    <a:pt x="226790" y="35338"/>
                  </a:cubicBezTo>
                  <a:cubicBezTo>
                    <a:pt x="237173" y="35338"/>
                    <a:pt x="244888" y="32480"/>
                    <a:pt x="250127" y="26861"/>
                  </a:cubicBezTo>
                  <a:cubicBezTo>
                    <a:pt x="255270" y="21241"/>
                    <a:pt x="260509" y="12287"/>
                    <a:pt x="265652" y="0"/>
                  </a:cubicBezTo>
                  <a:lnTo>
                    <a:pt x="312991" y="14859"/>
                  </a:lnTo>
                  <a:cubicBezTo>
                    <a:pt x="304991" y="43148"/>
                    <a:pt x="295180" y="64770"/>
                    <a:pt x="283655" y="79820"/>
                  </a:cubicBezTo>
                  <a:cubicBezTo>
                    <a:pt x="272129" y="94869"/>
                    <a:pt x="255461" y="102394"/>
                    <a:pt x="233839" y="102394"/>
                  </a:cubicBezTo>
                  <a:cubicBezTo>
                    <a:pt x="223933" y="102394"/>
                    <a:pt x="214313" y="100965"/>
                    <a:pt x="204883" y="98203"/>
                  </a:cubicBezTo>
                  <a:cubicBezTo>
                    <a:pt x="195453" y="95345"/>
                    <a:pt x="186404" y="92202"/>
                    <a:pt x="177641" y="88678"/>
                  </a:cubicBezTo>
                  <a:cubicBezTo>
                    <a:pt x="168878" y="85154"/>
                    <a:pt x="160687" y="81820"/>
                    <a:pt x="152876" y="78772"/>
                  </a:cubicBezTo>
                  <a:cubicBezTo>
                    <a:pt x="145066" y="75724"/>
                    <a:pt x="138113" y="74200"/>
                    <a:pt x="132017" y="74200"/>
                  </a:cubicBezTo>
                  <a:cubicBezTo>
                    <a:pt x="121634" y="74200"/>
                    <a:pt x="113919" y="77057"/>
                    <a:pt x="108680" y="82677"/>
                  </a:cubicBezTo>
                  <a:cubicBezTo>
                    <a:pt x="103537" y="88297"/>
                    <a:pt x="98298" y="97250"/>
                    <a:pt x="93154" y="109538"/>
                  </a:cubicBezTo>
                  <a:lnTo>
                    <a:pt x="45815" y="95441"/>
                  </a:lnTo>
                  <a:close/>
                  <a:moveTo>
                    <a:pt x="255842" y="366808"/>
                  </a:moveTo>
                  <a:cubicBezTo>
                    <a:pt x="244983" y="362522"/>
                    <a:pt x="232124" y="358997"/>
                    <a:pt x="217361" y="356235"/>
                  </a:cubicBezTo>
                  <a:cubicBezTo>
                    <a:pt x="202502" y="353378"/>
                    <a:pt x="186880" y="351949"/>
                    <a:pt x="170402" y="351949"/>
                  </a:cubicBezTo>
                  <a:cubicBezTo>
                    <a:pt x="143542" y="351949"/>
                    <a:pt x="122587" y="357092"/>
                    <a:pt x="107537" y="367475"/>
                  </a:cubicBezTo>
                  <a:cubicBezTo>
                    <a:pt x="92488" y="377857"/>
                    <a:pt x="84963" y="391954"/>
                    <a:pt x="84963" y="409861"/>
                  </a:cubicBezTo>
                  <a:lnTo>
                    <a:pt x="84963" y="411290"/>
                  </a:lnTo>
                  <a:cubicBezTo>
                    <a:pt x="84963" y="429197"/>
                    <a:pt x="91916" y="442817"/>
                    <a:pt x="105823" y="452247"/>
                  </a:cubicBezTo>
                  <a:cubicBezTo>
                    <a:pt x="119729" y="461677"/>
                    <a:pt x="136779" y="466344"/>
                    <a:pt x="157067" y="466344"/>
                  </a:cubicBezTo>
                  <a:cubicBezTo>
                    <a:pt x="171164" y="466344"/>
                    <a:pt x="184309" y="464439"/>
                    <a:pt x="196310" y="460724"/>
                  </a:cubicBezTo>
                  <a:cubicBezTo>
                    <a:pt x="208312" y="456914"/>
                    <a:pt x="218789" y="451676"/>
                    <a:pt x="227743" y="444818"/>
                  </a:cubicBezTo>
                  <a:cubicBezTo>
                    <a:pt x="236696" y="437960"/>
                    <a:pt x="243650" y="429768"/>
                    <a:pt x="248603" y="420053"/>
                  </a:cubicBezTo>
                  <a:cubicBezTo>
                    <a:pt x="253555" y="410432"/>
                    <a:pt x="256032" y="399669"/>
                    <a:pt x="256032" y="387858"/>
                  </a:cubicBezTo>
                  <a:lnTo>
                    <a:pt x="256032" y="366617"/>
                  </a:lnTo>
                  <a:close/>
                </a:path>
              </a:pathLst>
            </a:custGeom>
            <a:solidFill>
              <a:srgbClr val="44505E"/>
            </a:solidFill>
            <a:ln w="9525" cap="flat">
              <a:noFill/>
              <a:prstDash val="solid"/>
              <a:miter/>
            </a:ln>
          </p:spPr>
          <p:txBody>
            <a:bodyPr rtlCol="0" anchor="ctr"/>
            <a:lstStyle/>
            <a:p>
              <a:endParaRPr lang="pt-BR" noProof="0"/>
            </a:p>
          </p:txBody>
        </p:sp>
        <p:sp>
          <p:nvSpPr>
            <p:cNvPr id="31" name="Freeform: Shape 30">
              <a:extLst>
                <a:ext uri="{FF2B5EF4-FFF2-40B4-BE49-F238E27FC236}">
                  <a16:creationId xmlns:a16="http://schemas.microsoft.com/office/drawing/2014/main" id="{D26C4898-0419-F456-61D5-D0C7DF92200F}"/>
                </a:ext>
              </a:extLst>
            </p:cNvPr>
            <p:cNvSpPr/>
            <p:nvPr/>
          </p:nvSpPr>
          <p:spPr>
            <a:xfrm>
              <a:off x="6506477" y="699959"/>
              <a:ext cx="100038" cy="97908"/>
            </a:xfrm>
            <a:custGeom>
              <a:avLst/>
              <a:gdLst>
                <a:gd name="connsiteX0" fmla="*/ 197834 w 397954"/>
                <a:gd name="connsiteY0" fmla="*/ 389477 h 389477"/>
                <a:gd name="connsiteX1" fmla="*/ 119063 w 397954"/>
                <a:gd name="connsiteY1" fmla="*/ 374237 h 389477"/>
                <a:gd name="connsiteX2" fmla="*/ 56198 w 397954"/>
                <a:gd name="connsiteY2" fmla="*/ 332899 h 389477"/>
                <a:gd name="connsiteX3" fmla="*/ 14859 w 397954"/>
                <a:gd name="connsiteY3" fmla="*/ 271463 h 389477"/>
                <a:gd name="connsiteX4" fmla="*/ 0 w 397954"/>
                <a:gd name="connsiteY4" fmla="*/ 196501 h 389477"/>
                <a:gd name="connsiteX5" fmla="*/ 0 w 397954"/>
                <a:gd name="connsiteY5" fmla="*/ 195072 h 389477"/>
                <a:gd name="connsiteX6" fmla="*/ 15240 w 397954"/>
                <a:gd name="connsiteY6" fmla="*/ 119444 h 389477"/>
                <a:gd name="connsiteX7" fmla="*/ 56960 w 397954"/>
                <a:gd name="connsiteY7" fmla="*/ 57626 h 389477"/>
                <a:gd name="connsiteX8" fmla="*/ 119825 w 397954"/>
                <a:gd name="connsiteY8" fmla="*/ 15526 h 389477"/>
                <a:gd name="connsiteX9" fmla="*/ 199358 w 397954"/>
                <a:gd name="connsiteY9" fmla="*/ 0 h 389477"/>
                <a:gd name="connsiteX10" fmla="*/ 278892 w 397954"/>
                <a:gd name="connsiteY10" fmla="*/ 15240 h 389477"/>
                <a:gd name="connsiteX11" fmla="*/ 341757 w 397954"/>
                <a:gd name="connsiteY11" fmla="*/ 56959 h 389477"/>
                <a:gd name="connsiteX12" fmla="*/ 383096 w 397954"/>
                <a:gd name="connsiteY12" fmla="*/ 118396 h 389477"/>
                <a:gd name="connsiteX13" fmla="*/ 397955 w 397954"/>
                <a:gd name="connsiteY13" fmla="*/ 193643 h 389477"/>
                <a:gd name="connsiteX14" fmla="*/ 397955 w 397954"/>
                <a:gd name="connsiteY14" fmla="*/ 195072 h 389477"/>
                <a:gd name="connsiteX15" fmla="*/ 382714 w 397954"/>
                <a:gd name="connsiteY15" fmla="*/ 270034 h 389477"/>
                <a:gd name="connsiteX16" fmla="*/ 340995 w 397954"/>
                <a:gd name="connsiteY16" fmla="*/ 331851 h 389477"/>
                <a:gd name="connsiteX17" fmla="*/ 277749 w 397954"/>
                <a:gd name="connsiteY17" fmla="*/ 373856 h 389477"/>
                <a:gd name="connsiteX18" fmla="*/ 197834 w 397954"/>
                <a:gd name="connsiteY18" fmla="*/ 389382 h 389477"/>
                <a:gd name="connsiteX19" fmla="*/ 199263 w 397954"/>
                <a:gd name="connsiteY19" fmla="*/ 315278 h 389477"/>
                <a:gd name="connsiteX20" fmla="*/ 245936 w 397954"/>
                <a:gd name="connsiteY20" fmla="*/ 305753 h 389477"/>
                <a:gd name="connsiteX21" fmla="*/ 281369 w 397954"/>
                <a:gd name="connsiteY21" fmla="*/ 279940 h 389477"/>
                <a:gd name="connsiteX22" fmla="*/ 303848 w 397954"/>
                <a:gd name="connsiteY22" fmla="*/ 242125 h 389477"/>
                <a:gd name="connsiteX23" fmla="*/ 311563 w 397954"/>
                <a:gd name="connsiteY23" fmla="*/ 196501 h 389477"/>
                <a:gd name="connsiteX24" fmla="*/ 311563 w 397954"/>
                <a:gd name="connsiteY24" fmla="*/ 195072 h 389477"/>
                <a:gd name="connsiteX25" fmla="*/ 303181 w 397954"/>
                <a:gd name="connsiteY25" fmla="*/ 148400 h 389477"/>
                <a:gd name="connsiteX26" fmla="*/ 279654 w 397954"/>
                <a:gd name="connsiteY26" fmla="*/ 110204 h 389477"/>
                <a:gd name="connsiteX27" fmla="*/ 243840 w 397954"/>
                <a:gd name="connsiteY27" fmla="*/ 84392 h 389477"/>
                <a:gd name="connsiteX28" fmla="*/ 197834 w 397954"/>
                <a:gd name="connsiteY28" fmla="*/ 74867 h 389477"/>
                <a:gd name="connsiteX29" fmla="*/ 151829 w 397954"/>
                <a:gd name="connsiteY29" fmla="*/ 84392 h 389477"/>
                <a:gd name="connsiteX30" fmla="*/ 116396 w 397954"/>
                <a:gd name="connsiteY30" fmla="*/ 109823 h 389477"/>
                <a:gd name="connsiteX31" fmla="*/ 93916 w 397954"/>
                <a:gd name="connsiteY31" fmla="*/ 147638 h 389477"/>
                <a:gd name="connsiteX32" fmla="*/ 86201 w 397954"/>
                <a:gd name="connsiteY32" fmla="*/ 193548 h 389477"/>
                <a:gd name="connsiteX33" fmla="*/ 86201 w 397954"/>
                <a:gd name="connsiteY33" fmla="*/ 194977 h 389477"/>
                <a:gd name="connsiteX34" fmla="*/ 94583 w 397954"/>
                <a:gd name="connsiteY34" fmla="*/ 241268 h 389477"/>
                <a:gd name="connsiteX35" fmla="*/ 118110 w 397954"/>
                <a:gd name="connsiteY35" fmla="*/ 279463 h 389477"/>
                <a:gd name="connsiteX36" fmla="*/ 153924 w 397954"/>
                <a:gd name="connsiteY36" fmla="*/ 305562 h 389477"/>
                <a:gd name="connsiteX37" fmla="*/ 199263 w 397954"/>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954" h="389477">
                  <a:moveTo>
                    <a:pt x="197834" y="389477"/>
                  </a:moveTo>
                  <a:cubicBezTo>
                    <a:pt x="169545" y="389477"/>
                    <a:pt x="143351" y="384429"/>
                    <a:pt x="119063" y="374237"/>
                  </a:cubicBezTo>
                  <a:cubicBezTo>
                    <a:pt x="94774" y="364141"/>
                    <a:pt x="73819" y="350330"/>
                    <a:pt x="56198" y="332899"/>
                  </a:cubicBezTo>
                  <a:cubicBezTo>
                    <a:pt x="38576" y="315468"/>
                    <a:pt x="24765" y="294989"/>
                    <a:pt x="14859" y="271463"/>
                  </a:cubicBezTo>
                  <a:cubicBezTo>
                    <a:pt x="4953" y="247936"/>
                    <a:pt x="0" y="222980"/>
                    <a:pt x="0" y="196501"/>
                  </a:cubicBezTo>
                  <a:lnTo>
                    <a:pt x="0" y="195072"/>
                  </a:lnTo>
                  <a:cubicBezTo>
                    <a:pt x="0" y="168212"/>
                    <a:pt x="5049" y="143066"/>
                    <a:pt x="15240" y="119444"/>
                  </a:cubicBezTo>
                  <a:cubicBezTo>
                    <a:pt x="25337" y="95917"/>
                    <a:pt x="39243" y="75248"/>
                    <a:pt x="56960" y="57626"/>
                  </a:cubicBezTo>
                  <a:cubicBezTo>
                    <a:pt x="74676" y="39910"/>
                    <a:pt x="95631" y="25908"/>
                    <a:pt x="119825" y="15526"/>
                  </a:cubicBezTo>
                  <a:cubicBezTo>
                    <a:pt x="144113" y="5144"/>
                    <a:pt x="170593" y="0"/>
                    <a:pt x="199358" y="0"/>
                  </a:cubicBezTo>
                  <a:cubicBezTo>
                    <a:pt x="228124" y="0"/>
                    <a:pt x="254604" y="5048"/>
                    <a:pt x="278892" y="15240"/>
                  </a:cubicBezTo>
                  <a:cubicBezTo>
                    <a:pt x="303181" y="25337"/>
                    <a:pt x="324136" y="39243"/>
                    <a:pt x="341757" y="56959"/>
                  </a:cubicBezTo>
                  <a:cubicBezTo>
                    <a:pt x="359379" y="74676"/>
                    <a:pt x="373189" y="95155"/>
                    <a:pt x="383096" y="118396"/>
                  </a:cubicBezTo>
                  <a:cubicBezTo>
                    <a:pt x="393002" y="141732"/>
                    <a:pt x="397955" y="166783"/>
                    <a:pt x="397955" y="193643"/>
                  </a:cubicBezTo>
                  <a:lnTo>
                    <a:pt x="397955" y="195072"/>
                  </a:lnTo>
                  <a:cubicBezTo>
                    <a:pt x="397955" y="221456"/>
                    <a:pt x="392906" y="246412"/>
                    <a:pt x="382714" y="270034"/>
                  </a:cubicBezTo>
                  <a:cubicBezTo>
                    <a:pt x="372618" y="293561"/>
                    <a:pt x="358712" y="314230"/>
                    <a:pt x="340995" y="331851"/>
                  </a:cubicBezTo>
                  <a:cubicBezTo>
                    <a:pt x="323279" y="349472"/>
                    <a:pt x="302229" y="363569"/>
                    <a:pt x="277749" y="373856"/>
                  </a:cubicBezTo>
                  <a:cubicBezTo>
                    <a:pt x="253270" y="384238"/>
                    <a:pt x="226600" y="389382"/>
                    <a:pt x="197834" y="389382"/>
                  </a:cubicBezTo>
                  <a:close/>
                  <a:moveTo>
                    <a:pt x="199263" y="315278"/>
                  </a:moveTo>
                  <a:cubicBezTo>
                    <a:pt x="216598" y="315278"/>
                    <a:pt x="232124" y="312039"/>
                    <a:pt x="245936" y="305753"/>
                  </a:cubicBezTo>
                  <a:cubicBezTo>
                    <a:pt x="259747" y="299371"/>
                    <a:pt x="271558" y="290798"/>
                    <a:pt x="281369" y="279940"/>
                  </a:cubicBezTo>
                  <a:cubicBezTo>
                    <a:pt x="291179" y="269081"/>
                    <a:pt x="298704" y="256508"/>
                    <a:pt x="303848" y="242125"/>
                  </a:cubicBezTo>
                  <a:cubicBezTo>
                    <a:pt x="308991" y="227743"/>
                    <a:pt x="311563" y="212598"/>
                    <a:pt x="311563" y="196501"/>
                  </a:cubicBezTo>
                  <a:lnTo>
                    <a:pt x="311563" y="195072"/>
                  </a:lnTo>
                  <a:cubicBezTo>
                    <a:pt x="311563" y="178594"/>
                    <a:pt x="308706" y="163068"/>
                    <a:pt x="303181" y="148400"/>
                  </a:cubicBezTo>
                  <a:cubicBezTo>
                    <a:pt x="297561" y="133826"/>
                    <a:pt x="289750" y="121063"/>
                    <a:pt x="279654" y="110204"/>
                  </a:cubicBezTo>
                  <a:cubicBezTo>
                    <a:pt x="269557" y="99346"/>
                    <a:pt x="257651" y="90773"/>
                    <a:pt x="243840" y="84392"/>
                  </a:cubicBezTo>
                  <a:cubicBezTo>
                    <a:pt x="230029" y="78010"/>
                    <a:pt x="214694" y="74867"/>
                    <a:pt x="197834" y="74867"/>
                  </a:cubicBezTo>
                  <a:cubicBezTo>
                    <a:pt x="180975" y="74867"/>
                    <a:pt x="165640" y="78010"/>
                    <a:pt x="151829" y="84392"/>
                  </a:cubicBezTo>
                  <a:cubicBezTo>
                    <a:pt x="138017" y="90773"/>
                    <a:pt x="126206" y="99250"/>
                    <a:pt x="116396" y="109823"/>
                  </a:cubicBezTo>
                  <a:cubicBezTo>
                    <a:pt x="106585" y="120396"/>
                    <a:pt x="99060" y="133064"/>
                    <a:pt x="93916" y="147638"/>
                  </a:cubicBezTo>
                  <a:cubicBezTo>
                    <a:pt x="88773" y="162211"/>
                    <a:pt x="86201" y="177546"/>
                    <a:pt x="86201" y="193548"/>
                  </a:cubicBezTo>
                  <a:lnTo>
                    <a:pt x="86201" y="194977"/>
                  </a:lnTo>
                  <a:cubicBezTo>
                    <a:pt x="86201" y="211455"/>
                    <a:pt x="89059" y="226886"/>
                    <a:pt x="94583" y="241268"/>
                  </a:cubicBezTo>
                  <a:cubicBezTo>
                    <a:pt x="100203" y="255651"/>
                    <a:pt x="108014" y="268319"/>
                    <a:pt x="118110" y="279463"/>
                  </a:cubicBezTo>
                  <a:cubicBezTo>
                    <a:pt x="128207" y="290608"/>
                    <a:pt x="140113" y="299275"/>
                    <a:pt x="153924" y="305562"/>
                  </a:cubicBezTo>
                  <a:cubicBezTo>
                    <a:pt x="167735" y="311944"/>
                    <a:pt x="182785"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32" name="Freeform: Shape 31">
              <a:extLst>
                <a:ext uri="{FF2B5EF4-FFF2-40B4-BE49-F238E27FC236}">
                  <a16:creationId xmlns:a16="http://schemas.microsoft.com/office/drawing/2014/main" id="{3E9845B7-F4E0-6E0F-19F9-1353ECF8CCAA}"/>
                </a:ext>
              </a:extLst>
            </p:cNvPr>
            <p:cNvSpPr/>
            <p:nvPr/>
          </p:nvSpPr>
          <p:spPr>
            <a:xfrm>
              <a:off x="662071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1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7 w 296894"/>
                <a:gd name="connsiteY23" fmla="*/ 42863 h 386714"/>
                <a:gd name="connsiteX24" fmla="*/ 254318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7 w 296894"/>
                <a:gd name="connsiteY30" fmla="*/ 124587 h 386714"/>
                <a:gd name="connsiteX31" fmla="*/ 122682 w 296894"/>
                <a:gd name="connsiteY31" fmla="*/ 138017 h 386714"/>
                <a:gd name="connsiteX32" fmla="*/ 149543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6" y="348901"/>
                    <a:pt x="0" y="330327"/>
                  </a:cubicBezTo>
                  <a:lnTo>
                    <a:pt x="38195" y="272224"/>
                  </a:lnTo>
                  <a:cubicBezTo>
                    <a:pt x="58484" y="287274"/>
                    <a:pt x="79057" y="298704"/>
                    <a:pt x="100013" y="306514"/>
                  </a:cubicBezTo>
                  <a:cubicBezTo>
                    <a:pt x="120968" y="314325"/>
                    <a:pt x="141161" y="318135"/>
                    <a:pt x="160401" y="318135"/>
                  </a:cubicBezTo>
                  <a:cubicBezTo>
                    <a:pt x="179641" y="318135"/>
                    <a:pt x="192977"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1" y="241078"/>
                    <a:pt x="176498" y="237553"/>
                    <a:pt x="166401"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2" y="40195"/>
                    <a:pt x="56864" y="30385"/>
                  </a:cubicBezTo>
                  <a:cubicBezTo>
                    <a:pt x="68866" y="20479"/>
                    <a:pt x="82962" y="12954"/>
                    <a:pt x="99250" y="7810"/>
                  </a:cubicBezTo>
                  <a:cubicBezTo>
                    <a:pt x="115538" y="2667"/>
                    <a:pt x="132779" y="0"/>
                    <a:pt x="151162" y="0"/>
                  </a:cubicBezTo>
                  <a:cubicBezTo>
                    <a:pt x="174688" y="0"/>
                    <a:pt x="198501" y="3810"/>
                    <a:pt x="222504" y="11430"/>
                  </a:cubicBezTo>
                  <a:cubicBezTo>
                    <a:pt x="246507" y="19050"/>
                    <a:pt x="268414" y="29527"/>
                    <a:pt x="288227" y="42863"/>
                  </a:cubicBezTo>
                  <a:lnTo>
                    <a:pt x="254318"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7" y="124587"/>
                  </a:cubicBezTo>
                  <a:cubicBezTo>
                    <a:pt x="108585" y="129540"/>
                    <a:pt x="114871" y="134017"/>
                    <a:pt x="122682" y="138017"/>
                  </a:cubicBezTo>
                  <a:cubicBezTo>
                    <a:pt x="130493" y="142018"/>
                    <a:pt x="139351" y="145732"/>
                    <a:pt x="149543"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696"/>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33" name="Freeform: Shape 32">
              <a:extLst>
                <a:ext uri="{FF2B5EF4-FFF2-40B4-BE49-F238E27FC236}">
                  <a16:creationId xmlns:a16="http://schemas.microsoft.com/office/drawing/2014/main" id="{37A7EC33-63F4-2147-A760-DE3D338DCD2D}"/>
                </a:ext>
              </a:extLst>
            </p:cNvPr>
            <p:cNvSpPr/>
            <p:nvPr/>
          </p:nvSpPr>
          <p:spPr>
            <a:xfrm>
              <a:off x="526693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4 w 202977"/>
                <a:gd name="connsiteY17" fmla="*/ 19907 h 239267"/>
                <a:gd name="connsiteX18" fmla="*/ 59246 w 202977"/>
                <a:gd name="connsiteY18" fmla="*/ 5429 h 239267"/>
                <a:gd name="connsiteX19" fmla="*/ 104299 w 202977"/>
                <a:gd name="connsiteY19" fmla="*/ 0 h 239267"/>
                <a:gd name="connsiteX20" fmla="*/ 178880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5 w 202977"/>
                <a:gd name="connsiteY27" fmla="*/ 211169 h 239267"/>
                <a:gd name="connsiteX28" fmla="*/ 122968 w 202977"/>
                <a:gd name="connsiteY28" fmla="*/ 206788 h 239267"/>
                <a:gd name="connsiteX29" fmla="*/ 147257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9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9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3" y="99155"/>
                    <a:pt x="58674" y="95917"/>
                  </a:cubicBezTo>
                  <a:cubicBezTo>
                    <a:pt x="70771" y="92678"/>
                    <a:pt x="84011" y="90964"/>
                    <a:pt x="98584" y="90964"/>
                  </a:cubicBezTo>
                  <a:cubicBezTo>
                    <a:pt x="113157" y="90964"/>
                    <a:pt x="126301" y="91821"/>
                    <a:pt x="137160" y="93631"/>
                  </a:cubicBezTo>
                  <a:cubicBezTo>
                    <a:pt x="148019" y="95440"/>
                    <a:pt x="158687" y="97822"/>
                    <a:pt x="169069" y="100774"/>
                  </a:cubicBezTo>
                  <a:lnTo>
                    <a:pt x="169069" y="93726"/>
                  </a:lnTo>
                  <a:cubicBezTo>
                    <a:pt x="169069" y="73342"/>
                    <a:pt x="163068" y="57912"/>
                    <a:pt x="151162" y="47339"/>
                  </a:cubicBezTo>
                  <a:cubicBezTo>
                    <a:pt x="139256" y="36862"/>
                    <a:pt x="122492" y="31623"/>
                    <a:pt x="100679" y="31623"/>
                  </a:cubicBezTo>
                  <a:cubicBezTo>
                    <a:pt x="86963" y="31623"/>
                    <a:pt x="74581" y="33147"/>
                    <a:pt x="63437" y="36100"/>
                  </a:cubicBezTo>
                  <a:cubicBezTo>
                    <a:pt x="52292" y="39053"/>
                    <a:pt x="41339" y="43053"/>
                    <a:pt x="30671" y="48196"/>
                  </a:cubicBezTo>
                  <a:lnTo>
                    <a:pt x="20384" y="19907"/>
                  </a:lnTo>
                  <a:cubicBezTo>
                    <a:pt x="33147" y="13906"/>
                    <a:pt x="46101" y="9049"/>
                    <a:pt x="59246" y="5429"/>
                  </a:cubicBezTo>
                  <a:cubicBezTo>
                    <a:pt x="72295" y="1810"/>
                    <a:pt x="87344" y="0"/>
                    <a:pt x="104299" y="0"/>
                  </a:cubicBezTo>
                  <a:cubicBezTo>
                    <a:pt x="137065" y="0"/>
                    <a:pt x="161925" y="8477"/>
                    <a:pt x="178880"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99" y="239173"/>
                    <a:pt x="86011" y="239173"/>
                  </a:cubicBezTo>
                  <a:close/>
                  <a:moveTo>
                    <a:pt x="93155" y="211169"/>
                  </a:moveTo>
                  <a:cubicBezTo>
                    <a:pt x="103823" y="211169"/>
                    <a:pt x="113728" y="209740"/>
                    <a:pt x="122968" y="206788"/>
                  </a:cubicBezTo>
                  <a:cubicBezTo>
                    <a:pt x="132207" y="203835"/>
                    <a:pt x="140208" y="199644"/>
                    <a:pt x="147257"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9" y="121444"/>
                  </a:cubicBezTo>
                  <a:cubicBezTo>
                    <a:pt x="129445" y="119348"/>
                    <a:pt x="116776"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244" y="190500"/>
                    <a:pt x="47435" y="195358"/>
                    <a:pt x="52769" y="199263"/>
                  </a:cubicBezTo>
                  <a:cubicBezTo>
                    <a:pt x="58103" y="203073"/>
                    <a:pt x="64294" y="206026"/>
                    <a:pt x="71247" y="208121"/>
                  </a:cubicBezTo>
                  <a:cubicBezTo>
                    <a:pt x="78200" y="210217"/>
                    <a:pt x="85535"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34" name="Freeform: Shape 33">
              <a:extLst>
                <a:ext uri="{FF2B5EF4-FFF2-40B4-BE49-F238E27FC236}">
                  <a16:creationId xmlns:a16="http://schemas.microsoft.com/office/drawing/2014/main" id="{7C8C2520-5A36-D5A5-FC53-2E76BC4F3186}"/>
                </a:ext>
              </a:extLst>
            </p:cNvPr>
            <p:cNvSpPr/>
            <p:nvPr/>
          </p:nvSpPr>
          <p:spPr>
            <a:xfrm>
              <a:off x="5331227"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9" y="303276"/>
                    <a:pt x="71438" y="300895"/>
                  </a:cubicBezTo>
                  <a:cubicBezTo>
                    <a:pt x="63437"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2"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5" name="Freeform: Shape 34">
              <a:extLst>
                <a:ext uri="{FF2B5EF4-FFF2-40B4-BE49-F238E27FC236}">
                  <a16:creationId xmlns:a16="http://schemas.microsoft.com/office/drawing/2014/main" id="{15014C07-58A7-0C7F-2F16-38782D0FD281}"/>
                </a:ext>
              </a:extLst>
            </p:cNvPr>
            <p:cNvSpPr/>
            <p:nvPr/>
          </p:nvSpPr>
          <p:spPr>
            <a:xfrm>
              <a:off x="5381845"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191 w 39242"/>
                <a:gd name="connsiteY5" fmla="*/ 88392 h 319182"/>
                <a:gd name="connsiteX6" fmla="*/ 36576 w 39242"/>
                <a:gd name="connsiteY6" fmla="*/ 88392 h 319182"/>
                <a:gd name="connsiteX7" fmla="*/ 36576 w 39242"/>
                <a:gd name="connsiteY7" fmla="*/ 319183 h 319182"/>
                <a:gd name="connsiteX8" fmla="*/ 2191 w 39242"/>
                <a:gd name="connsiteY8" fmla="*/ 319183 h 319182"/>
                <a:gd name="connsiteX9" fmla="*/ 2191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191" y="88392"/>
                  </a:moveTo>
                  <a:lnTo>
                    <a:pt x="36576" y="88392"/>
                  </a:lnTo>
                  <a:lnTo>
                    <a:pt x="36576" y="319183"/>
                  </a:lnTo>
                  <a:lnTo>
                    <a:pt x="2191" y="319183"/>
                  </a:lnTo>
                  <a:lnTo>
                    <a:pt x="2191" y="88392"/>
                  </a:lnTo>
                  <a:close/>
                </a:path>
              </a:pathLst>
            </a:custGeom>
            <a:solidFill>
              <a:srgbClr val="44505E"/>
            </a:solidFill>
            <a:ln w="9525" cap="flat">
              <a:noFill/>
              <a:prstDash val="solid"/>
              <a:miter/>
            </a:ln>
          </p:spPr>
          <p:txBody>
            <a:bodyPr rtlCol="0" anchor="ctr"/>
            <a:lstStyle/>
            <a:p>
              <a:endParaRPr lang="pt-BR" noProof="0"/>
            </a:p>
          </p:txBody>
        </p:sp>
        <p:sp>
          <p:nvSpPr>
            <p:cNvPr id="36" name="Freeform: Shape 35">
              <a:extLst>
                <a:ext uri="{FF2B5EF4-FFF2-40B4-BE49-F238E27FC236}">
                  <a16:creationId xmlns:a16="http://schemas.microsoft.com/office/drawing/2014/main" id="{F564632B-F55C-531B-4BA9-B6F4A67A1565}"/>
                </a:ext>
              </a:extLst>
            </p:cNvPr>
            <p:cNvSpPr/>
            <p:nvPr/>
          </p:nvSpPr>
          <p:spPr>
            <a:xfrm>
              <a:off x="5406076"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8" y="303276"/>
                    <a:pt x="71438" y="300895"/>
                  </a:cubicBezTo>
                  <a:cubicBezTo>
                    <a:pt x="63436"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1"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7" name="Freeform: Shape 36">
              <a:extLst>
                <a:ext uri="{FF2B5EF4-FFF2-40B4-BE49-F238E27FC236}">
                  <a16:creationId xmlns:a16="http://schemas.microsoft.com/office/drawing/2014/main" id="{690613A3-990F-BEEA-7D00-A5D3E33D5951}"/>
                </a:ext>
              </a:extLst>
            </p:cNvPr>
            <p:cNvSpPr/>
            <p:nvPr/>
          </p:nvSpPr>
          <p:spPr>
            <a:xfrm>
              <a:off x="5455545" y="925297"/>
              <a:ext cx="50594" cy="59238"/>
            </a:xfrm>
            <a:custGeom>
              <a:avLst/>
              <a:gdLst>
                <a:gd name="connsiteX0" fmla="*/ 88392 w 201263"/>
                <a:gd name="connsiteY0" fmla="*/ 235648 h 235648"/>
                <a:gd name="connsiteX1" fmla="*/ 51149 w 201263"/>
                <a:gd name="connsiteY1" fmla="*/ 228981 h 235648"/>
                <a:gd name="connsiteX2" fmla="*/ 23431 w 201263"/>
                <a:gd name="connsiteY2" fmla="*/ 210026 h 235648"/>
                <a:gd name="connsiteX3" fmla="*/ 6001 w 201263"/>
                <a:gd name="connsiteY3" fmla="*/ 180784 h 235648"/>
                <a:gd name="connsiteX4" fmla="*/ 0 w 201263"/>
                <a:gd name="connsiteY4" fmla="*/ 143256 h 235648"/>
                <a:gd name="connsiteX5" fmla="*/ 0 w 201263"/>
                <a:gd name="connsiteY5" fmla="*/ 0 h 235648"/>
                <a:gd name="connsiteX6" fmla="*/ 34385 w 201263"/>
                <a:gd name="connsiteY6" fmla="*/ 0 h 235648"/>
                <a:gd name="connsiteX7" fmla="*/ 34385 w 201263"/>
                <a:gd name="connsiteY7" fmla="*/ 134493 h 235648"/>
                <a:gd name="connsiteX8" fmla="*/ 50864 w 201263"/>
                <a:gd name="connsiteY8" fmla="*/ 185261 h 235648"/>
                <a:gd name="connsiteX9" fmla="*/ 98203 w 201263"/>
                <a:gd name="connsiteY9" fmla="*/ 203930 h 235648"/>
                <a:gd name="connsiteX10" fmla="*/ 125635 w 201263"/>
                <a:gd name="connsiteY10" fmla="*/ 198787 h 235648"/>
                <a:gd name="connsiteX11" fmla="*/ 147542 w 201263"/>
                <a:gd name="connsiteY11" fmla="*/ 184118 h 235648"/>
                <a:gd name="connsiteX12" fmla="*/ 162020 w 201263"/>
                <a:gd name="connsiteY12" fmla="*/ 161163 h 235648"/>
                <a:gd name="connsiteX13" fmla="*/ 167354 w 201263"/>
                <a:gd name="connsiteY13" fmla="*/ 131826 h 235648"/>
                <a:gd name="connsiteX14" fmla="*/ 167354 w 201263"/>
                <a:gd name="connsiteY14" fmla="*/ 0 h 235648"/>
                <a:gd name="connsiteX15" fmla="*/ 201263 w 201263"/>
                <a:gd name="connsiteY15" fmla="*/ 0 h 235648"/>
                <a:gd name="connsiteX16" fmla="*/ 201263 w 201263"/>
                <a:gd name="connsiteY16" fmla="*/ 230791 h 235648"/>
                <a:gd name="connsiteX17" fmla="*/ 167354 w 201263"/>
                <a:gd name="connsiteY17" fmla="*/ 230791 h 235648"/>
                <a:gd name="connsiteX18" fmla="*/ 167354 w 201263"/>
                <a:gd name="connsiteY18" fmla="*/ 190595 h 235648"/>
                <a:gd name="connsiteX19" fmla="*/ 136969 w 201263"/>
                <a:gd name="connsiteY19" fmla="*/ 222504 h 235648"/>
                <a:gd name="connsiteX20" fmla="*/ 88297 w 201263"/>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263" h="235648">
                  <a:moveTo>
                    <a:pt x="88392" y="235648"/>
                  </a:moveTo>
                  <a:cubicBezTo>
                    <a:pt x="74390" y="235648"/>
                    <a:pt x="62008" y="233363"/>
                    <a:pt x="51149" y="228981"/>
                  </a:cubicBezTo>
                  <a:cubicBezTo>
                    <a:pt x="40291" y="224504"/>
                    <a:pt x="31052" y="218218"/>
                    <a:pt x="23431"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864" y="185261"/>
                  </a:cubicBezTo>
                  <a:cubicBezTo>
                    <a:pt x="61913" y="197739"/>
                    <a:pt x="77629" y="203930"/>
                    <a:pt x="98203" y="203930"/>
                  </a:cubicBezTo>
                  <a:cubicBezTo>
                    <a:pt x="108014" y="203930"/>
                    <a:pt x="117158" y="202216"/>
                    <a:pt x="125635" y="198787"/>
                  </a:cubicBezTo>
                  <a:cubicBezTo>
                    <a:pt x="134112" y="195358"/>
                    <a:pt x="141351" y="190500"/>
                    <a:pt x="147542" y="184118"/>
                  </a:cubicBezTo>
                  <a:cubicBezTo>
                    <a:pt x="153638" y="177736"/>
                    <a:pt x="158496" y="170116"/>
                    <a:pt x="162020" y="161163"/>
                  </a:cubicBezTo>
                  <a:cubicBezTo>
                    <a:pt x="165640" y="152305"/>
                    <a:pt x="167354" y="142494"/>
                    <a:pt x="167354" y="131826"/>
                  </a:cubicBezTo>
                  <a:lnTo>
                    <a:pt x="167354" y="0"/>
                  </a:lnTo>
                  <a:lnTo>
                    <a:pt x="201263" y="0"/>
                  </a:lnTo>
                  <a:lnTo>
                    <a:pt x="201263" y="230791"/>
                  </a:lnTo>
                  <a:lnTo>
                    <a:pt x="167354" y="230791"/>
                  </a:lnTo>
                  <a:lnTo>
                    <a:pt x="167354" y="190595"/>
                  </a:lnTo>
                  <a:cubicBezTo>
                    <a:pt x="159639" y="203073"/>
                    <a:pt x="149447" y="213741"/>
                    <a:pt x="136969" y="222504"/>
                  </a:cubicBezTo>
                  <a:cubicBezTo>
                    <a:pt x="124492" y="231267"/>
                    <a:pt x="108299" y="235648"/>
                    <a:pt x="88297" y="235648"/>
                  </a:cubicBezTo>
                  <a:close/>
                </a:path>
              </a:pathLst>
            </a:custGeom>
            <a:solidFill>
              <a:srgbClr val="44505E"/>
            </a:solidFill>
            <a:ln w="9525" cap="flat">
              <a:noFill/>
              <a:prstDash val="solid"/>
              <a:miter/>
            </a:ln>
          </p:spPr>
          <p:txBody>
            <a:bodyPr rtlCol="0" anchor="ctr"/>
            <a:lstStyle/>
            <a:p>
              <a:endParaRPr lang="pt-BR" noProof="0"/>
            </a:p>
          </p:txBody>
        </p:sp>
        <p:sp>
          <p:nvSpPr>
            <p:cNvPr id="38" name="Freeform: Shape 37">
              <a:extLst>
                <a:ext uri="{FF2B5EF4-FFF2-40B4-BE49-F238E27FC236}">
                  <a16:creationId xmlns:a16="http://schemas.microsoft.com/office/drawing/2014/main" id="{21046FFC-809A-A965-1F9E-F860DEA72F3E}"/>
                </a:ext>
              </a:extLst>
            </p:cNvPr>
            <p:cNvSpPr/>
            <p:nvPr/>
          </p:nvSpPr>
          <p:spPr>
            <a:xfrm>
              <a:off x="5522205" y="901353"/>
              <a:ext cx="58567" cy="83182"/>
            </a:xfrm>
            <a:custGeom>
              <a:avLst/>
              <a:gdLst>
                <a:gd name="connsiteX0" fmla="*/ 110204 w 232981"/>
                <a:gd name="connsiteY0" fmla="*/ 330898 h 330898"/>
                <a:gd name="connsiteX1" fmla="*/ 69628 w 232981"/>
                <a:gd name="connsiteY1" fmla="*/ 322897 h 330898"/>
                <a:gd name="connsiteX2" fmla="*/ 34385 w 232981"/>
                <a:gd name="connsiteY2" fmla="*/ 299466 h 330898"/>
                <a:gd name="connsiteX3" fmla="*/ 9334 w 232981"/>
                <a:gd name="connsiteY3" fmla="*/ 261938 h 330898"/>
                <a:gd name="connsiteX4" fmla="*/ 0 w 232981"/>
                <a:gd name="connsiteY4" fmla="*/ 211264 h 330898"/>
                <a:gd name="connsiteX5" fmla="*/ 0 w 232981"/>
                <a:gd name="connsiteY5" fmla="*/ 210407 h 330898"/>
                <a:gd name="connsiteX6" fmla="*/ 9334 w 232981"/>
                <a:gd name="connsiteY6" fmla="*/ 159925 h 330898"/>
                <a:gd name="connsiteX7" fmla="*/ 34385 w 232981"/>
                <a:gd name="connsiteY7" fmla="*/ 122206 h 330898"/>
                <a:gd name="connsiteX8" fmla="*/ 69628 w 232981"/>
                <a:gd name="connsiteY8" fmla="*/ 98488 h 330898"/>
                <a:gd name="connsiteX9" fmla="*/ 110204 w 232981"/>
                <a:gd name="connsiteY9" fmla="*/ 90202 h 330898"/>
                <a:gd name="connsiteX10" fmla="*/ 139636 w 232981"/>
                <a:gd name="connsiteY10" fmla="*/ 94202 h 330898"/>
                <a:gd name="connsiteX11" fmla="*/ 163735 w 232981"/>
                <a:gd name="connsiteY11" fmla="*/ 104870 h 330898"/>
                <a:gd name="connsiteX12" fmla="*/ 183166 w 232981"/>
                <a:gd name="connsiteY12" fmla="*/ 120491 h 330898"/>
                <a:gd name="connsiteX13" fmla="*/ 198596 w 232981"/>
                <a:gd name="connsiteY13" fmla="*/ 139255 h 330898"/>
                <a:gd name="connsiteX14" fmla="*/ 198596 w 232981"/>
                <a:gd name="connsiteY14" fmla="*/ 0 h 330898"/>
                <a:gd name="connsiteX15" fmla="*/ 232981 w 232981"/>
                <a:gd name="connsiteY15" fmla="*/ 0 h 330898"/>
                <a:gd name="connsiteX16" fmla="*/ 232981 w 232981"/>
                <a:gd name="connsiteY16" fmla="*/ 325850 h 330898"/>
                <a:gd name="connsiteX17" fmla="*/ 198596 w 232981"/>
                <a:gd name="connsiteY17" fmla="*/ 325850 h 330898"/>
                <a:gd name="connsiteX18" fmla="*/ 198596 w 232981"/>
                <a:gd name="connsiteY18" fmla="*/ 279463 h 330898"/>
                <a:gd name="connsiteX19" fmla="*/ 182785 w 232981"/>
                <a:gd name="connsiteY19" fmla="*/ 299085 h 330898"/>
                <a:gd name="connsiteX20" fmla="*/ 163354 w 232981"/>
                <a:gd name="connsiteY20" fmla="*/ 315658 h 330898"/>
                <a:gd name="connsiteX21" fmla="*/ 139446 w 232981"/>
                <a:gd name="connsiteY21" fmla="*/ 326803 h 330898"/>
                <a:gd name="connsiteX22" fmla="*/ 110204 w 232981"/>
                <a:gd name="connsiteY22" fmla="*/ 330803 h 330898"/>
                <a:gd name="connsiteX23" fmla="*/ 116491 w 232981"/>
                <a:gd name="connsiteY23" fmla="*/ 300133 h 330898"/>
                <a:gd name="connsiteX24" fmla="*/ 147542 w 232981"/>
                <a:gd name="connsiteY24" fmla="*/ 293656 h 330898"/>
                <a:gd name="connsiteX25" fmla="*/ 174307 w 232981"/>
                <a:gd name="connsiteY25" fmla="*/ 275368 h 330898"/>
                <a:gd name="connsiteX26" fmla="*/ 193072 w 232981"/>
                <a:gd name="connsiteY26" fmla="*/ 247269 h 330898"/>
                <a:gd name="connsiteX27" fmla="*/ 200025 w 232981"/>
                <a:gd name="connsiteY27" fmla="*/ 210883 h 330898"/>
                <a:gd name="connsiteX28" fmla="*/ 200025 w 232981"/>
                <a:gd name="connsiteY28" fmla="*/ 210026 h 330898"/>
                <a:gd name="connsiteX29" fmla="*/ 193072 w 232981"/>
                <a:gd name="connsiteY29" fmla="*/ 173641 h 330898"/>
                <a:gd name="connsiteX30" fmla="*/ 174307 w 232981"/>
                <a:gd name="connsiteY30" fmla="*/ 145732 h 330898"/>
                <a:gd name="connsiteX31" fmla="*/ 147542 w 232981"/>
                <a:gd name="connsiteY31" fmla="*/ 127635 h 330898"/>
                <a:gd name="connsiteX32" fmla="*/ 116491 w 232981"/>
                <a:gd name="connsiteY32" fmla="*/ 121158 h 330898"/>
                <a:gd name="connsiteX33" fmla="*/ 84772 w 232981"/>
                <a:gd name="connsiteY33" fmla="*/ 127159 h 330898"/>
                <a:gd name="connsiteX34" fmla="*/ 59150 w 232981"/>
                <a:gd name="connsiteY34" fmla="*/ 144589 h 330898"/>
                <a:gd name="connsiteX35" fmla="*/ 41719 w 232981"/>
                <a:gd name="connsiteY35" fmla="*/ 172498 h 330898"/>
                <a:gd name="connsiteX36" fmla="*/ 35242 w 232981"/>
                <a:gd name="connsiteY36" fmla="*/ 210026 h 330898"/>
                <a:gd name="connsiteX37" fmla="*/ 35242 w 232981"/>
                <a:gd name="connsiteY37" fmla="*/ 210883 h 330898"/>
                <a:gd name="connsiteX38" fmla="*/ 41719 w 232981"/>
                <a:gd name="connsiteY38" fmla="*/ 247936 h 330898"/>
                <a:gd name="connsiteX39" fmla="*/ 59341 w 232981"/>
                <a:gd name="connsiteY39" fmla="*/ 276034 h 330898"/>
                <a:gd name="connsiteX40" fmla="*/ 85249 w 232981"/>
                <a:gd name="connsiteY40" fmla="*/ 293941 h 330898"/>
                <a:gd name="connsiteX41" fmla="*/ 116491 w 23298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30898">
                  <a:moveTo>
                    <a:pt x="110204" y="330898"/>
                  </a:moveTo>
                  <a:cubicBezTo>
                    <a:pt x="96202" y="330898"/>
                    <a:pt x="82677" y="328231"/>
                    <a:pt x="69628" y="322897"/>
                  </a:cubicBezTo>
                  <a:cubicBezTo>
                    <a:pt x="56578" y="317563"/>
                    <a:pt x="44767" y="309753"/>
                    <a:pt x="34385" y="299466"/>
                  </a:cubicBezTo>
                  <a:cubicBezTo>
                    <a:pt x="24003" y="289179"/>
                    <a:pt x="15621" y="276701"/>
                    <a:pt x="9334" y="261938"/>
                  </a:cubicBezTo>
                  <a:cubicBezTo>
                    <a:pt x="3048" y="247174"/>
                    <a:pt x="0" y="230314"/>
                    <a:pt x="0" y="211264"/>
                  </a:cubicBezTo>
                  <a:lnTo>
                    <a:pt x="0" y="210407"/>
                  </a:lnTo>
                  <a:cubicBezTo>
                    <a:pt x="0" y="191643"/>
                    <a:pt x="3143" y="174879"/>
                    <a:pt x="9334" y="159925"/>
                  </a:cubicBezTo>
                  <a:cubicBezTo>
                    <a:pt x="15621" y="145066"/>
                    <a:pt x="23908" y="132493"/>
                    <a:pt x="34385" y="122206"/>
                  </a:cubicBezTo>
                  <a:cubicBezTo>
                    <a:pt x="44767" y="111919"/>
                    <a:pt x="56578" y="104013"/>
                    <a:pt x="69628" y="98488"/>
                  </a:cubicBezTo>
                  <a:cubicBezTo>
                    <a:pt x="82677" y="92964"/>
                    <a:pt x="96298" y="90202"/>
                    <a:pt x="110204" y="90202"/>
                  </a:cubicBezTo>
                  <a:cubicBezTo>
                    <a:pt x="120967" y="90202"/>
                    <a:pt x="130778" y="91535"/>
                    <a:pt x="139636" y="94202"/>
                  </a:cubicBezTo>
                  <a:cubicBezTo>
                    <a:pt x="148590" y="96869"/>
                    <a:pt x="156591" y="100489"/>
                    <a:pt x="163735" y="104870"/>
                  </a:cubicBezTo>
                  <a:cubicBezTo>
                    <a:pt x="170878" y="109347"/>
                    <a:pt x="177356" y="114586"/>
                    <a:pt x="183166" y="120491"/>
                  </a:cubicBezTo>
                  <a:cubicBezTo>
                    <a:pt x="188976" y="126492"/>
                    <a:pt x="194119" y="132683"/>
                    <a:pt x="198596" y="139255"/>
                  </a:cubicBezTo>
                  <a:lnTo>
                    <a:pt x="198596" y="0"/>
                  </a:lnTo>
                  <a:lnTo>
                    <a:pt x="232981" y="0"/>
                  </a:lnTo>
                  <a:lnTo>
                    <a:pt x="232981" y="325850"/>
                  </a:lnTo>
                  <a:lnTo>
                    <a:pt x="198596" y="325850"/>
                  </a:lnTo>
                  <a:lnTo>
                    <a:pt x="198596" y="279463"/>
                  </a:lnTo>
                  <a:cubicBezTo>
                    <a:pt x="193834" y="286321"/>
                    <a:pt x="188595" y="292894"/>
                    <a:pt x="182785" y="299085"/>
                  </a:cubicBezTo>
                  <a:cubicBezTo>
                    <a:pt x="176974" y="305371"/>
                    <a:pt x="170498" y="310896"/>
                    <a:pt x="163354" y="315658"/>
                  </a:cubicBezTo>
                  <a:cubicBezTo>
                    <a:pt x="156210" y="320421"/>
                    <a:pt x="148209" y="324136"/>
                    <a:pt x="139446" y="326803"/>
                  </a:cubicBezTo>
                  <a:cubicBezTo>
                    <a:pt x="130683" y="329470"/>
                    <a:pt x="120967" y="330803"/>
                    <a:pt x="110204" y="330803"/>
                  </a:cubicBezTo>
                  <a:close/>
                  <a:moveTo>
                    <a:pt x="116491" y="300133"/>
                  </a:moveTo>
                  <a:cubicBezTo>
                    <a:pt x="127159" y="300133"/>
                    <a:pt x="137541" y="297942"/>
                    <a:pt x="147542" y="293656"/>
                  </a:cubicBezTo>
                  <a:cubicBezTo>
                    <a:pt x="157544" y="289369"/>
                    <a:pt x="166402" y="283273"/>
                    <a:pt x="174307" y="275368"/>
                  </a:cubicBezTo>
                  <a:cubicBezTo>
                    <a:pt x="182213" y="267462"/>
                    <a:pt x="188404" y="258127"/>
                    <a:pt x="193072" y="247269"/>
                  </a:cubicBezTo>
                  <a:cubicBezTo>
                    <a:pt x="197644" y="236410"/>
                    <a:pt x="200025" y="224314"/>
                    <a:pt x="200025" y="210883"/>
                  </a:cubicBezTo>
                  <a:lnTo>
                    <a:pt x="200025" y="210026"/>
                  </a:lnTo>
                  <a:cubicBezTo>
                    <a:pt x="200025" y="196596"/>
                    <a:pt x="197739" y="184499"/>
                    <a:pt x="193072" y="173641"/>
                  </a:cubicBezTo>
                  <a:cubicBezTo>
                    <a:pt x="188500" y="162782"/>
                    <a:pt x="182213" y="153448"/>
                    <a:pt x="174307" y="145732"/>
                  </a:cubicBezTo>
                  <a:cubicBezTo>
                    <a:pt x="166402" y="138017"/>
                    <a:pt x="157448" y="132016"/>
                    <a:pt x="147542" y="127635"/>
                  </a:cubicBezTo>
                  <a:cubicBezTo>
                    <a:pt x="137541" y="123349"/>
                    <a:pt x="127254" y="121158"/>
                    <a:pt x="116491" y="121158"/>
                  </a:cubicBezTo>
                  <a:cubicBezTo>
                    <a:pt x="105156" y="121158"/>
                    <a:pt x="94583" y="123158"/>
                    <a:pt x="84772" y="127159"/>
                  </a:cubicBezTo>
                  <a:cubicBezTo>
                    <a:pt x="74962" y="131159"/>
                    <a:pt x="66389" y="136969"/>
                    <a:pt x="59150" y="144589"/>
                  </a:cubicBezTo>
                  <a:cubicBezTo>
                    <a:pt x="51816" y="152114"/>
                    <a:pt x="46101" y="161449"/>
                    <a:pt x="41719" y="172498"/>
                  </a:cubicBezTo>
                  <a:cubicBezTo>
                    <a:pt x="37433" y="183451"/>
                    <a:pt x="35242" y="196024"/>
                    <a:pt x="35242" y="210026"/>
                  </a:cubicBezTo>
                  <a:lnTo>
                    <a:pt x="35242" y="210883"/>
                  </a:lnTo>
                  <a:cubicBezTo>
                    <a:pt x="35242" y="224599"/>
                    <a:pt x="37433" y="236982"/>
                    <a:pt x="41719" y="247936"/>
                  </a:cubicBezTo>
                  <a:cubicBezTo>
                    <a:pt x="46006" y="258984"/>
                    <a:pt x="51911" y="268319"/>
                    <a:pt x="59341" y="276034"/>
                  </a:cubicBezTo>
                  <a:cubicBezTo>
                    <a:pt x="66770" y="283750"/>
                    <a:pt x="75438" y="289750"/>
                    <a:pt x="85249" y="293941"/>
                  </a:cubicBezTo>
                  <a:cubicBezTo>
                    <a:pt x="95059" y="298132"/>
                    <a:pt x="105442" y="300228"/>
                    <a:pt x="116491" y="300228"/>
                  </a:cubicBezTo>
                  <a:close/>
                </a:path>
              </a:pathLst>
            </a:custGeom>
            <a:solidFill>
              <a:srgbClr val="44505E"/>
            </a:solidFill>
            <a:ln w="9525" cap="flat">
              <a:noFill/>
              <a:prstDash val="solid"/>
              <a:miter/>
            </a:ln>
          </p:spPr>
          <p:txBody>
            <a:bodyPr rtlCol="0" anchor="ctr"/>
            <a:lstStyle/>
            <a:p>
              <a:endParaRPr lang="pt-BR" noProof="0"/>
            </a:p>
          </p:txBody>
        </p:sp>
        <p:sp>
          <p:nvSpPr>
            <p:cNvPr id="39" name="Freeform: Shape 38">
              <a:extLst>
                <a:ext uri="{FF2B5EF4-FFF2-40B4-BE49-F238E27FC236}">
                  <a16:creationId xmlns:a16="http://schemas.microsoft.com/office/drawing/2014/main" id="{DE2D373D-04BF-5E3A-1710-A915CF711404}"/>
                </a:ext>
              </a:extLst>
            </p:cNvPr>
            <p:cNvSpPr/>
            <p:nvPr/>
          </p:nvSpPr>
          <p:spPr>
            <a:xfrm>
              <a:off x="5596504"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6963 w 218217"/>
                <a:gd name="connsiteY3" fmla="*/ 206026 h 241077"/>
                <a:gd name="connsiteX4" fmla="*/ 116015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8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1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452 w 218217"/>
                <a:gd name="connsiteY25" fmla="*/ 106299 h 241077"/>
                <a:gd name="connsiteX26" fmla="*/ 176784 w 218217"/>
                <a:gd name="connsiteY26" fmla="*/ 76771 h 241077"/>
                <a:gd name="connsiteX27" fmla="*/ 162306 w 218217"/>
                <a:gd name="connsiteY27" fmla="*/ 52101 h 241077"/>
                <a:gd name="connsiteX28" fmla="*/ 140018 w 218217"/>
                <a:gd name="connsiteY28" fmla="*/ 35242 h 241077"/>
                <a:gd name="connsiteX29" fmla="*/ 109919 w 218217"/>
                <a:gd name="connsiteY29" fmla="*/ 29051 h 241077"/>
                <a:gd name="connsiteX30" fmla="*/ 82201 w 218217"/>
                <a:gd name="connsiteY30" fmla="*/ 34766 h 241077"/>
                <a:gd name="connsiteX31" fmla="*/ 59436 w 218217"/>
                <a:gd name="connsiteY31" fmla="*/ 50959 h 241077"/>
                <a:gd name="connsiteX32" fmla="*/ 43148 w 218217"/>
                <a:gd name="connsiteY32" fmla="*/ 75628 h 241077"/>
                <a:gd name="connsiteX33" fmla="*/ 34862 w 218217"/>
                <a:gd name="connsiteY33" fmla="*/ 106204 h 241077"/>
                <a:gd name="connsiteX34" fmla="*/ 183547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724" y="202597"/>
                    <a:pt x="86963" y="206026"/>
                  </a:cubicBezTo>
                  <a:cubicBezTo>
                    <a:pt x="96203" y="209455"/>
                    <a:pt x="105823" y="211169"/>
                    <a:pt x="116015" y="211169"/>
                  </a:cubicBezTo>
                  <a:cubicBezTo>
                    <a:pt x="132112" y="211169"/>
                    <a:pt x="145828" y="208216"/>
                    <a:pt x="157353" y="202216"/>
                  </a:cubicBezTo>
                  <a:cubicBezTo>
                    <a:pt x="168783" y="196310"/>
                    <a:pt x="179261" y="188404"/>
                    <a:pt x="188786" y="178594"/>
                  </a:cubicBezTo>
                  <a:lnTo>
                    <a:pt x="210217" y="197834"/>
                  </a:lnTo>
                  <a:cubicBezTo>
                    <a:pt x="198596" y="210979"/>
                    <a:pt x="185357" y="221361"/>
                    <a:pt x="170498" y="229267"/>
                  </a:cubicBezTo>
                  <a:cubicBezTo>
                    <a:pt x="155639"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679" y="0"/>
                    <a:pt x="110681"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452" y="106299"/>
                  </a:moveTo>
                  <a:cubicBezTo>
                    <a:pt x="182594" y="95917"/>
                    <a:pt x="180308" y="86106"/>
                    <a:pt x="176784" y="76771"/>
                  </a:cubicBezTo>
                  <a:cubicBezTo>
                    <a:pt x="173165" y="67437"/>
                    <a:pt x="168402" y="59245"/>
                    <a:pt x="162306" y="52101"/>
                  </a:cubicBezTo>
                  <a:cubicBezTo>
                    <a:pt x="156210" y="44958"/>
                    <a:pt x="148781" y="39338"/>
                    <a:pt x="140018" y="35242"/>
                  </a:cubicBezTo>
                  <a:cubicBezTo>
                    <a:pt x="131254" y="31147"/>
                    <a:pt x="121158" y="29051"/>
                    <a:pt x="109919" y="29051"/>
                  </a:cubicBezTo>
                  <a:cubicBezTo>
                    <a:pt x="100108" y="29051"/>
                    <a:pt x="90869" y="30956"/>
                    <a:pt x="82201" y="34766"/>
                  </a:cubicBezTo>
                  <a:cubicBezTo>
                    <a:pt x="73533" y="38671"/>
                    <a:pt x="66008" y="44005"/>
                    <a:pt x="59436" y="50959"/>
                  </a:cubicBezTo>
                  <a:cubicBezTo>
                    <a:pt x="52864" y="57912"/>
                    <a:pt x="47435" y="66103"/>
                    <a:pt x="43148" y="75628"/>
                  </a:cubicBezTo>
                  <a:cubicBezTo>
                    <a:pt x="38862" y="85058"/>
                    <a:pt x="36100" y="95345"/>
                    <a:pt x="34862" y="106204"/>
                  </a:cubicBezTo>
                  <a:lnTo>
                    <a:pt x="183547" y="106204"/>
                  </a:lnTo>
                  <a:close/>
                </a:path>
              </a:pathLst>
            </a:custGeom>
            <a:solidFill>
              <a:srgbClr val="44505E"/>
            </a:solidFill>
            <a:ln w="9525" cap="flat">
              <a:noFill/>
              <a:prstDash val="solid"/>
              <a:miter/>
            </a:ln>
          </p:spPr>
          <p:txBody>
            <a:bodyPr rtlCol="0" anchor="ctr"/>
            <a:lstStyle/>
            <a:p>
              <a:endParaRPr lang="pt-BR" noProof="0"/>
            </a:p>
          </p:txBody>
        </p:sp>
        <p:sp>
          <p:nvSpPr>
            <p:cNvPr id="40" name="Freeform: Shape 39">
              <a:extLst>
                <a:ext uri="{FF2B5EF4-FFF2-40B4-BE49-F238E27FC236}">
                  <a16:creationId xmlns:a16="http://schemas.microsoft.com/office/drawing/2014/main" id="{3039943F-1D34-C621-DFBC-19103841D9A0}"/>
                </a:ext>
              </a:extLst>
            </p:cNvPr>
            <p:cNvSpPr/>
            <p:nvPr/>
          </p:nvSpPr>
          <p:spPr>
            <a:xfrm>
              <a:off x="5661680" y="924268"/>
              <a:ext cx="44656" cy="60195"/>
            </a:xfrm>
            <a:custGeom>
              <a:avLst/>
              <a:gdLst>
                <a:gd name="connsiteX0" fmla="*/ 95536 w 177641"/>
                <a:gd name="connsiteY0" fmla="*/ 239268 h 239458"/>
                <a:gd name="connsiteX1" fmla="*/ 45053 w 177641"/>
                <a:gd name="connsiteY1" fmla="*/ 230124 h 239458"/>
                <a:gd name="connsiteX2" fmla="*/ 0 w 177641"/>
                <a:gd name="connsiteY2" fmla="*/ 205359 h 239458"/>
                <a:gd name="connsiteX3" fmla="*/ 17431 w 177641"/>
                <a:gd name="connsiteY3" fmla="*/ 180785 h 239458"/>
                <a:gd name="connsiteX4" fmla="*/ 56483 w 177641"/>
                <a:gd name="connsiteY4" fmla="*/ 202692 h 239458"/>
                <a:gd name="connsiteX5" fmla="*/ 97346 w 177641"/>
                <a:gd name="connsiteY5" fmla="*/ 210217 h 239458"/>
                <a:gd name="connsiteX6" fmla="*/ 131731 w 177641"/>
                <a:gd name="connsiteY6" fmla="*/ 200406 h 239458"/>
                <a:gd name="connsiteX7" fmla="*/ 145161 w 177641"/>
                <a:gd name="connsiteY7" fmla="*/ 173641 h 239458"/>
                <a:gd name="connsiteX8" fmla="*/ 145161 w 177641"/>
                <a:gd name="connsiteY8" fmla="*/ 172784 h 239458"/>
                <a:gd name="connsiteX9" fmla="*/ 140494 w 177641"/>
                <a:gd name="connsiteY9" fmla="*/ 158020 h 239458"/>
                <a:gd name="connsiteX10" fmla="*/ 127730 w 177641"/>
                <a:gd name="connsiteY10" fmla="*/ 147066 h 239458"/>
                <a:gd name="connsiteX11" fmla="*/ 109157 w 177641"/>
                <a:gd name="connsiteY11" fmla="*/ 138779 h 239458"/>
                <a:gd name="connsiteX12" fmla="*/ 87535 w 177641"/>
                <a:gd name="connsiteY12" fmla="*/ 132112 h 239458"/>
                <a:gd name="connsiteX13" fmla="*/ 60484 w 177641"/>
                <a:gd name="connsiteY13" fmla="*/ 123444 h 239458"/>
                <a:gd name="connsiteX14" fmla="*/ 35909 w 177641"/>
                <a:gd name="connsiteY14" fmla="*/ 111633 h 239458"/>
                <a:gd name="connsiteX15" fmla="*/ 18098 w 177641"/>
                <a:gd name="connsiteY15" fmla="*/ 93726 h 239458"/>
                <a:gd name="connsiteX16" fmla="*/ 11144 w 177641"/>
                <a:gd name="connsiteY16" fmla="*/ 66961 h 239458"/>
                <a:gd name="connsiteX17" fmla="*/ 11144 w 177641"/>
                <a:gd name="connsiteY17" fmla="*/ 66008 h 239458"/>
                <a:gd name="connsiteX18" fmla="*/ 16954 w 177641"/>
                <a:gd name="connsiteY18" fmla="*/ 39053 h 239458"/>
                <a:gd name="connsiteX19" fmla="*/ 33242 w 177641"/>
                <a:gd name="connsiteY19" fmla="*/ 18098 h 239458"/>
                <a:gd name="connsiteX20" fmla="*/ 58293 w 177641"/>
                <a:gd name="connsiteY20" fmla="*/ 4667 h 239458"/>
                <a:gd name="connsiteX21" fmla="*/ 89725 w 177641"/>
                <a:gd name="connsiteY21" fmla="*/ 0 h 239458"/>
                <a:gd name="connsiteX22" fmla="*/ 133064 w 177641"/>
                <a:gd name="connsiteY22" fmla="*/ 6953 h 239458"/>
                <a:gd name="connsiteX23" fmla="*/ 172784 w 177641"/>
                <a:gd name="connsiteY23" fmla="*/ 25527 h 239458"/>
                <a:gd name="connsiteX24" fmla="*/ 157163 w 177641"/>
                <a:gd name="connsiteY24" fmla="*/ 51435 h 239458"/>
                <a:gd name="connsiteX25" fmla="*/ 123444 w 177641"/>
                <a:gd name="connsiteY25" fmla="*/ 35147 h 239458"/>
                <a:gd name="connsiteX26" fmla="*/ 88868 w 177641"/>
                <a:gd name="connsiteY26" fmla="*/ 29146 h 239458"/>
                <a:gd name="connsiteX27" fmla="*/ 56293 w 177641"/>
                <a:gd name="connsiteY27" fmla="*/ 38767 h 239458"/>
                <a:gd name="connsiteX28" fmla="*/ 44196 w 177641"/>
                <a:gd name="connsiteY28" fmla="*/ 62675 h 239458"/>
                <a:gd name="connsiteX29" fmla="*/ 44196 w 177641"/>
                <a:gd name="connsiteY29" fmla="*/ 63627 h 239458"/>
                <a:gd name="connsiteX30" fmla="*/ 49149 w 177641"/>
                <a:gd name="connsiteY30" fmla="*/ 77724 h 239458"/>
                <a:gd name="connsiteX31" fmla="*/ 62294 w 177641"/>
                <a:gd name="connsiteY31" fmla="*/ 88202 h 239458"/>
                <a:gd name="connsiteX32" fmla="*/ 81248 w 177641"/>
                <a:gd name="connsiteY32" fmla="*/ 96203 h 239458"/>
                <a:gd name="connsiteX33" fmla="*/ 103537 w 177641"/>
                <a:gd name="connsiteY33" fmla="*/ 103346 h 239458"/>
                <a:gd name="connsiteX34" fmla="*/ 130112 w 177641"/>
                <a:gd name="connsiteY34" fmla="*/ 112300 h 239458"/>
                <a:gd name="connsiteX35" fmla="*/ 154019 w 177641"/>
                <a:gd name="connsiteY35" fmla="*/ 124778 h 239458"/>
                <a:gd name="connsiteX36" fmla="*/ 171164 w 177641"/>
                <a:gd name="connsiteY36" fmla="*/ 143066 h 239458"/>
                <a:gd name="connsiteX37" fmla="*/ 177641 w 177641"/>
                <a:gd name="connsiteY37" fmla="*/ 169450 h 239458"/>
                <a:gd name="connsiteX38" fmla="*/ 177641 w 177641"/>
                <a:gd name="connsiteY38" fmla="*/ 170307 h 239458"/>
                <a:gd name="connsiteX39" fmla="*/ 171164 w 177641"/>
                <a:gd name="connsiteY39" fmla="*/ 199549 h 239458"/>
                <a:gd name="connsiteX40" fmla="*/ 153734 w 177641"/>
                <a:gd name="connsiteY40" fmla="*/ 221171 h 239458"/>
                <a:gd name="connsiteX41" fmla="*/ 127825 w 177641"/>
                <a:gd name="connsiteY41" fmla="*/ 234791 h 239458"/>
                <a:gd name="connsiteX42" fmla="*/ 95441 w 177641"/>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641" h="239458">
                  <a:moveTo>
                    <a:pt x="95536" y="239268"/>
                  </a:moveTo>
                  <a:cubicBezTo>
                    <a:pt x="78867" y="239268"/>
                    <a:pt x="62008" y="236220"/>
                    <a:pt x="45053" y="230124"/>
                  </a:cubicBezTo>
                  <a:cubicBezTo>
                    <a:pt x="28099" y="224028"/>
                    <a:pt x="13049" y="215741"/>
                    <a:pt x="0" y="205359"/>
                  </a:cubicBezTo>
                  <a:lnTo>
                    <a:pt x="17431" y="180785"/>
                  </a:lnTo>
                  <a:cubicBezTo>
                    <a:pt x="29908"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542" y="162211"/>
                    <a:pt x="140494" y="158020"/>
                  </a:cubicBezTo>
                  <a:cubicBezTo>
                    <a:pt x="137350" y="153829"/>
                    <a:pt x="133160" y="150209"/>
                    <a:pt x="127730" y="147066"/>
                  </a:cubicBezTo>
                  <a:cubicBezTo>
                    <a:pt x="122396" y="143923"/>
                    <a:pt x="116205" y="141161"/>
                    <a:pt x="109157" y="138779"/>
                  </a:cubicBezTo>
                  <a:cubicBezTo>
                    <a:pt x="102203" y="136398"/>
                    <a:pt x="94964" y="134207"/>
                    <a:pt x="87535" y="132112"/>
                  </a:cubicBezTo>
                  <a:cubicBezTo>
                    <a:pt x="78581" y="129445"/>
                    <a:pt x="69628" y="126492"/>
                    <a:pt x="60484" y="123444"/>
                  </a:cubicBezTo>
                  <a:cubicBezTo>
                    <a:pt x="51435" y="120301"/>
                    <a:pt x="43244" y="116396"/>
                    <a:pt x="35909" y="111633"/>
                  </a:cubicBezTo>
                  <a:cubicBezTo>
                    <a:pt x="28575" y="106871"/>
                    <a:pt x="22670" y="100870"/>
                    <a:pt x="18098" y="93726"/>
                  </a:cubicBezTo>
                  <a:cubicBezTo>
                    <a:pt x="13525" y="86582"/>
                    <a:pt x="11144" y="77629"/>
                    <a:pt x="11144" y="66961"/>
                  </a:cubicBezTo>
                  <a:lnTo>
                    <a:pt x="11144" y="66008"/>
                  </a:lnTo>
                  <a:cubicBezTo>
                    <a:pt x="11144" y="56198"/>
                    <a:pt x="13049" y="47149"/>
                    <a:pt x="16954" y="39053"/>
                  </a:cubicBezTo>
                  <a:cubicBezTo>
                    <a:pt x="20860" y="30861"/>
                    <a:pt x="26289" y="23908"/>
                    <a:pt x="33242" y="18098"/>
                  </a:cubicBezTo>
                  <a:cubicBezTo>
                    <a:pt x="40196" y="12287"/>
                    <a:pt x="48578" y="7811"/>
                    <a:pt x="58293" y="4667"/>
                  </a:cubicBezTo>
                  <a:cubicBezTo>
                    <a:pt x="67913" y="1524"/>
                    <a:pt x="78486" y="0"/>
                    <a:pt x="89725" y="0"/>
                  </a:cubicBezTo>
                  <a:cubicBezTo>
                    <a:pt x="104013" y="0"/>
                    <a:pt x="118396" y="2286"/>
                    <a:pt x="133064" y="6953"/>
                  </a:cubicBezTo>
                  <a:cubicBezTo>
                    <a:pt x="147638" y="11621"/>
                    <a:pt x="160877" y="17717"/>
                    <a:pt x="172784" y="25527"/>
                  </a:cubicBezTo>
                  <a:lnTo>
                    <a:pt x="157163" y="51435"/>
                  </a:lnTo>
                  <a:cubicBezTo>
                    <a:pt x="146399" y="44577"/>
                    <a:pt x="135255" y="39148"/>
                    <a:pt x="123444" y="35147"/>
                  </a:cubicBezTo>
                  <a:cubicBezTo>
                    <a:pt x="111728" y="31147"/>
                    <a:pt x="100203" y="29146"/>
                    <a:pt x="88868" y="29146"/>
                  </a:cubicBezTo>
                  <a:cubicBezTo>
                    <a:pt x="75152" y="29146"/>
                    <a:pt x="64294" y="32385"/>
                    <a:pt x="56293" y="38767"/>
                  </a:cubicBezTo>
                  <a:cubicBezTo>
                    <a:pt x="48292" y="45149"/>
                    <a:pt x="44196" y="53150"/>
                    <a:pt x="44196" y="62675"/>
                  </a:cubicBezTo>
                  <a:lnTo>
                    <a:pt x="44196" y="63627"/>
                  </a:lnTo>
                  <a:cubicBezTo>
                    <a:pt x="44196" y="68961"/>
                    <a:pt x="45815" y="73628"/>
                    <a:pt x="49149" y="77724"/>
                  </a:cubicBezTo>
                  <a:cubicBezTo>
                    <a:pt x="52388" y="81725"/>
                    <a:pt x="56769" y="85249"/>
                    <a:pt x="62294" y="88202"/>
                  </a:cubicBezTo>
                  <a:cubicBezTo>
                    <a:pt x="67818" y="91154"/>
                    <a:pt x="74104" y="93821"/>
                    <a:pt x="81248" y="96203"/>
                  </a:cubicBezTo>
                  <a:cubicBezTo>
                    <a:pt x="88392" y="98584"/>
                    <a:pt x="95821" y="100965"/>
                    <a:pt x="103537" y="103346"/>
                  </a:cubicBezTo>
                  <a:cubicBezTo>
                    <a:pt x="112490" y="106013"/>
                    <a:pt x="121349" y="108966"/>
                    <a:pt x="130112" y="112300"/>
                  </a:cubicBezTo>
                  <a:cubicBezTo>
                    <a:pt x="138875" y="115538"/>
                    <a:pt x="146875" y="119729"/>
                    <a:pt x="154019" y="124778"/>
                  </a:cubicBezTo>
                  <a:cubicBezTo>
                    <a:pt x="161163" y="129826"/>
                    <a:pt x="166878" y="135922"/>
                    <a:pt x="171164" y="143066"/>
                  </a:cubicBezTo>
                  <a:cubicBezTo>
                    <a:pt x="175450" y="150209"/>
                    <a:pt x="177641" y="158972"/>
                    <a:pt x="177641" y="169450"/>
                  </a:cubicBezTo>
                  <a:lnTo>
                    <a:pt x="177641" y="170307"/>
                  </a:lnTo>
                  <a:cubicBezTo>
                    <a:pt x="177641" y="181356"/>
                    <a:pt x="175450" y="191071"/>
                    <a:pt x="171164" y="199549"/>
                  </a:cubicBezTo>
                  <a:cubicBezTo>
                    <a:pt x="166878" y="208026"/>
                    <a:pt x="161068" y="215265"/>
                    <a:pt x="153734" y="221171"/>
                  </a:cubicBezTo>
                  <a:cubicBezTo>
                    <a:pt x="146495" y="227171"/>
                    <a:pt x="137827" y="231648"/>
                    <a:pt x="127825" y="234791"/>
                  </a:cubicBezTo>
                  <a:cubicBezTo>
                    <a:pt x="117824" y="237935"/>
                    <a:pt x="107061" y="239459"/>
                    <a:pt x="95441" y="239459"/>
                  </a:cubicBezTo>
                  <a:close/>
                </a:path>
              </a:pathLst>
            </a:custGeom>
            <a:solidFill>
              <a:srgbClr val="44505E"/>
            </a:solidFill>
            <a:ln w="9525" cap="flat">
              <a:noFill/>
              <a:prstDash val="solid"/>
              <a:miter/>
            </a:ln>
          </p:spPr>
          <p:txBody>
            <a:bodyPr rtlCol="0" anchor="ctr"/>
            <a:lstStyle/>
            <a:p>
              <a:endParaRPr lang="pt-BR" noProof="0"/>
            </a:p>
          </p:txBody>
        </p:sp>
        <p:sp>
          <p:nvSpPr>
            <p:cNvPr id="41" name="Freeform: Shape 40">
              <a:extLst>
                <a:ext uri="{FF2B5EF4-FFF2-40B4-BE49-F238E27FC236}">
                  <a16:creationId xmlns:a16="http://schemas.microsoft.com/office/drawing/2014/main" id="{A4797721-BA92-BBD1-F80A-5E89442A4111}"/>
                </a:ext>
              </a:extLst>
            </p:cNvPr>
            <p:cNvSpPr/>
            <p:nvPr/>
          </p:nvSpPr>
          <p:spPr>
            <a:xfrm>
              <a:off x="5752668" y="924028"/>
              <a:ext cx="58567" cy="77196"/>
            </a:xfrm>
            <a:custGeom>
              <a:avLst/>
              <a:gdLst>
                <a:gd name="connsiteX0" fmla="*/ 198596 w 232981"/>
                <a:gd name="connsiteY0" fmla="*/ 189357 h 307085"/>
                <a:gd name="connsiteX1" fmla="*/ 182785 w 232981"/>
                <a:gd name="connsiteY1" fmla="*/ 208978 h 307085"/>
                <a:gd name="connsiteX2" fmla="*/ 163354 w 232981"/>
                <a:gd name="connsiteY2" fmla="*/ 225552 h 307085"/>
                <a:gd name="connsiteX3" fmla="*/ 139446 w 232981"/>
                <a:gd name="connsiteY3" fmla="*/ 236696 h 307085"/>
                <a:gd name="connsiteX4" fmla="*/ 110204 w 232981"/>
                <a:gd name="connsiteY4" fmla="*/ 240697 h 307085"/>
                <a:gd name="connsiteX5" fmla="*/ 69628 w 232981"/>
                <a:gd name="connsiteY5" fmla="*/ 232696 h 307085"/>
                <a:gd name="connsiteX6" fmla="*/ 34385 w 232981"/>
                <a:gd name="connsiteY6" fmla="*/ 209264 h 307085"/>
                <a:gd name="connsiteX7" fmla="*/ 9335 w 232981"/>
                <a:gd name="connsiteY7" fmla="*/ 171736 h 307085"/>
                <a:gd name="connsiteX8" fmla="*/ 0 w 232981"/>
                <a:gd name="connsiteY8" fmla="*/ 121063 h 307085"/>
                <a:gd name="connsiteX9" fmla="*/ 0 w 232981"/>
                <a:gd name="connsiteY9" fmla="*/ 120205 h 307085"/>
                <a:gd name="connsiteX10" fmla="*/ 9335 w 232981"/>
                <a:gd name="connsiteY10" fmla="*/ 69723 h 307085"/>
                <a:gd name="connsiteX11" fmla="*/ 34385 w 232981"/>
                <a:gd name="connsiteY11" fmla="*/ 32004 h 307085"/>
                <a:gd name="connsiteX12" fmla="*/ 69628 w 232981"/>
                <a:gd name="connsiteY12" fmla="*/ 8287 h 307085"/>
                <a:gd name="connsiteX13" fmla="*/ 110204 w 232981"/>
                <a:gd name="connsiteY13" fmla="*/ 0 h 307085"/>
                <a:gd name="connsiteX14" fmla="*/ 139637 w 232981"/>
                <a:gd name="connsiteY14" fmla="*/ 4000 h 307085"/>
                <a:gd name="connsiteX15" fmla="*/ 163735 w 232981"/>
                <a:gd name="connsiteY15" fmla="*/ 14668 h 307085"/>
                <a:gd name="connsiteX16" fmla="*/ 183166 w 232981"/>
                <a:gd name="connsiteY16" fmla="*/ 30289 h 307085"/>
                <a:gd name="connsiteX17" fmla="*/ 198596 w 232981"/>
                <a:gd name="connsiteY17" fmla="*/ 49054 h 307085"/>
                <a:gd name="connsiteX18" fmla="*/ 198596 w 232981"/>
                <a:gd name="connsiteY18" fmla="*/ 4858 h 307085"/>
                <a:gd name="connsiteX19" fmla="*/ 232982 w 232981"/>
                <a:gd name="connsiteY19" fmla="*/ 4858 h 307085"/>
                <a:gd name="connsiteX20" fmla="*/ 232982 w 232981"/>
                <a:gd name="connsiteY20" fmla="*/ 307086 h 307085"/>
                <a:gd name="connsiteX21" fmla="*/ 198596 w 232981"/>
                <a:gd name="connsiteY21" fmla="*/ 307086 h 307085"/>
                <a:gd name="connsiteX22" fmla="*/ 198596 w 232981"/>
                <a:gd name="connsiteY22" fmla="*/ 189262 h 307085"/>
                <a:gd name="connsiteX23" fmla="*/ 116491 w 232981"/>
                <a:gd name="connsiteY23" fmla="*/ 209931 h 307085"/>
                <a:gd name="connsiteX24" fmla="*/ 147542 w 232981"/>
                <a:gd name="connsiteY24" fmla="*/ 203454 h 307085"/>
                <a:gd name="connsiteX25" fmla="*/ 174308 w 232981"/>
                <a:gd name="connsiteY25" fmla="*/ 185166 h 307085"/>
                <a:gd name="connsiteX26" fmla="*/ 193072 w 232981"/>
                <a:gd name="connsiteY26" fmla="*/ 157067 h 307085"/>
                <a:gd name="connsiteX27" fmla="*/ 200025 w 232981"/>
                <a:gd name="connsiteY27" fmla="*/ 120682 h 307085"/>
                <a:gd name="connsiteX28" fmla="*/ 200025 w 232981"/>
                <a:gd name="connsiteY28" fmla="*/ 119824 h 307085"/>
                <a:gd name="connsiteX29" fmla="*/ 193072 w 232981"/>
                <a:gd name="connsiteY29" fmla="*/ 83439 h 307085"/>
                <a:gd name="connsiteX30" fmla="*/ 174308 w 232981"/>
                <a:gd name="connsiteY30" fmla="*/ 55531 h 307085"/>
                <a:gd name="connsiteX31" fmla="*/ 147542 w 232981"/>
                <a:gd name="connsiteY31" fmla="*/ 37433 h 307085"/>
                <a:gd name="connsiteX32" fmla="*/ 116491 w 232981"/>
                <a:gd name="connsiteY32" fmla="*/ 30956 h 307085"/>
                <a:gd name="connsiteX33" fmla="*/ 84773 w 232981"/>
                <a:gd name="connsiteY33" fmla="*/ 36957 h 307085"/>
                <a:gd name="connsiteX34" fmla="*/ 59150 w 232981"/>
                <a:gd name="connsiteY34" fmla="*/ 54388 h 307085"/>
                <a:gd name="connsiteX35" fmla="*/ 41720 w 232981"/>
                <a:gd name="connsiteY35" fmla="*/ 82296 h 307085"/>
                <a:gd name="connsiteX36" fmla="*/ 35242 w 232981"/>
                <a:gd name="connsiteY36" fmla="*/ 119824 h 307085"/>
                <a:gd name="connsiteX37" fmla="*/ 35242 w 232981"/>
                <a:gd name="connsiteY37" fmla="*/ 120682 h 307085"/>
                <a:gd name="connsiteX38" fmla="*/ 41720 w 232981"/>
                <a:gd name="connsiteY38" fmla="*/ 157734 h 307085"/>
                <a:gd name="connsiteX39" fmla="*/ 59341 w 232981"/>
                <a:gd name="connsiteY39" fmla="*/ 185833 h 307085"/>
                <a:gd name="connsiteX40" fmla="*/ 85249 w 232981"/>
                <a:gd name="connsiteY40" fmla="*/ 203740 h 307085"/>
                <a:gd name="connsiteX41" fmla="*/ 116491 w 232981"/>
                <a:gd name="connsiteY41" fmla="*/ 210026 h 30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07085">
                  <a:moveTo>
                    <a:pt x="198596" y="189357"/>
                  </a:moveTo>
                  <a:cubicBezTo>
                    <a:pt x="193834" y="196215"/>
                    <a:pt x="188595" y="202787"/>
                    <a:pt x="182785" y="208978"/>
                  </a:cubicBezTo>
                  <a:cubicBezTo>
                    <a:pt x="176975" y="215265"/>
                    <a:pt x="170498" y="220789"/>
                    <a:pt x="163354" y="225552"/>
                  </a:cubicBezTo>
                  <a:cubicBezTo>
                    <a:pt x="156210" y="230314"/>
                    <a:pt x="148209" y="234029"/>
                    <a:pt x="139446" y="236696"/>
                  </a:cubicBezTo>
                  <a:cubicBezTo>
                    <a:pt x="130683" y="239363"/>
                    <a:pt x="120967" y="240697"/>
                    <a:pt x="110204" y="240697"/>
                  </a:cubicBezTo>
                  <a:cubicBezTo>
                    <a:pt x="96203" y="240697"/>
                    <a:pt x="82677" y="238030"/>
                    <a:pt x="69628" y="232696"/>
                  </a:cubicBezTo>
                  <a:cubicBezTo>
                    <a:pt x="56579" y="227362"/>
                    <a:pt x="44767" y="219551"/>
                    <a:pt x="34385" y="209264"/>
                  </a:cubicBezTo>
                  <a:cubicBezTo>
                    <a:pt x="24003" y="198977"/>
                    <a:pt x="15621" y="186499"/>
                    <a:pt x="9335" y="171736"/>
                  </a:cubicBezTo>
                  <a:cubicBezTo>
                    <a:pt x="3048" y="156972"/>
                    <a:pt x="0" y="140113"/>
                    <a:pt x="0" y="121063"/>
                  </a:cubicBezTo>
                  <a:lnTo>
                    <a:pt x="0" y="120205"/>
                  </a:lnTo>
                  <a:cubicBezTo>
                    <a:pt x="0" y="101441"/>
                    <a:pt x="3143" y="84677"/>
                    <a:pt x="9335" y="69723"/>
                  </a:cubicBezTo>
                  <a:cubicBezTo>
                    <a:pt x="15621" y="54864"/>
                    <a:pt x="23908" y="42291"/>
                    <a:pt x="34385" y="32004"/>
                  </a:cubicBezTo>
                  <a:cubicBezTo>
                    <a:pt x="44767" y="21717"/>
                    <a:pt x="56579" y="13811"/>
                    <a:pt x="69628" y="8287"/>
                  </a:cubicBezTo>
                  <a:cubicBezTo>
                    <a:pt x="82677" y="2762"/>
                    <a:pt x="96298" y="0"/>
                    <a:pt x="110204" y="0"/>
                  </a:cubicBezTo>
                  <a:cubicBezTo>
                    <a:pt x="120967" y="0"/>
                    <a:pt x="130778" y="1333"/>
                    <a:pt x="139637" y="4000"/>
                  </a:cubicBezTo>
                  <a:cubicBezTo>
                    <a:pt x="148590" y="6667"/>
                    <a:pt x="156591" y="10287"/>
                    <a:pt x="163735" y="14668"/>
                  </a:cubicBezTo>
                  <a:cubicBezTo>
                    <a:pt x="170879" y="19145"/>
                    <a:pt x="177356" y="24384"/>
                    <a:pt x="183166" y="30289"/>
                  </a:cubicBezTo>
                  <a:cubicBezTo>
                    <a:pt x="188976" y="36290"/>
                    <a:pt x="194120" y="42481"/>
                    <a:pt x="198596" y="49054"/>
                  </a:cubicBezTo>
                  <a:lnTo>
                    <a:pt x="198596" y="4858"/>
                  </a:lnTo>
                  <a:lnTo>
                    <a:pt x="232982" y="4858"/>
                  </a:lnTo>
                  <a:lnTo>
                    <a:pt x="232982" y="307086"/>
                  </a:lnTo>
                  <a:lnTo>
                    <a:pt x="198596" y="307086"/>
                  </a:lnTo>
                  <a:lnTo>
                    <a:pt x="198596" y="189262"/>
                  </a:lnTo>
                  <a:close/>
                  <a:moveTo>
                    <a:pt x="116491" y="209931"/>
                  </a:moveTo>
                  <a:cubicBezTo>
                    <a:pt x="127159" y="209931"/>
                    <a:pt x="137541" y="207740"/>
                    <a:pt x="147542" y="203454"/>
                  </a:cubicBezTo>
                  <a:cubicBezTo>
                    <a:pt x="157544" y="199168"/>
                    <a:pt x="166402" y="193072"/>
                    <a:pt x="174308" y="185166"/>
                  </a:cubicBezTo>
                  <a:cubicBezTo>
                    <a:pt x="182213" y="177260"/>
                    <a:pt x="188404" y="167926"/>
                    <a:pt x="193072" y="157067"/>
                  </a:cubicBezTo>
                  <a:cubicBezTo>
                    <a:pt x="197739" y="146209"/>
                    <a:pt x="200025" y="134112"/>
                    <a:pt x="200025" y="120682"/>
                  </a:cubicBezTo>
                  <a:lnTo>
                    <a:pt x="200025" y="119824"/>
                  </a:lnTo>
                  <a:cubicBezTo>
                    <a:pt x="200025" y="106394"/>
                    <a:pt x="197739" y="94297"/>
                    <a:pt x="193072" y="83439"/>
                  </a:cubicBezTo>
                  <a:cubicBezTo>
                    <a:pt x="188500" y="72580"/>
                    <a:pt x="182213" y="63246"/>
                    <a:pt x="174308" y="55531"/>
                  </a:cubicBezTo>
                  <a:cubicBezTo>
                    <a:pt x="166402" y="47815"/>
                    <a:pt x="157544" y="41815"/>
                    <a:pt x="147542" y="37433"/>
                  </a:cubicBezTo>
                  <a:cubicBezTo>
                    <a:pt x="137541" y="33147"/>
                    <a:pt x="127254" y="30956"/>
                    <a:pt x="116491" y="30956"/>
                  </a:cubicBezTo>
                  <a:cubicBezTo>
                    <a:pt x="105156" y="30956"/>
                    <a:pt x="94583" y="32956"/>
                    <a:pt x="84773" y="36957"/>
                  </a:cubicBezTo>
                  <a:cubicBezTo>
                    <a:pt x="74962" y="40957"/>
                    <a:pt x="66389" y="46767"/>
                    <a:pt x="59150" y="54388"/>
                  </a:cubicBezTo>
                  <a:cubicBezTo>
                    <a:pt x="51816" y="61913"/>
                    <a:pt x="46101" y="71247"/>
                    <a:pt x="41720" y="82296"/>
                  </a:cubicBezTo>
                  <a:cubicBezTo>
                    <a:pt x="37433" y="93250"/>
                    <a:pt x="35242" y="105823"/>
                    <a:pt x="35242" y="119824"/>
                  </a:cubicBezTo>
                  <a:lnTo>
                    <a:pt x="35242" y="120682"/>
                  </a:lnTo>
                  <a:cubicBezTo>
                    <a:pt x="35242" y="134398"/>
                    <a:pt x="37433" y="146780"/>
                    <a:pt x="41720" y="157734"/>
                  </a:cubicBezTo>
                  <a:cubicBezTo>
                    <a:pt x="46006" y="168783"/>
                    <a:pt x="51911" y="178117"/>
                    <a:pt x="59341" y="185833"/>
                  </a:cubicBezTo>
                  <a:cubicBezTo>
                    <a:pt x="66770" y="193548"/>
                    <a:pt x="75438" y="199549"/>
                    <a:pt x="85249" y="203740"/>
                  </a:cubicBezTo>
                  <a:cubicBezTo>
                    <a:pt x="95060" y="207931"/>
                    <a:pt x="105442" y="210026"/>
                    <a:pt x="116491" y="210026"/>
                  </a:cubicBezTo>
                  <a:close/>
                </a:path>
              </a:pathLst>
            </a:custGeom>
            <a:solidFill>
              <a:srgbClr val="44505E"/>
            </a:solidFill>
            <a:ln w="9525" cap="flat">
              <a:noFill/>
              <a:prstDash val="solid"/>
              <a:miter/>
            </a:ln>
          </p:spPr>
          <p:txBody>
            <a:bodyPr rtlCol="0" anchor="ctr"/>
            <a:lstStyle/>
            <a:p>
              <a:endParaRPr lang="pt-BR" noProof="0"/>
            </a:p>
          </p:txBody>
        </p:sp>
        <p:sp>
          <p:nvSpPr>
            <p:cNvPr id="42" name="Freeform: Shape 41">
              <a:extLst>
                <a:ext uri="{FF2B5EF4-FFF2-40B4-BE49-F238E27FC236}">
                  <a16:creationId xmlns:a16="http://schemas.microsoft.com/office/drawing/2014/main" id="{80DB635F-B4AD-CC16-6BC4-63D8BFABB08B}"/>
                </a:ext>
              </a:extLst>
            </p:cNvPr>
            <p:cNvSpPr/>
            <p:nvPr/>
          </p:nvSpPr>
          <p:spPr>
            <a:xfrm>
              <a:off x="5829624" y="925297"/>
              <a:ext cx="50618" cy="59238"/>
            </a:xfrm>
            <a:custGeom>
              <a:avLst/>
              <a:gdLst>
                <a:gd name="connsiteX0" fmla="*/ 88392 w 201358"/>
                <a:gd name="connsiteY0" fmla="*/ 235648 h 235648"/>
                <a:gd name="connsiteX1" fmla="*/ 51149 w 201358"/>
                <a:gd name="connsiteY1" fmla="*/ 228981 h 235648"/>
                <a:gd name="connsiteX2" fmla="*/ 23432 w 201358"/>
                <a:gd name="connsiteY2" fmla="*/ 210026 h 235648"/>
                <a:gd name="connsiteX3" fmla="*/ 6001 w 201358"/>
                <a:gd name="connsiteY3" fmla="*/ 180784 h 235648"/>
                <a:gd name="connsiteX4" fmla="*/ 0 w 201358"/>
                <a:gd name="connsiteY4" fmla="*/ 143256 h 235648"/>
                <a:gd name="connsiteX5" fmla="*/ 0 w 201358"/>
                <a:gd name="connsiteY5" fmla="*/ 0 h 235648"/>
                <a:gd name="connsiteX6" fmla="*/ 34385 w 201358"/>
                <a:gd name="connsiteY6" fmla="*/ 0 h 235648"/>
                <a:gd name="connsiteX7" fmla="*/ 34385 w 201358"/>
                <a:gd name="connsiteY7" fmla="*/ 134493 h 235648"/>
                <a:gd name="connsiteX8" fmla="*/ 50959 w 201358"/>
                <a:gd name="connsiteY8" fmla="*/ 185261 h 235648"/>
                <a:gd name="connsiteX9" fmla="*/ 98298 w 201358"/>
                <a:gd name="connsiteY9" fmla="*/ 203930 h 235648"/>
                <a:gd name="connsiteX10" fmla="*/ 125730 w 201358"/>
                <a:gd name="connsiteY10" fmla="*/ 198787 h 235648"/>
                <a:gd name="connsiteX11" fmla="*/ 147638 w 201358"/>
                <a:gd name="connsiteY11" fmla="*/ 184118 h 235648"/>
                <a:gd name="connsiteX12" fmla="*/ 162116 w 201358"/>
                <a:gd name="connsiteY12" fmla="*/ 161163 h 235648"/>
                <a:gd name="connsiteX13" fmla="*/ 167450 w 201358"/>
                <a:gd name="connsiteY13" fmla="*/ 131826 h 235648"/>
                <a:gd name="connsiteX14" fmla="*/ 167450 w 201358"/>
                <a:gd name="connsiteY14" fmla="*/ 0 h 235648"/>
                <a:gd name="connsiteX15" fmla="*/ 201359 w 201358"/>
                <a:gd name="connsiteY15" fmla="*/ 0 h 235648"/>
                <a:gd name="connsiteX16" fmla="*/ 201359 w 201358"/>
                <a:gd name="connsiteY16" fmla="*/ 230791 h 235648"/>
                <a:gd name="connsiteX17" fmla="*/ 167450 w 201358"/>
                <a:gd name="connsiteY17" fmla="*/ 230791 h 235648"/>
                <a:gd name="connsiteX18" fmla="*/ 167450 w 201358"/>
                <a:gd name="connsiteY18" fmla="*/ 190595 h 235648"/>
                <a:gd name="connsiteX19" fmla="*/ 137065 w 201358"/>
                <a:gd name="connsiteY19" fmla="*/ 222504 h 235648"/>
                <a:gd name="connsiteX20" fmla="*/ 88392 w 201358"/>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358" h="235648">
                  <a:moveTo>
                    <a:pt x="88392" y="235648"/>
                  </a:moveTo>
                  <a:cubicBezTo>
                    <a:pt x="74390" y="235648"/>
                    <a:pt x="62008" y="233363"/>
                    <a:pt x="51149" y="228981"/>
                  </a:cubicBezTo>
                  <a:cubicBezTo>
                    <a:pt x="40291" y="224504"/>
                    <a:pt x="31052" y="218218"/>
                    <a:pt x="23432"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959" y="185261"/>
                  </a:cubicBezTo>
                  <a:cubicBezTo>
                    <a:pt x="61913" y="197739"/>
                    <a:pt x="77724" y="203930"/>
                    <a:pt x="98298" y="203930"/>
                  </a:cubicBezTo>
                  <a:cubicBezTo>
                    <a:pt x="108109" y="203930"/>
                    <a:pt x="117253" y="202216"/>
                    <a:pt x="125730" y="198787"/>
                  </a:cubicBezTo>
                  <a:cubicBezTo>
                    <a:pt x="134207" y="195358"/>
                    <a:pt x="141446" y="190500"/>
                    <a:pt x="147638" y="184118"/>
                  </a:cubicBezTo>
                  <a:cubicBezTo>
                    <a:pt x="153734" y="177736"/>
                    <a:pt x="158591" y="170116"/>
                    <a:pt x="162116" y="161163"/>
                  </a:cubicBezTo>
                  <a:cubicBezTo>
                    <a:pt x="165735" y="152305"/>
                    <a:pt x="167450" y="142494"/>
                    <a:pt x="167450" y="131826"/>
                  </a:cubicBezTo>
                  <a:lnTo>
                    <a:pt x="167450" y="0"/>
                  </a:lnTo>
                  <a:lnTo>
                    <a:pt x="201359" y="0"/>
                  </a:lnTo>
                  <a:lnTo>
                    <a:pt x="201359" y="230791"/>
                  </a:lnTo>
                  <a:lnTo>
                    <a:pt x="167450" y="230791"/>
                  </a:lnTo>
                  <a:lnTo>
                    <a:pt x="167450" y="190595"/>
                  </a:lnTo>
                  <a:cubicBezTo>
                    <a:pt x="159734" y="203073"/>
                    <a:pt x="149543" y="213741"/>
                    <a:pt x="137065" y="222504"/>
                  </a:cubicBezTo>
                  <a:cubicBezTo>
                    <a:pt x="124587" y="231267"/>
                    <a:pt x="108395" y="235648"/>
                    <a:pt x="88392" y="235648"/>
                  </a:cubicBezTo>
                  <a:close/>
                </a:path>
              </a:pathLst>
            </a:custGeom>
            <a:solidFill>
              <a:srgbClr val="44505E"/>
            </a:solidFill>
            <a:ln w="9525" cap="flat">
              <a:noFill/>
              <a:prstDash val="solid"/>
              <a:miter/>
            </a:ln>
          </p:spPr>
          <p:txBody>
            <a:bodyPr rtlCol="0" anchor="ctr"/>
            <a:lstStyle/>
            <a:p>
              <a:endParaRPr lang="pt-BR" noProof="0"/>
            </a:p>
          </p:txBody>
        </p:sp>
        <p:sp>
          <p:nvSpPr>
            <p:cNvPr id="43" name="Freeform: Shape 42">
              <a:extLst>
                <a:ext uri="{FF2B5EF4-FFF2-40B4-BE49-F238E27FC236}">
                  <a16:creationId xmlns:a16="http://schemas.microsoft.com/office/drawing/2014/main" id="{796A75BA-1C12-EA6D-E0E7-B876B34ACF3A}"/>
                </a:ext>
              </a:extLst>
            </p:cNvPr>
            <p:cNvSpPr/>
            <p:nvPr/>
          </p:nvSpPr>
          <p:spPr>
            <a:xfrm>
              <a:off x="5896069"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7059 w 218217"/>
                <a:gd name="connsiteY3" fmla="*/ 206026 h 241077"/>
                <a:gd name="connsiteX4" fmla="*/ 116110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7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0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356 w 218217"/>
                <a:gd name="connsiteY25" fmla="*/ 106299 h 241077"/>
                <a:gd name="connsiteX26" fmla="*/ 176689 w 218217"/>
                <a:gd name="connsiteY26" fmla="*/ 76771 h 241077"/>
                <a:gd name="connsiteX27" fmla="*/ 162211 w 218217"/>
                <a:gd name="connsiteY27" fmla="*/ 52101 h 241077"/>
                <a:gd name="connsiteX28" fmla="*/ 139922 w 218217"/>
                <a:gd name="connsiteY28" fmla="*/ 35242 h 241077"/>
                <a:gd name="connsiteX29" fmla="*/ 109823 w 218217"/>
                <a:gd name="connsiteY29" fmla="*/ 29051 h 241077"/>
                <a:gd name="connsiteX30" fmla="*/ 82105 w 218217"/>
                <a:gd name="connsiteY30" fmla="*/ 34766 h 241077"/>
                <a:gd name="connsiteX31" fmla="*/ 59341 w 218217"/>
                <a:gd name="connsiteY31" fmla="*/ 50959 h 241077"/>
                <a:gd name="connsiteX32" fmla="*/ 43053 w 218217"/>
                <a:gd name="connsiteY32" fmla="*/ 75628 h 241077"/>
                <a:gd name="connsiteX33" fmla="*/ 34766 w 218217"/>
                <a:gd name="connsiteY33" fmla="*/ 106204 h 241077"/>
                <a:gd name="connsiteX34" fmla="*/ 183356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819" y="202597"/>
                    <a:pt x="87059" y="206026"/>
                  </a:cubicBezTo>
                  <a:cubicBezTo>
                    <a:pt x="96298" y="209455"/>
                    <a:pt x="105918" y="211169"/>
                    <a:pt x="116110" y="211169"/>
                  </a:cubicBezTo>
                  <a:cubicBezTo>
                    <a:pt x="132207" y="211169"/>
                    <a:pt x="145923" y="208216"/>
                    <a:pt x="157353" y="202216"/>
                  </a:cubicBezTo>
                  <a:cubicBezTo>
                    <a:pt x="168783" y="196310"/>
                    <a:pt x="179261" y="188404"/>
                    <a:pt x="188786" y="178594"/>
                  </a:cubicBezTo>
                  <a:lnTo>
                    <a:pt x="210217" y="197834"/>
                  </a:lnTo>
                  <a:cubicBezTo>
                    <a:pt x="198596" y="210979"/>
                    <a:pt x="185356" y="221361"/>
                    <a:pt x="170497" y="229267"/>
                  </a:cubicBezTo>
                  <a:cubicBezTo>
                    <a:pt x="155638"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583" y="0"/>
                    <a:pt x="110680"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356" y="106299"/>
                  </a:moveTo>
                  <a:cubicBezTo>
                    <a:pt x="182499" y="95917"/>
                    <a:pt x="180213" y="86106"/>
                    <a:pt x="176689" y="76771"/>
                  </a:cubicBezTo>
                  <a:cubicBezTo>
                    <a:pt x="173069" y="67437"/>
                    <a:pt x="168307" y="59245"/>
                    <a:pt x="162211" y="52101"/>
                  </a:cubicBezTo>
                  <a:cubicBezTo>
                    <a:pt x="156115" y="44958"/>
                    <a:pt x="148685" y="39338"/>
                    <a:pt x="139922" y="35242"/>
                  </a:cubicBezTo>
                  <a:cubicBezTo>
                    <a:pt x="131159" y="31147"/>
                    <a:pt x="121063" y="29051"/>
                    <a:pt x="109823" y="29051"/>
                  </a:cubicBezTo>
                  <a:cubicBezTo>
                    <a:pt x="100013" y="29051"/>
                    <a:pt x="90773" y="30956"/>
                    <a:pt x="82105" y="34766"/>
                  </a:cubicBezTo>
                  <a:cubicBezTo>
                    <a:pt x="73438" y="38671"/>
                    <a:pt x="65913" y="44005"/>
                    <a:pt x="59341" y="50959"/>
                  </a:cubicBezTo>
                  <a:cubicBezTo>
                    <a:pt x="52769" y="57912"/>
                    <a:pt x="47339" y="66103"/>
                    <a:pt x="43053" y="75628"/>
                  </a:cubicBezTo>
                  <a:cubicBezTo>
                    <a:pt x="38767" y="85058"/>
                    <a:pt x="36004" y="95345"/>
                    <a:pt x="34766" y="106204"/>
                  </a:cubicBezTo>
                  <a:lnTo>
                    <a:pt x="183356" y="106204"/>
                  </a:lnTo>
                  <a:close/>
                </a:path>
              </a:pathLst>
            </a:custGeom>
            <a:solidFill>
              <a:srgbClr val="44505E"/>
            </a:solidFill>
            <a:ln w="9525" cap="flat">
              <a:noFill/>
              <a:prstDash val="solid"/>
              <a:miter/>
            </a:ln>
          </p:spPr>
          <p:txBody>
            <a:bodyPr rtlCol="0" anchor="ctr"/>
            <a:lstStyle/>
            <a:p>
              <a:endParaRPr lang="pt-BR" noProof="0"/>
            </a:p>
          </p:txBody>
        </p:sp>
        <p:sp>
          <p:nvSpPr>
            <p:cNvPr id="44" name="Freeform: Shape 43">
              <a:extLst>
                <a:ext uri="{FF2B5EF4-FFF2-40B4-BE49-F238E27FC236}">
                  <a16:creationId xmlns:a16="http://schemas.microsoft.com/office/drawing/2014/main" id="{DC0372A6-A58C-56C1-B29F-85F952773AE0}"/>
                </a:ext>
              </a:extLst>
            </p:cNvPr>
            <p:cNvSpPr/>
            <p:nvPr/>
          </p:nvSpPr>
          <p:spPr>
            <a:xfrm>
              <a:off x="5994910" y="924268"/>
              <a:ext cx="44680" cy="60195"/>
            </a:xfrm>
            <a:custGeom>
              <a:avLst/>
              <a:gdLst>
                <a:gd name="connsiteX0" fmla="*/ 95536 w 177736"/>
                <a:gd name="connsiteY0" fmla="*/ 239268 h 239458"/>
                <a:gd name="connsiteX1" fmla="*/ 45053 w 177736"/>
                <a:gd name="connsiteY1" fmla="*/ 230124 h 239458"/>
                <a:gd name="connsiteX2" fmla="*/ 0 w 177736"/>
                <a:gd name="connsiteY2" fmla="*/ 205359 h 239458"/>
                <a:gd name="connsiteX3" fmla="*/ 17431 w 177736"/>
                <a:gd name="connsiteY3" fmla="*/ 180785 h 239458"/>
                <a:gd name="connsiteX4" fmla="*/ 56483 w 177736"/>
                <a:gd name="connsiteY4" fmla="*/ 202692 h 239458"/>
                <a:gd name="connsiteX5" fmla="*/ 97346 w 177736"/>
                <a:gd name="connsiteY5" fmla="*/ 210217 h 239458"/>
                <a:gd name="connsiteX6" fmla="*/ 131731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730 w 177736"/>
                <a:gd name="connsiteY10" fmla="*/ 147066 h 239458"/>
                <a:gd name="connsiteX11" fmla="*/ 109252 w 177736"/>
                <a:gd name="connsiteY11" fmla="*/ 138779 h 239458"/>
                <a:gd name="connsiteX12" fmla="*/ 87630 w 177736"/>
                <a:gd name="connsiteY12" fmla="*/ 132112 h 239458"/>
                <a:gd name="connsiteX13" fmla="*/ 60674 w 177736"/>
                <a:gd name="connsiteY13" fmla="*/ 123444 h 239458"/>
                <a:gd name="connsiteX14" fmla="*/ 36100 w 177736"/>
                <a:gd name="connsiteY14" fmla="*/ 111633 h 239458"/>
                <a:gd name="connsiteX15" fmla="*/ 18193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60 w 177736"/>
                <a:gd name="connsiteY22" fmla="*/ 6953 h 239458"/>
                <a:gd name="connsiteX23" fmla="*/ 172879 w 177736"/>
                <a:gd name="connsiteY23" fmla="*/ 25527 h 239458"/>
                <a:gd name="connsiteX24" fmla="*/ 157258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4 w 177736"/>
                <a:gd name="connsiteY32" fmla="*/ 96203 h 239458"/>
                <a:gd name="connsiteX33" fmla="*/ 103632 w 177736"/>
                <a:gd name="connsiteY33" fmla="*/ 103346 h 239458"/>
                <a:gd name="connsiteX34" fmla="*/ 130207 w 177736"/>
                <a:gd name="connsiteY34" fmla="*/ 112300 h 239458"/>
                <a:gd name="connsiteX35" fmla="*/ 154114 w 177736"/>
                <a:gd name="connsiteY35" fmla="*/ 124778 h 239458"/>
                <a:gd name="connsiteX36" fmla="*/ 171260 w 177736"/>
                <a:gd name="connsiteY36" fmla="*/ 143066 h 239458"/>
                <a:gd name="connsiteX37" fmla="*/ 177737 w 177736"/>
                <a:gd name="connsiteY37" fmla="*/ 169450 h 239458"/>
                <a:gd name="connsiteX38" fmla="*/ 177737 w 177736"/>
                <a:gd name="connsiteY38" fmla="*/ 170307 h 239458"/>
                <a:gd name="connsiteX39" fmla="*/ 171260 w 177736"/>
                <a:gd name="connsiteY39" fmla="*/ 199549 h 239458"/>
                <a:gd name="connsiteX40" fmla="*/ 153829 w 177736"/>
                <a:gd name="connsiteY40" fmla="*/ 221171 h 239458"/>
                <a:gd name="connsiteX41" fmla="*/ 127921 w 177736"/>
                <a:gd name="connsiteY41" fmla="*/ 234791 h 239458"/>
                <a:gd name="connsiteX42" fmla="*/ 95536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6" y="239268"/>
                  </a:moveTo>
                  <a:cubicBezTo>
                    <a:pt x="78867" y="239268"/>
                    <a:pt x="62008" y="236220"/>
                    <a:pt x="45053" y="230124"/>
                  </a:cubicBezTo>
                  <a:cubicBezTo>
                    <a:pt x="28099" y="224028"/>
                    <a:pt x="13049" y="215741"/>
                    <a:pt x="0" y="205359"/>
                  </a:cubicBezTo>
                  <a:lnTo>
                    <a:pt x="17431" y="180785"/>
                  </a:lnTo>
                  <a:cubicBezTo>
                    <a:pt x="29909"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637" y="162211"/>
                    <a:pt x="140494" y="158020"/>
                  </a:cubicBezTo>
                  <a:cubicBezTo>
                    <a:pt x="137351" y="153829"/>
                    <a:pt x="133160" y="150209"/>
                    <a:pt x="127730" y="147066"/>
                  </a:cubicBezTo>
                  <a:cubicBezTo>
                    <a:pt x="122396" y="143923"/>
                    <a:pt x="116205" y="141161"/>
                    <a:pt x="109252" y="138779"/>
                  </a:cubicBezTo>
                  <a:cubicBezTo>
                    <a:pt x="102299" y="136398"/>
                    <a:pt x="95060" y="134207"/>
                    <a:pt x="87630" y="132112"/>
                  </a:cubicBezTo>
                  <a:cubicBezTo>
                    <a:pt x="78677" y="129445"/>
                    <a:pt x="69723" y="126492"/>
                    <a:pt x="60674" y="123444"/>
                  </a:cubicBezTo>
                  <a:cubicBezTo>
                    <a:pt x="51626" y="120301"/>
                    <a:pt x="43434" y="116396"/>
                    <a:pt x="36100" y="111633"/>
                  </a:cubicBezTo>
                  <a:cubicBezTo>
                    <a:pt x="28766" y="106871"/>
                    <a:pt x="22860" y="100870"/>
                    <a:pt x="18193" y="93726"/>
                  </a:cubicBezTo>
                  <a:cubicBezTo>
                    <a:pt x="13621" y="86582"/>
                    <a:pt x="11239" y="77629"/>
                    <a:pt x="11239" y="66961"/>
                  </a:cubicBezTo>
                  <a:lnTo>
                    <a:pt x="11239" y="66008"/>
                  </a:lnTo>
                  <a:cubicBezTo>
                    <a:pt x="11239" y="56198"/>
                    <a:pt x="13145" y="47149"/>
                    <a:pt x="17050" y="39053"/>
                  </a:cubicBezTo>
                  <a:cubicBezTo>
                    <a:pt x="20860" y="30861"/>
                    <a:pt x="26289" y="23908"/>
                    <a:pt x="33338" y="18098"/>
                  </a:cubicBezTo>
                  <a:cubicBezTo>
                    <a:pt x="40291" y="12287"/>
                    <a:pt x="48673" y="7811"/>
                    <a:pt x="58388" y="4667"/>
                  </a:cubicBezTo>
                  <a:cubicBezTo>
                    <a:pt x="68009" y="1524"/>
                    <a:pt x="78581" y="0"/>
                    <a:pt x="89821" y="0"/>
                  </a:cubicBezTo>
                  <a:cubicBezTo>
                    <a:pt x="104108" y="0"/>
                    <a:pt x="118491" y="2286"/>
                    <a:pt x="133160" y="6953"/>
                  </a:cubicBezTo>
                  <a:cubicBezTo>
                    <a:pt x="147733" y="11621"/>
                    <a:pt x="160972" y="17717"/>
                    <a:pt x="172879" y="25527"/>
                  </a:cubicBezTo>
                  <a:lnTo>
                    <a:pt x="157258" y="51435"/>
                  </a:lnTo>
                  <a:cubicBezTo>
                    <a:pt x="146495" y="44577"/>
                    <a:pt x="135350" y="39148"/>
                    <a:pt x="123539" y="35147"/>
                  </a:cubicBezTo>
                  <a:cubicBezTo>
                    <a:pt x="111824" y="31147"/>
                    <a:pt x="100298" y="29146"/>
                    <a:pt x="88963" y="29146"/>
                  </a:cubicBezTo>
                  <a:cubicBezTo>
                    <a:pt x="75247" y="29146"/>
                    <a:pt x="64389" y="32385"/>
                    <a:pt x="56388" y="38767"/>
                  </a:cubicBezTo>
                  <a:cubicBezTo>
                    <a:pt x="48387" y="45149"/>
                    <a:pt x="44291" y="53150"/>
                    <a:pt x="44291" y="62675"/>
                  </a:cubicBezTo>
                  <a:lnTo>
                    <a:pt x="44291" y="63627"/>
                  </a:lnTo>
                  <a:cubicBezTo>
                    <a:pt x="44291" y="68961"/>
                    <a:pt x="45911" y="73628"/>
                    <a:pt x="49244" y="77724"/>
                  </a:cubicBezTo>
                  <a:cubicBezTo>
                    <a:pt x="52483" y="81725"/>
                    <a:pt x="56960" y="85249"/>
                    <a:pt x="62389" y="88202"/>
                  </a:cubicBezTo>
                  <a:cubicBezTo>
                    <a:pt x="67913" y="91154"/>
                    <a:pt x="74200" y="93821"/>
                    <a:pt x="81344" y="96203"/>
                  </a:cubicBezTo>
                  <a:cubicBezTo>
                    <a:pt x="88487" y="98584"/>
                    <a:pt x="95917" y="100965"/>
                    <a:pt x="103632" y="103346"/>
                  </a:cubicBezTo>
                  <a:cubicBezTo>
                    <a:pt x="112586" y="106013"/>
                    <a:pt x="121444" y="108966"/>
                    <a:pt x="130207" y="112300"/>
                  </a:cubicBezTo>
                  <a:cubicBezTo>
                    <a:pt x="138970" y="115538"/>
                    <a:pt x="146971" y="119729"/>
                    <a:pt x="154114" y="124778"/>
                  </a:cubicBezTo>
                  <a:cubicBezTo>
                    <a:pt x="161258" y="129826"/>
                    <a:pt x="166973" y="135922"/>
                    <a:pt x="171260" y="143066"/>
                  </a:cubicBezTo>
                  <a:cubicBezTo>
                    <a:pt x="175546" y="150209"/>
                    <a:pt x="177737" y="158972"/>
                    <a:pt x="177737" y="169450"/>
                  </a:cubicBezTo>
                  <a:lnTo>
                    <a:pt x="177737" y="170307"/>
                  </a:lnTo>
                  <a:cubicBezTo>
                    <a:pt x="177737" y="181356"/>
                    <a:pt x="175546" y="191071"/>
                    <a:pt x="171260" y="199549"/>
                  </a:cubicBezTo>
                  <a:cubicBezTo>
                    <a:pt x="166973" y="208026"/>
                    <a:pt x="161163" y="215265"/>
                    <a:pt x="153829" y="221171"/>
                  </a:cubicBezTo>
                  <a:cubicBezTo>
                    <a:pt x="146495" y="227171"/>
                    <a:pt x="137922" y="231648"/>
                    <a:pt x="127921" y="234791"/>
                  </a:cubicBezTo>
                  <a:cubicBezTo>
                    <a:pt x="117920" y="237935"/>
                    <a:pt x="107156" y="239459"/>
                    <a:pt x="95536" y="239459"/>
                  </a:cubicBezTo>
                  <a:close/>
                </a:path>
              </a:pathLst>
            </a:custGeom>
            <a:solidFill>
              <a:srgbClr val="44505E"/>
            </a:solidFill>
            <a:ln w="9525" cap="flat">
              <a:noFill/>
              <a:prstDash val="solid"/>
              <a:miter/>
            </a:ln>
          </p:spPr>
          <p:txBody>
            <a:bodyPr rtlCol="0" anchor="ctr"/>
            <a:lstStyle/>
            <a:p>
              <a:endParaRPr lang="pt-BR" noProof="0"/>
            </a:p>
          </p:txBody>
        </p:sp>
        <p:sp>
          <p:nvSpPr>
            <p:cNvPr id="45" name="Freeform: Shape 44">
              <a:extLst>
                <a:ext uri="{FF2B5EF4-FFF2-40B4-BE49-F238E27FC236}">
                  <a16:creationId xmlns:a16="http://schemas.microsoft.com/office/drawing/2014/main" id="{A4CC74E1-F105-23FD-5E85-CD3B5CC3CD74}"/>
                </a:ext>
              </a:extLst>
            </p:cNvPr>
            <p:cNvSpPr/>
            <p:nvPr/>
          </p:nvSpPr>
          <p:spPr>
            <a:xfrm>
              <a:off x="605122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4 w 202977"/>
                <a:gd name="connsiteY30" fmla="*/ 174593 h 239267"/>
                <a:gd name="connsiteX31" fmla="*/ 169735 w 202977"/>
                <a:gd name="connsiteY31" fmla="*/ 149447 h 239267"/>
                <a:gd name="connsiteX32" fmla="*/ 169735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0" y="90964"/>
                    <a:pt x="98584" y="90964"/>
                  </a:cubicBezTo>
                  <a:cubicBezTo>
                    <a:pt x="113157" y="90964"/>
                    <a:pt x="126301"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1" y="33147"/>
                    <a:pt x="63436" y="36100"/>
                  </a:cubicBezTo>
                  <a:cubicBezTo>
                    <a:pt x="52292" y="39053"/>
                    <a:pt x="41338" y="43053"/>
                    <a:pt x="30671" y="48196"/>
                  </a:cubicBezTo>
                  <a:lnTo>
                    <a:pt x="20383" y="19907"/>
                  </a:lnTo>
                  <a:cubicBezTo>
                    <a:pt x="33147" y="13906"/>
                    <a:pt x="46101" y="9049"/>
                    <a:pt x="59246" y="5429"/>
                  </a:cubicBezTo>
                  <a:cubicBezTo>
                    <a:pt x="72295"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1" y="239173"/>
                  </a:cubicBezTo>
                  <a:close/>
                  <a:moveTo>
                    <a:pt x="93154" y="211169"/>
                  </a:moveTo>
                  <a:cubicBezTo>
                    <a:pt x="103822" y="211169"/>
                    <a:pt x="113728" y="209740"/>
                    <a:pt x="122967" y="206788"/>
                  </a:cubicBezTo>
                  <a:cubicBezTo>
                    <a:pt x="132207" y="203835"/>
                    <a:pt x="140208" y="199644"/>
                    <a:pt x="147256" y="194120"/>
                  </a:cubicBezTo>
                  <a:cubicBezTo>
                    <a:pt x="154209" y="188595"/>
                    <a:pt x="159734" y="182118"/>
                    <a:pt x="163734" y="174593"/>
                  </a:cubicBezTo>
                  <a:cubicBezTo>
                    <a:pt x="167735" y="167068"/>
                    <a:pt x="169735" y="158687"/>
                    <a:pt x="169735" y="149447"/>
                  </a:cubicBezTo>
                  <a:lnTo>
                    <a:pt x="169735" y="128111"/>
                  </a:lnTo>
                  <a:cubicBezTo>
                    <a:pt x="161163" y="125730"/>
                    <a:pt x="151352" y="123539"/>
                    <a:pt x="140398" y="121444"/>
                  </a:cubicBezTo>
                  <a:cubicBezTo>
                    <a:pt x="129445" y="119348"/>
                    <a:pt x="116872"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46" name="Freeform: Shape 45">
              <a:extLst>
                <a:ext uri="{FF2B5EF4-FFF2-40B4-BE49-F238E27FC236}">
                  <a16:creationId xmlns:a16="http://schemas.microsoft.com/office/drawing/2014/main" id="{7741785F-5CE3-FCAD-E167-A6B01F5EE739}"/>
                </a:ext>
              </a:extLst>
            </p:cNvPr>
            <p:cNvSpPr/>
            <p:nvPr/>
          </p:nvSpPr>
          <p:spPr>
            <a:xfrm>
              <a:off x="6121359" y="901377"/>
              <a:ext cx="8644" cy="81913"/>
            </a:xfrm>
            <a:custGeom>
              <a:avLst/>
              <a:gdLst>
                <a:gd name="connsiteX0" fmla="*/ 0 w 34385"/>
                <a:gd name="connsiteY0" fmla="*/ 0 h 325850"/>
                <a:gd name="connsiteX1" fmla="*/ 34385 w 34385"/>
                <a:gd name="connsiteY1" fmla="*/ 0 h 325850"/>
                <a:gd name="connsiteX2" fmla="*/ 34385 w 34385"/>
                <a:gd name="connsiteY2" fmla="*/ 325850 h 325850"/>
                <a:gd name="connsiteX3" fmla="*/ 0 w 34385"/>
                <a:gd name="connsiteY3" fmla="*/ 325850 h 325850"/>
                <a:gd name="connsiteX4" fmla="*/ 0 w 34385"/>
                <a:gd name="connsiteY4" fmla="*/ 0 h 32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 h="325850">
                  <a:moveTo>
                    <a:pt x="0" y="0"/>
                  </a:moveTo>
                  <a:lnTo>
                    <a:pt x="34385" y="0"/>
                  </a:lnTo>
                  <a:lnTo>
                    <a:pt x="34385" y="325850"/>
                  </a:lnTo>
                  <a:lnTo>
                    <a:pt x="0" y="325850"/>
                  </a:lnTo>
                  <a:lnTo>
                    <a:pt x="0" y="0"/>
                  </a:lnTo>
                  <a:close/>
                </a:path>
              </a:pathLst>
            </a:custGeom>
            <a:solidFill>
              <a:srgbClr val="44505E"/>
            </a:solidFill>
            <a:ln w="9525" cap="flat">
              <a:noFill/>
              <a:prstDash val="solid"/>
              <a:miter/>
            </a:ln>
          </p:spPr>
          <p:txBody>
            <a:bodyPr rtlCol="0" anchor="ctr"/>
            <a:lstStyle/>
            <a:p>
              <a:endParaRPr lang="pt-BR" noProof="0"/>
            </a:p>
          </p:txBody>
        </p:sp>
        <p:sp>
          <p:nvSpPr>
            <p:cNvPr id="47" name="Freeform: Shape 46">
              <a:extLst>
                <a:ext uri="{FF2B5EF4-FFF2-40B4-BE49-F238E27FC236}">
                  <a16:creationId xmlns:a16="http://schemas.microsoft.com/office/drawing/2014/main" id="{8DAF6CF4-CF25-D112-C107-5E92E8226D77}"/>
                </a:ext>
              </a:extLst>
            </p:cNvPr>
            <p:cNvSpPr/>
            <p:nvPr/>
          </p:nvSpPr>
          <p:spPr>
            <a:xfrm>
              <a:off x="6144346" y="925273"/>
              <a:ext cx="58016" cy="58448"/>
            </a:xfrm>
            <a:custGeom>
              <a:avLst/>
              <a:gdLst>
                <a:gd name="connsiteX0" fmla="*/ 95 w 230790"/>
                <a:gd name="connsiteY0" fmla="*/ 0 h 232505"/>
                <a:gd name="connsiteX1" fmla="*/ 38005 w 230790"/>
                <a:gd name="connsiteY1" fmla="*/ 0 h 232505"/>
                <a:gd name="connsiteX2" fmla="*/ 115634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4"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48" name="Freeform: Shape 47">
              <a:extLst>
                <a:ext uri="{FF2B5EF4-FFF2-40B4-BE49-F238E27FC236}">
                  <a16:creationId xmlns:a16="http://schemas.microsoft.com/office/drawing/2014/main" id="{DA5CB994-3ADC-1E1C-5980-725E67BDAB83}"/>
                </a:ext>
              </a:extLst>
            </p:cNvPr>
            <p:cNvSpPr/>
            <p:nvPr/>
          </p:nvSpPr>
          <p:spPr>
            <a:xfrm>
              <a:off x="621155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8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338 w 202977"/>
                <a:gd name="connsiteY36" fmla="*/ 164497 h 239267"/>
                <a:gd name="connsiteX37" fmla="*/ 35338 w 202977"/>
                <a:gd name="connsiteY37" fmla="*/ 165449 h 239267"/>
                <a:gd name="connsiteX38" fmla="*/ 40005 w 202977"/>
                <a:gd name="connsiteY38" fmla="*/ 184785 h 239267"/>
                <a:gd name="connsiteX39" fmla="*/ 52673 w 202977"/>
                <a:gd name="connsiteY39" fmla="*/ 199263 h 239267"/>
                <a:gd name="connsiteX40" fmla="*/ 71152 w 202977"/>
                <a:gd name="connsiteY40" fmla="*/ 208121 h 239267"/>
                <a:gd name="connsiteX41" fmla="*/ 93154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438" y="239268"/>
                    <a:pt x="64961"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1" y="90964"/>
                    <a:pt x="98584" y="90964"/>
                  </a:cubicBezTo>
                  <a:cubicBezTo>
                    <a:pt x="113157" y="90964"/>
                    <a:pt x="126302" y="91821"/>
                    <a:pt x="137160" y="93631"/>
                  </a:cubicBezTo>
                  <a:cubicBezTo>
                    <a:pt x="148019" y="95440"/>
                    <a:pt x="158687" y="97822"/>
                    <a:pt x="169069" y="100774"/>
                  </a:cubicBezTo>
                  <a:lnTo>
                    <a:pt x="169069" y="93726"/>
                  </a:lnTo>
                  <a:cubicBezTo>
                    <a:pt x="169069" y="73342"/>
                    <a:pt x="163068" y="57912"/>
                    <a:pt x="151162" y="47339"/>
                  </a:cubicBezTo>
                  <a:cubicBezTo>
                    <a:pt x="139255" y="36862"/>
                    <a:pt x="122491" y="31623"/>
                    <a:pt x="100679" y="31623"/>
                  </a:cubicBezTo>
                  <a:cubicBezTo>
                    <a:pt x="86963" y="31623"/>
                    <a:pt x="74581" y="33147"/>
                    <a:pt x="63437" y="36100"/>
                  </a:cubicBezTo>
                  <a:cubicBezTo>
                    <a:pt x="52292" y="39053"/>
                    <a:pt x="41338" y="43053"/>
                    <a:pt x="30671" y="48196"/>
                  </a:cubicBezTo>
                  <a:lnTo>
                    <a:pt x="20383" y="19907"/>
                  </a:lnTo>
                  <a:cubicBezTo>
                    <a:pt x="33147" y="13906"/>
                    <a:pt x="46101" y="9049"/>
                    <a:pt x="59246" y="5429"/>
                  </a:cubicBezTo>
                  <a:cubicBezTo>
                    <a:pt x="72390"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04" y="239173"/>
                    <a:pt x="86011" y="239173"/>
                  </a:cubicBezTo>
                  <a:close/>
                  <a:moveTo>
                    <a:pt x="93154" y="211169"/>
                  </a:moveTo>
                  <a:cubicBezTo>
                    <a:pt x="103822" y="211169"/>
                    <a:pt x="113824" y="209740"/>
                    <a:pt x="122968" y="206788"/>
                  </a:cubicBezTo>
                  <a:cubicBezTo>
                    <a:pt x="132112"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5" y="119348"/>
                    <a:pt x="116777" y="118300"/>
                    <a:pt x="102584" y="118300"/>
                  </a:cubicBezTo>
                  <a:cubicBezTo>
                    <a:pt x="81248" y="118300"/>
                    <a:pt x="64675" y="122491"/>
                    <a:pt x="52959" y="130969"/>
                  </a:cubicBezTo>
                  <a:cubicBezTo>
                    <a:pt x="41243" y="139446"/>
                    <a:pt x="35338" y="150590"/>
                    <a:pt x="35338" y="164497"/>
                  </a:cubicBezTo>
                  <a:lnTo>
                    <a:pt x="35338" y="165449"/>
                  </a:lnTo>
                  <a:cubicBezTo>
                    <a:pt x="35338" y="172498"/>
                    <a:pt x="36862" y="178975"/>
                    <a:pt x="40005" y="184785"/>
                  </a:cubicBezTo>
                  <a:cubicBezTo>
                    <a:pt x="43148" y="190500"/>
                    <a:pt x="47339" y="195358"/>
                    <a:pt x="52673" y="199263"/>
                  </a:cubicBezTo>
                  <a:cubicBezTo>
                    <a:pt x="58007" y="203073"/>
                    <a:pt x="64198" y="206026"/>
                    <a:pt x="71152" y="208121"/>
                  </a:cubicBezTo>
                  <a:cubicBezTo>
                    <a:pt x="78105" y="210217"/>
                    <a:pt x="85439" y="211169"/>
                    <a:pt x="93154" y="211169"/>
                  </a:cubicBezTo>
                  <a:close/>
                </a:path>
              </a:pathLst>
            </a:custGeom>
            <a:solidFill>
              <a:srgbClr val="44505E"/>
            </a:solidFill>
            <a:ln w="9525" cap="flat">
              <a:noFill/>
              <a:prstDash val="solid"/>
              <a:miter/>
            </a:ln>
          </p:spPr>
          <p:txBody>
            <a:bodyPr rtlCol="0" anchor="ctr"/>
            <a:lstStyle/>
            <a:p>
              <a:endParaRPr lang="pt-BR" noProof="0"/>
            </a:p>
          </p:txBody>
        </p:sp>
        <p:sp>
          <p:nvSpPr>
            <p:cNvPr id="49" name="Freeform: Shape 48">
              <a:extLst>
                <a:ext uri="{FF2B5EF4-FFF2-40B4-BE49-F238E27FC236}">
                  <a16:creationId xmlns:a16="http://schemas.microsoft.com/office/drawing/2014/main" id="{BB4126E9-B50A-A055-C998-69C48DD9AA5A}"/>
                </a:ext>
              </a:extLst>
            </p:cNvPr>
            <p:cNvSpPr/>
            <p:nvPr/>
          </p:nvSpPr>
          <p:spPr>
            <a:xfrm>
              <a:off x="6280899" y="923980"/>
              <a:ext cx="87995" cy="59238"/>
            </a:xfrm>
            <a:custGeom>
              <a:avLst/>
              <a:gdLst>
                <a:gd name="connsiteX0" fmla="*/ 0 w 350043"/>
                <a:gd name="connsiteY0" fmla="*/ 5144 h 235648"/>
                <a:gd name="connsiteX1" fmla="*/ 34385 w 350043"/>
                <a:gd name="connsiteY1" fmla="*/ 5144 h 235648"/>
                <a:gd name="connsiteX2" fmla="*/ 34385 w 350043"/>
                <a:gd name="connsiteY2" fmla="*/ 44005 h 235648"/>
                <a:gd name="connsiteX3" fmla="*/ 47149 w 350043"/>
                <a:gd name="connsiteY3" fmla="*/ 27432 h 235648"/>
                <a:gd name="connsiteX4" fmla="*/ 62960 w 350043"/>
                <a:gd name="connsiteY4" fmla="*/ 13335 h 235648"/>
                <a:gd name="connsiteX5" fmla="*/ 83058 w 350043"/>
                <a:gd name="connsiteY5" fmla="*/ 3715 h 235648"/>
                <a:gd name="connsiteX6" fmla="*/ 108966 w 350043"/>
                <a:gd name="connsiteY6" fmla="*/ 95 h 235648"/>
                <a:gd name="connsiteX7" fmla="*/ 155448 w 350043"/>
                <a:gd name="connsiteY7" fmla="*/ 13240 h 235648"/>
                <a:gd name="connsiteX8" fmla="*/ 183166 w 350043"/>
                <a:gd name="connsiteY8" fmla="*/ 46006 h 235648"/>
                <a:gd name="connsiteX9" fmla="*/ 197168 w 350043"/>
                <a:gd name="connsiteY9" fmla="*/ 28194 h 235648"/>
                <a:gd name="connsiteX10" fmla="*/ 214789 w 350043"/>
                <a:gd name="connsiteY10" fmla="*/ 13430 h 235648"/>
                <a:gd name="connsiteX11" fmla="*/ 236887 w 350043"/>
                <a:gd name="connsiteY11" fmla="*/ 3620 h 235648"/>
                <a:gd name="connsiteX12" fmla="*/ 264319 w 350043"/>
                <a:gd name="connsiteY12" fmla="*/ 0 h 235648"/>
                <a:gd name="connsiteX13" fmla="*/ 327279 w 350043"/>
                <a:gd name="connsiteY13" fmla="*/ 24765 h 235648"/>
                <a:gd name="connsiteX14" fmla="*/ 350044 w 350043"/>
                <a:gd name="connsiteY14" fmla="*/ 92773 h 235648"/>
                <a:gd name="connsiteX15" fmla="*/ 350044 w 350043"/>
                <a:gd name="connsiteY15" fmla="*/ 235648 h 235648"/>
                <a:gd name="connsiteX16" fmla="*/ 315659 w 350043"/>
                <a:gd name="connsiteY16" fmla="*/ 235648 h 235648"/>
                <a:gd name="connsiteX17" fmla="*/ 315659 w 350043"/>
                <a:gd name="connsiteY17" fmla="*/ 101155 h 235648"/>
                <a:gd name="connsiteX18" fmla="*/ 299847 w 350043"/>
                <a:gd name="connsiteY18" fmla="*/ 49721 h 235648"/>
                <a:gd name="connsiteX19" fmla="*/ 255937 w 350043"/>
                <a:gd name="connsiteY19" fmla="*/ 31718 h 235648"/>
                <a:gd name="connsiteX20" fmla="*/ 231362 w 350043"/>
                <a:gd name="connsiteY20" fmla="*/ 36386 h 235648"/>
                <a:gd name="connsiteX21" fmla="*/ 211074 w 350043"/>
                <a:gd name="connsiteY21" fmla="*/ 50197 h 235648"/>
                <a:gd name="connsiteX22" fmla="*/ 197263 w 350043"/>
                <a:gd name="connsiteY22" fmla="*/ 72676 h 235648"/>
                <a:gd name="connsiteX23" fmla="*/ 192119 w 350043"/>
                <a:gd name="connsiteY23" fmla="*/ 102965 h 235648"/>
                <a:gd name="connsiteX24" fmla="*/ 192119 w 350043"/>
                <a:gd name="connsiteY24" fmla="*/ 235648 h 235648"/>
                <a:gd name="connsiteX25" fmla="*/ 158210 w 350043"/>
                <a:gd name="connsiteY25" fmla="*/ 235648 h 235648"/>
                <a:gd name="connsiteX26" fmla="*/ 158210 w 350043"/>
                <a:gd name="connsiteY26" fmla="*/ 100298 h 235648"/>
                <a:gd name="connsiteX27" fmla="*/ 142399 w 350043"/>
                <a:gd name="connsiteY27" fmla="*/ 49721 h 235648"/>
                <a:gd name="connsiteX28" fmla="*/ 98870 w 350043"/>
                <a:gd name="connsiteY28" fmla="*/ 31718 h 235648"/>
                <a:gd name="connsiteX29" fmla="*/ 73438 w 350043"/>
                <a:gd name="connsiteY29" fmla="*/ 37052 h 235648"/>
                <a:gd name="connsiteX30" fmla="*/ 53150 w 350043"/>
                <a:gd name="connsiteY30" fmla="*/ 52197 h 235648"/>
                <a:gd name="connsiteX31" fmla="*/ 39529 w 350043"/>
                <a:gd name="connsiteY31" fmla="*/ 75152 h 235648"/>
                <a:gd name="connsiteX32" fmla="*/ 34576 w 350043"/>
                <a:gd name="connsiteY32" fmla="*/ 104299 h 235648"/>
                <a:gd name="connsiteX33" fmla="*/ 34576 w 350043"/>
                <a:gd name="connsiteY33" fmla="*/ 235648 h 235648"/>
                <a:gd name="connsiteX34" fmla="*/ 190 w 350043"/>
                <a:gd name="connsiteY34" fmla="*/ 235648 h 235648"/>
                <a:gd name="connsiteX35" fmla="*/ 190 w 350043"/>
                <a:gd name="connsiteY35" fmla="*/ 485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0043" h="235648">
                  <a:moveTo>
                    <a:pt x="0" y="5144"/>
                  </a:moveTo>
                  <a:lnTo>
                    <a:pt x="34385" y="5144"/>
                  </a:lnTo>
                  <a:lnTo>
                    <a:pt x="34385" y="44005"/>
                  </a:lnTo>
                  <a:cubicBezTo>
                    <a:pt x="38290" y="38386"/>
                    <a:pt x="42481" y="32861"/>
                    <a:pt x="47149" y="27432"/>
                  </a:cubicBezTo>
                  <a:cubicBezTo>
                    <a:pt x="51721" y="22098"/>
                    <a:pt x="57055" y="17431"/>
                    <a:pt x="62960" y="13335"/>
                  </a:cubicBezTo>
                  <a:cubicBezTo>
                    <a:pt x="68866" y="9335"/>
                    <a:pt x="75629" y="6096"/>
                    <a:pt x="83058" y="3715"/>
                  </a:cubicBezTo>
                  <a:cubicBezTo>
                    <a:pt x="90488" y="1334"/>
                    <a:pt x="99155" y="95"/>
                    <a:pt x="108966" y="95"/>
                  </a:cubicBezTo>
                  <a:cubicBezTo>
                    <a:pt x="127730" y="95"/>
                    <a:pt x="143161" y="4477"/>
                    <a:pt x="155448" y="13240"/>
                  </a:cubicBezTo>
                  <a:cubicBezTo>
                    <a:pt x="167640" y="22003"/>
                    <a:pt x="176879" y="32956"/>
                    <a:pt x="183166" y="46006"/>
                  </a:cubicBezTo>
                  <a:cubicBezTo>
                    <a:pt x="187357" y="39719"/>
                    <a:pt x="192024" y="33814"/>
                    <a:pt x="197168" y="28194"/>
                  </a:cubicBezTo>
                  <a:cubicBezTo>
                    <a:pt x="202406" y="22574"/>
                    <a:pt x="208217" y="17621"/>
                    <a:pt x="214789" y="13430"/>
                  </a:cubicBezTo>
                  <a:cubicBezTo>
                    <a:pt x="221361" y="9239"/>
                    <a:pt x="228695" y="6001"/>
                    <a:pt x="236887" y="3620"/>
                  </a:cubicBezTo>
                  <a:cubicBezTo>
                    <a:pt x="245078" y="1238"/>
                    <a:pt x="254222" y="0"/>
                    <a:pt x="264319" y="0"/>
                  </a:cubicBezTo>
                  <a:cubicBezTo>
                    <a:pt x="291084" y="0"/>
                    <a:pt x="312039" y="8287"/>
                    <a:pt x="327279" y="24765"/>
                  </a:cubicBezTo>
                  <a:cubicBezTo>
                    <a:pt x="342519" y="41243"/>
                    <a:pt x="350044" y="63913"/>
                    <a:pt x="350044" y="92773"/>
                  </a:cubicBezTo>
                  <a:lnTo>
                    <a:pt x="350044" y="235648"/>
                  </a:lnTo>
                  <a:lnTo>
                    <a:pt x="315659" y="235648"/>
                  </a:lnTo>
                  <a:lnTo>
                    <a:pt x="315659" y="101155"/>
                  </a:lnTo>
                  <a:cubicBezTo>
                    <a:pt x="315659" y="78867"/>
                    <a:pt x="310420" y="61722"/>
                    <a:pt x="299847" y="49721"/>
                  </a:cubicBezTo>
                  <a:cubicBezTo>
                    <a:pt x="289274" y="37719"/>
                    <a:pt x="274606" y="31718"/>
                    <a:pt x="255937" y="31718"/>
                  </a:cubicBezTo>
                  <a:cubicBezTo>
                    <a:pt x="247269" y="31718"/>
                    <a:pt x="239078" y="33242"/>
                    <a:pt x="231362" y="36386"/>
                  </a:cubicBezTo>
                  <a:cubicBezTo>
                    <a:pt x="223647" y="39529"/>
                    <a:pt x="216884" y="44101"/>
                    <a:pt x="211074" y="50197"/>
                  </a:cubicBezTo>
                  <a:cubicBezTo>
                    <a:pt x="205264" y="56293"/>
                    <a:pt x="200692" y="63818"/>
                    <a:pt x="197263" y="72676"/>
                  </a:cubicBezTo>
                  <a:cubicBezTo>
                    <a:pt x="193834" y="81629"/>
                    <a:pt x="192119" y="91726"/>
                    <a:pt x="192119" y="102965"/>
                  </a:cubicBezTo>
                  <a:lnTo>
                    <a:pt x="192119" y="235648"/>
                  </a:lnTo>
                  <a:lnTo>
                    <a:pt x="158210" y="235648"/>
                  </a:lnTo>
                  <a:lnTo>
                    <a:pt x="158210" y="100298"/>
                  </a:lnTo>
                  <a:cubicBezTo>
                    <a:pt x="158210" y="78677"/>
                    <a:pt x="152971" y="61817"/>
                    <a:pt x="142399" y="49721"/>
                  </a:cubicBezTo>
                  <a:cubicBezTo>
                    <a:pt x="131826" y="37719"/>
                    <a:pt x="117348" y="31718"/>
                    <a:pt x="98870" y="31718"/>
                  </a:cubicBezTo>
                  <a:cubicBezTo>
                    <a:pt x="89630" y="31718"/>
                    <a:pt x="81153" y="33528"/>
                    <a:pt x="73438" y="37052"/>
                  </a:cubicBezTo>
                  <a:cubicBezTo>
                    <a:pt x="65722" y="40672"/>
                    <a:pt x="58960" y="45720"/>
                    <a:pt x="53150" y="52197"/>
                  </a:cubicBezTo>
                  <a:cubicBezTo>
                    <a:pt x="47339" y="58769"/>
                    <a:pt x="42767" y="66389"/>
                    <a:pt x="39529" y="75152"/>
                  </a:cubicBezTo>
                  <a:cubicBezTo>
                    <a:pt x="36290" y="83915"/>
                    <a:pt x="34576" y="93631"/>
                    <a:pt x="34576" y="104299"/>
                  </a:cubicBezTo>
                  <a:lnTo>
                    <a:pt x="34576" y="235648"/>
                  </a:lnTo>
                  <a:lnTo>
                    <a:pt x="190" y="235648"/>
                  </a:lnTo>
                  <a:lnTo>
                    <a:pt x="190" y="4858"/>
                  </a:lnTo>
                  <a:close/>
                </a:path>
              </a:pathLst>
            </a:custGeom>
            <a:solidFill>
              <a:srgbClr val="44505E"/>
            </a:solidFill>
            <a:ln w="9525" cap="flat">
              <a:noFill/>
              <a:prstDash val="solid"/>
              <a:miter/>
            </a:ln>
          </p:spPr>
          <p:txBody>
            <a:bodyPr rtlCol="0" anchor="ctr"/>
            <a:lstStyle/>
            <a:p>
              <a:endParaRPr lang="pt-BR" noProof="0"/>
            </a:p>
          </p:txBody>
        </p:sp>
        <p:sp>
          <p:nvSpPr>
            <p:cNvPr id="50" name="Freeform: Shape 49">
              <a:extLst>
                <a:ext uri="{FF2B5EF4-FFF2-40B4-BE49-F238E27FC236}">
                  <a16:creationId xmlns:a16="http://schemas.microsoft.com/office/drawing/2014/main" id="{C4220802-8A07-CBF3-0849-ADC3A4016CE0}"/>
                </a:ext>
              </a:extLst>
            </p:cNvPr>
            <p:cNvSpPr/>
            <p:nvPr/>
          </p:nvSpPr>
          <p:spPr>
            <a:xfrm>
              <a:off x="6415537" y="925273"/>
              <a:ext cx="58016" cy="58448"/>
            </a:xfrm>
            <a:custGeom>
              <a:avLst/>
              <a:gdLst>
                <a:gd name="connsiteX0" fmla="*/ 95 w 230790"/>
                <a:gd name="connsiteY0" fmla="*/ 0 h 232505"/>
                <a:gd name="connsiteX1" fmla="*/ 38005 w 230790"/>
                <a:gd name="connsiteY1" fmla="*/ 0 h 232505"/>
                <a:gd name="connsiteX2" fmla="*/ 115633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3"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51" name="Freeform: Shape 50">
              <a:extLst>
                <a:ext uri="{FF2B5EF4-FFF2-40B4-BE49-F238E27FC236}">
                  <a16:creationId xmlns:a16="http://schemas.microsoft.com/office/drawing/2014/main" id="{AF0DBF7D-34A7-7E43-FF44-A5E69440C41C}"/>
                </a:ext>
              </a:extLst>
            </p:cNvPr>
            <p:cNvSpPr/>
            <p:nvPr/>
          </p:nvSpPr>
          <p:spPr>
            <a:xfrm>
              <a:off x="6487369"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286 w 39242"/>
                <a:gd name="connsiteY5" fmla="*/ 88392 h 319182"/>
                <a:gd name="connsiteX6" fmla="*/ 36671 w 39242"/>
                <a:gd name="connsiteY6" fmla="*/ 88392 h 319182"/>
                <a:gd name="connsiteX7" fmla="*/ 36671 w 39242"/>
                <a:gd name="connsiteY7" fmla="*/ 319183 h 319182"/>
                <a:gd name="connsiteX8" fmla="*/ 2286 w 39242"/>
                <a:gd name="connsiteY8" fmla="*/ 319183 h 319182"/>
                <a:gd name="connsiteX9" fmla="*/ 2286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286" y="88392"/>
                  </a:moveTo>
                  <a:lnTo>
                    <a:pt x="36671" y="88392"/>
                  </a:lnTo>
                  <a:lnTo>
                    <a:pt x="36671" y="319183"/>
                  </a:lnTo>
                  <a:lnTo>
                    <a:pt x="2286" y="319183"/>
                  </a:lnTo>
                  <a:lnTo>
                    <a:pt x="2286" y="88392"/>
                  </a:lnTo>
                  <a:close/>
                </a:path>
              </a:pathLst>
            </a:custGeom>
            <a:solidFill>
              <a:srgbClr val="44505E"/>
            </a:solidFill>
            <a:ln w="9525" cap="flat">
              <a:noFill/>
              <a:prstDash val="solid"/>
              <a:miter/>
            </a:ln>
          </p:spPr>
          <p:txBody>
            <a:bodyPr rtlCol="0" anchor="ctr"/>
            <a:lstStyle/>
            <a:p>
              <a:endParaRPr lang="pt-BR" noProof="0"/>
            </a:p>
          </p:txBody>
        </p:sp>
        <p:sp>
          <p:nvSpPr>
            <p:cNvPr id="52" name="Freeform: Shape 51">
              <a:extLst>
                <a:ext uri="{FF2B5EF4-FFF2-40B4-BE49-F238E27FC236}">
                  <a16:creationId xmlns:a16="http://schemas.microsoft.com/office/drawing/2014/main" id="{08232C51-28D9-F6FD-2130-2988EDF37A9F}"/>
                </a:ext>
              </a:extLst>
            </p:cNvPr>
            <p:cNvSpPr/>
            <p:nvPr/>
          </p:nvSpPr>
          <p:spPr>
            <a:xfrm>
              <a:off x="6513253" y="901353"/>
              <a:ext cx="58615" cy="83182"/>
            </a:xfrm>
            <a:custGeom>
              <a:avLst/>
              <a:gdLst>
                <a:gd name="connsiteX0" fmla="*/ 110394 w 233171"/>
                <a:gd name="connsiteY0" fmla="*/ 330898 h 330898"/>
                <a:gd name="connsiteX1" fmla="*/ 69723 w 233171"/>
                <a:gd name="connsiteY1" fmla="*/ 322897 h 330898"/>
                <a:gd name="connsiteX2" fmla="*/ 34480 w 233171"/>
                <a:gd name="connsiteY2" fmla="*/ 299466 h 330898"/>
                <a:gd name="connsiteX3" fmla="*/ 9430 w 233171"/>
                <a:gd name="connsiteY3" fmla="*/ 261938 h 330898"/>
                <a:gd name="connsiteX4" fmla="*/ 0 w 233171"/>
                <a:gd name="connsiteY4" fmla="*/ 211264 h 330898"/>
                <a:gd name="connsiteX5" fmla="*/ 0 w 233171"/>
                <a:gd name="connsiteY5" fmla="*/ 210407 h 330898"/>
                <a:gd name="connsiteX6" fmla="*/ 9430 w 233171"/>
                <a:gd name="connsiteY6" fmla="*/ 159925 h 330898"/>
                <a:gd name="connsiteX7" fmla="*/ 34480 w 233171"/>
                <a:gd name="connsiteY7" fmla="*/ 122206 h 330898"/>
                <a:gd name="connsiteX8" fmla="*/ 69723 w 233171"/>
                <a:gd name="connsiteY8" fmla="*/ 98488 h 330898"/>
                <a:gd name="connsiteX9" fmla="*/ 110394 w 233171"/>
                <a:gd name="connsiteY9" fmla="*/ 90202 h 330898"/>
                <a:gd name="connsiteX10" fmla="*/ 139827 w 233171"/>
                <a:gd name="connsiteY10" fmla="*/ 94202 h 330898"/>
                <a:gd name="connsiteX11" fmla="*/ 163925 w 233171"/>
                <a:gd name="connsiteY11" fmla="*/ 104870 h 330898"/>
                <a:gd name="connsiteX12" fmla="*/ 183356 w 233171"/>
                <a:gd name="connsiteY12" fmla="*/ 120491 h 330898"/>
                <a:gd name="connsiteX13" fmla="*/ 198787 w 233171"/>
                <a:gd name="connsiteY13" fmla="*/ 139255 h 330898"/>
                <a:gd name="connsiteX14" fmla="*/ 198787 w 233171"/>
                <a:gd name="connsiteY14" fmla="*/ 0 h 330898"/>
                <a:gd name="connsiteX15" fmla="*/ 233172 w 233171"/>
                <a:gd name="connsiteY15" fmla="*/ 0 h 330898"/>
                <a:gd name="connsiteX16" fmla="*/ 233172 w 233171"/>
                <a:gd name="connsiteY16" fmla="*/ 325850 h 330898"/>
                <a:gd name="connsiteX17" fmla="*/ 198787 w 233171"/>
                <a:gd name="connsiteY17" fmla="*/ 325850 h 330898"/>
                <a:gd name="connsiteX18" fmla="*/ 198787 w 233171"/>
                <a:gd name="connsiteY18" fmla="*/ 279463 h 330898"/>
                <a:gd name="connsiteX19" fmla="*/ 182975 w 233171"/>
                <a:gd name="connsiteY19" fmla="*/ 299085 h 330898"/>
                <a:gd name="connsiteX20" fmla="*/ 163544 w 233171"/>
                <a:gd name="connsiteY20" fmla="*/ 315658 h 330898"/>
                <a:gd name="connsiteX21" fmla="*/ 139636 w 233171"/>
                <a:gd name="connsiteY21" fmla="*/ 326803 h 330898"/>
                <a:gd name="connsiteX22" fmla="*/ 110394 w 233171"/>
                <a:gd name="connsiteY22" fmla="*/ 330803 h 330898"/>
                <a:gd name="connsiteX23" fmla="*/ 116681 w 233171"/>
                <a:gd name="connsiteY23" fmla="*/ 300133 h 330898"/>
                <a:gd name="connsiteX24" fmla="*/ 147733 w 233171"/>
                <a:gd name="connsiteY24" fmla="*/ 293656 h 330898"/>
                <a:gd name="connsiteX25" fmla="*/ 174498 w 233171"/>
                <a:gd name="connsiteY25" fmla="*/ 275368 h 330898"/>
                <a:gd name="connsiteX26" fmla="*/ 193262 w 233171"/>
                <a:gd name="connsiteY26" fmla="*/ 247269 h 330898"/>
                <a:gd name="connsiteX27" fmla="*/ 200216 w 233171"/>
                <a:gd name="connsiteY27" fmla="*/ 210883 h 330898"/>
                <a:gd name="connsiteX28" fmla="*/ 200216 w 233171"/>
                <a:gd name="connsiteY28" fmla="*/ 210026 h 330898"/>
                <a:gd name="connsiteX29" fmla="*/ 193262 w 233171"/>
                <a:gd name="connsiteY29" fmla="*/ 173641 h 330898"/>
                <a:gd name="connsiteX30" fmla="*/ 174498 w 233171"/>
                <a:gd name="connsiteY30" fmla="*/ 145732 h 330898"/>
                <a:gd name="connsiteX31" fmla="*/ 147733 w 233171"/>
                <a:gd name="connsiteY31" fmla="*/ 127635 h 330898"/>
                <a:gd name="connsiteX32" fmla="*/ 116681 w 233171"/>
                <a:gd name="connsiteY32" fmla="*/ 121158 h 330898"/>
                <a:gd name="connsiteX33" fmla="*/ 84963 w 233171"/>
                <a:gd name="connsiteY33" fmla="*/ 127159 h 330898"/>
                <a:gd name="connsiteX34" fmla="*/ 59341 w 233171"/>
                <a:gd name="connsiteY34" fmla="*/ 144589 h 330898"/>
                <a:gd name="connsiteX35" fmla="*/ 41910 w 233171"/>
                <a:gd name="connsiteY35" fmla="*/ 172498 h 330898"/>
                <a:gd name="connsiteX36" fmla="*/ 35433 w 233171"/>
                <a:gd name="connsiteY36" fmla="*/ 210026 h 330898"/>
                <a:gd name="connsiteX37" fmla="*/ 35433 w 233171"/>
                <a:gd name="connsiteY37" fmla="*/ 210883 h 330898"/>
                <a:gd name="connsiteX38" fmla="*/ 41910 w 233171"/>
                <a:gd name="connsiteY38" fmla="*/ 247936 h 330898"/>
                <a:gd name="connsiteX39" fmla="*/ 59531 w 233171"/>
                <a:gd name="connsiteY39" fmla="*/ 276034 h 330898"/>
                <a:gd name="connsiteX40" fmla="*/ 85439 w 233171"/>
                <a:gd name="connsiteY40" fmla="*/ 293941 h 330898"/>
                <a:gd name="connsiteX41" fmla="*/ 116681 w 23317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3171" h="330898">
                  <a:moveTo>
                    <a:pt x="110394" y="330898"/>
                  </a:moveTo>
                  <a:cubicBezTo>
                    <a:pt x="96393" y="330898"/>
                    <a:pt x="82868" y="328231"/>
                    <a:pt x="69723" y="322897"/>
                  </a:cubicBezTo>
                  <a:cubicBezTo>
                    <a:pt x="56674" y="317563"/>
                    <a:pt x="44863" y="309753"/>
                    <a:pt x="34480" y="299466"/>
                  </a:cubicBezTo>
                  <a:cubicBezTo>
                    <a:pt x="24003" y="289179"/>
                    <a:pt x="15716" y="276701"/>
                    <a:pt x="9430" y="261938"/>
                  </a:cubicBezTo>
                  <a:cubicBezTo>
                    <a:pt x="3143" y="247174"/>
                    <a:pt x="0" y="230314"/>
                    <a:pt x="0" y="211264"/>
                  </a:cubicBezTo>
                  <a:lnTo>
                    <a:pt x="0" y="210407"/>
                  </a:lnTo>
                  <a:cubicBezTo>
                    <a:pt x="0" y="191643"/>
                    <a:pt x="3143" y="174879"/>
                    <a:pt x="9430" y="159925"/>
                  </a:cubicBezTo>
                  <a:cubicBezTo>
                    <a:pt x="15716" y="145066"/>
                    <a:pt x="24003" y="132493"/>
                    <a:pt x="34480" y="122206"/>
                  </a:cubicBezTo>
                  <a:cubicBezTo>
                    <a:pt x="44863" y="111919"/>
                    <a:pt x="56674" y="104013"/>
                    <a:pt x="69723" y="98488"/>
                  </a:cubicBezTo>
                  <a:cubicBezTo>
                    <a:pt x="82868" y="92964"/>
                    <a:pt x="96393" y="90202"/>
                    <a:pt x="110394" y="90202"/>
                  </a:cubicBezTo>
                  <a:cubicBezTo>
                    <a:pt x="121158" y="90202"/>
                    <a:pt x="130969" y="91535"/>
                    <a:pt x="139827" y="94202"/>
                  </a:cubicBezTo>
                  <a:cubicBezTo>
                    <a:pt x="148780" y="96869"/>
                    <a:pt x="156782" y="100489"/>
                    <a:pt x="163925" y="104870"/>
                  </a:cubicBezTo>
                  <a:cubicBezTo>
                    <a:pt x="171069" y="109347"/>
                    <a:pt x="177546" y="114586"/>
                    <a:pt x="183356" y="120491"/>
                  </a:cubicBezTo>
                  <a:cubicBezTo>
                    <a:pt x="189166" y="126492"/>
                    <a:pt x="194310" y="132683"/>
                    <a:pt x="198787" y="139255"/>
                  </a:cubicBezTo>
                  <a:lnTo>
                    <a:pt x="198787" y="0"/>
                  </a:lnTo>
                  <a:lnTo>
                    <a:pt x="233172" y="0"/>
                  </a:lnTo>
                  <a:lnTo>
                    <a:pt x="233172" y="325850"/>
                  </a:lnTo>
                  <a:lnTo>
                    <a:pt x="198787" y="325850"/>
                  </a:lnTo>
                  <a:lnTo>
                    <a:pt x="198787" y="279463"/>
                  </a:lnTo>
                  <a:cubicBezTo>
                    <a:pt x="194024" y="286321"/>
                    <a:pt x="188786" y="292894"/>
                    <a:pt x="182975" y="299085"/>
                  </a:cubicBezTo>
                  <a:cubicBezTo>
                    <a:pt x="177165" y="305371"/>
                    <a:pt x="170688" y="310896"/>
                    <a:pt x="163544" y="315658"/>
                  </a:cubicBezTo>
                  <a:cubicBezTo>
                    <a:pt x="156400" y="320421"/>
                    <a:pt x="148494" y="324136"/>
                    <a:pt x="139636" y="326803"/>
                  </a:cubicBezTo>
                  <a:cubicBezTo>
                    <a:pt x="130873" y="329470"/>
                    <a:pt x="121158" y="330803"/>
                    <a:pt x="110394" y="330803"/>
                  </a:cubicBezTo>
                  <a:close/>
                  <a:moveTo>
                    <a:pt x="116681" y="300133"/>
                  </a:moveTo>
                  <a:cubicBezTo>
                    <a:pt x="127445" y="300133"/>
                    <a:pt x="137732" y="297942"/>
                    <a:pt x="147733" y="293656"/>
                  </a:cubicBezTo>
                  <a:cubicBezTo>
                    <a:pt x="157734" y="289369"/>
                    <a:pt x="166592" y="283273"/>
                    <a:pt x="174498" y="275368"/>
                  </a:cubicBezTo>
                  <a:cubicBezTo>
                    <a:pt x="182404" y="267462"/>
                    <a:pt x="188595" y="258127"/>
                    <a:pt x="193262" y="247269"/>
                  </a:cubicBezTo>
                  <a:cubicBezTo>
                    <a:pt x="197834" y="236410"/>
                    <a:pt x="200216" y="224314"/>
                    <a:pt x="200216" y="210883"/>
                  </a:cubicBezTo>
                  <a:lnTo>
                    <a:pt x="200216" y="210026"/>
                  </a:lnTo>
                  <a:cubicBezTo>
                    <a:pt x="200216" y="196596"/>
                    <a:pt x="197929" y="184499"/>
                    <a:pt x="193262" y="173641"/>
                  </a:cubicBezTo>
                  <a:cubicBezTo>
                    <a:pt x="188595" y="162782"/>
                    <a:pt x="182404" y="153448"/>
                    <a:pt x="174498" y="145732"/>
                  </a:cubicBezTo>
                  <a:cubicBezTo>
                    <a:pt x="166592" y="138017"/>
                    <a:pt x="157639" y="132016"/>
                    <a:pt x="147733" y="127635"/>
                  </a:cubicBezTo>
                  <a:cubicBezTo>
                    <a:pt x="137732" y="123349"/>
                    <a:pt x="127445" y="121158"/>
                    <a:pt x="116681" y="121158"/>
                  </a:cubicBezTo>
                  <a:cubicBezTo>
                    <a:pt x="105346" y="121158"/>
                    <a:pt x="94774" y="123158"/>
                    <a:pt x="84963" y="127159"/>
                  </a:cubicBezTo>
                  <a:cubicBezTo>
                    <a:pt x="75152" y="131159"/>
                    <a:pt x="66580" y="136969"/>
                    <a:pt x="59341" y="144589"/>
                  </a:cubicBezTo>
                  <a:cubicBezTo>
                    <a:pt x="52007" y="152114"/>
                    <a:pt x="46291" y="161449"/>
                    <a:pt x="41910" y="172498"/>
                  </a:cubicBezTo>
                  <a:cubicBezTo>
                    <a:pt x="37624" y="183451"/>
                    <a:pt x="35433" y="196024"/>
                    <a:pt x="35433" y="210026"/>
                  </a:cubicBezTo>
                  <a:lnTo>
                    <a:pt x="35433" y="210883"/>
                  </a:lnTo>
                  <a:cubicBezTo>
                    <a:pt x="35433" y="224599"/>
                    <a:pt x="37624" y="236982"/>
                    <a:pt x="41910" y="247936"/>
                  </a:cubicBezTo>
                  <a:cubicBezTo>
                    <a:pt x="46196" y="258984"/>
                    <a:pt x="52101" y="268319"/>
                    <a:pt x="59531" y="276034"/>
                  </a:cubicBezTo>
                  <a:cubicBezTo>
                    <a:pt x="66960" y="283750"/>
                    <a:pt x="75629" y="289750"/>
                    <a:pt x="85439" y="293941"/>
                  </a:cubicBezTo>
                  <a:cubicBezTo>
                    <a:pt x="95250" y="298132"/>
                    <a:pt x="105632" y="300228"/>
                    <a:pt x="116681" y="300228"/>
                  </a:cubicBezTo>
                  <a:close/>
                </a:path>
              </a:pathLst>
            </a:custGeom>
            <a:solidFill>
              <a:srgbClr val="44505E"/>
            </a:solidFill>
            <a:ln w="9525" cap="flat">
              <a:noFill/>
              <a:prstDash val="solid"/>
              <a:miter/>
            </a:ln>
          </p:spPr>
          <p:txBody>
            <a:bodyPr rtlCol="0" anchor="ctr"/>
            <a:lstStyle/>
            <a:p>
              <a:endParaRPr lang="pt-BR" noProof="0"/>
            </a:p>
          </p:txBody>
        </p:sp>
        <p:sp>
          <p:nvSpPr>
            <p:cNvPr id="53" name="Freeform: Shape 52">
              <a:extLst>
                <a:ext uri="{FF2B5EF4-FFF2-40B4-BE49-F238E27FC236}">
                  <a16:creationId xmlns:a16="http://schemas.microsoft.com/office/drawing/2014/main" id="{FF6C99DC-678B-4992-CB99-E559838619E3}"/>
                </a:ext>
              </a:extLst>
            </p:cNvPr>
            <p:cNvSpPr/>
            <p:nvPr/>
          </p:nvSpPr>
          <p:spPr>
            <a:xfrm>
              <a:off x="6586762"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0 w 202977"/>
                <a:gd name="connsiteY16" fmla="*/ 48196 h 239267"/>
                <a:gd name="connsiteX17" fmla="*/ 20383 w 202977"/>
                <a:gd name="connsiteY17" fmla="*/ 19907 h 239267"/>
                <a:gd name="connsiteX18" fmla="*/ 59245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0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1"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675" y="92678"/>
                    <a:pt x="84011" y="90964"/>
                    <a:pt x="98584" y="90964"/>
                  </a:cubicBezTo>
                  <a:cubicBezTo>
                    <a:pt x="113157" y="90964"/>
                    <a:pt x="126302"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0" y="33147"/>
                    <a:pt x="63436" y="36100"/>
                  </a:cubicBezTo>
                  <a:cubicBezTo>
                    <a:pt x="52292" y="39053"/>
                    <a:pt x="41338" y="43053"/>
                    <a:pt x="30670" y="48196"/>
                  </a:cubicBezTo>
                  <a:lnTo>
                    <a:pt x="20383" y="19907"/>
                  </a:lnTo>
                  <a:cubicBezTo>
                    <a:pt x="33147" y="13906"/>
                    <a:pt x="46101" y="9049"/>
                    <a:pt x="59245" y="5429"/>
                  </a:cubicBezTo>
                  <a:cubicBezTo>
                    <a:pt x="72294" y="1810"/>
                    <a:pt x="87344" y="0"/>
                    <a:pt x="104299" y="0"/>
                  </a:cubicBezTo>
                  <a:cubicBezTo>
                    <a:pt x="137064" y="0"/>
                    <a:pt x="161925" y="8477"/>
                    <a:pt x="178879" y="25432"/>
                  </a:cubicBezTo>
                  <a:cubicBezTo>
                    <a:pt x="194976"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0" y="239173"/>
                  </a:cubicBezTo>
                  <a:close/>
                  <a:moveTo>
                    <a:pt x="93154" y="211169"/>
                  </a:moveTo>
                  <a:cubicBezTo>
                    <a:pt x="103822" y="211169"/>
                    <a:pt x="113729" y="209740"/>
                    <a:pt x="122967" y="206788"/>
                  </a:cubicBezTo>
                  <a:cubicBezTo>
                    <a:pt x="132207"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4" y="119348"/>
                    <a:pt x="116871"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54" name="Freeform: Shape 53">
              <a:extLst>
                <a:ext uri="{FF2B5EF4-FFF2-40B4-BE49-F238E27FC236}">
                  <a16:creationId xmlns:a16="http://schemas.microsoft.com/office/drawing/2014/main" id="{B5006989-C64F-A040-2328-D1233857976C}"/>
                </a:ext>
              </a:extLst>
            </p:cNvPr>
            <p:cNvSpPr/>
            <p:nvPr/>
          </p:nvSpPr>
          <p:spPr>
            <a:xfrm>
              <a:off x="6651291" y="924268"/>
              <a:ext cx="44680" cy="60195"/>
            </a:xfrm>
            <a:custGeom>
              <a:avLst/>
              <a:gdLst>
                <a:gd name="connsiteX0" fmla="*/ 95535 w 177736"/>
                <a:gd name="connsiteY0" fmla="*/ 239268 h 239458"/>
                <a:gd name="connsiteX1" fmla="*/ 45053 w 177736"/>
                <a:gd name="connsiteY1" fmla="*/ 230124 h 239458"/>
                <a:gd name="connsiteX2" fmla="*/ 0 w 177736"/>
                <a:gd name="connsiteY2" fmla="*/ 205359 h 239458"/>
                <a:gd name="connsiteX3" fmla="*/ 17430 w 177736"/>
                <a:gd name="connsiteY3" fmla="*/ 180785 h 239458"/>
                <a:gd name="connsiteX4" fmla="*/ 56483 w 177736"/>
                <a:gd name="connsiteY4" fmla="*/ 202692 h 239458"/>
                <a:gd name="connsiteX5" fmla="*/ 97345 w 177736"/>
                <a:gd name="connsiteY5" fmla="*/ 210217 h 239458"/>
                <a:gd name="connsiteX6" fmla="*/ 131730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825 w 177736"/>
                <a:gd name="connsiteY10" fmla="*/ 147066 h 239458"/>
                <a:gd name="connsiteX11" fmla="*/ 109251 w 177736"/>
                <a:gd name="connsiteY11" fmla="*/ 138779 h 239458"/>
                <a:gd name="connsiteX12" fmla="*/ 87630 w 177736"/>
                <a:gd name="connsiteY12" fmla="*/ 132112 h 239458"/>
                <a:gd name="connsiteX13" fmla="*/ 60579 w 177736"/>
                <a:gd name="connsiteY13" fmla="*/ 123444 h 239458"/>
                <a:gd name="connsiteX14" fmla="*/ 36004 w 177736"/>
                <a:gd name="connsiteY14" fmla="*/ 111633 h 239458"/>
                <a:gd name="connsiteX15" fmla="*/ 18192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59 w 177736"/>
                <a:gd name="connsiteY22" fmla="*/ 6953 h 239458"/>
                <a:gd name="connsiteX23" fmla="*/ 172878 w 177736"/>
                <a:gd name="connsiteY23" fmla="*/ 25527 h 239458"/>
                <a:gd name="connsiteX24" fmla="*/ 157257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3 w 177736"/>
                <a:gd name="connsiteY32" fmla="*/ 96203 h 239458"/>
                <a:gd name="connsiteX33" fmla="*/ 103631 w 177736"/>
                <a:gd name="connsiteY33" fmla="*/ 103346 h 239458"/>
                <a:gd name="connsiteX34" fmla="*/ 130207 w 177736"/>
                <a:gd name="connsiteY34" fmla="*/ 112300 h 239458"/>
                <a:gd name="connsiteX35" fmla="*/ 154114 w 177736"/>
                <a:gd name="connsiteY35" fmla="*/ 124778 h 239458"/>
                <a:gd name="connsiteX36" fmla="*/ 171259 w 177736"/>
                <a:gd name="connsiteY36" fmla="*/ 143066 h 239458"/>
                <a:gd name="connsiteX37" fmla="*/ 177736 w 177736"/>
                <a:gd name="connsiteY37" fmla="*/ 169450 h 239458"/>
                <a:gd name="connsiteX38" fmla="*/ 177736 w 177736"/>
                <a:gd name="connsiteY38" fmla="*/ 170307 h 239458"/>
                <a:gd name="connsiteX39" fmla="*/ 171259 w 177736"/>
                <a:gd name="connsiteY39" fmla="*/ 199549 h 239458"/>
                <a:gd name="connsiteX40" fmla="*/ 153828 w 177736"/>
                <a:gd name="connsiteY40" fmla="*/ 221171 h 239458"/>
                <a:gd name="connsiteX41" fmla="*/ 127921 w 177736"/>
                <a:gd name="connsiteY41" fmla="*/ 234791 h 239458"/>
                <a:gd name="connsiteX42" fmla="*/ 95535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5" y="239268"/>
                  </a:moveTo>
                  <a:cubicBezTo>
                    <a:pt x="78867" y="239268"/>
                    <a:pt x="62007" y="236220"/>
                    <a:pt x="45053" y="230124"/>
                  </a:cubicBezTo>
                  <a:cubicBezTo>
                    <a:pt x="28098" y="224028"/>
                    <a:pt x="13049" y="215741"/>
                    <a:pt x="0" y="205359"/>
                  </a:cubicBezTo>
                  <a:lnTo>
                    <a:pt x="17430" y="180785"/>
                  </a:lnTo>
                  <a:cubicBezTo>
                    <a:pt x="29908" y="190310"/>
                    <a:pt x="42957" y="197644"/>
                    <a:pt x="56483" y="202692"/>
                  </a:cubicBezTo>
                  <a:cubicBezTo>
                    <a:pt x="70009" y="207740"/>
                    <a:pt x="83629" y="210217"/>
                    <a:pt x="97345" y="210217"/>
                  </a:cubicBezTo>
                  <a:cubicBezTo>
                    <a:pt x="111061" y="210217"/>
                    <a:pt x="122777" y="206978"/>
                    <a:pt x="131730" y="200406"/>
                  </a:cubicBezTo>
                  <a:cubicBezTo>
                    <a:pt x="140684" y="193834"/>
                    <a:pt x="145161" y="184976"/>
                    <a:pt x="145161" y="173641"/>
                  </a:cubicBezTo>
                  <a:lnTo>
                    <a:pt x="145161" y="172784"/>
                  </a:lnTo>
                  <a:cubicBezTo>
                    <a:pt x="145161" y="167164"/>
                    <a:pt x="143541" y="162211"/>
                    <a:pt x="140494" y="158020"/>
                  </a:cubicBezTo>
                  <a:cubicBezTo>
                    <a:pt x="137350" y="153829"/>
                    <a:pt x="133159" y="150209"/>
                    <a:pt x="127825" y="147066"/>
                  </a:cubicBezTo>
                  <a:cubicBezTo>
                    <a:pt x="122491" y="143923"/>
                    <a:pt x="116300" y="141161"/>
                    <a:pt x="109251" y="138779"/>
                  </a:cubicBezTo>
                  <a:cubicBezTo>
                    <a:pt x="102298" y="136398"/>
                    <a:pt x="95059" y="134207"/>
                    <a:pt x="87630" y="132112"/>
                  </a:cubicBezTo>
                  <a:cubicBezTo>
                    <a:pt x="78676" y="129445"/>
                    <a:pt x="69722" y="126492"/>
                    <a:pt x="60579" y="123444"/>
                  </a:cubicBezTo>
                  <a:cubicBezTo>
                    <a:pt x="51530" y="120301"/>
                    <a:pt x="43339" y="116396"/>
                    <a:pt x="36004" y="111633"/>
                  </a:cubicBezTo>
                  <a:cubicBezTo>
                    <a:pt x="28670" y="106871"/>
                    <a:pt x="22764" y="100870"/>
                    <a:pt x="18192" y="93726"/>
                  </a:cubicBezTo>
                  <a:cubicBezTo>
                    <a:pt x="13525" y="86582"/>
                    <a:pt x="11239" y="77629"/>
                    <a:pt x="11239" y="66961"/>
                  </a:cubicBezTo>
                  <a:lnTo>
                    <a:pt x="11239" y="66008"/>
                  </a:lnTo>
                  <a:cubicBezTo>
                    <a:pt x="11239" y="56198"/>
                    <a:pt x="13144" y="47149"/>
                    <a:pt x="17050" y="39053"/>
                  </a:cubicBezTo>
                  <a:cubicBezTo>
                    <a:pt x="20955" y="30861"/>
                    <a:pt x="26384" y="23908"/>
                    <a:pt x="33338" y="18098"/>
                  </a:cubicBezTo>
                  <a:cubicBezTo>
                    <a:pt x="40291" y="12287"/>
                    <a:pt x="48673" y="7811"/>
                    <a:pt x="58388" y="4667"/>
                  </a:cubicBezTo>
                  <a:cubicBezTo>
                    <a:pt x="68008" y="1524"/>
                    <a:pt x="78581" y="0"/>
                    <a:pt x="89821" y="0"/>
                  </a:cubicBezTo>
                  <a:cubicBezTo>
                    <a:pt x="104108" y="0"/>
                    <a:pt x="118586" y="2286"/>
                    <a:pt x="133159" y="6953"/>
                  </a:cubicBezTo>
                  <a:cubicBezTo>
                    <a:pt x="147732" y="11621"/>
                    <a:pt x="160972" y="17717"/>
                    <a:pt x="172878" y="25527"/>
                  </a:cubicBezTo>
                  <a:lnTo>
                    <a:pt x="157257" y="51435"/>
                  </a:lnTo>
                  <a:cubicBezTo>
                    <a:pt x="146494" y="44577"/>
                    <a:pt x="135255" y="39148"/>
                    <a:pt x="123539" y="35147"/>
                  </a:cubicBezTo>
                  <a:cubicBezTo>
                    <a:pt x="111823" y="31147"/>
                    <a:pt x="100203" y="29146"/>
                    <a:pt x="88963" y="29146"/>
                  </a:cubicBezTo>
                  <a:cubicBezTo>
                    <a:pt x="75247" y="29146"/>
                    <a:pt x="64389" y="32385"/>
                    <a:pt x="56388" y="38767"/>
                  </a:cubicBezTo>
                  <a:cubicBezTo>
                    <a:pt x="48291" y="45149"/>
                    <a:pt x="44291" y="53150"/>
                    <a:pt x="44291" y="62675"/>
                  </a:cubicBezTo>
                  <a:lnTo>
                    <a:pt x="44291" y="63627"/>
                  </a:lnTo>
                  <a:cubicBezTo>
                    <a:pt x="44291" y="68961"/>
                    <a:pt x="45910" y="73628"/>
                    <a:pt x="49244" y="77724"/>
                  </a:cubicBezTo>
                  <a:cubicBezTo>
                    <a:pt x="52482" y="81725"/>
                    <a:pt x="56864" y="85249"/>
                    <a:pt x="62389" y="88202"/>
                  </a:cubicBezTo>
                  <a:cubicBezTo>
                    <a:pt x="67913" y="91154"/>
                    <a:pt x="74200" y="93821"/>
                    <a:pt x="81343" y="96203"/>
                  </a:cubicBezTo>
                  <a:cubicBezTo>
                    <a:pt x="88487" y="98584"/>
                    <a:pt x="95916" y="100965"/>
                    <a:pt x="103631" y="103346"/>
                  </a:cubicBezTo>
                  <a:cubicBezTo>
                    <a:pt x="112585" y="106013"/>
                    <a:pt x="121444" y="108966"/>
                    <a:pt x="130207" y="112300"/>
                  </a:cubicBezTo>
                  <a:cubicBezTo>
                    <a:pt x="138969" y="115538"/>
                    <a:pt x="146971" y="119729"/>
                    <a:pt x="154114" y="124778"/>
                  </a:cubicBezTo>
                  <a:cubicBezTo>
                    <a:pt x="161258" y="129826"/>
                    <a:pt x="166973" y="135922"/>
                    <a:pt x="171259" y="143066"/>
                  </a:cubicBezTo>
                  <a:cubicBezTo>
                    <a:pt x="175546" y="150209"/>
                    <a:pt x="177736" y="158972"/>
                    <a:pt x="177736" y="169450"/>
                  </a:cubicBezTo>
                  <a:lnTo>
                    <a:pt x="177736" y="170307"/>
                  </a:lnTo>
                  <a:cubicBezTo>
                    <a:pt x="177736" y="181356"/>
                    <a:pt x="175546" y="191071"/>
                    <a:pt x="171259" y="199549"/>
                  </a:cubicBezTo>
                  <a:cubicBezTo>
                    <a:pt x="166973" y="208026"/>
                    <a:pt x="161163" y="215265"/>
                    <a:pt x="153828" y="221171"/>
                  </a:cubicBezTo>
                  <a:cubicBezTo>
                    <a:pt x="146589" y="227171"/>
                    <a:pt x="137922" y="231648"/>
                    <a:pt x="127921" y="234791"/>
                  </a:cubicBezTo>
                  <a:cubicBezTo>
                    <a:pt x="117919" y="237935"/>
                    <a:pt x="107156" y="239459"/>
                    <a:pt x="95535" y="239459"/>
                  </a:cubicBezTo>
                  <a:close/>
                </a:path>
              </a:pathLst>
            </a:custGeom>
            <a:solidFill>
              <a:srgbClr val="44505E"/>
            </a:solidFill>
            <a:ln w="9525" cap="flat">
              <a:noFill/>
              <a:prstDash val="solid"/>
              <a:miter/>
            </a:ln>
          </p:spPr>
          <p:txBody>
            <a:bodyPr rtlCol="0" anchor="ctr"/>
            <a:lstStyle/>
            <a:p>
              <a:endParaRPr lang="pt-BR" noProof="0"/>
            </a:p>
          </p:txBody>
        </p:sp>
        <p:sp>
          <p:nvSpPr>
            <p:cNvPr id="55" name="Freeform: Shape 54">
              <a:extLst>
                <a:ext uri="{FF2B5EF4-FFF2-40B4-BE49-F238E27FC236}">
                  <a16:creationId xmlns:a16="http://schemas.microsoft.com/office/drawing/2014/main" id="{06E7AE6A-6474-D555-008E-C70023E38EF6}"/>
                </a:ext>
              </a:extLst>
            </p:cNvPr>
            <p:cNvSpPr/>
            <p:nvPr/>
          </p:nvSpPr>
          <p:spPr>
            <a:xfrm>
              <a:off x="5250320" y="846952"/>
              <a:ext cx="1459036" cy="16186"/>
            </a:xfrm>
            <a:custGeom>
              <a:avLst/>
              <a:gdLst>
                <a:gd name="connsiteX0" fmla="*/ 0 w 5804058"/>
                <a:gd name="connsiteY0" fmla="*/ 0 h 64388"/>
                <a:gd name="connsiteX1" fmla="*/ 5804059 w 5804058"/>
                <a:gd name="connsiteY1" fmla="*/ 0 h 64388"/>
                <a:gd name="connsiteX2" fmla="*/ 5804059 w 5804058"/>
                <a:gd name="connsiteY2" fmla="*/ 64389 h 64388"/>
                <a:gd name="connsiteX3" fmla="*/ 0 w 5804058"/>
                <a:gd name="connsiteY3" fmla="*/ 64389 h 64388"/>
              </a:gdLst>
              <a:ahLst/>
              <a:cxnLst>
                <a:cxn ang="0">
                  <a:pos x="connsiteX0" y="connsiteY0"/>
                </a:cxn>
                <a:cxn ang="0">
                  <a:pos x="connsiteX1" y="connsiteY1"/>
                </a:cxn>
                <a:cxn ang="0">
                  <a:pos x="connsiteX2" y="connsiteY2"/>
                </a:cxn>
                <a:cxn ang="0">
                  <a:pos x="connsiteX3" y="connsiteY3"/>
                </a:cxn>
              </a:cxnLst>
              <a:rect l="l" t="t" r="r" b="b"/>
              <a:pathLst>
                <a:path w="5804058" h="64388">
                  <a:moveTo>
                    <a:pt x="0" y="0"/>
                  </a:moveTo>
                  <a:lnTo>
                    <a:pt x="5804059" y="0"/>
                  </a:lnTo>
                  <a:lnTo>
                    <a:pt x="5804059" y="64389"/>
                  </a:lnTo>
                  <a:lnTo>
                    <a:pt x="0" y="64389"/>
                  </a:lnTo>
                  <a:close/>
                </a:path>
              </a:pathLst>
            </a:custGeom>
            <a:solidFill>
              <a:srgbClr val="44505E"/>
            </a:solidFill>
            <a:ln w="9525" cap="flat">
              <a:noFill/>
              <a:prstDash val="solid"/>
              <a:miter/>
            </a:ln>
          </p:spPr>
          <p:txBody>
            <a:bodyPr rtlCol="0" anchor="ctr"/>
            <a:lstStyle/>
            <a:p>
              <a:endParaRPr lang="pt-BR" noProof="0"/>
            </a:p>
          </p:txBody>
        </p:sp>
        <p:sp>
          <p:nvSpPr>
            <p:cNvPr id="56" name="Freeform: Shape 55">
              <a:extLst>
                <a:ext uri="{FF2B5EF4-FFF2-40B4-BE49-F238E27FC236}">
                  <a16:creationId xmlns:a16="http://schemas.microsoft.com/office/drawing/2014/main" id="{5790489B-D041-FAA7-E93F-EA464A4E56AE}"/>
                </a:ext>
              </a:extLst>
            </p:cNvPr>
            <p:cNvSpPr/>
            <p:nvPr/>
          </p:nvSpPr>
          <p:spPr>
            <a:xfrm>
              <a:off x="6902633" y="268821"/>
              <a:ext cx="273418" cy="601046"/>
            </a:xfrm>
            <a:custGeom>
              <a:avLst/>
              <a:gdLst>
                <a:gd name="connsiteX0" fmla="*/ 0 w 1087659"/>
                <a:gd name="connsiteY0" fmla="*/ 210979 h 2390965"/>
                <a:gd name="connsiteX1" fmla="*/ 125063 w 1087659"/>
                <a:gd name="connsiteY1" fmla="*/ 103442 h 2390965"/>
                <a:gd name="connsiteX2" fmla="*/ 250031 w 1087659"/>
                <a:gd name="connsiteY2" fmla="*/ 210979 h 2390965"/>
                <a:gd name="connsiteX3" fmla="*/ 250031 w 1087659"/>
                <a:gd name="connsiteY3" fmla="*/ 1922717 h 2390965"/>
                <a:gd name="connsiteX4" fmla="*/ 249841 w 1087659"/>
                <a:gd name="connsiteY4" fmla="*/ 1922717 h 2390965"/>
                <a:gd name="connsiteX5" fmla="*/ 249841 w 1087659"/>
                <a:gd name="connsiteY5" fmla="*/ 1925955 h 2390965"/>
                <a:gd name="connsiteX6" fmla="*/ 333756 w 1087659"/>
                <a:gd name="connsiteY6" fmla="*/ 2100263 h 2390965"/>
                <a:gd name="connsiteX7" fmla="*/ 335566 w 1087659"/>
                <a:gd name="connsiteY7" fmla="*/ 2101787 h 2390965"/>
                <a:gd name="connsiteX8" fmla="*/ 336042 w 1087659"/>
                <a:gd name="connsiteY8" fmla="*/ 2102168 h 2390965"/>
                <a:gd name="connsiteX9" fmla="*/ 543877 w 1087659"/>
                <a:gd name="connsiteY9" fmla="*/ 2175891 h 2390965"/>
                <a:gd name="connsiteX10" fmla="*/ 749998 w 1087659"/>
                <a:gd name="connsiteY10" fmla="*/ 2103692 h 2390965"/>
                <a:gd name="connsiteX11" fmla="*/ 751713 w 1087659"/>
                <a:gd name="connsiteY11" fmla="*/ 2102168 h 2390965"/>
                <a:gd name="connsiteX12" fmla="*/ 752189 w 1087659"/>
                <a:gd name="connsiteY12" fmla="*/ 2101787 h 2390965"/>
                <a:gd name="connsiteX13" fmla="*/ 837819 w 1087659"/>
                <a:gd name="connsiteY13" fmla="*/ 1922812 h 2390965"/>
                <a:gd name="connsiteX14" fmla="*/ 837819 w 1087659"/>
                <a:gd name="connsiteY14" fmla="*/ 107537 h 2390965"/>
                <a:gd name="connsiteX15" fmla="*/ 962787 w 1087659"/>
                <a:gd name="connsiteY15" fmla="*/ 0 h 2390965"/>
                <a:gd name="connsiteX16" fmla="*/ 1087660 w 1087659"/>
                <a:gd name="connsiteY16" fmla="*/ 107537 h 2390965"/>
                <a:gd name="connsiteX17" fmla="*/ 1087660 w 1087659"/>
                <a:gd name="connsiteY17" fmla="*/ 1922621 h 2390965"/>
                <a:gd name="connsiteX18" fmla="*/ 928307 w 1087659"/>
                <a:gd name="connsiteY18" fmla="*/ 2253234 h 2390965"/>
                <a:gd name="connsiteX19" fmla="*/ 928116 w 1087659"/>
                <a:gd name="connsiteY19" fmla="*/ 2253424 h 2390965"/>
                <a:gd name="connsiteX20" fmla="*/ 927830 w 1087659"/>
                <a:gd name="connsiteY20" fmla="*/ 2253710 h 2390965"/>
                <a:gd name="connsiteX21" fmla="*/ 927354 w 1087659"/>
                <a:gd name="connsiteY21" fmla="*/ 2254187 h 2390965"/>
                <a:gd name="connsiteX22" fmla="*/ 543783 w 1087659"/>
                <a:gd name="connsiteY22" fmla="*/ 2390966 h 2390965"/>
                <a:gd name="connsiteX23" fmla="*/ 159734 w 1087659"/>
                <a:gd name="connsiteY23" fmla="*/ 2253710 h 2390965"/>
                <a:gd name="connsiteX24" fmla="*/ 159734 w 1087659"/>
                <a:gd name="connsiteY24" fmla="*/ 2253424 h 2390965"/>
                <a:gd name="connsiteX25" fmla="*/ 159353 w 1087659"/>
                <a:gd name="connsiteY25" fmla="*/ 2253234 h 2390965"/>
                <a:gd name="connsiteX26" fmla="*/ 158877 w 1087659"/>
                <a:gd name="connsiteY26" fmla="*/ 2252948 h 2390965"/>
                <a:gd name="connsiteX27" fmla="*/ 0 w 1087659"/>
                <a:gd name="connsiteY27" fmla="*/ 1922621 h 2390965"/>
                <a:gd name="connsiteX28" fmla="*/ 0 w 1087659"/>
                <a:gd name="connsiteY28" fmla="*/ 1922621 h 2390965"/>
                <a:gd name="connsiteX29" fmla="*/ 0 w 1087659"/>
                <a:gd name="connsiteY29" fmla="*/ 210979 h 239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87659" h="2390965">
                  <a:moveTo>
                    <a:pt x="0" y="210979"/>
                  </a:moveTo>
                  <a:cubicBezTo>
                    <a:pt x="0" y="151638"/>
                    <a:pt x="56007" y="103442"/>
                    <a:pt x="125063" y="103442"/>
                  </a:cubicBezTo>
                  <a:cubicBezTo>
                    <a:pt x="194120" y="103442"/>
                    <a:pt x="250031" y="151638"/>
                    <a:pt x="250031" y="210979"/>
                  </a:cubicBezTo>
                  <a:lnTo>
                    <a:pt x="250031" y="1922717"/>
                  </a:lnTo>
                  <a:lnTo>
                    <a:pt x="249841" y="1922717"/>
                  </a:lnTo>
                  <a:lnTo>
                    <a:pt x="249841" y="1925955"/>
                  </a:lnTo>
                  <a:cubicBezTo>
                    <a:pt x="250793" y="1994059"/>
                    <a:pt x="282797" y="2055495"/>
                    <a:pt x="333756" y="2100263"/>
                  </a:cubicBezTo>
                  <a:lnTo>
                    <a:pt x="335566" y="2101787"/>
                  </a:lnTo>
                  <a:lnTo>
                    <a:pt x="336042" y="2102168"/>
                  </a:lnTo>
                  <a:cubicBezTo>
                    <a:pt x="388906" y="2147697"/>
                    <a:pt x="462343" y="2175891"/>
                    <a:pt x="543877" y="2175891"/>
                  </a:cubicBezTo>
                  <a:cubicBezTo>
                    <a:pt x="625411" y="2175891"/>
                    <a:pt x="697420" y="2148364"/>
                    <a:pt x="749998" y="2103692"/>
                  </a:cubicBezTo>
                  <a:lnTo>
                    <a:pt x="751713" y="2102168"/>
                  </a:lnTo>
                  <a:lnTo>
                    <a:pt x="752189" y="2101787"/>
                  </a:lnTo>
                  <a:cubicBezTo>
                    <a:pt x="805053" y="2056352"/>
                    <a:pt x="837819" y="1993011"/>
                    <a:pt x="837819" y="1922812"/>
                  </a:cubicBezTo>
                  <a:lnTo>
                    <a:pt x="837819" y="107537"/>
                  </a:lnTo>
                  <a:cubicBezTo>
                    <a:pt x="837819" y="48196"/>
                    <a:pt x="893731" y="0"/>
                    <a:pt x="962787" y="0"/>
                  </a:cubicBezTo>
                  <a:cubicBezTo>
                    <a:pt x="1031843" y="0"/>
                    <a:pt x="1087660" y="48196"/>
                    <a:pt x="1087660" y="107537"/>
                  </a:cubicBezTo>
                  <a:lnTo>
                    <a:pt x="1087660" y="1922621"/>
                  </a:lnTo>
                  <a:cubicBezTo>
                    <a:pt x="1087660" y="2051399"/>
                    <a:pt x="1026795" y="2168366"/>
                    <a:pt x="928307" y="2253234"/>
                  </a:cubicBezTo>
                  <a:lnTo>
                    <a:pt x="928116" y="2253424"/>
                  </a:lnTo>
                  <a:lnTo>
                    <a:pt x="927830" y="2253710"/>
                  </a:lnTo>
                  <a:lnTo>
                    <a:pt x="927354" y="2254187"/>
                  </a:lnTo>
                  <a:cubicBezTo>
                    <a:pt x="828770" y="2338673"/>
                    <a:pt x="693134" y="2390966"/>
                    <a:pt x="543783" y="2390966"/>
                  </a:cubicBezTo>
                  <a:cubicBezTo>
                    <a:pt x="394430" y="2390966"/>
                    <a:pt x="258413" y="2338483"/>
                    <a:pt x="159734" y="2253710"/>
                  </a:cubicBezTo>
                  <a:lnTo>
                    <a:pt x="159734" y="2253424"/>
                  </a:lnTo>
                  <a:cubicBezTo>
                    <a:pt x="159734" y="2253424"/>
                    <a:pt x="159353" y="2253234"/>
                    <a:pt x="159353" y="2253234"/>
                  </a:cubicBezTo>
                  <a:lnTo>
                    <a:pt x="158877" y="2252948"/>
                  </a:lnTo>
                  <a:cubicBezTo>
                    <a:pt x="60770" y="2167985"/>
                    <a:pt x="0" y="2051304"/>
                    <a:pt x="0" y="1922621"/>
                  </a:cubicBezTo>
                  <a:lnTo>
                    <a:pt x="0" y="1922621"/>
                  </a:lnTo>
                  <a:lnTo>
                    <a:pt x="0" y="210979"/>
                  </a:lnTo>
                  <a:close/>
                </a:path>
              </a:pathLst>
            </a:custGeom>
            <a:solidFill>
              <a:srgbClr val="8FC640"/>
            </a:solidFill>
            <a:ln w="9525" cap="flat">
              <a:noFill/>
              <a:prstDash val="solid"/>
              <a:miter/>
            </a:ln>
          </p:spPr>
          <p:txBody>
            <a:bodyPr rtlCol="0" anchor="ctr"/>
            <a:lstStyle/>
            <a:p>
              <a:endParaRPr lang="pt-BR" noProof="0"/>
            </a:p>
          </p:txBody>
        </p:sp>
        <p:sp>
          <p:nvSpPr>
            <p:cNvPr id="57" name="Freeform: Shape 56">
              <a:extLst>
                <a:ext uri="{FF2B5EF4-FFF2-40B4-BE49-F238E27FC236}">
                  <a16:creationId xmlns:a16="http://schemas.microsoft.com/office/drawing/2014/main" id="{D69D942F-483F-5408-C30D-9CE525A797E6}"/>
                </a:ext>
              </a:extLst>
            </p:cNvPr>
            <p:cNvSpPr/>
            <p:nvPr/>
          </p:nvSpPr>
          <p:spPr>
            <a:xfrm>
              <a:off x="7013590" y="213965"/>
              <a:ext cx="54018" cy="562280"/>
            </a:xfrm>
            <a:custGeom>
              <a:avLst/>
              <a:gdLst>
                <a:gd name="connsiteX0" fmla="*/ 0 w 214883"/>
                <a:gd name="connsiteY0" fmla="*/ 107537 h 2236755"/>
                <a:gd name="connsiteX1" fmla="*/ 107537 w 214883"/>
                <a:gd name="connsiteY1" fmla="*/ 0 h 2236755"/>
                <a:gd name="connsiteX2" fmla="*/ 214884 w 214883"/>
                <a:gd name="connsiteY2" fmla="*/ 107537 h 2236755"/>
                <a:gd name="connsiteX3" fmla="*/ 214884 w 214883"/>
                <a:gd name="connsiteY3" fmla="*/ 2129219 h 2236755"/>
                <a:gd name="connsiteX4" fmla="*/ 107537 w 214883"/>
                <a:gd name="connsiteY4" fmla="*/ 2236756 h 2236755"/>
                <a:gd name="connsiteX5" fmla="*/ 0 w 214883"/>
                <a:gd name="connsiteY5" fmla="*/ 2129219 h 2236755"/>
                <a:gd name="connsiteX6" fmla="*/ 0 w 214883"/>
                <a:gd name="connsiteY6" fmla="*/ 107537 h 223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 h="2236755">
                  <a:moveTo>
                    <a:pt x="0" y="107537"/>
                  </a:moveTo>
                  <a:cubicBezTo>
                    <a:pt x="0" y="48197"/>
                    <a:pt x="48101" y="0"/>
                    <a:pt x="107537" y="0"/>
                  </a:cubicBezTo>
                  <a:cubicBezTo>
                    <a:pt x="166973" y="0"/>
                    <a:pt x="214884" y="48197"/>
                    <a:pt x="214884" y="107537"/>
                  </a:cubicBezTo>
                  <a:lnTo>
                    <a:pt x="214884" y="2129219"/>
                  </a:lnTo>
                  <a:cubicBezTo>
                    <a:pt x="214884" y="2188559"/>
                    <a:pt x="166782" y="2236756"/>
                    <a:pt x="107537" y="2236756"/>
                  </a:cubicBezTo>
                  <a:cubicBezTo>
                    <a:pt x="48291" y="2236756"/>
                    <a:pt x="0" y="2188559"/>
                    <a:pt x="0" y="2129219"/>
                  </a:cubicBezTo>
                  <a:lnTo>
                    <a:pt x="0" y="107537"/>
                  </a:lnTo>
                  <a:close/>
                </a:path>
              </a:pathLst>
            </a:custGeom>
            <a:solidFill>
              <a:srgbClr val="3698B0"/>
            </a:solidFill>
            <a:ln w="9525" cap="flat">
              <a:noFill/>
              <a:prstDash val="solid"/>
              <a:miter/>
            </a:ln>
          </p:spPr>
          <p:txBody>
            <a:bodyPr rtlCol="0" anchor="ctr"/>
            <a:lstStyle/>
            <a:p>
              <a:endParaRPr lang="pt-BR" noProof="0"/>
            </a:p>
          </p:txBody>
        </p:sp>
        <p:sp>
          <p:nvSpPr>
            <p:cNvPr id="58" name="Freeform: Shape 57">
              <a:extLst>
                <a:ext uri="{FF2B5EF4-FFF2-40B4-BE49-F238E27FC236}">
                  <a16:creationId xmlns:a16="http://schemas.microsoft.com/office/drawing/2014/main" id="{320BD57D-5A94-E587-7E16-91B8D2EE2A35}"/>
                </a:ext>
              </a:extLst>
            </p:cNvPr>
            <p:cNvSpPr/>
            <p:nvPr/>
          </p:nvSpPr>
          <p:spPr>
            <a:xfrm>
              <a:off x="6795770" y="332991"/>
              <a:ext cx="485994" cy="649437"/>
            </a:xfrm>
            <a:custGeom>
              <a:avLst/>
              <a:gdLst>
                <a:gd name="connsiteX0" fmla="*/ 1933290 w 1933289"/>
                <a:gd name="connsiteY0" fmla="*/ 138017 h 2583465"/>
                <a:gd name="connsiteX1" fmla="*/ 1933290 w 1933289"/>
                <a:gd name="connsiteY1" fmla="*/ 1734122 h 2583465"/>
                <a:gd name="connsiteX2" fmla="*/ 1796606 w 1933289"/>
                <a:gd name="connsiteY2" fmla="*/ 2229136 h 2583465"/>
                <a:gd name="connsiteX3" fmla="*/ 977742 w 1933289"/>
                <a:gd name="connsiteY3" fmla="*/ 2583466 h 2583465"/>
                <a:gd name="connsiteX4" fmla="*/ 955357 w 1933289"/>
                <a:gd name="connsiteY4" fmla="*/ 2583466 h 2583465"/>
                <a:gd name="connsiteX5" fmla="*/ 136589 w 1933289"/>
                <a:gd name="connsiteY5" fmla="*/ 2229136 h 2583465"/>
                <a:gd name="connsiteX6" fmla="*/ 0 w 1933289"/>
                <a:gd name="connsiteY6" fmla="*/ 1734122 h 2583465"/>
                <a:gd name="connsiteX7" fmla="*/ 0 w 1933289"/>
                <a:gd name="connsiteY7" fmla="*/ 794194 h 2583465"/>
                <a:gd name="connsiteX8" fmla="*/ 137827 w 1933289"/>
                <a:gd name="connsiteY8" fmla="*/ 656273 h 2583465"/>
                <a:gd name="connsiteX9" fmla="*/ 275463 w 1933289"/>
                <a:gd name="connsiteY9" fmla="*/ 794194 h 2583465"/>
                <a:gd name="connsiteX10" fmla="*/ 275463 w 1933289"/>
                <a:gd name="connsiteY10" fmla="*/ 1734122 h 2583465"/>
                <a:gd name="connsiteX11" fmla="*/ 354235 w 1933289"/>
                <a:gd name="connsiteY11" fmla="*/ 2059686 h 2583465"/>
                <a:gd name="connsiteX12" fmla="*/ 958215 w 1933289"/>
                <a:gd name="connsiteY12" fmla="*/ 2307527 h 2583465"/>
                <a:gd name="connsiteX13" fmla="*/ 974789 w 1933289"/>
                <a:gd name="connsiteY13" fmla="*/ 2307527 h 2583465"/>
                <a:gd name="connsiteX14" fmla="*/ 1578959 w 1933289"/>
                <a:gd name="connsiteY14" fmla="*/ 2059686 h 2583465"/>
                <a:gd name="connsiteX15" fmla="*/ 1657636 w 1933289"/>
                <a:gd name="connsiteY15" fmla="*/ 1734122 h 2583465"/>
                <a:gd name="connsiteX16" fmla="*/ 1657636 w 1933289"/>
                <a:gd name="connsiteY16" fmla="*/ 138017 h 2583465"/>
                <a:gd name="connsiteX17" fmla="*/ 1795463 w 1933289"/>
                <a:gd name="connsiteY17" fmla="*/ 0 h 2583465"/>
                <a:gd name="connsiteX18" fmla="*/ 1933290 w 1933289"/>
                <a:gd name="connsiteY18" fmla="*/ 138017 h 25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3289" h="2583465">
                  <a:moveTo>
                    <a:pt x="1933290" y="138017"/>
                  </a:moveTo>
                  <a:lnTo>
                    <a:pt x="1933290" y="1734122"/>
                  </a:lnTo>
                  <a:cubicBezTo>
                    <a:pt x="1933290" y="1870996"/>
                    <a:pt x="1919002" y="2071211"/>
                    <a:pt x="1796606" y="2229136"/>
                  </a:cubicBezTo>
                  <a:cubicBezTo>
                    <a:pt x="1634395" y="2438305"/>
                    <a:pt x="1432084" y="2578703"/>
                    <a:pt x="977742" y="2583466"/>
                  </a:cubicBezTo>
                  <a:lnTo>
                    <a:pt x="955357" y="2583466"/>
                  </a:lnTo>
                  <a:cubicBezTo>
                    <a:pt x="501015" y="2578703"/>
                    <a:pt x="298704" y="2438400"/>
                    <a:pt x="136589" y="2229136"/>
                  </a:cubicBezTo>
                  <a:cubicBezTo>
                    <a:pt x="14192" y="2071211"/>
                    <a:pt x="0" y="1870996"/>
                    <a:pt x="0" y="1734122"/>
                  </a:cubicBezTo>
                  <a:lnTo>
                    <a:pt x="0" y="794194"/>
                  </a:lnTo>
                  <a:cubicBezTo>
                    <a:pt x="0" y="718185"/>
                    <a:pt x="61436" y="656273"/>
                    <a:pt x="137827" y="656273"/>
                  </a:cubicBezTo>
                  <a:cubicBezTo>
                    <a:pt x="214217" y="656273"/>
                    <a:pt x="275463" y="718185"/>
                    <a:pt x="275463" y="794194"/>
                  </a:cubicBezTo>
                  <a:lnTo>
                    <a:pt x="275463" y="1734122"/>
                  </a:lnTo>
                  <a:cubicBezTo>
                    <a:pt x="275463" y="1887188"/>
                    <a:pt x="300324" y="1990630"/>
                    <a:pt x="354235" y="2059686"/>
                  </a:cubicBezTo>
                  <a:cubicBezTo>
                    <a:pt x="476250" y="2217611"/>
                    <a:pt x="609791" y="2304479"/>
                    <a:pt x="958215" y="2307527"/>
                  </a:cubicBezTo>
                  <a:lnTo>
                    <a:pt x="974789" y="2307527"/>
                  </a:lnTo>
                  <a:cubicBezTo>
                    <a:pt x="1323499" y="2304479"/>
                    <a:pt x="1456563" y="2217611"/>
                    <a:pt x="1578959" y="2059686"/>
                  </a:cubicBezTo>
                  <a:cubicBezTo>
                    <a:pt x="1632490" y="1990630"/>
                    <a:pt x="1657636" y="1887093"/>
                    <a:pt x="1657636" y="1734122"/>
                  </a:cubicBezTo>
                  <a:lnTo>
                    <a:pt x="1657636" y="138017"/>
                  </a:lnTo>
                  <a:cubicBezTo>
                    <a:pt x="1657636" y="61531"/>
                    <a:pt x="1719453" y="0"/>
                    <a:pt x="1795463" y="0"/>
                  </a:cubicBezTo>
                  <a:cubicBezTo>
                    <a:pt x="1871472" y="0"/>
                    <a:pt x="1933290" y="61531"/>
                    <a:pt x="1933290" y="138017"/>
                  </a:cubicBezTo>
                </a:path>
              </a:pathLst>
            </a:custGeom>
            <a:solidFill>
              <a:srgbClr val="49306E"/>
            </a:solidFill>
            <a:ln w="9525" cap="flat">
              <a:noFill/>
              <a:prstDash val="solid"/>
              <a:miter/>
            </a:ln>
          </p:spPr>
          <p:txBody>
            <a:bodyPr rtlCol="0" anchor="ctr"/>
            <a:lstStyle/>
            <a:p>
              <a:endParaRPr lang="pt-BR" noProof="0"/>
            </a:p>
          </p:txBody>
        </p:sp>
      </p:grpSp>
      <p:sp>
        <p:nvSpPr>
          <p:cNvPr id="5" name="Rectangle 3">
            <a:extLst>
              <a:ext uri="{FF2B5EF4-FFF2-40B4-BE49-F238E27FC236}">
                <a16:creationId xmlns:a16="http://schemas.microsoft.com/office/drawing/2014/main" id="{94FACCC9-4161-DB06-9AA2-752A25688FA6}"/>
              </a:ext>
            </a:extLst>
          </p:cNvPr>
          <p:cNvSpPr>
            <a:spLocks noChangeArrowheads="1"/>
          </p:cNvSpPr>
          <p:nvPr/>
        </p:nvSpPr>
        <p:spPr bwMode="auto">
          <a:xfrm>
            <a:off x="428153" y="692497"/>
            <a:ext cx="264816" cy="2862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p:txBody>
      </p:sp>
      <p:sp>
        <p:nvSpPr>
          <p:cNvPr id="8" name="CaixaDeTexto 7">
            <a:extLst>
              <a:ext uri="{FF2B5EF4-FFF2-40B4-BE49-F238E27FC236}">
                <a16:creationId xmlns:a16="http://schemas.microsoft.com/office/drawing/2014/main" id="{328C73AE-775B-675F-667A-DBF59C178BE8}"/>
              </a:ext>
            </a:extLst>
          </p:cNvPr>
          <p:cNvSpPr txBox="1"/>
          <p:nvPr/>
        </p:nvSpPr>
        <p:spPr>
          <a:xfrm>
            <a:off x="2447581" y="218322"/>
            <a:ext cx="3022763" cy="461665"/>
          </a:xfrm>
          <a:prstGeom prst="rect">
            <a:avLst/>
          </a:prstGeom>
          <a:noFill/>
        </p:spPr>
        <p:txBody>
          <a:bodyPr wrap="square" rtlCol="0">
            <a:spAutoFit/>
          </a:bodyPr>
          <a:lstStyle/>
          <a:p>
            <a:r>
              <a:rPr lang="pt-BR" sz="2400" b="1"/>
              <a:t>Resultado caso 1</a:t>
            </a:r>
            <a:endParaRPr lang="pt-BR" sz="2400" b="1" noProof="0"/>
          </a:p>
        </p:txBody>
      </p:sp>
      <p:pic>
        <p:nvPicPr>
          <p:cNvPr id="2" name="Imagem 1">
            <a:extLst>
              <a:ext uri="{FF2B5EF4-FFF2-40B4-BE49-F238E27FC236}">
                <a16:creationId xmlns:a16="http://schemas.microsoft.com/office/drawing/2014/main" id="{C0928CB8-3146-67FE-7A31-F289FB6D76A8}"/>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rot="20631384">
            <a:off x="2770952" y="366191"/>
            <a:ext cx="6259935" cy="6377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 name="CaixaDeTexto 63">
            <a:extLst>
              <a:ext uri="{FF2B5EF4-FFF2-40B4-BE49-F238E27FC236}">
                <a16:creationId xmlns:a16="http://schemas.microsoft.com/office/drawing/2014/main" id="{28627675-6FC5-86C5-4858-8E66AE74565A}"/>
              </a:ext>
            </a:extLst>
          </p:cNvPr>
          <p:cNvSpPr txBox="1"/>
          <p:nvPr/>
        </p:nvSpPr>
        <p:spPr>
          <a:xfrm rot="20061419">
            <a:off x="2966974" y="3270033"/>
            <a:ext cx="6249310" cy="1138773"/>
          </a:xfrm>
          <a:prstGeom prst="rect">
            <a:avLst/>
          </a:prstGeom>
          <a:noFill/>
        </p:spPr>
        <p:txBody>
          <a:bodyPr wrap="square" rtlCol="0">
            <a:spAutoFit/>
          </a:bodyPr>
          <a:lstStyle/>
          <a:p>
            <a:pPr lvl="0" algn="ctr"/>
            <a:r>
              <a:rPr lang="pt-BR" sz="2000" b="1" noProof="0">
                <a:solidFill>
                  <a:srgbClr val="FF0000"/>
                </a:solidFill>
              </a:rPr>
              <a:t>PAV</a:t>
            </a:r>
            <a:endParaRPr lang="pt-BR" sz="2400" b="1" noProof="0">
              <a:solidFill>
                <a:srgbClr val="FF0000"/>
              </a:solidFill>
            </a:endParaRPr>
          </a:p>
          <a:p>
            <a:pPr lvl="0" algn="ctr"/>
            <a:endParaRPr lang="pt-BR" sz="2400" b="1" noProof="0">
              <a:solidFill>
                <a:srgbClr val="FF0000"/>
              </a:solidFill>
            </a:endParaRPr>
          </a:p>
          <a:p>
            <a:pPr lvl="0" algn="ctr"/>
            <a:endParaRPr lang="pt-BR" sz="2400" b="1" noProof="0">
              <a:solidFill>
                <a:srgbClr val="FF0000"/>
              </a:solidFill>
            </a:endParaRPr>
          </a:p>
        </p:txBody>
      </p:sp>
    </p:spTree>
    <p:extLst>
      <p:ext uri="{BB962C8B-B14F-4D97-AF65-F5344CB8AC3E}">
        <p14:creationId xmlns:p14="http://schemas.microsoft.com/office/powerpoint/2010/main" val="122364899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5111575" y="687608"/>
            <a:ext cx="10058400" cy="631231"/>
          </a:xfrm>
        </p:spPr>
        <p:txBody>
          <a:bodyPr>
            <a:normAutofit/>
          </a:bodyPr>
          <a:lstStyle/>
          <a:p>
            <a:r>
              <a:rPr lang="pt-BR" sz="3600" b="1">
                <a:solidFill>
                  <a:srgbClr val="3299B1"/>
                </a:solidFill>
                <a:latin typeface="Agency FB" panose="020B0503020202020204" pitchFamily="34" charset="0"/>
              </a:rPr>
              <a:t>Caso 2 - ADULTO</a:t>
            </a:r>
          </a:p>
        </p:txBody>
      </p:sp>
      <p:sp>
        <p:nvSpPr>
          <p:cNvPr id="3" name="CaixaDeTexto 2">
            <a:extLst>
              <a:ext uri="{FF2B5EF4-FFF2-40B4-BE49-F238E27FC236}">
                <a16:creationId xmlns:a16="http://schemas.microsoft.com/office/drawing/2014/main" id="{0636A108-B6A8-4241-8AF2-269D22F75D8B}"/>
              </a:ext>
            </a:extLst>
          </p:cNvPr>
          <p:cNvSpPr txBox="1"/>
          <p:nvPr/>
        </p:nvSpPr>
        <p:spPr>
          <a:xfrm>
            <a:off x="641554" y="1597839"/>
            <a:ext cx="11380840" cy="2708434"/>
          </a:xfrm>
          <a:prstGeom prst="rect">
            <a:avLst/>
          </a:prstGeom>
          <a:noFill/>
        </p:spPr>
        <p:txBody>
          <a:bodyPr wrap="square" lIns="91440" tIns="45720" rIns="91440" bIns="45720" numCol="1" anchor="t">
            <a:spAutoFit/>
          </a:bodyPr>
          <a:lstStyle/>
          <a:p>
            <a:pPr algn="just">
              <a:spcAft>
                <a:spcPts val="1200"/>
              </a:spcAft>
              <a:defRPr/>
            </a:pPr>
            <a:endParaRPr lang="pt-BR" sz="2000">
              <a:solidFill>
                <a:schemeClr val="tx2"/>
              </a:solidFill>
            </a:endParaRPr>
          </a:p>
          <a:p>
            <a:pPr marL="285750" marR="0" lvl="0" indent="-285750" algn="l" defTabSz="914400" rtl="0" eaLnBrk="1" fontAlgn="auto" latinLnBrk="0" hangingPunct="1">
              <a:lnSpc>
                <a:spcPct val="100000"/>
              </a:lnSpc>
              <a:spcBef>
                <a:spcPts val="0"/>
              </a:spcBef>
              <a:spcAft>
                <a:spcPts val="1200"/>
              </a:spcAft>
              <a:buClrTx/>
              <a:buSzTx/>
              <a:buFontTx/>
              <a:buChar char="-"/>
              <a:tabLst/>
              <a:defRPr/>
            </a:pPr>
            <a:endParaRPr kumimoji="0" lang="pt-BR" sz="2000" b="1" i="0" u="none" strike="noStrike" kern="1200" cap="none" spc="0" normalizeH="0" baseline="0" noProof="0">
              <a:ln>
                <a:noFill/>
              </a:ln>
              <a:solidFill>
                <a:srgbClr val="455560">
                  <a:lumMod val="50000"/>
                </a:srgbClr>
              </a:solidFill>
              <a:effectLst/>
              <a:uLnTx/>
              <a:uFillTx/>
              <a:latin typeface="Calibri"/>
            </a:endParaRPr>
          </a:p>
          <a:p>
            <a:pPr marL="285750" marR="0" lvl="0" indent="-285750" algn="l" defTabSz="914400" rtl="0" eaLnBrk="1" fontAlgn="auto" latinLnBrk="0" hangingPunct="1">
              <a:lnSpc>
                <a:spcPct val="100000"/>
              </a:lnSpc>
              <a:spcBef>
                <a:spcPts val="0"/>
              </a:spcBef>
              <a:spcAft>
                <a:spcPts val="1200"/>
              </a:spcAft>
              <a:buClrTx/>
              <a:buSzTx/>
              <a:buFontTx/>
              <a:buChar char="-"/>
              <a:tabLst/>
              <a:defRPr/>
            </a:pPr>
            <a:endParaRPr kumimoji="0" lang="pt-BR" sz="2000" b="1" i="0" u="none" strike="noStrike" kern="1200" cap="none" spc="0" normalizeH="0" baseline="0" noProof="0">
              <a:ln>
                <a:noFill/>
              </a:ln>
              <a:solidFill>
                <a:srgbClr val="455560">
                  <a:lumMod val="50000"/>
                </a:srgbClr>
              </a:solidFill>
              <a:effectLst/>
              <a:uLnTx/>
              <a:uFillTx/>
              <a:latin typeface="Calibri"/>
            </a:endParaRPr>
          </a:p>
          <a:p>
            <a:pPr marL="285750" marR="0" lvl="0" indent="-285750" algn="l" defTabSz="914400" rtl="0" eaLnBrk="1" fontAlgn="auto" latinLnBrk="0" hangingPunct="1">
              <a:lnSpc>
                <a:spcPct val="100000"/>
              </a:lnSpc>
              <a:spcBef>
                <a:spcPts val="0"/>
              </a:spcBef>
              <a:spcAft>
                <a:spcPts val="1200"/>
              </a:spcAft>
              <a:buClrTx/>
              <a:buSzTx/>
              <a:buFontTx/>
              <a:buChar char="-"/>
              <a:tabLst/>
              <a:defRPr/>
            </a:pPr>
            <a:endParaRPr kumimoji="0" lang="pt-BR" sz="2000" b="1" i="0" u="none" strike="noStrike" kern="1200" cap="none" spc="0" normalizeH="0" baseline="0" noProof="0">
              <a:ln>
                <a:noFill/>
              </a:ln>
              <a:solidFill>
                <a:srgbClr val="455560">
                  <a:lumMod val="50000"/>
                </a:srgbClr>
              </a:solidFill>
              <a:effectLst/>
              <a:uLnTx/>
              <a:uFillTx/>
              <a:latin typeface="Calibri"/>
            </a:endParaRPr>
          </a:p>
          <a:p>
            <a:pPr marL="285750" marR="0" lvl="0" indent="-285750" algn="l" defTabSz="914400" rtl="0" eaLnBrk="1" fontAlgn="auto" latinLnBrk="0" hangingPunct="1">
              <a:lnSpc>
                <a:spcPct val="100000"/>
              </a:lnSpc>
              <a:spcBef>
                <a:spcPts val="0"/>
              </a:spcBef>
              <a:spcAft>
                <a:spcPts val="1200"/>
              </a:spcAft>
              <a:buClrTx/>
              <a:buSzTx/>
              <a:buFontTx/>
              <a:buChar char="-"/>
              <a:tabLst/>
              <a:defRPr/>
            </a:pPr>
            <a:endParaRPr kumimoji="0" lang="pt-BR" sz="2000" b="1" i="0" u="none" strike="noStrike" kern="1200" cap="none" spc="0" normalizeH="0" baseline="0" noProof="0">
              <a:ln>
                <a:noFill/>
              </a:ln>
              <a:solidFill>
                <a:srgbClr val="455560">
                  <a:lumMod val="50000"/>
                </a:srgbClr>
              </a:solidFill>
              <a:effectLst/>
              <a:uLnTx/>
              <a:uFillTx/>
              <a:latin typeface="Calibri"/>
            </a:endParaRPr>
          </a:p>
          <a:p>
            <a:pPr marL="285750" marR="0" lvl="0" indent="-285750" algn="l" defTabSz="914400" rtl="0" eaLnBrk="1" fontAlgn="auto" latinLnBrk="0" hangingPunct="1">
              <a:lnSpc>
                <a:spcPct val="100000"/>
              </a:lnSpc>
              <a:spcBef>
                <a:spcPts val="0"/>
              </a:spcBef>
              <a:spcAft>
                <a:spcPts val="1200"/>
              </a:spcAft>
              <a:buClrTx/>
              <a:buSzTx/>
              <a:buFontTx/>
              <a:buChar char="-"/>
              <a:tabLst/>
              <a:defRPr/>
            </a:pPr>
            <a:endParaRPr kumimoji="0" lang="pt-BR" sz="2000" b="1" i="0" u="none" strike="noStrike" kern="1200" cap="none" spc="0" normalizeH="0" baseline="0" noProof="0">
              <a:ln>
                <a:noFill/>
              </a:ln>
              <a:solidFill>
                <a:srgbClr val="455560">
                  <a:lumMod val="50000"/>
                </a:srgbClr>
              </a:solidFill>
              <a:effectLst/>
              <a:uLnTx/>
              <a:uFillTx/>
              <a:latin typeface="Calibri"/>
            </a:endParaRPr>
          </a:p>
        </p:txBody>
      </p:sp>
      <p:pic>
        <p:nvPicPr>
          <p:cNvPr id="3076" name="Picture 4" descr="Gifs de alerta - Gifs e Imagens Animadas"/>
          <p:cNvPicPr>
            <a:picLocks noChangeAspect="1" noChangeArrowheads="1" noCrop="1"/>
          </p:cNvPicPr>
          <p:nvPr/>
        </p:nvPicPr>
        <p:blipFill>
          <a:blip r:embed="rId2">
            <a:extLst>
              <a:ext uri="{28A0092B-C50C-407E-A947-70E740481C1C}">
                <a14:useLocalDpi xmlns:a14="http://schemas.microsoft.com/office/drawing/2010/main" val="0"/>
              </a:ext>
            </a:extLst>
          </a:blip>
          <a:srcRect/>
          <a:stretch>
            <a:fillRect/>
          </a:stretch>
        </p:blipFill>
        <p:spPr bwMode="auto">
          <a:xfrm>
            <a:off x="3394589" y="2352128"/>
            <a:ext cx="5665837" cy="31870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26487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2E0369-0CC2-D16A-7A24-C49929DD2008}"/>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D58C070-80AE-B0C2-E168-699B106B20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8" progId="TCLayout.ActiveDocument.1">
                  <p:embed/>
                </p:oleObj>
              </mc:Choice>
              <mc:Fallback>
                <p:oleObj name="think-cell Slide" r:id="rId4" imgW="306" imgH="308" progId="TCLayout.ActiveDocument.1">
                  <p:embed/>
                  <p:pic>
                    <p:nvPicPr>
                      <p:cNvPr id="12" name="think-cell data - do not delete" hidden="1">
                        <a:extLst>
                          <a:ext uri="{FF2B5EF4-FFF2-40B4-BE49-F238E27FC236}">
                            <a16:creationId xmlns:a16="http://schemas.microsoft.com/office/drawing/2014/main" id="{CD58C070-80AE-B0C2-E168-699B106B20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3" name="Group 12">
            <a:extLst>
              <a:ext uri="{FF2B5EF4-FFF2-40B4-BE49-F238E27FC236}">
                <a16:creationId xmlns:a16="http://schemas.microsoft.com/office/drawing/2014/main" id="{F35FD2FF-2F6E-FF9F-77AE-160815EC6E63}"/>
              </a:ext>
            </a:extLst>
          </p:cNvPr>
          <p:cNvGrpSpPr/>
          <p:nvPr/>
        </p:nvGrpSpPr>
        <p:grpSpPr>
          <a:xfrm>
            <a:off x="304800" y="249455"/>
            <a:ext cx="1193800" cy="462985"/>
            <a:chOff x="5245100" y="211355"/>
            <a:chExt cx="2036664" cy="789869"/>
          </a:xfrm>
        </p:grpSpPr>
        <p:sp>
          <p:nvSpPr>
            <p:cNvPr id="14" name="Freeform: Shape 13">
              <a:extLst>
                <a:ext uri="{FF2B5EF4-FFF2-40B4-BE49-F238E27FC236}">
                  <a16:creationId xmlns:a16="http://schemas.microsoft.com/office/drawing/2014/main" id="{E34445FF-03FF-27B9-4670-0ED8A1317929}"/>
                </a:ext>
              </a:extLst>
            </p:cNvPr>
            <p:cNvSpPr/>
            <p:nvPr/>
          </p:nvSpPr>
          <p:spPr>
            <a:xfrm>
              <a:off x="5245100" y="308520"/>
              <a:ext cx="247894" cy="322815"/>
            </a:xfrm>
            <a:custGeom>
              <a:avLst/>
              <a:gdLst>
                <a:gd name="connsiteX0" fmla="*/ 529590 w 986123"/>
                <a:gd name="connsiteY0" fmla="*/ 1284160 h 1284160"/>
                <a:gd name="connsiteX1" fmla="*/ 249650 w 986123"/>
                <a:gd name="connsiteY1" fmla="*/ 1235107 h 1284160"/>
                <a:gd name="connsiteX2" fmla="*/ 0 w 986123"/>
                <a:gd name="connsiteY2" fmla="*/ 1084421 h 1284160"/>
                <a:gd name="connsiteX3" fmla="*/ 162306 w 986123"/>
                <a:gd name="connsiteY3" fmla="*/ 890016 h 1284160"/>
                <a:gd name="connsiteX4" fmla="*/ 337947 w 986123"/>
                <a:gd name="connsiteY4" fmla="*/ 1000601 h 1284160"/>
                <a:gd name="connsiteX5" fmla="*/ 535019 w 986123"/>
                <a:gd name="connsiteY5" fmla="*/ 1041654 h 1284160"/>
                <a:gd name="connsiteX6" fmla="*/ 667893 w 986123"/>
                <a:gd name="connsiteY6" fmla="*/ 1010412 h 1284160"/>
                <a:gd name="connsiteX7" fmla="*/ 715137 w 986123"/>
                <a:gd name="connsiteY7" fmla="*/ 923925 h 1284160"/>
                <a:gd name="connsiteX8" fmla="*/ 715137 w 986123"/>
                <a:gd name="connsiteY8" fmla="*/ 920305 h 1284160"/>
                <a:gd name="connsiteX9" fmla="*/ 705326 w 986123"/>
                <a:gd name="connsiteY9" fmla="*/ 873062 h 1284160"/>
                <a:gd name="connsiteX10" fmla="*/ 667798 w 986123"/>
                <a:gd name="connsiteY10" fmla="*/ 834676 h 1284160"/>
                <a:gd name="connsiteX11" fmla="*/ 590931 w 986123"/>
                <a:gd name="connsiteY11" fmla="*/ 798957 h 1284160"/>
                <a:gd name="connsiteX12" fmla="*/ 463106 w 986123"/>
                <a:gd name="connsiteY12" fmla="*/ 761524 h 1284160"/>
                <a:gd name="connsiteX13" fmla="*/ 291465 w 986123"/>
                <a:gd name="connsiteY13" fmla="*/ 709803 h 1284160"/>
                <a:gd name="connsiteX14" fmla="*/ 160973 w 986123"/>
                <a:gd name="connsiteY14" fmla="*/ 639318 h 1284160"/>
                <a:gd name="connsiteX15" fmla="*/ 77819 w 986123"/>
                <a:gd name="connsiteY15" fmla="*/ 535019 h 1284160"/>
                <a:gd name="connsiteX16" fmla="*/ 48292 w 986123"/>
                <a:gd name="connsiteY16" fmla="*/ 379857 h 1284160"/>
                <a:gd name="connsiteX17" fmla="*/ 48292 w 986123"/>
                <a:gd name="connsiteY17" fmla="*/ 376238 h 1284160"/>
                <a:gd name="connsiteX18" fmla="*/ 80201 w 986123"/>
                <a:gd name="connsiteY18" fmla="*/ 222028 h 1284160"/>
                <a:gd name="connsiteX19" fmla="*/ 169640 w 986123"/>
                <a:gd name="connsiteY19" fmla="*/ 103441 h 1284160"/>
                <a:gd name="connsiteX20" fmla="*/ 307181 w 986123"/>
                <a:gd name="connsiteY20" fmla="*/ 26765 h 1284160"/>
                <a:gd name="connsiteX21" fmla="*/ 483394 w 986123"/>
                <a:gd name="connsiteY21" fmla="*/ 0 h 1284160"/>
                <a:gd name="connsiteX22" fmla="*/ 735711 w 986123"/>
                <a:gd name="connsiteY22" fmla="*/ 41053 h 1284160"/>
                <a:gd name="connsiteX23" fmla="*/ 946976 w 986123"/>
                <a:gd name="connsiteY23" fmla="*/ 158687 h 1284160"/>
                <a:gd name="connsiteX24" fmla="*/ 804291 w 986123"/>
                <a:gd name="connsiteY24" fmla="*/ 365569 h 1284160"/>
                <a:gd name="connsiteX25" fmla="*/ 640271 w 986123"/>
                <a:gd name="connsiteY25" fmla="*/ 275558 h 1284160"/>
                <a:gd name="connsiteX26" fmla="*/ 479774 w 986123"/>
                <a:gd name="connsiteY26" fmla="*/ 242602 h 1284160"/>
                <a:gd name="connsiteX27" fmla="*/ 359378 w 986123"/>
                <a:gd name="connsiteY27" fmla="*/ 273844 h 1284160"/>
                <a:gd name="connsiteX28" fmla="*/ 319278 w 986123"/>
                <a:gd name="connsiteY28" fmla="*/ 351377 h 1284160"/>
                <a:gd name="connsiteX29" fmla="*/ 319278 w 986123"/>
                <a:gd name="connsiteY29" fmla="*/ 354997 h 1284160"/>
                <a:gd name="connsiteX30" fmla="*/ 330899 w 986123"/>
                <a:gd name="connsiteY30" fmla="*/ 407575 h 1284160"/>
                <a:gd name="connsiteX31" fmla="*/ 372904 w 986123"/>
                <a:gd name="connsiteY31" fmla="*/ 447675 h 1284160"/>
                <a:gd name="connsiteX32" fmla="*/ 456057 w 986123"/>
                <a:gd name="connsiteY32" fmla="*/ 481489 h 1284160"/>
                <a:gd name="connsiteX33" fmla="*/ 589217 w 986123"/>
                <a:gd name="connsiteY33" fmla="*/ 518922 h 1284160"/>
                <a:gd name="connsiteX34" fmla="*/ 758190 w 986123"/>
                <a:gd name="connsiteY34" fmla="*/ 575120 h 1284160"/>
                <a:gd name="connsiteX35" fmla="*/ 883349 w 986123"/>
                <a:gd name="connsiteY35" fmla="*/ 649986 h 1284160"/>
                <a:gd name="connsiteX36" fmla="*/ 960215 w 986123"/>
                <a:gd name="connsiteY36" fmla="*/ 752570 h 1284160"/>
                <a:gd name="connsiteX37" fmla="*/ 986123 w 986123"/>
                <a:gd name="connsiteY37" fmla="*/ 893445 h 1284160"/>
                <a:gd name="connsiteX38" fmla="*/ 986123 w 986123"/>
                <a:gd name="connsiteY38" fmla="*/ 897064 h 1284160"/>
                <a:gd name="connsiteX39" fmla="*/ 952500 w 986123"/>
                <a:gd name="connsiteY39" fmla="*/ 1062038 h 1284160"/>
                <a:gd name="connsiteX40" fmla="*/ 858584 w 986123"/>
                <a:gd name="connsiteY40" fmla="*/ 1183291 h 1284160"/>
                <a:gd name="connsiteX41" fmla="*/ 714851 w 986123"/>
                <a:gd name="connsiteY41" fmla="*/ 1258157 h 1284160"/>
                <a:gd name="connsiteX42" fmla="*/ 529685 w 986123"/>
                <a:gd name="connsiteY42" fmla="*/ 1284065 h 128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6123" h="1284160">
                  <a:moveTo>
                    <a:pt x="529590" y="1284160"/>
                  </a:moveTo>
                  <a:cubicBezTo>
                    <a:pt x="434435" y="1284160"/>
                    <a:pt x="341186" y="1267777"/>
                    <a:pt x="249650" y="1235107"/>
                  </a:cubicBezTo>
                  <a:cubicBezTo>
                    <a:pt x="158115" y="1202436"/>
                    <a:pt x="74867" y="1152239"/>
                    <a:pt x="0" y="1084421"/>
                  </a:cubicBezTo>
                  <a:lnTo>
                    <a:pt x="162306" y="890016"/>
                  </a:lnTo>
                  <a:cubicBezTo>
                    <a:pt x="219361" y="936403"/>
                    <a:pt x="277844" y="973264"/>
                    <a:pt x="337947" y="1000601"/>
                  </a:cubicBezTo>
                  <a:cubicBezTo>
                    <a:pt x="397955" y="1027938"/>
                    <a:pt x="463677" y="1041654"/>
                    <a:pt x="535019" y="1041654"/>
                  </a:cubicBezTo>
                  <a:cubicBezTo>
                    <a:pt x="592074" y="1041654"/>
                    <a:pt x="636365" y="1031272"/>
                    <a:pt x="667893" y="1010412"/>
                  </a:cubicBezTo>
                  <a:cubicBezTo>
                    <a:pt x="699421" y="989647"/>
                    <a:pt x="715137" y="960787"/>
                    <a:pt x="715137" y="923925"/>
                  </a:cubicBezTo>
                  <a:lnTo>
                    <a:pt x="715137" y="920305"/>
                  </a:lnTo>
                  <a:cubicBezTo>
                    <a:pt x="715137" y="902494"/>
                    <a:pt x="711803" y="886777"/>
                    <a:pt x="705326" y="873062"/>
                  </a:cubicBezTo>
                  <a:cubicBezTo>
                    <a:pt x="698754" y="859441"/>
                    <a:pt x="686276" y="846582"/>
                    <a:pt x="667798" y="834676"/>
                  </a:cubicBezTo>
                  <a:cubicBezTo>
                    <a:pt x="649319" y="822770"/>
                    <a:pt x="623697" y="810863"/>
                    <a:pt x="590931" y="798957"/>
                  </a:cubicBezTo>
                  <a:cubicBezTo>
                    <a:pt x="558165" y="787146"/>
                    <a:pt x="515493" y="774573"/>
                    <a:pt x="463106" y="761524"/>
                  </a:cubicBezTo>
                  <a:cubicBezTo>
                    <a:pt x="399955" y="746093"/>
                    <a:pt x="342710" y="728853"/>
                    <a:pt x="291465" y="709803"/>
                  </a:cubicBezTo>
                  <a:cubicBezTo>
                    <a:pt x="240221" y="690753"/>
                    <a:pt x="196691" y="667322"/>
                    <a:pt x="160973" y="639318"/>
                  </a:cubicBezTo>
                  <a:cubicBezTo>
                    <a:pt x="125159" y="611410"/>
                    <a:pt x="97536" y="576644"/>
                    <a:pt x="77819" y="535019"/>
                  </a:cubicBezTo>
                  <a:cubicBezTo>
                    <a:pt x="58103" y="493395"/>
                    <a:pt x="48292" y="441674"/>
                    <a:pt x="48292" y="379857"/>
                  </a:cubicBezTo>
                  <a:lnTo>
                    <a:pt x="48292" y="376238"/>
                  </a:lnTo>
                  <a:cubicBezTo>
                    <a:pt x="48292" y="319183"/>
                    <a:pt x="58865" y="267748"/>
                    <a:pt x="80201" y="222028"/>
                  </a:cubicBezTo>
                  <a:cubicBezTo>
                    <a:pt x="101441" y="176308"/>
                    <a:pt x="131255" y="136779"/>
                    <a:pt x="169640" y="103441"/>
                  </a:cubicBezTo>
                  <a:cubicBezTo>
                    <a:pt x="208026" y="70199"/>
                    <a:pt x="253841" y="44577"/>
                    <a:pt x="307181" y="26765"/>
                  </a:cubicBezTo>
                  <a:cubicBezTo>
                    <a:pt x="360426" y="8953"/>
                    <a:pt x="419195" y="0"/>
                    <a:pt x="483394" y="0"/>
                  </a:cubicBezTo>
                  <a:cubicBezTo>
                    <a:pt x="574929" y="0"/>
                    <a:pt x="659035" y="13716"/>
                    <a:pt x="735711" y="41053"/>
                  </a:cubicBezTo>
                  <a:cubicBezTo>
                    <a:pt x="812387" y="68389"/>
                    <a:pt x="882777" y="107632"/>
                    <a:pt x="946976" y="158687"/>
                  </a:cubicBezTo>
                  <a:lnTo>
                    <a:pt x="804291" y="365569"/>
                  </a:lnTo>
                  <a:cubicBezTo>
                    <a:pt x="748379" y="327565"/>
                    <a:pt x="693706" y="297561"/>
                    <a:pt x="640271" y="275558"/>
                  </a:cubicBezTo>
                  <a:cubicBezTo>
                    <a:pt x="586740" y="253555"/>
                    <a:pt x="533305" y="242602"/>
                    <a:pt x="479774" y="242602"/>
                  </a:cubicBezTo>
                  <a:cubicBezTo>
                    <a:pt x="426244" y="242602"/>
                    <a:pt x="386144" y="252984"/>
                    <a:pt x="359378" y="273844"/>
                  </a:cubicBezTo>
                  <a:cubicBezTo>
                    <a:pt x="332613" y="294608"/>
                    <a:pt x="319278" y="320516"/>
                    <a:pt x="319278" y="351377"/>
                  </a:cubicBezTo>
                  <a:lnTo>
                    <a:pt x="319278" y="354997"/>
                  </a:lnTo>
                  <a:cubicBezTo>
                    <a:pt x="319278" y="375190"/>
                    <a:pt x="323183" y="392716"/>
                    <a:pt x="330899" y="407575"/>
                  </a:cubicBezTo>
                  <a:cubicBezTo>
                    <a:pt x="338614" y="422434"/>
                    <a:pt x="352616" y="435864"/>
                    <a:pt x="372904" y="447675"/>
                  </a:cubicBezTo>
                  <a:cubicBezTo>
                    <a:pt x="393192" y="459581"/>
                    <a:pt x="420910" y="470821"/>
                    <a:pt x="456057" y="481489"/>
                  </a:cubicBezTo>
                  <a:cubicBezTo>
                    <a:pt x="491204" y="492157"/>
                    <a:pt x="535591" y="504730"/>
                    <a:pt x="589217" y="518922"/>
                  </a:cubicBezTo>
                  <a:cubicBezTo>
                    <a:pt x="652367" y="535591"/>
                    <a:pt x="708660" y="554260"/>
                    <a:pt x="758190" y="575120"/>
                  </a:cubicBezTo>
                  <a:cubicBezTo>
                    <a:pt x="807625" y="595979"/>
                    <a:pt x="849344" y="620935"/>
                    <a:pt x="883349" y="649986"/>
                  </a:cubicBezTo>
                  <a:cubicBezTo>
                    <a:pt x="917353" y="679132"/>
                    <a:pt x="942975" y="713327"/>
                    <a:pt x="960215" y="752570"/>
                  </a:cubicBezTo>
                  <a:cubicBezTo>
                    <a:pt x="977456" y="791813"/>
                    <a:pt x="986123" y="838772"/>
                    <a:pt x="986123" y="893445"/>
                  </a:cubicBezTo>
                  <a:lnTo>
                    <a:pt x="986123" y="897064"/>
                  </a:lnTo>
                  <a:cubicBezTo>
                    <a:pt x="986123" y="958882"/>
                    <a:pt x="974884" y="1013841"/>
                    <a:pt x="952500" y="1062038"/>
                  </a:cubicBezTo>
                  <a:cubicBezTo>
                    <a:pt x="930021" y="1110139"/>
                    <a:pt x="898779" y="1150620"/>
                    <a:pt x="858584" y="1183291"/>
                  </a:cubicBezTo>
                  <a:cubicBezTo>
                    <a:pt x="818388" y="1216057"/>
                    <a:pt x="770477" y="1241012"/>
                    <a:pt x="714851" y="1258157"/>
                  </a:cubicBezTo>
                  <a:cubicBezTo>
                    <a:pt x="659130" y="1275398"/>
                    <a:pt x="597503" y="1284065"/>
                    <a:pt x="529685" y="1284065"/>
                  </a:cubicBezTo>
                  <a:close/>
                </a:path>
              </a:pathLst>
            </a:custGeom>
            <a:solidFill>
              <a:srgbClr val="44505E"/>
            </a:solidFill>
            <a:ln w="9525" cap="flat">
              <a:noFill/>
              <a:prstDash val="solid"/>
              <a:miter/>
            </a:ln>
          </p:spPr>
          <p:txBody>
            <a:bodyPr rtlCol="0" anchor="ctr"/>
            <a:lstStyle/>
            <a:p>
              <a:endParaRPr lang="pt-BR" noProof="0"/>
            </a:p>
          </p:txBody>
        </p:sp>
        <p:sp>
          <p:nvSpPr>
            <p:cNvPr id="17" name="Freeform: Shape 16">
              <a:extLst>
                <a:ext uri="{FF2B5EF4-FFF2-40B4-BE49-F238E27FC236}">
                  <a16:creationId xmlns:a16="http://schemas.microsoft.com/office/drawing/2014/main" id="{DFB29A03-A686-982F-6860-4AED2954C471}"/>
                </a:ext>
              </a:extLst>
            </p:cNvPr>
            <p:cNvSpPr/>
            <p:nvPr/>
          </p:nvSpPr>
          <p:spPr>
            <a:xfrm>
              <a:off x="5492084" y="310867"/>
              <a:ext cx="332584" cy="315991"/>
            </a:xfrm>
            <a:custGeom>
              <a:avLst/>
              <a:gdLst>
                <a:gd name="connsiteX0" fmla="*/ 534924 w 1323022"/>
                <a:gd name="connsiteY0" fmla="*/ 0 h 1257014"/>
                <a:gd name="connsiteX1" fmla="*/ 788099 w 1323022"/>
                <a:gd name="connsiteY1" fmla="*/ 0 h 1257014"/>
                <a:gd name="connsiteX2" fmla="*/ 1323023 w 1323022"/>
                <a:gd name="connsiteY2" fmla="*/ 1257014 h 1257014"/>
                <a:gd name="connsiteX3" fmla="*/ 1035939 w 1323022"/>
                <a:gd name="connsiteY3" fmla="*/ 1257014 h 1257014"/>
                <a:gd name="connsiteX4" fmla="*/ 921829 w 1323022"/>
                <a:gd name="connsiteY4" fmla="*/ 977075 h 1257014"/>
                <a:gd name="connsiteX5" fmla="*/ 394049 w 1323022"/>
                <a:gd name="connsiteY5" fmla="*/ 977075 h 1257014"/>
                <a:gd name="connsiteX6" fmla="*/ 279940 w 1323022"/>
                <a:gd name="connsiteY6" fmla="*/ 1257014 h 1257014"/>
                <a:gd name="connsiteX7" fmla="*/ 0 w 1323022"/>
                <a:gd name="connsiteY7" fmla="*/ 1257014 h 1257014"/>
                <a:gd name="connsiteX8" fmla="*/ 534924 w 1323022"/>
                <a:gd name="connsiteY8" fmla="*/ 0 h 1257014"/>
                <a:gd name="connsiteX9" fmla="*/ 823817 w 1323022"/>
                <a:gd name="connsiteY9" fmla="*/ 734568 h 1257014"/>
                <a:gd name="connsiteX10" fmla="*/ 657987 w 1323022"/>
                <a:gd name="connsiteY10" fmla="*/ 329851 h 1257014"/>
                <a:gd name="connsiteX11" fmla="*/ 492157 w 1323022"/>
                <a:gd name="connsiteY11" fmla="*/ 734568 h 1257014"/>
                <a:gd name="connsiteX12" fmla="*/ 823817 w 1323022"/>
                <a:gd name="connsiteY12" fmla="*/ 734568 h 125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022" h="1257014">
                  <a:moveTo>
                    <a:pt x="534924" y="0"/>
                  </a:moveTo>
                  <a:lnTo>
                    <a:pt x="788099" y="0"/>
                  </a:lnTo>
                  <a:lnTo>
                    <a:pt x="1323023" y="1257014"/>
                  </a:lnTo>
                  <a:lnTo>
                    <a:pt x="1035939" y="1257014"/>
                  </a:lnTo>
                  <a:lnTo>
                    <a:pt x="921829" y="977075"/>
                  </a:lnTo>
                  <a:lnTo>
                    <a:pt x="394049" y="977075"/>
                  </a:lnTo>
                  <a:lnTo>
                    <a:pt x="279940" y="1257014"/>
                  </a:lnTo>
                  <a:lnTo>
                    <a:pt x="0" y="1257014"/>
                  </a:lnTo>
                  <a:lnTo>
                    <a:pt x="534924" y="0"/>
                  </a:lnTo>
                  <a:close/>
                  <a:moveTo>
                    <a:pt x="823817" y="734568"/>
                  </a:moveTo>
                  <a:lnTo>
                    <a:pt x="657987" y="329851"/>
                  </a:lnTo>
                  <a:lnTo>
                    <a:pt x="492157" y="734568"/>
                  </a:lnTo>
                  <a:lnTo>
                    <a:pt x="823817" y="734568"/>
                  </a:lnTo>
                  <a:close/>
                </a:path>
              </a:pathLst>
            </a:custGeom>
            <a:solidFill>
              <a:srgbClr val="44505E"/>
            </a:solidFill>
            <a:ln w="9525" cap="flat">
              <a:noFill/>
              <a:prstDash val="solid"/>
              <a:miter/>
            </a:ln>
          </p:spPr>
          <p:txBody>
            <a:bodyPr rtlCol="0" anchor="ctr"/>
            <a:lstStyle/>
            <a:p>
              <a:endParaRPr lang="pt-BR" noProof="0"/>
            </a:p>
          </p:txBody>
        </p:sp>
        <p:sp>
          <p:nvSpPr>
            <p:cNvPr id="18" name="Freeform: Shape 17">
              <a:extLst>
                <a:ext uri="{FF2B5EF4-FFF2-40B4-BE49-F238E27FC236}">
                  <a16:creationId xmlns:a16="http://schemas.microsoft.com/office/drawing/2014/main" id="{ACA23AB3-6C72-F605-4443-2597A581D8D9}"/>
                </a:ext>
              </a:extLst>
            </p:cNvPr>
            <p:cNvSpPr/>
            <p:nvPr/>
          </p:nvSpPr>
          <p:spPr>
            <a:xfrm>
              <a:off x="5834078" y="211355"/>
              <a:ext cx="273442" cy="420435"/>
            </a:xfrm>
            <a:custGeom>
              <a:avLst/>
              <a:gdLst>
                <a:gd name="connsiteX0" fmla="*/ 540258 w 1087754"/>
                <a:gd name="connsiteY0" fmla="*/ 1672495 h 1672494"/>
                <a:gd name="connsiteX1" fmla="*/ 144399 w 1087754"/>
                <a:gd name="connsiteY1" fmla="*/ 1533430 h 1672494"/>
                <a:gd name="connsiteX2" fmla="*/ 0 w 1087754"/>
                <a:gd name="connsiteY2" fmla="*/ 1117949 h 1672494"/>
                <a:gd name="connsiteX3" fmla="*/ 0 w 1087754"/>
                <a:gd name="connsiteY3" fmla="*/ 404717 h 1672494"/>
                <a:gd name="connsiteX4" fmla="*/ 274606 w 1087754"/>
                <a:gd name="connsiteY4" fmla="*/ 404717 h 1672494"/>
                <a:gd name="connsiteX5" fmla="*/ 274606 w 1087754"/>
                <a:gd name="connsiteY5" fmla="*/ 1110806 h 1672494"/>
                <a:gd name="connsiteX6" fmla="*/ 345948 w 1087754"/>
                <a:gd name="connsiteY6" fmla="*/ 1341692 h 1672494"/>
                <a:gd name="connsiteX7" fmla="*/ 543877 w 1087754"/>
                <a:gd name="connsiteY7" fmla="*/ 1419225 h 1672494"/>
                <a:gd name="connsiteX8" fmla="*/ 741807 w 1087754"/>
                <a:gd name="connsiteY8" fmla="*/ 1344359 h 1672494"/>
                <a:gd name="connsiteX9" fmla="*/ 813149 w 1087754"/>
                <a:gd name="connsiteY9" fmla="*/ 1119664 h 1672494"/>
                <a:gd name="connsiteX10" fmla="*/ 813149 w 1087754"/>
                <a:gd name="connsiteY10" fmla="*/ 404717 h 1672494"/>
                <a:gd name="connsiteX11" fmla="*/ 1087755 w 1087754"/>
                <a:gd name="connsiteY11" fmla="*/ 404717 h 1672494"/>
                <a:gd name="connsiteX12" fmla="*/ 1087755 w 1087754"/>
                <a:gd name="connsiteY12" fmla="*/ 1108996 h 1672494"/>
                <a:gd name="connsiteX13" fmla="*/ 1049369 w 1087754"/>
                <a:gd name="connsiteY13" fmla="*/ 1356836 h 1672494"/>
                <a:gd name="connsiteX14" fmla="*/ 939737 w 1087754"/>
                <a:gd name="connsiteY14" fmla="*/ 1532477 h 1672494"/>
                <a:gd name="connsiteX15" fmla="*/ 766763 w 1087754"/>
                <a:gd name="connsiteY15" fmla="*/ 1637729 h 1672494"/>
                <a:gd name="connsiteX16" fmla="*/ 540353 w 1087754"/>
                <a:gd name="connsiteY16" fmla="*/ 1672495 h 1672494"/>
                <a:gd name="connsiteX17" fmla="*/ 622268 w 1087754"/>
                <a:gd name="connsiteY17" fmla="*/ 0 h 1672494"/>
                <a:gd name="connsiteX18" fmla="*/ 855821 w 1087754"/>
                <a:gd name="connsiteY18" fmla="*/ 101632 h 1672494"/>
                <a:gd name="connsiteX19" fmla="*/ 627602 w 1087754"/>
                <a:gd name="connsiteY19" fmla="*/ 315563 h 1672494"/>
                <a:gd name="connsiteX20" fmla="*/ 420719 w 1087754"/>
                <a:gd name="connsiteY20" fmla="*/ 315563 h 1672494"/>
                <a:gd name="connsiteX21" fmla="*/ 622268 w 1087754"/>
                <a:gd name="connsiteY21" fmla="*/ 0 h 16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754" h="1672494">
                  <a:moveTo>
                    <a:pt x="540258" y="1672495"/>
                  </a:moveTo>
                  <a:cubicBezTo>
                    <a:pt x="372618" y="1672495"/>
                    <a:pt x="240697" y="1626108"/>
                    <a:pt x="144399" y="1533430"/>
                  </a:cubicBezTo>
                  <a:cubicBezTo>
                    <a:pt x="48101" y="1440752"/>
                    <a:pt x="0" y="1302258"/>
                    <a:pt x="0" y="1117949"/>
                  </a:cubicBezTo>
                  <a:lnTo>
                    <a:pt x="0" y="404717"/>
                  </a:lnTo>
                  <a:lnTo>
                    <a:pt x="274606" y="404717"/>
                  </a:lnTo>
                  <a:lnTo>
                    <a:pt x="274606" y="1110806"/>
                  </a:lnTo>
                  <a:cubicBezTo>
                    <a:pt x="274606" y="1213009"/>
                    <a:pt x="298418" y="1289971"/>
                    <a:pt x="345948" y="1341692"/>
                  </a:cubicBezTo>
                  <a:cubicBezTo>
                    <a:pt x="393478" y="1393412"/>
                    <a:pt x="459486" y="1419225"/>
                    <a:pt x="543877" y="1419225"/>
                  </a:cubicBezTo>
                  <a:cubicBezTo>
                    <a:pt x="628269" y="1419225"/>
                    <a:pt x="694277" y="1394270"/>
                    <a:pt x="741807" y="1344359"/>
                  </a:cubicBezTo>
                  <a:cubicBezTo>
                    <a:pt x="789337" y="1294448"/>
                    <a:pt x="813149" y="1219581"/>
                    <a:pt x="813149" y="1119664"/>
                  </a:cubicBezTo>
                  <a:lnTo>
                    <a:pt x="813149" y="404717"/>
                  </a:lnTo>
                  <a:lnTo>
                    <a:pt x="1087755" y="404717"/>
                  </a:lnTo>
                  <a:lnTo>
                    <a:pt x="1087755" y="1108996"/>
                  </a:lnTo>
                  <a:cubicBezTo>
                    <a:pt x="1087755" y="1204151"/>
                    <a:pt x="1074992" y="1286732"/>
                    <a:pt x="1049369" y="1356836"/>
                  </a:cubicBezTo>
                  <a:cubicBezTo>
                    <a:pt x="1023747" y="1426940"/>
                    <a:pt x="987266" y="1485519"/>
                    <a:pt x="939737" y="1532477"/>
                  </a:cubicBezTo>
                  <a:cubicBezTo>
                    <a:pt x="892207" y="1579436"/>
                    <a:pt x="834485" y="1614488"/>
                    <a:pt x="766763" y="1637729"/>
                  </a:cubicBezTo>
                  <a:cubicBezTo>
                    <a:pt x="699040" y="1660874"/>
                    <a:pt x="623507" y="1672495"/>
                    <a:pt x="540353" y="1672495"/>
                  </a:cubicBezTo>
                  <a:close/>
                  <a:moveTo>
                    <a:pt x="622268" y="0"/>
                  </a:moveTo>
                  <a:lnTo>
                    <a:pt x="855821" y="101632"/>
                  </a:lnTo>
                  <a:lnTo>
                    <a:pt x="627602" y="315563"/>
                  </a:lnTo>
                  <a:lnTo>
                    <a:pt x="420719" y="315563"/>
                  </a:lnTo>
                  <a:lnTo>
                    <a:pt x="622268" y="0"/>
                  </a:lnTo>
                  <a:close/>
                </a:path>
              </a:pathLst>
            </a:custGeom>
            <a:solidFill>
              <a:srgbClr val="44505E"/>
            </a:solidFill>
            <a:ln w="9525" cap="flat">
              <a:noFill/>
              <a:prstDash val="solid"/>
              <a:miter/>
            </a:ln>
          </p:spPr>
          <p:txBody>
            <a:bodyPr rtlCol="0" anchor="ctr"/>
            <a:lstStyle/>
            <a:p>
              <a:endParaRPr lang="pt-BR" noProof="0"/>
            </a:p>
          </p:txBody>
        </p:sp>
        <p:sp>
          <p:nvSpPr>
            <p:cNvPr id="19" name="Freeform: Shape 18">
              <a:extLst>
                <a:ext uri="{FF2B5EF4-FFF2-40B4-BE49-F238E27FC236}">
                  <a16:creationId xmlns:a16="http://schemas.microsoft.com/office/drawing/2014/main" id="{68FB9A3F-3938-8407-B014-29E68A9A88AD}"/>
                </a:ext>
              </a:extLst>
            </p:cNvPr>
            <p:cNvSpPr/>
            <p:nvPr/>
          </p:nvSpPr>
          <p:spPr>
            <a:xfrm>
              <a:off x="6143795" y="313094"/>
              <a:ext cx="289101" cy="313764"/>
            </a:xfrm>
            <a:custGeom>
              <a:avLst/>
              <a:gdLst>
                <a:gd name="connsiteX0" fmla="*/ 0 w 1150048"/>
                <a:gd name="connsiteY0" fmla="*/ 0 h 1248155"/>
                <a:gd name="connsiteX1" fmla="*/ 486728 w 1150048"/>
                <a:gd name="connsiteY1" fmla="*/ 0 h 1248155"/>
                <a:gd name="connsiteX2" fmla="*/ 755047 w 1150048"/>
                <a:gd name="connsiteY2" fmla="*/ 47244 h 1248155"/>
                <a:gd name="connsiteX3" fmla="*/ 965454 w 1150048"/>
                <a:gd name="connsiteY3" fmla="*/ 178308 h 1248155"/>
                <a:gd name="connsiteX4" fmla="*/ 1101852 w 1150048"/>
                <a:gd name="connsiteY4" fmla="*/ 375380 h 1248155"/>
                <a:gd name="connsiteX5" fmla="*/ 1150049 w 1150048"/>
                <a:gd name="connsiteY5" fmla="*/ 620554 h 1248155"/>
                <a:gd name="connsiteX6" fmla="*/ 1150049 w 1150048"/>
                <a:gd name="connsiteY6" fmla="*/ 624173 h 1248155"/>
                <a:gd name="connsiteX7" fmla="*/ 1101852 w 1150048"/>
                <a:gd name="connsiteY7" fmla="*/ 870204 h 1248155"/>
                <a:gd name="connsiteX8" fmla="*/ 965454 w 1150048"/>
                <a:gd name="connsiteY8" fmla="*/ 1068134 h 1248155"/>
                <a:gd name="connsiteX9" fmla="*/ 755047 w 1150048"/>
                <a:gd name="connsiteY9" fmla="*/ 1200055 h 1248155"/>
                <a:gd name="connsiteX10" fmla="*/ 486728 w 1150048"/>
                <a:gd name="connsiteY10" fmla="*/ 1248156 h 1248155"/>
                <a:gd name="connsiteX11" fmla="*/ 0 w 1150048"/>
                <a:gd name="connsiteY11" fmla="*/ 1248156 h 1248155"/>
                <a:gd name="connsiteX12" fmla="*/ 0 w 1150048"/>
                <a:gd name="connsiteY12" fmla="*/ 0 h 1248155"/>
                <a:gd name="connsiteX13" fmla="*/ 486728 w 1150048"/>
                <a:gd name="connsiteY13" fmla="*/ 1000315 h 1248155"/>
                <a:gd name="connsiteX14" fmla="*/ 640080 w 1150048"/>
                <a:gd name="connsiteY14" fmla="*/ 973550 h 1248155"/>
                <a:gd name="connsiteX15" fmla="*/ 758667 w 1150048"/>
                <a:gd name="connsiteY15" fmla="*/ 896874 h 1248155"/>
                <a:gd name="connsiteX16" fmla="*/ 835343 w 1150048"/>
                <a:gd name="connsiteY16" fmla="*/ 779240 h 1248155"/>
                <a:gd name="connsiteX17" fmla="*/ 862965 w 1150048"/>
                <a:gd name="connsiteY17" fmla="*/ 627698 h 1248155"/>
                <a:gd name="connsiteX18" fmla="*/ 862965 w 1150048"/>
                <a:gd name="connsiteY18" fmla="*/ 624078 h 1248155"/>
                <a:gd name="connsiteX19" fmla="*/ 835343 w 1150048"/>
                <a:gd name="connsiteY19" fmla="*/ 472535 h 1248155"/>
                <a:gd name="connsiteX20" fmla="*/ 758667 w 1150048"/>
                <a:gd name="connsiteY20" fmla="*/ 353092 h 1248155"/>
                <a:gd name="connsiteX21" fmla="*/ 640080 w 1150048"/>
                <a:gd name="connsiteY21" fmla="*/ 275558 h 1248155"/>
                <a:gd name="connsiteX22" fmla="*/ 486728 w 1150048"/>
                <a:gd name="connsiteY22" fmla="*/ 247936 h 1248155"/>
                <a:gd name="connsiteX23" fmla="*/ 274511 w 1150048"/>
                <a:gd name="connsiteY23" fmla="*/ 247936 h 1248155"/>
                <a:gd name="connsiteX24" fmla="*/ 274511 w 1150048"/>
                <a:gd name="connsiteY24" fmla="*/ 1000411 h 1248155"/>
                <a:gd name="connsiteX25" fmla="*/ 486728 w 1150048"/>
                <a:gd name="connsiteY25" fmla="*/ 1000411 h 124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50048" h="1248155">
                  <a:moveTo>
                    <a:pt x="0" y="0"/>
                  </a:moveTo>
                  <a:lnTo>
                    <a:pt x="486728" y="0"/>
                  </a:lnTo>
                  <a:cubicBezTo>
                    <a:pt x="584168" y="0"/>
                    <a:pt x="673608" y="15811"/>
                    <a:pt x="755047" y="47244"/>
                  </a:cubicBezTo>
                  <a:cubicBezTo>
                    <a:pt x="836486" y="78772"/>
                    <a:pt x="906590" y="122396"/>
                    <a:pt x="965454" y="178308"/>
                  </a:cubicBezTo>
                  <a:cubicBezTo>
                    <a:pt x="1024319" y="234220"/>
                    <a:pt x="1069753" y="299847"/>
                    <a:pt x="1101852" y="375380"/>
                  </a:cubicBezTo>
                  <a:cubicBezTo>
                    <a:pt x="1133951" y="450914"/>
                    <a:pt x="1150049" y="532543"/>
                    <a:pt x="1150049" y="620554"/>
                  </a:cubicBezTo>
                  <a:lnTo>
                    <a:pt x="1150049" y="624173"/>
                  </a:lnTo>
                  <a:cubicBezTo>
                    <a:pt x="1150049" y="712184"/>
                    <a:pt x="1133951" y="794195"/>
                    <a:pt x="1101852" y="870204"/>
                  </a:cubicBezTo>
                  <a:cubicBezTo>
                    <a:pt x="1069753" y="946309"/>
                    <a:pt x="1024319" y="1012222"/>
                    <a:pt x="965454" y="1068134"/>
                  </a:cubicBezTo>
                  <a:cubicBezTo>
                    <a:pt x="906590" y="1124045"/>
                    <a:pt x="836486" y="1167956"/>
                    <a:pt x="755047" y="1200055"/>
                  </a:cubicBezTo>
                  <a:cubicBezTo>
                    <a:pt x="673608" y="1232154"/>
                    <a:pt x="584168" y="1248156"/>
                    <a:pt x="486728" y="1248156"/>
                  </a:cubicBezTo>
                  <a:lnTo>
                    <a:pt x="0" y="1248156"/>
                  </a:lnTo>
                  <a:lnTo>
                    <a:pt x="0" y="0"/>
                  </a:lnTo>
                  <a:close/>
                  <a:moveTo>
                    <a:pt x="486728" y="1000315"/>
                  </a:moveTo>
                  <a:cubicBezTo>
                    <a:pt x="542639" y="1000315"/>
                    <a:pt x="593693" y="991457"/>
                    <a:pt x="640080" y="973550"/>
                  </a:cubicBezTo>
                  <a:cubicBezTo>
                    <a:pt x="686467" y="955739"/>
                    <a:pt x="725900" y="930211"/>
                    <a:pt x="758667" y="896874"/>
                  </a:cubicBezTo>
                  <a:cubicBezTo>
                    <a:pt x="791337" y="863632"/>
                    <a:pt x="816864" y="824389"/>
                    <a:pt x="835343" y="779240"/>
                  </a:cubicBezTo>
                  <a:cubicBezTo>
                    <a:pt x="853726" y="734092"/>
                    <a:pt x="862965" y="683609"/>
                    <a:pt x="862965" y="627698"/>
                  </a:cubicBezTo>
                  <a:lnTo>
                    <a:pt x="862965" y="624078"/>
                  </a:lnTo>
                  <a:cubicBezTo>
                    <a:pt x="862965" y="569404"/>
                    <a:pt x="853726" y="518827"/>
                    <a:pt x="835343" y="472535"/>
                  </a:cubicBezTo>
                  <a:cubicBezTo>
                    <a:pt x="816864" y="426149"/>
                    <a:pt x="791337" y="386334"/>
                    <a:pt x="758667" y="353092"/>
                  </a:cubicBezTo>
                  <a:cubicBezTo>
                    <a:pt x="725996" y="319849"/>
                    <a:pt x="686467" y="293941"/>
                    <a:pt x="640080" y="275558"/>
                  </a:cubicBezTo>
                  <a:cubicBezTo>
                    <a:pt x="593693" y="257175"/>
                    <a:pt x="542639" y="247936"/>
                    <a:pt x="486728" y="247936"/>
                  </a:cubicBezTo>
                  <a:lnTo>
                    <a:pt x="274511" y="247936"/>
                  </a:lnTo>
                  <a:lnTo>
                    <a:pt x="274511" y="1000411"/>
                  </a:lnTo>
                  <a:lnTo>
                    <a:pt x="486728" y="1000411"/>
                  </a:lnTo>
                  <a:close/>
                </a:path>
              </a:pathLst>
            </a:custGeom>
            <a:solidFill>
              <a:srgbClr val="44505E"/>
            </a:solidFill>
            <a:ln w="9525" cap="flat">
              <a:noFill/>
              <a:prstDash val="solid"/>
              <a:miter/>
            </a:ln>
          </p:spPr>
          <p:txBody>
            <a:bodyPr rtlCol="0" anchor="ctr"/>
            <a:lstStyle/>
            <a:p>
              <a:endParaRPr lang="pt-BR" noProof="0"/>
            </a:p>
          </p:txBody>
        </p:sp>
        <p:sp>
          <p:nvSpPr>
            <p:cNvPr id="20" name="Freeform: Shape 19">
              <a:extLst>
                <a:ext uri="{FF2B5EF4-FFF2-40B4-BE49-F238E27FC236}">
                  <a16:creationId xmlns:a16="http://schemas.microsoft.com/office/drawing/2014/main" id="{EC13A3C7-82EF-FE96-0197-32CAE75DA6BF}"/>
                </a:ext>
              </a:extLst>
            </p:cNvPr>
            <p:cNvSpPr/>
            <p:nvPr/>
          </p:nvSpPr>
          <p:spPr>
            <a:xfrm>
              <a:off x="6460217" y="313094"/>
              <a:ext cx="238459" cy="313788"/>
            </a:xfrm>
            <a:custGeom>
              <a:avLst/>
              <a:gdLst>
                <a:gd name="connsiteX0" fmla="*/ 95 w 948594"/>
                <a:gd name="connsiteY0" fmla="*/ 0 h 1248251"/>
                <a:gd name="connsiteX1" fmla="*/ 939737 w 948594"/>
                <a:gd name="connsiteY1" fmla="*/ 0 h 1248251"/>
                <a:gd name="connsiteX2" fmla="*/ 939737 w 948594"/>
                <a:gd name="connsiteY2" fmla="*/ 244316 h 1248251"/>
                <a:gd name="connsiteX3" fmla="*/ 271081 w 948594"/>
                <a:gd name="connsiteY3" fmla="*/ 244316 h 1248251"/>
                <a:gd name="connsiteX4" fmla="*/ 271081 w 948594"/>
                <a:gd name="connsiteY4" fmla="*/ 497491 h 1248251"/>
                <a:gd name="connsiteX5" fmla="*/ 859441 w 948594"/>
                <a:gd name="connsiteY5" fmla="*/ 497491 h 1248251"/>
                <a:gd name="connsiteX6" fmla="*/ 859441 w 948594"/>
                <a:gd name="connsiteY6" fmla="*/ 741807 h 1248251"/>
                <a:gd name="connsiteX7" fmla="*/ 271081 w 948594"/>
                <a:gd name="connsiteY7" fmla="*/ 741807 h 1248251"/>
                <a:gd name="connsiteX8" fmla="*/ 271081 w 948594"/>
                <a:gd name="connsiteY8" fmla="*/ 1003935 h 1248251"/>
                <a:gd name="connsiteX9" fmla="*/ 948595 w 948594"/>
                <a:gd name="connsiteY9" fmla="*/ 1003935 h 1248251"/>
                <a:gd name="connsiteX10" fmla="*/ 948595 w 948594"/>
                <a:gd name="connsiteY10" fmla="*/ 1248251 h 1248251"/>
                <a:gd name="connsiteX11" fmla="*/ 0 w 948594"/>
                <a:gd name="connsiteY11" fmla="*/ 1248251 h 1248251"/>
                <a:gd name="connsiteX12" fmla="*/ 0 w 948594"/>
                <a:gd name="connsiteY12" fmla="*/ 0 h 124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594" h="1248251">
                  <a:moveTo>
                    <a:pt x="95" y="0"/>
                  </a:moveTo>
                  <a:lnTo>
                    <a:pt x="939737" y="0"/>
                  </a:lnTo>
                  <a:lnTo>
                    <a:pt x="939737" y="244316"/>
                  </a:lnTo>
                  <a:lnTo>
                    <a:pt x="271081" y="244316"/>
                  </a:lnTo>
                  <a:lnTo>
                    <a:pt x="271081" y="497491"/>
                  </a:lnTo>
                  <a:lnTo>
                    <a:pt x="859441" y="497491"/>
                  </a:lnTo>
                  <a:lnTo>
                    <a:pt x="859441" y="741807"/>
                  </a:lnTo>
                  <a:lnTo>
                    <a:pt x="271081" y="741807"/>
                  </a:lnTo>
                  <a:lnTo>
                    <a:pt x="271081" y="1003935"/>
                  </a:lnTo>
                  <a:lnTo>
                    <a:pt x="948595" y="1003935"/>
                  </a:lnTo>
                  <a:lnTo>
                    <a:pt x="948595" y="1248251"/>
                  </a:lnTo>
                  <a:lnTo>
                    <a:pt x="0" y="1248251"/>
                  </a:lnTo>
                  <a:lnTo>
                    <a:pt x="0" y="0"/>
                  </a:lnTo>
                  <a:close/>
                </a:path>
              </a:pathLst>
            </a:custGeom>
            <a:solidFill>
              <a:srgbClr val="44505E"/>
            </a:solidFill>
            <a:ln w="9525" cap="flat">
              <a:noFill/>
              <a:prstDash val="solid"/>
              <a:miter/>
            </a:ln>
          </p:spPr>
          <p:txBody>
            <a:bodyPr rtlCol="0" anchor="ctr"/>
            <a:lstStyle/>
            <a:p>
              <a:endParaRPr lang="pt-BR" noProof="0"/>
            </a:p>
          </p:txBody>
        </p:sp>
        <p:sp>
          <p:nvSpPr>
            <p:cNvPr id="21" name="Freeform: Shape 20">
              <a:extLst>
                <a:ext uri="{FF2B5EF4-FFF2-40B4-BE49-F238E27FC236}">
                  <a16:creationId xmlns:a16="http://schemas.microsoft.com/office/drawing/2014/main" id="{56B83F4A-5967-2248-96DE-360176EEB13A}"/>
                </a:ext>
              </a:extLst>
            </p:cNvPr>
            <p:cNvSpPr/>
            <p:nvPr/>
          </p:nvSpPr>
          <p:spPr>
            <a:xfrm>
              <a:off x="5253193" y="699983"/>
              <a:ext cx="90796" cy="97883"/>
            </a:xfrm>
            <a:custGeom>
              <a:avLst/>
              <a:gdLst>
                <a:gd name="connsiteX0" fmla="*/ 191548 w 361187"/>
                <a:gd name="connsiteY0" fmla="*/ 389382 h 389381"/>
                <a:gd name="connsiteX1" fmla="*/ 116300 w 361187"/>
                <a:gd name="connsiteY1" fmla="*/ 375285 h 389381"/>
                <a:gd name="connsiteX2" fmla="*/ 55531 w 361187"/>
                <a:gd name="connsiteY2" fmla="*/ 335756 h 389381"/>
                <a:gd name="connsiteX3" fmla="*/ 14859 w 361187"/>
                <a:gd name="connsiteY3" fmla="*/ 274606 h 389381"/>
                <a:gd name="connsiteX4" fmla="*/ 0 w 361187"/>
                <a:gd name="connsiteY4" fmla="*/ 195834 h 389381"/>
                <a:gd name="connsiteX5" fmla="*/ 0 w 361187"/>
                <a:gd name="connsiteY5" fmla="*/ 194405 h 389381"/>
                <a:gd name="connsiteX6" fmla="*/ 13430 w 361187"/>
                <a:gd name="connsiteY6" fmla="*/ 118777 h 389381"/>
                <a:gd name="connsiteX7" fmla="*/ 51245 w 361187"/>
                <a:gd name="connsiteY7" fmla="*/ 56959 h 389381"/>
                <a:gd name="connsiteX8" fmla="*/ 108871 w 361187"/>
                <a:gd name="connsiteY8" fmla="*/ 15240 h 389381"/>
                <a:gd name="connsiteX9" fmla="*/ 182404 w 361187"/>
                <a:gd name="connsiteY9" fmla="*/ 0 h 389381"/>
                <a:gd name="connsiteX10" fmla="*/ 260509 w 361187"/>
                <a:gd name="connsiteY10" fmla="*/ 16288 h 389381"/>
                <a:gd name="connsiteX11" fmla="*/ 316325 w 361187"/>
                <a:gd name="connsiteY11" fmla="*/ 60103 h 389381"/>
                <a:gd name="connsiteX12" fmla="*/ 349853 w 361187"/>
                <a:gd name="connsiteY12" fmla="*/ 124015 h 389381"/>
                <a:gd name="connsiteX13" fmla="*/ 361188 w 361187"/>
                <a:gd name="connsiteY13" fmla="*/ 200692 h 389381"/>
                <a:gd name="connsiteX14" fmla="*/ 360807 w 361187"/>
                <a:gd name="connsiteY14" fmla="*/ 212312 h 389381"/>
                <a:gd name="connsiteX15" fmla="*/ 359759 w 361187"/>
                <a:gd name="connsiteY15" fmla="*/ 224695 h 389381"/>
                <a:gd name="connsiteX16" fmla="*/ 85534 w 361187"/>
                <a:gd name="connsiteY16" fmla="*/ 224695 h 389381"/>
                <a:gd name="connsiteX17" fmla="*/ 121920 w 361187"/>
                <a:gd name="connsiteY17" fmla="*/ 294989 h 389381"/>
                <a:gd name="connsiteX18" fmla="*/ 192977 w 361187"/>
                <a:gd name="connsiteY18" fmla="*/ 319373 h 389381"/>
                <a:gd name="connsiteX19" fmla="*/ 248126 w 361187"/>
                <a:gd name="connsiteY19" fmla="*/ 308038 h 389381"/>
                <a:gd name="connsiteX20" fmla="*/ 294037 w 361187"/>
                <a:gd name="connsiteY20" fmla="*/ 274796 h 389381"/>
                <a:gd name="connsiteX21" fmla="*/ 344234 w 361187"/>
                <a:gd name="connsiteY21" fmla="*/ 319278 h 389381"/>
                <a:gd name="connsiteX22" fmla="*/ 280226 w 361187"/>
                <a:gd name="connsiteY22" fmla="*/ 370141 h 389381"/>
                <a:gd name="connsiteX23" fmla="*/ 191548 w 361187"/>
                <a:gd name="connsiteY23" fmla="*/ 389191 h 389381"/>
                <a:gd name="connsiteX24" fmla="*/ 276320 w 361187"/>
                <a:gd name="connsiteY24" fmla="*/ 168211 h 389381"/>
                <a:gd name="connsiteX25" fmla="*/ 267176 w 361187"/>
                <a:gd name="connsiteY25" fmla="*/ 129730 h 389381"/>
                <a:gd name="connsiteX26" fmla="*/ 248126 w 361187"/>
                <a:gd name="connsiteY26" fmla="*/ 98679 h 389381"/>
                <a:gd name="connsiteX27" fmla="*/ 219551 w 361187"/>
                <a:gd name="connsiteY27" fmla="*/ 77819 h 389381"/>
                <a:gd name="connsiteX28" fmla="*/ 181737 w 361187"/>
                <a:gd name="connsiteY28" fmla="*/ 70009 h 389381"/>
                <a:gd name="connsiteX29" fmla="*/ 116396 w 361187"/>
                <a:gd name="connsiteY29" fmla="*/ 97250 h 389381"/>
                <a:gd name="connsiteX30" fmla="*/ 84963 w 361187"/>
                <a:gd name="connsiteY30" fmla="*/ 168307 h 389381"/>
                <a:gd name="connsiteX31" fmla="*/ 276511 w 361187"/>
                <a:gd name="connsiteY31" fmla="*/ 168307 h 38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187" h="389381">
                  <a:moveTo>
                    <a:pt x="191548" y="389382"/>
                  </a:moveTo>
                  <a:cubicBezTo>
                    <a:pt x="164687" y="389382"/>
                    <a:pt x="139637" y="384715"/>
                    <a:pt x="116300" y="375285"/>
                  </a:cubicBezTo>
                  <a:cubicBezTo>
                    <a:pt x="92964" y="365855"/>
                    <a:pt x="72771" y="352711"/>
                    <a:pt x="55531" y="335756"/>
                  </a:cubicBezTo>
                  <a:cubicBezTo>
                    <a:pt x="38291" y="318802"/>
                    <a:pt x="24765" y="298418"/>
                    <a:pt x="14859" y="274606"/>
                  </a:cubicBezTo>
                  <a:cubicBezTo>
                    <a:pt x="4953" y="250793"/>
                    <a:pt x="0" y="224599"/>
                    <a:pt x="0" y="195834"/>
                  </a:cubicBezTo>
                  <a:lnTo>
                    <a:pt x="0" y="194405"/>
                  </a:lnTo>
                  <a:cubicBezTo>
                    <a:pt x="0" y="167545"/>
                    <a:pt x="4477" y="142399"/>
                    <a:pt x="13430" y="118777"/>
                  </a:cubicBezTo>
                  <a:cubicBezTo>
                    <a:pt x="22384" y="95250"/>
                    <a:pt x="34957" y="74581"/>
                    <a:pt x="51245" y="56959"/>
                  </a:cubicBezTo>
                  <a:cubicBezTo>
                    <a:pt x="67532" y="39338"/>
                    <a:pt x="86677" y="25432"/>
                    <a:pt x="108871" y="15240"/>
                  </a:cubicBezTo>
                  <a:cubicBezTo>
                    <a:pt x="131064" y="5143"/>
                    <a:pt x="155543" y="0"/>
                    <a:pt x="182404" y="0"/>
                  </a:cubicBezTo>
                  <a:cubicBezTo>
                    <a:pt x="212122" y="0"/>
                    <a:pt x="238125" y="5429"/>
                    <a:pt x="260509" y="16288"/>
                  </a:cubicBezTo>
                  <a:cubicBezTo>
                    <a:pt x="282893" y="27146"/>
                    <a:pt x="301466" y="41719"/>
                    <a:pt x="316325" y="60103"/>
                  </a:cubicBezTo>
                  <a:cubicBezTo>
                    <a:pt x="331184" y="78486"/>
                    <a:pt x="342329" y="99822"/>
                    <a:pt x="349853" y="124015"/>
                  </a:cubicBezTo>
                  <a:cubicBezTo>
                    <a:pt x="357378" y="148304"/>
                    <a:pt x="361188" y="173831"/>
                    <a:pt x="361188" y="200692"/>
                  </a:cubicBezTo>
                  <a:cubicBezTo>
                    <a:pt x="361188" y="204502"/>
                    <a:pt x="361093" y="208312"/>
                    <a:pt x="360807" y="212312"/>
                  </a:cubicBezTo>
                  <a:cubicBezTo>
                    <a:pt x="360521" y="216313"/>
                    <a:pt x="360236" y="220409"/>
                    <a:pt x="359759" y="224695"/>
                  </a:cubicBezTo>
                  <a:lnTo>
                    <a:pt x="85534" y="224695"/>
                  </a:lnTo>
                  <a:cubicBezTo>
                    <a:pt x="90202" y="255365"/>
                    <a:pt x="102394" y="278797"/>
                    <a:pt x="121920" y="294989"/>
                  </a:cubicBezTo>
                  <a:cubicBezTo>
                    <a:pt x="141446" y="311277"/>
                    <a:pt x="165164" y="319373"/>
                    <a:pt x="192977" y="319373"/>
                  </a:cubicBezTo>
                  <a:cubicBezTo>
                    <a:pt x="214217" y="319373"/>
                    <a:pt x="232505" y="315563"/>
                    <a:pt x="248126" y="308038"/>
                  </a:cubicBezTo>
                  <a:cubicBezTo>
                    <a:pt x="263652" y="300514"/>
                    <a:pt x="278987" y="289465"/>
                    <a:pt x="294037" y="274796"/>
                  </a:cubicBezTo>
                  <a:lnTo>
                    <a:pt x="344234" y="319278"/>
                  </a:lnTo>
                  <a:cubicBezTo>
                    <a:pt x="326327" y="340519"/>
                    <a:pt x="304991" y="357473"/>
                    <a:pt x="280226" y="370141"/>
                  </a:cubicBezTo>
                  <a:cubicBezTo>
                    <a:pt x="255461" y="382810"/>
                    <a:pt x="225933" y="389191"/>
                    <a:pt x="191548" y="389191"/>
                  </a:cubicBezTo>
                  <a:close/>
                  <a:moveTo>
                    <a:pt x="276320" y="168211"/>
                  </a:moveTo>
                  <a:cubicBezTo>
                    <a:pt x="274892" y="154591"/>
                    <a:pt x="271844" y="141732"/>
                    <a:pt x="267176" y="129730"/>
                  </a:cubicBezTo>
                  <a:cubicBezTo>
                    <a:pt x="262414" y="117729"/>
                    <a:pt x="256127" y="107347"/>
                    <a:pt x="248126" y="98679"/>
                  </a:cubicBezTo>
                  <a:cubicBezTo>
                    <a:pt x="240125" y="89916"/>
                    <a:pt x="230600" y="82963"/>
                    <a:pt x="219551" y="77819"/>
                  </a:cubicBezTo>
                  <a:cubicBezTo>
                    <a:pt x="208502" y="72676"/>
                    <a:pt x="195834" y="70009"/>
                    <a:pt x="181737" y="70009"/>
                  </a:cubicBezTo>
                  <a:cubicBezTo>
                    <a:pt x="155353" y="70009"/>
                    <a:pt x="133541" y="79057"/>
                    <a:pt x="116396" y="97250"/>
                  </a:cubicBezTo>
                  <a:cubicBezTo>
                    <a:pt x="99155" y="115348"/>
                    <a:pt x="88678" y="139065"/>
                    <a:pt x="84963" y="168307"/>
                  </a:cubicBezTo>
                  <a:lnTo>
                    <a:pt x="276511" y="168307"/>
                  </a:lnTo>
                  <a:close/>
                </a:path>
              </a:pathLst>
            </a:custGeom>
            <a:solidFill>
              <a:srgbClr val="44505E"/>
            </a:solidFill>
            <a:ln w="9525" cap="flat">
              <a:noFill/>
              <a:prstDash val="solid"/>
              <a:miter/>
            </a:ln>
          </p:spPr>
          <p:txBody>
            <a:bodyPr rtlCol="0" anchor="ctr"/>
            <a:lstStyle/>
            <a:p>
              <a:endParaRPr lang="pt-BR" noProof="0"/>
            </a:p>
          </p:txBody>
        </p:sp>
        <p:sp>
          <p:nvSpPr>
            <p:cNvPr id="22" name="Freeform: Shape 21">
              <a:extLst>
                <a:ext uri="{FF2B5EF4-FFF2-40B4-BE49-F238E27FC236}">
                  <a16:creationId xmlns:a16="http://schemas.microsoft.com/office/drawing/2014/main" id="{1934D91D-C925-F473-33BD-31CA2FFF68E4}"/>
                </a:ext>
              </a:extLst>
            </p:cNvPr>
            <p:cNvSpPr/>
            <p:nvPr/>
          </p:nvSpPr>
          <p:spPr>
            <a:xfrm>
              <a:off x="5365659"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5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8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3 w 568166"/>
                <a:gd name="connsiteY21" fmla="*/ 381000 h 381000"/>
                <a:gd name="connsiteX22" fmla="*/ 240983 w 568166"/>
                <a:gd name="connsiteY22" fmla="*/ 168783 h 381000"/>
                <a:gd name="connsiteX23" fmla="*/ 221266 w 568166"/>
                <a:gd name="connsiteY23" fmla="*/ 101822 h 381000"/>
                <a:gd name="connsiteX24" fmla="*/ 165640 w 568166"/>
                <a:gd name="connsiteY24" fmla="*/ 78581 h 381000"/>
                <a:gd name="connsiteX25" fmla="*/ 108014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70" y="48196"/>
                    <a:pt x="105918" y="40576"/>
                  </a:cubicBezTo>
                  <a:cubicBezTo>
                    <a:pt x="112967" y="32956"/>
                    <a:pt x="121063" y="26099"/>
                    <a:pt x="130207" y="19907"/>
                  </a:cubicBezTo>
                  <a:cubicBezTo>
                    <a:pt x="139351" y="13716"/>
                    <a:pt x="149733" y="8858"/>
                    <a:pt x="161163" y="5334"/>
                  </a:cubicBezTo>
                  <a:cubicBezTo>
                    <a:pt x="172688" y="1714"/>
                    <a:pt x="185452" y="0"/>
                    <a:pt x="199549" y="0"/>
                  </a:cubicBezTo>
                  <a:cubicBezTo>
                    <a:pt x="226314" y="0"/>
                    <a:pt x="248984" y="6096"/>
                    <a:pt x="267557" y="18193"/>
                  </a:cubicBezTo>
                  <a:cubicBezTo>
                    <a:pt x="286131" y="30289"/>
                    <a:pt x="300323" y="46387"/>
                    <a:pt x="310134" y="66294"/>
                  </a:cubicBezTo>
                  <a:cubicBezTo>
                    <a:pt x="325279" y="46387"/>
                    <a:pt x="343091" y="30289"/>
                    <a:pt x="363665" y="18193"/>
                  </a:cubicBezTo>
                  <a:cubicBezTo>
                    <a:pt x="384239" y="6096"/>
                    <a:pt x="408718" y="0"/>
                    <a:pt x="437007" y="0"/>
                  </a:cubicBezTo>
                  <a:cubicBezTo>
                    <a:pt x="478060"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8" y="78486"/>
                  </a:cubicBezTo>
                  <a:cubicBezTo>
                    <a:pt x="382810" y="78486"/>
                    <a:pt x="364141" y="86392"/>
                    <a:pt x="349377" y="102108"/>
                  </a:cubicBezTo>
                  <a:cubicBezTo>
                    <a:pt x="334613" y="117824"/>
                    <a:pt x="327184" y="140779"/>
                    <a:pt x="327184" y="170879"/>
                  </a:cubicBezTo>
                  <a:lnTo>
                    <a:pt x="327184" y="381000"/>
                  </a:lnTo>
                  <a:lnTo>
                    <a:pt x="240983" y="381000"/>
                  </a:lnTo>
                  <a:lnTo>
                    <a:pt x="240983" y="168783"/>
                  </a:lnTo>
                  <a:cubicBezTo>
                    <a:pt x="240983" y="139637"/>
                    <a:pt x="234410" y="117348"/>
                    <a:pt x="221266" y="101822"/>
                  </a:cubicBezTo>
                  <a:cubicBezTo>
                    <a:pt x="208121" y="86296"/>
                    <a:pt x="189643" y="78581"/>
                    <a:pt x="165640" y="78581"/>
                  </a:cubicBezTo>
                  <a:cubicBezTo>
                    <a:pt x="141637" y="78581"/>
                    <a:pt x="122492" y="86773"/>
                    <a:pt x="108014"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23" name="Freeform: Shape 22">
              <a:extLst>
                <a:ext uri="{FF2B5EF4-FFF2-40B4-BE49-F238E27FC236}">
                  <a16:creationId xmlns:a16="http://schemas.microsoft.com/office/drawing/2014/main" id="{57B87108-534C-CE14-E489-75D3F086BD19}"/>
                </a:ext>
              </a:extLst>
            </p:cNvPr>
            <p:cNvSpPr/>
            <p:nvPr/>
          </p:nvSpPr>
          <p:spPr>
            <a:xfrm>
              <a:off x="5587693" y="700007"/>
              <a:ext cx="84211" cy="95752"/>
            </a:xfrm>
            <a:custGeom>
              <a:avLst/>
              <a:gdLst>
                <a:gd name="connsiteX0" fmla="*/ 95 w 334994"/>
                <a:gd name="connsiteY0" fmla="*/ 7715 h 380904"/>
                <a:gd name="connsiteX1" fmla="*/ 86296 w 334994"/>
                <a:gd name="connsiteY1" fmla="*/ 7715 h 380904"/>
                <a:gd name="connsiteX2" fmla="*/ 86296 w 334994"/>
                <a:gd name="connsiteY2" fmla="*/ 66294 h 380904"/>
                <a:gd name="connsiteX3" fmla="*/ 106394 w 334994"/>
                <a:gd name="connsiteY3" fmla="*/ 40958 h 380904"/>
                <a:gd name="connsiteX4" fmla="*/ 131731 w 334994"/>
                <a:gd name="connsiteY4" fmla="*/ 19907 h 380904"/>
                <a:gd name="connsiteX5" fmla="*/ 163449 w 334994"/>
                <a:gd name="connsiteY5" fmla="*/ 5334 h 380904"/>
                <a:gd name="connsiteX6" fmla="*/ 202597 w 334994"/>
                <a:gd name="connsiteY6" fmla="*/ 0 h 380904"/>
                <a:gd name="connsiteX7" fmla="*/ 300514 w 334994"/>
                <a:gd name="connsiteY7" fmla="*/ 38862 h 380904"/>
                <a:gd name="connsiteX8" fmla="*/ 334994 w 334994"/>
                <a:gd name="connsiteY8" fmla="*/ 143446 h 380904"/>
                <a:gd name="connsiteX9" fmla="*/ 334994 w 334994"/>
                <a:gd name="connsiteY9" fmla="*/ 380905 h 380904"/>
                <a:gd name="connsiteX10" fmla="*/ 248793 w 334994"/>
                <a:gd name="connsiteY10" fmla="*/ 380905 h 380904"/>
                <a:gd name="connsiteX11" fmla="*/ 248793 w 334994"/>
                <a:gd name="connsiteY11" fmla="*/ 169450 h 380904"/>
                <a:gd name="connsiteX12" fmla="*/ 228124 w 334994"/>
                <a:gd name="connsiteY12" fmla="*/ 102108 h 380904"/>
                <a:gd name="connsiteX13" fmla="*/ 169640 w 334994"/>
                <a:gd name="connsiteY13" fmla="*/ 78486 h 380904"/>
                <a:gd name="connsiteX14" fmla="*/ 109347 w 334994"/>
                <a:gd name="connsiteY14" fmla="*/ 102775 h 380904"/>
                <a:gd name="connsiteX15" fmla="*/ 86201 w 334994"/>
                <a:gd name="connsiteY15" fmla="*/ 170783 h 380904"/>
                <a:gd name="connsiteX16" fmla="*/ 86201 w 334994"/>
                <a:gd name="connsiteY16" fmla="*/ 380905 h 380904"/>
                <a:gd name="connsiteX17" fmla="*/ 0 w 334994"/>
                <a:gd name="connsiteY17" fmla="*/ 380905 h 380904"/>
                <a:gd name="connsiteX18" fmla="*/ 0 w 334994"/>
                <a:gd name="connsiteY18" fmla="*/ 7810 h 38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94" h="380904">
                  <a:moveTo>
                    <a:pt x="95" y="7715"/>
                  </a:moveTo>
                  <a:lnTo>
                    <a:pt x="86296" y="7715"/>
                  </a:lnTo>
                  <a:lnTo>
                    <a:pt x="86296" y="66294"/>
                  </a:lnTo>
                  <a:cubicBezTo>
                    <a:pt x="92392" y="57245"/>
                    <a:pt x="99060" y="48863"/>
                    <a:pt x="106394" y="40958"/>
                  </a:cubicBezTo>
                  <a:cubicBezTo>
                    <a:pt x="113633" y="33147"/>
                    <a:pt x="122110" y="26099"/>
                    <a:pt x="131731" y="19907"/>
                  </a:cubicBezTo>
                  <a:cubicBezTo>
                    <a:pt x="141351" y="13716"/>
                    <a:pt x="151924" y="8858"/>
                    <a:pt x="163449" y="5334"/>
                  </a:cubicBezTo>
                  <a:cubicBezTo>
                    <a:pt x="174974" y="1714"/>
                    <a:pt x="188024" y="0"/>
                    <a:pt x="202597" y="0"/>
                  </a:cubicBezTo>
                  <a:cubicBezTo>
                    <a:pt x="244888" y="0"/>
                    <a:pt x="277559" y="12954"/>
                    <a:pt x="300514" y="38862"/>
                  </a:cubicBezTo>
                  <a:cubicBezTo>
                    <a:pt x="323564" y="64770"/>
                    <a:pt x="334994" y="99631"/>
                    <a:pt x="334994" y="143446"/>
                  </a:cubicBezTo>
                  <a:lnTo>
                    <a:pt x="334994" y="380905"/>
                  </a:lnTo>
                  <a:lnTo>
                    <a:pt x="248793" y="380905"/>
                  </a:lnTo>
                  <a:lnTo>
                    <a:pt x="248793" y="169450"/>
                  </a:lnTo>
                  <a:cubicBezTo>
                    <a:pt x="248793" y="140303"/>
                    <a:pt x="241935" y="117824"/>
                    <a:pt x="228124" y="102108"/>
                  </a:cubicBezTo>
                  <a:cubicBezTo>
                    <a:pt x="214313" y="86392"/>
                    <a:pt x="194881" y="78486"/>
                    <a:pt x="169640" y="78486"/>
                  </a:cubicBezTo>
                  <a:cubicBezTo>
                    <a:pt x="144399" y="78486"/>
                    <a:pt x="124777" y="86582"/>
                    <a:pt x="109347" y="102775"/>
                  </a:cubicBezTo>
                  <a:cubicBezTo>
                    <a:pt x="93917" y="118967"/>
                    <a:pt x="86201" y="141637"/>
                    <a:pt x="86201" y="170783"/>
                  </a:cubicBezTo>
                  <a:lnTo>
                    <a:pt x="86201" y="380905"/>
                  </a:lnTo>
                  <a:lnTo>
                    <a:pt x="0" y="380905"/>
                  </a:lnTo>
                  <a:lnTo>
                    <a:pt x="0" y="7810"/>
                  </a:lnTo>
                  <a:close/>
                </a:path>
              </a:pathLst>
            </a:custGeom>
            <a:solidFill>
              <a:srgbClr val="44505E"/>
            </a:solidFill>
            <a:ln w="9525" cap="flat">
              <a:noFill/>
              <a:prstDash val="solid"/>
              <a:miter/>
            </a:ln>
          </p:spPr>
          <p:txBody>
            <a:bodyPr rtlCol="0" anchor="ctr"/>
            <a:lstStyle/>
            <a:p>
              <a:endParaRPr lang="pt-BR" noProof="0"/>
            </a:p>
          </p:txBody>
        </p:sp>
        <p:sp>
          <p:nvSpPr>
            <p:cNvPr id="24" name="Freeform: Shape 23">
              <a:extLst>
                <a:ext uri="{FF2B5EF4-FFF2-40B4-BE49-F238E27FC236}">
                  <a16:creationId xmlns:a16="http://schemas.microsoft.com/office/drawing/2014/main" id="{4598B1A2-73F0-AAB8-6FA3-1662FC804D1E}"/>
                </a:ext>
              </a:extLst>
            </p:cNvPr>
            <p:cNvSpPr/>
            <p:nvPr/>
          </p:nvSpPr>
          <p:spPr>
            <a:xfrm>
              <a:off x="5692712" y="699959"/>
              <a:ext cx="100015" cy="97908"/>
            </a:xfrm>
            <a:custGeom>
              <a:avLst/>
              <a:gdLst>
                <a:gd name="connsiteX0" fmla="*/ 197834 w 397859"/>
                <a:gd name="connsiteY0" fmla="*/ 389477 h 389477"/>
                <a:gd name="connsiteX1" fmla="*/ 119063 w 397859"/>
                <a:gd name="connsiteY1" fmla="*/ 374237 h 389477"/>
                <a:gd name="connsiteX2" fmla="*/ 56197 w 397859"/>
                <a:gd name="connsiteY2" fmla="*/ 332899 h 389477"/>
                <a:gd name="connsiteX3" fmla="*/ 14859 w 397859"/>
                <a:gd name="connsiteY3" fmla="*/ 271463 h 389477"/>
                <a:gd name="connsiteX4" fmla="*/ 0 w 397859"/>
                <a:gd name="connsiteY4" fmla="*/ 196501 h 389477"/>
                <a:gd name="connsiteX5" fmla="*/ 0 w 397859"/>
                <a:gd name="connsiteY5" fmla="*/ 195072 h 389477"/>
                <a:gd name="connsiteX6" fmla="*/ 15145 w 397859"/>
                <a:gd name="connsiteY6" fmla="*/ 119444 h 389477"/>
                <a:gd name="connsiteX7" fmla="*/ 56864 w 397859"/>
                <a:gd name="connsiteY7" fmla="*/ 57626 h 389477"/>
                <a:gd name="connsiteX8" fmla="*/ 119729 w 397859"/>
                <a:gd name="connsiteY8" fmla="*/ 15526 h 389477"/>
                <a:gd name="connsiteX9" fmla="*/ 199263 w 397859"/>
                <a:gd name="connsiteY9" fmla="*/ 0 h 389477"/>
                <a:gd name="connsiteX10" fmla="*/ 278797 w 397859"/>
                <a:gd name="connsiteY10" fmla="*/ 15240 h 389477"/>
                <a:gd name="connsiteX11" fmla="*/ 341662 w 397859"/>
                <a:gd name="connsiteY11" fmla="*/ 56959 h 389477"/>
                <a:gd name="connsiteX12" fmla="*/ 383000 w 397859"/>
                <a:gd name="connsiteY12" fmla="*/ 118396 h 389477"/>
                <a:gd name="connsiteX13" fmla="*/ 397859 w 397859"/>
                <a:gd name="connsiteY13" fmla="*/ 193643 h 389477"/>
                <a:gd name="connsiteX14" fmla="*/ 397859 w 397859"/>
                <a:gd name="connsiteY14" fmla="*/ 195072 h 389477"/>
                <a:gd name="connsiteX15" fmla="*/ 382619 w 397859"/>
                <a:gd name="connsiteY15" fmla="*/ 270034 h 389477"/>
                <a:gd name="connsiteX16" fmla="*/ 340900 w 397859"/>
                <a:gd name="connsiteY16" fmla="*/ 331851 h 389477"/>
                <a:gd name="connsiteX17" fmla="*/ 277654 w 397859"/>
                <a:gd name="connsiteY17" fmla="*/ 373856 h 389477"/>
                <a:gd name="connsiteX18" fmla="*/ 197834 w 397859"/>
                <a:gd name="connsiteY18" fmla="*/ 389382 h 389477"/>
                <a:gd name="connsiteX19" fmla="*/ 199263 w 397859"/>
                <a:gd name="connsiteY19" fmla="*/ 315278 h 389477"/>
                <a:gd name="connsiteX20" fmla="*/ 245935 w 397859"/>
                <a:gd name="connsiteY20" fmla="*/ 305753 h 389477"/>
                <a:gd name="connsiteX21" fmla="*/ 281368 w 397859"/>
                <a:gd name="connsiteY21" fmla="*/ 279940 h 389477"/>
                <a:gd name="connsiteX22" fmla="*/ 303847 w 397859"/>
                <a:gd name="connsiteY22" fmla="*/ 242125 h 389477"/>
                <a:gd name="connsiteX23" fmla="*/ 311563 w 397859"/>
                <a:gd name="connsiteY23" fmla="*/ 196501 h 389477"/>
                <a:gd name="connsiteX24" fmla="*/ 311563 w 397859"/>
                <a:gd name="connsiteY24" fmla="*/ 195072 h 389477"/>
                <a:gd name="connsiteX25" fmla="*/ 303181 w 397859"/>
                <a:gd name="connsiteY25" fmla="*/ 148400 h 389477"/>
                <a:gd name="connsiteX26" fmla="*/ 279654 w 397859"/>
                <a:gd name="connsiteY26" fmla="*/ 110204 h 389477"/>
                <a:gd name="connsiteX27" fmla="*/ 243840 w 397859"/>
                <a:gd name="connsiteY27" fmla="*/ 84392 h 389477"/>
                <a:gd name="connsiteX28" fmla="*/ 197834 w 397859"/>
                <a:gd name="connsiteY28" fmla="*/ 74867 h 389477"/>
                <a:gd name="connsiteX29" fmla="*/ 151829 w 397859"/>
                <a:gd name="connsiteY29" fmla="*/ 84392 h 389477"/>
                <a:gd name="connsiteX30" fmla="*/ 116396 w 397859"/>
                <a:gd name="connsiteY30" fmla="*/ 109823 h 389477"/>
                <a:gd name="connsiteX31" fmla="*/ 93917 w 397859"/>
                <a:gd name="connsiteY31" fmla="*/ 147638 h 389477"/>
                <a:gd name="connsiteX32" fmla="*/ 86201 w 397859"/>
                <a:gd name="connsiteY32" fmla="*/ 193548 h 389477"/>
                <a:gd name="connsiteX33" fmla="*/ 86201 w 397859"/>
                <a:gd name="connsiteY33" fmla="*/ 194977 h 389477"/>
                <a:gd name="connsiteX34" fmla="*/ 94583 w 397859"/>
                <a:gd name="connsiteY34" fmla="*/ 241268 h 389477"/>
                <a:gd name="connsiteX35" fmla="*/ 118110 w 397859"/>
                <a:gd name="connsiteY35" fmla="*/ 279463 h 389477"/>
                <a:gd name="connsiteX36" fmla="*/ 153924 w 397859"/>
                <a:gd name="connsiteY36" fmla="*/ 305562 h 389477"/>
                <a:gd name="connsiteX37" fmla="*/ 199263 w 397859"/>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859" h="389477">
                  <a:moveTo>
                    <a:pt x="197834" y="389477"/>
                  </a:moveTo>
                  <a:cubicBezTo>
                    <a:pt x="169545" y="389477"/>
                    <a:pt x="143351" y="384429"/>
                    <a:pt x="119063" y="374237"/>
                  </a:cubicBezTo>
                  <a:cubicBezTo>
                    <a:pt x="94774" y="364141"/>
                    <a:pt x="73819" y="350330"/>
                    <a:pt x="56197" y="332899"/>
                  </a:cubicBezTo>
                  <a:cubicBezTo>
                    <a:pt x="38481" y="315468"/>
                    <a:pt x="24765" y="294989"/>
                    <a:pt x="14859" y="271463"/>
                  </a:cubicBezTo>
                  <a:cubicBezTo>
                    <a:pt x="4953" y="247936"/>
                    <a:pt x="0" y="222980"/>
                    <a:pt x="0" y="196501"/>
                  </a:cubicBezTo>
                  <a:lnTo>
                    <a:pt x="0" y="195072"/>
                  </a:lnTo>
                  <a:cubicBezTo>
                    <a:pt x="0" y="168212"/>
                    <a:pt x="5048" y="143066"/>
                    <a:pt x="15145" y="119444"/>
                  </a:cubicBezTo>
                  <a:cubicBezTo>
                    <a:pt x="25241" y="95917"/>
                    <a:pt x="39148" y="75248"/>
                    <a:pt x="56864" y="57626"/>
                  </a:cubicBezTo>
                  <a:cubicBezTo>
                    <a:pt x="74581" y="39910"/>
                    <a:pt x="95536" y="25908"/>
                    <a:pt x="119729" y="15526"/>
                  </a:cubicBezTo>
                  <a:cubicBezTo>
                    <a:pt x="144018" y="5144"/>
                    <a:pt x="170497" y="0"/>
                    <a:pt x="199263" y="0"/>
                  </a:cubicBezTo>
                  <a:cubicBezTo>
                    <a:pt x="228029" y="0"/>
                    <a:pt x="254508" y="5048"/>
                    <a:pt x="278797" y="15240"/>
                  </a:cubicBezTo>
                  <a:cubicBezTo>
                    <a:pt x="303085" y="25337"/>
                    <a:pt x="324041" y="39243"/>
                    <a:pt x="341662" y="56959"/>
                  </a:cubicBezTo>
                  <a:cubicBezTo>
                    <a:pt x="359378" y="74676"/>
                    <a:pt x="373094" y="95155"/>
                    <a:pt x="383000" y="118396"/>
                  </a:cubicBezTo>
                  <a:cubicBezTo>
                    <a:pt x="392906" y="141732"/>
                    <a:pt x="397859" y="166783"/>
                    <a:pt x="397859" y="193643"/>
                  </a:cubicBezTo>
                  <a:lnTo>
                    <a:pt x="397859" y="195072"/>
                  </a:lnTo>
                  <a:cubicBezTo>
                    <a:pt x="397859" y="221456"/>
                    <a:pt x="392811" y="246412"/>
                    <a:pt x="382619" y="270034"/>
                  </a:cubicBezTo>
                  <a:cubicBezTo>
                    <a:pt x="372523" y="293561"/>
                    <a:pt x="358616" y="314230"/>
                    <a:pt x="340900" y="331851"/>
                  </a:cubicBezTo>
                  <a:cubicBezTo>
                    <a:pt x="323183" y="349472"/>
                    <a:pt x="302133" y="363569"/>
                    <a:pt x="277654" y="373856"/>
                  </a:cubicBezTo>
                  <a:cubicBezTo>
                    <a:pt x="253175" y="384238"/>
                    <a:pt x="226504" y="389382"/>
                    <a:pt x="197834" y="389382"/>
                  </a:cubicBezTo>
                  <a:close/>
                  <a:moveTo>
                    <a:pt x="199263" y="315278"/>
                  </a:moveTo>
                  <a:cubicBezTo>
                    <a:pt x="216598" y="315278"/>
                    <a:pt x="232124" y="312039"/>
                    <a:pt x="245935" y="305753"/>
                  </a:cubicBezTo>
                  <a:cubicBezTo>
                    <a:pt x="259747" y="299371"/>
                    <a:pt x="271558" y="290798"/>
                    <a:pt x="281368" y="279940"/>
                  </a:cubicBezTo>
                  <a:cubicBezTo>
                    <a:pt x="291179" y="269081"/>
                    <a:pt x="298704" y="256508"/>
                    <a:pt x="303847" y="242125"/>
                  </a:cubicBezTo>
                  <a:cubicBezTo>
                    <a:pt x="308991" y="227743"/>
                    <a:pt x="311563" y="212598"/>
                    <a:pt x="311563" y="196501"/>
                  </a:cubicBezTo>
                  <a:lnTo>
                    <a:pt x="311563" y="195072"/>
                  </a:lnTo>
                  <a:cubicBezTo>
                    <a:pt x="311563" y="178594"/>
                    <a:pt x="308800" y="163068"/>
                    <a:pt x="303181" y="148400"/>
                  </a:cubicBezTo>
                  <a:cubicBezTo>
                    <a:pt x="297561" y="133826"/>
                    <a:pt x="289750" y="121063"/>
                    <a:pt x="279654" y="110204"/>
                  </a:cubicBezTo>
                  <a:cubicBezTo>
                    <a:pt x="269558" y="99346"/>
                    <a:pt x="257651" y="90773"/>
                    <a:pt x="243840" y="84392"/>
                  </a:cubicBezTo>
                  <a:cubicBezTo>
                    <a:pt x="230029" y="78010"/>
                    <a:pt x="214693" y="74867"/>
                    <a:pt x="197834" y="74867"/>
                  </a:cubicBezTo>
                  <a:cubicBezTo>
                    <a:pt x="180975" y="74867"/>
                    <a:pt x="165640" y="78010"/>
                    <a:pt x="151829" y="84392"/>
                  </a:cubicBezTo>
                  <a:cubicBezTo>
                    <a:pt x="138017" y="90773"/>
                    <a:pt x="126206" y="99250"/>
                    <a:pt x="116396" y="109823"/>
                  </a:cubicBezTo>
                  <a:cubicBezTo>
                    <a:pt x="106585" y="120396"/>
                    <a:pt x="99060" y="133064"/>
                    <a:pt x="93917" y="147638"/>
                  </a:cubicBezTo>
                  <a:cubicBezTo>
                    <a:pt x="88773" y="162211"/>
                    <a:pt x="86201" y="177546"/>
                    <a:pt x="86201" y="193548"/>
                  </a:cubicBezTo>
                  <a:lnTo>
                    <a:pt x="86201" y="194977"/>
                  </a:lnTo>
                  <a:cubicBezTo>
                    <a:pt x="86201" y="211455"/>
                    <a:pt x="88963" y="226886"/>
                    <a:pt x="94583" y="241268"/>
                  </a:cubicBezTo>
                  <a:cubicBezTo>
                    <a:pt x="100203" y="255651"/>
                    <a:pt x="108013" y="268319"/>
                    <a:pt x="118110" y="279463"/>
                  </a:cubicBezTo>
                  <a:cubicBezTo>
                    <a:pt x="128206" y="290513"/>
                    <a:pt x="140113" y="299275"/>
                    <a:pt x="153924" y="305562"/>
                  </a:cubicBezTo>
                  <a:cubicBezTo>
                    <a:pt x="167735" y="311944"/>
                    <a:pt x="182880"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25" name="Freeform: Shape 24">
              <a:extLst>
                <a:ext uri="{FF2B5EF4-FFF2-40B4-BE49-F238E27FC236}">
                  <a16:creationId xmlns:a16="http://schemas.microsoft.com/office/drawing/2014/main" id="{01C3A6EE-7A5E-47B0-FA6B-C88D28486A03}"/>
                </a:ext>
              </a:extLst>
            </p:cNvPr>
            <p:cNvSpPr/>
            <p:nvPr/>
          </p:nvSpPr>
          <p:spPr>
            <a:xfrm>
              <a:off x="5806925"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2 w 296894"/>
                <a:gd name="connsiteY36" fmla="*/ 224980 h 386714"/>
                <a:gd name="connsiteX37" fmla="*/ 296894 w 296894"/>
                <a:gd name="connsiteY37" fmla="*/ 267938 h 386714"/>
                <a:gd name="connsiteX38" fmla="*/ 296894 w 296894"/>
                <a:gd name="connsiteY38" fmla="*/ 269367 h 386714"/>
                <a:gd name="connsiteX39" fmla="*/ 286322 w 296894"/>
                <a:gd name="connsiteY39" fmla="*/ 320897 h 386714"/>
                <a:gd name="connsiteX40" fmla="*/ 256984 w 296894"/>
                <a:gd name="connsiteY40" fmla="*/ 357188 h 386714"/>
                <a:gd name="connsiteX41" fmla="*/ 212789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8" y="298704"/>
                    <a:pt x="100013" y="306514"/>
                  </a:cubicBezTo>
                  <a:cubicBezTo>
                    <a:pt x="120967" y="314325"/>
                    <a:pt x="141161" y="318135"/>
                    <a:pt x="160401" y="318135"/>
                  </a:cubicBezTo>
                  <a:cubicBezTo>
                    <a:pt x="179642" y="318135"/>
                    <a:pt x="192976"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2" y="241078"/>
                    <a:pt x="176498" y="237553"/>
                    <a:pt x="166402" y="234220"/>
                  </a:cubicBezTo>
                  <a:cubicBezTo>
                    <a:pt x="156305" y="230886"/>
                    <a:pt x="145733" y="227647"/>
                    <a:pt x="134969" y="224314"/>
                  </a:cubicBezTo>
                  <a:cubicBezTo>
                    <a:pt x="121253" y="220599"/>
                    <a:pt x="107537" y="216122"/>
                    <a:pt x="93631" y="210884"/>
                  </a:cubicBezTo>
                  <a:cubicBezTo>
                    <a:pt x="79724" y="205740"/>
                    <a:pt x="67246" y="198977"/>
                    <a:pt x="56197" y="190786"/>
                  </a:cubicBezTo>
                  <a:cubicBezTo>
                    <a:pt x="45149" y="182594"/>
                    <a:pt x="36100" y="172307"/>
                    <a:pt x="28956" y="160115"/>
                  </a:cubicBezTo>
                  <a:cubicBezTo>
                    <a:pt x="21908"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5"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7" y="156210"/>
                    <a:pt x="180975" y="159448"/>
                  </a:cubicBezTo>
                  <a:cubicBezTo>
                    <a:pt x="194596" y="163639"/>
                    <a:pt x="208312" y="168592"/>
                    <a:pt x="222028" y="174212"/>
                  </a:cubicBezTo>
                  <a:cubicBezTo>
                    <a:pt x="235649" y="179832"/>
                    <a:pt x="248031" y="186785"/>
                    <a:pt x="259080" y="194977"/>
                  </a:cubicBezTo>
                  <a:cubicBezTo>
                    <a:pt x="270129" y="203168"/>
                    <a:pt x="279273" y="213169"/>
                    <a:pt x="286322" y="224980"/>
                  </a:cubicBezTo>
                  <a:cubicBezTo>
                    <a:pt x="293370" y="236696"/>
                    <a:pt x="296894" y="251079"/>
                    <a:pt x="296894" y="267938"/>
                  </a:cubicBezTo>
                  <a:lnTo>
                    <a:pt x="296894" y="269367"/>
                  </a:lnTo>
                  <a:cubicBezTo>
                    <a:pt x="296894" y="289084"/>
                    <a:pt x="293370" y="306229"/>
                    <a:pt x="286322" y="320897"/>
                  </a:cubicBezTo>
                  <a:cubicBezTo>
                    <a:pt x="279273" y="335470"/>
                    <a:pt x="269462" y="347567"/>
                    <a:pt x="256984" y="357188"/>
                  </a:cubicBezTo>
                  <a:cubicBezTo>
                    <a:pt x="244507" y="366808"/>
                    <a:pt x="229743" y="374142"/>
                    <a:pt x="212789"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6" name="Freeform: Shape 25">
              <a:extLst>
                <a:ext uri="{FF2B5EF4-FFF2-40B4-BE49-F238E27FC236}">
                  <a16:creationId xmlns:a16="http://schemas.microsoft.com/office/drawing/2014/main" id="{C4092D96-0500-8E05-9C3B-C10DD6540957}"/>
                </a:ext>
              </a:extLst>
            </p:cNvPr>
            <p:cNvSpPr/>
            <p:nvPr/>
          </p:nvSpPr>
          <p:spPr>
            <a:xfrm>
              <a:off x="589573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6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160" y="318135"/>
                    <a:pt x="160401" y="318135"/>
                  </a:cubicBezTo>
                  <a:cubicBezTo>
                    <a:pt x="179641" y="318135"/>
                    <a:pt x="192976"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4"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792"/>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7" name="Freeform: Shape 26">
              <a:extLst>
                <a:ext uri="{FF2B5EF4-FFF2-40B4-BE49-F238E27FC236}">
                  <a16:creationId xmlns:a16="http://schemas.microsoft.com/office/drawing/2014/main" id="{D65B3C68-00F2-873C-4D7A-9A1D4DF73962}"/>
                </a:ext>
              </a:extLst>
            </p:cNvPr>
            <p:cNvSpPr/>
            <p:nvPr/>
          </p:nvSpPr>
          <p:spPr>
            <a:xfrm>
              <a:off x="5985812" y="700558"/>
              <a:ext cx="85097" cy="97141"/>
            </a:xfrm>
            <a:custGeom>
              <a:avLst/>
              <a:gdLst>
                <a:gd name="connsiteX0" fmla="*/ 253651 w 338518"/>
                <a:gd name="connsiteY0" fmla="*/ 378619 h 386429"/>
                <a:gd name="connsiteX1" fmla="*/ 253651 w 338518"/>
                <a:gd name="connsiteY1" fmla="*/ 332708 h 386429"/>
                <a:gd name="connsiteX2" fmla="*/ 204883 w 338518"/>
                <a:gd name="connsiteY2" fmla="*/ 370904 h 386429"/>
                <a:gd name="connsiteX3" fmla="*/ 132779 w 338518"/>
                <a:gd name="connsiteY3" fmla="*/ 386429 h 386429"/>
                <a:gd name="connsiteX4" fmla="*/ 81915 w 338518"/>
                <a:gd name="connsiteY4" fmla="*/ 379000 h 386429"/>
                <a:gd name="connsiteX5" fmla="*/ 39910 w 338518"/>
                <a:gd name="connsiteY5" fmla="*/ 357092 h 386429"/>
                <a:gd name="connsiteX6" fmla="*/ 10954 w 338518"/>
                <a:gd name="connsiteY6" fmla="*/ 321088 h 386429"/>
                <a:gd name="connsiteX7" fmla="*/ 0 w 338518"/>
                <a:gd name="connsiteY7" fmla="*/ 271272 h 386429"/>
                <a:gd name="connsiteX8" fmla="*/ 0 w 338518"/>
                <a:gd name="connsiteY8" fmla="*/ 269843 h 386429"/>
                <a:gd name="connsiteX9" fmla="*/ 11335 w 338518"/>
                <a:gd name="connsiteY9" fmla="*/ 215741 h 386429"/>
                <a:gd name="connsiteX10" fmla="*/ 42767 w 338518"/>
                <a:gd name="connsiteY10" fmla="*/ 177546 h 386429"/>
                <a:gd name="connsiteX11" fmla="*/ 90773 w 338518"/>
                <a:gd name="connsiteY11" fmla="*/ 154972 h 386429"/>
                <a:gd name="connsiteX12" fmla="*/ 151162 w 338518"/>
                <a:gd name="connsiteY12" fmla="*/ 147542 h 386429"/>
                <a:gd name="connsiteX13" fmla="*/ 208788 w 338518"/>
                <a:gd name="connsiteY13" fmla="*/ 151829 h 386429"/>
                <a:gd name="connsiteX14" fmla="*/ 254413 w 338518"/>
                <a:gd name="connsiteY14" fmla="*/ 163163 h 386429"/>
                <a:gd name="connsiteX15" fmla="*/ 254413 w 338518"/>
                <a:gd name="connsiteY15" fmla="*/ 156115 h 386429"/>
                <a:gd name="connsiteX16" fmla="*/ 230696 w 338518"/>
                <a:gd name="connsiteY16" fmla="*/ 96774 h 386429"/>
                <a:gd name="connsiteX17" fmla="*/ 162496 w 338518"/>
                <a:gd name="connsiteY17" fmla="*/ 76295 h 386429"/>
                <a:gd name="connsiteX18" fmla="*/ 106013 w 338518"/>
                <a:gd name="connsiteY18" fmla="*/ 82677 h 386429"/>
                <a:gd name="connsiteX19" fmla="*/ 55816 w 338518"/>
                <a:gd name="connsiteY19" fmla="*/ 99632 h 386429"/>
                <a:gd name="connsiteX20" fmla="*/ 32480 w 338518"/>
                <a:gd name="connsiteY20" fmla="*/ 31052 h 386429"/>
                <a:gd name="connsiteX21" fmla="*/ 96107 w 338518"/>
                <a:gd name="connsiteY21" fmla="*/ 8477 h 386429"/>
                <a:gd name="connsiteX22" fmla="*/ 174593 w 338518"/>
                <a:gd name="connsiteY22" fmla="*/ 0 h 386429"/>
                <a:gd name="connsiteX23" fmla="*/ 298228 w 338518"/>
                <a:gd name="connsiteY23" fmla="*/ 41338 h 386429"/>
                <a:gd name="connsiteX24" fmla="*/ 338519 w 338518"/>
                <a:gd name="connsiteY24" fmla="*/ 157544 h 386429"/>
                <a:gd name="connsiteX25" fmla="*/ 338519 w 338518"/>
                <a:gd name="connsiteY25" fmla="*/ 378714 h 386429"/>
                <a:gd name="connsiteX26" fmla="*/ 253746 w 338518"/>
                <a:gd name="connsiteY26" fmla="*/ 378714 h 386429"/>
                <a:gd name="connsiteX27" fmla="*/ 255746 w 338518"/>
                <a:gd name="connsiteY27" fmla="*/ 222409 h 386429"/>
                <a:gd name="connsiteX28" fmla="*/ 217265 w 338518"/>
                <a:gd name="connsiteY28" fmla="*/ 211836 h 386429"/>
                <a:gd name="connsiteX29" fmla="*/ 170307 w 338518"/>
                <a:gd name="connsiteY29" fmla="*/ 207550 h 386429"/>
                <a:gd name="connsiteX30" fmla="*/ 107442 w 338518"/>
                <a:gd name="connsiteY30" fmla="*/ 223075 h 386429"/>
                <a:gd name="connsiteX31" fmla="*/ 84868 w 338518"/>
                <a:gd name="connsiteY31" fmla="*/ 265462 h 386429"/>
                <a:gd name="connsiteX32" fmla="*/ 84868 w 338518"/>
                <a:gd name="connsiteY32" fmla="*/ 266891 h 386429"/>
                <a:gd name="connsiteX33" fmla="*/ 105728 w 338518"/>
                <a:gd name="connsiteY33" fmla="*/ 307848 h 386429"/>
                <a:gd name="connsiteX34" fmla="*/ 156972 w 338518"/>
                <a:gd name="connsiteY34" fmla="*/ 321945 h 386429"/>
                <a:gd name="connsiteX35" fmla="*/ 196215 w 338518"/>
                <a:gd name="connsiteY35" fmla="*/ 316325 h 386429"/>
                <a:gd name="connsiteX36" fmla="*/ 227647 w 338518"/>
                <a:gd name="connsiteY36" fmla="*/ 300419 h 386429"/>
                <a:gd name="connsiteX37" fmla="*/ 248507 w 338518"/>
                <a:gd name="connsiteY37" fmla="*/ 275654 h 386429"/>
                <a:gd name="connsiteX38" fmla="*/ 255937 w 338518"/>
                <a:gd name="connsiteY38" fmla="*/ 243459 h 386429"/>
                <a:gd name="connsiteX39" fmla="*/ 255937 w 338518"/>
                <a:gd name="connsiteY39" fmla="*/ 222218 h 3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8518" h="386429">
                  <a:moveTo>
                    <a:pt x="253651" y="378619"/>
                  </a:moveTo>
                  <a:lnTo>
                    <a:pt x="253651" y="332708"/>
                  </a:lnTo>
                  <a:cubicBezTo>
                    <a:pt x="240887" y="347758"/>
                    <a:pt x="224695" y="360521"/>
                    <a:pt x="204883" y="370904"/>
                  </a:cubicBezTo>
                  <a:cubicBezTo>
                    <a:pt x="185071" y="381286"/>
                    <a:pt x="161068" y="386429"/>
                    <a:pt x="132779" y="386429"/>
                  </a:cubicBezTo>
                  <a:cubicBezTo>
                    <a:pt x="114871" y="386429"/>
                    <a:pt x="97917" y="383953"/>
                    <a:pt x="81915" y="379000"/>
                  </a:cubicBezTo>
                  <a:cubicBezTo>
                    <a:pt x="65913" y="374047"/>
                    <a:pt x="51911" y="366713"/>
                    <a:pt x="39910" y="357092"/>
                  </a:cubicBezTo>
                  <a:cubicBezTo>
                    <a:pt x="27908" y="347472"/>
                    <a:pt x="18193" y="335471"/>
                    <a:pt x="10954" y="321088"/>
                  </a:cubicBezTo>
                  <a:cubicBezTo>
                    <a:pt x="3620" y="306705"/>
                    <a:pt x="0" y="290132"/>
                    <a:pt x="0" y="271272"/>
                  </a:cubicBezTo>
                  <a:lnTo>
                    <a:pt x="0" y="269843"/>
                  </a:lnTo>
                  <a:cubicBezTo>
                    <a:pt x="0" y="249079"/>
                    <a:pt x="3810" y="231077"/>
                    <a:pt x="11335" y="215741"/>
                  </a:cubicBezTo>
                  <a:cubicBezTo>
                    <a:pt x="18859" y="200406"/>
                    <a:pt x="29337" y="187738"/>
                    <a:pt x="42767" y="177546"/>
                  </a:cubicBezTo>
                  <a:cubicBezTo>
                    <a:pt x="56197" y="167450"/>
                    <a:pt x="72199" y="159925"/>
                    <a:pt x="90773" y="154972"/>
                  </a:cubicBezTo>
                  <a:cubicBezTo>
                    <a:pt x="109347" y="150019"/>
                    <a:pt x="129540" y="147542"/>
                    <a:pt x="151162" y="147542"/>
                  </a:cubicBezTo>
                  <a:cubicBezTo>
                    <a:pt x="172783" y="147542"/>
                    <a:pt x="192976" y="148971"/>
                    <a:pt x="208788" y="151829"/>
                  </a:cubicBezTo>
                  <a:cubicBezTo>
                    <a:pt x="224599" y="154686"/>
                    <a:pt x="239744" y="158401"/>
                    <a:pt x="254413" y="163163"/>
                  </a:cubicBezTo>
                  <a:lnTo>
                    <a:pt x="254413" y="156115"/>
                  </a:lnTo>
                  <a:cubicBezTo>
                    <a:pt x="254413" y="130207"/>
                    <a:pt x="246507" y="110395"/>
                    <a:pt x="230696" y="96774"/>
                  </a:cubicBezTo>
                  <a:cubicBezTo>
                    <a:pt x="214884" y="83153"/>
                    <a:pt x="192214" y="76295"/>
                    <a:pt x="162496" y="76295"/>
                  </a:cubicBezTo>
                  <a:cubicBezTo>
                    <a:pt x="141351" y="76295"/>
                    <a:pt x="122491" y="78391"/>
                    <a:pt x="106013" y="82677"/>
                  </a:cubicBezTo>
                  <a:cubicBezTo>
                    <a:pt x="89535" y="86963"/>
                    <a:pt x="72771" y="92583"/>
                    <a:pt x="55816" y="99632"/>
                  </a:cubicBezTo>
                  <a:lnTo>
                    <a:pt x="32480" y="31052"/>
                  </a:lnTo>
                  <a:cubicBezTo>
                    <a:pt x="53149" y="21622"/>
                    <a:pt x="74390" y="14097"/>
                    <a:pt x="96107" y="8477"/>
                  </a:cubicBezTo>
                  <a:cubicBezTo>
                    <a:pt x="117729" y="2858"/>
                    <a:pt x="143923" y="0"/>
                    <a:pt x="174593" y="0"/>
                  </a:cubicBezTo>
                  <a:cubicBezTo>
                    <a:pt x="230124" y="0"/>
                    <a:pt x="271367" y="13811"/>
                    <a:pt x="298228" y="41338"/>
                  </a:cubicBezTo>
                  <a:cubicBezTo>
                    <a:pt x="325088" y="68866"/>
                    <a:pt x="338519" y="107633"/>
                    <a:pt x="338519" y="157544"/>
                  </a:cubicBezTo>
                  <a:lnTo>
                    <a:pt x="338519" y="378714"/>
                  </a:lnTo>
                  <a:lnTo>
                    <a:pt x="253746" y="378714"/>
                  </a:lnTo>
                  <a:close/>
                  <a:moveTo>
                    <a:pt x="255746" y="222409"/>
                  </a:moveTo>
                  <a:cubicBezTo>
                    <a:pt x="244888" y="218123"/>
                    <a:pt x="232029" y="214598"/>
                    <a:pt x="217265" y="211836"/>
                  </a:cubicBezTo>
                  <a:cubicBezTo>
                    <a:pt x="202406" y="208979"/>
                    <a:pt x="186785" y="207550"/>
                    <a:pt x="170307" y="207550"/>
                  </a:cubicBezTo>
                  <a:cubicBezTo>
                    <a:pt x="143446" y="207550"/>
                    <a:pt x="122491" y="212693"/>
                    <a:pt x="107442" y="223075"/>
                  </a:cubicBezTo>
                  <a:cubicBezTo>
                    <a:pt x="92392" y="233458"/>
                    <a:pt x="84868" y="247555"/>
                    <a:pt x="84868" y="265462"/>
                  </a:cubicBezTo>
                  <a:lnTo>
                    <a:pt x="84868" y="266891"/>
                  </a:lnTo>
                  <a:cubicBezTo>
                    <a:pt x="84868" y="284798"/>
                    <a:pt x="91821" y="298418"/>
                    <a:pt x="105728" y="307848"/>
                  </a:cubicBezTo>
                  <a:cubicBezTo>
                    <a:pt x="119634" y="317278"/>
                    <a:pt x="136684" y="321945"/>
                    <a:pt x="156972" y="321945"/>
                  </a:cubicBezTo>
                  <a:cubicBezTo>
                    <a:pt x="171069" y="321945"/>
                    <a:pt x="184213" y="320040"/>
                    <a:pt x="196215" y="316325"/>
                  </a:cubicBezTo>
                  <a:cubicBezTo>
                    <a:pt x="208216" y="312515"/>
                    <a:pt x="218694" y="307277"/>
                    <a:pt x="227647" y="300419"/>
                  </a:cubicBezTo>
                  <a:cubicBezTo>
                    <a:pt x="236601" y="293561"/>
                    <a:pt x="243554" y="285369"/>
                    <a:pt x="248507" y="275654"/>
                  </a:cubicBezTo>
                  <a:cubicBezTo>
                    <a:pt x="253460" y="266033"/>
                    <a:pt x="255937" y="255270"/>
                    <a:pt x="255937" y="243459"/>
                  </a:cubicBezTo>
                  <a:lnTo>
                    <a:pt x="255937" y="222218"/>
                  </a:lnTo>
                  <a:close/>
                </a:path>
              </a:pathLst>
            </a:custGeom>
            <a:solidFill>
              <a:srgbClr val="44505E"/>
            </a:solidFill>
            <a:ln w="9525" cap="flat">
              <a:noFill/>
              <a:prstDash val="solid"/>
              <a:miter/>
            </a:ln>
          </p:spPr>
          <p:txBody>
            <a:bodyPr rtlCol="0" anchor="ctr"/>
            <a:lstStyle/>
            <a:p>
              <a:endParaRPr lang="pt-BR" noProof="0"/>
            </a:p>
          </p:txBody>
        </p:sp>
        <p:sp>
          <p:nvSpPr>
            <p:cNvPr id="28" name="Freeform: Shape 27">
              <a:extLst>
                <a:ext uri="{FF2B5EF4-FFF2-40B4-BE49-F238E27FC236}">
                  <a16:creationId xmlns:a16="http://schemas.microsoft.com/office/drawing/2014/main" id="{0963F9B5-A86B-F030-C604-7C2E535776D4}"/>
                </a:ext>
              </a:extLst>
            </p:cNvPr>
            <p:cNvSpPr/>
            <p:nvPr/>
          </p:nvSpPr>
          <p:spPr>
            <a:xfrm>
              <a:off x="6088843" y="700318"/>
              <a:ext cx="74610" cy="97213"/>
            </a:xfrm>
            <a:custGeom>
              <a:avLst/>
              <a:gdLst>
                <a:gd name="connsiteX0" fmla="*/ 158305 w 296799"/>
                <a:gd name="connsiteY0" fmla="*/ 386715 h 386714"/>
                <a:gd name="connsiteX1" fmla="*/ 76676 w 296799"/>
                <a:gd name="connsiteY1" fmla="*/ 372427 h 386714"/>
                <a:gd name="connsiteX2" fmla="*/ 0 w 296799"/>
                <a:gd name="connsiteY2" fmla="*/ 330327 h 386714"/>
                <a:gd name="connsiteX3" fmla="*/ 38195 w 296799"/>
                <a:gd name="connsiteY3" fmla="*/ 272224 h 386714"/>
                <a:gd name="connsiteX4" fmla="*/ 100013 w 296799"/>
                <a:gd name="connsiteY4" fmla="*/ 306514 h 386714"/>
                <a:gd name="connsiteX5" fmla="*/ 160401 w 296799"/>
                <a:gd name="connsiteY5" fmla="*/ 318135 h 386714"/>
                <a:gd name="connsiteX6" fmla="*/ 203168 w 296799"/>
                <a:gd name="connsiteY6" fmla="*/ 307181 h 386714"/>
                <a:gd name="connsiteX7" fmla="*/ 218408 w 296799"/>
                <a:gd name="connsiteY7" fmla="*/ 277939 h 386714"/>
                <a:gd name="connsiteX8" fmla="*/ 218408 w 296799"/>
                <a:gd name="connsiteY8" fmla="*/ 276511 h 386714"/>
                <a:gd name="connsiteX9" fmla="*/ 211646 w 296799"/>
                <a:gd name="connsiteY9" fmla="*/ 258223 h 386714"/>
                <a:gd name="connsiteX10" fmla="*/ 193262 w 296799"/>
                <a:gd name="connsiteY10" fmla="*/ 244792 h 386714"/>
                <a:gd name="connsiteX11" fmla="*/ 166402 w 296799"/>
                <a:gd name="connsiteY11" fmla="*/ 234220 h 386714"/>
                <a:gd name="connsiteX12" fmla="*/ 134969 w 296799"/>
                <a:gd name="connsiteY12" fmla="*/ 224314 h 386714"/>
                <a:gd name="connsiteX13" fmla="*/ 93631 w 296799"/>
                <a:gd name="connsiteY13" fmla="*/ 210884 h 386714"/>
                <a:gd name="connsiteX14" fmla="*/ 56197 w 296799"/>
                <a:gd name="connsiteY14" fmla="*/ 190786 h 386714"/>
                <a:gd name="connsiteX15" fmla="*/ 28956 w 296799"/>
                <a:gd name="connsiteY15" fmla="*/ 160115 h 386714"/>
                <a:gd name="connsiteX16" fmla="*/ 18383 w 296799"/>
                <a:gd name="connsiteY16" fmla="*/ 114967 h 386714"/>
                <a:gd name="connsiteX17" fmla="*/ 18383 w 296799"/>
                <a:gd name="connsiteY17" fmla="*/ 113538 h 386714"/>
                <a:gd name="connsiteX18" fmla="*/ 28575 w 296799"/>
                <a:gd name="connsiteY18" fmla="*/ 66294 h 386714"/>
                <a:gd name="connsiteX19" fmla="*/ 56864 w 296799"/>
                <a:gd name="connsiteY19" fmla="*/ 30385 h 386714"/>
                <a:gd name="connsiteX20" fmla="*/ 99250 w 296799"/>
                <a:gd name="connsiteY20" fmla="*/ 7810 h 386714"/>
                <a:gd name="connsiteX21" fmla="*/ 151162 w 296799"/>
                <a:gd name="connsiteY21" fmla="*/ 0 h 386714"/>
                <a:gd name="connsiteX22" fmla="*/ 222504 w 296799"/>
                <a:gd name="connsiteY22" fmla="*/ 11430 h 386714"/>
                <a:gd name="connsiteX23" fmla="*/ 288227 w 296799"/>
                <a:gd name="connsiteY23" fmla="*/ 42863 h 386714"/>
                <a:gd name="connsiteX24" fmla="*/ 254317 w 296799"/>
                <a:gd name="connsiteY24" fmla="*/ 103918 h 386714"/>
                <a:gd name="connsiteX25" fmla="*/ 199930 w 296799"/>
                <a:gd name="connsiteY25" fmla="*/ 78105 h 386714"/>
                <a:gd name="connsiteX26" fmla="*/ 149066 w 296799"/>
                <a:gd name="connsiteY26" fmla="*/ 68580 h 386714"/>
                <a:gd name="connsiteX27" fmla="*/ 110585 w 296799"/>
                <a:gd name="connsiteY27" fmla="*/ 79153 h 386714"/>
                <a:gd name="connsiteX28" fmla="*/ 96774 w 296799"/>
                <a:gd name="connsiteY28" fmla="*/ 105918 h 386714"/>
                <a:gd name="connsiteX29" fmla="*/ 96774 w 296799"/>
                <a:gd name="connsiteY29" fmla="*/ 107347 h 386714"/>
                <a:gd name="connsiteX30" fmla="*/ 103822 w 296799"/>
                <a:gd name="connsiteY30" fmla="*/ 124587 h 386714"/>
                <a:gd name="connsiteX31" fmla="*/ 122587 w 296799"/>
                <a:gd name="connsiteY31" fmla="*/ 138017 h 386714"/>
                <a:gd name="connsiteX32" fmla="*/ 149447 w 296799"/>
                <a:gd name="connsiteY32" fmla="*/ 149257 h 386714"/>
                <a:gd name="connsiteX33" fmla="*/ 180880 w 296799"/>
                <a:gd name="connsiteY33" fmla="*/ 159448 h 386714"/>
                <a:gd name="connsiteX34" fmla="*/ 221837 w 296799"/>
                <a:gd name="connsiteY34" fmla="*/ 174212 h 386714"/>
                <a:gd name="connsiteX35" fmla="*/ 258985 w 296799"/>
                <a:gd name="connsiteY35" fmla="*/ 194977 h 386714"/>
                <a:gd name="connsiteX36" fmla="*/ 286226 w 296799"/>
                <a:gd name="connsiteY36" fmla="*/ 224980 h 386714"/>
                <a:gd name="connsiteX37" fmla="*/ 296799 w 296799"/>
                <a:gd name="connsiteY37" fmla="*/ 267938 h 386714"/>
                <a:gd name="connsiteX38" fmla="*/ 296799 w 296799"/>
                <a:gd name="connsiteY38" fmla="*/ 269367 h 386714"/>
                <a:gd name="connsiteX39" fmla="*/ 286226 w 296799"/>
                <a:gd name="connsiteY39" fmla="*/ 320897 h 386714"/>
                <a:gd name="connsiteX40" fmla="*/ 256889 w 296799"/>
                <a:gd name="connsiteY40" fmla="*/ 357188 h 386714"/>
                <a:gd name="connsiteX41" fmla="*/ 212693 w 296799"/>
                <a:gd name="connsiteY41" fmla="*/ 379095 h 386714"/>
                <a:gd name="connsiteX42" fmla="*/ 158305 w 296799"/>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799"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065" y="318135"/>
                    <a:pt x="160401" y="318135"/>
                  </a:cubicBezTo>
                  <a:cubicBezTo>
                    <a:pt x="179737" y="318135"/>
                    <a:pt x="193072"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828" y="227647"/>
                    <a:pt x="134969" y="224314"/>
                  </a:cubicBezTo>
                  <a:cubicBezTo>
                    <a:pt x="121348" y="220599"/>
                    <a:pt x="107537" y="216122"/>
                    <a:pt x="93631" y="210884"/>
                  </a:cubicBezTo>
                  <a:cubicBezTo>
                    <a:pt x="79724" y="205740"/>
                    <a:pt x="67246" y="198977"/>
                    <a:pt x="56197" y="190786"/>
                  </a:cubicBezTo>
                  <a:cubicBezTo>
                    <a:pt x="45148" y="182594"/>
                    <a:pt x="36004"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874" y="0"/>
                    <a:pt x="151162" y="0"/>
                  </a:cubicBezTo>
                  <a:cubicBezTo>
                    <a:pt x="174688" y="0"/>
                    <a:pt x="198501" y="3810"/>
                    <a:pt x="222504" y="11430"/>
                  </a:cubicBezTo>
                  <a:cubicBezTo>
                    <a:pt x="246507" y="19050"/>
                    <a:pt x="268414" y="29527"/>
                    <a:pt x="288227" y="42863"/>
                  </a:cubicBezTo>
                  <a:lnTo>
                    <a:pt x="254317"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774" y="95155"/>
                    <a:pt x="96774" y="105918"/>
                  </a:cubicBezTo>
                  <a:lnTo>
                    <a:pt x="96774" y="107347"/>
                  </a:lnTo>
                  <a:cubicBezTo>
                    <a:pt x="96774" y="113919"/>
                    <a:pt x="99155" y="119634"/>
                    <a:pt x="103822" y="124587"/>
                  </a:cubicBezTo>
                  <a:cubicBezTo>
                    <a:pt x="108490" y="129540"/>
                    <a:pt x="114776" y="134017"/>
                    <a:pt x="122587" y="138017"/>
                  </a:cubicBezTo>
                  <a:cubicBezTo>
                    <a:pt x="130397" y="142018"/>
                    <a:pt x="139351" y="145732"/>
                    <a:pt x="149447" y="149257"/>
                  </a:cubicBezTo>
                  <a:cubicBezTo>
                    <a:pt x="159544" y="152781"/>
                    <a:pt x="170021" y="156210"/>
                    <a:pt x="180880" y="159448"/>
                  </a:cubicBezTo>
                  <a:cubicBezTo>
                    <a:pt x="194500" y="163639"/>
                    <a:pt x="208216" y="168592"/>
                    <a:pt x="221837" y="174212"/>
                  </a:cubicBezTo>
                  <a:cubicBezTo>
                    <a:pt x="235458" y="179832"/>
                    <a:pt x="247840" y="186785"/>
                    <a:pt x="258985" y="194977"/>
                  </a:cubicBezTo>
                  <a:cubicBezTo>
                    <a:pt x="270034" y="203168"/>
                    <a:pt x="279178" y="213169"/>
                    <a:pt x="286226" y="224980"/>
                  </a:cubicBezTo>
                  <a:cubicBezTo>
                    <a:pt x="293275" y="236696"/>
                    <a:pt x="296799" y="251079"/>
                    <a:pt x="296799" y="267938"/>
                  </a:cubicBezTo>
                  <a:lnTo>
                    <a:pt x="296799" y="269367"/>
                  </a:lnTo>
                  <a:cubicBezTo>
                    <a:pt x="296799" y="289084"/>
                    <a:pt x="293275" y="306229"/>
                    <a:pt x="286226" y="320897"/>
                  </a:cubicBezTo>
                  <a:cubicBezTo>
                    <a:pt x="279178" y="335470"/>
                    <a:pt x="269367" y="347567"/>
                    <a:pt x="256889" y="357188"/>
                  </a:cubicBezTo>
                  <a:cubicBezTo>
                    <a:pt x="244412" y="366808"/>
                    <a:pt x="229648" y="374142"/>
                    <a:pt x="212693" y="379095"/>
                  </a:cubicBezTo>
                  <a:cubicBezTo>
                    <a:pt x="195739" y="384048"/>
                    <a:pt x="177641" y="386524"/>
                    <a:pt x="158305" y="386524"/>
                  </a:cubicBezTo>
                  <a:close/>
                </a:path>
              </a:pathLst>
            </a:custGeom>
            <a:solidFill>
              <a:srgbClr val="44505E"/>
            </a:solidFill>
            <a:ln w="9525" cap="flat">
              <a:noFill/>
              <a:prstDash val="solid"/>
              <a:miter/>
            </a:ln>
          </p:spPr>
          <p:txBody>
            <a:bodyPr rtlCol="0" anchor="ctr"/>
            <a:lstStyle/>
            <a:p>
              <a:endParaRPr lang="pt-BR" noProof="0"/>
            </a:p>
          </p:txBody>
        </p:sp>
        <p:sp>
          <p:nvSpPr>
            <p:cNvPr id="29" name="Freeform: Shape 28">
              <a:extLst>
                <a:ext uri="{FF2B5EF4-FFF2-40B4-BE49-F238E27FC236}">
                  <a16:creationId xmlns:a16="http://schemas.microsoft.com/office/drawing/2014/main" id="{6290DADF-50E4-D925-720C-D442B552A4AC}"/>
                </a:ext>
              </a:extLst>
            </p:cNvPr>
            <p:cNvSpPr/>
            <p:nvPr/>
          </p:nvSpPr>
          <p:spPr>
            <a:xfrm>
              <a:off x="6238590"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4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7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2 w 568166"/>
                <a:gd name="connsiteY21" fmla="*/ 381000 h 381000"/>
                <a:gd name="connsiteX22" fmla="*/ 240982 w 568166"/>
                <a:gd name="connsiteY22" fmla="*/ 168783 h 381000"/>
                <a:gd name="connsiteX23" fmla="*/ 221266 w 568166"/>
                <a:gd name="connsiteY23" fmla="*/ 101822 h 381000"/>
                <a:gd name="connsiteX24" fmla="*/ 165640 w 568166"/>
                <a:gd name="connsiteY24" fmla="*/ 78581 h 381000"/>
                <a:gd name="connsiteX25" fmla="*/ 108013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69" y="48196"/>
                    <a:pt x="105918" y="40576"/>
                  </a:cubicBezTo>
                  <a:cubicBezTo>
                    <a:pt x="112966" y="32956"/>
                    <a:pt x="121063" y="26099"/>
                    <a:pt x="130207" y="19907"/>
                  </a:cubicBezTo>
                  <a:cubicBezTo>
                    <a:pt x="139351" y="13716"/>
                    <a:pt x="149638" y="8858"/>
                    <a:pt x="161163" y="5334"/>
                  </a:cubicBezTo>
                  <a:cubicBezTo>
                    <a:pt x="172688" y="1714"/>
                    <a:pt x="185452" y="0"/>
                    <a:pt x="199549" y="0"/>
                  </a:cubicBezTo>
                  <a:cubicBezTo>
                    <a:pt x="226314" y="0"/>
                    <a:pt x="248983" y="6096"/>
                    <a:pt x="267557" y="18193"/>
                  </a:cubicBezTo>
                  <a:cubicBezTo>
                    <a:pt x="286131" y="30289"/>
                    <a:pt x="300323" y="46387"/>
                    <a:pt x="310134" y="66294"/>
                  </a:cubicBezTo>
                  <a:cubicBezTo>
                    <a:pt x="325279" y="46387"/>
                    <a:pt x="343090" y="30289"/>
                    <a:pt x="363664" y="18193"/>
                  </a:cubicBezTo>
                  <a:cubicBezTo>
                    <a:pt x="384238" y="6096"/>
                    <a:pt x="408718" y="0"/>
                    <a:pt x="437007" y="0"/>
                  </a:cubicBezTo>
                  <a:cubicBezTo>
                    <a:pt x="478155"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7" y="78486"/>
                  </a:cubicBezTo>
                  <a:cubicBezTo>
                    <a:pt x="382809" y="78486"/>
                    <a:pt x="364141" y="86392"/>
                    <a:pt x="349377" y="102108"/>
                  </a:cubicBezTo>
                  <a:cubicBezTo>
                    <a:pt x="334613" y="117824"/>
                    <a:pt x="327184" y="140779"/>
                    <a:pt x="327184" y="170879"/>
                  </a:cubicBezTo>
                  <a:lnTo>
                    <a:pt x="327184" y="381000"/>
                  </a:lnTo>
                  <a:lnTo>
                    <a:pt x="240982" y="381000"/>
                  </a:lnTo>
                  <a:lnTo>
                    <a:pt x="240982" y="168783"/>
                  </a:lnTo>
                  <a:cubicBezTo>
                    <a:pt x="240982" y="139637"/>
                    <a:pt x="234410" y="117348"/>
                    <a:pt x="221266" y="101822"/>
                  </a:cubicBezTo>
                  <a:cubicBezTo>
                    <a:pt x="208121" y="86296"/>
                    <a:pt x="189547" y="78581"/>
                    <a:pt x="165640" y="78581"/>
                  </a:cubicBezTo>
                  <a:cubicBezTo>
                    <a:pt x="141732" y="78581"/>
                    <a:pt x="122491" y="86773"/>
                    <a:pt x="108013"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30" name="Freeform: Shape 29">
              <a:extLst>
                <a:ext uri="{FF2B5EF4-FFF2-40B4-BE49-F238E27FC236}">
                  <a16:creationId xmlns:a16="http://schemas.microsoft.com/office/drawing/2014/main" id="{0F827F4E-493F-9187-2543-70720A4E47DE}"/>
                </a:ext>
              </a:extLst>
            </p:cNvPr>
            <p:cNvSpPr/>
            <p:nvPr/>
          </p:nvSpPr>
          <p:spPr>
            <a:xfrm>
              <a:off x="6400979" y="664258"/>
              <a:ext cx="85097" cy="133441"/>
            </a:xfrm>
            <a:custGeom>
              <a:avLst/>
              <a:gdLst>
                <a:gd name="connsiteX0" fmla="*/ 253651 w 338518"/>
                <a:gd name="connsiteY0" fmla="*/ 523018 h 530828"/>
                <a:gd name="connsiteX1" fmla="*/ 253651 w 338518"/>
                <a:gd name="connsiteY1" fmla="*/ 477107 h 530828"/>
                <a:gd name="connsiteX2" fmla="*/ 204883 w 338518"/>
                <a:gd name="connsiteY2" fmla="*/ 515303 h 530828"/>
                <a:gd name="connsiteX3" fmla="*/ 132779 w 338518"/>
                <a:gd name="connsiteY3" fmla="*/ 530828 h 530828"/>
                <a:gd name="connsiteX4" fmla="*/ 81915 w 338518"/>
                <a:gd name="connsiteY4" fmla="*/ 523399 h 530828"/>
                <a:gd name="connsiteX5" fmla="*/ 39910 w 338518"/>
                <a:gd name="connsiteY5" fmla="*/ 501491 h 530828"/>
                <a:gd name="connsiteX6" fmla="*/ 10954 w 338518"/>
                <a:gd name="connsiteY6" fmla="*/ 465487 h 530828"/>
                <a:gd name="connsiteX7" fmla="*/ 0 w 338518"/>
                <a:gd name="connsiteY7" fmla="*/ 415671 h 530828"/>
                <a:gd name="connsiteX8" fmla="*/ 0 w 338518"/>
                <a:gd name="connsiteY8" fmla="*/ 414242 h 530828"/>
                <a:gd name="connsiteX9" fmla="*/ 11335 w 338518"/>
                <a:gd name="connsiteY9" fmla="*/ 360140 h 530828"/>
                <a:gd name="connsiteX10" fmla="*/ 42767 w 338518"/>
                <a:gd name="connsiteY10" fmla="*/ 321945 h 530828"/>
                <a:gd name="connsiteX11" fmla="*/ 90773 w 338518"/>
                <a:gd name="connsiteY11" fmla="*/ 299371 h 530828"/>
                <a:gd name="connsiteX12" fmla="*/ 151162 w 338518"/>
                <a:gd name="connsiteY12" fmla="*/ 291941 h 530828"/>
                <a:gd name="connsiteX13" fmla="*/ 208788 w 338518"/>
                <a:gd name="connsiteY13" fmla="*/ 296228 h 530828"/>
                <a:gd name="connsiteX14" fmla="*/ 254413 w 338518"/>
                <a:gd name="connsiteY14" fmla="*/ 307562 h 530828"/>
                <a:gd name="connsiteX15" fmla="*/ 254413 w 338518"/>
                <a:gd name="connsiteY15" fmla="*/ 300514 h 530828"/>
                <a:gd name="connsiteX16" fmla="*/ 230696 w 338518"/>
                <a:gd name="connsiteY16" fmla="*/ 241173 h 530828"/>
                <a:gd name="connsiteX17" fmla="*/ 162496 w 338518"/>
                <a:gd name="connsiteY17" fmla="*/ 220694 h 530828"/>
                <a:gd name="connsiteX18" fmla="*/ 106013 w 338518"/>
                <a:gd name="connsiteY18" fmla="*/ 227076 h 530828"/>
                <a:gd name="connsiteX19" fmla="*/ 55817 w 338518"/>
                <a:gd name="connsiteY19" fmla="*/ 244031 h 530828"/>
                <a:gd name="connsiteX20" fmla="*/ 32480 w 338518"/>
                <a:gd name="connsiteY20" fmla="*/ 175451 h 530828"/>
                <a:gd name="connsiteX21" fmla="*/ 96107 w 338518"/>
                <a:gd name="connsiteY21" fmla="*/ 152876 h 530828"/>
                <a:gd name="connsiteX22" fmla="*/ 174593 w 338518"/>
                <a:gd name="connsiteY22" fmla="*/ 144399 h 530828"/>
                <a:gd name="connsiteX23" fmla="*/ 298228 w 338518"/>
                <a:gd name="connsiteY23" fmla="*/ 185738 h 530828"/>
                <a:gd name="connsiteX24" fmla="*/ 338519 w 338518"/>
                <a:gd name="connsiteY24" fmla="*/ 301943 h 530828"/>
                <a:gd name="connsiteX25" fmla="*/ 338519 w 338518"/>
                <a:gd name="connsiteY25" fmla="*/ 523113 h 530828"/>
                <a:gd name="connsiteX26" fmla="*/ 253746 w 338518"/>
                <a:gd name="connsiteY26" fmla="*/ 523113 h 530828"/>
                <a:gd name="connsiteX27" fmla="*/ 45911 w 338518"/>
                <a:gd name="connsiteY27" fmla="*/ 95441 h 530828"/>
                <a:gd name="connsiteX28" fmla="*/ 75248 w 338518"/>
                <a:gd name="connsiteY28" fmla="*/ 29718 h 530828"/>
                <a:gd name="connsiteX29" fmla="*/ 125063 w 338518"/>
                <a:gd name="connsiteY29" fmla="*/ 7144 h 530828"/>
                <a:gd name="connsiteX30" fmla="*/ 154019 w 338518"/>
                <a:gd name="connsiteY30" fmla="*/ 11716 h 530828"/>
                <a:gd name="connsiteX31" fmla="*/ 181261 w 338518"/>
                <a:gd name="connsiteY31" fmla="*/ 21622 h 530828"/>
                <a:gd name="connsiteX32" fmla="*/ 205645 w 338518"/>
                <a:gd name="connsiteY32" fmla="*/ 31147 h 530828"/>
                <a:gd name="connsiteX33" fmla="*/ 226790 w 338518"/>
                <a:gd name="connsiteY33" fmla="*/ 35338 h 530828"/>
                <a:gd name="connsiteX34" fmla="*/ 250127 w 338518"/>
                <a:gd name="connsiteY34" fmla="*/ 26861 h 530828"/>
                <a:gd name="connsiteX35" fmla="*/ 265652 w 338518"/>
                <a:gd name="connsiteY35" fmla="*/ 0 h 530828"/>
                <a:gd name="connsiteX36" fmla="*/ 312991 w 338518"/>
                <a:gd name="connsiteY36" fmla="*/ 14859 h 530828"/>
                <a:gd name="connsiteX37" fmla="*/ 283655 w 338518"/>
                <a:gd name="connsiteY37" fmla="*/ 79820 h 530828"/>
                <a:gd name="connsiteX38" fmla="*/ 233839 w 338518"/>
                <a:gd name="connsiteY38" fmla="*/ 102394 h 530828"/>
                <a:gd name="connsiteX39" fmla="*/ 204883 w 338518"/>
                <a:gd name="connsiteY39" fmla="*/ 98203 h 530828"/>
                <a:gd name="connsiteX40" fmla="*/ 177641 w 338518"/>
                <a:gd name="connsiteY40" fmla="*/ 88678 h 530828"/>
                <a:gd name="connsiteX41" fmla="*/ 152876 w 338518"/>
                <a:gd name="connsiteY41" fmla="*/ 78772 h 530828"/>
                <a:gd name="connsiteX42" fmla="*/ 132017 w 338518"/>
                <a:gd name="connsiteY42" fmla="*/ 74200 h 530828"/>
                <a:gd name="connsiteX43" fmla="*/ 108680 w 338518"/>
                <a:gd name="connsiteY43" fmla="*/ 82677 h 530828"/>
                <a:gd name="connsiteX44" fmla="*/ 93154 w 338518"/>
                <a:gd name="connsiteY44" fmla="*/ 109538 h 530828"/>
                <a:gd name="connsiteX45" fmla="*/ 45815 w 338518"/>
                <a:gd name="connsiteY45" fmla="*/ 95441 h 530828"/>
                <a:gd name="connsiteX46" fmla="*/ 255842 w 338518"/>
                <a:gd name="connsiteY46" fmla="*/ 366808 h 530828"/>
                <a:gd name="connsiteX47" fmla="*/ 217361 w 338518"/>
                <a:gd name="connsiteY47" fmla="*/ 356235 h 530828"/>
                <a:gd name="connsiteX48" fmla="*/ 170402 w 338518"/>
                <a:gd name="connsiteY48" fmla="*/ 351949 h 530828"/>
                <a:gd name="connsiteX49" fmla="*/ 107537 w 338518"/>
                <a:gd name="connsiteY49" fmla="*/ 367475 h 530828"/>
                <a:gd name="connsiteX50" fmla="*/ 84963 w 338518"/>
                <a:gd name="connsiteY50" fmla="*/ 409861 h 530828"/>
                <a:gd name="connsiteX51" fmla="*/ 84963 w 338518"/>
                <a:gd name="connsiteY51" fmla="*/ 411290 h 530828"/>
                <a:gd name="connsiteX52" fmla="*/ 105823 w 338518"/>
                <a:gd name="connsiteY52" fmla="*/ 452247 h 530828"/>
                <a:gd name="connsiteX53" fmla="*/ 157067 w 338518"/>
                <a:gd name="connsiteY53" fmla="*/ 466344 h 530828"/>
                <a:gd name="connsiteX54" fmla="*/ 196310 w 338518"/>
                <a:gd name="connsiteY54" fmla="*/ 460724 h 530828"/>
                <a:gd name="connsiteX55" fmla="*/ 227743 w 338518"/>
                <a:gd name="connsiteY55" fmla="*/ 444818 h 530828"/>
                <a:gd name="connsiteX56" fmla="*/ 248603 w 338518"/>
                <a:gd name="connsiteY56" fmla="*/ 420053 h 530828"/>
                <a:gd name="connsiteX57" fmla="*/ 256032 w 338518"/>
                <a:gd name="connsiteY57" fmla="*/ 387858 h 530828"/>
                <a:gd name="connsiteX58" fmla="*/ 256032 w 338518"/>
                <a:gd name="connsiteY58" fmla="*/ 366617 h 5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8518" h="530828">
                  <a:moveTo>
                    <a:pt x="253651" y="523018"/>
                  </a:moveTo>
                  <a:lnTo>
                    <a:pt x="253651" y="477107"/>
                  </a:lnTo>
                  <a:cubicBezTo>
                    <a:pt x="240887" y="492157"/>
                    <a:pt x="224695" y="504920"/>
                    <a:pt x="204883" y="515303"/>
                  </a:cubicBezTo>
                  <a:cubicBezTo>
                    <a:pt x="185071" y="525685"/>
                    <a:pt x="161068" y="530828"/>
                    <a:pt x="132779" y="530828"/>
                  </a:cubicBezTo>
                  <a:cubicBezTo>
                    <a:pt x="114871" y="530828"/>
                    <a:pt x="97917" y="528352"/>
                    <a:pt x="81915" y="523399"/>
                  </a:cubicBezTo>
                  <a:cubicBezTo>
                    <a:pt x="65913" y="518446"/>
                    <a:pt x="51911" y="511112"/>
                    <a:pt x="39910" y="501491"/>
                  </a:cubicBezTo>
                  <a:cubicBezTo>
                    <a:pt x="27908" y="491871"/>
                    <a:pt x="18193" y="479870"/>
                    <a:pt x="10954" y="465487"/>
                  </a:cubicBezTo>
                  <a:cubicBezTo>
                    <a:pt x="3620" y="451104"/>
                    <a:pt x="0" y="434531"/>
                    <a:pt x="0" y="415671"/>
                  </a:cubicBezTo>
                  <a:lnTo>
                    <a:pt x="0" y="414242"/>
                  </a:lnTo>
                  <a:cubicBezTo>
                    <a:pt x="0" y="393478"/>
                    <a:pt x="3810" y="375476"/>
                    <a:pt x="11335" y="360140"/>
                  </a:cubicBezTo>
                  <a:cubicBezTo>
                    <a:pt x="18860" y="344805"/>
                    <a:pt x="29337" y="332137"/>
                    <a:pt x="42767" y="321945"/>
                  </a:cubicBezTo>
                  <a:cubicBezTo>
                    <a:pt x="56198" y="311849"/>
                    <a:pt x="72200" y="304324"/>
                    <a:pt x="90773" y="299371"/>
                  </a:cubicBezTo>
                  <a:cubicBezTo>
                    <a:pt x="109347" y="294418"/>
                    <a:pt x="129540" y="291941"/>
                    <a:pt x="151162" y="291941"/>
                  </a:cubicBezTo>
                  <a:cubicBezTo>
                    <a:pt x="172784" y="291941"/>
                    <a:pt x="192977" y="293370"/>
                    <a:pt x="208788" y="296228"/>
                  </a:cubicBezTo>
                  <a:cubicBezTo>
                    <a:pt x="224600" y="299085"/>
                    <a:pt x="239744" y="302800"/>
                    <a:pt x="254413" y="307562"/>
                  </a:cubicBezTo>
                  <a:lnTo>
                    <a:pt x="254413" y="300514"/>
                  </a:lnTo>
                  <a:cubicBezTo>
                    <a:pt x="254413" y="274606"/>
                    <a:pt x="246507" y="254794"/>
                    <a:pt x="230696" y="241173"/>
                  </a:cubicBezTo>
                  <a:cubicBezTo>
                    <a:pt x="214884" y="227552"/>
                    <a:pt x="192215" y="220694"/>
                    <a:pt x="162496" y="220694"/>
                  </a:cubicBezTo>
                  <a:cubicBezTo>
                    <a:pt x="141351" y="220694"/>
                    <a:pt x="122492" y="222790"/>
                    <a:pt x="106013" y="227076"/>
                  </a:cubicBezTo>
                  <a:cubicBezTo>
                    <a:pt x="89535" y="231362"/>
                    <a:pt x="72771" y="236982"/>
                    <a:pt x="55817" y="244031"/>
                  </a:cubicBezTo>
                  <a:lnTo>
                    <a:pt x="32480" y="175451"/>
                  </a:lnTo>
                  <a:cubicBezTo>
                    <a:pt x="53150" y="166021"/>
                    <a:pt x="74390" y="158496"/>
                    <a:pt x="96107" y="152876"/>
                  </a:cubicBezTo>
                  <a:cubicBezTo>
                    <a:pt x="117729" y="147257"/>
                    <a:pt x="143923" y="144399"/>
                    <a:pt x="174593" y="144399"/>
                  </a:cubicBezTo>
                  <a:cubicBezTo>
                    <a:pt x="230124" y="144399"/>
                    <a:pt x="271367" y="158210"/>
                    <a:pt x="298228" y="185738"/>
                  </a:cubicBezTo>
                  <a:cubicBezTo>
                    <a:pt x="325088" y="213265"/>
                    <a:pt x="338519" y="252032"/>
                    <a:pt x="338519" y="301943"/>
                  </a:cubicBezTo>
                  <a:lnTo>
                    <a:pt x="338519" y="523113"/>
                  </a:lnTo>
                  <a:lnTo>
                    <a:pt x="253746" y="523113"/>
                  </a:lnTo>
                  <a:close/>
                  <a:moveTo>
                    <a:pt x="45911" y="95441"/>
                  </a:moveTo>
                  <a:cubicBezTo>
                    <a:pt x="53912" y="66675"/>
                    <a:pt x="63722" y="44768"/>
                    <a:pt x="75248" y="29718"/>
                  </a:cubicBezTo>
                  <a:cubicBezTo>
                    <a:pt x="86773" y="14669"/>
                    <a:pt x="103442" y="7144"/>
                    <a:pt x="125063" y="7144"/>
                  </a:cubicBezTo>
                  <a:cubicBezTo>
                    <a:pt x="134969" y="7144"/>
                    <a:pt x="144590" y="8668"/>
                    <a:pt x="154019" y="11716"/>
                  </a:cubicBezTo>
                  <a:cubicBezTo>
                    <a:pt x="163449" y="14764"/>
                    <a:pt x="172498" y="18098"/>
                    <a:pt x="181261" y="21622"/>
                  </a:cubicBezTo>
                  <a:cubicBezTo>
                    <a:pt x="189929" y="25146"/>
                    <a:pt x="198120" y="28385"/>
                    <a:pt x="205645" y="31147"/>
                  </a:cubicBezTo>
                  <a:cubicBezTo>
                    <a:pt x="213170" y="34004"/>
                    <a:pt x="220218" y="35338"/>
                    <a:pt x="226790" y="35338"/>
                  </a:cubicBezTo>
                  <a:cubicBezTo>
                    <a:pt x="237173" y="35338"/>
                    <a:pt x="244888" y="32480"/>
                    <a:pt x="250127" y="26861"/>
                  </a:cubicBezTo>
                  <a:cubicBezTo>
                    <a:pt x="255270" y="21241"/>
                    <a:pt x="260509" y="12287"/>
                    <a:pt x="265652" y="0"/>
                  </a:cubicBezTo>
                  <a:lnTo>
                    <a:pt x="312991" y="14859"/>
                  </a:lnTo>
                  <a:cubicBezTo>
                    <a:pt x="304991" y="43148"/>
                    <a:pt x="295180" y="64770"/>
                    <a:pt x="283655" y="79820"/>
                  </a:cubicBezTo>
                  <a:cubicBezTo>
                    <a:pt x="272129" y="94869"/>
                    <a:pt x="255461" y="102394"/>
                    <a:pt x="233839" y="102394"/>
                  </a:cubicBezTo>
                  <a:cubicBezTo>
                    <a:pt x="223933" y="102394"/>
                    <a:pt x="214313" y="100965"/>
                    <a:pt x="204883" y="98203"/>
                  </a:cubicBezTo>
                  <a:cubicBezTo>
                    <a:pt x="195453" y="95345"/>
                    <a:pt x="186404" y="92202"/>
                    <a:pt x="177641" y="88678"/>
                  </a:cubicBezTo>
                  <a:cubicBezTo>
                    <a:pt x="168878" y="85154"/>
                    <a:pt x="160687" y="81820"/>
                    <a:pt x="152876" y="78772"/>
                  </a:cubicBezTo>
                  <a:cubicBezTo>
                    <a:pt x="145066" y="75724"/>
                    <a:pt x="138113" y="74200"/>
                    <a:pt x="132017" y="74200"/>
                  </a:cubicBezTo>
                  <a:cubicBezTo>
                    <a:pt x="121634" y="74200"/>
                    <a:pt x="113919" y="77057"/>
                    <a:pt x="108680" y="82677"/>
                  </a:cubicBezTo>
                  <a:cubicBezTo>
                    <a:pt x="103537" y="88297"/>
                    <a:pt x="98298" y="97250"/>
                    <a:pt x="93154" y="109538"/>
                  </a:cubicBezTo>
                  <a:lnTo>
                    <a:pt x="45815" y="95441"/>
                  </a:lnTo>
                  <a:close/>
                  <a:moveTo>
                    <a:pt x="255842" y="366808"/>
                  </a:moveTo>
                  <a:cubicBezTo>
                    <a:pt x="244983" y="362522"/>
                    <a:pt x="232124" y="358997"/>
                    <a:pt x="217361" y="356235"/>
                  </a:cubicBezTo>
                  <a:cubicBezTo>
                    <a:pt x="202502" y="353378"/>
                    <a:pt x="186880" y="351949"/>
                    <a:pt x="170402" y="351949"/>
                  </a:cubicBezTo>
                  <a:cubicBezTo>
                    <a:pt x="143542" y="351949"/>
                    <a:pt x="122587" y="357092"/>
                    <a:pt x="107537" y="367475"/>
                  </a:cubicBezTo>
                  <a:cubicBezTo>
                    <a:pt x="92488" y="377857"/>
                    <a:pt x="84963" y="391954"/>
                    <a:pt x="84963" y="409861"/>
                  </a:cubicBezTo>
                  <a:lnTo>
                    <a:pt x="84963" y="411290"/>
                  </a:lnTo>
                  <a:cubicBezTo>
                    <a:pt x="84963" y="429197"/>
                    <a:pt x="91916" y="442817"/>
                    <a:pt x="105823" y="452247"/>
                  </a:cubicBezTo>
                  <a:cubicBezTo>
                    <a:pt x="119729" y="461677"/>
                    <a:pt x="136779" y="466344"/>
                    <a:pt x="157067" y="466344"/>
                  </a:cubicBezTo>
                  <a:cubicBezTo>
                    <a:pt x="171164" y="466344"/>
                    <a:pt x="184309" y="464439"/>
                    <a:pt x="196310" y="460724"/>
                  </a:cubicBezTo>
                  <a:cubicBezTo>
                    <a:pt x="208312" y="456914"/>
                    <a:pt x="218789" y="451676"/>
                    <a:pt x="227743" y="444818"/>
                  </a:cubicBezTo>
                  <a:cubicBezTo>
                    <a:pt x="236696" y="437960"/>
                    <a:pt x="243650" y="429768"/>
                    <a:pt x="248603" y="420053"/>
                  </a:cubicBezTo>
                  <a:cubicBezTo>
                    <a:pt x="253555" y="410432"/>
                    <a:pt x="256032" y="399669"/>
                    <a:pt x="256032" y="387858"/>
                  </a:cubicBezTo>
                  <a:lnTo>
                    <a:pt x="256032" y="366617"/>
                  </a:lnTo>
                  <a:close/>
                </a:path>
              </a:pathLst>
            </a:custGeom>
            <a:solidFill>
              <a:srgbClr val="44505E"/>
            </a:solidFill>
            <a:ln w="9525" cap="flat">
              <a:noFill/>
              <a:prstDash val="solid"/>
              <a:miter/>
            </a:ln>
          </p:spPr>
          <p:txBody>
            <a:bodyPr rtlCol="0" anchor="ctr"/>
            <a:lstStyle/>
            <a:p>
              <a:endParaRPr lang="pt-BR" noProof="0"/>
            </a:p>
          </p:txBody>
        </p:sp>
        <p:sp>
          <p:nvSpPr>
            <p:cNvPr id="31" name="Freeform: Shape 30">
              <a:extLst>
                <a:ext uri="{FF2B5EF4-FFF2-40B4-BE49-F238E27FC236}">
                  <a16:creationId xmlns:a16="http://schemas.microsoft.com/office/drawing/2014/main" id="{78B97227-8D64-13F0-062B-0921952180C2}"/>
                </a:ext>
              </a:extLst>
            </p:cNvPr>
            <p:cNvSpPr/>
            <p:nvPr/>
          </p:nvSpPr>
          <p:spPr>
            <a:xfrm>
              <a:off x="6506477" y="699959"/>
              <a:ext cx="100038" cy="97908"/>
            </a:xfrm>
            <a:custGeom>
              <a:avLst/>
              <a:gdLst>
                <a:gd name="connsiteX0" fmla="*/ 197834 w 397954"/>
                <a:gd name="connsiteY0" fmla="*/ 389477 h 389477"/>
                <a:gd name="connsiteX1" fmla="*/ 119063 w 397954"/>
                <a:gd name="connsiteY1" fmla="*/ 374237 h 389477"/>
                <a:gd name="connsiteX2" fmla="*/ 56198 w 397954"/>
                <a:gd name="connsiteY2" fmla="*/ 332899 h 389477"/>
                <a:gd name="connsiteX3" fmla="*/ 14859 w 397954"/>
                <a:gd name="connsiteY3" fmla="*/ 271463 h 389477"/>
                <a:gd name="connsiteX4" fmla="*/ 0 w 397954"/>
                <a:gd name="connsiteY4" fmla="*/ 196501 h 389477"/>
                <a:gd name="connsiteX5" fmla="*/ 0 w 397954"/>
                <a:gd name="connsiteY5" fmla="*/ 195072 h 389477"/>
                <a:gd name="connsiteX6" fmla="*/ 15240 w 397954"/>
                <a:gd name="connsiteY6" fmla="*/ 119444 h 389477"/>
                <a:gd name="connsiteX7" fmla="*/ 56960 w 397954"/>
                <a:gd name="connsiteY7" fmla="*/ 57626 h 389477"/>
                <a:gd name="connsiteX8" fmla="*/ 119825 w 397954"/>
                <a:gd name="connsiteY8" fmla="*/ 15526 h 389477"/>
                <a:gd name="connsiteX9" fmla="*/ 199358 w 397954"/>
                <a:gd name="connsiteY9" fmla="*/ 0 h 389477"/>
                <a:gd name="connsiteX10" fmla="*/ 278892 w 397954"/>
                <a:gd name="connsiteY10" fmla="*/ 15240 h 389477"/>
                <a:gd name="connsiteX11" fmla="*/ 341757 w 397954"/>
                <a:gd name="connsiteY11" fmla="*/ 56959 h 389477"/>
                <a:gd name="connsiteX12" fmla="*/ 383096 w 397954"/>
                <a:gd name="connsiteY12" fmla="*/ 118396 h 389477"/>
                <a:gd name="connsiteX13" fmla="*/ 397955 w 397954"/>
                <a:gd name="connsiteY13" fmla="*/ 193643 h 389477"/>
                <a:gd name="connsiteX14" fmla="*/ 397955 w 397954"/>
                <a:gd name="connsiteY14" fmla="*/ 195072 h 389477"/>
                <a:gd name="connsiteX15" fmla="*/ 382714 w 397954"/>
                <a:gd name="connsiteY15" fmla="*/ 270034 h 389477"/>
                <a:gd name="connsiteX16" fmla="*/ 340995 w 397954"/>
                <a:gd name="connsiteY16" fmla="*/ 331851 h 389477"/>
                <a:gd name="connsiteX17" fmla="*/ 277749 w 397954"/>
                <a:gd name="connsiteY17" fmla="*/ 373856 h 389477"/>
                <a:gd name="connsiteX18" fmla="*/ 197834 w 397954"/>
                <a:gd name="connsiteY18" fmla="*/ 389382 h 389477"/>
                <a:gd name="connsiteX19" fmla="*/ 199263 w 397954"/>
                <a:gd name="connsiteY19" fmla="*/ 315278 h 389477"/>
                <a:gd name="connsiteX20" fmla="*/ 245936 w 397954"/>
                <a:gd name="connsiteY20" fmla="*/ 305753 h 389477"/>
                <a:gd name="connsiteX21" fmla="*/ 281369 w 397954"/>
                <a:gd name="connsiteY21" fmla="*/ 279940 h 389477"/>
                <a:gd name="connsiteX22" fmla="*/ 303848 w 397954"/>
                <a:gd name="connsiteY22" fmla="*/ 242125 h 389477"/>
                <a:gd name="connsiteX23" fmla="*/ 311563 w 397954"/>
                <a:gd name="connsiteY23" fmla="*/ 196501 h 389477"/>
                <a:gd name="connsiteX24" fmla="*/ 311563 w 397954"/>
                <a:gd name="connsiteY24" fmla="*/ 195072 h 389477"/>
                <a:gd name="connsiteX25" fmla="*/ 303181 w 397954"/>
                <a:gd name="connsiteY25" fmla="*/ 148400 h 389477"/>
                <a:gd name="connsiteX26" fmla="*/ 279654 w 397954"/>
                <a:gd name="connsiteY26" fmla="*/ 110204 h 389477"/>
                <a:gd name="connsiteX27" fmla="*/ 243840 w 397954"/>
                <a:gd name="connsiteY27" fmla="*/ 84392 h 389477"/>
                <a:gd name="connsiteX28" fmla="*/ 197834 w 397954"/>
                <a:gd name="connsiteY28" fmla="*/ 74867 h 389477"/>
                <a:gd name="connsiteX29" fmla="*/ 151829 w 397954"/>
                <a:gd name="connsiteY29" fmla="*/ 84392 h 389477"/>
                <a:gd name="connsiteX30" fmla="*/ 116396 w 397954"/>
                <a:gd name="connsiteY30" fmla="*/ 109823 h 389477"/>
                <a:gd name="connsiteX31" fmla="*/ 93916 w 397954"/>
                <a:gd name="connsiteY31" fmla="*/ 147638 h 389477"/>
                <a:gd name="connsiteX32" fmla="*/ 86201 w 397954"/>
                <a:gd name="connsiteY32" fmla="*/ 193548 h 389477"/>
                <a:gd name="connsiteX33" fmla="*/ 86201 w 397954"/>
                <a:gd name="connsiteY33" fmla="*/ 194977 h 389477"/>
                <a:gd name="connsiteX34" fmla="*/ 94583 w 397954"/>
                <a:gd name="connsiteY34" fmla="*/ 241268 h 389477"/>
                <a:gd name="connsiteX35" fmla="*/ 118110 w 397954"/>
                <a:gd name="connsiteY35" fmla="*/ 279463 h 389477"/>
                <a:gd name="connsiteX36" fmla="*/ 153924 w 397954"/>
                <a:gd name="connsiteY36" fmla="*/ 305562 h 389477"/>
                <a:gd name="connsiteX37" fmla="*/ 199263 w 397954"/>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954" h="389477">
                  <a:moveTo>
                    <a:pt x="197834" y="389477"/>
                  </a:moveTo>
                  <a:cubicBezTo>
                    <a:pt x="169545" y="389477"/>
                    <a:pt x="143351" y="384429"/>
                    <a:pt x="119063" y="374237"/>
                  </a:cubicBezTo>
                  <a:cubicBezTo>
                    <a:pt x="94774" y="364141"/>
                    <a:pt x="73819" y="350330"/>
                    <a:pt x="56198" y="332899"/>
                  </a:cubicBezTo>
                  <a:cubicBezTo>
                    <a:pt x="38576" y="315468"/>
                    <a:pt x="24765" y="294989"/>
                    <a:pt x="14859" y="271463"/>
                  </a:cubicBezTo>
                  <a:cubicBezTo>
                    <a:pt x="4953" y="247936"/>
                    <a:pt x="0" y="222980"/>
                    <a:pt x="0" y="196501"/>
                  </a:cubicBezTo>
                  <a:lnTo>
                    <a:pt x="0" y="195072"/>
                  </a:lnTo>
                  <a:cubicBezTo>
                    <a:pt x="0" y="168212"/>
                    <a:pt x="5049" y="143066"/>
                    <a:pt x="15240" y="119444"/>
                  </a:cubicBezTo>
                  <a:cubicBezTo>
                    <a:pt x="25337" y="95917"/>
                    <a:pt x="39243" y="75248"/>
                    <a:pt x="56960" y="57626"/>
                  </a:cubicBezTo>
                  <a:cubicBezTo>
                    <a:pt x="74676" y="39910"/>
                    <a:pt x="95631" y="25908"/>
                    <a:pt x="119825" y="15526"/>
                  </a:cubicBezTo>
                  <a:cubicBezTo>
                    <a:pt x="144113" y="5144"/>
                    <a:pt x="170593" y="0"/>
                    <a:pt x="199358" y="0"/>
                  </a:cubicBezTo>
                  <a:cubicBezTo>
                    <a:pt x="228124" y="0"/>
                    <a:pt x="254604" y="5048"/>
                    <a:pt x="278892" y="15240"/>
                  </a:cubicBezTo>
                  <a:cubicBezTo>
                    <a:pt x="303181" y="25337"/>
                    <a:pt x="324136" y="39243"/>
                    <a:pt x="341757" y="56959"/>
                  </a:cubicBezTo>
                  <a:cubicBezTo>
                    <a:pt x="359379" y="74676"/>
                    <a:pt x="373189" y="95155"/>
                    <a:pt x="383096" y="118396"/>
                  </a:cubicBezTo>
                  <a:cubicBezTo>
                    <a:pt x="393002" y="141732"/>
                    <a:pt x="397955" y="166783"/>
                    <a:pt x="397955" y="193643"/>
                  </a:cubicBezTo>
                  <a:lnTo>
                    <a:pt x="397955" y="195072"/>
                  </a:lnTo>
                  <a:cubicBezTo>
                    <a:pt x="397955" y="221456"/>
                    <a:pt x="392906" y="246412"/>
                    <a:pt x="382714" y="270034"/>
                  </a:cubicBezTo>
                  <a:cubicBezTo>
                    <a:pt x="372618" y="293561"/>
                    <a:pt x="358712" y="314230"/>
                    <a:pt x="340995" y="331851"/>
                  </a:cubicBezTo>
                  <a:cubicBezTo>
                    <a:pt x="323279" y="349472"/>
                    <a:pt x="302229" y="363569"/>
                    <a:pt x="277749" y="373856"/>
                  </a:cubicBezTo>
                  <a:cubicBezTo>
                    <a:pt x="253270" y="384238"/>
                    <a:pt x="226600" y="389382"/>
                    <a:pt x="197834" y="389382"/>
                  </a:cubicBezTo>
                  <a:close/>
                  <a:moveTo>
                    <a:pt x="199263" y="315278"/>
                  </a:moveTo>
                  <a:cubicBezTo>
                    <a:pt x="216598" y="315278"/>
                    <a:pt x="232124" y="312039"/>
                    <a:pt x="245936" y="305753"/>
                  </a:cubicBezTo>
                  <a:cubicBezTo>
                    <a:pt x="259747" y="299371"/>
                    <a:pt x="271558" y="290798"/>
                    <a:pt x="281369" y="279940"/>
                  </a:cubicBezTo>
                  <a:cubicBezTo>
                    <a:pt x="291179" y="269081"/>
                    <a:pt x="298704" y="256508"/>
                    <a:pt x="303848" y="242125"/>
                  </a:cubicBezTo>
                  <a:cubicBezTo>
                    <a:pt x="308991" y="227743"/>
                    <a:pt x="311563" y="212598"/>
                    <a:pt x="311563" y="196501"/>
                  </a:cubicBezTo>
                  <a:lnTo>
                    <a:pt x="311563" y="195072"/>
                  </a:lnTo>
                  <a:cubicBezTo>
                    <a:pt x="311563" y="178594"/>
                    <a:pt x="308706" y="163068"/>
                    <a:pt x="303181" y="148400"/>
                  </a:cubicBezTo>
                  <a:cubicBezTo>
                    <a:pt x="297561" y="133826"/>
                    <a:pt x="289750" y="121063"/>
                    <a:pt x="279654" y="110204"/>
                  </a:cubicBezTo>
                  <a:cubicBezTo>
                    <a:pt x="269557" y="99346"/>
                    <a:pt x="257651" y="90773"/>
                    <a:pt x="243840" y="84392"/>
                  </a:cubicBezTo>
                  <a:cubicBezTo>
                    <a:pt x="230029" y="78010"/>
                    <a:pt x="214694" y="74867"/>
                    <a:pt x="197834" y="74867"/>
                  </a:cubicBezTo>
                  <a:cubicBezTo>
                    <a:pt x="180975" y="74867"/>
                    <a:pt x="165640" y="78010"/>
                    <a:pt x="151829" y="84392"/>
                  </a:cubicBezTo>
                  <a:cubicBezTo>
                    <a:pt x="138017" y="90773"/>
                    <a:pt x="126206" y="99250"/>
                    <a:pt x="116396" y="109823"/>
                  </a:cubicBezTo>
                  <a:cubicBezTo>
                    <a:pt x="106585" y="120396"/>
                    <a:pt x="99060" y="133064"/>
                    <a:pt x="93916" y="147638"/>
                  </a:cubicBezTo>
                  <a:cubicBezTo>
                    <a:pt x="88773" y="162211"/>
                    <a:pt x="86201" y="177546"/>
                    <a:pt x="86201" y="193548"/>
                  </a:cubicBezTo>
                  <a:lnTo>
                    <a:pt x="86201" y="194977"/>
                  </a:lnTo>
                  <a:cubicBezTo>
                    <a:pt x="86201" y="211455"/>
                    <a:pt x="89059" y="226886"/>
                    <a:pt x="94583" y="241268"/>
                  </a:cubicBezTo>
                  <a:cubicBezTo>
                    <a:pt x="100203" y="255651"/>
                    <a:pt x="108014" y="268319"/>
                    <a:pt x="118110" y="279463"/>
                  </a:cubicBezTo>
                  <a:cubicBezTo>
                    <a:pt x="128207" y="290608"/>
                    <a:pt x="140113" y="299275"/>
                    <a:pt x="153924" y="305562"/>
                  </a:cubicBezTo>
                  <a:cubicBezTo>
                    <a:pt x="167735" y="311944"/>
                    <a:pt x="182785"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32" name="Freeform: Shape 31">
              <a:extLst>
                <a:ext uri="{FF2B5EF4-FFF2-40B4-BE49-F238E27FC236}">
                  <a16:creationId xmlns:a16="http://schemas.microsoft.com/office/drawing/2014/main" id="{2B7E7EC9-B5A0-67B3-5764-A93CE6364A72}"/>
                </a:ext>
              </a:extLst>
            </p:cNvPr>
            <p:cNvSpPr/>
            <p:nvPr/>
          </p:nvSpPr>
          <p:spPr>
            <a:xfrm>
              <a:off x="662071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1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7 w 296894"/>
                <a:gd name="connsiteY23" fmla="*/ 42863 h 386714"/>
                <a:gd name="connsiteX24" fmla="*/ 254318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7 w 296894"/>
                <a:gd name="connsiteY30" fmla="*/ 124587 h 386714"/>
                <a:gd name="connsiteX31" fmla="*/ 122682 w 296894"/>
                <a:gd name="connsiteY31" fmla="*/ 138017 h 386714"/>
                <a:gd name="connsiteX32" fmla="*/ 149543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6" y="348901"/>
                    <a:pt x="0" y="330327"/>
                  </a:cubicBezTo>
                  <a:lnTo>
                    <a:pt x="38195" y="272224"/>
                  </a:lnTo>
                  <a:cubicBezTo>
                    <a:pt x="58484" y="287274"/>
                    <a:pt x="79057" y="298704"/>
                    <a:pt x="100013" y="306514"/>
                  </a:cubicBezTo>
                  <a:cubicBezTo>
                    <a:pt x="120968" y="314325"/>
                    <a:pt x="141161" y="318135"/>
                    <a:pt x="160401" y="318135"/>
                  </a:cubicBezTo>
                  <a:cubicBezTo>
                    <a:pt x="179641" y="318135"/>
                    <a:pt x="192977"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1" y="241078"/>
                    <a:pt x="176498" y="237553"/>
                    <a:pt x="166401"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2" y="40195"/>
                    <a:pt x="56864" y="30385"/>
                  </a:cubicBezTo>
                  <a:cubicBezTo>
                    <a:pt x="68866" y="20479"/>
                    <a:pt x="82962" y="12954"/>
                    <a:pt x="99250" y="7810"/>
                  </a:cubicBezTo>
                  <a:cubicBezTo>
                    <a:pt x="115538" y="2667"/>
                    <a:pt x="132779" y="0"/>
                    <a:pt x="151162" y="0"/>
                  </a:cubicBezTo>
                  <a:cubicBezTo>
                    <a:pt x="174688" y="0"/>
                    <a:pt x="198501" y="3810"/>
                    <a:pt x="222504" y="11430"/>
                  </a:cubicBezTo>
                  <a:cubicBezTo>
                    <a:pt x="246507" y="19050"/>
                    <a:pt x="268414" y="29527"/>
                    <a:pt x="288227" y="42863"/>
                  </a:cubicBezTo>
                  <a:lnTo>
                    <a:pt x="254318"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7" y="124587"/>
                  </a:cubicBezTo>
                  <a:cubicBezTo>
                    <a:pt x="108585" y="129540"/>
                    <a:pt x="114871" y="134017"/>
                    <a:pt x="122682" y="138017"/>
                  </a:cubicBezTo>
                  <a:cubicBezTo>
                    <a:pt x="130493" y="142018"/>
                    <a:pt x="139351" y="145732"/>
                    <a:pt x="149543"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696"/>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33" name="Freeform: Shape 32">
              <a:extLst>
                <a:ext uri="{FF2B5EF4-FFF2-40B4-BE49-F238E27FC236}">
                  <a16:creationId xmlns:a16="http://schemas.microsoft.com/office/drawing/2014/main" id="{8F04DBC2-CA5F-5801-AA64-3899A6E43762}"/>
                </a:ext>
              </a:extLst>
            </p:cNvPr>
            <p:cNvSpPr/>
            <p:nvPr/>
          </p:nvSpPr>
          <p:spPr>
            <a:xfrm>
              <a:off x="526693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4 w 202977"/>
                <a:gd name="connsiteY17" fmla="*/ 19907 h 239267"/>
                <a:gd name="connsiteX18" fmla="*/ 59246 w 202977"/>
                <a:gd name="connsiteY18" fmla="*/ 5429 h 239267"/>
                <a:gd name="connsiteX19" fmla="*/ 104299 w 202977"/>
                <a:gd name="connsiteY19" fmla="*/ 0 h 239267"/>
                <a:gd name="connsiteX20" fmla="*/ 178880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5 w 202977"/>
                <a:gd name="connsiteY27" fmla="*/ 211169 h 239267"/>
                <a:gd name="connsiteX28" fmla="*/ 122968 w 202977"/>
                <a:gd name="connsiteY28" fmla="*/ 206788 h 239267"/>
                <a:gd name="connsiteX29" fmla="*/ 147257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9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9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3" y="99155"/>
                    <a:pt x="58674" y="95917"/>
                  </a:cubicBezTo>
                  <a:cubicBezTo>
                    <a:pt x="70771" y="92678"/>
                    <a:pt x="84011" y="90964"/>
                    <a:pt x="98584" y="90964"/>
                  </a:cubicBezTo>
                  <a:cubicBezTo>
                    <a:pt x="113157" y="90964"/>
                    <a:pt x="126301" y="91821"/>
                    <a:pt x="137160" y="93631"/>
                  </a:cubicBezTo>
                  <a:cubicBezTo>
                    <a:pt x="148019" y="95440"/>
                    <a:pt x="158687" y="97822"/>
                    <a:pt x="169069" y="100774"/>
                  </a:cubicBezTo>
                  <a:lnTo>
                    <a:pt x="169069" y="93726"/>
                  </a:lnTo>
                  <a:cubicBezTo>
                    <a:pt x="169069" y="73342"/>
                    <a:pt x="163068" y="57912"/>
                    <a:pt x="151162" y="47339"/>
                  </a:cubicBezTo>
                  <a:cubicBezTo>
                    <a:pt x="139256" y="36862"/>
                    <a:pt x="122492" y="31623"/>
                    <a:pt x="100679" y="31623"/>
                  </a:cubicBezTo>
                  <a:cubicBezTo>
                    <a:pt x="86963" y="31623"/>
                    <a:pt x="74581" y="33147"/>
                    <a:pt x="63437" y="36100"/>
                  </a:cubicBezTo>
                  <a:cubicBezTo>
                    <a:pt x="52292" y="39053"/>
                    <a:pt x="41339" y="43053"/>
                    <a:pt x="30671" y="48196"/>
                  </a:cubicBezTo>
                  <a:lnTo>
                    <a:pt x="20384" y="19907"/>
                  </a:lnTo>
                  <a:cubicBezTo>
                    <a:pt x="33147" y="13906"/>
                    <a:pt x="46101" y="9049"/>
                    <a:pt x="59246" y="5429"/>
                  </a:cubicBezTo>
                  <a:cubicBezTo>
                    <a:pt x="72295" y="1810"/>
                    <a:pt x="87344" y="0"/>
                    <a:pt x="104299" y="0"/>
                  </a:cubicBezTo>
                  <a:cubicBezTo>
                    <a:pt x="137065" y="0"/>
                    <a:pt x="161925" y="8477"/>
                    <a:pt x="178880"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99" y="239173"/>
                    <a:pt x="86011" y="239173"/>
                  </a:cubicBezTo>
                  <a:close/>
                  <a:moveTo>
                    <a:pt x="93155" y="211169"/>
                  </a:moveTo>
                  <a:cubicBezTo>
                    <a:pt x="103823" y="211169"/>
                    <a:pt x="113728" y="209740"/>
                    <a:pt x="122968" y="206788"/>
                  </a:cubicBezTo>
                  <a:cubicBezTo>
                    <a:pt x="132207" y="203835"/>
                    <a:pt x="140208" y="199644"/>
                    <a:pt x="147257"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9" y="121444"/>
                  </a:cubicBezTo>
                  <a:cubicBezTo>
                    <a:pt x="129445" y="119348"/>
                    <a:pt x="116776"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244" y="190500"/>
                    <a:pt x="47435" y="195358"/>
                    <a:pt x="52769" y="199263"/>
                  </a:cubicBezTo>
                  <a:cubicBezTo>
                    <a:pt x="58103" y="203073"/>
                    <a:pt x="64294" y="206026"/>
                    <a:pt x="71247" y="208121"/>
                  </a:cubicBezTo>
                  <a:cubicBezTo>
                    <a:pt x="78200" y="210217"/>
                    <a:pt x="85535"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34" name="Freeform: Shape 33">
              <a:extLst>
                <a:ext uri="{FF2B5EF4-FFF2-40B4-BE49-F238E27FC236}">
                  <a16:creationId xmlns:a16="http://schemas.microsoft.com/office/drawing/2014/main" id="{2D3DD127-36E2-A470-8EB0-03136F9890EF}"/>
                </a:ext>
              </a:extLst>
            </p:cNvPr>
            <p:cNvSpPr/>
            <p:nvPr/>
          </p:nvSpPr>
          <p:spPr>
            <a:xfrm>
              <a:off x="5331227"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9" y="303276"/>
                    <a:pt x="71438" y="300895"/>
                  </a:cubicBezTo>
                  <a:cubicBezTo>
                    <a:pt x="63437"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2"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5" name="Freeform: Shape 34">
              <a:extLst>
                <a:ext uri="{FF2B5EF4-FFF2-40B4-BE49-F238E27FC236}">
                  <a16:creationId xmlns:a16="http://schemas.microsoft.com/office/drawing/2014/main" id="{1336ABFF-B378-3927-5890-B1BC2B8CD668}"/>
                </a:ext>
              </a:extLst>
            </p:cNvPr>
            <p:cNvSpPr/>
            <p:nvPr/>
          </p:nvSpPr>
          <p:spPr>
            <a:xfrm>
              <a:off x="5381845"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191 w 39242"/>
                <a:gd name="connsiteY5" fmla="*/ 88392 h 319182"/>
                <a:gd name="connsiteX6" fmla="*/ 36576 w 39242"/>
                <a:gd name="connsiteY6" fmla="*/ 88392 h 319182"/>
                <a:gd name="connsiteX7" fmla="*/ 36576 w 39242"/>
                <a:gd name="connsiteY7" fmla="*/ 319183 h 319182"/>
                <a:gd name="connsiteX8" fmla="*/ 2191 w 39242"/>
                <a:gd name="connsiteY8" fmla="*/ 319183 h 319182"/>
                <a:gd name="connsiteX9" fmla="*/ 2191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191" y="88392"/>
                  </a:moveTo>
                  <a:lnTo>
                    <a:pt x="36576" y="88392"/>
                  </a:lnTo>
                  <a:lnTo>
                    <a:pt x="36576" y="319183"/>
                  </a:lnTo>
                  <a:lnTo>
                    <a:pt x="2191" y="319183"/>
                  </a:lnTo>
                  <a:lnTo>
                    <a:pt x="2191" y="88392"/>
                  </a:lnTo>
                  <a:close/>
                </a:path>
              </a:pathLst>
            </a:custGeom>
            <a:solidFill>
              <a:srgbClr val="44505E"/>
            </a:solidFill>
            <a:ln w="9525" cap="flat">
              <a:noFill/>
              <a:prstDash val="solid"/>
              <a:miter/>
            </a:ln>
          </p:spPr>
          <p:txBody>
            <a:bodyPr rtlCol="0" anchor="ctr"/>
            <a:lstStyle/>
            <a:p>
              <a:endParaRPr lang="pt-BR" noProof="0"/>
            </a:p>
          </p:txBody>
        </p:sp>
        <p:sp>
          <p:nvSpPr>
            <p:cNvPr id="36" name="Freeform: Shape 35">
              <a:extLst>
                <a:ext uri="{FF2B5EF4-FFF2-40B4-BE49-F238E27FC236}">
                  <a16:creationId xmlns:a16="http://schemas.microsoft.com/office/drawing/2014/main" id="{C98CE06B-A8D3-7E57-8CD1-E1CCDEE7D6AA}"/>
                </a:ext>
              </a:extLst>
            </p:cNvPr>
            <p:cNvSpPr/>
            <p:nvPr/>
          </p:nvSpPr>
          <p:spPr>
            <a:xfrm>
              <a:off x="5406076"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8" y="303276"/>
                    <a:pt x="71438" y="300895"/>
                  </a:cubicBezTo>
                  <a:cubicBezTo>
                    <a:pt x="63436"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1"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7" name="Freeform: Shape 36">
              <a:extLst>
                <a:ext uri="{FF2B5EF4-FFF2-40B4-BE49-F238E27FC236}">
                  <a16:creationId xmlns:a16="http://schemas.microsoft.com/office/drawing/2014/main" id="{EA6E7B94-C13B-30CA-8EF4-F47FB16A0A3F}"/>
                </a:ext>
              </a:extLst>
            </p:cNvPr>
            <p:cNvSpPr/>
            <p:nvPr/>
          </p:nvSpPr>
          <p:spPr>
            <a:xfrm>
              <a:off x="5455545" y="925297"/>
              <a:ext cx="50594" cy="59238"/>
            </a:xfrm>
            <a:custGeom>
              <a:avLst/>
              <a:gdLst>
                <a:gd name="connsiteX0" fmla="*/ 88392 w 201263"/>
                <a:gd name="connsiteY0" fmla="*/ 235648 h 235648"/>
                <a:gd name="connsiteX1" fmla="*/ 51149 w 201263"/>
                <a:gd name="connsiteY1" fmla="*/ 228981 h 235648"/>
                <a:gd name="connsiteX2" fmla="*/ 23431 w 201263"/>
                <a:gd name="connsiteY2" fmla="*/ 210026 h 235648"/>
                <a:gd name="connsiteX3" fmla="*/ 6001 w 201263"/>
                <a:gd name="connsiteY3" fmla="*/ 180784 h 235648"/>
                <a:gd name="connsiteX4" fmla="*/ 0 w 201263"/>
                <a:gd name="connsiteY4" fmla="*/ 143256 h 235648"/>
                <a:gd name="connsiteX5" fmla="*/ 0 w 201263"/>
                <a:gd name="connsiteY5" fmla="*/ 0 h 235648"/>
                <a:gd name="connsiteX6" fmla="*/ 34385 w 201263"/>
                <a:gd name="connsiteY6" fmla="*/ 0 h 235648"/>
                <a:gd name="connsiteX7" fmla="*/ 34385 w 201263"/>
                <a:gd name="connsiteY7" fmla="*/ 134493 h 235648"/>
                <a:gd name="connsiteX8" fmla="*/ 50864 w 201263"/>
                <a:gd name="connsiteY8" fmla="*/ 185261 h 235648"/>
                <a:gd name="connsiteX9" fmla="*/ 98203 w 201263"/>
                <a:gd name="connsiteY9" fmla="*/ 203930 h 235648"/>
                <a:gd name="connsiteX10" fmla="*/ 125635 w 201263"/>
                <a:gd name="connsiteY10" fmla="*/ 198787 h 235648"/>
                <a:gd name="connsiteX11" fmla="*/ 147542 w 201263"/>
                <a:gd name="connsiteY11" fmla="*/ 184118 h 235648"/>
                <a:gd name="connsiteX12" fmla="*/ 162020 w 201263"/>
                <a:gd name="connsiteY12" fmla="*/ 161163 h 235648"/>
                <a:gd name="connsiteX13" fmla="*/ 167354 w 201263"/>
                <a:gd name="connsiteY13" fmla="*/ 131826 h 235648"/>
                <a:gd name="connsiteX14" fmla="*/ 167354 w 201263"/>
                <a:gd name="connsiteY14" fmla="*/ 0 h 235648"/>
                <a:gd name="connsiteX15" fmla="*/ 201263 w 201263"/>
                <a:gd name="connsiteY15" fmla="*/ 0 h 235648"/>
                <a:gd name="connsiteX16" fmla="*/ 201263 w 201263"/>
                <a:gd name="connsiteY16" fmla="*/ 230791 h 235648"/>
                <a:gd name="connsiteX17" fmla="*/ 167354 w 201263"/>
                <a:gd name="connsiteY17" fmla="*/ 230791 h 235648"/>
                <a:gd name="connsiteX18" fmla="*/ 167354 w 201263"/>
                <a:gd name="connsiteY18" fmla="*/ 190595 h 235648"/>
                <a:gd name="connsiteX19" fmla="*/ 136969 w 201263"/>
                <a:gd name="connsiteY19" fmla="*/ 222504 h 235648"/>
                <a:gd name="connsiteX20" fmla="*/ 88297 w 201263"/>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263" h="235648">
                  <a:moveTo>
                    <a:pt x="88392" y="235648"/>
                  </a:moveTo>
                  <a:cubicBezTo>
                    <a:pt x="74390" y="235648"/>
                    <a:pt x="62008" y="233363"/>
                    <a:pt x="51149" y="228981"/>
                  </a:cubicBezTo>
                  <a:cubicBezTo>
                    <a:pt x="40291" y="224504"/>
                    <a:pt x="31052" y="218218"/>
                    <a:pt x="23431"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864" y="185261"/>
                  </a:cubicBezTo>
                  <a:cubicBezTo>
                    <a:pt x="61913" y="197739"/>
                    <a:pt x="77629" y="203930"/>
                    <a:pt x="98203" y="203930"/>
                  </a:cubicBezTo>
                  <a:cubicBezTo>
                    <a:pt x="108014" y="203930"/>
                    <a:pt x="117158" y="202216"/>
                    <a:pt x="125635" y="198787"/>
                  </a:cubicBezTo>
                  <a:cubicBezTo>
                    <a:pt x="134112" y="195358"/>
                    <a:pt x="141351" y="190500"/>
                    <a:pt x="147542" y="184118"/>
                  </a:cubicBezTo>
                  <a:cubicBezTo>
                    <a:pt x="153638" y="177736"/>
                    <a:pt x="158496" y="170116"/>
                    <a:pt x="162020" y="161163"/>
                  </a:cubicBezTo>
                  <a:cubicBezTo>
                    <a:pt x="165640" y="152305"/>
                    <a:pt x="167354" y="142494"/>
                    <a:pt x="167354" y="131826"/>
                  </a:cubicBezTo>
                  <a:lnTo>
                    <a:pt x="167354" y="0"/>
                  </a:lnTo>
                  <a:lnTo>
                    <a:pt x="201263" y="0"/>
                  </a:lnTo>
                  <a:lnTo>
                    <a:pt x="201263" y="230791"/>
                  </a:lnTo>
                  <a:lnTo>
                    <a:pt x="167354" y="230791"/>
                  </a:lnTo>
                  <a:lnTo>
                    <a:pt x="167354" y="190595"/>
                  </a:lnTo>
                  <a:cubicBezTo>
                    <a:pt x="159639" y="203073"/>
                    <a:pt x="149447" y="213741"/>
                    <a:pt x="136969" y="222504"/>
                  </a:cubicBezTo>
                  <a:cubicBezTo>
                    <a:pt x="124492" y="231267"/>
                    <a:pt x="108299" y="235648"/>
                    <a:pt x="88297" y="235648"/>
                  </a:cubicBezTo>
                  <a:close/>
                </a:path>
              </a:pathLst>
            </a:custGeom>
            <a:solidFill>
              <a:srgbClr val="44505E"/>
            </a:solidFill>
            <a:ln w="9525" cap="flat">
              <a:noFill/>
              <a:prstDash val="solid"/>
              <a:miter/>
            </a:ln>
          </p:spPr>
          <p:txBody>
            <a:bodyPr rtlCol="0" anchor="ctr"/>
            <a:lstStyle/>
            <a:p>
              <a:endParaRPr lang="pt-BR" noProof="0"/>
            </a:p>
          </p:txBody>
        </p:sp>
        <p:sp>
          <p:nvSpPr>
            <p:cNvPr id="38" name="Freeform: Shape 37">
              <a:extLst>
                <a:ext uri="{FF2B5EF4-FFF2-40B4-BE49-F238E27FC236}">
                  <a16:creationId xmlns:a16="http://schemas.microsoft.com/office/drawing/2014/main" id="{14B335D0-7F6D-697E-BF5B-0A1E769C796F}"/>
                </a:ext>
              </a:extLst>
            </p:cNvPr>
            <p:cNvSpPr/>
            <p:nvPr/>
          </p:nvSpPr>
          <p:spPr>
            <a:xfrm>
              <a:off x="5522205" y="901353"/>
              <a:ext cx="58567" cy="83182"/>
            </a:xfrm>
            <a:custGeom>
              <a:avLst/>
              <a:gdLst>
                <a:gd name="connsiteX0" fmla="*/ 110204 w 232981"/>
                <a:gd name="connsiteY0" fmla="*/ 330898 h 330898"/>
                <a:gd name="connsiteX1" fmla="*/ 69628 w 232981"/>
                <a:gd name="connsiteY1" fmla="*/ 322897 h 330898"/>
                <a:gd name="connsiteX2" fmla="*/ 34385 w 232981"/>
                <a:gd name="connsiteY2" fmla="*/ 299466 h 330898"/>
                <a:gd name="connsiteX3" fmla="*/ 9334 w 232981"/>
                <a:gd name="connsiteY3" fmla="*/ 261938 h 330898"/>
                <a:gd name="connsiteX4" fmla="*/ 0 w 232981"/>
                <a:gd name="connsiteY4" fmla="*/ 211264 h 330898"/>
                <a:gd name="connsiteX5" fmla="*/ 0 w 232981"/>
                <a:gd name="connsiteY5" fmla="*/ 210407 h 330898"/>
                <a:gd name="connsiteX6" fmla="*/ 9334 w 232981"/>
                <a:gd name="connsiteY6" fmla="*/ 159925 h 330898"/>
                <a:gd name="connsiteX7" fmla="*/ 34385 w 232981"/>
                <a:gd name="connsiteY7" fmla="*/ 122206 h 330898"/>
                <a:gd name="connsiteX8" fmla="*/ 69628 w 232981"/>
                <a:gd name="connsiteY8" fmla="*/ 98488 h 330898"/>
                <a:gd name="connsiteX9" fmla="*/ 110204 w 232981"/>
                <a:gd name="connsiteY9" fmla="*/ 90202 h 330898"/>
                <a:gd name="connsiteX10" fmla="*/ 139636 w 232981"/>
                <a:gd name="connsiteY10" fmla="*/ 94202 h 330898"/>
                <a:gd name="connsiteX11" fmla="*/ 163735 w 232981"/>
                <a:gd name="connsiteY11" fmla="*/ 104870 h 330898"/>
                <a:gd name="connsiteX12" fmla="*/ 183166 w 232981"/>
                <a:gd name="connsiteY12" fmla="*/ 120491 h 330898"/>
                <a:gd name="connsiteX13" fmla="*/ 198596 w 232981"/>
                <a:gd name="connsiteY13" fmla="*/ 139255 h 330898"/>
                <a:gd name="connsiteX14" fmla="*/ 198596 w 232981"/>
                <a:gd name="connsiteY14" fmla="*/ 0 h 330898"/>
                <a:gd name="connsiteX15" fmla="*/ 232981 w 232981"/>
                <a:gd name="connsiteY15" fmla="*/ 0 h 330898"/>
                <a:gd name="connsiteX16" fmla="*/ 232981 w 232981"/>
                <a:gd name="connsiteY16" fmla="*/ 325850 h 330898"/>
                <a:gd name="connsiteX17" fmla="*/ 198596 w 232981"/>
                <a:gd name="connsiteY17" fmla="*/ 325850 h 330898"/>
                <a:gd name="connsiteX18" fmla="*/ 198596 w 232981"/>
                <a:gd name="connsiteY18" fmla="*/ 279463 h 330898"/>
                <a:gd name="connsiteX19" fmla="*/ 182785 w 232981"/>
                <a:gd name="connsiteY19" fmla="*/ 299085 h 330898"/>
                <a:gd name="connsiteX20" fmla="*/ 163354 w 232981"/>
                <a:gd name="connsiteY20" fmla="*/ 315658 h 330898"/>
                <a:gd name="connsiteX21" fmla="*/ 139446 w 232981"/>
                <a:gd name="connsiteY21" fmla="*/ 326803 h 330898"/>
                <a:gd name="connsiteX22" fmla="*/ 110204 w 232981"/>
                <a:gd name="connsiteY22" fmla="*/ 330803 h 330898"/>
                <a:gd name="connsiteX23" fmla="*/ 116491 w 232981"/>
                <a:gd name="connsiteY23" fmla="*/ 300133 h 330898"/>
                <a:gd name="connsiteX24" fmla="*/ 147542 w 232981"/>
                <a:gd name="connsiteY24" fmla="*/ 293656 h 330898"/>
                <a:gd name="connsiteX25" fmla="*/ 174307 w 232981"/>
                <a:gd name="connsiteY25" fmla="*/ 275368 h 330898"/>
                <a:gd name="connsiteX26" fmla="*/ 193072 w 232981"/>
                <a:gd name="connsiteY26" fmla="*/ 247269 h 330898"/>
                <a:gd name="connsiteX27" fmla="*/ 200025 w 232981"/>
                <a:gd name="connsiteY27" fmla="*/ 210883 h 330898"/>
                <a:gd name="connsiteX28" fmla="*/ 200025 w 232981"/>
                <a:gd name="connsiteY28" fmla="*/ 210026 h 330898"/>
                <a:gd name="connsiteX29" fmla="*/ 193072 w 232981"/>
                <a:gd name="connsiteY29" fmla="*/ 173641 h 330898"/>
                <a:gd name="connsiteX30" fmla="*/ 174307 w 232981"/>
                <a:gd name="connsiteY30" fmla="*/ 145732 h 330898"/>
                <a:gd name="connsiteX31" fmla="*/ 147542 w 232981"/>
                <a:gd name="connsiteY31" fmla="*/ 127635 h 330898"/>
                <a:gd name="connsiteX32" fmla="*/ 116491 w 232981"/>
                <a:gd name="connsiteY32" fmla="*/ 121158 h 330898"/>
                <a:gd name="connsiteX33" fmla="*/ 84772 w 232981"/>
                <a:gd name="connsiteY33" fmla="*/ 127159 h 330898"/>
                <a:gd name="connsiteX34" fmla="*/ 59150 w 232981"/>
                <a:gd name="connsiteY34" fmla="*/ 144589 h 330898"/>
                <a:gd name="connsiteX35" fmla="*/ 41719 w 232981"/>
                <a:gd name="connsiteY35" fmla="*/ 172498 h 330898"/>
                <a:gd name="connsiteX36" fmla="*/ 35242 w 232981"/>
                <a:gd name="connsiteY36" fmla="*/ 210026 h 330898"/>
                <a:gd name="connsiteX37" fmla="*/ 35242 w 232981"/>
                <a:gd name="connsiteY37" fmla="*/ 210883 h 330898"/>
                <a:gd name="connsiteX38" fmla="*/ 41719 w 232981"/>
                <a:gd name="connsiteY38" fmla="*/ 247936 h 330898"/>
                <a:gd name="connsiteX39" fmla="*/ 59341 w 232981"/>
                <a:gd name="connsiteY39" fmla="*/ 276034 h 330898"/>
                <a:gd name="connsiteX40" fmla="*/ 85249 w 232981"/>
                <a:gd name="connsiteY40" fmla="*/ 293941 h 330898"/>
                <a:gd name="connsiteX41" fmla="*/ 116491 w 23298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30898">
                  <a:moveTo>
                    <a:pt x="110204" y="330898"/>
                  </a:moveTo>
                  <a:cubicBezTo>
                    <a:pt x="96202" y="330898"/>
                    <a:pt x="82677" y="328231"/>
                    <a:pt x="69628" y="322897"/>
                  </a:cubicBezTo>
                  <a:cubicBezTo>
                    <a:pt x="56578" y="317563"/>
                    <a:pt x="44767" y="309753"/>
                    <a:pt x="34385" y="299466"/>
                  </a:cubicBezTo>
                  <a:cubicBezTo>
                    <a:pt x="24003" y="289179"/>
                    <a:pt x="15621" y="276701"/>
                    <a:pt x="9334" y="261938"/>
                  </a:cubicBezTo>
                  <a:cubicBezTo>
                    <a:pt x="3048" y="247174"/>
                    <a:pt x="0" y="230314"/>
                    <a:pt x="0" y="211264"/>
                  </a:cubicBezTo>
                  <a:lnTo>
                    <a:pt x="0" y="210407"/>
                  </a:lnTo>
                  <a:cubicBezTo>
                    <a:pt x="0" y="191643"/>
                    <a:pt x="3143" y="174879"/>
                    <a:pt x="9334" y="159925"/>
                  </a:cubicBezTo>
                  <a:cubicBezTo>
                    <a:pt x="15621" y="145066"/>
                    <a:pt x="23908" y="132493"/>
                    <a:pt x="34385" y="122206"/>
                  </a:cubicBezTo>
                  <a:cubicBezTo>
                    <a:pt x="44767" y="111919"/>
                    <a:pt x="56578" y="104013"/>
                    <a:pt x="69628" y="98488"/>
                  </a:cubicBezTo>
                  <a:cubicBezTo>
                    <a:pt x="82677" y="92964"/>
                    <a:pt x="96298" y="90202"/>
                    <a:pt x="110204" y="90202"/>
                  </a:cubicBezTo>
                  <a:cubicBezTo>
                    <a:pt x="120967" y="90202"/>
                    <a:pt x="130778" y="91535"/>
                    <a:pt x="139636" y="94202"/>
                  </a:cubicBezTo>
                  <a:cubicBezTo>
                    <a:pt x="148590" y="96869"/>
                    <a:pt x="156591" y="100489"/>
                    <a:pt x="163735" y="104870"/>
                  </a:cubicBezTo>
                  <a:cubicBezTo>
                    <a:pt x="170878" y="109347"/>
                    <a:pt x="177356" y="114586"/>
                    <a:pt x="183166" y="120491"/>
                  </a:cubicBezTo>
                  <a:cubicBezTo>
                    <a:pt x="188976" y="126492"/>
                    <a:pt x="194119" y="132683"/>
                    <a:pt x="198596" y="139255"/>
                  </a:cubicBezTo>
                  <a:lnTo>
                    <a:pt x="198596" y="0"/>
                  </a:lnTo>
                  <a:lnTo>
                    <a:pt x="232981" y="0"/>
                  </a:lnTo>
                  <a:lnTo>
                    <a:pt x="232981" y="325850"/>
                  </a:lnTo>
                  <a:lnTo>
                    <a:pt x="198596" y="325850"/>
                  </a:lnTo>
                  <a:lnTo>
                    <a:pt x="198596" y="279463"/>
                  </a:lnTo>
                  <a:cubicBezTo>
                    <a:pt x="193834" y="286321"/>
                    <a:pt x="188595" y="292894"/>
                    <a:pt x="182785" y="299085"/>
                  </a:cubicBezTo>
                  <a:cubicBezTo>
                    <a:pt x="176974" y="305371"/>
                    <a:pt x="170498" y="310896"/>
                    <a:pt x="163354" y="315658"/>
                  </a:cubicBezTo>
                  <a:cubicBezTo>
                    <a:pt x="156210" y="320421"/>
                    <a:pt x="148209" y="324136"/>
                    <a:pt x="139446" y="326803"/>
                  </a:cubicBezTo>
                  <a:cubicBezTo>
                    <a:pt x="130683" y="329470"/>
                    <a:pt x="120967" y="330803"/>
                    <a:pt x="110204" y="330803"/>
                  </a:cubicBezTo>
                  <a:close/>
                  <a:moveTo>
                    <a:pt x="116491" y="300133"/>
                  </a:moveTo>
                  <a:cubicBezTo>
                    <a:pt x="127159" y="300133"/>
                    <a:pt x="137541" y="297942"/>
                    <a:pt x="147542" y="293656"/>
                  </a:cubicBezTo>
                  <a:cubicBezTo>
                    <a:pt x="157544" y="289369"/>
                    <a:pt x="166402" y="283273"/>
                    <a:pt x="174307" y="275368"/>
                  </a:cubicBezTo>
                  <a:cubicBezTo>
                    <a:pt x="182213" y="267462"/>
                    <a:pt x="188404" y="258127"/>
                    <a:pt x="193072" y="247269"/>
                  </a:cubicBezTo>
                  <a:cubicBezTo>
                    <a:pt x="197644" y="236410"/>
                    <a:pt x="200025" y="224314"/>
                    <a:pt x="200025" y="210883"/>
                  </a:cubicBezTo>
                  <a:lnTo>
                    <a:pt x="200025" y="210026"/>
                  </a:lnTo>
                  <a:cubicBezTo>
                    <a:pt x="200025" y="196596"/>
                    <a:pt x="197739" y="184499"/>
                    <a:pt x="193072" y="173641"/>
                  </a:cubicBezTo>
                  <a:cubicBezTo>
                    <a:pt x="188500" y="162782"/>
                    <a:pt x="182213" y="153448"/>
                    <a:pt x="174307" y="145732"/>
                  </a:cubicBezTo>
                  <a:cubicBezTo>
                    <a:pt x="166402" y="138017"/>
                    <a:pt x="157448" y="132016"/>
                    <a:pt x="147542" y="127635"/>
                  </a:cubicBezTo>
                  <a:cubicBezTo>
                    <a:pt x="137541" y="123349"/>
                    <a:pt x="127254" y="121158"/>
                    <a:pt x="116491" y="121158"/>
                  </a:cubicBezTo>
                  <a:cubicBezTo>
                    <a:pt x="105156" y="121158"/>
                    <a:pt x="94583" y="123158"/>
                    <a:pt x="84772" y="127159"/>
                  </a:cubicBezTo>
                  <a:cubicBezTo>
                    <a:pt x="74962" y="131159"/>
                    <a:pt x="66389" y="136969"/>
                    <a:pt x="59150" y="144589"/>
                  </a:cubicBezTo>
                  <a:cubicBezTo>
                    <a:pt x="51816" y="152114"/>
                    <a:pt x="46101" y="161449"/>
                    <a:pt x="41719" y="172498"/>
                  </a:cubicBezTo>
                  <a:cubicBezTo>
                    <a:pt x="37433" y="183451"/>
                    <a:pt x="35242" y="196024"/>
                    <a:pt x="35242" y="210026"/>
                  </a:cubicBezTo>
                  <a:lnTo>
                    <a:pt x="35242" y="210883"/>
                  </a:lnTo>
                  <a:cubicBezTo>
                    <a:pt x="35242" y="224599"/>
                    <a:pt x="37433" y="236982"/>
                    <a:pt x="41719" y="247936"/>
                  </a:cubicBezTo>
                  <a:cubicBezTo>
                    <a:pt x="46006" y="258984"/>
                    <a:pt x="51911" y="268319"/>
                    <a:pt x="59341" y="276034"/>
                  </a:cubicBezTo>
                  <a:cubicBezTo>
                    <a:pt x="66770" y="283750"/>
                    <a:pt x="75438" y="289750"/>
                    <a:pt x="85249" y="293941"/>
                  </a:cubicBezTo>
                  <a:cubicBezTo>
                    <a:pt x="95059" y="298132"/>
                    <a:pt x="105442" y="300228"/>
                    <a:pt x="116491" y="300228"/>
                  </a:cubicBezTo>
                  <a:close/>
                </a:path>
              </a:pathLst>
            </a:custGeom>
            <a:solidFill>
              <a:srgbClr val="44505E"/>
            </a:solidFill>
            <a:ln w="9525" cap="flat">
              <a:noFill/>
              <a:prstDash val="solid"/>
              <a:miter/>
            </a:ln>
          </p:spPr>
          <p:txBody>
            <a:bodyPr rtlCol="0" anchor="ctr"/>
            <a:lstStyle/>
            <a:p>
              <a:endParaRPr lang="pt-BR" noProof="0"/>
            </a:p>
          </p:txBody>
        </p:sp>
        <p:sp>
          <p:nvSpPr>
            <p:cNvPr id="39" name="Freeform: Shape 38">
              <a:extLst>
                <a:ext uri="{FF2B5EF4-FFF2-40B4-BE49-F238E27FC236}">
                  <a16:creationId xmlns:a16="http://schemas.microsoft.com/office/drawing/2014/main" id="{3F7553E0-3438-A480-55C7-C61FA77E9CD0}"/>
                </a:ext>
              </a:extLst>
            </p:cNvPr>
            <p:cNvSpPr/>
            <p:nvPr/>
          </p:nvSpPr>
          <p:spPr>
            <a:xfrm>
              <a:off x="5596504"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6963 w 218217"/>
                <a:gd name="connsiteY3" fmla="*/ 206026 h 241077"/>
                <a:gd name="connsiteX4" fmla="*/ 116015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8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1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452 w 218217"/>
                <a:gd name="connsiteY25" fmla="*/ 106299 h 241077"/>
                <a:gd name="connsiteX26" fmla="*/ 176784 w 218217"/>
                <a:gd name="connsiteY26" fmla="*/ 76771 h 241077"/>
                <a:gd name="connsiteX27" fmla="*/ 162306 w 218217"/>
                <a:gd name="connsiteY27" fmla="*/ 52101 h 241077"/>
                <a:gd name="connsiteX28" fmla="*/ 140018 w 218217"/>
                <a:gd name="connsiteY28" fmla="*/ 35242 h 241077"/>
                <a:gd name="connsiteX29" fmla="*/ 109919 w 218217"/>
                <a:gd name="connsiteY29" fmla="*/ 29051 h 241077"/>
                <a:gd name="connsiteX30" fmla="*/ 82201 w 218217"/>
                <a:gd name="connsiteY30" fmla="*/ 34766 h 241077"/>
                <a:gd name="connsiteX31" fmla="*/ 59436 w 218217"/>
                <a:gd name="connsiteY31" fmla="*/ 50959 h 241077"/>
                <a:gd name="connsiteX32" fmla="*/ 43148 w 218217"/>
                <a:gd name="connsiteY32" fmla="*/ 75628 h 241077"/>
                <a:gd name="connsiteX33" fmla="*/ 34862 w 218217"/>
                <a:gd name="connsiteY33" fmla="*/ 106204 h 241077"/>
                <a:gd name="connsiteX34" fmla="*/ 183547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724" y="202597"/>
                    <a:pt x="86963" y="206026"/>
                  </a:cubicBezTo>
                  <a:cubicBezTo>
                    <a:pt x="96203" y="209455"/>
                    <a:pt x="105823" y="211169"/>
                    <a:pt x="116015" y="211169"/>
                  </a:cubicBezTo>
                  <a:cubicBezTo>
                    <a:pt x="132112" y="211169"/>
                    <a:pt x="145828" y="208216"/>
                    <a:pt x="157353" y="202216"/>
                  </a:cubicBezTo>
                  <a:cubicBezTo>
                    <a:pt x="168783" y="196310"/>
                    <a:pt x="179261" y="188404"/>
                    <a:pt x="188786" y="178594"/>
                  </a:cubicBezTo>
                  <a:lnTo>
                    <a:pt x="210217" y="197834"/>
                  </a:lnTo>
                  <a:cubicBezTo>
                    <a:pt x="198596" y="210979"/>
                    <a:pt x="185357" y="221361"/>
                    <a:pt x="170498" y="229267"/>
                  </a:cubicBezTo>
                  <a:cubicBezTo>
                    <a:pt x="155639"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679" y="0"/>
                    <a:pt x="110681"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452" y="106299"/>
                  </a:moveTo>
                  <a:cubicBezTo>
                    <a:pt x="182594" y="95917"/>
                    <a:pt x="180308" y="86106"/>
                    <a:pt x="176784" y="76771"/>
                  </a:cubicBezTo>
                  <a:cubicBezTo>
                    <a:pt x="173165" y="67437"/>
                    <a:pt x="168402" y="59245"/>
                    <a:pt x="162306" y="52101"/>
                  </a:cubicBezTo>
                  <a:cubicBezTo>
                    <a:pt x="156210" y="44958"/>
                    <a:pt x="148781" y="39338"/>
                    <a:pt x="140018" y="35242"/>
                  </a:cubicBezTo>
                  <a:cubicBezTo>
                    <a:pt x="131254" y="31147"/>
                    <a:pt x="121158" y="29051"/>
                    <a:pt x="109919" y="29051"/>
                  </a:cubicBezTo>
                  <a:cubicBezTo>
                    <a:pt x="100108" y="29051"/>
                    <a:pt x="90869" y="30956"/>
                    <a:pt x="82201" y="34766"/>
                  </a:cubicBezTo>
                  <a:cubicBezTo>
                    <a:pt x="73533" y="38671"/>
                    <a:pt x="66008" y="44005"/>
                    <a:pt x="59436" y="50959"/>
                  </a:cubicBezTo>
                  <a:cubicBezTo>
                    <a:pt x="52864" y="57912"/>
                    <a:pt x="47435" y="66103"/>
                    <a:pt x="43148" y="75628"/>
                  </a:cubicBezTo>
                  <a:cubicBezTo>
                    <a:pt x="38862" y="85058"/>
                    <a:pt x="36100" y="95345"/>
                    <a:pt x="34862" y="106204"/>
                  </a:cubicBezTo>
                  <a:lnTo>
                    <a:pt x="183547" y="106204"/>
                  </a:lnTo>
                  <a:close/>
                </a:path>
              </a:pathLst>
            </a:custGeom>
            <a:solidFill>
              <a:srgbClr val="44505E"/>
            </a:solidFill>
            <a:ln w="9525" cap="flat">
              <a:noFill/>
              <a:prstDash val="solid"/>
              <a:miter/>
            </a:ln>
          </p:spPr>
          <p:txBody>
            <a:bodyPr rtlCol="0" anchor="ctr"/>
            <a:lstStyle/>
            <a:p>
              <a:endParaRPr lang="pt-BR" noProof="0"/>
            </a:p>
          </p:txBody>
        </p:sp>
        <p:sp>
          <p:nvSpPr>
            <p:cNvPr id="40" name="Freeform: Shape 39">
              <a:extLst>
                <a:ext uri="{FF2B5EF4-FFF2-40B4-BE49-F238E27FC236}">
                  <a16:creationId xmlns:a16="http://schemas.microsoft.com/office/drawing/2014/main" id="{ABB3B440-6E4F-D12C-7F5B-F1553C0E6D17}"/>
                </a:ext>
              </a:extLst>
            </p:cNvPr>
            <p:cNvSpPr/>
            <p:nvPr/>
          </p:nvSpPr>
          <p:spPr>
            <a:xfrm>
              <a:off x="5661680" y="924268"/>
              <a:ext cx="44656" cy="60195"/>
            </a:xfrm>
            <a:custGeom>
              <a:avLst/>
              <a:gdLst>
                <a:gd name="connsiteX0" fmla="*/ 95536 w 177641"/>
                <a:gd name="connsiteY0" fmla="*/ 239268 h 239458"/>
                <a:gd name="connsiteX1" fmla="*/ 45053 w 177641"/>
                <a:gd name="connsiteY1" fmla="*/ 230124 h 239458"/>
                <a:gd name="connsiteX2" fmla="*/ 0 w 177641"/>
                <a:gd name="connsiteY2" fmla="*/ 205359 h 239458"/>
                <a:gd name="connsiteX3" fmla="*/ 17431 w 177641"/>
                <a:gd name="connsiteY3" fmla="*/ 180785 h 239458"/>
                <a:gd name="connsiteX4" fmla="*/ 56483 w 177641"/>
                <a:gd name="connsiteY4" fmla="*/ 202692 h 239458"/>
                <a:gd name="connsiteX5" fmla="*/ 97346 w 177641"/>
                <a:gd name="connsiteY5" fmla="*/ 210217 h 239458"/>
                <a:gd name="connsiteX6" fmla="*/ 131731 w 177641"/>
                <a:gd name="connsiteY6" fmla="*/ 200406 h 239458"/>
                <a:gd name="connsiteX7" fmla="*/ 145161 w 177641"/>
                <a:gd name="connsiteY7" fmla="*/ 173641 h 239458"/>
                <a:gd name="connsiteX8" fmla="*/ 145161 w 177641"/>
                <a:gd name="connsiteY8" fmla="*/ 172784 h 239458"/>
                <a:gd name="connsiteX9" fmla="*/ 140494 w 177641"/>
                <a:gd name="connsiteY9" fmla="*/ 158020 h 239458"/>
                <a:gd name="connsiteX10" fmla="*/ 127730 w 177641"/>
                <a:gd name="connsiteY10" fmla="*/ 147066 h 239458"/>
                <a:gd name="connsiteX11" fmla="*/ 109157 w 177641"/>
                <a:gd name="connsiteY11" fmla="*/ 138779 h 239458"/>
                <a:gd name="connsiteX12" fmla="*/ 87535 w 177641"/>
                <a:gd name="connsiteY12" fmla="*/ 132112 h 239458"/>
                <a:gd name="connsiteX13" fmla="*/ 60484 w 177641"/>
                <a:gd name="connsiteY13" fmla="*/ 123444 h 239458"/>
                <a:gd name="connsiteX14" fmla="*/ 35909 w 177641"/>
                <a:gd name="connsiteY14" fmla="*/ 111633 h 239458"/>
                <a:gd name="connsiteX15" fmla="*/ 18098 w 177641"/>
                <a:gd name="connsiteY15" fmla="*/ 93726 h 239458"/>
                <a:gd name="connsiteX16" fmla="*/ 11144 w 177641"/>
                <a:gd name="connsiteY16" fmla="*/ 66961 h 239458"/>
                <a:gd name="connsiteX17" fmla="*/ 11144 w 177641"/>
                <a:gd name="connsiteY17" fmla="*/ 66008 h 239458"/>
                <a:gd name="connsiteX18" fmla="*/ 16954 w 177641"/>
                <a:gd name="connsiteY18" fmla="*/ 39053 h 239458"/>
                <a:gd name="connsiteX19" fmla="*/ 33242 w 177641"/>
                <a:gd name="connsiteY19" fmla="*/ 18098 h 239458"/>
                <a:gd name="connsiteX20" fmla="*/ 58293 w 177641"/>
                <a:gd name="connsiteY20" fmla="*/ 4667 h 239458"/>
                <a:gd name="connsiteX21" fmla="*/ 89725 w 177641"/>
                <a:gd name="connsiteY21" fmla="*/ 0 h 239458"/>
                <a:gd name="connsiteX22" fmla="*/ 133064 w 177641"/>
                <a:gd name="connsiteY22" fmla="*/ 6953 h 239458"/>
                <a:gd name="connsiteX23" fmla="*/ 172784 w 177641"/>
                <a:gd name="connsiteY23" fmla="*/ 25527 h 239458"/>
                <a:gd name="connsiteX24" fmla="*/ 157163 w 177641"/>
                <a:gd name="connsiteY24" fmla="*/ 51435 h 239458"/>
                <a:gd name="connsiteX25" fmla="*/ 123444 w 177641"/>
                <a:gd name="connsiteY25" fmla="*/ 35147 h 239458"/>
                <a:gd name="connsiteX26" fmla="*/ 88868 w 177641"/>
                <a:gd name="connsiteY26" fmla="*/ 29146 h 239458"/>
                <a:gd name="connsiteX27" fmla="*/ 56293 w 177641"/>
                <a:gd name="connsiteY27" fmla="*/ 38767 h 239458"/>
                <a:gd name="connsiteX28" fmla="*/ 44196 w 177641"/>
                <a:gd name="connsiteY28" fmla="*/ 62675 h 239458"/>
                <a:gd name="connsiteX29" fmla="*/ 44196 w 177641"/>
                <a:gd name="connsiteY29" fmla="*/ 63627 h 239458"/>
                <a:gd name="connsiteX30" fmla="*/ 49149 w 177641"/>
                <a:gd name="connsiteY30" fmla="*/ 77724 h 239458"/>
                <a:gd name="connsiteX31" fmla="*/ 62294 w 177641"/>
                <a:gd name="connsiteY31" fmla="*/ 88202 h 239458"/>
                <a:gd name="connsiteX32" fmla="*/ 81248 w 177641"/>
                <a:gd name="connsiteY32" fmla="*/ 96203 h 239458"/>
                <a:gd name="connsiteX33" fmla="*/ 103537 w 177641"/>
                <a:gd name="connsiteY33" fmla="*/ 103346 h 239458"/>
                <a:gd name="connsiteX34" fmla="*/ 130112 w 177641"/>
                <a:gd name="connsiteY34" fmla="*/ 112300 h 239458"/>
                <a:gd name="connsiteX35" fmla="*/ 154019 w 177641"/>
                <a:gd name="connsiteY35" fmla="*/ 124778 h 239458"/>
                <a:gd name="connsiteX36" fmla="*/ 171164 w 177641"/>
                <a:gd name="connsiteY36" fmla="*/ 143066 h 239458"/>
                <a:gd name="connsiteX37" fmla="*/ 177641 w 177641"/>
                <a:gd name="connsiteY37" fmla="*/ 169450 h 239458"/>
                <a:gd name="connsiteX38" fmla="*/ 177641 w 177641"/>
                <a:gd name="connsiteY38" fmla="*/ 170307 h 239458"/>
                <a:gd name="connsiteX39" fmla="*/ 171164 w 177641"/>
                <a:gd name="connsiteY39" fmla="*/ 199549 h 239458"/>
                <a:gd name="connsiteX40" fmla="*/ 153734 w 177641"/>
                <a:gd name="connsiteY40" fmla="*/ 221171 h 239458"/>
                <a:gd name="connsiteX41" fmla="*/ 127825 w 177641"/>
                <a:gd name="connsiteY41" fmla="*/ 234791 h 239458"/>
                <a:gd name="connsiteX42" fmla="*/ 95441 w 177641"/>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641" h="239458">
                  <a:moveTo>
                    <a:pt x="95536" y="239268"/>
                  </a:moveTo>
                  <a:cubicBezTo>
                    <a:pt x="78867" y="239268"/>
                    <a:pt x="62008" y="236220"/>
                    <a:pt x="45053" y="230124"/>
                  </a:cubicBezTo>
                  <a:cubicBezTo>
                    <a:pt x="28099" y="224028"/>
                    <a:pt x="13049" y="215741"/>
                    <a:pt x="0" y="205359"/>
                  </a:cubicBezTo>
                  <a:lnTo>
                    <a:pt x="17431" y="180785"/>
                  </a:lnTo>
                  <a:cubicBezTo>
                    <a:pt x="29908"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542" y="162211"/>
                    <a:pt x="140494" y="158020"/>
                  </a:cubicBezTo>
                  <a:cubicBezTo>
                    <a:pt x="137350" y="153829"/>
                    <a:pt x="133160" y="150209"/>
                    <a:pt x="127730" y="147066"/>
                  </a:cubicBezTo>
                  <a:cubicBezTo>
                    <a:pt x="122396" y="143923"/>
                    <a:pt x="116205" y="141161"/>
                    <a:pt x="109157" y="138779"/>
                  </a:cubicBezTo>
                  <a:cubicBezTo>
                    <a:pt x="102203" y="136398"/>
                    <a:pt x="94964" y="134207"/>
                    <a:pt x="87535" y="132112"/>
                  </a:cubicBezTo>
                  <a:cubicBezTo>
                    <a:pt x="78581" y="129445"/>
                    <a:pt x="69628" y="126492"/>
                    <a:pt x="60484" y="123444"/>
                  </a:cubicBezTo>
                  <a:cubicBezTo>
                    <a:pt x="51435" y="120301"/>
                    <a:pt x="43244" y="116396"/>
                    <a:pt x="35909" y="111633"/>
                  </a:cubicBezTo>
                  <a:cubicBezTo>
                    <a:pt x="28575" y="106871"/>
                    <a:pt x="22670" y="100870"/>
                    <a:pt x="18098" y="93726"/>
                  </a:cubicBezTo>
                  <a:cubicBezTo>
                    <a:pt x="13525" y="86582"/>
                    <a:pt x="11144" y="77629"/>
                    <a:pt x="11144" y="66961"/>
                  </a:cubicBezTo>
                  <a:lnTo>
                    <a:pt x="11144" y="66008"/>
                  </a:lnTo>
                  <a:cubicBezTo>
                    <a:pt x="11144" y="56198"/>
                    <a:pt x="13049" y="47149"/>
                    <a:pt x="16954" y="39053"/>
                  </a:cubicBezTo>
                  <a:cubicBezTo>
                    <a:pt x="20860" y="30861"/>
                    <a:pt x="26289" y="23908"/>
                    <a:pt x="33242" y="18098"/>
                  </a:cubicBezTo>
                  <a:cubicBezTo>
                    <a:pt x="40196" y="12287"/>
                    <a:pt x="48578" y="7811"/>
                    <a:pt x="58293" y="4667"/>
                  </a:cubicBezTo>
                  <a:cubicBezTo>
                    <a:pt x="67913" y="1524"/>
                    <a:pt x="78486" y="0"/>
                    <a:pt x="89725" y="0"/>
                  </a:cubicBezTo>
                  <a:cubicBezTo>
                    <a:pt x="104013" y="0"/>
                    <a:pt x="118396" y="2286"/>
                    <a:pt x="133064" y="6953"/>
                  </a:cubicBezTo>
                  <a:cubicBezTo>
                    <a:pt x="147638" y="11621"/>
                    <a:pt x="160877" y="17717"/>
                    <a:pt x="172784" y="25527"/>
                  </a:cubicBezTo>
                  <a:lnTo>
                    <a:pt x="157163" y="51435"/>
                  </a:lnTo>
                  <a:cubicBezTo>
                    <a:pt x="146399" y="44577"/>
                    <a:pt x="135255" y="39148"/>
                    <a:pt x="123444" y="35147"/>
                  </a:cubicBezTo>
                  <a:cubicBezTo>
                    <a:pt x="111728" y="31147"/>
                    <a:pt x="100203" y="29146"/>
                    <a:pt x="88868" y="29146"/>
                  </a:cubicBezTo>
                  <a:cubicBezTo>
                    <a:pt x="75152" y="29146"/>
                    <a:pt x="64294" y="32385"/>
                    <a:pt x="56293" y="38767"/>
                  </a:cubicBezTo>
                  <a:cubicBezTo>
                    <a:pt x="48292" y="45149"/>
                    <a:pt x="44196" y="53150"/>
                    <a:pt x="44196" y="62675"/>
                  </a:cubicBezTo>
                  <a:lnTo>
                    <a:pt x="44196" y="63627"/>
                  </a:lnTo>
                  <a:cubicBezTo>
                    <a:pt x="44196" y="68961"/>
                    <a:pt x="45815" y="73628"/>
                    <a:pt x="49149" y="77724"/>
                  </a:cubicBezTo>
                  <a:cubicBezTo>
                    <a:pt x="52388" y="81725"/>
                    <a:pt x="56769" y="85249"/>
                    <a:pt x="62294" y="88202"/>
                  </a:cubicBezTo>
                  <a:cubicBezTo>
                    <a:pt x="67818" y="91154"/>
                    <a:pt x="74104" y="93821"/>
                    <a:pt x="81248" y="96203"/>
                  </a:cubicBezTo>
                  <a:cubicBezTo>
                    <a:pt x="88392" y="98584"/>
                    <a:pt x="95821" y="100965"/>
                    <a:pt x="103537" y="103346"/>
                  </a:cubicBezTo>
                  <a:cubicBezTo>
                    <a:pt x="112490" y="106013"/>
                    <a:pt x="121349" y="108966"/>
                    <a:pt x="130112" y="112300"/>
                  </a:cubicBezTo>
                  <a:cubicBezTo>
                    <a:pt x="138875" y="115538"/>
                    <a:pt x="146875" y="119729"/>
                    <a:pt x="154019" y="124778"/>
                  </a:cubicBezTo>
                  <a:cubicBezTo>
                    <a:pt x="161163" y="129826"/>
                    <a:pt x="166878" y="135922"/>
                    <a:pt x="171164" y="143066"/>
                  </a:cubicBezTo>
                  <a:cubicBezTo>
                    <a:pt x="175450" y="150209"/>
                    <a:pt x="177641" y="158972"/>
                    <a:pt x="177641" y="169450"/>
                  </a:cubicBezTo>
                  <a:lnTo>
                    <a:pt x="177641" y="170307"/>
                  </a:lnTo>
                  <a:cubicBezTo>
                    <a:pt x="177641" y="181356"/>
                    <a:pt x="175450" y="191071"/>
                    <a:pt x="171164" y="199549"/>
                  </a:cubicBezTo>
                  <a:cubicBezTo>
                    <a:pt x="166878" y="208026"/>
                    <a:pt x="161068" y="215265"/>
                    <a:pt x="153734" y="221171"/>
                  </a:cubicBezTo>
                  <a:cubicBezTo>
                    <a:pt x="146495" y="227171"/>
                    <a:pt x="137827" y="231648"/>
                    <a:pt x="127825" y="234791"/>
                  </a:cubicBezTo>
                  <a:cubicBezTo>
                    <a:pt x="117824" y="237935"/>
                    <a:pt x="107061" y="239459"/>
                    <a:pt x="95441" y="239459"/>
                  </a:cubicBezTo>
                  <a:close/>
                </a:path>
              </a:pathLst>
            </a:custGeom>
            <a:solidFill>
              <a:srgbClr val="44505E"/>
            </a:solidFill>
            <a:ln w="9525" cap="flat">
              <a:noFill/>
              <a:prstDash val="solid"/>
              <a:miter/>
            </a:ln>
          </p:spPr>
          <p:txBody>
            <a:bodyPr rtlCol="0" anchor="ctr"/>
            <a:lstStyle/>
            <a:p>
              <a:endParaRPr lang="pt-BR" noProof="0"/>
            </a:p>
          </p:txBody>
        </p:sp>
        <p:sp>
          <p:nvSpPr>
            <p:cNvPr id="41" name="Freeform: Shape 40">
              <a:extLst>
                <a:ext uri="{FF2B5EF4-FFF2-40B4-BE49-F238E27FC236}">
                  <a16:creationId xmlns:a16="http://schemas.microsoft.com/office/drawing/2014/main" id="{6A9524D5-425E-31F5-5C33-DB2FD5F2C159}"/>
                </a:ext>
              </a:extLst>
            </p:cNvPr>
            <p:cNvSpPr/>
            <p:nvPr/>
          </p:nvSpPr>
          <p:spPr>
            <a:xfrm>
              <a:off x="5752668" y="924028"/>
              <a:ext cx="58567" cy="77196"/>
            </a:xfrm>
            <a:custGeom>
              <a:avLst/>
              <a:gdLst>
                <a:gd name="connsiteX0" fmla="*/ 198596 w 232981"/>
                <a:gd name="connsiteY0" fmla="*/ 189357 h 307085"/>
                <a:gd name="connsiteX1" fmla="*/ 182785 w 232981"/>
                <a:gd name="connsiteY1" fmla="*/ 208978 h 307085"/>
                <a:gd name="connsiteX2" fmla="*/ 163354 w 232981"/>
                <a:gd name="connsiteY2" fmla="*/ 225552 h 307085"/>
                <a:gd name="connsiteX3" fmla="*/ 139446 w 232981"/>
                <a:gd name="connsiteY3" fmla="*/ 236696 h 307085"/>
                <a:gd name="connsiteX4" fmla="*/ 110204 w 232981"/>
                <a:gd name="connsiteY4" fmla="*/ 240697 h 307085"/>
                <a:gd name="connsiteX5" fmla="*/ 69628 w 232981"/>
                <a:gd name="connsiteY5" fmla="*/ 232696 h 307085"/>
                <a:gd name="connsiteX6" fmla="*/ 34385 w 232981"/>
                <a:gd name="connsiteY6" fmla="*/ 209264 h 307085"/>
                <a:gd name="connsiteX7" fmla="*/ 9335 w 232981"/>
                <a:gd name="connsiteY7" fmla="*/ 171736 h 307085"/>
                <a:gd name="connsiteX8" fmla="*/ 0 w 232981"/>
                <a:gd name="connsiteY8" fmla="*/ 121063 h 307085"/>
                <a:gd name="connsiteX9" fmla="*/ 0 w 232981"/>
                <a:gd name="connsiteY9" fmla="*/ 120205 h 307085"/>
                <a:gd name="connsiteX10" fmla="*/ 9335 w 232981"/>
                <a:gd name="connsiteY10" fmla="*/ 69723 h 307085"/>
                <a:gd name="connsiteX11" fmla="*/ 34385 w 232981"/>
                <a:gd name="connsiteY11" fmla="*/ 32004 h 307085"/>
                <a:gd name="connsiteX12" fmla="*/ 69628 w 232981"/>
                <a:gd name="connsiteY12" fmla="*/ 8287 h 307085"/>
                <a:gd name="connsiteX13" fmla="*/ 110204 w 232981"/>
                <a:gd name="connsiteY13" fmla="*/ 0 h 307085"/>
                <a:gd name="connsiteX14" fmla="*/ 139637 w 232981"/>
                <a:gd name="connsiteY14" fmla="*/ 4000 h 307085"/>
                <a:gd name="connsiteX15" fmla="*/ 163735 w 232981"/>
                <a:gd name="connsiteY15" fmla="*/ 14668 h 307085"/>
                <a:gd name="connsiteX16" fmla="*/ 183166 w 232981"/>
                <a:gd name="connsiteY16" fmla="*/ 30289 h 307085"/>
                <a:gd name="connsiteX17" fmla="*/ 198596 w 232981"/>
                <a:gd name="connsiteY17" fmla="*/ 49054 h 307085"/>
                <a:gd name="connsiteX18" fmla="*/ 198596 w 232981"/>
                <a:gd name="connsiteY18" fmla="*/ 4858 h 307085"/>
                <a:gd name="connsiteX19" fmla="*/ 232982 w 232981"/>
                <a:gd name="connsiteY19" fmla="*/ 4858 h 307085"/>
                <a:gd name="connsiteX20" fmla="*/ 232982 w 232981"/>
                <a:gd name="connsiteY20" fmla="*/ 307086 h 307085"/>
                <a:gd name="connsiteX21" fmla="*/ 198596 w 232981"/>
                <a:gd name="connsiteY21" fmla="*/ 307086 h 307085"/>
                <a:gd name="connsiteX22" fmla="*/ 198596 w 232981"/>
                <a:gd name="connsiteY22" fmla="*/ 189262 h 307085"/>
                <a:gd name="connsiteX23" fmla="*/ 116491 w 232981"/>
                <a:gd name="connsiteY23" fmla="*/ 209931 h 307085"/>
                <a:gd name="connsiteX24" fmla="*/ 147542 w 232981"/>
                <a:gd name="connsiteY24" fmla="*/ 203454 h 307085"/>
                <a:gd name="connsiteX25" fmla="*/ 174308 w 232981"/>
                <a:gd name="connsiteY25" fmla="*/ 185166 h 307085"/>
                <a:gd name="connsiteX26" fmla="*/ 193072 w 232981"/>
                <a:gd name="connsiteY26" fmla="*/ 157067 h 307085"/>
                <a:gd name="connsiteX27" fmla="*/ 200025 w 232981"/>
                <a:gd name="connsiteY27" fmla="*/ 120682 h 307085"/>
                <a:gd name="connsiteX28" fmla="*/ 200025 w 232981"/>
                <a:gd name="connsiteY28" fmla="*/ 119824 h 307085"/>
                <a:gd name="connsiteX29" fmla="*/ 193072 w 232981"/>
                <a:gd name="connsiteY29" fmla="*/ 83439 h 307085"/>
                <a:gd name="connsiteX30" fmla="*/ 174308 w 232981"/>
                <a:gd name="connsiteY30" fmla="*/ 55531 h 307085"/>
                <a:gd name="connsiteX31" fmla="*/ 147542 w 232981"/>
                <a:gd name="connsiteY31" fmla="*/ 37433 h 307085"/>
                <a:gd name="connsiteX32" fmla="*/ 116491 w 232981"/>
                <a:gd name="connsiteY32" fmla="*/ 30956 h 307085"/>
                <a:gd name="connsiteX33" fmla="*/ 84773 w 232981"/>
                <a:gd name="connsiteY33" fmla="*/ 36957 h 307085"/>
                <a:gd name="connsiteX34" fmla="*/ 59150 w 232981"/>
                <a:gd name="connsiteY34" fmla="*/ 54388 h 307085"/>
                <a:gd name="connsiteX35" fmla="*/ 41720 w 232981"/>
                <a:gd name="connsiteY35" fmla="*/ 82296 h 307085"/>
                <a:gd name="connsiteX36" fmla="*/ 35242 w 232981"/>
                <a:gd name="connsiteY36" fmla="*/ 119824 h 307085"/>
                <a:gd name="connsiteX37" fmla="*/ 35242 w 232981"/>
                <a:gd name="connsiteY37" fmla="*/ 120682 h 307085"/>
                <a:gd name="connsiteX38" fmla="*/ 41720 w 232981"/>
                <a:gd name="connsiteY38" fmla="*/ 157734 h 307085"/>
                <a:gd name="connsiteX39" fmla="*/ 59341 w 232981"/>
                <a:gd name="connsiteY39" fmla="*/ 185833 h 307085"/>
                <a:gd name="connsiteX40" fmla="*/ 85249 w 232981"/>
                <a:gd name="connsiteY40" fmla="*/ 203740 h 307085"/>
                <a:gd name="connsiteX41" fmla="*/ 116491 w 232981"/>
                <a:gd name="connsiteY41" fmla="*/ 210026 h 30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07085">
                  <a:moveTo>
                    <a:pt x="198596" y="189357"/>
                  </a:moveTo>
                  <a:cubicBezTo>
                    <a:pt x="193834" y="196215"/>
                    <a:pt x="188595" y="202787"/>
                    <a:pt x="182785" y="208978"/>
                  </a:cubicBezTo>
                  <a:cubicBezTo>
                    <a:pt x="176975" y="215265"/>
                    <a:pt x="170498" y="220789"/>
                    <a:pt x="163354" y="225552"/>
                  </a:cubicBezTo>
                  <a:cubicBezTo>
                    <a:pt x="156210" y="230314"/>
                    <a:pt x="148209" y="234029"/>
                    <a:pt x="139446" y="236696"/>
                  </a:cubicBezTo>
                  <a:cubicBezTo>
                    <a:pt x="130683" y="239363"/>
                    <a:pt x="120967" y="240697"/>
                    <a:pt x="110204" y="240697"/>
                  </a:cubicBezTo>
                  <a:cubicBezTo>
                    <a:pt x="96203" y="240697"/>
                    <a:pt x="82677" y="238030"/>
                    <a:pt x="69628" y="232696"/>
                  </a:cubicBezTo>
                  <a:cubicBezTo>
                    <a:pt x="56579" y="227362"/>
                    <a:pt x="44767" y="219551"/>
                    <a:pt x="34385" y="209264"/>
                  </a:cubicBezTo>
                  <a:cubicBezTo>
                    <a:pt x="24003" y="198977"/>
                    <a:pt x="15621" y="186499"/>
                    <a:pt x="9335" y="171736"/>
                  </a:cubicBezTo>
                  <a:cubicBezTo>
                    <a:pt x="3048" y="156972"/>
                    <a:pt x="0" y="140113"/>
                    <a:pt x="0" y="121063"/>
                  </a:cubicBezTo>
                  <a:lnTo>
                    <a:pt x="0" y="120205"/>
                  </a:lnTo>
                  <a:cubicBezTo>
                    <a:pt x="0" y="101441"/>
                    <a:pt x="3143" y="84677"/>
                    <a:pt x="9335" y="69723"/>
                  </a:cubicBezTo>
                  <a:cubicBezTo>
                    <a:pt x="15621" y="54864"/>
                    <a:pt x="23908" y="42291"/>
                    <a:pt x="34385" y="32004"/>
                  </a:cubicBezTo>
                  <a:cubicBezTo>
                    <a:pt x="44767" y="21717"/>
                    <a:pt x="56579" y="13811"/>
                    <a:pt x="69628" y="8287"/>
                  </a:cubicBezTo>
                  <a:cubicBezTo>
                    <a:pt x="82677" y="2762"/>
                    <a:pt x="96298" y="0"/>
                    <a:pt x="110204" y="0"/>
                  </a:cubicBezTo>
                  <a:cubicBezTo>
                    <a:pt x="120967" y="0"/>
                    <a:pt x="130778" y="1333"/>
                    <a:pt x="139637" y="4000"/>
                  </a:cubicBezTo>
                  <a:cubicBezTo>
                    <a:pt x="148590" y="6667"/>
                    <a:pt x="156591" y="10287"/>
                    <a:pt x="163735" y="14668"/>
                  </a:cubicBezTo>
                  <a:cubicBezTo>
                    <a:pt x="170879" y="19145"/>
                    <a:pt x="177356" y="24384"/>
                    <a:pt x="183166" y="30289"/>
                  </a:cubicBezTo>
                  <a:cubicBezTo>
                    <a:pt x="188976" y="36290"/>
                    <a:pt x="194120" y="42481"/>
                    <a:pt x="198596" y="49054"/>
                  </a:cubicBezTo>
                  <a:lnTo>
                    <a:pt x="198596" y="4858"/>
                  </a:lnTo>
                  <a:lnTo>
                    <a:pt x="232982" y="4858"/>
                  </a:lnTo>
                  <a:lnTo>
                    <a:pt x="232982" y="307086"/>
                  </a:lnTo>
                  <a:lnTo>
                    <a:pt x="198596" y="307086"/>
                  </a:lnTo>
                  <a:lnTo>
                    <a:pt x="198596" y="189262"/>
                  </a:lnTo>
                  <a:close/>
                  <a:moveTo>
                    <a:pt x="116491" y="209931"/>
                  </a:moveTo>
                  <a:cubicBezTo>
                    <a:pt x="127159" y="209931"/>
                    <a:pt x="137541" y="207740"/>
                    <a:pt x="147542" y="203454"/>
                  </a:cubicBezTo>
                  <a:cubicBezTo>
                    <a:pt x="157544" y="199168"/>
                    <a:pt x="166402" y="193072"/>
                    <a:pt x="174308" y="185166"/>
                  </a:cubicBezTo>
                  <a:cubicBezTo>
                    <a:pt x="182213" y="177260"/>
                    <a:pt x="188404" y="167926"/>
                    <a:pt x="193072" y="157067"/>
                  </a:cubicBezTo>
                  <a:cubicBezTo>
                    <a:pt x="197739" y="146209"/>
                    <a:pt x="200025" y="134112"/>
                    <a:pt x="200025" y="120682"/>
                  </a:cubicBezTo>
                  <a:lnTo>
                    <a:pt x="200025" y="119824"/>
                  </a:lnTo>
                  <a:cubicBezTo>
                    <a:pt x="200025" y="106394"/>
                    <a:pt x="197739" y="94297"/>
                    <a:pt x="193072" y="83439"/>
                  </a:cubicBezTo>
                  <a:cubicBezTo>
                    <a:pt x="188500" y="72580"/>
                    <a:pt x="182213" y="63246"/>
                    <a:pt x="174308" y="55531"/>
                  </a:cubicBezTo>
                  <a:cubicBezTo>
                    <a:pt x="166402" y="47815"/>
                    <a:pt x="157544" y="41815"/>
                    <a:pt x="147542" y="37433"/>
                  </a:cubicBezTo>
                  <a:cubicBezTo>
                    <a:pt x="137541" y="33147"/>
                    <a:pt x="127254" y="30956"/>
                    <a:pt x="116491" y="30956"/>
                  </a:cubicBezTo>
                  <a:cubicBezTo>
                    <a:pt x="105156" y="30956"/>
                    <a:pt x="94583" y="32956"/>
                    <a:pt x="84773" y="36957"/>
                  </a:cubicBezTo>
                  <a:cubicBezTo>
                    <a:pt x="74962" y="40957"/>
                    <a:pt x="66389" y="46767"/>
                    <a:pt x="59150" y="54388"/>
                  </a:cubicBezTo>
                  <a:cubicBezTo>
                    <a:pt x="51816" y="61913"/>
                    <a:pt x="46101" y="71247"/>
                    <a:pt x="41720" y="82296"/>
                  </a:cubicBezTo>
                  <a:cubicBezTo>
                    <a:pt x="37433" y="93250"/>
                    <a:pt x="35242" y="105823"/>
                    <a:pt x="35242" y="119824"/>
                  </a:cubicBezTo>
                  <a:lnTo>
                    <a:pt x="35242" y="120682"/>
                  </a:lnTo>
                  <a:cubicBezTo>
                    <a:pt x="35242" y="134398"/>
                    <a:pt x="37433" y="146780"/>
                    <a:pt x="41720" y="157734"/>
                  </a:cubicBezTo>
                  <a:cubicBezTo>
                    <a:pt x="46006" y="168783"/>
                    <a:pt x="51911" y="178117"/>
                    <a:pt x="59341" y="185833"/>
                  </a:cubicBezTo>
                  <a:cubicBezTo>
                    <a:pt x="66770" y="193548"/>
                    <a:pt x="75438" y="199549"/>
                    <a:pt x="85249" y="203740"/>
                  </a:cubicBezTo>
                  <a:cubicBezTo>
                    <a:pt x="95060" y="207931"/>
                    <a:pt x="105442" y="210026"/>
                    <a:pt x="116491" y="210026"/>
                  </a:cubicBezTo>
                  <a:close/>
                </a:path>
              </a:pathLst>
            </a:custGeom>
            <a:solidFill>
              <a:srgbClr val="44505E"/>
            </a:solidFill>
            <a:ln w="9525" cap="flat">
              <a:noFill/>
              <a:prstDash val="solid"/>
              <a:miter/>
            </a:ln>
          </p:spPr>
          <p:txBody>
            <a:bodyPr rtlCol="0" anchor="ctr"/>
            <a:lstStyle/>
            <a:p>
              <a:endParaRPr lang="pt-BR" noProof="0"/>
            </a:p>
          </p:txBody>
        </p:sp>
        <p:sp>
          <p:nvSpPr>
            <p:cNvPr id="42" name="Freeform: Shape 41">
              <a:extLst>
                <a:ext uri="{FF2B5EF4-FFF2-40B4-BE49-F238E27FC236}">
                  <a16:creationId xmlns:a16="http://schemas.microsoft.com/office/drawing/2014/main" id="{5FE59096-94C6-F482-008D-3FDFE6288921}"/>
                </a:ext>
              </a:extLst>
            </p:cNvPr>
            <p:cNvSpPr/>
            <p:nvPr/>
          </p:nvSpPr>
          <p:spPr>
            <a:xfrm>
              <a:off x="5829624" y="925297"/>
              <a:ext cx="50618" cy="59238"/>
            </a:xfrm>
            <a:custGeom>
              <a:avLst/>
              <a:gdLst>
                <a:gd name="connsiteX0" fmla="*/ 88392 w 201358"/>
                <a:gd name="connsiteY0" fmla="*/ 235648 h 235648"/>
                <a:gd name="connsiteX1" fmla="*/ 51149 w 201358"/>
                <a:gd name="connsiteY1" fmla="*/ 228981 h 235648"/>
                <a:gd name="connsiteX2" fmla="*/ 23432 w 201358"/>
                <a:gd name="connsiteY2" fmla="*/ 210026 h 235648"/>
                <a:gd name="connsiteX3" fmla="*/ 6001 w 201358"/>
                <a:gd name="connsiteY3" fmla="*/ 180784 h 235648"/>
                <a:gd name="connsiteX4" fmla="*/ 0 w 201358"/>
                <a:gd name="connsiteY4" fmla="*/ 143256 h 235648"/>
                <a:gd name="connsiteX5" fmla="*/ 0 w 201358"/>
                <a:gd name="connsiteY5" fmla="*/ 0 h 235648"/>
                <a:gd name="connsiteX6" fmla="*/ 34385 w 201358"/>
                <a:gd name="connsiteY6" fmla="*/ 0 h 235648"/>
                <a:gd name="connsiteX7" fmla="*/ 34385 w 201358"/>
                <a:gd name="connsiteY7" fmla="*/ 134493 h 235648"/>
                <a:gd name="connsiteX8" fmla="*/ 50959 w 201358"/>
                <a:gd name="connsiteY8" fmla="*/ 185261 h 235648"/>
                <a:gd name="connsiteX9" fmla="*/ 98298 w 201358"/>
                <a:gd name="connsiteY9" fmla="*/ 203930 h 235648"/>
                <a:gd name="connsiteX10" fmla="*/ 125730 w 201358"/>
                <a:gd name="connsiteY10" fmla="*/ 198787 h 235648"/>
                <a:gd name="connsiteX11" fmla="*/ 147638 w 201358"/>
                <a:gd name="connsiteY11" fmla="*/ 184118 h 235648"/>
                <a:gd name="connsiteX12" fmla="*/ 162116 w 201358"/>
                <a:gd name="connsiteY12" fmla="*/ 161163 h 235648"/>
                <a:gd name="connsiteX13" fmla="*/ 167450 w 201358"/>
                <a:gd name="connsiteY13" fmla="*/ 131826 h 235648"/>
                <a:gd name="connsiteX14" fmla="*/ 167450 w 201358"/>
                <a:gd name="connsiteY14" fmla="*/ 0 h 235648"/>
                <a:gd name="connsiteX15" fmla="*/ 201359 w 201358"/>
                <a:gd name="connsiteY15" fmla="*/ 0 h 235648"/>
                <a:gd name="connsiteX16" fmla="*/ 201359 w 201358"/>
                <a:gd name="connsiteY16" fmla="*/ 230791 h 235648"/>
                <a:gd name="connsiteX17" fmla="*/ 167450 w 201358"/>
                <a:gd name="connsiteY17" fmla="*/ 230791 h 235648"/>
                <a:gd name="connsiteX18" fmla="*/ 167450 w 201358"/>
                <a:gd name="connsiteY18" fmla="*/ 190595 h 235648"/>
                <a:gd name="connsiteX19" fmla="*/ 137065 w 201358"/>
                <a:gd name="connsiteY19" fmla="*/ 222504 h 235648"/>
                <a:gd name="connsiteX20" fmla="*/ 88392 w 201358"/>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358" h="235648">
                  <a:moveTo>
                    <a:pt x="88392" y="235648"/>
                  </a:moveTo>
                  <a:cubicBezTo>
                    <a:pt x="74390" y="235648"/>
                    <a:pt x="62008" y="233363"/>
                    <a:pt x="51149" y="228981"/>
                  </a:cubicBezTo>
                  <a:cubicBezTo>
                    <a:pt x="40291" y="224504"/>
                    <a:pt x="31052" y="218218"/>
                    <a:pt x="23432"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959" y="185261"/>
                  </a:cubicBezTo>
                  <a:cubicBezTo>
                    <a:pt x="61913" y="197739"/>
                    <a:pt x="77724" y="203930"/>
                    <a:pt x="98298" y="203930"/>
                  </a:cubicBezTo>
                  <a:cubicBezTo>
                    <a:pt x="108109" y="203930"/>
                    <a:pt x="117253" y="202216"/>
                    <a:pt x="125730" y="198787"/>
                  </a:cubicBezTo>
                  <a:cubicBezTo>
                    <a:pt x="134207" y="195358"/>
                    <a:pt x="141446" y="190500"/>
                    <a:pt x="147638" y="184118"/>
                  </a:cubicBezTo>
                  <a:cubicBezTo>
                    <a:pt x="153734" y="177736"/>
                    <a:pt x="158591" y="170116"/>
                    <a:pt x="162116" y="161163"/>
                  </a:cubicBezTo>
                  <a:cubicBezTo>
                    <a:pt x="165735" y="152305"/>
                    <a:pt x="167450" y="142494"/>
                    <a:pt x="167450" y="131826"/>
                  </a:cubicBezTo>
                  <a:lnTo>
                    <a:pt x="167450" y="0"/>
                  </a:lnTo>
                  <a:lnTo>
                    <a:pt x="201359" y="0"/>
                  </a:lnTo>
                  <a:lnTo>
                    <a:pt x="201359" y="230791"/>
                  </a:lnTo>
                  <a:lnTo>
                    <a:pt x="167450" y="230791"/>
                  </a:lnTo>
                  <a:lnTo>
                    <a:pt x="167450" y="190595"/>
                  </a:lnTo>
                  <a:cubicBezTo>
                    <a:pt x="159734" y="203073"/>
                    <a:pt x="149543" y="213741"/>
                    <a:pt x="137065" y="222504"/>
                  </a:cubicBezTo>
                  <a:cubicBezTo>
                    <a:pt x="124587" y="231267"/>
                    <a:pt x="108395" y="235648"/>
                    <a:pt x="88392" y="235648"/>
                  </a:cubicBezTo>
                  <a:close/>
                </a:path>
              </a:pathLst>
            </a:custGeom>
            <a:solidFill>
              <a:srgbClr val="44505E"/>
            </a:solidFill>
            <a:ln w="9525" cap="flat">
              <a:noFill/>
              <a:prstDash val="solid"/>
              <a:miter/>
            </a:ln>
          </p:spPr>
          <p:txBody>
            <a:bodyPr rtlCol="0" anchor="ctr"/>
            <a:lstStyle/>
            <a:p>
              <a:endParaRPr lang="pt-BR" noProof="0"/>
            </a:p>
          </p:txBody>
        </p:sp>
        <p:sp>
          <p:nvSpPr>
            <p:cNvPr id="43" name="Freeform: Shape 42">
              <a:extLst>
                <a:ext uri="{FF2B5EF4-FFF2-40B4-BE49-F238E27FC236}">
                  <a16:creationId xmlns:a16="http://schemas.microsoft.com/office/drawing/2014/main" id="{48B91C0E-5E48-E0D5-BECD-EFCB21230EF1}"/>
                </a:ext>
              </a:extLst>
            </p:cNvPr>
            <p:cNvSpPr/>
            <p:nvPr/>
          </p:nvSpPr>
          <p:spPr>
            <a:xfrm>
              <a:off x="5896069"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7059 w 218217"/>
                <a:gd name="connsiteY3" fmla="*/ 206026 h 241077"/>
                <a:gd name="connsiteX4" fmla="*/ 116110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7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0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356 w 218217"/>
                <a:gd name="connsiteY25" fmla="*/ 106299 h 241077"/>
                <a:gd name="connsiteX26" fmla="*/ 176689 w 218217"/>
                <a:gd name="connsiteY26" fmla="*/ 76771 h 241077"/>
                <a:gd name="connsiteX27" fmla="*/ 162211 w 218217"/>
                <a:gd name="connsiteY27" fmla="*/ 52101 h 241077"/>
                <a:gd name="connsiteX28" fmla="*/ 139922 w 218217"/>
                <a:gd name="connsiteY28" fmla="*/ 35242 h 241077"/>
                <a:gd name="connsiteX29" fmla="*/ 109823 w 218217"/>
                <a:gd name="connsiteY29" fmla="*/ 29051 h 241077"/>
                <a:gd name="connsiteX30" fmla="*/ 82105 w 218217"/>
                <a:gd name="connsiteY30" fmla="*/ 34766 h 241077"/>
                <a:gd name="connsiteX31" fmla="*/ 59341 w 218217"/>
                <a:gd name="connsiteY31" fmla="*/ 50959 h 241077"/>
                <a:gd name="connsiteX32" fmla="*/ 43053 w 218217"/>
                <a:gd name="connsiteY32" fmla="*/ 75628 h 241077"/>
                <a:gd name="connsiteX33" fmla="*/ 34766 w 218217"/>
                <a:gd name="connsiteY33" fmla="*/ 106204 h 241077"/>
                <a:gd name="connsiteX34" fmla="*/ 183356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819" y="202597"/>
                    <a:pt x="87059" y="206026"/>
                  </a:cubicBezTo>
                  <a:cubicBezTo>
                    <a:pt x="96298" y="209455"/>
                    <a:pt x="105918" y="211169"/>
                    <a:pt x="116110" y="211169"/>
                  </a:cubicBezTo>
                  <a:cubicBezTo>
                    <a:pt x="132207" y="211169"/>
                    <a:pt x="145923" y="208216"/>
                    <a:pt x="157353" y="202216"/>
                  </a:cubicBezTo>
                  <a:cubicBezTo>
                    <a:pt x="168783" y="196310"/>
                    <a:pt x="179261" y="188404"/>
                    <a:pt x="188786" y="178594"/>
                  </a:cubicBezTo>
                  <a:lnTo>
                    <a:pt x="210217" y="197834"/>
                  </a:lnTo>
                  <a:cubicBezTo>
                    <a:pt x="198596" y="210979"/>
                    <a:pt x="185356" y="221361"/>
                    <a:pt x="170497" y="229267"/>
                  </a:cubicBezTo>
                  <a:cubicBezTo>
                    <a:pt x="155638"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583" y="0"/>
                    <a:pt x="110680"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356" y="106299"/>
                  </a:moveTo>
                  <a:cubicBezTo>
                    <a:pt x="182499" y="95917"/>
                    <a:pt x="180213" y="86106"/>
                    <a:pt x="176689" y="76771"/>
                  </a:cubicBezTo>
                  <a:cubicBezTo>
                    <a:pt x="173069" y="67437"/>
                    <a:pt x="168307" y="59245"/>
                    <a:pt x="162211" y="52101"/>
                  </a:cubicBezTo>
                  <a:cubicBezTo>
                    <a:pt x="156115" y="44958"/>
                    <a:pt x="148685" y="39338"/>
                    <a:pt x="139922" y="35242"/>
                  </a:cubicBezTo>
                  <a:cubicBezTo>
                    <a:pt x="131159" y="31147"/>
                    <a:pt x="121063" y="29051"/>
                    <a:pt x="109823" y="29051"/>
                  </a:cubicBezTo>
                  <a:cubicBezTo>
                    <a:pt x="100013" y="29051"/>
                    <a:pt x="90773" y="30956"/>
                    <a:pt x="82105" y="34766"/>
                  </a:cubicBezTo>
                  <a:cubicBezTo>
                    <a:pt x="73438" y="38671"/>
                    <a:pt x="65913" y="44005"/>
                    <a:pt x="59341" y="50959"/>
                  </a:cubicBezTo>
                  <a:cubicBezTo>
                    <a:pt x="52769" y="57912"/>
                    <a:pt x="47339" y="66103"/>
                    <a:pt x="43053" y="75628"/>
                  </a:cubicBezTo>
                  <a:cubicBezTo>
                    <a:pt x="38767" y="85058"/>
                    <a:pt x="36004" y="95345"/>
                    <a:pt x="34766" y="106204"/>
                  </a:cubicBezTo>
                  <a:lnTo>
                    <a:pt x="183356" y="106204"/>
                  </a:lnTo>
                  <a:close/>
                </a:path>
              </a:pathLst>
            </a:custGeom>
            <a:solidFill>
              <a:srgbClr val="44505E"/>
            </a:solidFill>
            <a:ln w="9525" cap="flat">
              <a:noFill/>
              <a:prstDash val="solid"/>
              <a:miter/>
            </a:ln>
          </p:spPr>
          <p:txBody>
            <a:bodyPr rtlCol="0" anchor="ctr"/>
            <a:lstStyle/>
            <a:p>
              <a:endParaRPr lang="pt-BR" noProof="0"/>
            </a:p>
          </p:txBody>
        </p:sp>
        <p:sp>
          <p:nvSpPr>
            <p:cNvPr id="44" name="Freeform: Shape 43">
              <a:extLst>
                <a:ext uri="{FF2B5EF4-FFF2-40B4-BE49-F238E27FC236}">
                  <a16:creationId xmlns:a16="http://schemas.microsoft.com/office/drawing/2014/main" id="{234C7C40-AE1B-7144-3067-167FAE1ECCFE}"/>
                </a:ext>
              </a:extLst>
            </p:cNvPr>
            <p:cNvSpPr/>
            <p:nvPr/>
          </p:nvSpPr>
          <p:spPr>
            <a:xfrm>
              <a:off x="5994910" y="924268"/>
              <a:ext cx="44680" cy="60195"/>
            </a:xfrm>
            <a:custGeom>
              <a:avLst/>
              <a:gdLst>
                <a:gd name="connsiteX0" fmla="*/ 95536 w 177736"/>
                <a:gd name="connsiteY0" fmla="*/ 239268 h 239458"/>
                <a:gd name="connsiteX1" fmla="*/ 45053 w 177736"/>
                <a:gd name="connsiteY1" fmla="*/ 230124 h 239458"/>
                <a:gd name="connsiteX2" fmla="*/ 0 w 177736"/>
                <a:gd name="connsiteY2" fmla="*/ 205359 h 239458"/>
                <a:gd name="connsiteX3" fmla="*/ 17431 w 177736"/>
                <a:gd name="connsiteY3" fmla="*/ 180785 h 239458"/>
                <a:gd name="connsiteX4" fmla="*/ 56483 w 177736"/>
                <a:gd name="connsiteY4" fmla="*/ 202692 h 239458"/>
                <a:gd name="connsiteX5" fmla="*/ 97346 w 177736"/>
                <a:gd name="connsiteY5" fmla="*/ 210217 h 239458"/>
                <a:gd name="connsiteX6" fmla="*/ 131731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730 w 177736"/>
                <a:gd name="connsiteY10" fmla="*/ 147066 h 239458"/>
                <a:gd name="connsiteX11" fmla="*/ 109252 w 177736"/>
                <a:gd name="connsiteY11" fmla="*/ 138779 h 239458"/>
                <a:gd name="connsiteX12" fmla="*/ 87630 w 177736"/>
                <a:gd name="connsiteY12" fmla="*/ 132112 h 239458"/>
                <a:gd name="connsiteX13" fmla="*/ 60674 w 177736"/>
                <a:gd name="connsiteY13" fmla="*/ 123444 h 239458"/>
                <a:gd name="connsiteX14" fmla="*/ 36100 w 177736"/>
                <a:gd name="connsiteY14" fmla="*/ 111633 h 239458"/>
                <a:gd name="connsiteX15" fmla="*/ 18193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60 w 177736"/>
                <a:gd name="connsiteY22" fmla="*/ 6953 h 239458"/>
                <a:gd name="connsiteX23" fmla="*/ 172879 w 177736"/>
                <a:gd name="connsiteY23" fmla="*/ 25527 h 239458"/>
                <a:gd name="connsiteX24" fmla="*/ 157258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4 w 177736"/>
                <a:gd name="connsiteY32" fmla="*/ 96203 h 239458"/>
                <a:gd name="connsiteX33" fmla="*/ 103632 w 177736"/>
                <a:gd name="connsiteY33" fmla="*/ 103346 h 239458"/>
                <a:gd name="connsiteX34" fmla="*/ 130207 w 177736"/>
                <a:gd name="connsiteY34" fmla="*/ 112300 h 239458"/>
                <a:gd name="connsiteX35" fmla="*/ 154114 w 177736"/>
                <a:gd name="connsiteY35" fmla="*/ 124778 h 239458"/>
                <a:gd name="connsiteX36" fmla="*/ 171260 w 177736"/>
                <a:gd name="connsiteY36" fmla="*/ 143066 h 239458"/>
                <a:gd name="connsiteX37" fmla="*/ 177737 w 177736"/>
                <a:gd name="connsiteY37" fmla="*/ 169450 h 239458"/>
                <a:gd name="connsiteX38" fmla="*/ 177737 w 177736"/>
                <a:gd name="connsiteY38" fmla="*/ 170307 h 239458"/>
                <a:gd name="connsiteX39" fmla="*/ 171260 w 177736"/>
                <a:gd name="connsiteY39" fmla="*/ 199549 h 239458"/>
                <a:gd name="connsiteX40" fmla="*/ 153829 w 177736"/>
                <a:gd name="connsiteY40" fmla="*/ 221171 h 239458"/>
                <a:gd name="connsiteX41" fmla="*/ 127921 w 177736"/>
                <a:gd name="connsiteY41" fmla="*/ 234791 h 239458"/>
                <a:gd name="connsiteX42" fmla="*/ 95536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6" y="239268"/>
                  </a:moveTo>
                  <a:cubicBezTo>
                    <a:pt x="78867" y="239268"/>
                    <a:pt x="62008" y="236220"/>
                    <a:pt x="45053" y="230124"/>
                  </a:cubicBezTo>
                  <a:cubicBezTo>
                    <a:pt x="28099" y="224028"/>
                    <a:pt x="13049" y="215741"/>
                    <a:pt x="0" y="205359"/>
                  </a:cubicBezTo>
                  <a:lnTo>
                    <a:pt x="17431" y="180785"/>
                  </a:lnTo>
                  <a:cubicBezTo>
                    <a:pt x="29909"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637" y="162211"/>
                    <a:pt x="140494" y="158020"/>
                  </a:cubicBezTo>
                  <a:cubicBezTo>
                    <a:pt x="137351" y="153829"/>
                    <a:pt x="133160" y="150209"/>
                    <a:pt x="127730" y="147066"/>
                  </a:cubicBezTo>
                  <a:cubicBezTo>
                    <a:pt x="122396" y="143923"/>
                    <a:pt x="116205" y="141161"/>
                    <a:pt x="109252" y="138779"/>
                  </a:cubicBezTo>
                  <a:cubicBezTo>
                    <a:pt x="102299" y="136398"/>
                    <a:pt x="95060" y="134207"/>
                    <a:pt x="87630" y="132112"/>
                  </a:cubicBezTo>
                  <a:cubicBezTo>
                    <a:pt x="78677" y="129445"/>
                    <a:pt x="69723" y="126492"/>
                    <a:pt x="60674" y="123444"/>
                  </a:cubicBezTo>
                  <a:cubicBezTo>
                    <a:pt x="51626" y="120301"/>
                    <a:pt x="43434" y="116396"/>
                    <a:pt x="36100" y="111633"/>
                  </a:cubicBezTo>
                  <a:cubicBezTo>
                    <a:pt x="28766" y="106871"/>
                    <a:pt x="22860" y="100870"/>
                    <a:pt x="18193" y="93726"/>
                  </a:cubicBezTo>
                  <a:cubicBezTo>
                    <a:pt x="13621" y="86582"/>
                    <a:pt x="11239" y="77629"/>
                    <a:pt x="11239" y="66961"/>
                  </a:cubicBezTo>
                  <a:lnTo>
                    <a:pt x="11239" y="66008"/>
                  </a:lnTo>
                  <a:cubicBezTo>
                    <a:pt x="11239" y="56198"/>
                    <a:pt x="13145" y="47149"/>
                    <a:pt x="17050" y="39053"/>
                  </a:cubicBezTo>
                  <a:cubicBezTo>
                    <a:pt x="20860" y="30861"/>
                    <a:pt x="26289" y="23908"/>
                    <a:pt x="33338" y="18098"/>
                  </a:cubicBezTo>
                  <a:cubicBezTo>
                    <a:pt x="40291" y="12287"/>
                    <a:pt x="48673" y="7811"/>
                    <a:pt x="58388" y="4667"/>
                  </a:cubicBezTo>
                  <a:cubicBezTo>
                    <a:pt x="68009" y="1524"/>
                    <a:pt x="78581" y="0"/>
                    <a:pt x="89821" y="0"/>
                  </a:cubicBezTo>
                  <a:cubicBezTo>
                    <a:pt x="104108" y="0"/>
                    <a:pt x="118491" y="2286"/>
                    <a:pt x="133160" y="6953"/>
                  </a:cubicBezTo>
                  <a:cubicBezTo>
                    <a:pt x="147733" y="11621"/>
                    <a:pt x="160972" y="17717"/>
                    <a:pt x="172879" y="25527"/>
                  </a:cubicBezTo>
                  <a:lnTo>
                    <a:pt x="157258" y="51435"/>
                  </a:lnTo>
                  <a:cubicBezTo>
                    <a:pt x="146495" y="44577"/>
                    <a:pt x="135350" y="39148"/>
                    <a:pt x="123539" y="35147"/>
                  </a:cubicBezTo>
                  <a:cubicBezTo>
                    <a:pt x="111824" y="31147"/>
                    <a:pt x="100298" y="29146"/>
                    <a:pt x="88963" y="29146"/>
                  </a:cubicBezTo>
                  <a:cubicBezTo>
                    <a:pt x="75247" y="29146"/>
                    <a:pt x="64389" y="32385"/>
                    <a:pt x="56388" y="38767"/>
                  </a:cubicBezTo>
                  <a:cubicBezTo>
                    <a:pt x="48387" y="45149"/>
                    <a:pt x="44291" y="53150"/>
                    <a:pt x="44291" y="62675"/>
                  </a:cubicBezTo>
                  <a:lnTo>
                    <a:pt x="44291" y="63627"/>
                  </a:lnTo>
                  <a:cubicBezTo>
                    <a:pt x="44291" y="68961"/>
                    <a:pt x="45911" y="73628"/>
                    <a:pt x="49244" y="77724"/>
                  </a:cubicBezTo>
                  <a:cubicBezTo>
                    <a:pt x="52483" y="81725"/>
                    <a:pt x="56960" y="85249"/>
                    <a:pt x="62389" y="88202"/>
                  </a:cubicBezTo>
                  <a:cubicBezTo>
                    <a:pt x="67913" y="91154"/>
                    <a:pt x="74200" y="93821"/>
                    <a:pt x="81344" y="96203"/>
                  </a:cubicBezTo>
                  <a:cubicBezTo>
                    <a:pt x="88487" y="98584"/>
                    <a:pt x="95917" y="100965"/>
                    <a:pt x="103632" y="103346"/>
                  </a:cubicBezTo>
                  <a:cubicBezTo>
                    <a:pt x="112586" y="106013"/>
                    <a:pt x="121444" y="108966"/>
                    <a:pt x="130207" y="112300"/>
                  </a:cubicBezTo>
                  <a:cubicBezTo>
                    <a:pt x="138970" y="115538"/>
                    <a:pt x="146971" y="119729"/>
                    <a:pt x="154114" y="124778"/>
                  </a:cubicBezTo>
                  <a:cubicBezTo>
                    <a:pt x="161258" y="129826"/>
                    <a:pt x="166973" y="135922"/>
                    <a:pt x="171260" y="143066"/>
                  </a:cubicBezTo>
                  <a:cubicBezTo>
                    <a:pt x="175546" y="150209"/>
                    <a:pt x="177737" y="158972"/>
                    <a:pt x="177737" y="169450"/>
                  </a:cubicBezTo>
                  <a:lnTo>
                    <a:pt x="177737" y="170307"/>
                  </a:lnTo>
                  <a:cubicBezTo>
                    <a:pt x="177737" y="181356"/>
                    <a:pt x="175546" y="191071"/>
                    <a:pt x="171260" y="199549"/>
                  </a:cubicBezTo>
                  <a:cubicBezTo>
                    <a:pt x="166973" y="208026"/>
                    <a:pt x="161163" y="215265"/>
                    <a:pt x="153829" y="221171"/>
                  </a:cubicBezTo>
                  <a:cubicBezTo>
                    <a:pt x="146495" y="227171"/>
                    <a:pt x="137922" y="231648"/>
                    <a:pt x="127921" y="234791"/>
                  </a:cubicBezTo>
                  <a:cubicBezTo>
                    <a:pt x="117920" y="237935"/>
                    <a:pt x="107156" y="239459"/>
                    <a:pt x="95536" y="239459"/>
                  </a:cubicBezTo>
                  <a:close/>
                </a:path>
              </a:pathLst>
            </a:custGeom>
            <a:solidFill>
              <a:srgbClr val="44505E"/>
            </a:solidFill>
            <a:ln w="9525" cap="flat">
              <a:noFill/>
              <a:prstDash val="solid"/>
              <a:miter/>
            </a:ln>
          </p:spPr>
          <p:txBody>
            <a:bodyPr rtlCol="0" anchor="ctr"/>
            <a:lstStyle/>
            <a:p>
              <a:endParaRPr lang="pt-BR" noProof="0"/>
            </a:p>
          </p:txBody>
        </p:sp>
        <p:sp>
          <p:nvSpPr>
            <p:cNvPr id="45" name="Freeform: Shape 44">
              <a:extLst>
                <a:ext uri="{FF2B5EF4-FFF2-40B4-BE49-F238E27FC236}">
                  <a16:creationId xmlns:a16="http://schemas.microsoft.com/office/drawing/2014/main" id="{080E57A9-F7B3-2A20-6DAB-EF94727D9FCC}"/>
                </a:ext>
              </a:extLst>
            </p:cNvPr>
            <p:cNvSpPr/>
            <p:nvPr/>
          </p:nvSpPr>
          <p:spPr>
            <a:xfrm>
              <a:off x="605122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4 w 202977"/>
                <a:gd name="connsiteY30" fmla="*/ 174593 h 239267"/>
                <a:gd name="connsiteX31" fmla="*/ 169735 w 202977"/>
                <a:gd name="connsiteY31" fmla="*/ 149447 h 239267"/>
                <a:gd name="connsiteX32" fmla="*/ 169735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0" y="90964"/>
                    <a:pt x="98584" y="90964"/>
                  </a:cubicBezTo>
                  <a:cubicBezTo>
                    <a:pt x="113157" y="90964"/>
                    <a:pt x="126301"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1" y="33147"/>
                    <a:pt x="63436" y="36100"/>
                  </a:cubicBezTo>
                  <a:cubicBezTo>
                    <a:pt x="52292" y="39053"/>
                    <a:pt x="41338" y="43053"/>
                    <a:pt x="30671" y="48196"/>
                  </a:cubicBezTo>
                  <a:lnTo>
                    <a:pt x="20383" y="19907"/>
                  </a:lnTo>
                  <a:cubicBezTo>
                    <a:pt x="33147" y="13906"/>
                    <a:pt x="46101" y="9049"/>
                    <a:pt x="59246" y="5429"/>
                  </a:cubicBezTo>
                  <a:cubicBezTo>
                    <a:pt x="72295"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1" y="239173"/>
                  </a:cubicBezTo>
                  <a:close/>
                  <a:moveTo>
                    <a:pt x="93154" y="211169"/>
                  </a:moveTo>
                  <a:cubicBezTo>
                    <a:pt x="103822" y="211169"/>
                    <a:pt x="113728" y="209740"/>
                    <a:pt x="122967" y="206788"/>
                  </a:cubicBezTo>
                  <a:cubicBezTo>
                    <a:pt x="132207" y="203835"/>
                    <a:pt x="140208" y="199644"/>
                    <a:pt x="147256" y="194120"/>
                  </a:cubicBezTo>
                  <a:cubicBezTo>
                    <a:pt x="154209" y="188595"/>
                    <a:pt x="159734" y="182118"/>
                    <a:pt x="163734" y="174593"/>
                  </a:cubicBezTo>
                  <a:cubicBezTo>
                    <a:pt x="167735" y="167068"/>
                    <a:pt x="169735" y="158687"/>
                    <a:pt x="169735" y="149447"/>
                  </a:cubicBezTo>
                  <a:lnTo>
                    <a:pt x="169735" y="128111"/>
                  </a:lnTo>
                  <a:cubicBezTo>
                    <a:pt x="161163" y="125730"/>
                    <a:pt x="151352" y="123539"/>
                    <a:pt x="140398" y="121444"/>
                  </a:cubicBezTo>
                  <a:cubicBezTo>
                    <a:pt x="129445" y="119348"/>
                    <a:pt x="116872"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46" name="Freeform: Shape 45">
              <a:extLst>
                <a:ext uri="{FF2B5EF4-FFF2-40B4-BE49-F238E27FC236}">
                  <a16:creationId xmlns:a16="http://schemas.microsoft.com/office/drawing/2014/main" id="{25E9BB61-E9AD-10D5-BD7D-F75C13D0FF4A}"/>
                </a:ext>
              </a:extLst>
            </p:cNvPr>
            <p:cNvSpPr/>
            <p:nvPr/>
          </p:nvSpPr>
          <p:spPr>
            <a:xfrm>
              <a:off x="6121359" y="901377"/>
              <a:ext cx="8644" cy="81913"/>
            </a:xfrm>
            <a:custGeom>
              <a:avLst/>
              <a:gdLst>
                <a:gd name="connsiteX0" fmla="*/ 0 w 34385"/>
                <a:gd name="connsiteY0" fmla="*/ 0 h 325850"/>
                <a:gd name="connsiteX1" fmla="*/ 34385 w 34385"/>
                <a:gd name="connsiteY1" fmla="*/ 0 h 325850"/>
                <a:gd name="connsiteX2" fmla="*/ 34385 w 34385"/>
                <a:gd name="connsiteY2" fmla="*/ 325850 h 325850"/>
                <a:gd name="connsiteX3" fmla="*/ 0 w 34385"/>
                <a:gd name="connsiteY3" fmla="*/ 325850 h 325850"/>
                <a:gd name="connsiteX4" fmla="*/ 0 w 34385"/>
                <a:gd name="connsiteY4" fmla="*/ 0 h 32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 h="325850">
                  <a:moveTo>
                    <a:pt x="0" y="0"/>
                  </a:moveTo>
                  <a:lnTo>
                    <a:pt x="34385" y="0"/>
                  </a:lnTo>
                  <a:lnTo>
                    <a:pt x="34385" y="325850"/>
                  </a:lnTo>
                  <a:lnTo>
                    <a:pt x="0" y="325850"/>
                  </a:lnTo>
                  <a:lnTo>
                    <a:pt x="0" y="0"/>
                  </a:lnTo>
                  <a:close/>
                </a:path>
              </a:pathLst>
            </a:custGeom>
            <a:solidFill>
              <a:srgbClr val="44505E"/>
            </a:solidFill>
            <a:ln w="9525" cap="flat">
              <a:noFill/>
              <a:prstDash val="solid"/>
              <a:miter/>
            </a:ln>
          </p:spPr>
          <p:txBody>
            <a:bodyPr rtlCol="0" anchor="ctr"/>
            <a:lstStyle/>
            <a:p>
              <a:endParaRPr lang="pt-BR" noProof="0"/>
            </a:p>
          </p:txBody>
        </p:sp>
        <p:sp>
          <p:nvSpPr>
            <p:cNvPr id="47" name="Freeform: Shape 46">
              <a:extLst>
                <a:ext uri="{FF2B5EF4-FFF2-40B4-BE49-F238E27FC236}">
                  <a16:creationId xmlns:a16="http://schemas.microsoft.com/office/drawing/2014/main" id="{EC4231C0-F5F3-B5DE-B597-B54C23348E4D}"/>
                </a:ext>
              </a:extLst>
            </p:cNvPr>
            <p:cNvSpPr/>
            <p:nvPr/>
          </p:nvSpPr>
          <p:spPr>
            <a:xfrm>
              <a:off x="6144346" y="925273"/>
              <a:ext cx="58016" cy="58448"/>
            </a:xfrm>
            <a:custGeom>
              <a:avLst/>
              <a:gdLst>
                <a:gd name="connsiteX0" fmla="*/ 95 w 230790"/>
                <a:gd name="connsiteY0" fmla="*/ 0 h 232505"/>
                <a:gd name="connsiteX1" fmla="*/ 38005 w 230790"/>
                <a:gd name="connsiteY1" fmla="*/ 0 h 232505"/>
                <a:gd name="connsiteX2" fmla="*/ 115634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4"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48" name="Freeform: Shape 47">
              <a:extLst>
                <a:ext uri="{FF2B5EF4-FFF2-40B4-BE49-F238E27FC236}">
                  <a16:creationId xmlns:a16="http://schemas.microsoft.com/office/drawing/2014/main" id="{3C774624-7A88-80EA-485B-E621F06A6ABE}"/>
                </a:ext>
              </a:extLst>
            </p:cNvPr>
            <p:cNvSpPr/>
            <p:nvPr/>
          </p:nvSpPr>
          <p:spPr>
            <a:xfrm>
              <a:off x="621155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8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338 w 202977"/>
                <a:gd name="connsiteY36" fmla="*/ 164497 h 239267"/>
                <a:gd name="connsiteX37" fmla="*/ 35338 w 202977"/>
                <a:gd name="connsiteY37" fmla="*/ 165449 h 239267"/>
                <a:gd name="connsiteX38" fmla="*/ 40005 w 202977"/>
                <a:gd name="connsiteY38" fmla="*/ 184785 h 239267"/>
                <a:gd name="connsiteX39" fmla="*/ 52673 w 202977"/>
                <a:gd name="connsiteY39" fmla="*/ 199263 h 239267"/>
                <a:gd name="connsiteX40" fmla="*/ 71152 w 202977"/>
                <a:gd name="connsiteY40" fmla="*/ 208121 h 239267"/>
                <a:gd name="connsiteX41" fmla="*/ 93154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438" y="239268"/>
                    <a:pt x="64961"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1" y="90964"/>
                    <a:pt x="98584" y="90964"/>
                  </a:cubicBezTo>
                  <a:cubicBezTo>
                    <a:pt x="113157" y="90964"/>
                    <a:pt x="126302" y="91821"/>
                    <a:pt x="137160" y="93631"/>
                  </a:cubicBezTo>
                  <a:cubicBezTo>
                    <a:pt x="148019" y="95440"/>
                    <a:pt x="158687" y="97822"/>
                    <a:pt x="169069" y="100774"/>
                  </a:cubicBezTo>
                  <a:lnTo>
                    <a:pt x="169069" y="93726"/>
                  </a:lnTo>
                  <a:cubicBezTo>
                    <a:pt x="169069" y="73342"/>
                    <a:pt x="163068" y="57912"/>
                    <a:pt x="151162" y="47339"/>
                  </a:cubicBezTo>
                  <a:cubicBezTo>
                    <a:pt x="139255" y="36862"/>
                    <a:pt x="122491" y="31623"/>
                    <a:pt x="100679" y="31623"/>
                  </a:cubicBezTo>
                  <a:cubicBezTo>
                    <a:pt x="86963" y="31623"/>
                    <a:pt x="74581" y="33147"/>
                    <a:pt x="63437" y="36100"/>
                  </a:cubicBezTo>
                  <a:cubicBezTo>
                    <a:pt x="52292" y="39053"/>
                    <a:pt x="41338" y="43053"/>
                    <a:pt x="30671" y="48196"/>
                  </a:cubicBezTo>
                  <a:lnTo>
                    <a:pt x="20383" y="19907"/>
                  </a:lnTo>
                  <a:cubicBezTo>
                    <a:pt x="33147" y="13906"/>
                    <a:pt x="46101" y="9049"/>
                    <a:pt x="59246" y="5429"/>
                  </a:cubicBezTo>
                  <a:cubicBezTo>
                    <a:pt x="72390"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04" y="239173"/>
                    <a:pt x="86011" y="239173"/>
                  </a:cubicBezTo>
                  <a:close/>
                  <a:moveTo>
                    <a:pt x="93154" y="211169"/>
                  </a:moveTo>
                  <a:cubicBezTo>
                    <a:pt x="103822" y="211169"/>
                    <a:pt x="113824" y="209740"/>
                    <a:pt x="122968" y="206788"/>
                  </a:cubicBezTo>
                  <a:cubicBezTo>
                    <a:pt x="132112"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5" y="119348"/>
                    <a:pt x="116777" y="118300"/>
                    <a:pt x="102584" y="118300"/>
                  </a:cubicBezTo>
                  <a:cubicBezTo>
                    <a:pt x="81248" y="118300"/>
                    <a:pt x="64675" y="122491"/>
                    <a:pt x="52959" y="130969"/>
                  </a:cubicBezTo>
                  <a:cubicBezTo>
                    <a:pt x="41243" y="139446"/>
                    <a:pt x="35338" y="150590"/>
                    <a:pt x="35338" y="164497"/>
                  </a:cubicBezTo>
                  <a:lnTo>
                    <a:pt x="35338" y="165449"/>
                  </a:lnTo>
                  <a:cubicBezTo>
                    <a:pt x="35338" y="172498"/>
                    <a:pt x="36862" y="178975"/>
                    <a:pt x="40005" y="184785"/>
                  </a:cubicBezTo>
                  <a:cubicBezTo>
                    <a:pt x="43148" y="190500"/>
                    <a:pt x="47339" y="195358"/>
                    <a:pt x="52673" y="199263"/>
                  </a:cubicBezTo>
                  <a:cubicBezTo>
                    <a:pt x="58007" y="203073"/>
                    <a:pt x="64198" y="206026"/>
                    <a:pt x="71152" y="208121"/>
                  </a:cubicBezTo>
                  <a:cubicBezTo>
                    <a:pt x="78105" y="210217"/>
                    <a:pt x="85439" y="211169"/>
                    <a:pt x="93154" y="211169"/>
                  </a:cubicBezTo>
                  <a:close/>
                </a:path>
              </a:pathLst>
            </a:custGeom>
            <a:solidFill>
              <a:srgbClr val="44505E"/>
            </a:solidFill>
            <a:ln w="9525" cap="flat">
              <a:noFill/>
              <a:prstDash val="solid"/>
              <a:miter/>
            </a:ln>
          </p:spPr>
          <p:txBody>
            <a:bodyPr rtlCol="0" anchor="ctr"/>
            <a:lstStyle/>
            <a:p>
              <a:endParaRPr lang="pt-BR" noProof="0"/>
            </a:p>
          </p:txBody>
        </p:sp>
        <p:sp>
          <p:nvSpPr>
            <p:cNvPr id="49" name="Freeform: Shape 48">
              <a:extLst>
                <a:ext uri="{FF2B5EF4-FFF2-40B4-BE49-F238E27FC236}">
                  <a16:creationId xmlns:a16="http://schemas.microsoft.com/office/drawing/2014/main" id="{BB5D29C7-0BD2-3F84-7828-7D60F604CEC1}"/>
                </a:ext>
              </a:extLst>
            </p:cNvPr>
            <p:cNvSpPr/>
            <p:nvPr/>
          </p:nvSpPr>
          <p:spPr>
            <a:xfrm>
              <a:off x="6280899" y="923980"/>
              <a:ext cx="87995" cy="59238"/>
            </a:xfrm>
            <a:custGeom>
              <a:avLst/>
              <a:gdLst>
                <a:gd name="connsiteX0" fmla="*/ 0 w 350043"/>
                <a:gd name="connsiteY0" fmla="*/ 5144 h 235648"/>
                <a:gd name="connsiteX1" fmla="*/ 34385 w 350043"/>
                <a:gd name="connsiteY1" fmla="*/ 5144 h 235648"/>
                <a:gd name="connsiteX2" fmla="*/ 34385 w 350043"/>
                <a:gd name="connsiteY2" fmla="*/ 44005 h 235648"/>
                <a:gd name="connsiteX3" fmla="*/ 47149 w 350043"/>
                <a:gd name="connsiteY3" fmla="*/ 27432 h 235648"/>
                <a:gd name="connsiteX4" fmla="*/ 62960 w 350043"/>
                <a:gd name="connsiteY4" fmla="*/ 13335 h 235648"/>
                <a:gd name="connsiteX5" fmla="*/ 83058 w 350043"/>
                <a:gd name="connsiteY5" fmla="*/ 3715 h 235648"/>
                <a:gd name="connsiteX6" fmla="*/ 108966 w 350043"/>
                <a:gd name="connsiteY6" fmla="*/ 95 h 235648"/>
                <a:gd name="connsiteX7" fmla="*/ 155448 w 350043"/>
                <a:gd name="connsiteY7" fmla="*/ 13240 h 235648"/>
                <a:gd name="connsiteX8" fmla="*/ 183166 w 350043"/>
                <a:gd name="connsiteY8" fmla="*/ 46006 h 235648"/>
                <a:gd name="connsiteX9" fmla="*/ 197168 w 350043"/>
                <a:gd name="connsiteY9" fmla="*/ 28194 h 235648"/>
                <a:gd name="connsiteX10" fmla="*/ 214789 w 350043"/>
                <a:gd name="connsiteY10" fmla="*/ 13430 h 235648"/>
                <a:gd name="connsiteX11" fmla="*/ 236887 w 350043"/>
                <a:gd name="connsiteY11" fmla="*/ 3620 h 235648"/>
                <a:gd name="connsiteX12" fmla="*/ 264319 w 350043"/>
                <a:gd name="connsiteY12" fmla="*/ 0 h 235648"/>
                <a:gd name="connsiteX13" fmla="*/ 327279 w 350043"/>
                <a:gd name="connsiteY13" fmla="*/ 24765 h 235648"/>
                <a:gd name="connsiteX14" fmla="*/ 350044 w 350043"/>
                <a:gd name="connsiteY14" fmla="*/ 92773 h 235648"/>
                <a:gd name="connsiteX15" fmla="*/ 350044 w 350043"/>
                <a:gd name="connsiteY15" fmla="*/ 235648 h 235648"/>
                <a:gd name="connsiteX16" fmla="*/ 315659 w 350043"/>
                <a:gd name="connsiteY16" fmla="*/ 235648 h 235648"/>
                <a:gd name="connsiteX17" fmla="*/ 315659 w 350043"/>
                <a:gd name="connsiteY17" fmla="*/ 101155 h 235648"/>
                <a:gd name="connsiteX18" fmla="*/ 299847 w 350043"/>
                <a:gd name="connsiteY18" fmla="*/ 49721 h 235648"/>
                <a:gd name="connsiteX19" fmla="*/ 255937 w 350043"/>
                <a:gd name="connsiteY19" fmla="*/ 31718 h 235648"/>
                <a:gd name="connsiteX20" fmla="*/ 231362 w 350043"/>
                <a:gd name="connsiteY20" fmla="*/ 36386 h 235648"/>
                <a:gd name="connsiteX21" fmla="*/ 211074 w 350043"/>
                <a:gd name="connsiteY21" fmla="*/ 50197 h 235648"/>
                <a:gd name="connsiteX22" fmla="*/ 197263 w 350043"/>
                <a:gd name="connsiteY22" fmla="*/ 72676 h 235648"/>
                <a:gd name="connsiteX23" fmla="*/ 192119 w 350043"/>
                <a:gd name="connsiteY23" fmla="*/ 102965 h 235648"/>
                <a:gd name="connsiteX24" fmla="*/ 192119 w 350043"/>
                <a:gd name="connsiteY24" fmla="*/ 235648 h 235648"/>
                <a:gd name="connsiteX25" fmla="*/ 158210 w 350043"/>
                <a:gd name="connsiteY25" fmla="*/ 235648 h 235648"/>
                <a:gd name="connsiteX26" fmla="*/ 158210 w 350043"/>
                <a:gd name="connsiteY26" fmla="*/ 100298 h 235648"/>
                <a:gd name="connsiteX27" fmla="*/ 142399 w 350043"/>
                <a:gd name="connsiteY27" fmla="*/ 49721 h 235648"/>
                <a:gd name="connsiteX28" fmla="*/ 98870 w 350043"/>
                <a:gd name="connsiteY28" fmla="*/ 31718 h 235648"/>
                <a:gd name="connsiteX29" fmla="*/ 73438 w 350043"/>
                <a:gd name="connsiteY29" fmla="*/ 37052 h 235648"/>
                <a:gd name="connsiteX30" fmla="*/ 53150 w 350043"/>
                <a:gd name="connsiteY30" fmla="*/ 52197 h 235648"/>
                <a:gd name="connsiteX31" fmla="*/ 39529 w 350043"/>
                <a:gd name="connsiteY31" fmla="*/ 75152 h 235648"/>
                <a:gd name="connsiteX32" fmla="*/ 34576 w 350043"/>
                <a:gd name="connsiteY32" fmla="*/ 104299 h 235648"/>
                <a:gd name="connsiteX33" fmla="*/ 34576 w 350043"/>
                <a:gd name="connsiteY33" fmla="*/ 235648 h 235648"/>
                <a:gd name="connsiteX34" fmla="*/ 190 w 350043"/>
                <a:gd name="connsiteY34" fmla="*/ 235648 h 235648"/>
                <a:gd name="connsiteX35" fmla="*/ 190 w 350043"/>
                <a:gd name="connsiteY35" fmla="*/ 485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0043" h="235648">
                  <a:moveTo>
                    <a:pt x="0" y="5144"/>
                  </a:moveTo>
                  <a:lnTo>
                    <a:pt x="34385" y="5144"/>
                  </a:lnTo>
                  <a:lnTo>
                    <a:pt x="34385" y="44005"/>
                  </a:lnTo>
                  <a:cubicBezTo>
                    <a:pt x="38290" y="38386"/>
                    <a:pt x="42481" y="32861"/>
                    <a:pt x="47149" y="27432"/>
                  </a:cubicBezTo>
                  <a:cubicBezTo>
                    <a:pt x="51721" y="22098"/>
                    <a:pt x="57055" y="17431"/>
                    <a:pt x="62960" y="13335"/>
                  </a:cubicBezTo>
                  <a:cubicBezTo>
                    <a:pt x="68866" y="9335"/>
                    <a:pt x="75629" y="6096"/>
                    <a:pt x="83058" y="3715"/>
                  </a:cubicBezTo>
                  <a:cubicBezTo>
                    <a:pt x="90488" y="1334"/>
                    <a:pt x="99155" y="95"/>
                    <a:pt x="108966" y="95"/>
                  </a:cubicBezTo>
                  <a:cubicBezTo>
                    <a:pt x="127730" y="95"/>
                    <a:pt x="143161" y="4477"/>
                    <a:pt x="155448" y="13240"/>
                  </a:cubicBezTo>
                  <a:cubicBezTo>
                    <a:pt x="167640" y="22003"/>
                    <a:pt x="176879" y="32956"/>
                    <a:pt x="183166" y="46006"/>
                  </a:cubicBezTo>
                  <a:cubicBezTo>
                    <a:pt x="187357" y="39719"/>
                    <a:pt x="192024" y="33814"/>
                    <a:pt x="197168" y="28194"/>
                  </a:cubicBezTo>
                  <a:cubicBezTo>
                    <a:pt x="202406" y="22574"/>
                    <a:pt x="208217" y="17621"/>
                    <a:pt x="214789" y="13430"/>
                  </a:cubicBezTo>
                  <a:cubicBezTo>
                    <a:pt x="221361" y="9239"/>
                    <a:pt x="228695" y="6001"/>
                    <a:pt x="236887" y="3620"/>
                  </a:cubicBezTo>
                  <a:cubicBezTo>
                    <a:pt x="245078" y="1238"/>
                    <a:pt x="254222" y="0"/>
                    <a:pt x="264319" y="0"/>
                  </a:cubicBezTo>
                  <a:cubicBezTo>
                    <a:pt x="291084" y="0"/>
                    <a:pt x="312039" y="8287"/>
                    <a:pt x="327279" y="24765"/>
                  </a:cubicBezTo>
                  <a:cubicBezTo>
                    <a:pt x="342519" y="41243"/>
                    <a:pt x="350044" y="63913"/>
                    <a:pt x="350044" y="92773"/>
                  </a:cubicBezTo>
                  <a:lnTo>
                    <a:pt x="350044" y="235648"/>
                  </a:lnTo>
                  <a:lnTo>
                    <a:pt x="315659" y="235648"/>
                  </a:lnTo>
                  <a:lnTo>
                    <a:pt x="315659" y="101155"/>
                  </a:lnTo>
                  <a:cubicBezTo>
                    <a:pt x="315659" y="78867"/>
                    <a:pt x="310420" y="61722"/>
                    <a:pt x="299847" y="49721"/>
                  </a:cubicBezTo>
                  <a:cubicBezTo>
                    <a:pt x="289274" y="37719"/>
                    <a:pt x="274606" y="31718"/>
                    <a:pt x="255937" y="31718"/>
                  </a:cubicBezTo>
                  <a:cubicBezTo>
                    <a:pt x="247269" y="31718"/>
                    <a:pt x="239078" y="33242"/>
                    <a:pt x="231362" y="36386"/>
                  </a:cubicBezTo>
                  <a:cubicBezTo>
                    <a:pt x="223647" y="39529"/>
                    <a:pt x="216884" y="44101"/>
                    <a:pt x="211074" y="50197"/>
                  </a:cubicBezTo>
                  <a:cubicBezTo>
                    <a:pt x="205264" y="56293"/>
                    <a:pt x="200692" y="63818"/>
                    <a:pt x="197263" y="72676"/>
                  </a:cubicBezTo>
                  <a:cubicBezTo>
                    <a:pt x="193834" y="81629"/>
                    <a:pt x="192119" y="91726"/>
                    <a:pt x="192119" y="102965"/>
                  </a:cubicBezTo>
                  <a:lnTo>
                    <a:pt x="192119" y="235648"/>
                  </a:lnTo>
                  <a:lnTo>
                    <a:pt x="158210" y="235648"/>
                  </a:lnTo>
                  <a:lnTo>
                    <a:pt x="158210" y="100298"/>
                  </a:lnTo>
                  <a:cubicBezTo>
                    <a:pt x="158210" y="78677"/>
                    <a:pt x="152971" y="61817"/>
                    <a:pt x="142399" y="49721"/>
                  </a:cubicBezTo>
                  <a:cubicBezTo>
                    <a:pt x="131826" y="37719"/>
                    <a:pt x="117348" y="31718"/>
                    <a:pt x="98870" y="31718"/>
                  </a:cubicBezTo>
                  <a:cubicBezTo>
                    <a:pt x="89630" y="31718"/>
                    <a:pt x="81153" y="33528"/>
                    <a:pt x="73438" y="37052"/>
                  </a:cubicBezTo>
                  <a:cubicBezTo>
                    <a:pt x="65722" y="40672"/>
                    <a:pt x="58960" y="45720"/>
                    <a:pt x="53150" y="52197"/>
                  </a:cubicBezTo>
                  <a:cubicBezTo>
                    <a:pt x="47339" y="58769"/>
                    <a:pt x="42767" y="66389"/>
                    <a:pt x="39529" y="75152"/>
                  </a:cubicBezTo>
                  <a:cubicBezTo>
                    <a:pt x="36290" y="83915"/>
                    <a:pt x="34576" y="93631"/>
                    <a:pt x="34576" y="104299"/>
                  </a:cubicBezTo>
                  <a:lnTo>
                    <a:pt x="34576" y="235648"/>
                  </a:lnTo>
                  <a:lnTo>
                    <a:pt x="190" y="235648"/>
                  </a:lnTo>
                  <a:lnTo>
                    <a:pt x="190" y="4858"/>
                  </a:lnTo>
                  <a:close/>
                </a:path>
              </a:pathLst>
            </a:custGeom>
            <a:solidFill>
              <a:srgbClr val="44505E"/>
            </a:solidFill>
            <a:ln w="9525" cap="flat">
              <a:noFill/>
              <a:prstDash val="solid"/>
              <a:miter/>
            </a:ln>
          </p:spPr>
          <p:txBody>
            <a:bodyPr rtlCol="0" anchor="ctr"/>
            <a:lstStyle/>
            <a:p>
              <a:endParaRPr lang="pt-BR" noProof="0"/>
            </a:p>
          </p:txBody>
        </p:sp>
        <p:sp>
          <p:nvSpPr>
            <p:cNvPr id="50" name="Freeform: Shape 49">
              <a:extLst>
                <a:ext uri="{FF2B5EF4-FFF2-40B4-BE49-F238E27FC236}">
                  <a16:creationId xmlns:a16="http://schemas.microsoft.com/office/drawing/2014/main" id="{D424754E-18AE-A552-E9C1-B7A1385A8E78}"/>
                </a:ext>
              </a:extLst>
            </p:cNvPr>
            <p:cNvSpPr/>
            <p:nvPr/>
          </p:nvSpPr>
          <p:spPr>
            <a:xfrm>
              <a:off x="6415537" y="925273"/>
              <a:ext cx="58016" cy="58448"/>
            </a:xfrm>
            <a:custGeom>
              <a:avLst/>
              <a:gdLst>
                <a:gd name="connsiteX0" fmla="*/ 95 w 230790"/>
                <a:gd name="connsiteY0" fmla="*/ 0 h 232505"/>
                <a:gd name="connsiteX1" fmla="*/ 38005 w 230790"/>
                <a:gd name="connsiteY1" fmla="*/ 0 h 232505"/>
                <a:gd name="connsiteX2" fmla="*/ 115633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3"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51" name="Freeform: Shape 50">
              <a:extLst>
                <a:ext uri="{FF2B5EF4-FFF2-40B4-BE49-F238E27FC236}">
                  <a16:creationId xmlns:a16="http://schemas.microsoft.com/office/drawing/2014/main" id="{1C532DCD-3484-E926-2968-7C6F3EA23FCE}"/>
                </a:ext>
              </a:extLst>
            </p:cNvPr>
            <p:cNvSpPr/>
            <p:nvPr/>
          </p:nvSpPr>
          <p:spPr>
            <a:xfrm>
              <a:off x="6487369"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286 w 39242"/>
                <a:gd name="connsiteY5" fmla="*/ 88392 h 319182"/>
                <a:gd name="connsiteX6" fmla="*/ 36671 w 39242"/>
                <a:gd name="connsiteY6" fmla="*/ 88392 h 319182"/>
                <a:gd name="connsiteX7" fmla="*/ 36671 w 39242"/>
                <a:gd name="connsiteY7" fmla="*/ 319183 h 319182"/>
                <a:gd name="connsiteX8" fmla="*/ 2286 w 39242"/>
                <a:gd name="connsiteY8" fmla="*/ 319183 h 319182"/>
                <a:gd name="connsiteX9" fmla="*/ 2286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286" y="88392"/>
                  </a:moveTo>
                  <a:lnTo>
                    <a:pt x="36671" y="88392"/>
                  </a:lnTo>
                  <a:lnTo>
                    <a:pt x="36671" y="319183"/>
                  </a:lnTo>
                  <a:lnTo>
                    <a:pt x="2286" y="319183"/>
                  </a:lnTo>
                  <a:lnTo>
                    <a:pt x="2286" y="88392"/>
                  </a:lnTo>
                  <a:close/>
                </a:path>
              </a:pathLst>
            </a:custGeom>
            <a:solidFill>
              <a:srgbClr val="44505E"/>
            </a:solidFill>
            <a:ln w="9525" cap="flat">
              <a:noFill/>
              <a:prstDash val="solid"/>
              <a:miter/>
            </a:ln>
          </p:spPr>
          <p:txBody>
            <a:bodyPr rtlCol="0" anchor="ctr"/>
            <a:lstStyle/>
            <a:p>
              <a:endParaRPr lang="pt-BR" noProof="0"/>
            </a:p>
          </p:txBody>
        </p:sp>
        <p:sp>
          <p:nvSpPr>
            <p:cNvPr id="52" name="Freeform: Shape 51">
              <a:extLst>
                <a:ext uri="{FF2B5EF4-FFF2-40B4-BE49-F238E27FC236}">
                  <a16:creationId xmlns:a16="http://schemas.microsoft.com/office/drawing/2014/main" id="{45DDD8FC-D733-7EBB-9A93-A6EB489CBE4E}"/>
                </a:ext>
              </a:extLst>
            </p:cNvPr>
            <p:cNvSpPr/>
            <p:nvPr/>
          </p:nvSpPr>
          <p:spPr>
            <a:xfrm>
              <a:off x="6513253" y="901353"/>
              <a:ext cx="58615" cy="83182"/>
            </a:xfrm>
            <a:custGeom>
              <a:avLst/>
              <a:gdLst>
                <a:gd name="connsiteX0" fmla="*/ 110394 w 233171"/>
                <a:gd name="connsiteY0" fmla="*/ 330898 h 330898"/>
                <a:gd name="connsiteX1" fmla="*/ 69723 w 233171"/>
                <a:gd name="connsiteY1" fmla="*/ 322897 h 330898"/>
                <a:gd name="connsiteX2" fmla="*/ 34480 w 233171"/>
                <a:gd name="connsiteY2" fmla="*/ 299466 h 330898"/>
                <a:gd name="connsiteX3" fmla="*/ 9430 w 233171"/>
                <a:gd name="connsiteY3" fmla="*/ 261938 h 330898"/>
                <a:gd name="connsiteX4" fmla="*/ 0 w 233171"/>
                <a:gd name="connsiteY4" fmla="*/ 211264 h 330898"/>
                <a:gd name="connsiteX5" fmla="*/ 0 w 233171"/>
                <a:gd name="connsiteY5" fmla="*/ 210407 h 330898"/>
                <a:gd name="connsiteX6" fmla="*/ 9430 w 233171"/>
                <a:gd name="connsiteY6" fmla="*/ 159925 h 330898"/>
                <a:gd name="connsiteX7" fmla="*/ 34480 w 233171"/>
                <a:gd name="connsiteY7" fmla="*/ 122206 h 330898"/>
                <a:gd name="connsiteX8" fmla="*/ 69723 w 233171"/>
                <a:gd name="connsiteY8" fmla="*/ 98488 h 330898"/>
                <a:gd name="connsiteX9" fmla="*/ 110394 w 233171"/>
                <a:gd name="connsiteY9" fmla="*/ 90202 h 330898"/>
                <a:gd name="connsiteX10" fmla="*/ 139827 w 233171"/>
                <a:gd name="connsiteY10" fmla="*/ 94202 h 330898"/>
                <a:gd name="connsiteX11" fmla="*/ 163925 w 233171"/>
                <a:gd name="connsiteY11" fmla="*/ 104870 h 330898"/>
                <a:gd name="connsiteX12" fmla="*/ 183356 w 233171"/>
                <a:gd name="connsiteY12" fmla="*/ 120491 h 330898"/>
                <a:gd name="connsiteX13" fmla="*/ 198787 w 233171"/>
                <a:gd name="connsiteY13" fmla="*/ 139255 h 330898"/>
                <a:gd name="connsiteX14" fmla="*/ 198787 w 233171"/>
                <a:gd name="connsiteY14" fmla="*/ 0 h 330898"/>
                <a:gd name="connsiteX15" fmla="*/ 233172 w 233171"/>
                <a:gd name="connsiteY15" fmla="*/ 0 h 330898"/>
                <a:gd name="connsiteX16" fmla="*/ 233172 w 233171"/>
                <a:gd name="connsiteY16" fmla="*/ 325850 h 330898"/>
                <a:gd name="connsiteX17" fmla="*/ 198787 w 233171"/>
                <a:gd name="connsiteY17" fmla="*/ 325850 h 330898"/>
                <a:gd name="connsiteX18" fmla="*/ 198787 w 233171"/>
                <a:gd name="connsiteY18" fmla="*/ 279463 h 330898"/>
                <a:gd name="connsiteX19" fmla="*/ 182975 w 233171"/>
                <a:gd name="connsiteY19" fmla="*/ 299085 h 330898"/>
                <a:gd name="connsiteX20" fmla="*/ 163544 w 233171"/>
                <a:gd name="connsiteY20" fmla="*/ 315658 h 330898"/>
                <a:gd name="connsiteX21" fmla="*/ 139636 w 233171"/>
                <a:gd name="connsiteY21" fmla="*/ 326803 h 330898"/>
                <a:gd name="connsiteX22" fmla="*/ 110394 w 233171"/>
                <a:gd name="connsiteY22" fmla="*/ 330803 h 330898"/>
                <a:gd name="connsiteX23" fmla="*/ 116681 w 233171"/>
                <a:gd name="connsiteY23" fmla="*/ 300133 h 330898"/>
                <a:gd name="connsiteX24" fmla="*/ 147733 w 233171"/>
                <a:gd name="connsiteY24" fmla="*/ 293656 h 330898"/>
                <a:gd name="connsiteX25" fmla="*/ 174498 w 233171"/>
                <a:gd name="connsiteY25" fmla="*/ 275368 h 330898"/>
                <a:gd name="connsiteX26" fmla="*/ 193262 w 233171"/>
                <a:gd name="connsiteY26" fmla="*/ 247269 h 330898"/>
                <a:gd name="connsiteX27" fmla="*/ 200216 w 233171"/>
                <a:gd name="connsiteY27" fmla="*/ 210883 h 330898"/>
                <a:gd name="connsiteX28" fmla="*/ 200216 w 233171"/>
                <a:gd name="connsiteY28" fmla="*/ 210026 h 330898"/>
                <a:gd name="connsiteX29" fmla="*/ 193262 w 233171"/>
                <a:gd name="connsiteY29" fmla="*/ 173641 h 330898"/>
                <a:gd name="connsiteX30" fmla="*/ 174498 w 233171"/>
                <a:gd name="connsiteY30" fmla="*/ 145732 h 330898"/>
                <a:gd name="connsiteX31" fmla="*/ 147733 w 233171"/>
                <a:gd name="connsiteY31" fmla="*/ 127635 h 330898"/>
                <a:gd name="connsiteX32" fmla="*/ 116681 w 233171"/>
                <a:gd name="connsiteY32" fmla="*/ 121158 h 330898"/>
                <a:gd name="connsiteX33" fmla="*/ 84963 w 233171"/>
                <a:gd name="connsiteY33" fmla="*/ 127159 h 330898"/>
                <a:gd name="connsiteX34" fmla="*/ 59341 w 233171"/>
                <a:gd name="connsiteY34" fmla="*/ 144589 h 330898"/>
                <a:gd name="connsiteX35" fmla="*/ 41910 w 233171"/>
                <a:gd name="connsiteY35" fmla="*/ 172498 h 330898"/>
                <a:gd name="connsiteX36" fmla="*/ 35433 w 233171"/>
                <a:gd name="connsiteY36" fmla="*/ 210026 h 330898"/>
                <a:gd name="connsiteX37" fmla="*/ 35433 w 233171"/>
                <a:gd name="connsiteY37" fmla="*/ 210883 h 330898"/>
                <a:gd name="connsiteX38" fmla="*/ 41910 w 233171"/>
                <a:gd name="connsiteY38" fmla="*/ 247936 h 330898"/>
                <a:gd name="connsiteX39" fmla="*/ 59531 w 233171"/>
                <a:gd name="connsiteY39" fmla="*/ 276034 h 330898"/>
                <a:gd name="connsiteX40" fmla="*/ 85439 w 233171"/>
                <a:gd name="connsiteY40" fmla="*/ 293941 h 330898"/>
                <a:gd name="connsiteX41" fmla="*/ 116681 w 23317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3171" h="330898">
                  <a:moveTo>
                    <a:pt x="110394" y="330898"/>
                  </a:moveTo>
                  <a:cubicBezTo>
                    <a:pt x="96393" y="330898"/>
                    <a:pt x="82868" y="328231"/>
                    <a:pt x="69723" y="322897"/>
                  </a:cubicBezTo>
                  <a:cubicBezTo>
                    <a:pt x="56674" y="317563"/>
                    <a:pt x="44863" y="309753"/>
                    <a:pt x="34480" y="299466"/>
                  </a:cubicBezTo>
                  <a:cubicBezTo>
                    <a:pt x="24003" y="289179"/>
                    <a:pt x="15716" y="276701"/>
                    <a:pt x="9430" y="261938"/>
                  </a:cubicBezTo>
                  <a:cubicBezTo>
                    <a:pt x="3143" y="247174"/>
                    <a:pt x="0" y="230314"/>
                    <a:pt x="0" y="211264"/>
                  </a:cubicBezTo>
                  <a:lnTo>
                    <a:pt x="0" y="210407"/>
                  </a:lnTo>
                  <a:cubicBezTo>
                    <a:pt x="0" y="191643"/>
                    <a:pt x="3143" y="174879"/>
                    <a:pt x="9430" y="159925"/>
                  </a:cubicBezTo>
                  <a:cubicBezTo>
                    <a:pt x="15716" y="145066"/>
                    <a:pt x="24003" y="132493"/>
                    <a:pt x="34480" y="122206"/>
                  </a:cubicBezTo>
                  <a:cubicBezTo>
                    <a:pt x="44863" y="111919"/>
                    <a:pt x="56674" y="104013"/>
                    <a:pt x="69723" y="98488"/>
                  </a:cubicBezTo>
                  <a:cubicBezTo>
                    <a:pt x="82868" y="92964"/>
                    <a:pt x="96393" y="90202"/>
                    <a:pt x="110394" y="90202"/>
                  </a:cubicBezTo>
                  <a:cubicBezTo>
                    <a:pt x="121158" y="90202"/>
                    <a:pt x="130969" y="91535"/>
                    <a:pt x="139827" y="94202"/>
                  </a:cubicBezTo>
                  <a:cubicBezTo>
                    <a:pt x="148780" y="96869"/>
                    <a:pt x="156782" y="100489"/>
                    <a:pt x="163925" y="104870"/>
                  </a:cubicBezTo>
                  <a:cubicBezTo>
                    <a:pt x="171069" y="109347"/>
                    <a:pt x="177546" y="114586"/>
                    <a:pt x="183356" y="120491"/>
                  </a:cubicBezTo>
                  <a:cubicBezTo>
                    <a:pt x="189166" y="126492"/>
                    <a:pt x="194310" y="132683"/>
                    <a:pt x="198787" y="139255"/>
                  </a:cubicBezTo>
                  <a:lnTo>
                    <a:pt x="198787" y="0"/>
                  </a:lnTo>
                  <a:lnTo>
                    <a:pt x="233172" y="0"/>
                  </a:lnTo>
                  <a:lnTo>
                    <a:pt x="233172" y="325850"/>
                  </a:lnTo>
                  <a:lnTo>
                    <a:pt x="198787" y="325850"/>
                  </a:lnTo>
                  <a:lnTo>
                    <a:pt x="198787" y="279463"/>
                  </a:lnTo>
                  <a:cubicBezTo>
                    <a:pt x="194024" y="286321"/>
                    <a:pt x="188786" y="292894"/>
                    <a:pt x="182975" y="299085"/>
                  </a:cubicBezTo>
                  <a:cubicBezTo>
                    <a:pt x="177165" y="305371"/>
                    <a:pt x="170688" y="310896"/>
                    <a:pt x="163544" y="315658"/>
                  </a:cubicBezTo>
                  <a:cubicBezTo>
                    <a:pt x="156400" y="320421"/>
                    <a:pt x="148494" y="324136"/>
                    <a:pt x="139636" y="326803"/>
                  </a:cubicBezTo>
                  <a:cubicBezTo>
                    <a:pt x="130873" y="329470"/>
                    <a:pt x="121158" y="330803"/>
                    <a:pt x="110394" y="330803"/>
                  </a:cubicBezTo>
                  <a:close/>
                  <a:moveTo>
                    <a:pt x="116681" y="300133"/>
                  </a:moveTo>
                  <a:cubicBezTo>
                    <a:pt x="127445" y="300133"/>
                    <a:pt x="137732" y="297942"/>
                    <a:pt x="147733" y="293656"/>
                  </a:cubicBezTo>
                  <a:cubicBezTo>
                    <a:pt x="157734" y="289369"/>
                    <a:pt x="166592" y="283273"/>
                    <a:pt x="174498" y="275368"/>
                  </a:cubicBezTo>
                  <a:cubicBezTo>
                    <a:pt x="182404" y="267462"/>
                    <a:pt x="188595" y="258127"/>
                    <a:pt x="193262" y="247269"/>
                  </a:cubicBezTo>
                  <a:cubicBezTo>
                    <a:pt x="197834" y="236410"/>
                    <a:pt x="200216" y="224314"/>
                    <a:pt x="200216" y="210883"/>
                  </a:cubicBezTo>
                  <a:lnTo>
                    <a:pt x="200216" y="210026"/>
                  </a:lnTo>
                  <a:cubicBezTo>
                    <a:pt x="200216" y="196596"/>
                    <a:pt x="197929" y="184499"/>
                    <a:pt x="193262" y="173641"/>
                  </a:cubicBezTo>
                  <a:cubicBezTo>
                    <a:pt x="188595" y="162782"/>
                    <a:pt x="182404" y="153448"/>
                    <a:pt x="174498" y="145732"/>
                  </a:cubicBezTo>
                  <a:cubicBezTo>
                    <a:pt x="166592" y="138017"/>
                    <a:pt x="157639" y="132016"/>
                    <a:pt x="147733" y="127635"/>
                  </a:cubicBezTo>
                  <a:cubicBezTo>
                    <a:pt x="137732" y="123349"/>
                    <a:pt x="127445" y="121158"/>
                    <a:pt x="116681" y="121158"/>
                  </a:cubicBezTo>
                  <a:cubicBezTo>
                    <a:pt x="105346" y="121158"/>
                    <a:pt x="94774" y="123158"/>
                    <a:pt x="84963" y="127159"/>
                  </a:cubicBezTo>
                  <a:cubicBezTo>
                    <a:pt x="75152" y="131159"/>
                    <a:pt x="66580" y="136969"/>
                    <a:pt x="59341" y="144589"/>
                  </a:cubicBezTo>
                  <a:cubicBezTo>
                    <a:pt x="52007" y="152114"/>
                    <a:pt x="46291" y="161449"/>
                    <a:pt x="41910" y="172498"/>
                  </a:cubicBezTo>
                  <a:cubicBezTo>
                    <a:pt x="37624" y="183451"/>
                    <a:pt x="35433" y="196024"/>
                    <a:pt x="35433" y="210026"/>
                  </a:cubicBezTo>
                  <a:lnTo>
                    <a:pt x="35433" y="210883"/>
                  </a:lnTo>
                  <a:cubicBezTo>
                    <a:pt x="35433" y="224599"/>
                    <a:pt x="37624" y="236982"/>
                    <a:pt x="41910" y="247936"/>
                  </a:cubicBezTo>
                  <a:cubicBezTo>
                    <a:pt x="46196" y="258984"/>
                    <a:pt x="52101" y="268319"/>
                    <a:pt x="59531" y="276034"/>
                  </a:cubicBezTo>
                  <a:cubicBezTo>
                    <a:pt x="66960" y="283750"/>
                    <a:pt x="75629" y="289750"/>
                    <a:pt x="85439" y="293941"/>
                  </a:cubicBezTo>
                  <a:cubicBezTo>
                    <a:pt x="95250" y="298132"/>
                    <a:pt x="105632" y="300228"/>
                    <a:pt x="116681" y="300228"/>
                  </a:cubicBezTo>
                  <a:close/>
                </a:path>
              </a:pathLst>
            </a:custGeom>
            <a:solidFill>
              <a:srgbClr val="44505E"/>
            </a:solidFill>
            <a:ln w="9525" cap="flat">
              <a:noFill/>
              <a:prstDash val="solid"/>
              <a:miter/>
            </a:ln>
          </p:spPr>
          <p:txBody>
            <a:bodyPr rtlCol="0" anchor="ctr"/>
            <a:lstStyle/>
            <a:p>
              <a:endParaRPr lang="pt-BR" noProof="0"/>
            </a:p>
          </p:txBody>
        </p:sp>
        <p:sp>
          <p:nvSpPr>
            <p:cNvPr id="53" name="Freeform: Shape 52">
              <a:extLst>
                <a:ext uri="{FF2B5EF4-FFF2-40B4-BE49-F238E27FC236}">
                  <a16:creationId xmlns:a16="http://schemas.microsoft.com/office/drawing/2014/main" id="{E8685EFE-0B99-F279-4E8C-2F66BFBC163D}"/>
                </a:ext>
              </a:extLst>
            </p:cNvPr>
            <p:cNvSpPr/>
            <p:nvPr/>
          </p:nvSpPr>
          <p:spPr>
            <a:xfrm>
              <a:off x="6586762"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0 w 202977"/>
                <a:gd name="connsiteY16" fmla="*/ 48196 h 239267"/>
                <a:gd name="connsiteX17" fmla="*/ 20383 w 202977"/>
                <a:gd name="connsiteY17" fmla="*/ 19907 h 239267"/>
                <a:gd name="connsiteX18" fmla="*/ 59245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0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1"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675" y="92678"/>
                    <a:pt x="84011" y="90964"/>
                    <a:pt x="98584" y="90964"/>
                  </a:cubicBezTo>
                  <a:cubicBezTo>
                    <a:pt x="113157" y="90964"/>
                    <a:pt x="126302"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0" y="33147"/>
                    <a:pt x="63436" y="36100"/>
                  </a:cubicBezTo>
                  <a:cubicBezTo>
                    <a:pt x="52292" y="39053"/>
                    <a:pt x="41338" y="43053"/>
                    <a:pt x="30670" y="48196"/>
                  </a:cubicBezTo>
                  <a:lnTo>
                    <a:pt x="20383" y="19907"/>
                  </a:lnTo>
                  <a:cubicBezTo>
                    <a:pt x="33147" y="13906"/>
                    <a:pt x="46101" y="9049"/>
                    <a:pt x="59245" y="5429"/>
                  </a:cubicBezTo>
                  <a:cubicBezTo>
                    <a:pt x="72294" y="1810"/>
                    <a:pt x="87344" y="0"/>
                    <a:pt x="104299" y="0"/>
                  </a:cubicBezTo>
                  <a:cubicBezTo>
                    <a:pt x="137064" y="0"/>
                    <a:pt x="161925" y="8477"/>
                    <a:pt x="178879" y="25432"/>
                  </a:cubicBezTo>
                  <a:cubicBezTo>
                    <a:pt x="194976"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0" y="239173"/>
                  </a:cubicBezTo>
                  <a:close/>
                  <a:moveTo>
                    <a:pt x="93154" y="211169"/>
                  </a:moveTo>
                  <a:cubicBezTo>
                    <a:pt x="103822" y="211169"/>
                    <a:pt x="113729" y="209740"/>
                    <a:pt x="122967" y="206788"/>
                  </a:cubicBezTo>
                  <a:cubicBezTo>
                    <a:pt x="132207"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4" y="119348"/>
                    <a:pt x="116871"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54" name="Freeform: Shape 53">
              <a:extLst>
                <a:ext uri="{FF2B5EF4-FFF2-40B4-BE49-F238E27FC236}">
                  <a16:creationId xmlns:a16="http://schemas.microsoft.com/office/drawing/2014/main" id="{A4D2BA6F-2A25-B2EF-C590-A6AFCB7C7FE8}"/>
                </a:ext>
              </a:extLst>
            </p:cNvPr>
            <p:cNvSpPr/>
            <p:nvPr/>
          </p:nvSpPr>
          <p:spPr>
            <a:xfrm>
              <a:off x="6651291" y="924268"/>
              <a:ext cx="44680" cy="60195"/>
            </a:xfrm>
            <a:custGeom>
              <a:avLst/>
              <a:gdLst>
                <a:gd name="connsiteX0" fmla="*/ 95535 w 177736"/>
                <a:gd name="connsiteY0" fmla="*/ 239268 h 239458"/>
                <a:gd name="connsiteX1" fmla="*/ 45053 w 177736"/>
                <a:gd name="connsiteY1" fmla="*/ 230124 h 239458"/>
                <a:gd name="connsiteX2" fmla="*/ 0 w 177736"/>
                <a:gd name="connsiteY2" fmla="*/ 205359 h 239458"/>
                <a:gd name="connsiteX3" fmla="*/ 17430 w 177736"/>
                <a:gd name="connsiteY3" fmla="*/ 180785 h 239458"/>
                <a:gd name="connsiteX4" fmla="*/ 56483 w 177736"/>
                <a:gd name="connsiteY4" fmla="*/ 202692 h 239458"/>
                <a:gd name="connsiteX5" fmla="*/ 97345 w 177736"/>
                <a:gd name="connsiteY5" fmla="*/ 210217 h 239458"/>
                <a:gd name="connsiteX6" fmla="*/ 131730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825 w 177736"/>
                <a:gd name="connsiteY10" fmla="*/ 147066 h 239458"/>
                <a:gd name="connsiteX11" fmla="*/ 109251 w 177736"/>
                <a:gd name="connsiteY11" fmla="*/ 138779 h 239458"/>
                <a:gd name="connsiteX12" fmla="*/ 87630 w 177736"/>
                <a:gd name="connsiteY12" fmla="*/ 132112 h 239458"/>
                <a:gd name="connsiteX13" fmla="*/ 60579 w 177736"/>
                <a:gd name="connsiteY13" fmla="*/ 123444 h 239458"/>
                <a:gd name="connsiteX14" fmla="*/ 36004 w 177736"/>
                <a:gd name="connsiteY14" fmla="*/ 111633 h 239458"/>
                <a:gd name="connsiteX15" fmla="*/ 18192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59 w 177736"/>
                <a:gd name="connsiteY22" fmla="*/ 6953 h 239458"/>
                <a:gd name="connsiteX23" fmla="*/ 172878 w 177736"/>
                <a:gd name="connsiteY23" fmla="*/ 25527 h 239458"/>
                <a:gd name="connsiteX24" fmla="*/ 157257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3 w 177736"/>
                <a:gd name="connsiteY32" fmla="*/ 96203 h 239458"/>
                <a:gd name="connsiteX33" fmla="*/ 103631 w 177736"/>
                <a:gd name="connsiteY33" fmla="*/ 103346 h 239458"/>
                <a:gd name="connsiteX34" fmla="*/ 130207 w 177736"/>
                <a:gd name="connsiteY34" fmla="*/ 112300 h 239458"/>
                <a:gd name="connsiteX35" fmla="*/ 154114 w 177736"/>
                <a:gd name="connsiteY35" fmla="*/ 124778 h 239458"/>
                <a:gd name="connsiteX36" fmla="*/ 171259 w 177736"/>
                <a:gd name="connsiteY36" fmla="*/ 143066 h 239458"/>
                <a:gd name="connsiteX37" fmla="*/ 177736 w 177736"/>
                <a:gd name="connsiteY37" fmla="*/ 169450 h 239458"/>
                <a:gd name="connsiteX38" fmla="*/ 177736 w 177736"/>
                <a:gd name="connsiteY38" fmla="*/ 170307 h 239458"/>
                <a:gd name="connsiteX39" fmla="*/ 171259 w 177736"/>
                <a:gd name="connsiteY39" fmla="*/ 199549 h 239458"/>
                <a:gd name="connsiteX40" fmla="*/ 153828 w 177736"/>
                <a:gd name="connsiteY40" fmla="*/ 221171 h 239458"/>
                <a:gd name="connsiteX41" fmla="*/ 127921 w 177736"/>
                <a:gd name="connsiteY41" fmla="*/ 234791 h 239458"/>
                <a:gd name="connsiteX42" fmla="*/ 95535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5" y="239268"/>
                  </a:moveTo>
                  <a:cubicBezTo>
                    <a:pt x="78867" y="239268"/>
                    <a:pt x="62007" y="236220"/>
                    <a:pt x="45053" y="230124"/>
                  </a:cubicBezTo>
                  <a:cubicBezTo>
                    <a:pt x="28098" y="224028"/>
                    <a:pt x="13049" y="215741"/>
                    <a:pt x="0" y="205359"/>
                  </a:cubicBezTo>
                  <a:lnTo>
                    <a:pt x="17430" y="180785"/>
                  </a:lnTo>
                  <a:cubicBezTo>
                    <a:pt x="29908" y="190310"/>
                    <a:pt x="42957" y="197644"/>
                    <a:pt x="56483" y="202692"/>
                  </a:cubicBezTo>
                  <a:cubicBezTo>
                    <a:pt x="70009" y="207740"/>
                    <a:pt x="83629" y="210217"/>
                    <a:pt x="97345" y="210217"/>
                  </a:cubicBezTo>
                  <a:cubicBezTo>
                    <a:pt x="111061" y="210217"/>
                    <a:pt x="122777" y="206978"/>
                    <a:pt x="131730" y="200406"/>
                  </a:cubicBezTo>
                  <a:cubicBezTo>
                    <a:pt x="140684" y="193834"/>
                    <a:pt x="145161" y="184976"/>
                    <a:pt x="145161" y="173641"/>
                  </a:cubicBezTo>
                  <a:lnTo>
                    <a:pt x="145161" y="172784"/>
                  </a:lnTo>
                  <a:cubicBezTo>
                    <a:pt x="145161" y="167164"/>
                    <a:pt x="143541" y="162211"/>
                    <a:pt x="140494" y="158020"/>
                  </a:cubicBezTo>
                  <a:cubicBezTo>
                    <a:pt x="137350" y="153829"/>
                    <a:pt x="133159" y="150209"/>
                    <a:pt x="127825" y="147066"/>
                  </a:cubicBezTo>
                  <a:cubicBezTo>
                    <a:pt x="122491" y="143923"/>
                    <a:pt x="116300" y="141161"/>
                    <a:pt x="109251" y="138779"/>
                  </a:cubicBezTo>
                  <a:cubicBezTo>
                    <a:pt x="102298" y="136398"/>
                    <a:pt x="95059" y="134207"/>
                    <a:pt x="87630" y="132112"/>
                  </a:cubicBezTo>
                  <a:cubicBezTo>
                    <a:pt x="78676" y="129445"/>
                    <a:pt x="69722" y="126492"/>
                    <a:pt x="60579" y="123444"/>
                  </a:cubicBezTo>
                  <a:cubicBezTo>
                    <a:pt x="51530" y="120301"/>
                    <a:pt x="43339" y="116396"/>
                    <a:pt x="36004" y="111633"/>
                  </a:cubicBezTo>
                  <a:cubicBezTo>
                    <a:pt x="28670" y="106871"/>
                    <a:pt x="22764" y="100870"/>
                    <a:pt x="18192" y="93726"/>
                  </a:cubicBezTo>
                  <a:cubicBezTo>
                    <a:pt x="13525" y="86582"/>
                    <a:pt x="11239" y="77629"/>
                    <a:pt x="11239" y="66961"/>
                  </a:cubicBezTo>
                  <a:lnTo>
                    <a:pt x="11239" y="66008"/>
                  </a:lnTo>
                  <a:cubicBezTo>
                    <a:pt x="11239" y="56198"/>
                    <a:pt x="13144" y="47149"/>
                    <a:pt x="17050" y="39053"/>
                  </a:cubicBezTo>
                  <a:cubicBezTo>
                    <a:pt x="20955" y="30861"/>
                    <a:pt x="26384" y="23908"/>
                    <a:pt x="33338" y="18098"/>
                  </a:cubicBezTo>
                  <a:cubicBezTo>
                    <a:pt x="40291" y="12287"/>
                    <a:pt x="48673" y="7811"/>
                    <a:pt x="58388" y="4667"/>
                  </a:cubicBezTo>
                  <a:cubicBezTo>
                    <a:pt x="68008" y="1524"/>
                    <a:pt x="78581" y="0"/>
                    <a:pt x="89821" y="0"/>
                  </a:cubicBezTo>
                  <a:cubicBezTo>
                    <a:pt x="104108" y="0"/>
                    <a:pt x="118586" y="2286"/>
                    <a:pt x="133159" y="6953"/>
                  </a:cubicBezTo>
                  <a:cubicBezTo>
                    <a:pt x="147732" y="11621"/>
                    <a:pt x="160972" y="17717"/>
                    <a:pt x="172878" y="25527"/>
                  </a:cubicBezTo>
                  <a:lnTo>
                    <a:pt x="157257" y="51435"/>
                  </a:lnTo>
                  <a:cubicBezTo>
                    <a:pt x="146494" y="44577"/>
                    <a:pt x="135255" y="39148"/>
                    <a:pt x="123539" y="35147"/>
                  </a:cubicBezTo>
                  <a:cubicBezTo>
                    <a:pt x="111823" y="31147"/>
                    <a:pt x="100203" y="29146"/>
                    <a:pt x="88963" y="29146"/>
                  </a:cubicBezTo>
                  <a:cubicBezTo>
                    <a:pt x="75247" y="29146"/>
                    <a:pt x="64389" y="32385"/>
                    <a:pt x="56388" y="38767"/>
                  </a:cubicBezTo>
                  <a:cubicBezTo>
                    <a:pt x="48291" y="45149"/>
                    <a:pt x="44291" y="53150"/>
                    <a:pt x="44291" y="62675"/>
                  </a:cubicBezTo>
                  <a:lnTo>
                    <a:pt x="44291" y="63627"/>
                  </a:lnTo>
                  <a:cubicBezTo>
                    <a:pt x="44291" y="68961"/>
                    <a:pt x="45910" y="73628"/>
                    <a:pt x="49244" y="77724"/>
                  </a:cubicBezTo>
                  <a:cubicBezTo>
                    <a:pt x="52482" y="81725"/>
                    <a:pt x="56864" y="85249"/>
                    <a:pt x="62389" y="88202"/>
                  </a:cubicBezTo>
                  <a:cubicBezTo>
                    <a:pt x="67913" y="91154"/>
                    <a:pt x="74200" y="93821"/>
                    <a:pt x="81343" y="96203"/>
                  </a:cubicBezTo>
                  <a:cubicBezTo>
                    <a:pt x="88487" y="98584"/>
                    <a:pt x="95916" y="100965"/>
                    <a:pt x="103631" y="103346"/>
                  </a:cubicBezTo>
                  <a:cubicBezTo>
                    <a:pt x="112585" y="106013"/>
                    <a:pt x="121444" y="108966"/>
                    <a:pt x="130207" y="112300"/>
                  </a:cubicBezTo>
                  <a:cubicBezTo>
                    <a:pt x="138969" y="115538"/>
                    <a:pt x="146971" y="119729"/>
                    <a:pt x="154114" y="124778"/>
                  </a:cubicBezTo>
                  <a:cubicBezTo>
                    <a:pt x="161258" y="129826"/>
                    <a:pt x="166973" y="135922"/>
                    <a:pt x="171259" y="143066"/>
                  </a:cubicBezTo>
                  <a:cubicBezTo>
                    <a:pt x="175546" y="150209"/>
                    <a:pt x="177736" y="158972"/>
                    <a:pt x="177736" y="169450"/>
                  </a:cubicBezTo>
                  <a:lnTo>
                    <a:pt x="177736" y="170307"/>
                  </a:lnTo>
                  <a:cubicBezTo>
                    <a:pt x="177736" y="181356"/>
                    <a:pt x="175546" y="191071"/>
                    <a:pt x="171259" y="199549"/>
                  </a:cubicBezTo>
                  <a:cubicBezTo>
                    <a:pt x="166973" y="208026"/>
                    <a:pt x="161163" y="215265"/>
                    <a:pt x="153828" y="221171"/>
                  </a:cubicBezTo>
                  <a:cubicBezTo>
                    <a:pt x="146589" y="227171"/>
                    <a:pt x="137922" y="231648"/>
                    <a:pt x="127921" y="234791"/>
                  </a:cubicBezTo>
                  <a:cubicBezTo>
                    <a:pt x="117919" y="237935"/>
                    <a:pt x="107156" y="239459"/>
                    <a:pt x="95535" y="239459"/>
                  </a:cubicBezTo>
                  <a:close/>
                </a:path>
              </a:pathLst>
            </a:custGeom>
            <a:solidFill>
              <a:srgbClr val="44505E"/>
            </a:solidFill>
            <a:ln w="9525" cap="flat">
              <a:noFill/>
              <a:prstDash val="solid"/>
              <a:miter/>
            </a:ln>
          </p:spPr>
          <p:txBody>
            <a:bodyPr rtlCol="0" anchor="ctr"/>
            <a:lstStyle/>
            <a:p>
              <a:endParaRPr lang="pt-BR" noProof="0"/>
            </a:p>
          </p:txBody>
        </p:sp>
        <p:sp>
          <p:nvSpPr>
            <p:cNvPr id="55" name="Freeform: Shape 54">
              <a:extLst>
                <a:ext uri="{FF2B5EF4-FFF2-40B4-BE49-F238E27FC236}">
                  <a16:creationId xmlns:a16="http://schemas.microsoft.com/office/drawing/2014/main" id="{00615E63-F529-FE8F-0017-368710E3E647}"/>
                </a:ext>
              </a:extLst>
            </p:cNvPr>
            <p:cNvSpPr/>
            <p:nvPr/>
          </p:nvSpPr>
          <p:spPr>
            <a:xfrm>
              <a:off x="5250320" y="846952"/>
              <a:ext cx="1459036" cy="16186"/>
            </a:xfrm>
            <a:custGeom>
              <a:avLst/>
              <a:gdLst>
                <a:gd name="connsiteX0" fmla="*/ 0 w 5804058"/>
                <a:gd name="connsiteY0" fmla="*/ 0 h 64388"/>
                <a:gd name="connsiteX1" fmla="*/ 5804059 w 5804058"/>
                <a:gd name="connsiteY1" fmla="*/ 0 h 64388"/>
                <a:gd name="connsiteX2" fmla="*/ 5804059 w 5804058"/>
                <a:gd name="connsiteY2" fmla="*/ 64389 h 64388"/>
                <a:gd name="connsiteX3" fmla="*/ 0 w 5804058"/>
                <a:gd name="connsiteY3" fmla="*/ 64389 h 64388"/>
              </a:gdLst>
              <a:ahLst/>
              <a:cxnLst>
                <a:cxn ang="0">
                  <a:pos x="connsiteX0" y="connsiteY0"/>
                </a:cxn>
                <a:cxn ang="0">
                  <a:pos x="connsiteX1" y="connsiteY1"/>
                </a:cxn>
                <a:cxn ang="0">
                  <a:pos x="connsiteX2" y="connsiteY2"/>
                </a:cxn>
                <a:cxn ang="0">
                  <a:pos x="connsiteX3" y="connsiteY3"/>
                </a:cxn>
              </a:cxnLst>
              <a:rect l="l" t="t" r="r" b="b"/>
              <a:pathLst>
                <a:path w="5804058" h="64388">
                  <a:moveTo>
                    <a:pt x="0" y="0"/>
                  </a:moveTo>
                  <a:lnTo>
                    <a:pt x="5804059" y="0"/>
                  </a:lnTo>
                  <a:lnTo>
                    <a:pt x="5804059" y="64389"/>
                  </a:lnTo>
                  <a:lnTo>
                    <a:pt x="0" y="64389"/>
                  </a:lnTo>
                  <a:close/>
                </a:path>
              </a:pathLst>
            </a:custGeom>
            <a:solidFill>
              <a:srgbClr val="44505E"/>
            </a:solidFill>
            <a:ln w="9525" cap="flat">
              <a:noFill/>
              <a:prstDash val="solid"/>
              <a:miter/>
            </a:ln>
          </p:spPr>
          <p:txBody>
            <a:bodyPr rtlCol="0" anchor="ctr"/>
            <a:lstStyle/>
            <a:p>
              <a:endParaRPr lang="pt-BR" noProof="0"/>
            </a:p>
          </p:txBody>
        </p:sp>
        <p:sp>
          <p:nvSpPr>
            <p:cNvPr id="56" name="Freeform: Shape 55">
              <a:extLst>
                <a:ext uri="{FF2B5EF4-FFF2-40B4-BE49-F238E27FC236}">
                  <a16:creationId xmlns:a16="http://schemas.microsoft.com/office/drawing/2014/main" id="{52230871-2896-9734-4B06-71591F03ACED}"/>
                </a:ext>
              </a:extLst>
            </p:cNvPr>
            <p:cNvSpPr/>
            <p:nvPr/>
          </p:nvSpPr>
          <p:spPr>
            <a:xfrm>
              <a:off x="6902633" y="268821"/>
              <a:ext cx="273418" cy="601046"/>
            </a:xfrm>
            <a:custGeom>
              <a:avLst/>
              <a:gdLst>
                <a:gd name="connsiteX0" fmla="*/ 0 w 1087659"/>
                <a:gd name="connsiteY0" fmla="*/ 210979 h 2390965"/>
                <a:gd name="connsiteX1" fmla="*/ 125063 w 1087659"/>
                <a:gd name="connsiteY1" fmla="*/ 103442 h 2390965"/>
                <a:gd name="connsiteX2" fmla="*/ 250031 w 1087659"/>
                <a:gd name="connsiteY2" fmla="*/ 210979 h 2390965"/>
                <a:gd name="connsiteX3" fmla="*/ 250031 w 1087659"/>
                <a:gd name="connsiteY3" fmla="*/ 1922717 h 2390965"/>
                <a:gd name="connsiteX4" fmla="*/ 249841 w 1087659"/>
                <a:gd name="connsiteY4" fmla="*/ 1922717 h 2390965"/>
                <a:gd name="connsiteX5" fmla="*/ 249841 w 1087659"/>
                <a:gd name="connsiteY5" fmla="*/ 1925955 h 2390965"/>
                <a:gd name="connsiteX6" fmla="*/ 333756 w 1087659"/>
                <a:gd name="connsiteY6" fmla="*/ 2100263 h 2390965"/>
                <a:gd name="connsiteX7" fmla="*/ 335566 w 1087659"/>
                <a:gd name="connsiteY7" fmla="*/ 2101787 h 2390965"/>
                <a:gd name="connsiteX8" fmla="*/ 336042 w 1087659"/>
                <a:gd name="connsiteY8" fmla="*/ 2102168 h 2390965"/>
                <a:gd name="connsiteX9" fmla="*/ 543877 w 1087659"/>
                <a:gd name="connsiteY9" fmla="*/ 2175891 h 2390965"/>
                <a:gd name="connsiteX10" fmla="*/ 749998 w 1087659"/>
                <a:gd name="connsiteY10" fmla="*/ 2103692 h 2390965"/>
                <a:gd name="connsiteX11" fmla="*/ 751713 w 1087659"/>
                <a:gd name="connsiteY11" fmla="*/ 2102168 h 2390965"/>
                <a:gd name="connsiteX12" fmla="*/ 752189 w 1087659"/>
                <a:gd name="connsiteY12" fmla="*/ 2101787 h 2390965"/>
                <a:gd name="connsiteX13" fmla="*/ 837819 w 1087659"/>
                <a:gd name="connsiteY13" fmla="*/ 1922812 h 2390965"/>
                <a:gd name="connsiteX14" fmla="*/ 837819 w 1087659"/>
                <a:gd name="connsiteY14" fmla="*/ 107537 h 2390965"/>
                <a:gd name="connsiteX15" fmla="*/ 962787 w 1087659"/>
                <a:gd name="connsiteY15" fmla="*/ 0 h 2390965"/>
                <a:gd name="connsiteX16" fmla="*/ 1087660 w 1087659"/>
                <a:gd name="connsiteY16" fmla="*/ 107537 h 2390965"/>
                <a:gd name="connsiteX17" fmla="*/ 1087660 w 1087659"/>
                <a:gd name="connsiteY17" fmla="*/ 1922621 h 2390965"/>
                <a:gd name="connsiteX18" fmla="*/ 928307 w 1087659"/>
                <a:gd name="connsiteY18" fmla="*/ 2253234 h 2390965"/>
                <a:gd name="connsiteX19" fmla="*/ 928116 w 1087659"/>
                <a:gd name="connsiteY19" fmla="*/ 2253424 h 2390965"/>
                <a:gd name="connsiteX20" fmla="*/ 927830 w 1087659"/>
                <a:gd name="connsiteY20" fmla="*/ 2253710 h 2390965"/>
                <a:gd name="connsiteX21" fmla="*/ 927354 w 1087659"/>
                <a:gd name="connsiteY21" fmla="*/ 2254187 h 2390965"/>
                <a:gd name="connsiteX22" fmla="*/ 543783 w 1087659"/>
                <a:gd name="connsiteY22" fmla="*/ 2390966 h 2390965"/>
                <a:gd name="connsiteX23" fmla="*/ 159734 w 1087659"/>
                <a:gd name="connsiteY23" fmla="*/ 2253710 h 2390965"/>
                <a:gd name="connsiteX24" fmla="*/ 159734 w 1087659"/>
                <a:gd name="connsiteY24" fmla="*/ 2253424 h 2390965"/>
                <a:gd name="connsiteX25" fmla="*/ 159353 w 1087659"/>
                <a:gd name="connsiteY25" fmla="*/ 2253234 h 2390965"/>
                <a:gd name="connsiteX26" fmla="*/ 158877 w 1087659"/>
                <a:gd name="connsiteY26" fmla="*/ 2252948 h 2390965"/>
                <a:gd name="connsiteX27" fmla="*/ 0 w 1087659"/>
                <a:gd name="connsiteY27" fmla="*/ 1922621 h 2390965"/>
                <a:gd name="connsiteX28" fmla="*/ 0 w 1087659"/>
                <a:gd name="connsiteY28" fmla="*/ 1922621 h 2390965"/>
                <a:gd name="connsiteX29" fmla="*/ 0 w 1087659"/>
                <a:gd name="connsiteY29" fmla="*/ 210979 h 239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87659" h="2390965">
                  <a:moveTo>
                    <a:pt x="0" y="210979"/>
                  </a:moveTo>
                  <a:cubicBezTo>
                    <a:pt x="0" y="151638"/>
                    <a:pt x="56007" y="103442"/>
                    <a:pt x="125063" y="103442"/>
                  </a:cubicBezTo>
                  <a:cubicBezTo>
                    <a:pt x="194120" y="103442"/>
                    <a:pt x="250031" y="151638"/>
                    <a:pt x="250031" y="210979"/>
                  </a:cubicBezTo>
                  <a:lnTo>
                    <a:pt x="250031" y="1922717"/>
                  </a:lnTo>
                  <a:lnTo>
                    <a:pt x="249841" y="1922717"/>
                  </a:lnTo>
                  <a:lnTo>
                    <a:pt x="249841" y="1925955"/>
                  </a:lnTo>
                  <a:cubicBezTo>
                    <a:pt x="250793" y="1994059"/>
                    <a:pt x="282797" y="2055495"/>
                    <a:pt x="333756" y="2100263"/>
                  </a:cubicBezTo>
                  <a:lnTo>
                    <a:pt x="335566" y="2101787"/>
                  </a:lnTo>
                  <a:lnTo>
                    <a:pt x="336042" y="2102168"/>
                  </a:lnTo>
                  <a:cubicBezTo>
                    <a:pt x="388906" y="2147697"/>
                    <a:pt x="462343" y="2175891"/>
                    <a:pt x="543877" y="2175891"/>
                  </a:cubicBezTo>
                  <a:cubicBezTo>
                    <a:pt x="625411" y="2175891"/>
                    <a:pt x="697420" y="2148364"/>
                    <a:pt x="749998" y="2103692"/>
                  </a:cubicBezTo>
                  <a:lnTo>
                    <a:pt x="751713" y="2102168"/>
                  </a:lnTo>
                  <a:lnTo>
                    <a:pt x="752189" y="2101787"/>
                  </a:lnTo>
                  <a:cubicBezTo>
                    <a:pt x="805053" y="2056352"/>
                    <a:pt x="837819" y="1993011"/>
                    <a:pt x="837819" y="1922812"/>
                  </a:cubicBezTo>
                  <a:lnTo>
                    <a:pt x="837819" y="107537"/>
                  </a:lnTo>
                  <a:cubicBezTo>
                    <a:pt x="837819" y="48196"/>
                    <a:pt x="893731" y="0"/>
                    <a:pt x="962787" y="0"/>
                  </a:cubicBezTo>
                  <a:cubicBezTo>
                    <a:pt x="1031843" y="0"/>
                    <a:pt x="1087660" y="48196"/>
                    <a:pt x="1087660" y="107537"/>
                  </a:cubicBezTo>
                  <a:lnTo>
                    <a:pt x="1087660" y="1922621"/>
                  </a:lnTo>
                  <a:cubicBezTo>
                    <a:pt x="1087660" y="2051399"/>
                    <a:pt x="1026795" y="2168366"/>
                    <a:pt x="928307" y="2253234"/>
                  </a:cubicBezTo>
                  <a:lnTo>
                    <a:pt x="928116" y="2253424"/>
                  </a:lnTo>
                  <a:lnTo>
                    <a:pt x="927830" y="2253710"/>
                  </a:lnTo>
                  <a:lnTo>
                    <a:pt x="927354" y="2254187"/>
                  </a:lnTo>
                  <a:cubicBezTo>
                    <a:pt x="828770" y="2338673"/>
                    <a:pt x="693134" y="2390966"/>
                    <a:pt x="543783" y="2390966"/>
                  </a:cubicBezTo>
                  <a:cubicBezTo>
                    <a:pt x="394430" y="2390966"/>
                    <a:pt x="258413" y="2338483"/>
                    <a:pt x="159734" y="2253710"/>
                  </a:cubicBezTo>
                  <a:lnTo>
                    <a:pt x="159734" y="2253424"/>
                  </a:lnTo>
                  <a:cubicBezTo>
                    <a:pt x="159734" y="2253424"/>
                    <a:pt x="159353" y="2253234"/>
                    <a:pt x="159353" y="2253234"/>
                  </a:cubicBezTo>
                  <a:lnTo>
                    <a:pt x="158877" y="2252948"/>
                  </a:lnTo>
                  <a:cubicBezTo>
                    <a:pt x="60770" y="2167985"/>
                    <a:pt x="0" y="2051304"/>
                    <a:pt x="0" y="1922621"/>
                  </a:cubicBezTo>
                  <a:lnTo>
                    <a:pt x="0" y="1922621"/>
                  </a:lnTo>
                  <a:lnTo>
                    <a:pt x="0" y="210979"/>
                  </a:lnTo>
                  <a:close/>
                </a:path>
              </a:pathLst>
            </a:custGeom>
            <a:solidFill>
              <a:srgbClr val="8FC640"/>
            </a:solidFill>
            <a:ln w="9525" cap="flat">
              <a:noFill/>
              <a:prstDash val="solid"/>
              <a:miter/>
            </a:ln>
          </p:spPr>
          <p:txBody>
            <a:bodyPr rtlCol="0" anchor="ctr"/>
            <a:lstStyle/>
            <a:p>
              <a:endParaRPr lang="pt-BR" noProof="0"/>
            </a:p>
          </p:txBody>
        </p:sp>
        <p:sp>
          <p:nvSpPr>
            <p:cNvPr id="57" name="Freeform: Shape 56">
              <a:extLst>
                <a:ext uri="{FF2B5EF4-FFF2-40B4-BE49-F238E27FC236}">
                  <a16:creationId xmlns:a16="http://schemas.microsoft.com/office/drawing/2014/main" id="{9B2AC423-8995-832E-E717-E0C07C15E610}"/>
                </a:ext>
              </a:extLst>
            </p:cNvPr>
            <p:cNvSpPr/>
            <p:nvPr/>
          </p:nvSpPr>
          <p:spPr>
            <a:xfrm>
              <a:off x="7013590" y="213965"/>
              <a:ext cx="54018" cy="562280"/>
            </a:xfrm>
            <a:custGeom>
              <a:avLst/>
              <a:gdLst>
                <a:gd name="connsiteX0" fmla="*/ 0 w 214883"/>
                <a:gd name="connsiteY0" fmla="*/ 107537 h 2236755"/>
                <a:gd name="connsiteX1" fmla="*/ 107537 w 214883"/>
                <a:gd name="connsiteY1" fmla="*/ 0 h 2236755"/>
                <a:gd name="connsiteX2" fmla="*/ 214884 w 214883"/>
                <a:gd name="connsiteY2" fmla="*/ 107537 h 2236755"/>
                <a:gd name="connsiteX3" fmla="*/ 214884 w 214883"/>
                <a:gd name="connsiteY3" fmla="*/ 2129219 h 2236755"/>
                <a:gd name="connsiteX4" fmla="*/ 107537 w 214883"/>
                <a:gd name="connsiteY4" fmla="*/ 2236756 h 2236755"/>
                <a:gd name="connsiteX5" fmla="*/ 0 w 214883"/>
                <a:gd name="connsiteY5" fmla="*/ 2129219 h 2236755"/>
                <a:gd name="connsiteX6" fmla="*/ 0 w 214883"/>
                <a:gd name="connsiteY6" fmla="*/ 107537 h 223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 h="2236755">
                  <a:moveTo>
                    <a:pt x="0" y="107537"/>
                  </a:moveTo>
                  <a:cubicBezTo>
                    <a:pt x="0" y="48197"/>
                    <a:pt x="48101" y="0"/>
                    <a:pt x="107537" y="0"/>
                  </a:cubicBezTo>
                  <a:cubicBezTo>
                    <a:pt x="166973" y="0"/>
                    <a:pt x="214884" y="48197"/>
                    <a:pt x="214884" y="107537"/>
                  </a:cubicBezTo>
                  <a:lnTo>
                    <a:pt x="214884" y="2129219"/>
                  </a:lnTo>
                  <a:cubicBezTo>
                    <a:pt x="214884" y="2188559"/>
                    <a:pt x="166782" y="2236756"/>
                    <a:pt x="107537" y="2236756"/>
                  </a:cubicBezTo>
                  <a:cubicBezTo>
                    <a:pt x="48291" y="2236756"/>
                    <a:pt x="0" y="2188559"/>
                    <a:pt x="0" y="2129219"/>
                  </a:cubicBezTo>
                  <a:lnTo>
                    <a:pt x="0" y="107537"/>
                  </a:lnTo>
                  <a:close/>
                </a:path>
              </a:pathLst>
            </a:custGeom>
            <a:solidFill>
              <a:srgbClr val="3698B0"/>
            </a:solidFill>
            <a:ln w="9525" cap="flat">
              <a:noFill/>
              <a:prstDash val="solid"/>
              <a:miter/>
            </a:ln>
          </p:spPr>
          <p:txBody>
            <a:bodyPr rtlCol="0" anchor="ctr"/>
            <a:lstStyle/>
            <a:p>
              <a:endParaRPr lang="pt-BR" noProof="0"/>
            </a:p>
          </p:txBody>
        </p:sp>
        <p:sp>
          <p:nvSpPr>
            <p:cNvPr id="58" name="Freeform: Shape 57">
              <a:extLst>
                <a:ext uri="{FF2B5EF4-FFF2-40B4-BE49-F238E27FC236}">
                  <a16:creationId xmlns:a16="http://schemas.microsoft.com/office/drawing/2014/main" id="{758A3F6C-674D-D440-A1F8-6D62FC4A77BC}"/>
                </a:ext>
              </a:extLst>
            </p:cNvPr>
            <p:cNvSpPr/>
            <p:nvPr/>
          </p:nvSpPr>
          <p:spPr>
            <a:xfrm>
              <a:off x="6795770" y="332991"/>
              <a:ext cx="485994" cy="649437"/>
            </a:xfrm>
            <a:custGeom>
              <a:avLst/>
              <a:gdLst>
                <a:gd name="connsiteX0" fmla="*/ 1933290 w 1933289"/>
                <a:gd name="connsiteY0" fmla="*/ 138017 h 2583465"/>
                <a:gd name="connsiteX1" fmla="*/ 1933290 w 1933289"/>
                <a:gd name="connsiteY1" fmla="*/ 1734122 h 2583465"/>
                <a:gd name="connsiteX2" fmla="*/ 1796606 w 1933289"/>
                <a:gd name="connsiteY2" fmla="*/ 2229136 h 2583465"/>
                <a:gd name="connsiteX3" fmla="*/ 977742 w 1933289"/>
                <a:gd name="connsiteY3" fmla="*/ 2583466 h 2583465"/>
                <a:gd name="connsiteX4" fmla="*/ 955357 w 1933289"/>
                <a:gd name="connsiteY4" fmla="*/ 2583466 h 2583465"/>
                <a:gd name="connsiteX5" fmla="*/ 136589 w 1933289"/>
                <a:gd name="connsiteY5" fmla="*/ 2229136 h 2583465"/>
                <a:gd name="connsiteX6" fmla="*/ 0 w 1933289"/>
                <a:gd name="connsiteY6" fmla="*/ 1734122 h 2583465"/>
                <a:gd name="connsiteX7" fmla="*/ 0 w 1933289"/>
                <a:gd name="connsiteY7" fmla="*/ 794194 h 2583465"/>
                <a:gd name="connsiteX8" fmla="*/ 137827 w 1933289"/>
                <a:gd name="connsiteY8" fmla="*/ 656273 h 2583465"/>
                <a:gd name="connsiteX9" fmla="*/ 275463 w 1933289"/>
                <a:gd name="connsiteY9" fmla="*/ 794194 h 2583465"/>
                <a:gd name="connsiteX10" fmla="*/ 275463 w 1933289"/>
                <a:gd name="connsiteY10" fmla="*/ 1734122 h 2583465"/>
                <a:gd name="connsiteX11" fmla="*/ 354235 w 1933289"/>
                <a:gd name="connsiteY11" fmla="*/ 2059686 h 2583465"/>
                <a:gd name="connsiteX12" fmla="*/ 958215 w 1933289"/>
                <a:gd name="connsiteY12" fmla="*/ 2307527 h 2583465"/>
                <a:gd name="connsiteX13" fmla="*/ 974789 w 1933289"/>
                <a:gd name="connsiteY13" fmla="*/ 2307527 h 2583465"/>
                <a:gd name="connsiteX14" fmla="*/ 1578959 w 1933289"/>
                <a:gd name="connsiteY14" fmla="*/ 2059686 h 2583465"/>
                <a:gd name="connsiteX15" fmla="*/ 1657636 w 1933289"/>
                <a:gd name="connsiteY15" fmla="*/ 1734122 h 2583465"/>
                <a:gd name="connsiteX16" fmla="*/ 1657636 w 1933289"/>
                <a:gd name="connsiteY16" fmla="*/ 138017 h 2583465"/>
                <a:gd name="connsiteX17" fmla="*/ 1795463 w 1933289"/>
                <a:gd name="connsiteY17" fmla="*/ 0 h 2583465"/>
                <a:gd name="connsiteX18" fmla="*/ 1933290 w 1933289"/>
                <a:gd name="connsiteY18" fmla="*/ 138017 h 25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3289" h="2583465">
                  <a:moveTo>
                    <a:pt x="1933290" y="138017"/>
                  </a:moveTo>
                  <a:lnTo>
                    <a:pt x="1933290" y="1734122"/>
                  </a:lnTo>
                  <a:cubicBezTo>
                    <a:pt x="1933290" y="1870996"/>
                    <a:pt x="1919002" y="2071211"/>
                    <a:pt x="1796606" y="2229136"/>
                  </a:cubicBezTo>
                  <a:cubicBezTo>
                    <a:pt x="1634395" y="2438305"/>
                    <a:pt x="1432084" y="2578703"/>
                    <a:pt x="977742" y="2583466"/>
                  </a:cubicBezTo>
                  <a:lnTo>
                    <a:pt x="955357" y="2583466"/>
                  </a:lnTo>
                  <a:cubicBezTo>
                    <a:pt x="501015" y="2578703"/>
                    <a:pt x="298704" y="2438400"/>
                    <a:pt x="136589" y="2229136"/>
                  </a:cubicBezTo>
                  <a:cubicBezTo>
                    <a:pt x="14192" y="2071211"/>
                    <a:pt x="0" y="1870996"/>
                    <a:pt x="0" y="1734122"/>
                  </a:cubicBezTo>
                  <a:lnTo>
                    <a:pt x="0" y="794194"/>
                  </a:lnTo>
                  <a:cubicBezTo>
                    <a:pt x="0" y="718185"/>
                    <a:pt x="61436" y="656273"/>
                    <a:pt x="137827" y="656273"/>
                  </a:cubicBezTo>
                  <a:cubicBezTo>
                    <a:pt x="214217" y="656273"/>
                    <a:pt x="275463" y="718185"/>
                    <a:pt x="275463" y="794194"/>
                  </a:cubicBezTo>
                  <a:lnTo>
                    <a:pt x="275463" y="1734122"/>
                  </a:lnTo>
                  <a:cubicBezTo>
                    <a:pt x="275463" y="1887188"/>
                    <a:pt x="300324" y="1990630"/>
                    <a:pt x="354235" y="2059686"/>
                  </a:cubicBezTo>
                  <a:cubicBezTo>
                    <a:pt x="476250" y="2217611"/>
                    <a:pt x="609791" y="2304479"/>
                    <a:pt x="958215" y="2307527"/>
                  </a:cubicBezTo>
                  <a:lnTo>
                    <a:pt x="974789" y="2307527"/>
                  </a:lnTo>
                  <a:cubicBezTo>
                    <a:pt x="1323499" y="2304479"/>
                    <a:pt x="1456563" y="2217611"/>
                    <a:pt x="1578959" y="2059686"/>
                  </a:cubicBezTo>
                  <a:cubicBezTo>
                    <a:pt x="1632490" y="1990630"/>
                    <a:pt x="1657636" y="1887093"/>
                    <a:pt x="1657636" y="1734122"/>
                  </a:cubicBezTo>
                  <a:lnTo>
                    <a:pt x="1657636" y="138017"/>
                  </a:lnTo>
                  <a:cubicBezTo>
                    <a:pt x="1657636" y="61531"/>
                    <a:pt x="1719453" y="0"/>
                    <a:pt x="1795463" y="0"/>
                  </a:cubicBezTo>
                  <a:cubicBezTo>
                    <a:pt x="1871472" y="0"/>
                    <a:pt x="1933290" y="61531"/>
                    <a:pt x="1933290" y="138017"/>
                  </a:cubicBezTo>
                </a:path>
              </a:pathLst>
            </a:custGeom>
            <a:solidFill>
              <a:srgbClr val="49306E"/>
            </a:solidFill>
            <a:ln w="9525" cap="flat">
              <a:noFill/>
              <a:prstDash val="solid"/>
              <a:miter/>
            </a:ln>
          </p:spPr>
          <p:txBody>
            <a:bodyPr rtlCol="0" anchor="ctr"/>
            <a:lstStyle/>
            <a:p>
              <a:endParaRPr lang="pt-BR" noProof="0"/>
            </a:p>
          </p:txBody>
        </p:sp>
      </p:grpSp>
      <p:sp>
        <p:nvSpPr>
          <p:cNvPr id="5" name="Rectangle 3">
            <a:extLst>
              <a:ext uri="{FF2B5EF4-FFF2-40B4-BE49-F238E27FC236}">
                <a16:creationId xmlns:a16="http://schemas.microsoft.com/office/drawing/2014/main" id="{63093CC9-4F9C-CB94-D410-A3FA0888E100}"/>
              </a:ext>
            </a:extLst>
          </p:cNvPr>
          <p:cNvSpPr>
            <a:spLocks noChangeArrowheads="1"/>
          </p:cNvSpPr>
          <p:nvPr/>
        </p:nvSpPr>
        <p:spPr bwMode="auto">
          <a:xfrm>
            <a:off x="428153" y="692497"/>
            <a:ext cx="264816" cy="2862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p:txBody>
      </p:sp>
      <p:sp>
        <p:nvSpPr>
          <p:cNvPr id="7" name="CaixaDeTexto 6">
            <a:extLst>
              <a:ext uri="{FF2B5EF4-FFF2-40B4-BE49-F238E27FC236}">
                <a16:creationId xmlns:a16="http://schemas.microsoft.com/office/drawing/2014/main" id="{9408F1D1-411B-9547-3D18-F4937BF9BA82}"/>
              </a:ext>
            </a:extLst>
          </p:cNvPr>
          <p:cNvSpPr txBox="1"/>
          <p:nvPr/>
        </p:nvSpPr>
        <p:spPr>
          <a:xfrm>
            <a:off x="5892843" y="1237989"/>
            <a:ext cx="6205591" cy="2817951"/>
          </a:xfrm>
          <a:prstGeom prst="rect">
            <a:avLst/>
          </a:prstGeom>
          <a:noFill/>
        </p:spPr>
        <p:txBody>
          <a:bodyPr wrap="square" rtlCol="0">
            <a:spAutoFit/>
          </a:bodyPr>
          <a:lstStyle/>
          <a:p>
            <a:pPr marL="342900" indent="-342900">
              <a:lnSpc>
                <a:spcPct val="150000"/>
              </a:lnSpc>
              <a:buFont typeface="Arial" panose="020B0604020202020204" pitchFamily="34" charset="0"/>
              <a:buChar char="•"/>
            </a:pPr>
            <a:r>
              <a:rPr lang="pt-BR" sz="2000" dirty="0">
                <a:solidFill>
                  <a:srgbClr val="1C1C1C"/>
                </a:solidFill>
              </a:rPr>
              <a:t>Paciente em ventilação mecânica (IOT/VM)</a:t>
            </a:r>
          </a:p>
          <a:p>
            <a:pPr marL="342900" indent="-342900">
              <a:lnSpc>
                <a:spcPct val="150000"/>
              </a:lnSpc>
              <a:buFont typeface="Arial" panose="020B0604020202020204" pitchFamily="34" charset="0"/>
              <a:buChar char="•"/>
            </a:pPr>
            <a:r>
              <a:rPr lang="pt-BR" sz="2000" dirty="0">
                <a:solidFill>
                  <a:srgbClr val="1C1C1C"/>
                </a:solidFill>
              </a:rPr>
              <a:t>Em uso de: </a:t>
            </a:r>
          </a:p>
          <a:p>
            <a:pPr marL="800100" lvl="1" indent="-342900">
              <a:lnSpc>
                <a:spcPct val="150000"/>
              </a:lnSpc>
              <a:buFont typeface="Arial" panose="020B0604020202020204" pitchFamily="34" charset="0"/>
              <a:buChar char="•"/>
            </a:pPr>
            <a:r>
              <a:rPr lang="pt-BR" sz="2000" dirty="0">
                <a:solidFill>
                  <a:srgbClr val="1C1C1C"/>
                </a:solidFill>
              </a:rPr>
              <a:t>CVC (sedoanalgesia)</a:t>
            </a:r>
          </a:p>
          <a:p>
            <a:pPr marL="800100" lvl="1" indent="-342900">
              <a:lnSpc>
                <a:spcPct val="150000"/>
              </a:lnSpc>
              <a:buFont typeface="Arial" panose="020B0604020202020204" pitchFamily="34" charset="0"/>
              <a:buChar char="•"/>
            </a:pPr>
            <a:r>
              <a:rPr lang="pt-BR" sz="2000" dirty="0">
                <a:solidFill>
                  <a:srgbClr val="1C1C1C"/>
                </a:solidFill>
              </a:rPr>
              <a:t>CVD</a:t>
            </a:r>
          </a:p>
          <a:p>
            <a:pPr marL="342900" indent="-342900">
              <a:lnSpc>
                <a:spcPct val="150000"/>
              </a:lnSpc>
              <a:buFont typeface="Arial" panose="020B0604020202020204" pitchFamily="34" charset="0"/>
              <a:buChar char="•"/>
            </a:pPr>
            <a:r>
              <a:rPr lang="pt-BR" sz="2000" dirty="0">
                <a:solidFill>
                  <a:srgbClr val="1C1C1C"/>
                </a:solidFill>
              </a:rPr>
              <a:t>Evoluindo hemodinamicamente estável</a:t>
            </a:r>
            <a:endParaRPr lang="pt-BR" sz="2000" i="1" noProof="0" dirty="0">
              <a:solidFill>
                <a:srgbClr val="1C1C1C"/>
              </a:solidFill>
            </a:endParaRPr>
          </a:p>
          <a:p>
            <a:pPr>
              <a:lnSpc>
                <a:spcPct val="150000"/>
              </a:lnSpc>
            </a:pPr>
            <a:endParaRPr lang="pt-BR" sz="2000" noProof="0" dirty="0"/>
          </a:p>
        </p:txBody>
      </p:sp>
      <p:sp>
        <p:nvSpPr>
          <p:cNvPr id="8" name="CaixaDeTexto 7">
            <a:extLst>
              <a:ext uri="{FF2B5EF4-FFF2-40B4-BE49-F238E27FC236}">
                <a16:creationId xmlns:a16="http://schemas.microsoft.com/office/drawing/2014/main" id="{5C33105F-6C08-438A-9B6D-F82C365C9929}"/>
              </a:ext>
            </a:extLst>
          </p:cNvPr>
          <p:cNvSpPr txBox="1"/>
          <p:nvPr/>
        </p:nvSpPr>
        <p:spPr>
          <a:xfrm>
            <a:off x="2519500" y="361172"/>
            <a:ext cx="2957454" cy="461665"/>
          </a:xfrm>
          <a:prstGeom prst="rect">
            <a:avLst/>
          </a:prstGeom>
          <a:noFill/>
        </p:spPr>
        <p:txBody>
          <a:bodyPr wrap="square" rtlCol="0">
            <a:spAutoFit/>
          </a:bodyPr>
          <a:lstStyle/>
          <a:p>
            <a:r>
              <a:rPr lang="pt-BR" sz="2400" b="1" noProof="0"/>
              <a:t>CASO 2- Adulto</a:t>
            </a:r>
          </a:p>
        </p:txBody>
      </p:sp>
      <p:sp>
        <p:nvSpPr>
          <p:cNvPr id="60" name="Seta: para Baixo 59">
            <a:extLst>
              <a:ext uri="{FF2B5EF4-FFF2-40B4-BE49-F238E27FC236}">
                <a16:creationId xmlns:a16="http://schemas.microsoft.com/office/drawing/2014/main" id="{45E7D678-2ED1-FD98-20B7-DDAFC48A16A5}"/>
              </a:ext>
            </a:extLst>
          </p:cNvPr>
          <p:cNvSpPr/>
          <p:nvPr/>
        </p:nvSpPr>
        <p:spPr>
          <a:xfrm rot="16200000">
            <a:off x="4969120" y="1677333"/>
            <a:ext cx="457200" cy="542417"/>
          </a:xfrm>
          <a:prstGeom prst="downArrow">
            <a:avLst/>
          </a:prstGeom>
          <a:solidFill>
            <a:srgbClr val="D9D9D9"/>
          </a:solidFill>
          <a:ln w="19050">
            <a:solidFill>
              <a:srgbClr val="7F3D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lgn="just">
              <a:buFont typeface="Arial" panose="020B0604020202020204" pitchFamily="34" charset="0"/>
              <a:buChar char="•"/>
            </a:pPr>
            <a:endParaRPr lang="pt-BR" sz="1800" noProof="0"/>
          </a:p>
        </p:txBody>
      </p:sp>
      <p:sp>
        <p:nvSpPr>
          <p:cNvPr id="61" name="Seta: para Baixo 60">
            <a:extLst>
              <a:ext uri="{FF2B5EF4-FFF2-40B4-BE49-F238E27FC236}">
                <a16:creationId xmlns:a16="http://schemas.microsoft.com/office/drawing/2014/main" id="{440DB1D7-EBA5-36A5-A64F-1C33682FB76D}"/>
              </a:ext>
            </a:extLst>
          </p:cNvPr>
          <p:cNvSpPr/>
          <p:nvPr/>
        </p:nvSpPr>
        <p:spPr>
          <a:xfrm rot="16200000">
            <a:off x="11352906" y="5914519"/>
            <a:ext cx="457200" cy="542417"/>
          </a:xfrm>
          <a:prstGeom prst="downArrow">
            <a:avLst/>
          </a:prstGeom>
          <a:solidFill>
            <a:srgbClr val="D9D9D9"/>
          </a:solidFill>
          <a:ln w="19050">
            <a:solidFill>
              <a:srgbClr val="7F3D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lgn="just">
              <a:buFont typeface="Arial" panose="020B0604020202020204" pitchFamily="34" charset="0"/>
              <a:buChar char="•"/>
            </a:pPr>
            <a:endParaRPr lang="pt-BR" sz="1800" noProof="0"/>
          </a:p>
        </p:txBody>
      </p:sp>
      <p:grpSp>
        <p:nvGrpSpPr>
          <p:cNvPr id="2" name="Agrupar 1">
            <a:extLst>
              <a:ext uri="{FF2B5EF4-FFF2-40B4-BE49-F238E27FC236}">
                <a16:creationId xmlns:a16="http://schemas.microsoft.com/office/drawing/2014/main" id="{7D6D87AE-888B-AB93-0DDA-33620186DE2A}"/>
              </a:ext>
            </a:extLst>
          </p:cNvPr>
          <p:cNvGrpSpPr/>
          <p:nvPr/>
        </p:nvGrpSpPr>
        <p:grpSpPr>
          <a:xfrm>
            <a:off x="275806" y="1948542"/>
            <a:ext cx="4008648" cy="4373255"/>
            <a:chOff x="3907653" y="1584123"/>
            <a:chExt cx="4125687" cy="4093029"/>
          </a:xfrm>
        </p:grpSpPr>
        <p:sp>
          <p:nvSpPr>
            <p:cNvPr id="6" name="Retângulo 5">
              <a:extLst>
                <a:ext uri="{FF2B5EF4-FFF2-40B4-BE49-F238E27FC236}">
                  <a16:creationId xmlns:a16="http://schemas.microsoft.com/office/drawing/2014/main" id="{C34D0236-BF15-5388-47C8-13E66F4972EF}"/>
                </a:ext>
              </a:extLst>
            </p:cNvPr>
            <p:cNvSpPr/>
            <p:nvPr/>
          </p:nvSpPr>
          <p:spPr>
            <a:xfrm>
              <a:off x="3907653" y="1584123"/>
              <a:ext cx="4125687" cy="4093029"/>
            </a:xfrm>
            <a:prstGeom prst="rect">
              <a:avLst/>
            </a:prstGeom>
            <a:solidFill>
              <a:srgbClr val="D9D9D9"/>
            </a:solidFill>
            <a:ln>
              <a:solidFill>
                <a:srgbClr val="8EC6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11" name="Imagem 10">
              <a:extLst>
                <a:ext uri="{FF2B5EF4-FFF2-40B4-BE49-F238E27FC236}">
                  <a16:creationId xmlns:a16="http://schemas.microsoft.com/office/drawing/2014/main" id="{2F04B206-A75A-A2DC-4384-C24521EB9B51}"/>
                </a:ext>
              </a:extLst>
            </p:cNvPr>
            <p:cNvPicPr>
              <a:picLocks noChangeAspect="1"/>
            </p:cNvPicPr>
            <p:nvPr/>
          </p:nvPicPr>
          <p:blipFill rotWithShape="1">
            <a:blip r:embed="rId6"/>
            <a:srcRect l="35536" t="14604" r="54375" b="68729"/>
            <a:stretch/>
          </p:blipFill>
          <p:spPr>
            <a:xfrm>
              <a:off x="5355453" y="1665075"/>
              <a:ext cx="1230086" cy="1142999"/>
            </a:xfrm>
            <a:prstGeom prst="rect">
              <a:avLst/>
            </a:prstGeom>
          </p:spPr>
        </p:pic>
        <p:sp>
          <p:nvSpPr>
            <p:cNvPr id="16" name="CaixaDeTexto 15">
              <a:extLst>
                <a:ext uri="{FF2B5EF4-FFF2-40B4-BE49-F238E27FC236}">
                  <a16:creationId xmlns:a16="http://schemas.microsoft.com/office/drawing/2014/main" id="{F659DB42-6470-1A37-F0FB-38D7C0786387}"/>
                </a:ext>
              </a:extLst>
            </p:cNvPr>
            <p:cNvSpPr txBox="1"/>
            <p:nvPr/>
          </p:nvSpPr>
          <p:spPr>
            <a:xfrm>
              <a:off x="4081828" y="4071698"/>
              <a:ext cx="3777338" cy="544160"/>
            </a:xfrm>
            <a:prstGeom prst="rect">
              <a:avLst/>
            </a:prstGeom>
            <a:noFill/>
          </p:spPr>
          <p:txBody>
            <a:bodyPr wrap="square" rtlCol="0">
              <a:spAutoFit/>
            </a:bodyPr>
            <a:lstStyle/>
            <a:p>
              <a:pPr algn="ctr"/>
              <a:r>
                <a:rPr lang="pt-BR" sz="2000" b="1" i="1">
                  <a:solidFill>
                    <a:srgbClr val="1C1C1C"/>
                  </a:solidFill>
                </a:rPr>
                <a:t>Status</a:t>
              </a:r>
            </a:p>
            <a:p>
              <a:pPr algn="ctr"/>
              <a:r>
                <a:rPr lang="pt-BR" sz="2000">
                  <a:solidFill>
                    <a:srgbClr val="1C1C1C"/>
                  </a:solidFill>
                </a:rPr>
                <a:t>Pós-operatório tardio de</a:t>
              </a:r>
            </a:p>
          </p:txBody>
        </p:sp>
        <p:pic>
          <p:nvPicPr>
            <p:cNvPr id="62" name="Imagem 61">
              <a:extLst>
                <a:ext uri="{FF2B5EF4-FFF2-40B4-BE49-F238E27FC236}">
                  <a16:creationId xmlns:a16="http://schemas.microsoft.com/office/drawing/2014/main" id="{4F53AE20-42DA-7E94-5B89-80F45CA450F0}"/>
                </a:ext>
              </a:extLst>
            </p:cNvPr>
            <p:cNvPicPr>
              <a:picLocks noChangeAspect="1"/>
            </p:cNvPicPr>
            <p:nvPr/>
          </p:nvPicPr>
          <p:blipFill rotWithShape="1">
            <a:blip r:embed="rId6"/>
            <a:srcRect l="35536" t="43810" r="54375" b="48074"/>
            <a:stretch/>
          </p:blipFill>
          <p:spPr>
            <a:xfrm>
              <a:off x="5464313" y="2782719"/>
              <a:ext cx="1230086" cy="556625"/>
            </a:xfrm>
            <a:prstGeom prst="rect">
              <a:avLst/>
            </a:prstGeom>
          </p:spPr>
        </p:pic>
        <p:pic>
          <p:nvPicPr>
            <p:cNvPr id="63" name="Imagem 62">
              <a:extLst>
                <a:ext uri="{FF2B5EF4-FFF2-40B4-BE49-F238E27FC236}">
                  <a16:creationId xmlns:a16="http://schemas.microsoft.com/office/drawing/2014/main" id="{E6CB9890-5B9A-E463-9BC9-B99D8C6ED4DB}"/>
                </a:ext>
              </a:extLst>
            </p:cNvPr>
            <p:cNvPicPr>
              <a:picLocks noChangeAspect="1"/>
            </p:cNvPicPr>
            <p:nvPr/>
          </p:nvPicPr>
          <p:blipFill rotWithShape="1">
            <a:blip r:embed="rId6"/>
            <a:srcRect l="35536" t="35397" r="54375" b="57619"/>
            <a:stretch/>
          </p:blipFill>
          <p:spPr>
            <a:xfrm>
              <a:off x="4081828" y="3025879"/>
              <a:ext cx="1230086" cy="478971"/>
            </a:xfrm>
            <a:prstGeom prst="rect">
              <a:avLst/>
            </a:prstGeom>
          </p:spPr>
        </p:pic>
        <p:pic>
          <p:nvPicPr>
            <p:cNvPr id="64" name="Imagem 63">
              <a:extLst>
                <a:ext uri="{FF2B5EF4-FFF2-40B4-BE49-F238E27FC236}">
                  <a16:creationId xmlns:a16="http://schemas.microsoft.com/office/drawing/2014/main" id="{9A3BD6C5-6E1C-8719-11DC-1BBC52446013}"/>
                </a:ext>
              </a:extLst>
            </p:cNvPr>
            <p:cNvPicPr>
              <a:picLocks noChangeAspect="1"/>
            </p:cNvPicPr>
            <p:nvPr/>
          </p:nvPicPr>
          <p:blipFill rotWithShape="1">
            <a:blip r:embed="rId6"/>
            <a:srcRect l="35536" t="68965" r="54375" b="29206"/>
            <a:stretch/>
          </p:blipFill>
          <p:spPr>
            <a:xfrm>
              <a:off x="6710725" y="3339350"/>
              <a:ext cx="1230086" cy="125435"/>
            </a:xfrm>
            <a:prstGeom prst="rect">
              <a:avLst/>
            </a:prstGeom>
          </p:spPr>
        </p:pic>
        <p:pic>
          <p:nvPicPr>
            <p:cNvPr id="65" name="Imagem 64">
              <a:extLst>
                <a:ext uri="{FF2B5EF4-FFF2-40B4-BE49-F238E27FC236}">
                  <a16:creationId xmlns:a16="http://schemas.microsoft.com/office/drawing/2014/main" id="{9A4B854C-F174-7FF3-ED10-239380D8881B}"/>
                </a:ext>
              </a:extLst>
            </p:cNvPr>
            <p:cNvPicPr>
              <a:picLocks noChangeAspect="1"/>
            </p:cNvPicPr>
            <p:nvPr/>
          </p:nvPicPr>
          <p:blipFill rotWithShape="1">
            <a:blip r:embed="rId6"/>
            <a:srcRect l="35536" t="53181" r="54375" b="45238"/>
            <a:stretch/>
          </p:blipFill>
          <p:spPr>
            <a:xfrm>
              <a:off x="5409883" y="3370993"/>
              <a:ext cx="1230086" cy="108416"/>
            </a:xfrm>
            <a:prstGeom prst="rect">
              <a:avLst/>
            </a:prstGeom>
          </p:spPr>
        </p:pic>
        <p:pic>
          <p:nvPicPr>
            <p:cNvPr id="66" name="Imagem 65">
              <a:extLst>
                <a:ext uri="{FF2B5EF4-FFF2-40B4-BE49-F238E27FC236}">
                  <a16:creationId xmlns:a16="http://schemas.microsoft.com/office/drawing/2014/main" id="{A1AF4327-30A4-1489-FD3B-36A1BCEEA6A7}"/>
                </a:ext>
              </a:extLst>
            </p:cNvPr>
            <p:cNvPicPr>
              <a:picLocks noChangeAspect="1"/>
            </p:cNvPicPr>
            <p:nvPr/>
          </p:nvPicPr>
          <p:blipFill rotWithShape="1">
            <a:blip r:embed="rId6"/>
            <a:srcRect l="35536" t="55880" r="54375" b="32146"/>
            <a:stretch/>
          </p:blipFill>
          <p:spPr>
            <a:xfrm>
              <a:off x="6543719" y="2616535"/>
              <a:ext cx="1475014" cy="821179"/>
            </a:xfrm>
            <a:prstGeom prst="rect">
              <a:avLst/>
            </a:prstGeom>
          </p:spPr>
        </p:pic>
      </p:grpSp>
      <p:sp>
        <p:nvSpPr>
          <p:cNvPr id="67" name="CaixaDeTexto 66">
            <a:extLst>
              <a:ext uri="{FF2B5EF4-FFF2-40B4-BE49-F238E27FC236}">
                <a16:creationId xmlns:a16="http://schemas.microsoft.com/office/drawing/2014/main" id="{90379CA7-2C2E-0A11-1F1C-581EDD1CBE9A}"/>
              </a:ext>
            </a:extLst>
          </p:cNvPr>
          <p:cNvSpPr txBox="1"/>
          <p:nvPr/>
        </p:nvSpPr>
        <p:spPr>
          <a:xfrm>
            <a:off x="246616" y="4371875"/>
            <a:ext cx="3962815" cy="1631216"/>
          </a:xfrm>
          <a:prstGeom prst="rect">
            <a:avLst/>
          </a:prstGeom>
          <a:solidFill>
            <a:srgbClr val="D9D9D9"/>
          </a:solidFill>
        </p:spPr>
        <p:txBody>
          <a:bodyPr wrap="square" rtlCol="0">
            <a:spAutoFit/>
          </a:bodyPr>
          <a:lstStyle/>
          <a:p>
            <a:pPr algn="ctr"/>
            <a:r>
              <a:rPr lang="pt-BR" sz="2000" b="1" i="1" dirty="0">
                <a:solidFill>
                  <a:srgbClr val="1C1C1C"/>
                </a:solidFill>
              </a:rPr>
              <a:t>Status</a:t>
            </a:r>
          </a:p>
          <a:p>
            <a:pPr algn="ctr"/>
            <a:r>
              <a:rPr lang="pt-BR" sz="2000" dirty="0">
                <a:solidFill>
                  <a:srgbClr val="1C1C1C"/>
                </a:solidFill>
              </a:rPr>
              <a:t>Internado na UTI devido à ressecção cirúrgica de tumor de Sistema Nervoso Central </a:t>
            </a:r>
          </a:p>
          <a:p>
            <a:pPr algn="ctr"/>
            <a:r>
              <a:rPr lang="pt-BR" sz="2000" dirty="0">
                <a:solidFill>
                  <a:srgbClr val="1C1C1C"/>
                </a:solidFill>
              </a:rPr>
              <a:t>(pós-operatório imediato)</a:t>
            </a:r>
          </a:p>
        </p:txBody>
      </p:sp>
      <p:sp>
        <p:nvSpPr>
          <p:cNvPr id="4" name="CaixaDeTexto 3">
            <a:extLst>
              <a:ext uri="{FF2B5EF4-FFF2-40B4-BE49-F238E27FC236}">
                <a16:creationId xmlns:a16="http://schemas.microsoft.com/office/drawing/2014/main" id="{58D3A9FC-84FD-007A-EE55-6067436F6C71}"/>
              </a:ext>
            </a:extLst>
          </p:cNvPr>
          <p:cNvSpPr txBox="1"/>
          <p:nvPr/>
        </p:nvSpPr>
        <p:spPr>
          <a:xfrm>
            <a:off x="6008185" y="4573160"/>
            <a:ext cx="5694985" cy="1298882"/>
          </a:xfrm>
          <a:prstGeom prst="rect">
            <a:avLst/>
          </a:prstGeom>
          <a:noFill/>
        </p:spPr>
        <p:txBody>
          <a:bodyPr wrap="square">
            <a:spAutoFit/>
          </a:bodyPr>
          <a:lstStyle/>
          <a:p>
            <a:pPr>
              <a:lnSpc>
                <a:spcPct val="150000"/>
              </a:lnSpc>
            </a:pPr>
            <a:r>
              <a:rPr lang="pt-BR" sz="1800" b="1" dirty="0">
                <a:solidFill>
                  <a:srgbClr val="1C1C1C"/>
                </a:solidFill>
              </a:rPr>
              <a:t>6º dia de internação: </a:t>
            </a:r>
          </a:p>
          <a:p>
            <a:pPr>
              <a:lnSpc>
                <a:spcPct val="150000"/>
              </a:lnSpc>
            </a:pPr>
            <a:endParaRPr lang="pt-BR" sz="1800" b="1" dirty="0">
              <a:solidFill>
                <a:srgbClr val="1C1C1C"/>
              </a:solidFill>
            </a:endParaRPr>
          </a:p>
          <a:p>
            <a:pPr>
              <a:lnSpc>
                <a:spcPct val="150000"/>
              </a:lnSpc>
            </a:pPr>
            <a:r>
              <a:rPr lang="pt-BR" sz="1800" dirty="0"/>
              <a:t>Evoluindo satisfatoriamente do procedimento cirúrgico</a:t>
            </a:r>
          </a:p>
        </p:txBody>
      </p:sp>
      <p:sp>
        <p:nvSpPr>
          <p:cNvPr id="10" name="Seta: para Baixo 9">
            <a:extLst>
              <a:ext uri="{FF2B5EF4-FFF2-40B4-BE49-F238E27FC236}">
                <a16:creationId xmlns:a16="http://schemas.microsoft.com/office/drawing/2014/main" id="{6CB2CC96-8BAB-34C3-9D7C-51EB517E5FB8}"/>
              </a:ext>
            </a:extLst>
          </p:cNvPr>
          <p:cNvSpPr/>
          <p:nvPr/>
        </p:nvSpPr>
        <p:spPr>
          <a:xfrm>
            <a:off x="8076708" y="3815826"/>
            <a:ext cx="457200" cy="542417"/>
          </a:xfrm>
          <a:prstGeom prst="downArrow">
            <a:avLst/>
          </a:prstGeom>
          <a:solidFill>
            <a:srgbClr val="D9D9D9"/>
          </a:solidFill>
          <a:ln w="19050">
            <a:solidFill>
              <a:srgbClr val="7F3D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lgn="just">
              <a:buFont typeface="Arial" panose="020B0604020202020204" pitchFamily="34" charset="0"/>
              <a:buChar char="•"/>
            </a:pPr>
            <a:endParaRPr lang="pt-BR" sz="1800" noProof="0"/>
          </a:p>
        </p:txBody>
      </p:sp>
    </p:spTree>
    <p:extLst>
      <p:ext uri="{BB962C8B-B14F-4D97-AF65-F5344CB8AC3E}">
        <p14:creationId xmlns:p14="http://schemas.microsoft.com/office/powerpoint/2010/main" val="1216832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60" grpId="0" animBg="1"/>
      <p:bldP spid="61" grpId="0" animBg="1"/>
      <p:bldP spid="4" grpId="0"/>
      <p:bldP spid="10"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675AB3-7DBC-D757-59F7-204C78BF2732}"/>
            </a:ext>
          </a:extLst>
        </p:cNvPr>
        <p:cNvGrpSpPr/>
        <p:nvPr/>
      </p:nvGrpSpPr>
      <p:grpSpPr>
        <a:xfrm>
          <a:off x="0" y="0"/>
          <a:ext cx="0" cy="0"/>
          <a:chOff x="0" y="0"/>
          <a:chExt cx="0" cy="0"/>
        </a:xfrm>
      </p:grpSpPr>
      <p:pic>
        <p:nvPicPr>
          <p:cNvPr id="4" name="Imagem 3" descr="Imagem de desenho infantil&#10;&#10;Descrição gerada automaticamente com confiança média">
            <a:extLst>
              <a:ext uri="{FF2B5EF4-FFF2-40B4-BE49-F238E27FC236}">
                <a16:creationId xmlns:a16="http://schemas.microsoft.com/office/drawing/2014/main" id="{29FEE4AC-E649-D6C6-34D9-0D2FF7504FB0}"/>
              </a:ext>
            </a:extLst>
          </p:cNvPr>
          <p:cNvPicPr>
            <a:picLocks noChangeAspect="1"/>
          </p:cNvPicPr>
          <p:nvPr/>
        </p:nvPicPr>
        <p:blipFill rotWithShape="1">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l="8940" t="22000" r="8413" b="22117"/>
          <a:stretch/>
        </p:blipFill>
        <p:spPr>
          <a:xfrm>
            <a:off x="2373330" y="588718"/>
            <a:ext cx="7931650" cy="5363105"/>
          </a:xfrm>
          <a:prstGeom prst="rect">
            <a:avLst/>
          </a:prstGeom>
        </p:spPr>
      </p:pic>
      <p:graphicFrame>
        <p:nvGraphicFramePr>
          <p:cNvPr id="12" name="think-cell data - do not delete" hidden="1">
            <a:extLst>
              <a:ext uri="{FF2B5EF4-FFF2-40B4-BE49-F238E27FC236}">
                <a16:creationId xmlns:a16="http://schemas.microsoft.com/office/drawing/2014/main" id="{992F21D9-5D03-CD1A-A864-19CF2D86BC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06" imgH="308" progId="TCLayout.ActiveDocument.1">
                  <p:embed/>
                </p:oleObj>
              </mc:Choice>
              <mc:Fallback>
                <p:oleObj name="think-cell Slide" r:id="rId6" imgW="306" imgH="308" progId="TCLayout.ActiveDocument.1">
                  <p:embed/>
                  <p:pic>
                    <p:nvPicPr>
                      <p:cNvPr id="12" name="think-cell data - do not delete" hidden="1">
                        <a:extLst>
                          <a:ext uri="{FF2B5EF4-FFF2-40B4-BE49-F238E27FC236}">
                            <a16:creationId xmlns:a16="http://schemas.microsoft.com/office/drawing/2014/main" id="{992F21D9-5D03-CD1A-A864-19CF2D86BCC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13" name="Group 12">
            <a:extLst>
              <a:ext uri="{FF2B5EF4-FFF2-40B4-BE49-F238E27FC236}">
                <a16:creationId xmlns:a16="http://schemas.microsoft.com/office/drawing/2014/main" id="{FE3EF56E-1AB6-D0A8-C7A8-0FA0A5484432}"/>
              </a:ext>
            </a:extLst>
          </p:cNvPr>
          <p:cNvGrpSpPr/>
          <p:nvPr/>
        </p:nvGrpSpPr>
        <p:grpSpPr>
          <a:xfrm>
            <a:off x="304800" y="249455"/>
            <a:ext cx="1193800" cy="462985"/>
            <a:chOff x="5245100" y="211355"/>
            <a:chExt cx="2036664" cy="789869"/>
          </a:xfrm>
        </p:grpSpPr>
        <p:sp>
          <p:nvSpPr>
            <p:cNvPr id="14" name="Freeform: Shape 13">
              <a:extLst>
                <a:ext uri="{FF2B5EF4-FFF2-40B4-BE49-F238E27FC236}">
                  <a16:creationId xmlns:a16="http://schemas.microsoft.com/office/drawing/2014/main" id="{996F5311-0687-66F1-D24F-E59613BED781}"/>
                </a:ext>
              </a:extLst>
            </p:cNvPr>
            <p:cNvSpPr/>
            <p:nvPr/>
          </p:nvSpPr>
          <p:spPr>
            <a:xfrm>
              <a:off x="5245100" y="308520"/>
              <a:ext cx="247894" cy="322815"/>
            </a:xfrm>
            <a:custGeom>
              <a:avLst/>
              <a:gdLst>
                <a:gd name="connsiteX0" fmla="*/ 529590 w 986123"/>
                <a:gd name="connsiteY0" fmla="*/ 1284160 h 1284160"/>
                <a:gd name="connsiteX1" fmla="*/ 249650 w 986123"/>
                <a:gd name="connsiteY1" fmla="*/ 1235107 h 1284160"/>
                <a:gd name="connsiteX2" fmla="*/ 0 w 986123"/>
                <a:gd name="connsiteY2" fmla="*/ 1084421 h 1284160"/>
                <a:gd name="connsiteX3" fmla="*/ 162306 w 986123"/>
                <a:gd name="connsiteY3" fmla="*/ 890016 h 1284160"/>
                <a:gd name="connsiteX4" fmla="*/ 337947 w 986123"/>
                <a:gd name="connsiteY4" fmla="*/ 1000601 h 1284160"/>
                <a:gd name="connsiteX5" fmla="*/ 535019 w 986123"/>
                <a:gd name="connsiteY5" fmla="*/ 1041654 h 1284160"/>
                <a:gd name="connsiteX6" fmla="*/ 667893 w 986123"/>
                <a:gd name="connsiteY6" fmla="*/ 1010412 h 1284160"/>
                <a:gd name="connsiteX7" fmla="*/ 715137 w 986123"/>
                <a:gd name="connsiteY7" fmla="*/ 923925 h 1284160"/>
                <a:gd name="connsiteX8" fmla="*/ 715137 w 986123"/>
                <a:gd name="connsiteY8" fmla="*/ 920305 h 1284160"/>
                <a:gd name="connsiteX9" fmla="*/ 705326 w 986123"/>
                <a:gd name="connsiteY9" fmla="*/ 873062 h 1284160"/>
                <a:gd name="connsiteX10" fmla="*/ 667798 w 986123"/>
                <a:gd name="connsiteY10" fmla="*/ 834676 h 1284160"/>
                <a:gd name="connsiteX11" fmla="*/ 590931 w 986123"/>
                <a:gd name="connsiteY11" fmla="*/ 798957 h 1284160"/>
                <a:gd name="connsiteX12" fmla="*/ 463106 w 986123"/>
                <a:gd name="connsiteY12" fmla="*/ 761524 h 1284160"/>
                <a:gd name="connsiteX13" fmla="*/ 291465 w 986123"/>
                <a:gd name="connsiteY13" fmla="*/ 709803 h 1284160"/>
                <a:gd name="connsiteX14" fmla="*/ 160973 w 986123"/>
                <a:gd name="connsiteY14" fmla="*/ 639318 h 1284160"/>
                <a:gd name="connsiteX15" fmla="*/ 77819 w 986123"/>
                <a:gd name="connsiteY15" fmla="*/ 535019 h 1284160"/>
                <a:gd name="connsiteX16" fmla="*/ 48292 w 986123"/>
                <a:gd name="connsiteY16" fmla="*/ 379857 h 1284160"/>
                <a:gd name="connsiteX17" fmla="*/ 48292 w 986123"/>
                <a:gd name="connsiteY17" fmla="*/ 376238 h 1284160"/>
                <a:gd name="connsiteX18" fmla="*/ 80201 w 986123"/>
                <a:gd name="connsiteY18" fmla="*/ 222028 h 1284160"/>
                <a:gd name="connsiteX19" fmla="*/ 169640 w 986123"/>
                <a:gd name="connsiteY19" fmla="*/ 103441 h 1284160"/>
                <a:gd name="connsiteX20" fmla="*/ 307181 w 986123"/>
                <a:gd name="connsiteY20" fmla="*/ 26765 h 1284160"/>
                <a:gd name="connsiteX21" fmla="*/ 483394 w 986123"/>
                <a:gd name="connsiteY21" fmla="*/ 0 h 1284160"/>
                <a:gd name="connsiteX22" fmla="*/ 735711 w 986123"/>
                <a:gd name="connsiteY22" fmla="*/ 41053 h 1284160"/>
                <a:gd name="connsiteX23" fmla="*/ 946976 w 986123"/>
                <a:gd name="connsiteY23" fmla="*/ 158687 h 1284160"/>
                <a:gd name="connsiteX24" fmla="*/ 804291 w 986123"/>
                <a:gd name="connsiteY24" fmla="*/ 365569 h 1284160"/>
                <a:gd name="connsiteX25" fmla="*/ 640271 w 986123"/>
                <a:gd name="connsiteY25" fmla="*/ 275558 h 1284160"/>
                <a:gd name="connsiteX26" fmla="*/ 479774 w 986123"/>
                <a:gd name="connsiteY26" fmla="*/ 242602 h 1284160"/>
                <a:gd name="connsiteX27" fmla="*/ 359378 w 986123"/>
                <a:gd name="connsiteY27" fmla="*/ 273844 h 1284160"/>
                <a:gd name="connsiteX28" fmla="*/ 319278 w 986123"/>
                <a:gd name="connsiteY28" fmla="*/ 351377 h 1284160"/>
                <a:gd name="connsiteX29" fmla="*/ 319278 w 986123"/>
                <a:gd name="connsiteY29" fmla="*/ 354997 h 1284160"/>
                <a:gd name="connsiteX30" fmla="*/ 330899 w 986123"/>
                <a:gd name="connsiteY30" fmla="*/ 407575 h 1284160"/>
                <a:gd name="connsiteX31" fmla="*/ 372904 w 986123"/>
                <a:gd name="connsiteY31" fmla="*/ 447675 h 1284160"/>
                <a:gd name="connsiteX32" fmla="*/ 456057 w 986123"/>
                <a:gd name="connsiteY32" fmla="*/ 481489 h 1284160"/>
                <a:gd name="connsiteX33" fmla="*/ 589217 w 986123"/>
                <a:gd name="connsiteY33" fmla="*/ 518922 h 1284160"/>
                <a:gd name="connsiteX34" fmla="*/ 758190 w 986123"/>
                <a:gd name="connsiteY34" fmla="*/ 575120 h 1284160"/>
                <a:gd name="connsiteX35" fmla="*/ 883349 w 986123"/>
                <a:gd name="connsiteY35" fmla="*/ 649986 h 1284160"/>
                <a:gd name="connsiteX36" fmla="*/ 960215 w 986123"/>
                <a:gd name="connsiteY36" fmla="*/ 752570 h 1284160"/>
                <a:gd name="connsiteX37" fmla="*/ 986123 w 986123"/>
                <a:gd name="connsiteY37" fmla="*/ 893445 h 1284160"/>
                <a:gd name="connsiteX38" fmla="*/ 986123 w 986123"/>
                <a:gd name="connsiteY38" fmla="*/ 897064 h 1284160"/>
                <a:gd name="connsiteX39" fmla="*/ 952500 w 986123"/>
                <a:gd name="connsiteY39" fmla="*/ 1062038 h 1284160"/>
                <a:gd name="connsiteX40" fmla="*/ 858584 w 986123"/>
                <a:gd name="connsiteY40" fmla="*/ 1183291 h 1284160"/>
                <a:gd name="connsiteX41" fmla="*/ 714851 w 986123"/>
                <a:gd name="connsiteY41" fmla="*/ 1258157 h 1284160"/>
                <a:gd name="connsiteX42" fmla="*/ 529685 w 986123"/>
                <a:gd name="connsiteY42" fmla="*/ 1284065 h 128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6123" h="1284160">
                  <a:moveTo>
                    <a:pt x="529590" y="1284160"/>
                  </a:moveTo>
                  <a:cubicBezTo>
                    <a:pt x="434435" y="1284160"/>
                    <a:pt x="341186" y="1267777"/>
                    <a:pt x="249650" y="1235107"/>
                  </a:cubicBezTo>
                  <a:cubicBezTo>
                    <a:pt x="158115" y="1202436"/>
                    <a:pt x="74867" y="1152239"/>
                    <a:pt x="0" y="1084421"/>
                  </a:cubicBezTo>
                  <a:lnTo>
                    <a:pt x="162306" y="890016"/>
                  </a:lnTo>
                  <a:cubicBezTo>
                    <a:pt x="219361" y="936403"/>
                    <a:pt x="277844" y="973264"/>
                    <a:pt x="337947" y="1000601"/>
                  </a:cubicBezTo>
                  <a:cubicBezTo>
                    <a:pt x="397955" y="1027938"/>
                    <a:pt x="463677" y="1041654"/>
                    <a:pt x="535019" y="1041654"/>
                  </a:cubicBezTo>
                  <a:cubicBezTo>
                    <a:pt x="592074" y="1041654"/>
                    <a:pt x="636365" y="1031272"/>
                    <a:pt x="667893" y="1010412"/>
                  </a:cubicBezTo>
                  <a:cubicBezTo>
                    <a:pt x="699421" y="989647"/>
                    <a:pt x="715137" y="960787"/>
                    <a:pt x="715137" y="923925"/>
                  </a:cubicBezTo>
                  <a:lnTo>
                    <a:pt x="715137" y="920305"/>
                  </a:lnTo>
                  <a:cubicBezTo>
                    <a:pt x="715137" y="902494"/>
                    <a:pt x="711803" y="886777"/>
                    <a:pt x="705326" y="873062"/>
                  </a:cubicBezTo>
                  <a:cubicBezTo>
                    <a:pt x="698754" y="859441"/>
                    <a:pt x="686276" y="846582"/>
                    <a:pt x="667798" y="834676"/>
                  </a:cubicBezTo>
                  <a:cubicBezTo>
                    <a:pt x="649319" y="822770"/>
                    <a:pt x="623697" y="810863"/>
                    <a:pt x="590931" y="798957"/>
                  </a:cubicBezTo>
                  <a:cubicBezTo>
                    <a:pt x="558165" y="787146"/>
                    <a:pt x="515493" y="774573"/>
                    <a:pt x="463106" y="761524"/>
                  </a:cubicBezTo>
                  <a:cubicBezTo>
                    <a:pt x="399955" y="746093"/>
                    <a:pt x="342710" y="728853"/>
                    <a:pt x="291465" y="709803"/>
                  </a:cubicBezTo>
                  <a:cubicBezTo>
                    <a:pt x="240221" y="690753"/>
                    <a:pt x="196691" y="667322"/>
                    <a:pt x="160973" y="639318"/>
                  </a:cubicBezTo>
                  <a:cubicBezTo>
                    <a:pt x="125159" y="611410"/>
                    <a:pt x="97536" y="576644"/>
                    <a:pt x="77819" y="535019"/>
                  </a:cubicBezTo>
                  <a:cubicBezTo>
                    <a:pt x="58103" y="493395"/>
                    <a:pt x="48292" y="441674"/>
                    <a:pt x="48292" y="379857"/>
                  </a:cubicBezTo>
                  <a:lnTo>
                    <a:pt x="48292" y="376238"/>
                  </a:lnTo>
                  <a:cubicBezTo>
                    <a:pt x="48292" y="319183"/>
                    <a:pt x="58865" y="267748"/>
                    <a:pt x="80201" y="222028"/>
                  </a:cubicBezTo>
                  <a:cubicBezTo>
                    <a:pt x="101441" y="176308"/>
                    <a:pt x="131255" y="136779"/>
                    <a:pt x="169640" y="103441"/>
                  </a:cubicBezTo>
                  <a:cubicBezTo>
                    <a:pt x="208026" y="70199"/>
                    <a:pt x="253841" y="44577"/>
                    <a:pt x="307181" y="26765"/>
                  </a:cubicBezTo>
                  <a:cubicBezTo>
                    <a:pt x="360426" y="8953"/>
                    <a:pt x="419195" y="0"/>
                    <a:pt x="483394" y="0"/>
                  </a:cubicBezTo>
                  <a:cubicBezTo>
                    <a:pt x="574929" y="0"/>
                    <a:pt x="659035" y="13716"/>
                    <a:pt x="735711" y="41053"/>
                  </a:cubicBezTo>
                  <a:cubicBezTo>
                    <a:pt x="812387" y="68389"/>
                    <a:pt x="882777" y="107632"/>
                    <a:pt x="946976" y="158687"/>
                  </a:cubicBezTo>
                  <a:lnTo>
                    <a:pt x="804291" y="365569"/>
                  </a:lnTo>
                  <a:cubicBezTo>
                    <a:pt x="748379" y="327565"/>
                    <a:pt x="693706" y="297561"/>
                    <a:pt x="640271" y="275558"/>
                  </a:cubicBezTo>
                  <a:cubicBezTo>
                    <a:pt x="586740" y="253555"/>
                    <a:pt x="533305" y="242602"/>
                    <a:pt x="479774" y="242602"/>
                  </a:cubicBezTo>
                  <a:cubicBezTo>
                    <a:pt x="426244" y="242602"/>
                    <a:pt x="386144" y="252984"/>
                    <a:pt x="359378" y="273844"/>
                  </a:cubicBezTo>
                  <a:cubicBezTo>
                    <a:pt x="332613" y="294608"/>
                    <a:pt x="319278" y="320516"/>
                    <a:pt x="319278" y="351377"/>
                  </a:cubicBezTo>
                  <a:lnTo>
                    <a:pt x="319278" y="354997"/>
                  </a:lnTo>
                  <a:cubicBezTo>
                    <a:pt x="319278" y="375190"/>
                    <a:pt x="323183" y="392716"/>
                    <a:pt x="330899" y="407575"/>
                  </a:cubicBezTo>
                  <a:cubicBezTo>
                    <a:pt x="338614" y="422434"/>
                    <a:pt x="352616" y="435864"/>
                    <a:pt x="372904" y="447675"/>
                  </a:cubicBezTo>
                  <a:cubicBezTo>
                    <a:pt x="393192" y="459581"/>
                    <a:pt x="420910" y="470821"/>
                    <a:pt x="456057" y="481489"/>
                  </a:cubicBezTo>
                  <a:cubicBezTo>
                    <a:pt x="491204" y="492157"/>
                    <a:pt x="535591" y="504730"/>
                    <a:pt x="589217" y="518922"/>
                  </a:cubicBezTo>
                  <a:cubicBezTo>
                    <a:pt x="652367" y="535591"/>
                    <a:pt x="708660" y="554260"/>
                    <a:pt x="758190" y="575120"/>
                  </a:cubicBezTo>
                  <a:cubicBezTo>
                    <a:pt x="807625" y="595979"/>
                    <a:pt x="849344" y="620935"/>
                    <a:pt x="883349" y="649986"/>
                  </a:cubicBezTo>
                  <a:cubicBezTo>
                    <a:pt x="917353" y="679132"/>
                    <a:pt x="942975" y="713327"/>
                    <a:pt x="960215" y="752570"/>
                  </a:cubicBezTo>
                  <a:cubicBezTo>
                    <a:pt x="977456" y="791813"/>
                    <a:pt x="986123" y="838772"/>
                    <a:pt x="986123" y="893445"/>
                  </a:cubicBezTo>
                  <a:lnTo>
                    <a:pt x="986123" y="897064"/>
                  </a:lnTo>
                  <a:cubicBezTo>
                    <a:pt x="986123" y="958882"/>
                    <a:pt x="974884" y="1013841"/>
                    <a:pt x="952500" y="1062038"/>
                  </a:cubicBezTo>
                  <a:cubicBezTo>
                    <a:pt x="930021" y="1110139"/>
                    <a:pt x="898779" y="1150620"/>
                    <a:pt x="858584" y="1183291"/>
                  </a:cubicBezTo>
                  <a:cubicBezTo>
                    <a:pt x="818388" y="1216057"/>
                    <a:pt x="770477" y="1241012"/>
                    <a:pt x="714851" y="1258157"/>
                  </a:cubicBezTo>
                  <a:cubicBezTo>
                    <a:pt x="659130" y="1275398"/>
                    <a:pt x="597503" y="1284065"/>
                    <a:pt x="529685" y="1284065"/>
                  </a:cubicBezTo>
                  <a:close/>
                </a:path>
              </a:pathLst>
            </a:custGeom>
            <a:solidFill>
              <a:srgbClr val="44505E"/>
            </a:solidFill>
            <a:ln w="9525" cap="flat">
              <a:noFill/>
              <a:prstDash val="solid"/>
              <a:miter/>
            </a:ln>
          </p:spPr>
          <p:txBody>
            <a:bodyPr rtlCol="0" anchor="ctr"/>
            <a:lstStyle/>
            <a:p>
              <a:endParaRPr lang="pt-BR" noProof="0"/>
            </a:p>
          </p:txBody>
        </p:sp>
        <p:sp>
          <p:nvSpPr>
            <p:cNvPr id="17" name="Freeform: Shape 16">
              <a:extLst>
                <a:ext uri="{FF2B5EF4-FFF2-40B4-BE49-F238E27FC236}">
                  <a16:creationId xmlns:a16="http://schemas.microsoft.com/office/drawing/2014/main" id="{B4B5D7D3-65E6-8477-6CA3-73125FDB2142}"/>
                </a:ext>
              </a:extLst>
            </p:cNvPr>
            <p:cNvSpPr/>
            <p:nvPr/>
          </p:nvSpPr>
          <p:spPr>
            <a:xfrm>
              <a:off x="5492084" y="310867"/>
              <a:ext cx="332584" cy="315991"/>
            </a:xfrm>
            <a:custGeom>
              <a:avLst/>
              <a:gdLst>
                <a:gd name="connsiteX0" fmla="*/ 534924 w 1323022"/>
                <a:gd name="connsiteY0" fmla="*/ 0 h 1257014"/>
                <a:gd name="connsiteX1" fmla="*/ 788099 w 1323022"/>
                <a:gd name="connsiteY1" fmla="*/ 0 h 1257014"/>
                <a:gd name="connsiteX2" fmla="*/ 1323023 w 1323022"/>
                <a:gd name="connsiteY2" fmla="*/ 1257014 h 1257014"/>
                <a:gd name="connsiteX3" fmla="*/ 1035939 w 1323022"/>
                <a:gd name="connsiteY3" fmla="*/ 1257014 h 1257014"/>
                <a:gd name="connsiteX4" fmla="*/ 921829 w 1323022"/>
                <a:gd name="connsiteY4" fmla="*/ 977075 h 1257014"/>
                <a:gd name="connsiteX5" fmla="*/ 394049 w 1323022"/>
                <a:gd name="connsiteY5" fmla="*/ 977075 h 1257014"/>
                <a:gd name="connsiteX6" fmla="*/ 279940 w 1323022"/>
                <a:gd name="connsiteY6" fmla="*/ 1257014 h 1257014"/>
                <a:gd name="connsiteX7" fmla="*/ 0 w 1323022"/>
                <a:gd name="connsiteY7" fmla="*/ 1257014 h 1257014"/>
                <a:gd name="connsiteX8" fmla="*/ 534924 w 1323022"/>
                <a:gd name="connsiteY8" fmla="*/ 0 h 1257014"/>
                <a:gd name="connsiteX9" fmla="*/ 823817 w 1323022"/>
                <a:gd name="connsiteY9" fmla="*/ 734568 h 1257014"/>
                <a:gd name="connsiteX10" fmla="*/ 657987 w 1323022"/>
                <a:gd name="connsiteY10" fmla="*/ 329851 h 1257014"/>
                <a:gd name="connsiteX11" fmla="*/ 492157 w 1323022"/>
                <a:gd name="connsiteY11" fmla="*/ 734568 h 1257014"/>
                <a:gd name="connsiteX12" fmla="*/ 823817 w 1323022"/>
                <a:gd name="connsiteY12" fmla="*/ 734568 h 125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022" h="1257014">
                  <a:moveTo>
                    <a:pt x="534924" y="0"/>
                  </a:moveTo>
                  <a:lnTo>
                    <a:pt x="788099" y="0"/>
                  </a:lnTo>
                  <a:lnTo>
                    <a:pt x="1323023" y="1257014"/>
                  </a:lnTo>
                  <a:lnTo>
                    <a:pt x="1035939" y="1257014"/>
                  </a:lnTo>
                  <a:lnTo>
                    <a:pt x="921829" y="977075"/>
                  </a:lnTo>
                  <a:lnTo>
                    <a:pt x="394049" y="977075"/>
                  </a:lnTo>
                  <a:lnTo>
                    <a:pt x="279940" y="1257014"/>
                  </a:lnTo>
                  <a:lnTo>
                    <a:pt x="0" y="1257014"/>
                  </a:lnTo>
                  <a:lnTo>
                    <a:pt x="534924" y="0"/>
                  </a:lnTo>
                  <a:close/>
                  <a:moveTo>
                    <a:pt x="823817" y="734568"/>
                  </a:moveTo>
                  <a:lnTo>
                    <a:pt x="657987" y="329851"/>
                  </a:lnTo>
                  <a:lnTo>
                    <a:pt x="492157" y="734568"/>
                  </a:lnTo>
                  <a:lnTo>
                    <a:pt x="823817" y="734568"/>
                  </a:lnTo>
                  <a:close/>
                </a:path>
              </a:pathLst>
            </a:custGeom>
            <a:solidFill>
              <a:srgbClr val="44505E"/>
            </a:solidFill>
            <a:ln w="9525" cap="flat">
              <a:noFill/>
              <a:prstDash val="solid"/>
              <a:miter/>
            </a:ln>
          </p:spPr>
          <p:txBody>
            <a:bodyPr rtlCol="0" anchor="ctr"/>
            <a:lstStyle/>
            <a:p>
              <a:endParaRPr lang="pt-BR" noProof="0"/>
            </a:p>
          </p:txBody>
        </p:sp>
        <p:sp>
          <p:nvSpPr>
            <p:cNvPr id="18" name="Freeform: Shape 17">
              <a:extLst>
                <a:ext uri="{FF2B5EF4-FFF2-40B4-BE49-F238E27FC236}">
                  <a16:creationId xmlns:a16="http://schemas.microsoft.com/office/drawing/2014/main" id="{36C56214-A878-E712-E818-C8A91B92D3A5}"/>
                </a:ext>
              </a:extLst>
            </p:cNvPr>
            <p:cNvSpPr/>
            <p:nvPr/>
          </p:nvSpPr>
          <p:spPr>
            <a:xfrm>
              <a:off x="5834078" y="211355"/>
              <a:ext cx="273442" cy="420435"/>
            </a:xfrm>
            <a:custGeom>
              <a:avLst/>
              <a:gdLst>
                <a:gd name="connsiteX0" fmla="*/ 540258 w 1087754"/>
                <a:gd name="connsiteY0" fmla="*/ 1672495 h 1672494"/>
                <a:gd name="connsiteX1" fmla="*/ 144399 w 1087754"/>
                <a:gd name="connsiteY1" fmla="*/ 1533430 h 1672494"/>
                <a:gd name="connsiteX2" fmla="*/ 0 w 1087754"/>
                <a:gd name="connsiteY2" fmla="*/ 1117949 h 1672494"/>
                <a:gd name="connsiteX3" fmla="*/ 0 w 1087754"/>
                <a:gd name="connsiteY3" fmla="*/ 404717 h 1672494"/>
                <a:gd name="connsiteX4" fmla="*/ 274606 w 1087754"/>
                <a:gd name="connsiteY4" fmla="*/ 404717 h 1672494"/>
                <a:gd name="connsiteX5" fmla="*/ 274606 w 1087754"/>
                <a:gd name="connsiteY5" fmla="*/ 1110806 h 1672494"/>
                <a:gd name="connsiteX6" fmla="*/ 345948 w 1087754"/>
                <a:gd name="connsiteY6" fmla="*/ 1341692 h 1672494"/>
                <a:gd name="connsiteX7" fmla="*/ 543877 w 1087754"/>
                <a:gd name="connsiteY7" fmla="*/ 1419225 h 1672494"/>
                <a:gd name="connsiteX8" fmla="*/ 741807 w 1087754"/>
                <a:gd name="connsiteY8" fmla="*/ 1344359 h 1672494"/>
                <a:gd name="connsiteX9" fmla="*/ 813149 w 1087754"/>
                <a:gd name="connsiteY9" fmla="*/ 1119664 h 1672494"/>
                <a:gd name="connsiteX10" fmla="*/ 813149 w 1087754"/>
                <a:gd name="connsiteY10" fmla="*/ 404717 h 1672494"/>
                <a:gd name="connsiteX11" fmla="*/ 1087755 w 1087754"/>
                <a:gd name="connsiteY11" fmla="*/ 404717 h 1672494"/>
                <a:gd name="connsiteX12" fmla="*/ 1087755 w 1087754"/>
                <a:gd name="connsiteY12" fmla="*/ 1108996 h 1672494"/>
                <a:gd name="connsiteX13" fmla="*/ 1049369 w 1087754"/>
                <a:gd name="connsiteY13" fmla="*/ 1356836 h 1672494"/>
                <a:gd name="connsiteX14" fmla="*/ 939737 w 1087754"/>
                <a:gd name="connsiteY14" fmla="*/ 1532477 h 1672494"/>
                <a:gd name="connsiteX15" fmla="*/ 766763 w 1087754"/>
                <a:gd name="connsiteY15" fmla="*/ 1637729 h 1672494"/>
                <a:gd name="connsiteX16" fmla="*/ 540353 w 1087754"/>
                <a:gd name="connsiteY16" fmla="*/ 1672495 h 1672494"/>
                <a:gd name="connsiteX17" fmla="*/ 622268 w 1087754"/>
                <a:gd name="connsiteY17" fmla="*/ 0 h 1672494"/>
                <a:gd name="connsiteX18" fmla="*/ 855821 w 1087754"/>
                <a:gd name="connsiteY18" fmla="*/ 101632 h 1672494"/>
                <a:gd name="connsiteX19" fmla="*/ 627602 w 1087754"/>
                <a:gd name="connsiteY19" fmla="*/ 315563 h 1672494"/>
                <a:gd name="connsiteX20" fmla="*/ 420719 w 1087754"/>
                <a:gd name="connsiteY20" fmla="*/ 315563 h 1672494"/>
                <a:gd name="connsiteX21" fmla="*/ 622268 w 1087754"/>
                <a:gd name="connsiteY21" fmla="*/ 0 h 16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754" h="1672494">
                  <a:moveTo>
                    <a:pt x="540258" y="1672495"/>
                  </a:moveTo>
                  <a:cubicBezTo>
                    <a:pt x="372618" y="1672495"/>
                    <a:pt x="240697" y="1626108"/>
                    <a:pt x="144399" y="1533430"/>
                  </a:cubicBezTo>
                  <a:cubicBezTo>
                    <a:pt x="48101" y="1440752"/>
                    <a:pt x="0" y="1302258"/>
                    <a:pt x="0" y="1117949"/>
                  </a:cubicBezTo>
                  <a:lnTo>
                    <a:pt x="0" y="404717"/>
                  </a:lnTo>
                  <a:lnTo>
                    <a:pt x="274606" y="404717"/>
                  </a:lnTo>
                  <a:lnTo>
                    <a:pt x="274606" y="1110806"/>
                  </a:lnTo>
                  <a:cubicBezTo>
                    <a:pt x="274606" y="1213009"/>
                    <a:pt x="298418" y="1289971"/>
                    <a:pt x="345948" y="1341692"/>
                  </a:cubicBezTo>
                  <a:cubicBezTo>
                    <a:pt x="393478" y="1393412"/>
                    <a:pt x="459486" y="1419225"/>
                    <a:pt x="543877" y="1419225"/>
                  </a:cubicBezTo>
                  <a:cubicBezTo>
                    <a:pt x="628269" y="1419225"/>
                    <a:pt x="694277" y="1394270"/>
                    <a:pt x="741807" y="1344359"/>
                  </a:cubicBezTo>
                  <a:cubicBezTo>
                    <a:pt x="789337" y="1294448"/>
                    <a:pt x="813149" y="1219581"/>
                    <a:pt x="813149" y="1119664"/>
                  </a:cubicBezTo>
                  <a:lnTo>
                    <a:pt x="813149" y="404717"/>
                  </a:lnTo>
                  <a:lnTo>
                    <a:pt x="1087755" y="404717"/>
                  </a:lnTo>
                  <a:lnTo>
                    <a:pt x="1087755" y="1108996"/>
                  </a:lnTo>
                  <a:cubicBezTo>
                    <a:pt x="1087755" y="1204151"/>
                    <a:pt x="1074992" y="1286732"/>
                    <a:pt x="1049369" y="1356836"/>
                  </a:cubicBezTo>
                  <a:cubicBezTo>
                    <a:pt x="1023747" y="1426940"/>
                    <a:pt x="987266" y="1485519"/>
                    <a:pt x="939737" y="1532477"/>
                  </a:cubicBezTo>
                  <a:cubicBezTo>
                    <a:pt x="892207" y="1579436"/>
                    <a:pt x="834485" y="1614488"/>
                    <a:pt x="766763" y="1637729"/>
                  </a:cubicBezTo>
                  <a:cubicBezTo>
                    <a:pt x="699040" y="1660874"/>
                    <a:pt x="623507" y="1672495"/>
                    <a:pt x="540353" y="1672495"/>
                  </a:cubicBezTo>
                  <a:close/>
                  <a:moveTo>
                    <a:pt x="622268" y="0"/>
                  </a:moveTo>
                  <a:lnTo>
                    <a:pt x="855821" y="101632"/>
                  </a:lnTo>
                  <a:lnTo>
                    <a:pt x="627602" y="315563"/>
                  </a:lnTo>
                  <a:lnTo>
                    <a:pt x="420719" y="315563"/>
                  </a:lnTo>
                  <a:lnTo>
                    <a:pt x="622268" y="0"/>
                  </a:lnTo>
                  <a:close/>
                </a:path>
              </a:pathLst>
            </a:custGeom>
            <a:solidFill>
              <a:srgbClr val="44505E"/>
            </a:solidFill>
            <a:ln w="9525" cap="flat">
              <a:noFill/>
              <a:prstDash val="solid"/>
              <a:miter/>
            </a:ln>
          </p:spPr>
          <p:txBody>
            <a:bodyPr rtlCol="0" anchor="ctr"/>
            <a:lstStyle/>
            <a:p>
              <a:endParaRPr lang="pt-BR" noProof="0"/>
            </a:p>
          </p:txBody>
        </p:sp>
        <p:sp>
          <p:nvSpPr>
            <p:cNvPr id="19" name="Freeform: Shape 18">
              <a:extLst>
                <a:ext uri="{FF2B5EF4-FFF2-40B4-BE49-F238E27FC236}">
                  <a16:creationId xmlns:a16="http://schemas.microsoft.com/office/drawing/2014/main" id="{C99AA14A-ACD6-176F-B1B4-5E0F8180D2D6}"/>
                </a:ext>
              </a:extLst>
            </p:cNvPr>
            <p:cNvSpPr/>
            <p:nvPr/>
          </p:nvSpPr>
          <p:spPr>
            <a:xfrm>
              <a:off x="6143795" y="313094"/>
              <a:ext cx="289101" cy="313764"/>
            </a:xfrm>
            <a:custGeom>
              <a:avLst/>
              <a:gdLst>
                <a:gd name="connsiteX0" fmla="*/ 0 w 1150048"/>
                <a:gd name="connsiteY0" fmla="*/ 0 h 1248155"/>
                <a:gd name="connsiteX1" fmla="*/ 486728 w 1150048"/>
                <a:gd name="connsiteY1" fmla="*/ 0 h 1248155"/>
                <a:gd name="connsiteX2" fmla="*/ 755047 w 1150048"/>
                <a:gd name="connsiteY2" fmla="*/ 47244 h 1248155"/>
                <a:gd name="connsiteX3" fmla="*/ 965454 w 1150048"/>
                <a:gd name="connsiteY3" fmla="*/ 178308 h 1248155"/>
                <a:gd name="connsiteX4" fmla="*/ 1101852 w 1150048"/>
                <a:gd name="connsiteY4" fmla="*/ 375380 h 1248155"/>
                <a:gd name="connsiteX5" fmla="*/ 1150049 w 1150048"/>
                <a:gd name="connsiteY5" fmla="*/ 620554 h 1248155"/>
                <a:gd name="connsiteX6" fmla="*/ 1150049 w 1150048"/>
                <a:gd name="connsiteY6" fmla="*/ 624173 h 1248155"/>
                <a:gd name="connsiteX7" fmla="*/ 1101852 w 1150048"/>
                <a:gd name="connsiteY7" fmla="*/ 870204 h 1248155"/>
                <a:gd name="connsiteX8" fmla="*/ 965454 w 1150048"/>
                <a:gd name="connsiteY8" fmla="*/ 1068134 h 1248155"/>
                <a:gd name="connsiteX9" fmla="*/ 755047 w 1150048"/>
                <a:gd name="connsiteY9" fmla="*/ 1200055 h 1248155"/>
                <a:gd name="connsiteX10" fmla="*/ 486728 w 1150048"/>
                <a:gd name="connsiteY10" fmla="*/ 1248156 h 1248155"/>
                <a:gd name="connsiteX11" fmla="*/ 0 w 1150048"/>
                <a:gd name="connsiteY11" fmla="*/ 1248156 h 1248155"/>
                <a:gd name="connsiteX12" fmla="*/ 0 w 1150048"/>
                <a:gd name="connsiteY12" fmla="*/ 0 h 1248155"/>
                <a:gd name="connsiteX13" fmla="*/ 486728 w 1150048"/>
                <a:gd name="connsiteY13" fmla="*/ 1000315 h 1248155"/>
                <a:gd name="connsiteX14" fmla="*/ 640080 w 1150048"/>
                <a:gd name="connsiteY14" fmla="*/ 973550 h 1248155"/>
                <a:gd name="connsiteX15" fmla="*/ 758667 w 1150048"/>
                <a:gd name="connsiteY15" fmla="*/ 896874 h 1248155"/>
                <a:gd name="connsiteX16" fmla="*/ 835343 w 1150048"/>
                <a:gd name="connsiteY16" fmla="*/ 779240 h 1248155"/>
                <a:gd name="connsiteX17" fmla="*/ 862965 w 1150048"/>
                <a:gd name="connsiteY17" fmla="*/ 627698 h 1248155"/>
                <a:gd name="connsiteX18" fmla="*/ 862965 w 1150048"/>
                <a:gd name="connsiteY18" fmla="*/ 624078 h 1248155"/>
                <a:gd name="connsiteX19" fmla="*/ 835343 w 1150048"/>
                <a:gd name="connsiteY19" fmla="*/ 472535 h 1248155"/>
                <a:gd name="connsiteX20" fmla="*/ 758667 w 1150048"/>
                <a:gd name="connsiteY20" fmla="*/ 353092 h 1248155"/>
                <a:gd name="connsiteX21" fmla="*/ 640080 w 1150048"/>
                <a:gd name="connsiteY21" fmla="*/ 275558 h 1248155"/>
                <a:gd name="connsiteX22" fmla="*/ 486728 w 1150048"/>
                <a:gd name="connsiteY22" fmla="*/ 247936 h 1248155"/>
                <a:gd name="connsiteX23" fmla="*/ 274511 w 1150048"/>
                <a:gd name="connsiteY23" fmla="*/ 247936 h 1248155"/>
                <a:gd name="connsiteX24" fmla="*/ 274511 w 1150048"/>
                <a:gd name="connsiteY24" fmla="*/ 1000411 h 1248155"/>
                <a:gd name="connsiteX25" fmla="*/ 486728 w 1150048"/>
                <a:gd name="connsiteY25" fmla="*/ 1000411 h 124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50048" h="1248155">
                  <a:moveTo>
                    <a:pt x="0" y="0"/>
                  </a:moveTo>
                  <a:lnTo>
                    <a:pt x="486728" y="0"/>
                  </a:lnTo>
                  <a:cubicBezTo>
                    <a:pt x="584168" y="0"/>
                    <a:pt x="673608" y="15811"/>
                    <a:pt x="755047" y="47244"/>
                  </a:cubicBezTo>
                  <a:cubicBezTo>
                    <a:pt x="836486" y="78772"/>
                    <a:pt x="906590" y="122396"/>
                    <a:pt x="965454" y="178308"/>
                  </a:cubicBezTo>
                  <a:cubicBezTo>
                    <a:pt x="1024319" y="234220"/>
                    <a:pt x="1069753" y="299847"/>
                    <a:pt x="1101852" y="375380"/>
                  </a:cubicBezTo>
                  <a:cubicBezTo>
                    <a:pt x="1133951" y="450914"/>
                    <a:pt x="1150049" y="532543"/>
                    <a:pt x="1150049" y="620554"/>
                  </a:cubicBezTo>
                  <a:lnTo>
                    <a:pt x="1150049" y="624173"/>
                  </a:lnTo>
                  <a:cubicBezTo>
                    <a:pt x="1150049" y="712184"/>
                    <a:pt x="1133951" y="794195"/>
                    <a:pt x="1101852" y="870204"/>
                  </a:cubicBezTo>
                  <a:cubicBezTo>
                    <a:pt x="1069753" y="946309"/>
                    <a:pt x="1024319" y="1012222"/>
                    <a:pt x="965454" y="1068134"/>
                  </a:cubicBezTo>
                  <a:cubicBezTo>
                    <a:pt x="906590" y="1124045"/>
                    <a:pt x="836486" y="1167956"/>
                    <a:pt x="755047" y="1200055"/>
                  </a:cubicBezTo>
                  <a:cubicBezTo>
                    <a:pt x="673608" y="1232154"/>
                    <a:pt x="584168" y="1248156"/>
                    <a:pt x="486728" y="1248156"/>
                  </a:cubicBezTo>
                  <a:lnTo>
                    <a:pt x="0" y="1248156"/>
                  </a:lnTo>
                  <a:lnTo>
                    <a:pt x="0" y="0"/>
                  </a:lnTo>
                  <a:close/>
                  <a:moveTo>
                    <a:pt x="486728" y="1000315"/>
                  </a:moveTo>
                  <a:cubicBezTo>
                    <a:pt x="542639" y="1000315"/>
                    <a:pt x="593693" y="991457"/>
                    <a:pt x="640080" y="973550"/>
                  </a:cubicBezTo>
                  <a:cubicBezTo>
                    <a:pt x="686467" y="955739"/>
                    <a:pt x="725900" y="930211"/>
                    <a:pt x="758667" y="896874"/>
                  </a:cubicBezTo>
                  <a:cubicBezTo>
                    <a:pt x="791337" y="863632"/>
                    <a:pt x="816864" y="824389"/>
                    <a:pt x="835343" y="779240"/>
                  </a:cubicBezTo>
                  <a:cubicBezTo>
                    <a:pt x="853726" y="734092"/>
                    <a:pt x="862965" y="683609"/>
                    <a:pt x="862965" y="627698"/>
                  </a:cubicBezTo>
                  <a:lnTo>
                    <a:pt x="862965" y="624078"/>
                  </a:lnTo>
                  <a:cubicBezTo>
                    <a:pt x="862965" y="569404"/>
                    <a:pt x="853726" y="518827"/>
                    <a:pt x="835343" y="472535"/>
                  </a:cubicBezTo>
                  <a:cubicBezTo>
                    <a:pt x="816864" y="426149"/>
                    <a:pt x="791337" y="386334"/>
                    <a:pt x="758667" y="353092"/>
                  </a:cubicBezTo>
                  <a:cubicBezTo>
                    <a:pt x="725996" y="319849"/>
                    <a:pt x="686467" y="293941"/>
                    <a:pt x="640080" y="275558"/>
                  </a:cubicBezTo>
                  <a:cubicBezTo>
                    <a:pt x="593693" y="257175"/>
                    <a:pt x="542639" y="247936"/>
                    <a:pt x="486728" y="247936"/>
                  </a:cubicBezTo>
                  <a:lnTo>
                    <a:pt x="274511" y="247936"/>
                  </a:lnTo>
                  <a:lnTo>
                    <a:pt x="274511" y="1000411"/>
                  </a:lnTo>
                  <a:lnTo>
                    <a:pt x="486728" y="1000411"/>
                  </a:lnTo>
                  <a:close/>
                </a:path>
              </a:pathLst>
            </a:custGeom>
            <a:solidFill>
              <a:srgbClr val="44505E"/>
            </a:solidFill>
            <a:ln w="9525" cap="flat">
              <a:noFill/>
              <a:prstDash val="solid"/>
              <a:miter/>
            </a:ln>
          </p:spPr>
          <p:txBody>
            <a:bodyPr rtlCol="0" anchor="ctr"/>
            <a:lstStyle/>
            <a:p>
              <a:endParaRPr lang="pt-BR" noProof="0"/>
            </a:p>
          </p:txBody>
        </p:sp>
        <p:sp>
          <p:nvSpPr>
            <p:cNvPr id="20" name="Freeform: Shape 19">
              <a:extLst>
                <a:ext uri="{FF2B5EF4-FFF2-40B4-BE49-F238E27FC236}">
                  <a16:creationId xmlns:a16="http://schemas.microsoft.com/office/drawing/2014/main" id="{852542F7-E923-85F7-A2D1-E80EAD49FB0D}"/>
                </a:ext>
              </a:extLst>
            </p:cNvPr>
            <p:cNvSpPr/>
            <p:nvPr/>
          </p:nvSpPr>
          <p:spPr>
            <a:xfrm>
              <a:off x="6460217" y="313094"/>
              <a:ext cx="238459" cy="313788"/>
            </a:xfrm>
            <a:custGeom>
              <a:avLst/>
              <a:gdLst>
                <a:gd name="connsiteX0" fmla="*/ 95 w 948594"/>
                <a:gd name="connsiteY0" fmla="*/ 0 h 1248251"/>
                <a:gd name="connsiteX1" fmla="*/ 939737 w 948594"/>
                <a:gd name="connsiteY1" fmla="*/ 0 h 1248251"/>
                <a:gd name="connsiteX2" fmla="*/ 939737 w 948594"/>
                <a:gd name="connsiteY2" fmla="*/ 244316 h 1248251"/>
                <a:gd name="connsiteX3" fmla="*/ 271081 w 948594"/>
                <a:gd name="connsiteY3" fmla="*/ 244316 h 1248251"/>
                <a:gd name="connsiteX4" fmla="*/ 271081 w 948594"/>
                <a:gd name="connsiteY4" fmla="*/ 497491 h 1248251"/>
                <a:gd name="connsiteX5" fmla="*/ 859441 w 948594"/>
                <a:gd name="connsiteY5" fmla="*/ 497491 h 1248251"/>
                <a:gd name="connsiteX6" fmla="*/ 859441 w 948594"/>
                <a:gd name="connsiteY6" fmla="*/ 741807 h 1248251"/>
                <a:gd name="connsiteX7" fmla="*/ 271081 w 948594"/>
                <a:gd name="connsiteY7" fmla="*/ 741807 h 1248251"/>
                <a:gd name="connsiteX8" fmla="*/ 271081 w 948594"/>
                <a:gd name="connsiteY8" fmla="*/ 1003935 h 1248251"/>
                <a:gd name="connsiteX9" fmla="*/ 948595 w 948594"/>
                <a:gd name="connsiteY9" fmla="*/ 1003935 h 1248251"/>
                <a:gd name="connsiteX10" fmla="*/ 948595 w 948594"/>
                <a:gd name="connsiteY10" fmla="*/ 1248251 h 1248251"/>
                <a:gd name="connsiteX11" fmla="*/ 0 w 948594"/>
                <a:gd name="connsiteY11" fmla="*/ 1248251 h 1248251"/>
                <a:gd name="connsiteX12" fmla="*/ 0 w 948594"/>
                <a:gd name="connsiteY12" fmla="*/ 0 h 124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594" h="1248251">
                  <a:moveTo>
                    <a:pt x="95" y="0"/>
                  </a:moveTo>
                  <a:lnTo>
                    <a:pt x="939737" y="0"/>
                  </a:lnTo>
                  <a:lnTo>
                    <a:pt x="939737" y="244316"/>
                  </a:lnTo>
                  <a:lnTo>
                    <a:pt x="271081" y="244316"/>
                  </a:lnTo>
                  <a:lnTo>
                    <a:pt x="271081" y="497491"/>
                  </a:lnTo>
                  <a:lnTo>
                    <a:pt x="859441" y="497491"/>
                  </a:lnTo>
                  <a:lnTo>
                    <a:pt x="859441" y="741807"/>
                  </a:lnTo>
                  <a:lnTo>
                    <a:pt x="271081" y="741807"/>
                  </a:lnTo>
                  <a:lnTo>
                    <a:pt x="271081" y="1003935"/>
                  </a:lnTo>
                  <a:lnTo>
                    <a:pt x="948595" y="1003935"/>
                  </a:lnTo>
                  <a:lnTo>
                    <a:pt x="948595" y="1248251"/>
                  </a:lnTo>
                  <a:lnTo>
                    <a:pt x="0" y="1248251"/>
                  </a:lnTo>
                  <a:lnTo>
                    <a:pt x="0" y="0"/>
                  </a:lnTo>
                  <a:close/>
                </a:path>
              </a:pathLst>
            </a:custGeom>
            <a:solidFill>
              <a:srgbClr val="44505E"/>
            </a:solidFill>
            <a:ln w="9525" cap="flat">
              <a:noFill/>
              <a:prstDash val="solid"/>
              <a:miter/>
            </a:ln>
          </p:spPr>
          <p:txBody>
            <a:bodyPr rtlCol="0" anchor="ctr"/>
            <a:lstStyle/>
            <a:p>
              <a:endParaRPr lang="pt-BR" noProof="0"/>
            </a:p>
          </p:txBody>
        </p:sp>
        <p:sp>
          <p:nvSpPr>
            <p:cNvPr id="21" name="Freeform: Shape 20">
              <a:extLst>
                <a:ext uri="{FF2B5EF4-FFF2-40B4-BE49-F238E27FC236}">
                  <a16:creationId xmlns:a16="http://schemas.microsoft.com/office/drawing/2014/main" id="{98782FDA-6A70-B4BB-5A6E-79386BE45D48}"/>
                </a:ext>
              </a:extLst>
            </p:cNvPr>
            <p:cNvSpPr/>
            <p:nvPr/>
          </p:nvSpPr>
          <p:spPr>
            <a:xfrm>
              <a:off x="5253193" y="699983"/>
              <a:ext cx="90796" cy="97883"/>
            </a:xfrm>
            <a:custGeom>
              <a:avLst/>
              <a:gdLst>
                <a:gd name="connsiteX0" fmla="*/ 191548 w 361187"/>
                <a:gd name="connsiteY0" fmla="*/ 389382 h 389381"/>
                <a:gd name="connsiteX1" fmla="*/ 116300 w 361187"/>
                <a:gd name="connsiteY1" fmla="*/ 375285 h 389381"/>
                <a:gd name="connsiteX2" fmla="*/ 55531 w 361187"/>
                <a:gd name="connsiteY2" fmla="*/ 335756 h 389381"/>
                <a:gd name="connsiteX3" fmla="*/ 14859 w 361187"/>
                <a:gd name="connsiteY3" fmla="*/ 274606 h 389381"/>
                <a:gd name="connsiteX4" fmla="*/ 0 w 361187"/>
                <a:gd name="connsiteY4" fmla="*/ 195834 h 389381"/>
                <a:gd name="connsiteX5" fmla="*/ 0 w 361187"/>
                <a:gd name="connsiteY5" fmla="*/ 194405 h 389381"/>
                <a:gd name="connsiteX6" fmla="*/ 13430 w 361187"/>
                <a:gd name="connsiteY6" fmla="*/ 118777 h 389381"/>
                <a:gd name="connsiteX7" fmla="*/ 51245 w 361187"/>
                <a:gd name="connsiteY7" fmla="*/ 56959 h 389381"/>
                <a:gd name="connsiteX8" fmla="*/ 108871 w 361187"/>
                <a:gd name="connsiteY8" fmla="*/ 15240 h 389381"/>
                <a:gd name="connsiteX9" fmla="*/ 182404 w 361187"/>
                <a:gd name="connsiteY9" fmla="*/ 0 h 389381"/>
                <a:gd name="connsiteX10" fmla="*/ 260509 w 361187"/>
                <a:gd name="connsiteY10" fmla="*/ 16288 h 389381"/>
                <a:gd name="connsiteX11" fmla="*/ 316325 w 361187"/>
                <a:gd name="connsiteY11" fmla="*/ 60103 h 389381"/>
                <a:gd name="connsiteX12" fmla="*/ 349853 w 361187"/>
                <a:gd name="connsiteY12" fmla="*/ 124015 h 389381"/>
                <a:gd name="connsiteX13" fmla="*/ 361188 w 361187"/>
                <a:gd name="connsiteY13" fmla="*/ 200692 h 389381"/>
                <a:gd name="connsiteX14" fmla="*/ 360807 w 361187"/>
                <a:gd name="connsiteY14" fmla="*/ 212312 h 389381"/>
                <a:gd name="connsiteX15" fmla="*/ 359759 w 361187"/>
                <a:gd name="connsiteY15" fmla="*/ 224695 h 389381"/>
                <a:gd name="connsiteX16" fmla="*/ 85534 w 361187"/>
                <a:gd name="connsiteY16" fmla="*/ 224695 h 389381"/>
                <a:gd name="connsiteX17" fmla="*/ 121920 w 361187"/>
                <a:gd name="connsiteY17" fmla="*/ 294989 h 389381"/>
                <a:gd name="connsiteX18" fmla="*/ 192977 w 361187"/>
                <a:gd name="connsiteY18" fmla="*/ 319373 h 389381"/>
                <a:gd name="connsiteX19" fmla="*/ 248126 w 361187"/>
                <a:gd name="connsiteY19" fmla="*/ 308038 h 389381"/>
                <a:gd name="connsiteX20" fmla="*/ 294037 w 361187"/>
                <a:gd name="connsiteY20" fmla="*/ 274796 h 389381"/>
                <a:gd name="connsiteX21" fmla="*/ 344234 w 361187"/>
                <a:gd name="connsiteY21" fmla="*/ 319278 h 389381"/>
                <a:gd name="connsiteX22" fmla="*/ 280226 w 361187"/>
                <a:gd name="connsiteY22" fmla="*/ 370141 h 389381"/>
                <a:gd name="connsiteX23" fmla="*/ 191548 w 361187"/>
                <a:gd name="connsiteY23" fmla="*/ 389191 h 389381"/>
                <a:gd name="connsiteX24" fmla="*/ 276320 w 361187"/>
                <a:gd name="connsiteY24" fmla="*/ 168211 h 389381"/>
                <a:gd name="connsiteX25" fmla="*/ 267176 w 361187"/>
                <a:gd name="connsiteY25" fmla="*/ 129730 h 389381"/>
                <a:gd name="connsiteX26" fmla="*/ 248126 w 361187"/>
                <a:gd name="connsiteY26" fmla="*/ 98679 h 389381"/>
                <a:gd name="connsiteX27" fmla="*/ 219551 w 361187"/>
                <a:gd name="connsiteY27" fmla="*/ 77819 h 389381"/>
                <a:gd name="connsiteX28" fmla="*/ 181737 w 361187"/>
                <a:gd name="connsiteY28" fmla="*/ 70009 h 389381"/>
                <a:gd name="connsiteX29" fmla="*/ 116396 w 361187"/>
                <a:gd name="connsiteY29" fmla="*/ 97250 h 389381"/>
                <a:gd name="connsiteX30" fmla="*/ 84963 w 361187"/>
                <a:gd name="connsiteY30" fmla="*/ 168307 h 389381"/>
                <a:gd name="connsiteX31" fmla="*/ 276511 w 361187"/>
                <a:gd name="connsiteY31" fmla="*/ 168307 h 38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187" h="389381">
                  <a:moveTo>
                    <a:pt x="191548" y="389382"/>
                  </a:moveTo>
                  <a:cubicBezTo>
                    <a:pt x="164687" y="389382"/>
                    <a:pt x="139637" y="384715"/>
                    <a:pt x="116300" y="375285"/>
                  </a:cubicBezTo>
                  <a:cubicBezTo>
                    <a:pt x="92964" y="365855"/>
                    <a:pt x="72771" y="352711"/>
                    <a:pt x="55531" y="335756"/>
                  </a:cubicBezTo>
                  <a:cubicBezTo>
                    <a:pt x="38291" y="318802"/>
                    <a:pt x="24765" y="298418"/>
                    <a:pt x="14859" y="274606"/>
                  </a:cubicBezTo>
                  <a:cubicBezTo>
                    <a:pt x="4953" y="250793"/>
                    <a:pt x="0" y="224599"/>
                    <a:pt x="0" y="195834"/>
                  </a:cubicBezTo>
                  <a:lnTo>
                    <a:pt x="0" y="194405"/>
                  </a:lnTo>
                  <a:cubicBezTo>
                    <a:pt x="0" y="167545"/>
                    <a:pt x="4477" y="142399"/>
                    <a:pt x="13430" y="118777"/>
                  </a:cubicBezTo>
                  <a:cubicBezTo>
                    <a:pt x="22384" y="95250"/>
                    <a:pt x="34957" y="74581"/>
                    <a:pt x="51245" y="56959"/>
                  </a:cubicBezTo>
                  <a:cubicBezTo>
                    <a:pt x="67532" y="39338"/>
                    <a:pt x="86677" y="25432"/>
                    <a:pt x="108871" y="15240"/>
                  </a:cubicBezTo>
                  <a:cubicBezTo>
                    <a:pt x="131064" y="5143"/>
                    <a:pt x="155543" y="0"/>
                    <a:pt x="182404" y="0"/>
                  </a:cubicBezTo>
                  <a:cubicBezTo>
                    <a:pt x="212122" y="0"/>
                    <a:pt x="238125" y="5429"/>
                    <a:pt x="260509" y="16288"/>
                  </a:cubicBezTo>
                  <a:cubicBezTo>
                    <a:pt x="282893" y="27146"/>
                    <a:pt x="301466" y="41719"/>
                    <a:pt x="316325" y="60103"/>
                  </a:cubicBezTo>
                  <a:cubicBezTo>
                    <a:pt x="331184" y="78486"/>
                    <a:pt x="342329" y="99822"/>
                    <a:pt x="349853" y="124015"/>
                  </a:cubicBezTo>
                  <a:cubicBezTo>
                    <a:pt x="357378" y="148304"/>
                    <a:pt x="361188" y="173831"/>
                    <a:pt x="361188" y="200692"/>
                  </a:cubicBezTo>
                  <a:cubicBezTo>
                    <a:pt x="361188" y="204502"/>
                    <a:pt x="361093" y="208312"/>
                    <a:pt x="360807" y="212312"/>
                  </a:cubicBezTo>
                  <a:cubicBezTo>
                    <a:pt x="360521" y="216313"/>
                    <a:pt x="360236" y="220409"/>
                    <a:pt x="359759" y="224695"/>
                  </a:cubicBezTo>
                  <a:lnTo>
                    <a:pt x="85534" y="224695"/>
                  </a:lnTo>
                  <a:cubicBezTo>
                    <a:pt x="90202" y="255365"/>
                    <a:pt x="102394" y="278797"/>
                    <a:pt x="121920" y="294989"/>
                  </a:cubicBezTo>
                  <a:cubicBezTo>
                    <a:pt x="141446" y="311277"/>
                    <a:pt x="165164" y="319373"/>
                    <a:pt x="192977" y="319373"/>
                  </a:cubicBezTo>
                  <a:cubicBezTo>
                    <a:pt x="214217" y="319373"/>
                    <a:pt x="232505" y="315563"/>
                    <a:pt x="248126" y="308038"/>
                  </a:cubicBezTo>
                  <a:cubicBezTo>
                    <a:pt x="263652" y="300514"/>
                    <a:pt x="278987" y="289465"/>
                    <a:pt x="294037" y="274796"/>
                  </a:cubicBezTo>
                  <a:lnTo>
                    <a:pt x="344234" y="319278"/>
                  </a:lnTo>
                  <a:cubicBezTo>
                    <a:pt x="326327" y="340519"/>
                    <a:pt x="304991" y="357473"/>
                    <a:pt x="280226" y="370141"/>
                  </a:cubicBezTo>
                  <a:cubicBezTo>
                    <a:pt x="255461" y="382810"/>
                    <a:pt x="225933" y="389191"/>
                    <a:pt x="191548" y="389191"/>
                  </a:cubicBezTo>
                  <a:close/>
                  <a:moveTo>
                    <a:pt x="276320" y="168211"/>
                  </a:moveTo>
                  <a:cubicBezTo>
                    <a:pt x="274892" y="154591"/>
                    <a:pt x="271844" y="141732"/>
                    <a:pt x="267176" y="129730"/>
                  </a:cubicBezTo>
                  <a:cubicBezTo>
                    <a:pt x="262414" y="117729"/>
                    <a:pt x="256127" y="107347"/>
                    <a:pt x="248126" y="98679"/>
                  </a:cubicBezTo>
                  <a:cubicBezTo>
                    <a:pt x="240125" y="89916"/>
                    <a:pt x="230600" y="82963"/>
                    <a:pt x="219551" y="77819"/>
                  </a:cubicBezTo>
                  <a:cubicBezTo>
                    <a:pt x="208502" y="72676"/>
                    <a:pt x="195834" y="70009"/>
                    <a:pt x="181737" y="70009"/>
                  </a:cubicBezTo>
                  <a:cubicBezTo>
                    <a:pt x="155353" y="70009"/>
                    <a:pt x="133541" y="79057"/>
                    <a:pt x="116396" y="97250"/>
                  </a:cubicBezTo>
                  <a:cubicBezTo>
                    <a:pt x="99155" y="115348"/>
                    <a:pt x="88678" y="139065"/>
                    <a:pt x="84963" y="168307"/>
                  </a:cubicBezTo>
                  <a:lnTo>
                    <a:pt x="276511" y="168307"/>
                  </a:lnTo>
                  <a:close/>
                </a:path>
              </a:pathLst>
            </a:custGeom>
            <a:solidFill>
              <a:srgbClr val="44505E"/>
            </a:solidFill>
            <a:ln w="9525" cap="flat">
              <a:noFill/>
              <a:prstDash val="solid"/>
              <a:miter/>
            </a:ln>
          </p:spPr>
          <p:txBody>
            <a:bodyPr rtlCol="0" anchor="ctr"/>
            <a:lstStyle/>
            <a:p>
              <a:endParaRPr lang="pt-BR" noProof="0"/>
            </a:p>
          </p:txBody>
        </p:sp>
        <p:sp>
          <p:nvSpPr>
            <p:cNvPr id="22" name="Freeform: Shape 21">
              <a:extLst>
                <a:ext uri="{FF2B5EF4-FFF2-40B4-BE49-F238E27FC236}">
                  <a16:creationId xmlns:a16="http://schemas.microsoft.com/office/drawing/2014/main" id="{D3512049-B751-D22A-36CB-A31F3614C480}"/>
                </a:ext>
              </a:extLst>
            </p:cNvPr>
            <p:cNvSpPr/>
            <p:nvPr/>
          </p:nvSpPr>
          <p:spPr>
            <a:xfrm>
              <a:off x="5365659"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5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8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3 w 568166"/>
                <a:gd name="connsiteY21" fmla="*/ 381000 h 381000"/>
                <a:gd name="connsiteX22" fmla="*/ 240983 w 568166"/>
                <a:gd name="connsiteY22" fmla="*/ 168783 h 381000"/>
                <a:gd name="connsiteX23" fmla="*/ 221266 w 568166"/>
                <a:gd name="connsiteY23" fmla="*/ 101822 h 381000"/>
                <a:gd name="connsiteX24" fmla="*/ 165640 w 568166"/>
                <a:gd name="connsiteY24" fmla="*/ 78581 h 381000"/>
                <a:gd name="connsiteX25" fmla="*/ 108014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70" y="48196"/>
                    <a:pt x="105918" y="40576"/>
                  </a:cubicBezTo>
                  <a:cubicBezTo>
                    <a:pt x="112967" y="32956"/>
                    <a:pt x="121063" y="26099"/>
                    <a:pt x="130207" y="19907"/>
                  </a:cubicBezTo>
                  <a:cubicBezTo>
                    <a:pt x="139351" y="13716"/>
                    <a:pt x="149733" y="8858"/>
                    <a:pt x="161163" y="5334"/>
                  </a:cubicBezTo>
                  <a:cubicBezTo>
                    <a:pt x="172688" y="1714"/>
                    <a:pt x="185452" y="0"/>
                    <a:pt x="199549" y="0"/>
                  </a:cubicBezTo>
                  <a:cubicBezTo>
                    <a:pt x="226314" y="0"/>
                    <a:pt x="248984" y="6096"/>
                    <a:pt x="267557" y="18193"/>
                  </a:cubicBezTo>
                  <a:cubicBezTo>
                    <a:pt x="286131" y="30289"/>
                    <a:pt x="300323" y="46387"/>
                    <a:pt x="310134" y="66294"/>
                  </a:cubicBezTo>
                  <a:cubicBezTo>
                    <a:pt x="325279" y="46387"/>
                    <a:pt x="343091" y="30289"/>
                    <a:pt x="363665" y="18193"/>
                  </a:cubicBezTo>
                  <a:cubicBezTo>
                    <a:pt x="384239" y="6096"/>
                    <a:pt x="408718" y="0"/>
                    <a:pt x="437007" y="0"/>
                  </a:cubicBezTo>
                  <a:cubicBezTo>
                    <a:pt x="478060"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8" y="78486"/>
                  </a:cubicBezTo>
                  <a:cubicBezTo>
                    <a:pt x="382810" y="78486"/>
                    <a:pt x="364141" y="86392"/>
                    <a:pt x="349377" y="102108"/>
                  </a:cubicBezTo>
                  <a:cubicBezTo>
                    <a:pt x="334613" y="117824"/>
                    <a:pt x="327184" y="140779"/>
                    <a:pt x="327184" y="170879"/>
                  </a:cubicBezTo>
                  <a:lnTo>
                    <a:pt x="327184" y="381000"/>
                  </a:lnTo>
                  <a:lnTo>
                    <a:pt x="240983" y="381000"/>
                  </a:lnTo>
                  <a:lnTo>
                    <a:pt x="240983" y="168783"/>
                  </a:lnTo>
                  <a:cubicBezTo>
                    <a:pt x="240983" y="139637"/>
                    <a:pt x="234410" y="117348"/>
                    <a:pt x="221266" y="101822"/>
                  </a:cubicBezTo>
                  <a:cubicBezTo>
                    <a:pt x="208121" y="86296"/>
                    <a:pt x="189643" y="78581"/>
                    <a:pt x="165640" y="78581"/>
                  </a:cubicBezTo>
                  <a:cubicBezTo>
                    <a:pt x="141637" y="78581"/>
                    <a:pt x="122492" y="86773"/>
                    <a:pt x="108014"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23" name="Freeform: Shape 22">
              <a:extLst>
                <a:ext uri="{FF2B5EF4-FFF2-40B4-BE49-F238E27FC236}">
                  <a16:creationId xmlns:a16="http://schemas.microsoft.com/office/drawing/2014/main" id="{388785A5-3423-F00A-59FF-851F79A747AA}"/>
                </a:ext>
              </a:extLst>
            </p:cNvPr>
            <p:cNvSpPr/>
            <p:nvPr/>
          </p:nvSpPr>
          <p:spPr>
            <a:xfrm>
              <a:off x="5587693" y="700007"/>
              <a:ext cx="84211" cy="95752"/>
            </a:xfrm>
            <a:custGeom>
              <a:avLst/>
              <a:gdLst>
                <a:gd name="connsiteX0" fmla="*/ 95 w 334994"/>
                <a:gd name="connsiteY0" fmla="*/ 7715 h 380904"/>
                <a:gd name="connsiteX1" fmla="*/ 86296 w 334994"/>
                <a:gd name="connsiteY1" fmla="*/ 7715 h 380904"/>
                <a:gd name="connsiteX2" fmla="*/ 86296 w 334994"/>
                <a:gd name="connsiteY2" fmla="*/ 66294 h 380904"/>
                <a:gd name="connsiteX3" fmla="*/ 106394 w 334994"/>
                <a:gd name="connsiteY3" fmla="*/ 40958 h 380904"/>
                <a:gd name="connsiteX4" fmla="*/ 131731 w 334994"/>
                <a:gd name="connsiteY4" fmla="*/ 19907 h 380904"/>
                <a:gd name="connsiteX5" fmla="*/ 163449 w 334994"/>
                <a:gd name="connsiteY5" fmla="*/ 5334 h 380904"/>
                <a:gd name="connsiteX6" fmla="*/ 202597 w 334994"/>
                <a:gd name="connsiteY6" fmla="*/ 0 h 380904"/>
                <a:gd name="connsiteX7" fmla="*/ 300514 w 334994"/>
                <a:gd name="connsiteY7" fmla="*/ 38862 h 380904"/>
                <a:gd name="connsiteX8" fmla="*/ 334994 w 334994"/>
                <a:gd name="connsiteY8" fmla="*/ 143446 h 380904"/>
                <a:gd name="connsiteX9" fmla="*/ 334994 w 334994"/>
                <a:gd name="connsiteY9" fmla="*/ 380905 h 380904"/>
                <a:gd name="connsiteX10" fmla="*/ 248793 w 334994"/>
                <a:gd name="connsiteY10" fmla="*/ 380905 h 380904"/>
                <a:gd name="connsiteX11" fmla="*/ 248793 w 334994"/>
                <a:gd name="connsiteY11" fmla="*/ 169450 h 380904"/>
                <a:gd name="connsiteX12" fmla="*/ 228124 w 334994"/>
                <a:gd name="connsiteY12" fmla="*/ 102108 h 380904"/>
                <a:gd name="connsiteX13" fmla="*/ 169640 w 334994"/>
                <a:gd name="connsiteY13" fmla="*/ 78486 h 380904"/>
                <a:gd name="connsiteX14" fmla="*/ 109347 w 334994"/>
                <a:gd name="connsiteY14" fmla="*/ 102775 h 380904"/>
                <a:gd name="connsiteX15" fmla="*/ 86201 w 334994"/>
                <a:gd name="connsiteY15" fmla="*/ 170783 h 380904"/>
                <a:gd name="connsiteX16" fmla="*/ 86201 w 334994"/>
                <a:gd name="connsiteY16" fmla="*/ 380905 h 380904"/>
                <a:gd name="connsiteX17" fmla="*/ 0 w 334994"/>
                <a:gd name="connsiteY17" fmla="*/ 380905 h 380904"/>
                <a:gd name="connsiteX18" fmla="*/ 0 w 334994"/>
                <a:gd name="connsiteY18" fmla="*/ 7810 h 38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94" h="380904">
                  <a:moveTo>
                    <a:pt x="95" y="7715"/>
                  </a:moveTo>
                  <a:lnTo>
                    <a:pt x="86296" y="7715"/>
                  </a:lnTo>
                  <a:lnTo>
                    <a:pt x="86296" y="66294"/>
                  </a:lnTo>
                  <a:cubicBezTo>
                    <a:pt x="92392" y="57245"/>
                    <a:pt x="99060" y="48863"/>
                    <a:pt x="106394" y="40958"/>
                  </a:cubicBezTo>
                  <a:cubicBezTo>
                    <a:pt x="113633" y="33147"/>
                    <a:pt x="122110" y="26099"/>
                    <a:pt x="131731" y="19907"/>
                  </a:cubicBezTo>
                  <a:cubicBezTo>
                    <a:pt x="141351" y="13716"/>
                    <a:pt x="151924" y="8858"/>
                    <a:pt x="163449" y="5334"/>
                  </a:cubicBezTo>
                  <a:cubicBezTo>
                    <a:pt x="174974" y="1714"/>
                    <a:pt x="188024" y="0"/>
                    <a:pt x="202597" y="0"/>
                  </a:cubicBezTo>
                  <a:cubicBezTo>
                    <a:pt x="244888" y="0"/>
                    <a:pt x="277559" y="12954"/>
                    <a:pt x="300514" y="38862"/>
                  </a:cubicBezTo>
                  <a:cubicBezTo>
                    <a:pt x="323564" y="64770"/>
                    <a:pt x="334994" y="99631"/>
                    <a:pt x="334994" y="143446"/>
                  </a:cubicBezTo>
                  <a:lnTo>
                    <a:pt x="334994" y="380905"/>
                  </a:lnTo>
                  <a:lnTo>
                    <a:pt x="248793" y="380905"/>
                  </a:lnTo>
                  <a:lnTo>
                    <a:pt x="248793" y="169450"/>
                  </a:lnTo>
                  <a:cubicBezTo>
                    <a:pt x="248793" y="140303"/>
                    <a:pt x="241935" y="117824"/>
                    <a:pt x="228124" y="102108"/>
                  </a:cubicBezTo>
                  <a:cubicBezTo>
                    <a:pt x="214313" y="86392"/>
                    <a:pt x="194881" y="78486"/>
                    <a:pt x="169640" y="78486"/>
                  </a:cubicBezTo>
                  <a:cubicBezTo>
                    <a:pt x="144399" y="78486"/>
                    <a:pt x="124777" y="86582"/>
                    <a:pt x="109347" y="102775"/>
                  </a:cubicBezTo>
                  <a:cubicBezTo>
                    <a:pt x="93917" y="118967"/>
                    <a:pt x="86201" y="141637"/>
                    <a:pt x="86201" y="170783"/>
                  </a:cubicBezTo>
                  <a:lnTo>
                    <a:pt x="86201" y="380905"/>
                  </a:lnTo>
                  <a:lnTo>
                    <a:pt x="0" y="380905"/>
                  </a:lnTo>
                  <a:lnTo>
                    <a:pt x="0" y="7810"/>
                  </a:lnTo>
                  <a:close/>
                </a:path>
              </a:pathLst>
            </a:custGeom>
            <a:solidFill>
              <a:srgbClr val="44505E"/>
            </a:solidFill>
            <a:ln w="9525" cap="flat">
              <a:noFill/>
              <a:prstDash val="solid"/>
              <a:miter/>
            </a:ln>
          </p:spPr>
          <p:txBody>
            <a:bodyPr rtlCol="0" anchor="ctr"/>
            <a:lstStyle/>
            <a:p>
              <a:endParaRPr lang="pt-BR" noProof="0"/>
            </a:p>
          </p:txBody>
        </p:sp>
        <p:sp>
          <p:nvSpPr>
            <p:cNvPr id="24" name="Freeform: Shape 23">
              <a:extLst>
                <a:ext uri="{FF2B5EF4-FFF2-40B4-BE49-F238E27FC236}">
                  <a16:creationId xmlns:a16="http://schemas.microsoft.com/office/drawing/2014/main" id="{0F921795-0039-A81A-A6A1-AA695F4CF6FB}"/>
                </a:ext>
              </a:extLst>
            </p:cNvPr>
            <p:cNvSpPr/>
            <p:nvPr/>
          </p:nvSpPr>
          <p:spPr>
            <a:xfrm>
              <a:off x="5692712" y="699959"/>
              <a:ext cx="100015" cy="97908"/>
            </a:xfrm>
            <a:custGeom>
              <a:avLst/>
              <a:gdLst>
                <a:gd name="connsiteX0" fmla="*/ 197834 w 397859"/>
                <a:gd name="connsiteY0" fmla="*/ 389477 h 389477"/>
                <a:gd name="connsiteX1" fmla="*/ 119063 w 397859"/>
                <a:gd name="connsiteY1" fmla="*/ 374237 h 389477"/>
                <a:gd name="connsiteX2" fmla="*/ 56197 w 397859"/>
                <a:gd name="connsiteY2" fmla="*/ 332899 h 389477"/>
                <a:gd name="connsiteX3" fmla="*/ 14859 w 397859"/>
                <a:gd name="connsiteY3" fmla="*/ 271463 h 389477"/>
                <a:gd name="connsiteX4" fmla="*/ 0 w 397859"/>
                <a:gd name="connsiteY4" fmla="*/ 196501 h 389477"/>
                <a:gd name="connsiteX5" fmla="*/ 0 w 397859"/>
                <a:gd name="connsiteY5" fmla="*/ 195072 h 389477"/>
                <a:gd name="connsiteX6" fmla="*/ 15145 w 397859"/>
                <a:gd name="connsiteY6" fmla="*/ 119444 h 389477"/>
                <a:gd name="connsiteX7" fmla="*/ 56864 w 397859"/>
                <a:gd name="connsiteY7" fmla="*/ 57626 h 389477"/>
                <a:gd name="connsiteX8" fmla="*/ 119729 w 397859"/>
                <a:gd name="connsiteY8" fmla="*/ 15526 h 389477"/>
                <a:gd name="connsiteX9" fmla="*/ 199263 w 397859"/>
                <a:gd name="connsiteY9" fmla="*/ 0 h 389477"/>
                <a:gd name="connsiteX10" fmla="*/ 278797 w 397859"/>
                <a:gd name="connsiteY10" fmla="*/ 15240 h 389477"/>
                <a:gd name="connsiteX11" fmla="*/ 341662 w 397859"/>
                <a:gd name="connsiteY11" fmla="*/ 56959 h 389477"/>
                <a:gd name="connsiteX12" fmla="*/ 383000 w 397859"/>
                <a:gd name="connsiteY12" fmla="*/ 118396 h 389477"/>
                <a:gd name="connsiteX13" fmla="*/ 397859 w 397859"/>
                <a:gd name="connsiteY13" fmla="*/ 193643 h 389477"/>
                <a:gd name="connsiteX14" fmla="*/ 397859 w 397859"/>
                <a:gd name="connsiteY14" fmla="*/ 195072 h 389477"/>
                <a:gd name="connsiteX15" fmla="*/ 382619 w 397859"/>
                <a:gd name="connsiteY15" fmla="*/ 270034 h 389477"/>
                <a:gd name="connsiteX16" fmla="*/ 340900 w 397859"/>
                <a:gd name="connsiteY16" fmla="*/ 331851 h 389477"/>
                <a:gd name="connsiteX17" fmla="*/ 277654 w 397859"/>
                <a:gd name="connsiteY17" fmla="*/ 373856 h 389477"/>
                <a:gd name="connsiteX18" fmla="*/ 197834 w 397859"/>
                <a:gd name="connsiteY18" fmla="*/ 389382 h 389477"/>
                <a:gd name="connsiteX19" fmla="*/ 199263 w 397859"/>
                <a:gd name="connsiteY19" fmla="*/ 315278 h 389477"/>
                <a:gd name="connsiteX20" fmla="*/ 245935 w 397859"/>
                <a:gd name="connsiteY20" fmla="*/ 305753 h 389477"/>
                <a:gd name="connsiteX21" fmla="*/ 281368 w 397859"/>
                <a:gd name="connsiteY21" fmla="*/ 279940 h 389477"/>
                <a:gd name="connsiteX22" fmla="*/ 303847 w 397859"/>
                <a:gd name="connsiteY22" fmla="*/ 242125 h 389477"/>
                <a:gd name="connsiteX23" fmla="*/ 311563 w 397859"/>
                <a:gd name="connsiteY23" fmla="*/ 196501 h 389477"/>
                <a:gd name="connsiteX24" fmla="*/ 311563 w 397859"/>
                <a:gd name="connsiteY24" fmla="*/ 195072 h 389477"/>
                <a:gd name="connsiteX25" fmla="*/ 303181 w 397859"/>
                <a:gd name="connsiteY25" fmla="*/ 148400 h 389477"/>
                <a:gd name="connsiteX26" fmla="*/ 279654 w 397859"/>
                <a:gd name="connsiteY26" fmla="*/ 110204 h 389477"/>
                <a:gd name="connsiteX27" fmla="*/ 243840 w 397859"/>
                <a:gd name="connsiteY27" fmla="*/ 84392 h 389477"/>
                <a:gd name="connsiteX28" fmla="*/ 197834 w 397859"/>
                <a:gd name="connsiteY28" fmla="*/ 74867 h 389477"/>
                <a:gd name="connsiteX29" fmla="*/ 151829 w 397859"/>
                <a:gd name="connsiteY29" fmla="*/ 84392 h 389477"/>
                <a:gd name="connsiteX30" fmla="*/ 116396 w 397859"/>
                <a:gd name="connsiteY30" fmla="*/ 109823 h 389477"/>
                <a:gd name="connsiteX31" fmla="*/ 93917 w 397859"/>
                <a:gd name="connsiteY31" fmla="*/ 147638 h 389477"/>
                <a:gd name="connsiteX32" fmla="*/ 86201 w 397859"/>
                <a:gd name="connsiteY32" fmla="*/ 193548 h 389477"/>
                <a:gd name="connsiteX33" fmla="*/ 86201 w 397859"/>
                <a:gd name="connsiteY33" fmla="*/ 194977 h 389477"/>
                <a:gd name="connsiteX34" fmla="*/ 94583 w 397859"/>
                <a:gd name="connsiteY34" fmla="*/ 241268 h 389477"/>
                <a:gd name="connsiteX35" fmla="*/ 118110 w 397859"/>
                <a:gd name="connsiteY35" fmla="*/ 279463 h 389477"/>
                <a:gd name="connsiteX36" fmla="*/ 153924 w 397859"/>
                <a:gd name="connsiteY36" fmla="*/ 305562 h 389477"/>
                <a:gd name="connsiteX37" fmla="*/ 199263 w 397859"/>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859" h="389477">
                  <a:moveTo>
                    <a:pt x="197834" y="389477"/>
                  </a:moveTo>
                  <a:cubicBezTo>
                    <a:pt x="169545" y="389477"/>
                    <a:pt x="143351" y="384429"/>
                    <a:pt x="119063" y="374237"/>
                  </a:cubicBezTo>
                  <a:cubicBezTo>
                    <a:pt x="94774" y="364141"/>
                    <a:pt x="73819" y="350330"/>
                    <a:pt x="56197" y="332899"/>
                  </a:cubicBezTo>
                  <a:cubicBezTo>
                    <a:pt x="38481" y="315468"/>
                    <a:pt x="24765" y="294989"/>
                    <a:pt x="14859" y="271463"/>
                  </a:cubicBezTo>
                  <a:cubicBezTo>
                    <a:pt x="4953" y="247936"/>
                    <a:pt x="0" y="222980"/>
                    <a:pt x="0" y="196501"/>
                  </a:cubicBezTo>
                  <a:lnTo>
                    <a:pt x="0" y="195072"/>
                  </a:lnTo>
                  <a:cubicBezTo>
                    <a:pt x="0" y="168212"/>
                    <a:pt x="5048" y="143066"/>
                    <a:pt x="15145" y="119444"/>
                  </a:cubicBezTo>
                  <a:cubicBezTo>
                    <a:pt x="25241" y="95917"/>
                    <a:pt x="39148" y="75248"/>
                    <a:pt x="56864" y="57626"/>
                  </a:cubicBezTo>
                  <a:cubicBezTo>
                    <a:pt x="74581" y="39910"/>
                    <a:pt x="95536" y="25908"/>
                    <a:pt x="119729" y="15526"/>
                  </a:cubicBezTo>
                  <a:cubicBezTo>
                    <a:pt x="144018" y="5144"/>
                    <a:pt x="170497" y="0"/>
                    <a:pt x="199263" y="0"/>
                  </a:cubicBezTo>
                  <a:cubicBezTo>
                    <a:pt x="228029" y="0"/>
                    <a:pt x="254508" y="5048"/>
                    <a:pt x="278797" y="15240"/>
                  </a:cubicBezTo>
                  <a:cubicBezTo>
                    <a:pt x="303085" y="25337"/>
                    <a:pt x="324041" y="39243"/>
                    <a:pt x="341662" y="56959"/>
                  </a:cubicBezTo>
                  <a:cubicBezTo>
                    <a:pt x="359378" y="74676"/>
                    <a:pt x="373094" y="95155"/>
                    <a:pt x="383000" y="118396"/>
                  </a:cubicBezTo>
                  <a:cubicBezTo>
                    <a:pt x="392906" y="141732"/>
                    <a:pt x="397859" y="166783"/>
                    <a:pt x="397859" y="193643"/>
                  </a:cubicBezTo>
                  <a:lnTo>
                    <a:pt x="397859" y="195072"/>
                  </a:lnTo>
                  <a:cubicBezTo>
                    <a:pt x="397859" y="221456"/>
                    <a:pt x="392811" y="246412"/>
                    <a:pt x="382619" y="270034"/>
                  </a:cubicBezTo>
                  <a:cubicBezTo>
                    <a:pt x="372523" y="293561"/>
                    <a:pt x="358616" y="314230"/>
                    <a:pt x="340900" y="331851"/>
                  </a:cubicBezTo>
                  <a:cubicBezTo>
                    <a:pt x="323183" y="349472"/>
                    <a:pt x="302133" y="363569"/>
                    <a:pt x="277654" y="373856"/>
                  </a:cubicBezTo>
                  <a:cubicBezTo>
                    <a:pt x="253175" y="384238"/>
                    <a:pt x="226504" y="389382"/>
                    <a:pt x="197834" y="389382"/>
                  </a:cubicBezTo>
                  <a:close/>
                  <a:moveTo>
                    <a:pt x="199263" y="315278"/>
                  </a:moveTo>
                  <a:cubicBezTo>
                    <a:pt x="216598" y="315278"/>
                    <a:pt x="232124" y="312039"/>
                    <a:pt x="245935" y="305753"/>
                  </a:cubicBezTo>
                  <a:cubicBezTo>
                    <a:pt x="259747" y="299371"/>
                    <a:pt x="271558" y="290798"/>
                    <a:pt x="281368" y="279940"/>
                  </a:cubicBezTo>
                  <a:cubicBezTo>
                    <a:pt x="291179" y="269081"/>
                    <a:pt x="298704" y="256508"/>
                    <a:pt x="303847" y="242125"/>
                  </a:cubicBezTo>
                  <a:cubicBezTo>
                    <a:pt x="308991" y="227743"/>
                    <a:pt x="311563" y="212598"/>
                    <a:pt x="311563" y="196501"/>
                  </a:cubicBezTo>
                  <a:lnTo>
                    <a:pt x="311563" y="195072"/>
                  </a:lnTo>
                  <a:cubicBezTo>
                    <a:pt x="311563" y="178594"/>
                    <a:pt x="308800" y="163068"/>
                    <a:pt x="303181" y="148400"/>
                  </a:cubicBezTo>
                  <a:cubicBezTo>
                    <a:pt x="297561" y="133826"/>
                    <a:pt x="289750" y="121063"/>
                    <a:pt x="279654" y="110204"/>
                  </a:cubicBezTo>
                  <a:cubicBezTo>
                    <a:pt x="269558" y="99346"/>
                    <a:pt x="257651" y="90773"/>
                    <a:pt x="243840" y="84392"/>
                  </a:cubicBezTo>
                  <a:cubicBezTo>
                    <a:pt x="230029" y="78010"/>
                    <a:pt x="214693" y="74867"/>
                    <a:pt x="197834" y="74867"/>
                  </a:cubicBezTo>
                  <a:cubicBezTo>
                    <a:pt x="180975" y="74867"/>
                    <a:pt x="165640" y="78010"/>
                    <a:pt x="151829" y="84392"/>
                  </a:cubicBezTo>
                  <a:cubicBezTo>
                    <a:pt x="138017" y="90773"/>
                    <a:pt x="126206" y="99250"/>
                    <a:pt x="116396" y="109823"/>
                  </a:cubicBezTo>
                  <a:cubicBezTo>
                    <a:pt x="106585" y="120396"/>
                    <a:pt x="99060" y="133064"/>
                    <a:pt x="93917" y="147638"/>
                  </a:cubicBezTo>
                  <a:cubicBezTo>
                    <a:pt x="88773" y="162211"/>
                    <a:pt x="86201" y="177546"/>
                    <a:pt x="86201" y="193548"/>
                  </a:cubicBezTo>
                  <a:lnTo>
                    <a:pt x="86201" y="194977"/>
                  </a:lnTo>
                  <a:cubicBezTo>
                    <a:pt x="86201" y="211455"/>
                    <a:pt x="88963" y="226886"/>
                    <a:pt x="94583" y="241268"/>
                  </a:cubicBezTo>
                  <a:cubicBezTo>
                    <a:pt x="100203" y="255651"/>
                    <a:pt x="108013" y="268319"/>
                    <a:pt x="118110" y="279463"/>
                  </a:cubicBezTo>
                  <a:cubicBezTo>
                    <a:pt x="128206" y="290513"/>
                    <a:pt x="140113" y="299275"/>
                    <a:pt x="153924" y="305562"/>
                  </a:cubicBezTo>
                  <a:cubicBezTo>
                    <a:pt x="167735" y="311944"/>
                    <a:pt x="182880"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25" name="Freeform: Shape 24">
              <a:extLst>
                <a:ext uri="{FF2B5EF4-FFF2-40B4-BE49-F238E27FC236}">
                  <a16:creationId xmlns:a16="http://schemas.microsoft.com/office/drawing/2014/main" id="{E7EC5F12-FFCD-2F57-798C-14138565D3B2}"/>
                </a:ext>
              </a:extLst>
            </p:cNvPr>
            <p:cNvSpPr/>
            <p:nvPr/>
          </p:nvSpPr>
          <p:spPr>
            <a:xfrm>
              <a:off x="5806925"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2 w 296894"/>
                <a:gd name="connsiteY36" fmla="*/ 224980 h 386714"/>
                <a:gd name="connsiteX37" fmla="*/ 296894 w 296894"/>
                <a:gd name="connsiteY37" fmla="*/ 267938 h 386714"/>
                <a:gd name="connsiteX38" fmla="*/ 296894 w 296894"/>
                <a:gd name="connsiteY38" fmla="*/ 269367 h 386714"/>
                <a:gd name="connsiteX39" fmla="*/ 286322 w 296894"/>
                <a:gd name="connsiteY39" fmla="*/ 320897 h 386714"/>
                <a:gd name="connsiteX40" fmla="*/ 256984 w 296894"/>
                <a:gd name="connsiteY40" fmla="*/ 357188 h 386714"/>
                <a:gd name="connsiteX41" fmla="*/ 212789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8" y="298704"/>
                    <a:pt x="100013" y="306514"/>
                  </a:cubicBezTo>
                  <a:cubicBezTo>
                    <a:pt x="120967" y="314325"/>
                    <a:pt x="141161" y="318135"/>
                    <a:pt x="160401" y="318135"/>
                  </a:cubicBezTo>
                  <a:cubicBezTo>
                    <a:pt x="179642" y="318135"/>
                    <a:pt x="192976"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2" y="241078"/>
                    <a:pt x="176498" y="237553"/>
                    <a:pt x="166402" y="234220"/>
                  </a:cubicBezTo>
                  <a:cubicBezTo>
                    <a:pt x="156305" y="230886"/>
                    <a:pt x="145733" y="227647"/>
                    <a:pt x="134969" y="224314"/>
                  </a:cubicBezTo>
                  <a:cubicBezTo>
                    <a:pt x="121253" y="220599"/>
                    <a:pt x="107537" y="216122"/>
                    <a:pt x="93631" y="210884"/>
                  </a:cubicBezTo>
                  <a:cubicBezTo>
                    <a:pt x="79724" y="205740"/>
                    <a:pt x="67246" y="198977"/>
                    <a:pt x="56197" y="190786"/>
                  </a:cubicBezTo>
                  <a:cubicBezTo>
                    <a:pt x="45149" y="182594"/>
                    <a:pt x="36100" y="172307"/>
                    <a:pt x="28956" y="160115"/>
                  </a:cubicBezTo>
                  <a:cubicBezTo>
                    <a:pt x="21908"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5"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7" y="156210"/>
                    <a:pt x="180975" y="159448"/>
                  </a:cubicBezTo>
                  <a:cubicBezTo>
                    <a:pt x="194596" y="163639"/>
                    <a:pt x="208312" y="168592"/>
                    <a:pt x="222028" y="174212"/>
                  </a:cubicBezTo>
                  <a:cubicBezTo>
                    <a:pt x="235649" y="179832"/>
                    <a:pt x="248031" y="186785"/>
                    <a:pt x="259080" y="194977"/>
                  </a:cubicBezTo>
                  <a:cubicBezTo>
                    <a:pt x="270129" y="203168"/>
                    <a:pt x="279273" y="213169"/>
                    <a:pt x="286322" y="224980"/>
                  </a:cubicBezTo>
                  <a:cubicBezTo>
                    <a:pt x="293370" y="236696"/>
                    <a:pt x="296894" y="251079"/>
                    <a:pt x="296894" y="267938"/>
                  </a:cubicBezTo>
                  <a:lnTo>
                    <a:pt x="296894" y="269367"/>
                  </a:lnTo>
                  <a:cubicBezTo>
                    <a:pt x="296894" y="289084"/>
                    <a:pt x="293370" y="306229"/>
                    <a:pt x="286322" y="320897"/>
                  </a:cubicBezTo>
                  <a:cubicBezTo>
                    <a:pt x="279273" y="335470"/>
                    <a:pt x="269462" y="347567"/>
                    <a:pt x="256984" y="357188"/>
                  </a:cubicBezTo>
                  <a:cubicBezTo>
                    <a:pt x="244507" y="366808"/>
                    <a:pt x="229743" y="374142"/>
                    <a:pt x="212789"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6" name="Freeform: Shape 25">
              <a:extLst>
                <a:ext uri="{FF2B5EF4-FFF2-40B4-BE49-F238E27FC236}">
                  <a16:creationId xmlns:a16="http://schemas.microsoft.com/office/drawing/2014/main" id="{B38074B6-6CED-E5B4-2133-18C76EFF3D4E}"/>
                </a:ext>
              </a:extLst>
            </p:cNvPr>
            <p:cNvSpPr/>
            <p:nvPr/>
          </p:nvSpPr>
          <p:spPr>
            <a:xfrm>
              <a:off x="589573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6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160" y="318135"/>
                    <a:pt x="160401" y="318135"/>
                  </a:cubicBezTo>
                  <a:cubicBezTo>
                    <a:pt x="179641" y="318135"/>
                    <a:pt x="192976"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4"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792"/>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7" name="Freeform: Shape 26">
              <a:extLst>
                <a:ext uri="{FF2B5EF4-FFF2-40B4-BE49-F238E27FC236}">
                  <a16:creationId xmlns:a16="http://schemas.microsoft.com/office/drawing/2014/main" id="{740683A5-DD86-D11E-0157-93310ACAE783}"/>
                </a:ext>
              </a:extLst>
            </p:cNvPr>
            <p:cNvSpPr/>
            <p:nvPr/>
          </p:nvSpPr>
          <p:spPr>
            <a:xfrm>
              <a:off x="5985812" y="700558"/>
              <a:ext cx="85097" cy="97141"/>
            </a:xfrm>
            <a:custGeom>
              <a:avLst/>
              <a:gdLst>
                <a:gd name="connsiteX0" fmla="*/ 253651 w 338518"/>
                <a:gd name="connsiteY0" fmla="*/ 378619 h 386429"/>
                <a:gd name="connsiteX1" fmla="*/ 253651 w 338518"/>
                <a:gd name="connsiteY1" fmla="*/ 332708 h 386429"/>
                <a:gd name="connsiteX2" fmla="*/ 204883 w 338518"/>
                <a:gd name="connsiteY2" fmla="*/ 370904 h 386429"/>
                <a:gd name="connsiteX3" fmla="*/ 132779 w 338518"/>
                <a:gd name="connsiteY3" fmla="*/ 386429 h 386429"/>
                <a:gd name="connsiteX4" fmla="*/ 81915 w 338518"/>
                <a:gd name="connsiteY4" fmla="*/ 379000 h 386429"/>
                <a:gd name="connsiteX5" fmla="*/ 39910 w 338518"/>
                <a:gd name="connsiteY5" fmla="*/ 357092 h 386429"/>
                <a:gd name="connsiteX6" fmla="*/ 10954 w 338518"/>
                <a:gd name="connsiteY6" fmla="*/ 321088 h 386429"/>
                <a:gd name="connsiteX7" fmla="*/ 0 w 338518"/>
                <a:gd name="connsiteY7" fmla="*/ 271272 h 386429"/>
                <a:gd name="connsiteX8" fmla="*/ 0 w 338518"/>
                <a:gd name="connsiteY8" fmla="*/ 269843 h 386429"/>
                <a:gd name="connsiteX9" fmla="*/ 11335 w 338518"/>
                <a:gd name="connsiteY9" fmla="*/ 215741 h 386429"/>
                <a:gd name="connsiteX10" fmla="*/ 42767 w 338518"/>
                <a:gd name="connsiteY10" fmla="*/ 177546 h 386429"/>
                <a:gd name="connsiteX11" fmla="*/ 90773 w 338518"/>
                <a:gd name="connsiteY11" fmla="*/ 154972 h 386429"/>
                <a:gd name="connsiteX12" fmla="*/ 151162 w 338518"/>
                <a:gd name="connsiteY12" fmla="*/ 147542 h 386429"/>
                <a:gd name="connsiteX13" fmla="*/ 208788 w 338518"/>
                <a:gd name="connsiteY13" fmla="*/ 151829 h 386429"/>
                <a:gd name="connsiteX14" fmla="*/ 254413 w 338518"/>
                <a:gd name="connsiteY14" fmla="*/ 163163 h 386429"/>
                <a:gd name="connsiteX15" fmla="*/ 254413 w 338518"/>
                <a:gd name="connsiteY15" fmla="*/ 156115 h 386429"/>
                <a:gd name="connsiteX16" fmla="*/ 230696 w 338518"/>
                <a:gd name="connsiteY16" fmla="*/ 96774 h 386429"/>
                <a:gd name="connsiteX17" fmla="*/ 162496 w 338518"/>
                <a:gd name="connsiteY17" fmla="*/ 76295 h 386429"/>
                <a:gd name="connsiteX18" fmla="*/ 106013 w 338518"/>
                <a:gd name="connsiteY18" fmla="*/ 82677 h 386429"/>
                <a:gd name="connsiteX19" fmla="*/ 55816 w 338518"/>
                <a:gd name="connsiteY19" fmla="*/ 99632 h 386429"/>
                <a:gd name="connsiteX20" fmla="*/ 32480 w 338518"/>
                <a:gd name="connsiteY20" fmla="*/ 31052 h 386429"/>
                <a:gd name="connsiteX21" fmla="*/ 96107 w 338518"/>
                <a:gd name="connsiteY21" fmla="*/ 8477 h 386429"/>
                <a:gd name="connsiteX22" fmla="*/ 174593 w 338518"/>
                <a:gd name="connsiteY22" fmla="*/ 0 h 386429"/>
                <a:gd name="connsiteX23" fmla="*/ 298228 w 338518"/>
                <a:gd name="connsiteY23" fmla="*/ 41338 h 386429"/>
                <a:gd name="connsiteX24" fmla="*/ 338519 w 338518"/>
                <a:gd name="connsiteY24" fmla="*/ 157544 h 386429"/>
                <a:gd name="connsiteX25" fmla="*/ 338519 w 338518"/>
                <a:gd name="connsiteY25" fmla="*/ 378714 h 386429"/>
                <a:gd name="connsiteX26" fmla="*/ 253746 w 338518"/>
                <a:gd name="connsiteY26" fmla="*/ 378714 h 386429"/>
                <a:gd name="connsiteX27" fmla="*/ 255746 w 338518"/>
                <a:gd name="connsiteY27" fmla="*/ 222409 h 386429"/>
                <a:gd name="connsiteX28" fmla="*/ 217265 w 338518"/>
                <a:gd name="connsiteY28" fmla="*/ 211836 h 386429"/>
                <a:gd name="connsiteX29" fmla="*/ 170307 w 338518"/>
                <a:gd name="connsiteY29" fmla="*/ 207550 h 386429"/>
                <a:gd name="connsiteX30" fmla="*/ 107442 w 338518"/>
                <a:gd name="connsiteY30" fmla="*/ 223075 h 386429"/>
                <a:gd name="connsiteX31" fmla="*/ 84868 w 338518"/>
                <a:gd name="connsiteY31" fmla="*/ 265462 h 386429"/>
                <a:gd name="connsiteX32" fmla="*/ 84868 w 338518"/>
                <a:gd name="connsiteY32" fmla="*/ 266891 h 386429"/>
                <a:gd name="connsiteX33" fmla="*/ 105728 w 338518"/>
                <a:gd name="connsiteY33" fmla="*/ 307848 h 386429"/>
                <a:gd name="connsiteX34" fmla="*/ 156972 w 338518"/>
                <a:gd name="connsiteY34" fmla="*/ 321945 h 386429"/>
                <a:gd name="connsiteX35" fmla="*/ 196215 w 338518"/>
                <a:gd name="connsiteY35" fmla="*/ 316325 h 386429"/>
                <a:gd name="connsiteX36" fmla="*/ 227647 w 338518"/>
                <a:gd name="connsiteY36" fmla="*/ 300419 h 386429"/>
                <a:gd name="connsiteX37" fmla="*/ 248507 w 338518"/>
                <a:gd name="connsiteY37" fmla="*/ 275654 h 386429"/>
                <a:gd name="connsiteX38" fmla="*/ 255937 w 338518"/>
                <a:gd name="connsiteY38" fmla="*/ 243459 h 386429"/>
                <a:gd name="connsiteX39" fmla="*/ 255937 w 338518"/>
                <a:gd name="connsiteY39" fmla="*/ 222218 h 3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8518" h="386429">
                  <a:moveTo>
                    <a:pt x="253651" y="378619"/>
                  </a:moveTo>
                  <a:lnTo>
                    <a:pt x="253651" y="332708"/>
                  </a:lnTo>
                  <a:cubicBezTo>
                    <a:pt x="240887" y="347758"/>
                    <a:pt x="224695" y="360521"/>
                    <a:pt x="204883" y="370904"/>
                  </a:cubicBezTo>
                  <a:cubicBezTo>
                    <a:pt x="185071" y="381286"/>
                    <a:pt x="161068" y="386429"/>
                    <a:pt x="132779" y="386429"/>
                  </a:cubicBezTo>
                  <a:cubicBezTo>
                    <a:pt x="114871" y="386429"/>
                    <a:pt x="97917" y="383953"/>
                    <a:pt x="81915" y="379000"/>
                  </a:cubicBezTo>
                  <a:cubicBezTo>
                    <a:pt x="65913" y="374047"/>
                    <a:pt x="51911" y="366713"/>
                    <a:pt x="39910" y="357092"/>
                  </a:cubicBezTo>
                  <a:cubicBezTo>
                    <a:pt x="27908" y="347472"/>
                    <a:pt x="18193" y="335471"/>
                    <a:pt x="10954" y="321088"/>
                  </a:cubicBezTo>
                  <a:cubicBezTo>
                    <a:pt x="3620" y="306705"/>
                    <a:pt x="0" y="290132"/>
                    <a:pt x="0" y="271272"/>
                  </a:cubicBezTo>
                  <a:lnTo>
                    <a:pt x="0" y="269843"/>
                  </a:lnTo>
                  <a:cubicBezTo>
                    <a:pt x="0" y="249079"/>
                    <a:pt x="3810" y="231077"/>
                    <a:pt x="11335" y="215741"/>
                  </a:cubicBezTo>
                  <a:cubicBezTo>
                    <a:pt x="18859" y="200406"/>
                    <a:pt x="29337" y="187738"/>
                    <a:pt x="42767" y="177546"/>
                  </a:cubicBezTo>
                  <a:cubicBezTo>
                    <a:pt x="56197" y="167450"/>
                    <a:pt x="72199" y="159925"/>
                    <a:pt x="90773" y="154972"/>
                  </a:cubicBezTo>
                  <a:cubicBezTo>
                    <a:pt x="109347" y="150019"/>
                    <a:pt x="129540" y="147542"/>
                    <a:pt x="151162" y="147542"/>
                  </a:cubicBezTo>
                  <a:cubicBezTo>
                    <a:pt x="172783" y="147542"/>
                    <a:pt x="192976" y="148971"/>
                    <a:pt x="208788" y="151829"/>
                  </a:cubicBezTo>
                  <a:cubicBezTo>
                    <a:pt x="224599" y="154686"/>
                    <a:pt x="239744" y="158401"/>
                    <a:pt x="254413" y="163163"/>
                  </a:cubicBezTo>
                  <a:lnTo>
                    <a:pt x="254413" y="156115"/>
                  </a:lnTo>
                  <a:cubicBezTo>
                    <a:pt x="254413" y="130207"/>
                    <a:pt x="246507" y="110395"/>
                    <a:pt x="230696" y="96774"/>
                  </a:cubicBezTo>
                  <a:cubicBezTo>
                    <a:pt x="214884" y="83153"/>
                    <a:pt x="192214" y="76295"/>
                    <a:pt x="162496" y="76295"/>
                  </a:cubicBezTo>
                  <a:cubicBezTo>
                    <a:pt x="141351" y="76295"/>
                    <a:pt x="122491" y="78391"/>
                    <a:pt x="106013" y="82677"/>
                  </a:cubicBezTo>
                  <a:cubicBezTo>
                    <a:pt x="89535" y="86963"/>
                    <a:pt x="72771" y="92583"/>
                    <a:pt x="55816" y="99632"/>
                  </a:cubicBezTo>
                  <a:lnTo>
                    <a:pt x="32480" y="31052"/>
                  </a:lnTo>
                  <a:cubicBezTo>
                    <a:pt x="53149" y="21622"/>
                    <a:pt x="74390" y="14097"/>
                    <a:pt x="96107" y="8477"/>
                  </a:cubicBezTo>
                  <a:cubicBezTo>
                    <a:pt x="117729" y="2858"/>
                    <a:pt x="143923" y="0"/>
                    <a:pt x="174593" y="0"/>
                  </a:cubicBezTo>
                  <a:cubicBezTo>
                    <a:pt x="230124" y="0"/>
                    <a:pt x="271367" y="13811"/>
                    <a:pt x="298228" y="41338"/>
                  </a:cubicBezTo>
                  <a:cubicBezTo>
                    <a:pt x="325088" y="68866"/>
                    <a:pt x="338519" y="107633"/>
                    <a:pt x="338519" y="157544"/>
                  </a:cubicBezTo>
                  <a:lnTo>
                    <a:pt x="338519" y="378714"/>
                  </a:lnTo>
                  <a:lnTo>
                    <a:pt x="253746" y="378714"/>
                  </a:lnTo>
                  <a:close/>
                  <a:moveTo>
                    <a:pt x="255746" y="222409"/>
                  </a:moveTo>
                  <a:cubicBezTo>
                    <a:pt x="244888" y="218123"/>
                    <a:pt x="232029" y="214598"/>
                    <a:pt x="217265" y="211836"/>
                  </a:cubicBezTo>
                  <a:cubicBezTo>
                    <a:pt x="202406" y="208979"/>
                    <a:pt x="186785" y="207550"/>
                    <a:pt x="170307" y="207550"/>
                  </a:cubicBezTo>
                  <a:cubicBezTo>
                    <a:pt x="143446" y="207550"/>
                    <a:pt x="122491" y="212693"/>
                    <a:pt x="107442" y="223075"/>
                  </a:cubicBezTo>
                  <a:cubicBezTo>
                    <a:pt x="92392" y="233458"/>
                    <a:pt x="84868" y="247555"/>
                    <a:pt x="84868" y="265462"/>
                  </a:cubicBezTo>
                  <a:lnTo>
                    <a:pt x="84868" y="266891"/>
                  </a:lnTo>
                  <a:cubicBezTo>
                    <a:pt x="84868" y="284798"/>
                    <a:pt x="91821" y="298418"/>
                    <a:pt x="105728" y="307848"/>
                  </a:cubicBezTo>
                  <a:cubicBezTo>
                    <a:pt x="119634" y="317278"/>
                    <a:pt x="136684" y="321945"/>
                    <a:pt x="156972" y="321945"/>
                  </a:cubicBezTo>
                  <a:cubicBezTo>
                    <a:pt x="171069" y="321945"/>
                    <a:pt x="184213" y="320040"/>
                    <a:pt x="196215" y="316325"/>
                  </a:cubicBezTo>
                  <a:cubicBezTo>
                    <a:pt x="208216" y="312515"/>
                    <a:pt x="218694" y="307277"/>
                    <a:pt x="227647" y="300419"/>
                  </a:cubicBezTo>
                  <a:cubicBezTo>
                    <a:pt x="236601" y="293561"/>
                    <a:pt x="243554" y="285369"/>
                    <a:pt x="248507" y="275654"/>
                  </a:cubicBezTo>
                  <a:cubicBezTo>
                    <a:pt x="253460" y="266033"/>
                    <a:pt x="255937" y="255270"/>
                    <a:pt x="255937" y="243459"/>
                  </a:cubicBezTo>
                  <a:lnTo>
                    <a:pt x="255937" y="222218"/>
                  </a:lnTo>
                  <a:close/>
                </a:path>
              </a:pathLst>
            </a:custGeom>
            <a:solidFill>
              <a:srgbClr val="44505E"/>
            </a:solidFill>
            <a:ln w="9525" cap="flat">
              <a:noFill/>
              <a:prstDash val="solid"/>
              <a:miter/>
            </a:ln>
          </p:spPr>
          <p:txBody>
            <a:bodyPr rtlCol="0" anchor="ctr"/>
            <a:lstStyle/>
            <a:p>
              <a:endParaRPr lang="pt-BR" noProof="0"/>
            </a:p>
          </p:txBody>
        </p:sp>
        <p:sp>
          <p:nvSpPr>
            <p:cNvPr id="28" name="Freeform: Shape 27">
              <a:extLst>
                <a:ext uri="{FF2B5EF4-FFF2-40B4-BE49-F238E27FC236}">
                  <a16:creationId xmlns:a16="http://schemas.microsoft.com/office/drawing/2014/main" id="{81B7CFEA-7221-1B55-94EB-6DAE37802285}"/>
                </a:ext>
              </a:extLst>
            </p:cNvPr>
            <p:cNvSpPr/>
            <p:nvPr/>
          </p:nvSpPr>
          <p:spPr>
            <a:xfrm>
              <a:off x="6088843" y="700318"/>
              <a:ext cx="74610" cy="97213"/>
            </a:xfrm>
            <a:custGeom>
              <a:avLst/>
              <a:gdLst>
                <a:gd name="connsiteX0" fmla="*/ 158305 w 296799"/>
                <a:gd name="connsiteY0" fmla="*/ 386715 h 386714"/>
                <a:gd name="connsiteX1" fmla="*/ 76676 w 296799"/>
                <a:gd name="connsiteY1" fmla="*/ 372427 h 386714"/>
                <a:gd name="connsiteX2" fmla="*/ 0 w 296799"/>
                <a:gd name="connsiteY2" fmla="*/ 330327 h 386714"/>
                <a:gd name="connsiteX3" fmla="*/ 38195 w 296799"/>
                <a:gd name="connsiteY3" fmla="*/ 272224 h 386714"/>
                <a:gd name="connsiteX4" fmla="*/ 100013 w 296799"/>
                <a:gd name="connsiteY4" fmla="*/ 306514 h 386714"/>
                <a:gd name="connsiteX5" fmla="*/ 160401 w 296799"/>
                <a:gd name="connsiteY5" fmla="*/ 318135 h 386714"/>
                <a:gd name="connsiteX6" fmla="*/ 203168 w 296799"/>
                <a:gd name="connsiteY6" fmla="*/ 307181 h 386714"/>
                <a:gd name="connsiteX7" fmla="*/ 218408 w 296799"/>
                <a:gd name="connsiteY7" fmla="*/ 277939 h 386714"/>
                <a:gd name="connsiteX8" fmla="*/ 218408 w 296799"/>
                <a:gd name="connsiteY8" fmla="*/ 276511 h 386714"/>
                <a:gd name="connsiteX9" fmla="*/ 211646 w 296799"/>
                <a:gd name="connsiteY9" fmla="*/ 258223 h 386714"/>
                <a:gd name="connsiteX10" fmla="*/ 193262 w 296799"/>
                <a:gd name="connsiteY10" fmla="*/ 244792 h 386714"/>
                <a:gd name="connsiteX11" fmla="*/ 166402 w 296799"/>
                <a:gd name="connsiteY11" fmla="*/ 234220 h 386714"/>
                <a:gd name="connsiteX12" fmla="*/ 134969 w 296799"/>
                <a:gd name="connsiteY12" fmla="*/ 224314 h 386714"/>
                <a:gd name="connsiteX13" fmla="*/ 93631 w 296799"/>
                <a:gd name="connsiteY13" fmla="*/ 210884 h 386714"/>
                <a:gd name="connsiteX14" fmla="*/ 56197 w 296799"/>
                <a:gd name="connsiteY14" fmla="*/ 190786 h 386714"/>
                <a:gd name="connsiteX15" fmla="*/ 28956 w 296799"/>
                <a:gd name="connsiteY15" fmla="*/ 160115 h 386714"/>
                <a:gd name="connsiteX16" fmla="*/ 18383 w 296799"/>
                <a:gd name="connsiteY16" fmla="*/ 114967 h 386714"/>
                <a:gd name="connsiteX17" fmla="*/ 18383 w 296799"/>
                <a:gd name="connsiteY17" fmla="*/ 113538 h 386714"/>
                <a:gd name="connsiteX18" fmla="*/ 28575 w 296799"/>
                <a:gd name="connsiteY18" fmla="*/ 66294 h 386714"/>
                <a:gd name="connsiteX19" fmla="*/ 56864 w 296799"/>
                <a:gd name="connsiteY19" fmla="*/ 30385 h 386714"/>
                <a:gd name="connsiteX20" fmla="*/ 99250 w 296799"/>
                <a:gd name="connsiteY20" fmla="*/ 7810 h 386714"/>
                <a:gd name="connsiteX21" fmla="*/ 151162 w 296799"/>
                <a:gd name="connsiteY21" fmla="*/ 0 h 386714"/>
                <a:gd name="connsiteX22" fmla="*/ 222504 w 296799"/>
                <a:gd name="connsiteY22" fmla="*/ 11430 h 386714"/>
                <a:gd name="connsiteX23" fmla="*/ 288227 w 296799"/>
                <a:gd name="connsiteY23" fmla="*/ 42863 h 386714"/>
                <a:gd name="connsiteX24" fmla="*/ 254317 w 296799"/>
                <a:gd name="connsiteY24" fmla="*/ 103918 h 386714"/>
                <a:gd name="connsiteX25" fmla="*/ 199930 w 296799"/>
                <a:gd name="connsiteY25" fmla="*/ 78105 h 386714"/>
                <a:gd name="connsiteX26" fmla="*/ 149066 w 296799"/>
                <a:gd name="connsiteY26" fmla="*/ 68580 h 386714"/>
                <a:gd name="connsiteX27" fmla="*/ 110585 w 296799"/>
                <a:gd name="connsiteY27" fmla="*/ 79153 h 386714"/>
                <a:gd name="connsiteX28" fmla="*/ 96774 w 296799"/>
                <a:gd name="connsiteY28" fmla="*/ 105918 h 386714"/>
                <a:gd name="connsiteX29" fmla="*/ 96774 w 296799"/>
                <a:gd name="connsiteY29" fmla="*/ 107347 h 386714"/>
                <a:gd name="connsiteX30" fmla="*/ 103822 w 296799"/>
                <a:gd name="connsiteY30" fmla="*/ 124587 h 386714"/>
                <a:gd name="connsiteX31" fmla="*/ 122587 w 296799"/>
                <a:gd name="connsiteY31" fmla="*/ 138017 h 386714"/>
                <a:gd name="connsiteX32" fmla="*/ 149447 w 296799"/>
                <a:gd name="connsiteY32" fmla="*/ 149257 h 386714"/>
                <a:gd name="connsiteX33" fmla="*/ 180880 w 296799"/>
                <a:gd name="connsiteY33" fmla="*/ 159448 h 386714"/>
                <a:gd name="connsiteX34" fmla="*/ 221837 w 296799"/>
                <a:gd name="connsiteY34" fmla="*/ 174212 h 386714"/>
                <a:gd name="connsiteX35" fmla="*/ 258985 w 296799"/>
                <a:gd name="connsiteY35" fmla="*/ 194977 h 386714"/>
                <a:gd name="connsiteX36" fmla="*/ 286226 w 296799"/>
                <a:gd name="connsiteY36" fmla="*/ 224980 h 386714"/>
                <a:gd name="connsiteX37" fmla="*/ 296799 w 296799"/>
                <a:gd name="connsiteY37" fmla="*/ 267938 h 386714"/>
                <a:gd name="connsiteX38" fmla="*/ 296799 w 296799"/>
                <a:gd name="connsiteY38" fmla="*/ 269367 h 386714"/>
                <a:gd name="connsiteX39" fmla="*/ 286226 w 296799"/>
                <a:gd name="connsiteY39" fmla="*/ 320897 h 386714"/>
                <a:gd name="connsiteX40" fmla="*/ 256889 w 296799"/>
                <a:gd name="connsiteY40" fmla="*/ 357188 h 386714"/>
                <a:gd name="connsiteX41" fmla="*/ 212693 w 296799"/>
                <a:gd name="connsiteY41" fmla="*/ 379095 h 386714"/>
                <a:gd name="connsiteX42" fmla="*/ 158305 w 296799"/>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799"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065" y="318135"/>
                    <a:pt x="160401" y="318135"/>
                  </a:cubicBezTo>
                  <a:cubicBezTo>
                    <a:pt x="179737" y="318135"/>
                    <a:pt x="193072"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828" y="227647"/>
                    <a:pt x="134969" y="224314"/>
                  </a:cubicBezTo>
                  <a:cubicBezTo>
                    <a:pt x="121348" y="220599"/>
                    <a:pt x="107537" y="216122"/>
                    <a:pt x="93631" y="210884"/>
                  </a:cubicBezTo>
                  <a:cubicBezTo>
                    <a:pt x="79724" y="205740"/>
                    <a:pt x="67246" y="198977"/>
                    <a:pt x="56197" y="190786"/>
                  </a:cubicBezTo>
                  <a:cubicBezTo>
                    <a:pt x="45148" y="182594"/>
                    <a:pt x="36004"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874" y="0"/>
                    <a:pt x="151162" y="0"/>
                  </a:cubicBezTo>
                  <a:cubicBezTo>
                    <a:pt x="174688" y="0"/>
                    <a:pt x="198501" y="3810"/>
                    <a:pt x="222504" y="11430"/>
                  </a:cubicBezTo>
                  <a:cubicBezTo>
                    <a:pt x="246507" y="19050"/>
                    <a:pt x="268414" y="29527"/>
                    <a:pt x="288227" y="42863"/>
                  </a:cubicBezTo>
                  <a:lnTo>
                    <a:pt x="254317"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774" y="95155"/>
                    <a:pt x="96774" y="105918"/>
                  </a:cubicBezTo>
                  <a:lnTo>
                    <a:pt x="96774" y="107347"/>
                  </a:lnTo>
                  <a:cubicBezTo>
                    <a:pt x="96774" y="113919"/>
                    <a:pt x="99155" y="119634"/>
                    <a:pt x="103822" y="124587"/>
                  </a:cubicBezTo>
                  <a:cubicBezTo>
                    <a:pt x="108490" y="129540"/>
                    <a:pt x="114776" y="134017"/>
                    <a:pt x="122587" y="138017"/>
                  </a:cubicBezTo>
                  <a:cubicBezTo>
                    <a:pt x="130397" y="142018"/>
                    <a:pt x="139351" y="145732"/>
                    <a:pt x="149447" y="149257"/>
                  </a:cubicBezTo>
                  <a:cubicBezTo>
                    <a:pt x="159544" y="152781"/>
                    <a:pt x="170021" y="156210"/>
                    <a:pt x="180880" y="159448"/>
                  </a:cubicBezTo>
                  <a:cubicBezTo>
                    <a:pt x="194500" y="163639"/>
                    <a:pt x="208216" y="168592"/>
                    <a:pt x="221837" y="174212"/>
                  </a:cubicBezTo>
                  <a:cubicBezTo>
                    <a:pt x="235458" y="179832"/>
                    <a:pt x="247840" y="186785"/>
                    <a:pt x="258985" y="194977"/>
                  </a:cubicBezTo>
                  <a:cubicBezTo>
                    <a:pt x="270034" y="203168"/>
                    <a:pt x="279178" y="213169"/>
                    <a:pt x="286226" y="224980"/>
                  </a:cubicBezTo>
                  <a:cubicBezTo>
                    <a:pt x="293275" y="236696"/>
                    <a:pt x="296799" y="251079"/>
                    <a:pt x="296799" y="267938"/>
                  </a:cubicBezTo>
                  <a:lnTo>
                    <a:pt x="296799" y="269367"/>
                  </a:lnTo>
                  <a:cubicBezTo>
                    <a:pt x="296799" y="289084"/>
                    <a:pt x="293275" y="306229"/>
                    <a:pt x="286226" y="320897"/>
                  </a:cubicBezTo>
                  <a:cubicBezTo>
                    <a:pt x="279178" y="335470"/>
                    <a:pt x="269367" y="347567"/>
                    <a:pt x="256889" y="357188"/>
                  </a:cubicBezTo>
                  <a:cubicBezTo>
                    <a:pt x="244412" y="366808"/>
                    <a:pt x="229648" y="374142"/>
                    <a:pt x="212693" y="379095"/>
                  </a:cubicBezTo>
                  <a:cubicBezTo>
                    <a:pt x="195739" y="384048"/>
                    <a:pt x="177641" y="386524"/>
                    <a:pt x="158305" y="386524"/>
                  </a:cubicBezTo>
                  <a:close/>
                </a:path>
              </a:pathLst>
            </a:custGeom>
            <a:solidFill>
              <a:srgbClr val="44505E"/>
            </a:solidFill>
            <a:ln w="9525" cap="flat">
              <a:noFill/>
              <a:prstDash val="solid"/>
              <a:miter/>
            </a:ln>
          </p:spPr>
          <p:txBody>
            <a:bodyPr rtlCol="0" anchor="ctr"/>
            <a:lstStyle/>
            <a:p>
              <a:endParaRPr lang="pt-BR" noProof="0"/>
            </a:p>
          </p:txBody>
        </p:sp>
        <p:sp>
          <p:nvSpPr>
            <p:cNvPr id="29" name="Freeform: Shape 28">
              <a:extLst>
                <a:ext uri="{FF2B5EF4-FFF2-40B4-BE49-F238E27FC236}">
                  <a16:creationId xmlns:a16="http://schemas.microsoft.com/office/drawing/2014/main" id="{21EF55C0-DAFE-EC95-2C0B-45E468D725A4}"/>
                </a:ext>
              </a:extLst>
            </p:cNvPr>
            <p:cNvSpPr/>
            <p:nvPr/>
          </p:nvSpPr>
          <p:spPr>
            <a:xfrm>
              <a:off x="6238590"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4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7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2 w 568166"/>
                <a:gd name="connsiteY21" fmla="*/ 381000 h 381000"/>
                <a:gd name="connsiteX22" fmla="*/ 240982 w 568166"/>
                <a:gd name="connsiteY22" fmla="*/ 168783 h 381000"/>
                <a:gd name="connsiteX23" fmla="*/ 221266 w 568166"/>
                <a:gd name="connsiteY23" fmla="*/ 101822 h 381000"/>
                <a:gd name="connsiteX24" fmla="*/ 165640 w 568166"/>
                <a:gd name="connsiteY24" fmla="*/ 78581 h 381000"/>
                <a:gd name="connsiteX25" fmla="*/ 108013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69" y="48196"/>
                    <a:pt x="105918" y="40576"/>
                  </a:cubicBezTo>
                  <a:cubicBezTo>
                    <a:pt x="112966" y="32956"/>
                    <a:pt x="121063" y="26099"/>
                    <a:pt x="130207" y="19907"/>
                  </a:cubicBezTo>
                  <a:cubicBezTo>
                    <a:pt x="139351" y="13716"/>
                    <a:pt x="149638" y="8858"/>
                    <a:pt x="161163" y="5334"/>
                  </a:cubicBezTo>
                  <a:cubicBezTo>
                    <a:pt x="172688" y="1714"/>
                    <a:pt x="185452" y="0"/>
                    <a:pt x="199549" y="0"/>
                  </a:cubicBezTo>
                  <a:cubicBezTo>
                    <a:pt x="226314" y="0"/>
                    <a:pt x="248983" y="6096"/>
                    <a:pt x="267557" y="18193"/>
                  </a:cubicBezTo>
                  <a:cubicBezTo>
                    <a:pt x="286131" y="30289"/>
                    <a:pt x="300323" y="46387"/>
                    <a:pt x="310134" y="66294"/>
                  </a:cubicBezTo>
                  <a:cubicBezTo>
                    <a:pt x="325279" y="46387"/>
                    <a:pt x="343090" y="30289"/>
                    <a:pt x="363664" y="18193"/>
                  </a:cubicBezTo>
                  <a:cubicBezTo>
                    <a:pt x="384238" y="6096"/>
                    <a:pt x="408718" y="0"/>
                    <a:pt x="437007" y="0"/>
                  </a:cubicBezTo>
                  <a:cubicBezTo>
                    <a:pt x="478155"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7" y="78486"/>
                  </a:cubicBezTo>
                  <a:cubicBezTo>
                    <a:pt x="382809" y="78486"/>
                    <a:pt x="364141" y="86392"/>
                    <a:pt x="349377" y="102108"/>
                  </a:cubicBezTo>
                  <a:cubicBezTo>
                    <a:pt x="334613" y="117824"/>
                    <a:pt x="327184" y="140779"/>
                    <a:pt x="327184" y="170879"/>
                  </a:cubicBezTo>
                  <a:lnTo>
                    <a:pt x="327184" y="381000"/>
                  </a:lnTo>
                  <a:lnTo>
                    <a:pt x="240982" y="381000"/>
                  </a:lnTo>
                  <a:lnTo>
                    <a:pt x="240982" y="168783"/>
                  </a:lnTo>
                  <a:cubicBezTo>
                    <a:pt x="240982" y="139637"/>
                    <a:pt x="234410" y="117348"/>
                    <a:pt x="221266" y="101822"/>
                  </a:cubicBezTo>
                  <a:cubicBezTo>
                    <a:pt x="208121" y="86296"/>
                    <a:pt x="189547" y="78581"/>
                    <a:pt x="165640" y="78581"/>
                  </a:cubicBezTo>
                  <a:cubicBezTo>
                    <a:pt x="141732" y="78581"/>
                    <a:pt x="122491" y="86773"/>
                    <a:pt x="108013"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30" name="Freeform: Shape 29">
              <a:extLst>
                <a:ext uri="{FF2B5EF4-FFF2-40B4-BE49-F238E27FC236}">
                  <a16:creationId xmlns:a16="http://schemas.microsoft.com/office/drawing/2014/main" id="{D0E4A22B-9532-1C74-B976-46B2813F5236}"/>
                </a:ext>
              </a:extLst>
            </p:cNvPr>
            <p:cNvSpPr/>
            <p:nvPr/>
          </p:nvSpPr>
          <p:spPr>
            <a:xfrm>
              <a:off x="6400979" y="664258"/>
              <a:ext cx="85097" cy="133441"/>
            </a:xfrm>
            <a:custGeom>
              <a:avLst/>
              <a:gdLst>
                <a:gd name="connsiteX0" fmla="*/ 253651 w 338518"/>
                <a:gd name="connsiteY0" fmla="*/ 523018 h 530828"/>
                <a:gd name="connsiteX1" fmla="*/ 253651 w 338518"/>
                <a:gd name="connsiteY1" fmla="*/ 477107 h 530828"/>
                <a:gd name="connsiteX2" fmla="*/ 204883 w 338518"/>
                <a:gd name="connsiteY2" fmla="*/ 515303 h 530828"/>
                <a:gd name="connsiteX3" fmla="*/ 132779 w 338518"/>
                <a:gd name="connsiteY3" fmla="*/ 530828 h 530828"/>
                <a:gd name="connsiteX4" fmla="*/ 81915 w 338518"/>
                <a:gd name="connsiteY4" fmla="*/ 523399 h 530828"/>
                <a:gd name="connsiteX5" fmla="*/ 39910 w 338518"/>
                <a:gd name="connsiteY5" fmla="*/ 501491 h 530828"/>
                <a:gd name="connsiteX6" fmla="*/ 10954 w 338518"/>
                <a:gd name="connsiteY6" fmla="*/ 465487 h 530828"/>
                <a:gd name="connsiteX7" fmla="*/ 0 w 338518"/>
                <a:gd name="connsiteY7" fmla="*/ 415671 h 530828"/>
                <a:gd name="connsiteX8" fmla="*/ 0 w 338518"/>
                <a:gd name="connsiteY8" fmla="*/ 414242 h 530828"/>
                <a:gd name="connsiteX9" fmla="*/ 11335 w 338518"/>
                <a:gd name="connsiteY9" fmla="*/ 360140 h 530828"/>
                <a:gd name="connsiteX10" fmla="*/ 42767 w 338518"/>
                <a:gd name="connsiteY10" fmla="*/ 321945 h 530828"/>
                <a:gd name="connsiteX11" fmla="*/ 90773 w 338518"/>
                <a:gd name="connsiteY11" fmla="*/ 299371 h 530828"/>
                <a:gd name="connsiteX12" fmla="*/ 151162 w 338518"/>
                <a:gd name="connsiteY12" fmla="*/ 291941 h 530828"/>
                <a:gd name="connsiteX13" fmla="*/ 208788 w 338518"/>
                <a:gd name="connsiteY13" fmla="*/ 296228 h 530828"/>
                <a:gd name="connsiteX14" fmla="*/ 254413 w 338518"/>
                <a:gd name="connsiteY14" fmla="*/ 307562 h 530828"/>
                <a:gd name="connsiteX15" fmla="*/ 254413 w 338518"/>
                <a:gd name="connsiteY15" fmla="*/ 300514 h 530828"/>
                <a:gd name="connsiteX16" fmla="*/ 230696 w 338518"/>
                <a:gd name="connsiteY16" fmla="*/ 241173 h 530828"/>
                <a:gd name="connsiteX17" fmla="*/ 162496 w 338518"/>
                <a:gd name="connsiteY17" fmla="*/ 220694 h 530828"/>
                <a:gd name="connsiteX18" fmla="*/ 106013 w 338518"/>
                <a:gd name="connsiteY18" fmla="*/ 227076 h 530828"/>
                <a:gd name="connsiteX19" fmla="*/ 55817 w 338518"/>
                <a:gd name="connsiteY19" fmla="*/ 244031 h 530828"/>
                <a:gd name="connsiteX20" fmla="*/ 32480 w 338518"/>
                <a:gd name="connsiteY20" fmla="*/ 175451 h 530828"/>
                <a:gd name="connsiteX21" fmla="*/ 96107 w 338518"/>
                <a:gd name="connsiteY21" fmla="*/ 152876 h 530828"/>
                <a:gd name="connsiteX22" fmla="*/ 174593 w 338518"/>
                <a:gd name="connsiteY22" fmla="*/ 144399 h 530828"/>
                <a:gd name="connsiteX23" fmla="*/ 298228 w 338518"/>
                <a:gd name="connsiteY23" fmla="*/ 185738 h 530828"/>
                <a:gd name="connsiteX24" fmla="*/ 338519 w 338518"/>
                <a:gd name="connsiteY24" fmla="*/ 301943 h 530828"/>
                <a:gd name="connsiteX25" fmla="*/ 338519 w 338518"/>
                <a:gd name="connsiteY25" fmla="*/ 523113 h 530828"/>
                <a:gd name="connsiteX26" fmla="*/ 253746 w 338518"/>
                <a:gd name="connsiteY26" fmla="*/ 523113 h 530828"/>
                <a:gd name="connsiteX27" fmla="*/ 45911 w 338518"/>
                <a:gd name="connsiteY27" fmla="*/ 95441 h 530828"/>
                <a:gd name="connsiteX28" fmla="*/ 75248 w 338518"/>
                <a:gd name="connsiteY28" fmla="*/ 29718 h 530828"/>
                <a:gd name="connsiteX29" fmla="*/ 125063 w 338518"/>
                <a:gd name="connsiteY29" fmla="*/ 7144 h 530828"/>
                <a:gd name="connsiteX30" fmla="*/ 154019 w 338518"/>
                <a:gd name="connsiteY30" fmla="*/ 11716 h 530828"/>
                <a:gd name="connsiteX31" fmla="*/ 181261 w 338518"/>
                <a:gd name="connsiteY31" fmla="*/ 21622 h 530828"/>
                <a:gd name="connsiteX32" fmla="*/ 205645 w 338518"/>
                <a:gd name="connsiteY32" fmla="*/ 31147 h 530828"/>
                <a:gd name="connsiteX33" fmla="*/ 226790 w 338518"/>
                <a:gd name="connsiteY33" fmla="*/ 35338 h 530828"/>
                <a:gd name="connsiteX34" fmla="*/ 250127 w 338518"/>
                <a:gd name="connsiteY34" fmla="*/ 26861 h 530828"/>
                <a:gd name="connsiteX35" fmla="*/ 265652 w 338518"/>
                <a:gd name="connsiteY35" fmla="*/ 0 h 530828"/>
                <a:gd name="connsiteX36" fmla="*/ 312991 w 338518"/>
                <a:gd name="connsiteY36" fmla="*/ 14859 h 530828"/>
                <a:gd name="connsiteX37" fmla="*/ 283655 w 338518"/>
                <a:gd name="connsiteY37" fmla="*/ 79820 h 530828"/>
                <a:gd name="connsiteX38" fmla="*/ 233839 w 338518"/>
                <a:gd name="connsiteY38" fmla="*/ 102394 h 530828"/>
                <a:gd name="connsiteX39" fmla="*/ 204883 w 338518"/>
                <a:gd name="connsiteY39" fmla="*/ 98203 h 530828"/>
                <a:gd name="connsiteX40" fmla="*/ 177641 w 338518"/>
                <a:gd name="connsiteY40" fmla="*/ 88678 h 530828"/>
                <a:gd name="connsiteX41" fmla="*/ 152876 w 338518"/>
                <a:gd name="connsiteY41" fmla="*/ 78772 h 530828"/>
                <a:gd name="connsiteX42" fmla="*/ 132017 w 338518"/>
                <a:gd name="connsiteY42" fmla="*/ 74200 h 530828"/>
                <a:gd name="connsiteX43" fmla="*/ 108680 w 338518"/>
                <a:gd name="connsiteY43" fmla="*/ 82677 h 530828"/>
                <a:gd name="connsiteX44" fmla="*/ 93154 w 338518"/>
                <a:gd name="connsiteY44" fmla="*/ 109538 h 530828"/>
                <a:gd name="connsiteX45" fmla="*/ 45815 w 338518"/>
                <a:gd name="connsiteY45" fmla="*/ 95441 h 530828"/>
                <a:gd name="connsiteX46" fmla="*/ 255842 w 338518"/>
                <a:gd name="connsiteY46" fmla="*/ 366808 h 530828"/>
                <a:gd name="connsiteX47" fmla="*/ 217361 w 338518"/>
                <a:gd name="connsiteY47" fmla="*/ 356235 h 530828"/>
                <a:gd name="connsiteX48" fmla="*/ 170402 w 338518"/>
                <a:gd name="connsiteY48" fmla="*/ 351949 h 530828"/>
                <a:gd name="connsiteX49" fmla="*/ 107537 w 338518"/>
                <a:gd name="connsiteY49" fmla="*/ 367475 h 530828"/>
                <a:gd name="connsiteX50" fmla="*/ 84963 w 338518"/>
                <a:gd name="connsiteY50" fmla="*/ 409861 h 530828"/>
                <a:gd name="connsiteX51" fmla="*/ 84963 w 338518"/>
                <a:gd name="connsiteY51" fmla="*/ 411290 h 530828"/>
                <a:gd name="connsiteX52" fmla="*/ 105823 w 338518"/>
                <a:gd name="connsiteY52" fmla="*/ 452247 h 530828"/>
                <a:gd name="connsiteX53" fmla="*/ 157067 w 338518"/>
                <a:gd name="connsiteY53" fmla="*/ 466344 h 530828"/>
                <a:gd name="connsiteX54" fmla="*/ 196310 w 338518"/>
                <a:gd name="connsiteY54" fmla="*/ 460724 h 530828"/>
                <a:gd name="connsiteX55" fmla="*/ 227743 w 338518"/>
                <a:gd name="connsiteY55" fmla="*/ 444818 h 530828"/>
                <a:gd name="connsiteX56" fmla="*/ 248603 w 338518"/>
                <a:gd name="connsiteY56" fmla="*/ 420053 h 530828"/>
                <a:gd name="connsiteX57" fmla="*/ 256032 w 338518"/>
                <a:gd name="connsiteY57" fmla="*/ 387858 h 530828"/>
                <a:gd name="connsiteX58" fmla="*/ 256032 w 338518"/>
                <a:gd name="connsiteY58" fmla="*/ 366617 h 5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8518" h="530828">
                  <a:moveTo>
                    <a:pt x="253651" y="523018"/>
                  </a:moveTo>
                  <a:lnTo>
                    <a:pt x="253651" y="477107"/>
                  </a:lnTo>
                  <a:cubicBezTo>
                    <a:pt x="240887" y="492157"/>
                    <a:pt x="224695" y="504920"/>
                    <a:pt x="204883" y="515303"/>
                  </a:cubicBezTo>
                  <a:cubicBezTo>
                    <a:pt x="185071" y="525685"/>
                    <a:pt x="161068" y="530828"/>
                    <a:pt x="132779" y="530828"/>
                  </a:cubicBezTo>
                  <a:cubicBezTo>
                    <a:pt x="114871" y="530828"/>
                    <a:pt x="97917" y="528352"/>
                    <a:pt x="81915" y="523399"/>
                  </a:cubicBezTo>
                  <a:cubicBezTo>
                    <a:pt x="65913" y="518446"/>
                    <a:pt x="51911" y="511112"/>
                    <a:pt x="39910" y="501491"/>
                  </a:cubicBezTo>
                  <a:cubicBezTo>
                    <a:pt x="27908" y="491871"/>
                    <a:pt x="18193" y="479870"/>
                    <a:pt x="10954" y="465487"/>
                  </a:cubicBezTo>
                  <a:cubicBezTo>
                    <a:pt x="3620" y="451104"/>
                    <a:pt x="0" y="434531"/>
                    <a:pt x="0" y="415671"/>
                  </a:cubicBezTo>
                  <a:lnTo>
                    <a:pt x="0" y="414242"/>
                  </a:lnTo>
                  <a:cubicBezTo>
                    <a:pt x="0" y="393478"/>
                    <a:pt x="3810" y="375476"/>
                    <a:pt x="11335" y="360140"/>
                  </a:cubicBezTo>
                  <a:cubicBezTo>
                    <a:pt x="18860" y="344805"/>
                    <a:pt x="29337" y="332137"/>
                    <a:pt x="42767" y="321945"/>
                  </a:cubicBezTo>
                  <a:cubicBezTo>
                    <a:pt x="56198" y="311849"/>
                    <a:pt x="72200" y="304324"/>
                    <a:pt x="90773" y="299371"/>
                  </a:cubicBezTo>
                  <a:cubicBezTo>
                    <a:pt x="109347" y="294418"/>
                    <a:pt x="129540" y="291941"/>
                    <a:pt x="151162" y="291941"/>
                  </a:cubicBezTo>
                  <a:cubicBezTo>
                    <a:pt x="172784" y="291941"/>
                    <a:pt x="192977" y="293370"/>
                    <a:pt x="208788" y="296228"/>
                  </a:cubicBezTo>
                  <a:cubicBezTo>
                    <a:pt x="224600" y="299085"/>
                    <a:pt x="239744" y="302800"/>
                    <a:pt x="254413" y="307562"/>
                  </a:cubicBezTo>
                  <a:lnTo>
                    <a:pt x="254413" y="300514"/>
                  </a:lnTo>
                  <a:cubicBezTo>
                    <a:pt x="254413" y="274606"/>
                    <a:pt x="246507" y="254794"/>
                    <a:pt x="230696" y="241173"/>
                  </a:cubicBezTo>
                  <a:cubicBezTo>
                    <a:pt x="214884" y="227552"/>
                    <a:pt x="192215" y="220694"/>
                    <a:pt x="162496" y="220694"/>
                  </a:cubicBezTo>
                  <a:cubicBezTo>
                    <a:pt x="141351" y="220694"/>
                    <a:pt x="122492" y="222790"/>
                    <a:pt x="106013" y="227076"/>
                  </a:cubicBezTo>
                  <a:cubicBezTo>
                    <a:pt x="89535" y="231362"/>
                    <a:pt x="72771" y="236982"/>
                    <a:pt x="55817" y="244031"/>
                  </a:cubicBezTo>
                  <a:lnTo>
                    <a:pt x="32480" y="175451"/>
                  </a:lnTo>
                  <a:cubicBezTo>
                    <a:pt x="53150" y="166021"/>
                    <a:pt x="74390" y="158496"/>
                    <a:pt x="96107" y="152876"/>
                  </a:cubicBezTo>
                  <a:cubicBezTo>
                    <a:pt x="117729" y="147257"/>
                    <a:pt x="143923" y="144399"/>
                    <a:pt x="174593" y="144399"/>
                  </a:cubicBezTo>
                  <a:cubicBezTo>
                    <a:pt x="230124" y="144399"/>
                    <a:pt x="271367" y="158210"/>
                    <a:pt x="298228" y="185738"/>
                  </a:cubicBezTo>
                  <a:cubicBezTo>
                    <a:pt x="325088" y="213265"/>
                    <a:pt x="338519" y="252032"/>
                    <a:pt x="338519" y="301943"/>
                  </a:cubicBezTo>
                  <a:lnTo>
                    <a:pt x="338519" y="523113"/>
                  </a:lnTo>
                  <a:lnTo>
                    <a:pt x="253746" y="523113"/>
                  </a:lnTo>
                  <a:close/>
                  <a:moveTo>
                    <a:pt x="45911" y="95441"/>
                  </a:moveTo>
                  <a:cubicBezTo>
                    <a:pt x="53912" y="66675"/>
                    <a:pt x="63722" y="44768"/>
                    <a:pt x="75248" y="29718"/>
                  </a:cubicBezTo>
                  <a:cubicBezTo>
                    <a:pt x="86773" y="14669"/>
                    <a:pt x="103442" y="7144"/>
                    <a:pt x="125063" y="7144"/>
                  </a:cubicBezTo>
                  <a:cubicBezTo>
                    <a:pt x="134969" y="7144"/>
                    <a:pt x="144590" y="8668"/>
                    <a:pt x="154019" y="11716"/>
                  </a:cubicBezTo>
                  <a:cubicBezTo>
                    <a:pt x="163449" y="14764"/>
                    <a:pt x="172498" y="18098"/>
                    <a:pt x="181261" y="21622"/>
                  </a:cubicBezTo>
                  <a:cubicBezTo>
                    <a:pt x="189929" y="25146"/>
                    <a:pt x="198120" y="28385"/>
                    <a:pt x="205645" y="31147"/>
                  </a:cubicBezTo>
                  <a:cubicBezTo>
                    <a:pt x="213170" y="34004"/>
                    <a:pt x="220218" y="35338"/>
                    <a:pt x="226790" y="35338"/>
                  </a:cubicBezTo>
                  <a:cubicBezTo>
                    <a:pt x="237173" y="35338"/>
                    <a:pt x="244888" y="32480"/>
                    <a:pt x="250127" y="26861"/>
                  </a:cubicBezTo>
                  <a:cubicBezTo>
                    <a:pt x="255270" y="21241"/>
                    <a:pt x="260509" y="12287"/>
                    <a:pt x="265652" y="0"/>
                  </a:cubicBezTo>
                  <a:lnTo>
                    <a:pt x="312991" y="14859"/>
                  </a:lnTo>
                  <a:cubicBezTo>
                    <a:pt x="304991" y="43148"/>
                    <a:pt x="295180" y="64770"/>
                    <a:pt x="283655" y="79820"/>
                  </a:cubicBezTo>
                  <a:cubicBezTo>
                    <a:pt x="272129" y="94869"/>
                    <a:pt x="255461" y="102394"/>
                    <a:pt x="233839" y="102394"/>
                  </a:cubicBezTo>
                  <a:cubicBezTo>
                    <a:pt x="223933" y="102394"/>
                    <a:pt x="214313" y="100965"/>
                    <a:pt x="204883" y="98203"/>
                  </a:cubicBezTo>
                  <a:cubicBezTo>
                    <a:pt x="195453" y="95345"/>
                    <a:pt x="186404" y="92202"/>
                    <a:pt x="177641" y="88678"/>
                  </a:cubicBezTo>
                  <a:cubicBezTo>
                    <a:pt x="168878" y="85154"/>
                    <a:pt x="160687" y="81820"/>
                    <a:pt x="152876" y="78772"/>
                  </a:cubicBezTo>
                  <a:cubicBezTo>
                    <a:pt x="145066" y="75724"/>
                    <a:pt x="138113" y="74200"/>
                    <a:pt x="132017" y="74200"/>
                  </a:cubicBezTo>
                  <a:cubicBezTo>
                    <a:pt x="121634" y="74200"/>
                    <a:pt x="113919" y="77057"/>
                    <a:pt x="108680" y="82677"/>
                  </a:cubicBezTo>
                  <a:cubicBezTo>
                    <a:pt x="103537" y="88297"/>
                    <a:pt x="98298" y="97250"/>
                    <a:pt x="93154" y="109538"/>
                  </a:cubicBezTo>
                  <a:lnTo>
                    <a:pt x="45815" y="95441"/>
                  </a:lnTo>
                  <a:close/>
                  <a:moveTo>
                    <a:pt x="255842" y="366808"/>
                  </a:moveTo>
                  <a:cubicBezTo>
                    <a:pt x="244983" y="362522"/>
                    <a:pt x="232124" y="358997"/>
                    <a:pt x="217361" y="356235"/>
                  </a:cubicBezTo>
                  <a:cubicBezTo>
                    <a:pt x="202502" y="353378"/>
                    <a:pt x="186880" y="351949"/>
                    <a:pt x="170402" y="351949"/>
                  </a:cubicBezTo>
                  <a:cubicBezTo>
                    <a:pt x="143542" y="351949"/>
                    <a:pt x="122587" y="357092"/>
                    <a:pt x="107537" y="367475"/>
                  </a:cubicBezTo>
                  <a:cubicBezTo>
                    <a:pt x="92488" y="377857"/>
                    <a:pt x="84963" y="391954"/>
                    <a:pt x="84963" y="409861"/>
                  </a:cubicBezTo>
                  <a:lnTo>
                    <a:pt x="84963" y="411290"/>
                  </a:lnTo>
                  <a:cubicBezTo>
                    <a:pt x="84963" y="429197"/>
                    <a:pt x="91916" y="442817"/>
                    <a:pt x="105823" y="452247"/>
                  </a:cubicBezTo>
                  <a:cubicBezTo>
                    <a:pt x="119729" y="461677"/>
                    <a:pt x="136779" y="466344"/>
                    <a:pt x="157067" y="466344"/>
                  </a:cubicBezTo>
                  <a:cubicBezTo>
                    <a:pt x="171164" y="466344"/>
                    <a:pt x="184309" y="464439"/>
                    <a:pt x="196310" y="460724"/>
                  </a:cubicBezTo>
                  <a:cubicBezTo>
                    <a:pt x="208312" y="456914"/>
                    <a:pt x="218789" y="451676"/>
                    <a:pt x="227743" y="444818"/>
                  </a:cubicBezTo>
                  <a:cubicBezTo>
                    <a:pt x="236696" y="437960"/>
                    <a:pt x="243650" y="429768"/>
                    <a:pt x="248603" y="420053"/>
                  </a:cubicBezTo>
                  <a:cubicBezTo>
                    <a:pt x="253555" y="410432"/>
                    <a:pt x="256032" y="399669"/>
                    <a:pt x="256032" y="387858"/>
                  </a:cubicBezTo>
                  <a:lnTo>
                    <a:pt x="256032" y="366617"/>
                  </a:lnTo>
                  <a:close/>
                </a:path>
              </a:pathLst>
            </a:custGeom>
            <a:solidFill>
              <a:srgbClr val="44505E"/>
            </a:solidFill>
            <a:ln w="9525" cap="flat">
              <a:noFill/>
              <a:prstDash val="solid"/>
              <a:miter/>
            </a:ln>
          </p:spPr>
          <p:txBody>
            <a:bodyPr rtlCol="0" anchor="ctr"/>
            <a:lstStyle/>
            <a:p>
              <a:endParaRPr lang="pt-BR" noProof="0"/>
            </a:p>
          </p:txBody>
        </p:sp>
        <p:sp>
          <p:nvSpPr>
            <p:cNvPr id="31" name="Freeform: Shape 30">
              <a:extLst>
                <a:ext uri="{FF2B5EF4-FFF2-40B4-BE49-F238E27FC236}">
                  <a16:creationId xmlns:a16="http://schemas.microsoft.com/office/drawing/2014/main" id="{E50C0B5F-0B4B-2792-201F-B12052441550}"/>
                </a:ext>
              </a:extLst>
            </p:cNvPr>
            <p:cNvSpPr/>
            <p:nvPr/>
          </p:nvSpPr>
          <p:spPr>
            <a:xfrm>
              <a:off x="6506477" y="699959"/>
              <a:ext cx="100038" cy="97908"/>
            </a:xfrm>
            <a:custGeom>
              <a:avLst/>
              <a:gdLst>
                <a:gd name="connsiteX0" fmla="*/ 197834 w 397954"/>
                <a:gd name="connsiteY0" fmla="*/ 389477 h 389477"/>
                <a:gd name="connsiteX1" fmla="*/ 119063 w 397954"/>
                <a:gd name="connsiteY1" fmla="*/ 374237 h 389477"/>
                <a:gd name="connsiteX2" fmla="*/ 56198 w 397954"/>
                <a:gd name="connsiteY2" fmla="*/ 332899 h 389477"/>
                <a:gd name="connsiteX3" fmla="*/ 14859 w 397954"/>
                <a:gd name="connsiteY3" fmla="*/ 271463 h 389477"/>
                <a:gd name="connsiteX4" fmla="*/ 0 w 397954"/>
                <a:gd name="connsiteY4" fmla="*/ 196501 h 389477"/>
                <a:gd name="connsiteX5" fmla="*/ 0 w 397954"/>
                <a:gd name="connsiteY5" fmla="*/ 195072 h 389477"/>
                <a:gd name="connsiteX6" fmla="*/ 15240 w 397954"/>
                <a:gd name="connsiteY6" fmla="*/ 119444 h 389477"/>
                <a:gd name="connsiteX7" fmla="*/ 56960 w 397954"/>
                <a:gd name="connsiteY7" fmla="*/ 57626 h 389477"/>
                <a:gd name="connsiteX8" fmla="*/ 119825 w 397954"/>
                <a:gd name="connsiteY8" fmla="*/ 15526 h 389477"/>
                <a:gd name="connsiteX9" fmla="*/ 199358 w 397954"/>
                <a:gd name="connsiteY9" fmla="*/ 0 h 389477"/>
                <a:gd name="connsiteX10" fmla="*/ 278892 w 397954"/>
                <a:gd name="connsiteY10" fmla="*/ 15240 h 389477"/>
                <a:gd name="connsiteX11" fmla="*/ 341757 w 397954"/>
                <a:gd name="connsiteY11" fmla="*/ 56959 h 389477"/>
                <a:gd name="connsiteX12" fmla="*/ 383096 w 397954"/>
                <a:gd name="connsiteY12" fmla="*/ 118396 h 389477"/>
                <a:gd name="connsiteX13" fmla="*/ 397955 w 397954"/>
                <a:gd name="connsiteY13" fmla="*/ 193643 h 389477"/>
                <a:gd name="connsiteX14" fmla="*/ 397955 w 397954"/>
                <a:gd name="connsiteY14" fmla="*/ 195072 h 389477"/>
                <a:gd name="connsiteX15" fmla="*/ 382714 w 397954"/>
                <a:gd name="connsiteY15" fmla="*/ 270034 h 389477"/>
                <a:gd name="connsiteX16" fmla="*/ 340995 w 397954"/>
                <a:gd name="connsiteY16" fmla="*/ 331851 h 389477"/>
                <a:gd name="connsiteX17" fmla="*/ 277749 w 397954"/>
                <a:gd name="connsiteY17" fmla="*/ 373856 h 389477"/>
                <a:gd name="connsiteX18" fmla="*/ 197834 w 397954"/>
                <a:gd name="connsiteY18" fmla="*/ 389382 h 389477"/>
                <a:gd name="connsiteX19" fmla="*/ 199263 w 397954"/>
                <a:gd name="connsiteY19" fmla="*/ 315278 h 389477"/>
                <a:gd name="connsiteX20" fmla="*/ 245936 w 397954"/>
                <a:gd name="connsiteY20" fmla="*/ 305753 h 389477"/>
                <a:gd name="connsiteX21" fmla="*/ 281369 w 397954"/>
                <a:gd name="connsiteY21" fmla="*/ 279940 h 389477"/>
                <a:gd name="connsiteX22" fmla="*/ 303848 w 397954"/>
                <a:gd name="connsiteY22" fmla="*/ 242125 h 389477"/>
                <a:gd name="connsiteX23" fmla="*/ 311563 w 397954"/>
                <a:gd name="connsiteY23" fmla="*/ 196501 h 389477"/>
                <a:gd name="connsiteX24" fmla="*/ 311563 w 397954"/>
                <a:gd name="connsiteY24" fmla="*/ 195072 h 389477"/>
                <a:gd name="connsiteX25" fmla="*/ 303181 w 397954"/>
                <a:gd name="connsiteY25" fmla="*/ 148400 h 389477"/>
                <a:gd name="connsiteX26" fmla="*/ 279654 w 397954"/>
                <a:gd name="connsiteY26" fmla="*/ 110204 h 389477"/>
                <a:gd name="connsiteX27" fmla="*/ 243840 w 397954"/>
                <a:gd name="connsiteY27" fmla="*/ 84392 h 389477"/>
                <a:gd name="connsiteX28" fmla="*/ 197834 w 397954"/>
                <a:gd name="connsiteY28" fmla="*/ 74867 h 389477"/>
                <a:gd name="connsiteX29" fmla="*/ 151829 w 397954"/>
                <a:gd name="connsiteY29" fmla="*/ 84392 h 389477"/>
                <a:gd name="connsiteX30" fmla="*/ 116396 w 397954"/>
                <a:gd name="connsiteY30" fmla="*/ 109823 h 389477"/>
                <a:gd name="connsiteX31" fmla="*/ 93916 w 397954"/>
                <a:gd name="connsiteY31" fmla="*/ 147638 h 389477"/>
                <a:gd name="connsiteX32" fmla="*/ 86201 w 397954"/>
                <a:gd name="connsiteY32" fmla="*/ 193548 h 389477"/>
                <a:gd name="connsiteX33" fmla="*/ 86201 w 397954"/>
                <a:gd name="connsiteY33" fmla="*/ 194977 h 389477"/>
                <a:gd name="connsiteX34" fmla="*/ 94583 w 397954"/>
                <a:gd name="connsiteY34" fmla="*/ 241268 h 389477"/>
                <a:gd name="connsiteX35" fmla="*/ 118110 w 397954"/>
                <a:gd name="connsiteY35" fmla="*/ 279463 h 389477"/>
                <a:gd name="connsiteX36" fmla="*/ 153924 w 397954"/>
                <a:gd name="connsiteY36" fmla="*/ 305562 h 389477"/>
                <a:gd name="connsiteX37" fmla="*/ 199263 w 397954"/>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954" h="389477">
                  <a:moveTo>
                    <a:pt x="197834" y="389477"/>
                  </a:moveTo>
                  <a:cubicBezTo>
                    <a:pt x="169545" y="389477"/>
                    <a:pt x="143351" y="384429"/>
                    <a:pt x="119063" y="374237"/>
                  </a:cubicBezTo>
                  <a:cubicBezTo>
                    <a:pt x="94774" y="364141"/>
                    <a:pt x="73819" y="350330"/>
                    <a:pt x="56198" y="332899"/>
                  </a:cubicBezTo>
                  <a:cubicBezTo>
                    <a:pt x="38576" y="315468"/>
                    <a:pt x="24765" y="294989"/>
                    <a:pt x="14859" y="271463"/>
                  </a:cubicBezTo>
                  <a:cubicBezTo>
                    <a:pt x="4953" y="247936"/>
                    <a:pt x="0" y="222980"/>
                    <a:pt x="0" y="196501"/>
                  </a:cubicBezTo>
                  <a:lnTo>
                    <a:pt x="0" y="195072"/>
                  </a:lnTo>
                  <a:cubicBezTo>
                    <a:pt x="0" y="168212"/>
                    <a:pt x="5049" y="143066"/>
                    <a:pt x="15240" y="119444"/>
                  </a:cubicBezTo>
                  <a:cubicBezTo>
                    <a:pt x="25337" y="95917"/>
                    <a:pt x="39243" y="75248"/>
                    <a:pt x="56960" y="57626"/>
                  </a:cubicBezTo>
                  <a:cubicBezTo>
                    <a:pt x="74676" y="39910"/>
                    <a:pt x="95631" y="25908"/>
                    <a:pt x="119825" y="15526"/>
                  </a:cubicBezTo>
                  <a:cubicBezTo>
                    <a:pt x="144113" y="5144"/>
                    <a:pt x="170593" y="0"/>
                    <a:pt x="199358" y="0"/>
                  </a:cubicBezTo>
                  <a:cubicBezTo>
                    <a:pt x="228124" y="0"/>
                    <a:pt x="254604" y="5048"/>
                    <a:pt x="278892" y="15240"/>
                  </a:cubicBezTo>
                  <a:cubicBezTo>
                    <a:pt x="303181" y="25337"/>
                    <a:pt x="324136" y="39243"/>
                    <a:pt x="341757" y="56959"/>
                  </a:cubicBezTo>
                  <a:cubicBezTo>
                    <a:pt x="359379" y="74676"/>
                    <a:pt x="373189" y="95155"/>
                    <a:pt x="383096" y="118396"/>
                  </a:cubicBezTo>
                  <a:cubicBezTo>
                    <a:pt x="393002" y="141732"/>
                    <a:pt x="397955" y="166783"/>
                    <a:pt x="397955" y="193643"/>
                  </a:cubicBezTo>
                  <a:lnTo>
                    <a:pt x="397955" y="195072"/>
                  </a:lnTo>
                  <a:cubicBezTo>
                    <a:pt x="397955" y="221456"/>
                    <a:pt x="392906" y="246412"/>
                    <a:pt x="382714" y="270034"/>
                  </a:cubicBezTo>
                  <a:cubicBezTo>
                    <a:pt x="372618" y="293561"/>
                    <a:pt x="358712" y="314230"/>
                    <a:pt x="340995" y="331851"/>
                  </a:cubicBezTo>
                  <a:cubicBezTo>
                    <a:pt x="323279" y="349472"/>
                    <a:pt x="302229" y="363569"/>
                    <a:pt x="277749" y="373856"/>
                  </a:cubicBezTo>
                  <a:cubicBezTo>
                    <a:pt x="253270" y="384238"/>
                    <a:pt x="226600" y="389382"/>
                    <a:pt x="197834" y="389382"/>
                  </a:cubicBezTo>
                  <a:close/>
                  <a:moveTo>
                    <a:pt x="199263" y="315278"/>
                  </a:moveTo>
                  <a:cubicBezTo>
                    <a:pt x="216598" y="315278"/>
                    <a:pt x="232124" y="312039"/>
                    <a:pt x="245936" y="305753"/>
                  </a:cubicBezTo>
                  <a:cubicBezTo>
                    <a:pt x="259747" y="299371"/>
                    <a:pt x="271558" y="290798"/>
                    <a:pt x="281369" y="279940"/>
                  </a:cubicBezTo>
                  <a:cubicBezTo>
                    <a:pt x="291179" y="269081"/>
                    <a:pt x="298704" y="256508"/>
                    <a:pt x="303848" y="242125"/>
                  </a:cubicBezTo>
                  <a:cubicBezTo>
                    <a:pt x="308991" y="227743"/>
                    <a:pt x="311563" y="212598"/>
                    <a:pt x="311563" y="196501"/>
                  </a:cubicBezTo>
                  <a:lnTo>
                    <a:pt x="311563" y="195072"/>
                  </a:lnTo>
                  <a:cubicBezTo>
                    <a:pt x="311563" y="178594"/>
                    <a:pt x="308706" y="163068"/>
                    <a:pt x="303181" y="148400"/>
                  </a:cubicBezTo>
                  <a:cubicBezTo>
                    <a:pt x="297561" y="133826"/>
                    <a:pt x="289750" y="121063"/>
                    <a:pt x="279654" y="110204"/>
                  </a:cubicBezTo>
                  <a:cubicBezTo>
                    <a:pt x="269557" y="99346"/>
                    <a:pt x="257651" y="90773"/>
                    <a:pt x="243840" y="84392"/>
                  </a:cubicBezTo>
                  <a:cubicBezTo>
                    <a:pt x="230029" y="78010"/>
                    <a:pt x="214694" y="74867"/>
                    <a:pt x="197834" y="74867"/>
                  </a:cubicBezTo>
                  <a:cubicBezTo>
                    <a:pt x="180975" y="74867"/>
                    <a:pt x="165640" y="78010"/>
                    <a:pt x="151829" y="84392"/>
                  </a:cubicBezTo>
                  <a:cubicBezTo>
                    <a:pt x="138017" y="90773"/>
                    <a:pt x="126206" y="99250"/>
                    <a:pt x="116396" y="109823"/>
                  </a:cubicBezTo>
                  <a:cubicBezTo>
                    <a:pt x="106585" y="120396"/>
                    <a:pt x="99060" y="133064"/>
                    <a:pt x="93916" y="147638"/>
                  </a:cubicBezTo>
                  <a:cubicBezTo>
                    <a:pt x="88773" y="162211"/>
                    <a:pt x="86201" y="177546"/>
                    <a:pt x="86201" y="193548"/>
                  </a:cubicBezTo>
                  <a:lnTo>
                    <a:pt x="86201" y="194977"/>
                  </a:lnTo>
                  <a:cubicBezTo>
                    <a:pt x="86201" y="211455"/>
                    <a:pt x="89059" y="226886"/>
                    <a:pt x="94583" y="241268"/>
                  </a:cubicBezTo>
                  <a:cubicBezTo>
                    <a:pt x="100203" y="255651"/>
                    <a:pt x="108014" y="268319"/>
                    <a:pt x="118110" y="279463"/>
                  </a:cubicBezTo>
                  <a:cubicBezTo>
                    <a:pt x="128207" y="290608"/>
                    <a:pt x="140113" y="299275"/>
                    <a:pt x="153924" y="305562"/>
                  </a:cubicBezTo>
                  <a:cubicBezTo>
                    <a:pt x="167735" y="311944"/>
                    <a:pt x="182785"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32" name="Freeform: Shape 31">
              <a:extLst>
                <a:ext uri="{FF2B5EF4-FFF2-40B4-BE49-F238E27FC236}">
                  <a16:creationId xmlns:a16="http://schemas.microsoft.com/office/drawing/2014/main" id="{CB4DB540-D8E2-1FBE-0FDB-C26254ECC39F}"/>
                </a:ext>
              </a:extLst>
            </p:cNvPr>
            <p:cNvSpPr/>
            <p:nvPr/>
          </p:nvSpPr>
          <p:spPr>
            <a:xfrm>
              <a:off x="662071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1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7 w 296894"/>
                <a:gd name="connsiteY23" fmla="*/ 42863 h 386714"/>
                <a:gd name="connsiteX24" fmla="*/ 254318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7 w 296894"/>
                <a:gd name="connsiteY30" fmla="*/ 124587 h 386714"/>
                <a:gd name="connsiteX31" fmla="*/ 122682 w 296894"/>
                <a:gd name="connsiteY31" fmla="*/ 138017 h 386714"/>
                <a:gd name="connsiteX32" fmla="*/ 149543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6" y="348901"/>
                    <a:pt x="0" y="330327"/>
                  </a:cubicBezTo>
                  <a:lnTo>
                    <a:pt x="38195" y="272224"/>
                  </a:lnTo>
                  <a:cubicBezTo>
                    <a:pt x="58484" y="287274"/>
                    <a:pt x="79057" y="298704"/>
                    <a:pt x="100013" y="306514"/>
                  </a:cubicBezTo>
                  <a:cubicBezTo>
                    <a:pt x="120968" y="314325"/>
                    <a:pt x="141161" y="318135"/>
                    <a:pt x="160401" y="318135"/>
                  </a:cubicBezTo>
                  <a:cubicBezTo>
                    <a:pt x="179641" y="318135"/>
                    <a:pt x="192977"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1" y="241078"/>
                    <a:pt x="176498" y="237553"/>
                    <a:pt x="166401"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2" y="40195"/>
                    <a:pt x="56864" y="30385"/>
                  </a:cubicBezTo>
                  <a:cubicBezTo>
                    <a:pt x="68866" y="20479"/>
                    <a:pt x="82962" y="12954"/>
                    <a:pt x="99250" y="7810"/>
                  </a:cubicBezTo>
                  <a:cubicBezTo>
                    <a:pt x="115538" y="2667"/>
                    <a:pt x="132779" y="0"/>
                    <a:pt x="151162" y="0"/>
                  </a:cubicBezTo>
                  <a:cubicBezTo>
                    <a:pt x="174688" y="0"/>
                    <a:pt x="198501" y="3810"/>
                    <a:pt x="222504" y="11430"/>
                  </a:cubicBezTo>
                  <a:cubicBezTo>
                    <a:pt x="246507" y="19050"/>
                    <a:pt x="268414" y="29527"/>
                    <a:pt x="288227" y="42863"/>
                  </a:cubicBezTo>
                  <a:lnTo>
                    <a:pt x="254318"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7" y="124587"/>
                  </a:cubicBezTo>
                  <a:cubicBezTo>
                    <a:pt x="108585" y="129540"/>
                    <a:pt x="114871" y="134017"/>
                    <a:pt x="122682" y="138017"/>
                  </a:cubicBezTo>
                  <a:cubicBezTo>
                    <a:pt x="130493" y="142018"/>
                    <a:pt x="139351" y="145732"/>
                    <a:pt x="149543"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696"/>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33" name="Freeform: Shape 32">
              <a:extLst>
                <a:ext uri="{FF2B5EF4-FFF2-40B4-BE49-F238E27FC236}">
                  <a16:creationId xmlns:a16="http://schemas.microsoft.com/office/drawing/2014/main" id="{0D265E1A-036E-715B-A7D5-FB641ED6472F}"/>
                </a:ext>
              </a:extLst>
            </p:cNvPr>
            <p:cNvSpPr/>
            <p:nvPr/>
          </p:nvSpPr>
          <p:spPr>
            <a:xfrm>
              <a:off x="526693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4 w 202977"/>
                <a:gd name="connsiteY17" fmla="*/ 19907 h 239267"/>
                <a:gd name="connsiteX18" fmla="*/ 59246 w 202977"/>
                <a:gd name="connsiteY18" fmla="*/ 5429 h 239267"/>
                <a:gd name="connsiteX19" fmla="*/ 104299 w 202977"/>
                <a:gd name="connsiteY19" fmla="*/ 0 h 239267"/>
                <a:gd name="connsiteX20" fmla="*/ 178880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5 w 202977"/>
                <a:gd name="connsiteY27" fmla="*/ 211169 h 239267"/>
                <a:gd name="connsiteX28" fmla="*/ 122968 w 202977"/>
                <a:gd name="connsiteY28" fmla="*/ 206788 h 239267"/>
                <a:gd name="connsiteX29" fmla="*/ 147257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9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9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3" y="99155"/>
                    <a:pt x="58674" y="95917"/>
                  </a:cubicBezTo>
                  <a:cubicBezTo>
                    <a:pt x="70771" y="92678"/>
                    <a:pt x="84011" y="90964"/>
                    <a:pt x="98584" y="90964"/>
                  </a:cubicBezTo>
                  <a:cubicBezTo>
                    <a:pt x="113157" y="90964"/>
                    <a:pt x="126301" y="91821"/>
                    <a:pt x="137160" y="93631"/>
                  </a:cubicBezTo>
                  <a:cubicBezTo>
                    <a:pt x="148019" y="95440"/>
                    <a:pt x="158687" y="97822"/>
                    <a:pt x="169069" y="100774"/>
                  </a:cubicBezTo>
                  <a:lnTo>
                    <a:pt x="169069" y="93726"/>
                  </a:lnTo>
                  <a:cubicBezTo>
                    <a:pt x="169069" y="73342"/>
                    <a:pt x="163068" y="57912"/>
                    <a:pt x="151162" y="47339"/>
                  </a:cubicBezTo>
                  <a:cubicBezTo>
                    <a:pt x="139256" y="36862"/>
                    <a:pt x="122492" y="31623"/>
                    <a:pt x="100679" y="31623"/>
                  </a:cubicBezTo>
                  <a:cubicBezTo>
                    <a:pt x="86963" y="31623"/>
                    <a:pt x="74581" y="33147"/>
                    <a:pt x="63437" y="36100"/>
                  </a:cubicBezTo>
                  <a:cubicBezTo>
                    <a:pt x="52292" y="39053"/>
                    <a:pt x="41339" y="43053"/>
                    <a:pt x="30671" y="48196"/>
                  </a:cubicBezTo>
                  <a:lnTo>
                    <a:pt x="20384" y="19907"/>
                  </a:lnTo>
                  <a:cubicBezTo>
                    <a:pt x="33147" y="13906"/>
                    <a:pt x="46101" y="9049"/>
                    <a:pt x="59246" y="5429"/>
                  </a:cubicBezTo>
                  <a:cubicBezTo>
                    <a:pt x="72295" y="1810"/>
                    <a:pt x="87344" y="0"/>
                    <a:pt x="104299" y="0"/>
                  </a:cubicBezTo>
                  <a:cubicBezTo>
                    <a:pt x="137065" y="0"/>
                    <a:pt x="161925" y="8477"/>
                    <a:pt x="178880"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99" y="239173"/>
                    <a:pt x="86011" y="239173"/>
                  </a:cubicBezTo>
                  <a:close/>
                  <a:moveTo>
                    <a:pt x="93155" y="211169"/>
                  </a:moveTo>
                  <a:cubicBezTo>
                    <a:pt x="103823" y="211169"/>
                    <a:pt x="113728" y="209740"/>
                    <a:pt x="122968" y="206788"/>
                  </a:cubicBezTo>
                  <a:cubicBezTo>
                    <a:pt x="132207" y="203835"/>
                    <a:pt x="140208" y="199644"/>
                    <a:pt x="147257"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9" y="121444"/>
                  </a:cubicBezTo>
                  <a:cubicBezTo>
                    <a:pt x="129445" y="119348"/>
                    <a:pt x="116776"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244" y="190500"/>
                    <a:pt x="47435" y="195358"/>
                    <a:pt x="52769" y="199263"/>
                  </a:cubicBezTo>
                  <a:cubicBezTo>
                    <a:pt x="58103" y="203073"/>
                    <a:pt x="64294" y="206026"/>
                    <a:pt x="71247" y="208121"/>
                  </a:cubicBezTo>
                  <a:cubicBezTo>
                    <a:pt x="78200" y="210217"/>
                    <a:pt x="85535"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34" name="Freeform: Shape 33">
              <a:extLst>
                <a:ext uri="{FF2B5EF4-FFF2-40B4-BE49-F238E27FC236}">
                  <a16:creationId xmlns:a16="http://schemas.microsoft.com/office/drawing/2014/main" id="{B3ECBDD9-B14A-6C9D-84E4-5027C75A4505}"/>
                </a:ext>
              </a:extLst>
            </p:cNvPr>
            <p:cNvSpPr/>
            <p:nvPr/>
          </p:nvSpPr>
          <p:spPr>
            <a:xfrm>
              <a:off x="5331227"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9" y="303276"/>
                    <a:pt x="71438" y="300895"/>
                  </a:cubicBezTo>
                  <a:cubicBezTo>
                    <a:pt x="63437"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2"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5" name="Freeform: Shape 34">
              <a:extLst>
                <a:ext uri="{FF2B5EF4-FFF2-40B4-BE49-F238E27FC236}">
                  <a16:creationId xmlns:a16="http://schemas.microsoft.com/office/drawing/2014/main" id="{546A67B9-938A-D4FE-B864-829B2CCBD8DB}"/>
                </a:ext>
              </a:extLst>
            </p:cNvPr>
            <p:cNvSpPr/>
            <p:nvPr/>
          </p:nvSpPr>
          <p:spPr>
            <a:xfrm>
              <a:off x="5381845"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191 w 39242"/>
                <a:gd name="connsiteY5" fmla="*/ 88392 h 319182"/>
                <a:gd name="connsiteX6" fmla="*/ 36576 w 39242"/>
                <a:gd name="connsiteY6" fmla="*/ 88392 h 319182"/>
                <a:gd name="connsiteX7" fmla="*/ 36576 w 39242"/>
                <a:gd name="connsiteY7" fmla="*/ 319183 h 319182"/>
                <a:gd name="connsiteX8" fmla="*/ 2191 w 39242"/>
                <a:gd name="connsiteY8" fmla="*/ 319183 h 319182"/>
                <a:gd name="connsiteX9" fmla="*/ 2191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191" y="88392"/>
                  </a:moveTo>
                  <a:lnTo>
                    <a:pt x="36576" y="88392"/>
                  </a:lnTo>
                  <a:lnTo>
                    <a:pt x="36576" y="319183"/>
                  </a:lnTo>
                  <a:lnTo>
                    <a:pt x="2191" y="319183"/>
                  </a:lnTo>
                  <a:lnTo>
                    <a:pt x="2191" y="88392"/>
                  </a:lnTo>
                  <a:close/>
                </a:path>
              </a:pathLst>
            </a:custGeom>
            <a:solidFill>
              <a:srgbClr val="44505E"/>
            </a:solidFill>
            <a:ln w="9525" cap="flat">
              <a:noFill/>
              <a:prstDash val="solid"/>
              <a:miter/>
            </a:ln>
          </p:spPr>
          <p:txBody>
            <a:bodyPr rtlCol="0" anchor="ctr"/>
            <a:lstStyle/>
            <a:p>
              <a:endParaRPr lang="pt-BR" noProof="0"/>
            </a:p>
          </p:txBody>
        </p:sp>
        <p:sp>
          <p:nvSpPr>
            <p:cNvPr id="36" name="Freeform: Shape 35">
              <a:extLst>
                <a:ext uri="{FF2B5EF4-FFF2-40B4-BE49-F238E27FC236}">
                  <a16:creationId xmlns:a16="http://schemas.microsoft.com/office/drawing/2014/main" id="{BB28F4FA-9B55-517F-1839-6BA503AE21DE}"/>
                </a:ext>
              </a:extLst>
            </p:cNvPr>
            <p:cNvSpPr/>
            <p:nvPr/>
          </p:nvSpPr>
          <p:spPr>
            <a:xfrm>
              <a:off x="5406076"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8" y="303276"/>
                    <a:pt x="71438" y="300895"/>
                  </a:cubicBezTo>
                  <a:cubicBezTo>
                    <a:pt x="63436"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1"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7" name="Freeform: Shape 36">
              <a:extLst>
                <a:ext uri="{FF2B5EF4-FFF2-40B4-BE49-F238E27FC236}">
                  <a16:creationId xmlns:a16="http://schemas.microsoft.com/office/drawing/2014/main" id="{223B2257-75CB-BEA9-E489-950201F34473}"/>
                </a:ext>
              </a:extLst>
            </p:cNvPr>
            <p:cNvSpPr/>
            <p:nvPr/>
          </p:nvSpPr>
          <p:spPr>
            <a:xfrm>
              <a:off x="5455545" y="925297"/>
              <a:ext cx="50594" cy="59238"/>
            </a:xfrm>
            <a:custGeom>
              <a:avLst/>
              <a:gdLst>
                <a:gd name="connsiteX0" fmla="*/ 88392 w 201263"/>
                <a:gd name="connsiteY0" fmla="*/ 235648 h 235648"/>
                <a:gd name="connsiteX1" fmla="*/ 51149 w 201263"/>
                <a:gd name="connsiteY1" fmla="*/ 228981 h 235648"/>
                <a:gd name="connsiteX2" fmla="*/ 23431 w 201263"/>
                <a:gd name="connsiteY2" fmla="*/ 210026 h 235648"/>
                <a:gd name="connsiteX3" fmla="*/ 6001 w 201263"/>
                <a:gd name="connsiteY3" fmla="*/ 180784 h 235648"/>
                <a:gd name="connsiteX4" fmla="*/ 0 w 201263"/>
                <a:gd name="connsiteY4" fmla="*/ 143256 h 235648"/>
                <a:gd name="connsiteX5" fmla="*/ 0 w 201263"/>
                <a:gd name="connsiteY5" fmla="*/ 0 h 235648"/>
                <a:gd name="connsiteX6" fmla="*/ 34385 w 201263"/>
                <a:gd name="connsiteY6" fmla="*/ 0 h 235648"/>
                <a:gd name="connsiteX7" fmla="*/ 34385 w 201263"/>
                <a:gd name="connsiteY7" fmla="*/ 134493 h 235648"/>
                <a:gd name="connsiteX8" fmla="*/ 50864 w 201263"/>
                <a:gd name="connsiteY8" fmla="*/ 185261 h 235648"/>
                <a:gd name="connsiteX9" fmla="*/ 98203 w 201263"/>
                <a:gd name="connsiteY9" fmla="*/ 203930 h 235648"/>
                <a:gd name="connsiteX10" fmla="*/ 125635 w 201263"/>
                <a:gd name="connsiteY10" fmla="*/ 198787 h 235648"/>
                <a:gd name="connsiteX11" fmla="*/ 147542 w 201263"/>
                <a:gd name="connsiteY11" fmla="*/ 184118 h 235648"/>
                <a:gd name="connsiteX12" fmla="*/ 162020 w 201263"/>
                <a:gd name="connsiteY12" fmla="*/ 161163 h 235648"/>
                <a:gd name="connsiteX13" fmla="*/ 167354 w 201263"/>
                <a:gd name="connsiteY13" fmla="*/ 131826 h 235648"/>
                <a:gd name="connsiteX14" fmla="*/ 167354 w 201263"/>
                <a:gd name="connsiteY14" fmla="*/ 0 h 235648"/>
                <a:gd name="connsiteX15" fmla="*/ 201263 w 201263"/>
                <a:gd name="connsiteY15" fmla="*/ 0 h 235648"/>
                <a:gd name="connsiteX16" fmla="*/ 201263 w 201263"/>
                <a:gd name="connsiteY16" fmla="*/ 230791 h 235648"/>
                <a:gd name="connsiteX17" fmla="*/ 167354 w 201263"/>
                <a:gd name="connsiteY17" fmla="*/ 230791 h 235648"/>
                <a:gd name="connsiteX18" fmla="*/ 167354 w 201263"/>
                <a:gd name="connsiteY18" fmla="*/ 190595 h 235648"/>
                <a:gd name="connsiteX19" fmla="*/ 136969 w 201263"/>
                <a:gd name="connsiteY19" fmla="*/ 222504 h 235648"/>
                <a:gd name="connsiteX20" fmla="*/ 88297 w 201263"/>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263" h="235648">
                  <a:moveTo>
                    <a:pt x="88392" y="235648"/>
                  </a:moveTo>
                  <a:cubicBezTo>
                    <a:pt x="74390" y="235648"/>
                    <a:pt x="62008" y="233363"/>
                    <a:pt x="51149" y="228981"/>
                  </a:cubicBezTo>
                  <a:cubicBezTo>
                    <a:pt x="40291" y="224504"/>
                    <a:pt x="31052" y="218218"/>
                    <a:pt x="23431"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864" y="185261"/>
                  </a:cubicBezTo>
                  <a:cubicBezTo>
                    <a:pt x="61913" y="197739"/>
                    <a:pt x="77629" y="203930"/>
                    <a:pt x="98203" y="203930"/>
                  </a:cubicBezTo>
                  <a:cubicBezTo>
                    <a:pt x="108014" y="203930"/>
                    <a:pt x="117158" y="202216"/>
                    <a:pt x="125635" y="198787"/>
                  </a:cubicBezTo>
                  <a:cubicBezTo>
                    <a:pt x="134112" y="195358"/>
                    <a:pt x="141351" y="190500"/>
                    <a:pt x="147542" y="184118"/>
                  </a:cubicBezTo>
                  <a:cubicBezTo>
                    <a:pt x="153638" y="177736"/>
                    <a:pt x="158496" y="170116"/>
                    <a:pt x="162020" y="161163"/>
                  </a:cubicBezTo>
                  <a:cubicBezTo>
                    <a:pt x="165640" y="152305"/>
                    <a:pt x="167354" y="142494"/>
                    <a:pt x="167354" y="131826"/>
                  </a:cubicBezTo>
                  <a:lnTo>
                    <a:pt x="167354" y="0"/>
                  </a:lnTo>
                  <a:lnTo>
                    <a:pt x="201263" y="0"/>
                  </a:lnTo>
                  <a:lnTo>
                    <a:pt x="201263" y="230791"/>
                  </a:lnTo>
                  <a:lnTo>
                    <a:pt x="167354" y="230791"/>
                  </a:lnTo>
                  <a:lnTo>
                    <a:pt x="167354" y="190595"/>
                  </a:lnTo>
                  <a:cubicBezTo>
                    <a:pt x="159639" y="203073"/>
                    <a:pt x="149447" y="213741"/>
                    <a:pt x="136969" y="222504"/>
                  </a:cubicBezTo>
                  <a:cubicBezTo>
                    <a:pt x="124492" y="231267"/>
                    <a:pt x="108299" y="235648"/>
                    <a:pt x="88297" y="235648"/>
                  </a:cubicBezTo>
                  <a:close/>
                </a:path>
              </a:pathLst>
            </a:custGeom>
            <a:solidFill>
              <a:srgbClr val="44505E"/>
            </a:solidFill>
            <a:ln w="9525" cap="flat">
              <a:noFill/>
              <a:prstDash val="solid"/>
              <a:miter/>
            </a:ln>
          </p:spPr>
          <p:txBody>
            <a:bodyPr rtlCol="0" anchor="ctr"/>
            <a:lstStyle/>
            <a:p>
              <a:endParaRPr lang="pt-BR" noProof="0"/>
            </a:p>
          </p:txBody>
        </p:sp>
        <p:sp>
          <p:nvSpPr>
            <p:cNvPr id="38" name="Freeform: Shape 37">
              <a:extLst>
                <a:ext uri="{FF2B5EF4-FFF2-40B4-BE49-F238E27FC236}">
                  <a16:creationId xmlns:a16="http://schemas.microsoft.com/office/drawing/2014/main" id="{90CEAC57-42D2-A073-1B30-D81095F0D8E7}"/>
                </a:ext>
              </a:extLst>
            </p:cNvPr>
            <p:cNvSpPr/>
            <p:nvPr/>
          </p:nvSpPr>
          <p:spPr>
            <a:xfrm>
              <a:off x="5522205" y="901353"/>
              <a:ext cx="58567" cy="83182"/>
            </a:xfrm>
            <a:custGeom>
              <a:avLst/>
              <a:gdLst>
                <a:gd name="connsiteX0" fmla="*/ 110204 w 232981"/>
                <a:gd name="connsiteY0" fmla="*/ 330898 h 330898"/>
                <a:gd name="connsiteX1" fmla="*/ 69628 w 232981"/>
                <a:gd name="connsiteY1" fmla="*/ 322897 h 330898"/>
                <a:gd name="connsiteX2" fmla="*/ 34385 w 232981"/>
                <a:gd name="connsiteY2" fmla="*/ 299466 h 330898"/>
                <a:gd name="connsiteX3" fmla="*/ 9334 w 232981"/>
                <a:gd name="connsiteY3" fmla="*/ 261938 h 330898"/>
                <a:gd name="connsiteX4" fmla="*/ 0 w 232981"/>
                <a:gd name="connsiteY4" fmla="*/ 211264 h 330898"/>
                <a:gd name="connsiteX5" fmla="*/ 0 w 232981"/>
                <a:gd name="connsiteY5" fmla="*/ 210407 h 330898"/>
                <a:gd name="connsiteX6" fmla="*/ 9334 w 232981"/>
                <a:gd name="connsiteY6" fmla="*/ 159925 h 330898"/>
                <a:gd name="connsiteX7" fmla="*/ 34385 w 232981"/>
                <a:gd name="connsiteY7" fmla="*/ 122206 h 330898"/>
                <a:gd name="connsiteX8" fmla="*/ 69628 w 232981"/>
                <a:gd name="connsiteY8" fmla="*/ 98488 h 330898"/>
                <a:gd name="connsiteX9" fmla="*/ 110204 w 232981"/>
                <a:gd name="connsiteY9" fmla="*/ 90202 h 330898"/>
                <a:gd name="connsiteX10" fmla="*/ 139636 w 232981"/>
                <a:gd name="connsiteY10" fmla="*/ 94202 h 330898"/>
                <a:gd name="connsiteX11" fmla="*/ 163735 w 232981"/>
                <a:gd name="connsiteY11" fmla="*/ 104870 h 330898"/>
                <a:gd name="connsiteX12" fmla="*/ 183166 w 232981"/>
                <a:gd name="connsiteY12" fmla="*/ 120491 h 330898"/>
                <a:gd name="connsiteX13" fmla="*/ 198596 w 232981"/>
                <a:gd name="connsiteY13" fmla="*/ 139255 h 330898"/>
                <a:gd name="connsiteX14" fmla="*/ 198596 w 232981"/>
                <a:gd name="connsiteY14" fmla="*/ 0 h 330898"/>
                <a:gd name="connsiteX15" fmla="*/ 232981 w 232981"/>
                <a:gd name="connsiteY15" fmla="*/ 0 h 330898"/>
                <a:gd name="connsiteX16" fmla="*/ 232981 w 232981"/>
                <a:gd name="connsiteY16" fmla="*/ 325850 h 330898"/>
                <a:gd name="connsiteX17" fmla="*/ 198596 w 232981"/>
                <a:gd name="connsiteY17" fmla="*/ 325850 h 330898"/>
                <a:gd name="connsiteX18" fmla="*/ 198596 w 232981"/>
                <a:gd name="connsiteY18" fmla="*/ 279463 h 330898"/>
                <a:gd name="connsiteX19" fmla="*/ 182785 w 232981"/>
                <a:gd name="connsiteY19" fmla="*/ 299085 h 330898"/>
                <a:gd name="connsiteX20" fmla="*/ 163354 w 232981"/>
                <a:gd name="connsiteY20" fmla="*/ 315658 h 330898"/>
                <a:gd name="connsiteX21" fmla="*/ 139446 w 232981"/>
                <a:gd name="connsiteY21" fmla="*/ 326803 h 330898"/>
                <a:gd name="connsiteX22" fmla="*/ 110204 w 232981"/>
                <a:gd name="connsiteY22" fmla="*/ 330803 h 330898"/>
                <a:gd name="connsiteX23" fmla="*/ 116491 w 232981"/>
                <a:gd name="connsiteY23" fmla="*/ 300133 h 330898"/>
                <a:gd name="connsiteX24" fmla="*/ 147542 w 232981"/>
                <a:gd name="connsiteY24" fmla="*/ 293656 h 330898"/>
                <a:gd name="connsiteX25" fmla="*/ 174307 w 232981"/>
                <a:gd name="connsiteY25" fmla="*/ 275368 h 330898"/>
                <a:gd name="connsiteX26" fmla="*/ 193072 w 232981"/>
                <a:gd name="connsiteY26" fmla="*/ 247269 h 330898"/>
                <a:gd name="connsiteX27" fmla="*/ 200025 w 232981"/>
                <a:gd name="connsiteY27" fmla="*/ 210883 h 330898"/>
                <a:gd name="connsiteX28" fmla="*/ 200025 w 232981"/>
                <a:gd name="connsiteY28" fmla="*/ 210026 h 330898"/>
                <a:gd name="connsiteX29" fmla="*/ 193072 w 232981"/>
                <a:gd name="connsiteY29" fmla="*/ 173641 h 330898"/>
                <a:gd name="connsiteX30" fmla="*/ 174307 w 232981"/>
                <a:gd name="connsiteY30" fmla="*/ 145732 h 330898"/>
                <a:gd name="connsiteX31" fmla="*/ 147542 w 232981"/>
                <a:gd name="connsiteY31" fmla="*/ 127635 h 330898"/>
                <a:gd name="connsiteX32" fmla="*/ 116491 w 232981"/>
                <a:gd name="connsiteY32" fmla="*/ 121158 h 330898"/>
                <a:gd name="connsiteX33" fmla="*/ 84772 w 232981"/>
                <a:gd name="connsiteY33" fmla="*/ 127159 h 330898"/>
                <a:gd name="connsiteX34" fmla="*/ 59150 w 232981"/>
                <a:gd name="connsiteY34" fmla="*/ 144589 h 330898"/>
                <a:gd name="connsiteX35" fmla="*/ 41719 w 232981"/>
                <a:gd name="connsiteY35" fmla="*/ 172498 h 330898"/>
                <a:gd name="connsiteX36" fmla="*/ 35242 w 232981"/>
                <a:gd name="connsiteY36" fmla="*/ 210026 h 330898"/>
                <a:gd name="connsiteX37" fmla="*/ 35242 w 232981"/>
                <a:gd name="connsiteY37" fmla="*/ 210883 h 330898"/>
                <a:gd name="connsiteX38" fmla="*/ 41719 w 232981"/>
                <a:gd name="connsiteY38" fmla="*/ 247936 h 330898"/>
                <a:gd name="connsiteX39" fmla="*/ 59341 w 232981"/>
                <a:gd name="connsiteY39" fmla="*/ 276034 h 330898"/>
                <a:gd name="connsiteX40" fmla="*/ 85249 w 232981"/>
                <a:gd name="connsiteY40" fmla="*/ 293941 h 330898"/>
                <a:gd name="connsiteX41" fmla="*/ 116491 w 23298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30898">
                  <a:moveTo>
                    <a:pt x="110204" y="330898"/>
                  </a:moveTo>
                  <a:cubicBezTo>
                    <a:pt x="96202" y="330898"/>
                    <a:pt x="82677" y="328231"/>
                    <a:pt x="69628" y="322897"/>
                  </a:cubicBezTo>
                  <a:cubicBezTo>
                    <a:pt x="56578" y="317563"/>
                    <a:pt x="44767" y="309753"/>
                    <a:pt x="34385" y="299466"/>
                  </a:cubicBezTo>
                  <a:cubicBezTo>
                    <a:pt x="24003" y="289179"/>
                    <a:pt x="15621" y="276701"/>
                    <a:pt x="9334" y="261938"/>
                  </a:cubicBezTo>
                  <a:cubicBezTo>
                    <a:pt x="3048" y="247174"/>
                    <a:pt x="0" y="230314"/>
                    <a:pt x="0" y="211264"/>
                  </a:cubicBezTo>
                  <a:lnTo>
                    <a:pt x="0" y="210407"/>
                  </a:lnTo>
                  <a:cubicBezTo>
                    <a:pt x="0" y="191643"/>
                    <a:pt x="3143" y="174879"/>
                    <a:pt x="9334" y="159925"/>
                  </a:cubicBezTo>
                  <a:cubicBezTo>
                    <a:pt x="15621" y="145066"/>
                    <a:pt x="23908" y="132493"/>
                    <a:pt x="34385" y="122206"/>
                  </a:cubicBezTo>
                  <a:cubicBezTo>
                    <a:pt x="44767" y="111919"/>
                    <a:pt x="56578" y="104013"/>
                    <a:pt x="69628" y="98488"/>
                  </a:cubicBezTo>
                  <a:cubicBezTo>
                    <a:pt x="82677" y="92964"/>
                    <a:pt x="96298" y="90202"/>
                    <a:pt x="110204" y="90202"/>
                  </a:cubicBezTo>
                  <a:cubicBezTo>
                    <a:pt x="120967" y="90202"/>
                    <a:pt x="130778" y="91535"/>
                    <a:pt x="139636" y="94202"/>
                  </a:cubicBezTo>
                  <a:cubicBezTo>
                    <a:pt x="148590" y="96869"/>
                    <a:pt x="156591" y="100489"/>
                    <a:pt x="163735" y="104870"/>
                  </a:cubicBezTo>
                  <a:cubicBezTo>
                    <a:pt x="170878" y="109347"/>
                    <a:pt x="177356" y="114586"/>
                    <a:pt x="183166" y="120491"/>
                  </a:cubicBezTo>
                  <a:cubicBezTo>
                    <a:pt x="188976" y="126492"/>
                    <a:pt x="194119" y="132683"/>
                    <a:pt x="198596" y="139255"/>
                  </a:cubicBezTo>
                  <a:lnTo>
                    <a:pt x="198596" y="0"/>
                  </a:lnTo>
                  <a:lnTo>
                    <a:pt x="232981" y="0"/>
                  </a:lnTo>
                  <a:lnTo>
                    <a:pt x="232981" y="325850"/>
                  </a:lnTo>
                  <a:lnTo>
                    <a:pt x="198596" y="325850"/>
                  </a:lnTo>
                  <a:lnTo>
                    <a:pt x="198596" y="279463"/>
                  </a:lnTo>
                  <a:cubicBezTo>
                    <a:pt x="193834" y="286321"/>
                    <a:pt x="188595" y="292894"/>
                    <a:pt x="182785" y="299085"/>
                  </a:cubicBezTo>
                  <a:cubicBezTo>
                    <a:pt x="176974" y="305371"/>
                    <a:pt x="170498" y="310896"/>
                    <a:pt x="163354" y="315658"/>
                  </a:cubicBezTo>
                  <a:cubicBezTo>
                    <a:pt x="156210" y="320421"/>
                    <a:pt x="148209" y="324136"/>
                    <a:pt x="139446" y="326803"/>
                  </a:cubicBezTo>
                  <a:cubicBezTo>
                    <a:pt x="130683" y="329470"/>
                    <a:pt x="120967" y="330803"/>
                    <a:pt x="110204" y="330803"/>
                  </a:cubicBezTo>
                  <a:close/>
                  <a:moveTo>
                    <a:pt x="116491" y="300133"/>
                  </a:moveTo>
                  <a:cubicBezTo>
                    <a:pt x="127159" y="300133"/>
                    <a:pt x="137541" y="297942"/>
                    <a:pt x="147542" y="293656"/>
                  </a:cubicBezTo>
                  <a:cubicBezTo>
                    <a:pt x="157544" y="289369"/>
                    <a:pt x="166402" y="283273"/>
                    <a:pt x="174307" y="275368"/>
                  </a:cubicBezTo>
                  <a:cubicBezTo>
                    <a:pt x="182213" y="267462"/>
                    <a:pt x="188404" y="258127"/>
                    <a:pt x="193072" y="247269"/>
                  </a:cubicBezTo>
                  <a:cubicBezTo>
                    <a:pt x="197644" y="236410"/>
                    <a:pt x="200025" y="224314"/>
                    <a:pt x="200025" y="210883"/>
                  </a:cubicBezTo>
                  <a:lnTo>
                    <a:pt x="200025" y="210026"/>
                  </a:lnTo>
                  <a:cubicBezTo>
                    <a:pt x="200025" y="196596"/>
                    <a:pt x="197739" y="184499"/>
                    <a:pt x="193072" y="173641"/>
                  </a:cubicBezTo>
                  <a:cubicBezTo>
                    <a:pt x="188500" y="162782"/>
                    <a:pt x="182213" y="153448"/>
                    <a:pt x="174307" y="145732"/>
                  </a:cubicBezTo>
                  <a:cubicBezTo>
                    <a:pt x="166402" y="138017"/>
                    <a:pt x="157448" y="132016"/>
                    <a:pt x="147542" y="127635"/>
                  </a:cubicBezTo>
                  <a:cubicBezTo>
                    <a:pt x="137541" y="123349"/>
                    <a:pt x="127254" y="121158"/>
                    <a:pt x="116491" y="121158"/>
                  </a:cubicBezTo>
                  <a:cubicBezTo>
                    <a:pt x="105156" y="121158"/>
                    <a:pt x="94583" y="123158"/>
                    <a:pt x="84772" y="127159"/>
                  </a:cubicBezTo>
                  <a:cubicBezTo>
                    <a:pt x="74962" y="131159"/>
                    <a:pt x="66389" y="136969"/>
                    <a:pt x="59150" y="144589"/>
                  </a:cubicBezTo>
                  <a:cubicBezTo>
                    <a:pt x="51816" y="152114"/>
                    <a:pt x="46101" y="161449"/>
                    <a:pt x="41719" y="172498"/>
                  </a:cubicBezTo>
                  <a:cubicBezTo>
                    <a:pt x="37433" y="183451"/>
                    <a:pt x="35242" y="196024"/>
                    <a:pt x="35242" y="210026"/>
                  </a:cubicBezTo>
                  <a:lnTo>
                    <a:pt x="35242" y="210883"/>
                  </a:lnTo>
                  <a:cubicBezTo>
                    <a:pt x="35242" y="224599"/>
                    <a:pt x="37433" y="236982"/>
                    <a:pt x="41719" y="247936"/>
                  </a:cubicBezTo>
                  <a:cubicBezTo>
                    <a:pt x="46006" y="258984"/>
                    <a:pt x="51911" y="268319"/>
                    <a:pt x="59341" y="276034"/>
                  </a:cubicBezTo>
                  <a:cubicBezTo>
                    <a:pt x="66770" y="283750"/>
                    <a:pt x="75438" y="289750"/>
                    <a:pt x="85249" y="293941"/>
                  </a:cubicBezTo>
                  <a:cubicBezTo>
                    <a:pt x="95059" y="298132"/>
                    <a:pt x="105442" y="300228"/>
                    <a:pt x="116491" y="300228"/>
                  </a:cubicBezTo>
                  <a:close/>
                </a:path>
              </a:pathLst>
            </a:custGeom>
            <a:solidFill>
              <a:srgbClr val="44505E"/>
            </a:solidFill>
            <a:ln w="9525" cap="flat">
              <a:noFill/>
              <a:prstDash val="solid"/>
              <a:miter/>
            </a:ln>
          </p:spPr>
          <p:txBody>
            <a:bodyPr rtlCol="0" anchor="ctr"/>
            <a:lstStyle/>
            <a:p>
              <a:endParaRPr lang="pt-BR" noProof="0"/>
            </a:p>
          </p:txBody>
        </p:sp>
        <p:sp>
          <p:nvSpPr>
            <p:cNvPr id="39" name="Freeform: Shape 38">
              <a:extLst>
                <a:ext uri="{FF2B5EF4-FFF2-40B4-BE49-F238E27FC236}">
                  <a16:creationId xmlns:a16="http://schemas.microsoft.com/office/drawing/2014/main" id="{C1836B89-43E2-6791-CA09-5D5FBF3C7547}"/>
                </a:ext>
              </a:extLst>
            </p:cNvPr>
            <p:cNvSpPr/>
            <p:nvPr/>
          </p:nvSpPr>
          <p:spPr>
            <a:xfrm>
              <a:off x="5596504"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6963 w 218217"/>
                <a:gd name="connsiteY3" fmla="*/ 206026 h 241077"/>
                <a:gd name="connsiteX4" fmla="*/ 116015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8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1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452 w 218217"/>
                <a:gd name="connsiteY25" fmla="*/ 106299 h 241077"/>
                <a:gd name="connsiteX26" fmla="*/ 176784 w 218217"/>
                <a:gd name="connsiteY26" fmla="*/ 76771 h 241077"/>
                <a:gd name="connsiteX27" fmla="*/ 162306 w 218217"/>
                <a:gd name="connsiteY27" fmla="*/ 52101 h 241077"/>
                <a:gd name="connsiteX28" fmla="*/ 140018 w 218217"/>
                <a:gd name="connsiteY28" fmla="*/ 35242 h 241077"/>
                <a:gd name="connsiteX29" fmla="*/ 109919 w 218217"/>
                <a:gd name="connsiteY29" fmla="*/ 29051 h 241077"/>
                <a:gd name="connsiteX30" fmla="*/ 82201 w 218217"/>
                <a:gd name="connsiteY30" fmla="*/ 34766 h 241077"/>
                <a:gd name="connsiteX31" fmla="*/ 59436 w 218217"/>
                <a:gd name="connsiteY31" fmla="*/ 50959 h 241077"/>
                <a:gd name="connsiteX32" fmla="*/ 43148 w 218217"/>
                <a:gd name="connsiteY32" fmla="*/ 75628 h 241077"/>
                <a:gd name="connsiteX33" fmla="*/ 34862 w 218217"/>
                <a:gd name="connsiteY33" fmla="*/ 106204 h 241077"/>
                <a:gd name="connsiteX34" fmla="*/ 183547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724" y="202597"/>
                    <a:pt x="86963" y="206026"/>
                  </a:cubicBezTo>
                  <a:cubicBezTo>
                    <a:pt x="96203" y="209455"/>
                    <a:pt x="105823" y="211169"/>
                    <a:pt x="116015" y="211169"/>
                  </a:cubicBezTo>
                  <a:cubicBezTo>
                    <a:pt x="132112" y="211169"/>
                    <a:pt x="145828" y="208216"/>
                    <a:pt x="157353" y="202216"/>
                  </a:cubicBezTo>
                  <a:cubicBezTo>
                    <a:pt x="168783" y="196310"/>
                    <a:pt x="179261" y="188404"/>
                    <a:pt x="188786" y="178594"/>
                  </a:cubicBezTo>
                  <a:lnTo>
                    <a:pt x="210217" y="197834"/>
                  </a:lnTo>
                  <a:cubicBezTo>
                    <a:pt x="198596" y="210979"/>
                    <a:pt x="185357" y="221361"/>
                    <a:pt x="170498" y="229267"/>
                  </a:cubicBezTo>
                  <a:cubicBezTo>
                    <a:pt x="155639"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679" y="0"/>
                    <a:pt x="110681"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452" y="106299"/>
                  </a:moveTo>
                  <a:cubicBezTo>
                    <a:pt x="182594" y="95917"/>
                    <a:pt x="180308" y="86106"/>
                    <a:pt x="176784" y="76771"/>
                  </a:cubicBezTo>
                  <a:cubicBezTo>
                    <a:pt x="173165" y="67437"/>
                    <a:pt x="168402" y="59245"/>
                    <a:pt x="162306" y="52101"/>
                  </a:cubicBezTo>
                  <a:cubicBezTo>
                    <a:pt x="156210" y="44958"/>
                    <a:pt x="148781" y="39338"/>
                    <a:pt x="140018" y="35242"/>
                  </a:cubicBezTo>
                  <a:cubicBezTo>
                    <a:pt x="131254" y="31147"/>
                    <a:pt x="121158" y="29051"/>
                    <a:pt x="109919" y="29051"/>
                  </a:cubicBezTo>
                  <a:cubicBezTo>
                    <a:pt x="100108" y="29051"/>
                    <a:pt x="90869" y="30956"/>
                    <a:pt x="82201" y="34766"/>
                  </a:cubicBezTo>
                  <a:cubicBezTo>
                    <a:pt x="73533" y="38671"/>
                    <a:pt x="66008" y="44005"/>
                    <a:pt x="59436" y="50959"/>
                  </a:cubicBezTo>
                  <a:cubicBezTo>
                    <a:pt x="52864" y="57912"/>
                    <a:pt x="47435" y="66103"/>
                    <a:pt x="43148" y="75628"/>
                  </a:cubicBezTo>
                  <a:cubicBezTo>
                    <a:pt x="38862" y="85058"/>
                    <a:pt x="36100" y="95345"/>
                    <a:pt x="34862" y="106204"/>
                  </a:cubicBezTo>
                  <a:lnTo>
                    <a:pt x="183547" y="106204"/>
                  </a:lnTo>
                  <a:close/>
                </a:path>
              </a:pathLst>
            </a:custGeom>
            <a:solidFill>
              <a:srgbClr val="44505E"/>
            </a:solidFill>
            <a:ln w="9525" cap="flat">
              <a:noFill/>
              <a:prstDash val="solid"/>
              <a:miter/>
            </a:ln>
          </p:spPr>
          <p:txBody>
            <a:bodyPr rtlCol="0" anchor="ctr"/>
            <a:lstStyle/>
            <a:p>
              <a:endParaRPr lang="pt-BR" noProof="0"/>
            </a:p>
          </p:txBody>
        </p:sp>
        <p:sp>
          <p:nvSpPr>
            <p:cNvPr id="40" name="Freeform: Shape 39">
              <a:extLst>
                <a:ext uri="{FF2B5EF4-FFF2-40B4-BE49-F238E27FC236}">
                  <a16:creationId xmlns:a16="http://schemas.microsoft.com/office/drawing/2014/main" id="{10FA4940-2FC9-E206-45C3-DA41E1A9C59D}"/>
                </a:ext>
              </a:extLst>
            </p:cNvPr>
            <p:cNvSpPr/>
            <p:nvPr/>
          </p:nvSpPr>
          <p:spPr>
            <a:xfrm>
              <a:off x="5661680" y="924268"/>
              <a:ext cx="44656" cy="60195"/>
            </a:xfrm>
            <a:custGeom>
              <a:avLst/>
              <a:gdLst>
                <a:gd name="connsiteX0" fmla="*/ 95536 w 177641"/>
                <a:gd name="connsiteY0" fmla="*/ 239268 h 239458"/>
                <a:gd name="connsiteX1" fmla="*/ 45053 w 177641"/>
                <a:gd name="connsiteY1" fmla="*/ 230124 h 239458"/>
                <a:gd name="connsiteX2" fmla="*/ 0 w 177641"/>
                <a:gd name="connsiteY2" fmla="*/ 205359 h 239458"/>
                <a:gd name="connsiteX3" fmla="*/ 17431 w 177641"/>
                <a:gd name="connsiteY3" fmla="*/ 180785 h 239458"/>
                <a:gd name="connsiteX4" fmla="*/ 56483 w 177641"/>
                <a:gd name="connsiteY4" fmla="*/ 202692 h 239458"/>
                <a:gd name="connsiteX5" fmla="*/ 97346 w 177641"/>
                <a:gd name="connsiteY5" fmla="*/ 210217 h 239458"/>
                <a:gd name="connsiteX6" fmla="*/ 131731 w 177641"/>
                <a:gd name="connsiteY6" fmla="*/ 200406 h 239458"/>
                <a:gd name="connsiteX7" fmla="*/ 145161 w 177641"/>
                <a:gd name="connsiteY7" fmla="*/ 173641 h 239458"/>
                <a:gd name="connsiteX8" fmla="*/ 145161 w 177641"/>
                <a:gd name="connsiteY8" fmla="*/ 172784 h 239458"/>
                <a:gd name="connsiteX9" fmla="*/ 140494 w 177641"/>
                <a:gd name="connsiteY9" fmla="*/ 158020 h 239458"/>
                <a:gd name="connsiteX10" fmla="*/ 127730 w 177641"/>
                <a:gd name="connsiteY10" fmla="*/ 147066 h 239458"/>
                <a:gd name="connsiteX11" fmla="*/ 109157 w 177641"/>
                <a:gd name="connsiteY11" fmla="*/ 138779 h 239458"/>
                <a:gd name="connsiteX12" fmla="*/ 87535 w 177641"/>
                <a:gd name="connsiteY12" fmla="*/ 132112 h 239458"/>
                <a:gd name="connsiteX13" fmla="*/ 60484 w 177641"/>
                <a:gd name="connsiteY13" fmla="*/ 123444 h 239458"/>
                <a:gd name="connsiteX14" fmla="*/ 35909 w 177641"/>
                <a:gd name="connsiteY14" fmla="*/ 111633 h 239458"/>
                <a:gd name="connsiteX15" fmla="*/ 18098 w 177641"/>
                <a:gd name="connsiteY15" fmla="*/ 93726 h 239458"/>
                <a:gd name="connsiteX16" fmla="*/ 11144 w 177641"/>
                <a:gd name="connsiteY16" fmla="*/ 66961 h 239458"/>
                <a:gd name="connsiteX17" fmla="*/ 11144 w 177641"/>
                <a:gd name="connsiteY17" fmla="*/ 66008 h 239458"/>
                <a:gd name="connsiteX18" fmla="*/ 16954 w 177641"/>
                <a:gd name="connsiteY18" fmla="*/ 39053 h 239458"/>
                <a:gd name="connsiteX19" fmla="*/ 33242 w 177641"/>
                <a:gd name="connsiteY19" fmla="*/ 18098 h 239458"/>
                <a:gd name="connsiteX20" fmla="*/ 58293 w 177641"/>
                <a:gd name="connsiteY20" fmla="*/ 4667 h 239458"/>
                <a:gd name="connsiteX21" fmla="*/ 89725 w 177641"/>
                <a:gd name="connsiteY21" fmla="*/ 0 h 239458"/>
                <a:gd name="connsiteX22" fmla="*/ 133064 w 177641"/>
                <a:gd name="connsiteY22" fmla="*/ 6953 h 239458"/>
                <a:gd name="connsiteX23" fmla="*/ 172784 w 177641"/>
                <a:gd name="connsiteY23" fmla="*/ 25527 h 239458"/>
                <a:gd name="connsiteX24" fmla="*/ 157163 w 177641"/>
                <a:gd name="connsiteY24" fmla="*/ 51435 h 239458"/>
                <a:gd name="connsiteX25" fmla="*/ 123444 w 177641"/>
                <a:gd name="connsiteY25" fmla="*/ 35147 h 239458"/>
                <a:gd name="connsiteX26" fmla="*/ 88868 w 177641"/>
                <a:gd name="connsiteY26" fmla="*/ 29146 h 239458"/>
                <a:gd name="connsiteX27" fmla="*/ 56293 w 177641"/>
                <a:gd name="connsiteY27" fmla="*/ 38767 h 239458"/>
                <a:gd name="connsiteX28" fmla="*/ 44196 w 177641"/>
                <a:gd name="connsiteY28" fmla="*/ 62675 h 239458"/>
                <a:gd name="connsiteX29" fmla="*/ 44196 w 177641"/>
                <a:gd name="connsiteY29" fmla="*/ 63627 h 239458"/>
                <a:gd name="connsiteX30" fmla="*/ 49149 w 177641"/>
                <a:gd name="connsiteY30" fmla="*/ 77724 h 239458"/>
                <a:gd name="connsiteX31" fmla="*/ 62294 w 177641"/>
                <a:gd name="connsiteY31" fmla="*/ 88202 h 239458"/>
                <a:gd name="connsiteX32" fmla="*/ 81248 w 177641"/>
                <a:gd name="connsiteY32" fmla="*/ 96203 h 239458"/>
                <a:gd name="connsiteX33" fmla="*/ 103537 w 177641"/>
                <a:gd name="connsiteY33" fmla="*/ 103346 h 239458"/>
                <a:gd name="connsiteX34" fmla="*/ 130112 w 177641"/>
                <a:gd name="connsiteY34" fmla="*/ 112300 h 239458"/>
                <a:gd name="connsiteX35" fmla="*/ 154019 w 177641"/>
                <a:gd name="connsiteY35" fmla="*/ 124778 h 239458"/>
                <a:gd name="connsiteX36" fmla="*/ 171164 w 177641"/>
                <a:gd name="connsiteY36" fmla="*/ 143066 h 239458"/>
                <a:gd name="connsiteX37" fmla="*/ 177641 w 177641"/>
                <a:gd name="connsiteY37" fmla="*/ 169450 h 239458"/>
                <a:gd name="connsiteX38" fmla="*/ 177641 w 177641"/>
                <a:gd name="connsiteY38" fmla="*/ 170307 h 239458"/>
                <a:gd name="connsiteX39" fmla="*/ 171164 w 177641"/>
                <a:gd name="connsiteY39" fmla="*/ 199549 h 239458"/>
                <a:gd name="connsiteX40" fmla="*/ 153734 w 177641"/>
                <a:gd name="connsiteY40" fmla="*/ 221171 h 239458"/>
                <a:gd name="connsiteX41" fmla="*/ 127825 w 177641"/>
                <a:gd name="connsiteY41" fmla="*/ 234791 h 239458"/>
                <a:gd name="connsiteX42" fmla="*/ 95441 w 177641"/>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641" h="239458">
                  <a:moveTo>
                    <a:pt x="95536" y="239268"/>
                  </a:moveTo>
                  <a:cubicBezTo>
                    <a:pt x="78867" y="239268"/>
                    <a:pt x="62008" y="236220"/>
                    <a:pt x="45053" y="230124"/>
                  </a:cubicBezTo>
                  <a:cubicBezTo>
                    <a:pt x="28099" y="224028"/>
                    <a:pt x="13049" y="215741"/>
                    <a:pt x="0" y="205359"/>
                  </a:cubicBezTo>
                  <a:lnTo>
                    <a:pt x="17431" y="180785"/>
                  </a:lnTo>
                  <a:cubicBezTo>
                    <a:pt x="29908"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542" y="162211"/>
                    <a:pt x="140494" y="158020"/>
                  </a:cubicBezTo>
                  <a:cubicBezTo>
                    <a:pt x="137350" y="153829"/>
                    <a:pt x="133160" y="150209"/>
                    <a:pt x="127730" y="147066"/>
                  </a:cubicBezTo>
                  <a:cubicBezTo>
                    <a:pt x="122396" y="143923"/>
                    <a:pt x="116205" y="141161"/>
                    <a:pt x="109157" y="138779"/>
                  </a:cubicBezTo>
                  <a:cubicBezTo>
                    <a:pt x="102203" y="136398"/>
                    <a:pt x="94964" y="134207"/>
                    <a:pt x="87535" y="132112"/>
                  </a:cubicBezTo>
                  <a:cubicBezTo>
                    <a:pt x="78581" y="129445"/>
                    <a:pt x="69628" y="126492"/>
                    <a:pt x="60484" y="123444"/>
                  </a:cubicBezTo>
                  <a:cubicBezTo>
                    <a:pt x="51435" y="120301"/>
                    <a:pt x="43244" y="116396"/>
                    <a:pt x="35909" y="111633"/>
                  </a:cubicBezTo>
                  <a:cubicBezTo>
                    <a:pt x="28575" y="106871"/>
                    <a:pt x="22670" y="100870"/>
                    <a:pt x="18098" y="93726"/>
                  </a:cubicBezTo>
                  <a:cubicBezTo>
                    <a:pt x="13525" y="86582"/>
                    <a:pt x="11144" y="77629"/>
                    <a:pt x="11144" y="66961"/>
                  </a:cubicBezTo>
                  <a:lnTo>
                    <a:pt x="11144" y="66008"/>
                  </a:lnTo>
                  <a:cubicBezTo>
                    <a:pt x="11144" y="56198"/>
                    <a:pt x="13049" y="47149"/>
                    <a:pt x="16954" y="39053"/>
                  </a:cubicBezTo>
                  <a:cubicBezTo>
                    <a:pt x="20860" y="30861"/>
                    <a:pt x="26289" y="23908"/>
                    <a:pt x="33242" y="18098"/>
                  </a:cubicBezTo>
                  <a:cubicBezTo>
                    <a:pt x="40196" y="12287"/>
                    <a:pt x="48578" y="7811"/>
                    <a:pt x="58293" y="4667"/>
                  </a:cubicBezTo>
                  <a:cubicBezTo>
                    <a:pt x="67913" y="1524"/>
                    <a:pt x="78486" y="0"/>
                    <a:pt x="89725" y="0"/>
                  </a:cubicBezTo>
                  <a:cubicBezTo>
                    <a:pt x="104013" y="0"/>
                    <a:pt x="118396" y="2286"/>
                    <a:pt x="133064" y="6953"/>
                  </a:cubicBezTo>
                  <a:cubicBezTo>
                    <a:pt x="147638" y="11621"/>
                    <a:pt x="160877" y="17717"/>
                    <a:pt x="172784" y="25527"/>
                  </a:cubicBezTo>
                  <a:lnTo>
                    <a:pt x="157163" y="51435"/>
                  </a:lnTo>
                  <a:cubicBezTo>
                    <a:pt x="146399" y="44577"/>
                    <a:pt x="135255" y="39148"/>
                    <a:pt x="123444" y="35147"/>
                  </a:cubicBezTo>
                  <a:cubicBezTo>
                    <a:pt x="111728" y="31147"/>
                    <a:pt x="100203" y="29146"/>
                    <a:pt x="88868" y="29146"/>
                  </a:cubicBezTo>
                  <a:cubicBezTo>
                    <a:pt x="75152" y="29146"/>
                    <a:pt x="64294" y="32385"/>
                    <a:pt x="56293" y="38767"/>
                  </a:cubicBezTo>
                  <a:cubicBezTo>
                    <a:pt x="48292" y="45149"/>
                    <a:pt x="44196" y="53150"/>
                    <a:pt x="44196" y="62675"/>
                  </a:cubicBezTo>
                  <a:lnTo>
                    <a:pt x="44196" y="63627"/>
                  </a:lnTo>
                  <a:cubicBezTo>
                    <a:pt x="44196" y="68961"/>
                    <a:pt x="45815" y="73628"/>
                    <a:pt x="49149" y="77724"/>
                  </a:cubicBezTo>
                  <a:cubicBezTo>
                    <a:pt x="52388" y="81725"/>
                    <a:pt x="56769" y="85249"/>
                    <a:pt x="62294" y="88202"/>
                  </a:cubicBezTo>
                  <a:cubicBezTo>
                    <a:pt x="67818" y="91154"/>
                    <a:pt x="74104" y="93821"/>
                    <a:pt x="81248" y="96203"/>
                  </a:cubicBezTo>
                  <a:cubicBezTo>
                    <a:pt x="88392" y="98584"/>
                    <a:pt x="95821" y="100965"/>
                    <a:pt x="103537" y="103346"/>
                  </a:cubicBezTo>
                  <a:cubicBezTo>
                    <a:pt x="112490" y="106013"/>
                    <a:pt x="121349" y="108966"/>
                    <a:pt x="130112" y="112300"/>
                  </a:cubicBezTo>
                  <a:cubicBezTo>
                    <a:pt x="138875" y="115538"/>
                    <a:pt x="146875" y="119729"/>
                    <a:pt x="154019" y="124778"/>
                  </a:cubicBezTo>
                  <a:cubicBezTo>
                    <a:pt x="161163" y="129826"/>
                    <a:pt x="166878" y="135922"/>
                    <a:pt x="171164" y="143066"/>
                  </a:cubicBezTo>
                  <a:cubicBezTo>
                    <a:pt x="175450" y="150209"/>
                    <a:pt x="177641" y="158972"/>
                    <a:pt x="177641" y="169450"/>
                  </a:cubicBezTo>
                  <a:lnTo>
                    <a:pt x="177641" y="170307"/>
                  </a:lnTo>
                  <a:cubicBezTo>
                    <a:pt x="177641" y="181356"/>
                    <a:pt x="175450" y="191071"/>
                    <a:pt x="171164" y="199549"/>
                  </a:cubicBezTo>
                  <a:cubicBezTo>
                    <a:pt x="166878" y="208026"/>
                    <a:pt x="161068" y="215265"/>
                    <a:pt x="153734" y="221171"/>
                  </a:cubicBezTo>
                  <a:cubicBezTo>
                    <a:pt x="146495" y="227171"/>
                    <a:pt x="137827" y="231648"/>
                    <a:pt x="127825" y="234791"/>
                  </a:cubicBezTo>
                  <a:cubicBezTo>
                    <a:pt x="117824" y="237935"/>
                    <a:pt x="107061" y="239459"/>
                    <a:pt x="95441" y="239459"/>
                  </a:cubicBezTo>
                  <a:close/>
                </a:path>
              </a:pathLst>
            </a:custGeom>
            <a:solidFill>
              <a:srgbClr val="44505E"/>
            </a:solidFill>
            <a:ln w="9525" cap="flat">
              <a:noFill/>
              <a:prstDash val="solid"/>
              <a:miter/>
            </a:ln>
          </p:spPr>
          <p:txBody>
            <a:bodyPr rtlCol="0" anchor="ctr"/>
            <a:lstStyle/>
            <a:p>
              <a:endParaRPr lang="pt-BR" noProof="0"/>
            </a:p>
          </p:txBody>
        </p:sp>
        <p:sp>
          <p:nvSpPr>
            <p:cNvPr id="41" name="Freeform: Shape 40">
              <a:extLst>
                <a:ext uri="{FF2B5EF4-FFF2-40B4-BE49-F238E27FC236}">
                  <a16:creationId xmlns:a16="http://schemas.microsoft.com/office/drawing/2014/main" id="{FEF797D5-3BC3-38F3-6032-9F169E4B94EE}"/>
                </a:ext>
              </a:extLst>
            </p:cNvPr>
            <p:cNvSpPr/>
            <p:nvPr/>
          </p:nvSpPr>
          <p:spPr>
            <a:xfrm>
              <a:off x="5752668" y="924028"/>
              <a:ext cx="58567" cy="77196"/>
            </a:xfrm>
            <a:custGeom>
              <a:avLst/>
              <a:gdLst>
                <a:gd name="connsiteX0" fmla="*/ 198596 w 232981"/>
                <a:gd name="connsiteY0" fmla="*/ 189357 h 307085"/>
                <a:gd name="connsiteX1" fmla="*/ 182785 w 232981"/>
                <a:gd name="connsiteY1" fmla="*/ 208978 h 307085"/>
                <a:gd name="connsiteX2" fmla="*/ 163354 w 232981"/>
                <a:gd name="connsiteY2" fmla="*/ 225552 h 307085"/>
                <a:gd name="connsiteX3" fmla="*/ 139446 w 232981"/>
                <a:gd name="connsiteY3" fmla="*/ 236696 h 307085"/>
                <a:gd name="connsiteX4" fmla="*/ 110204 w 232981"/>
                <a:gd name="connsiteY4" fmla="*/ 240697 h 307085"/>
                <a:gd name="connsiteX5" fmla="*/ 69628 w 232981"/>
                <a:gd name="connsiteY5" fmla="*/ 232696 h 307085"/>
                <a:gd name="connsiteX6" fmla="*/ 34385 w 232981"/>
                <a:gd name="connsiteY6" fmla="*/ 209264 h 307085"/>
                <a:gd name="connsiteX7" fmla="*/ 9335 w 232981"/>
                <a:gd name="connsiteY7" fmla="*/ 171736 h 307085"/>
                <a:gd name="connsiteX8" fmla="*/ 0 w 232981"/>
                <a:gd name="connsiteY8" fmla="*/ 121063 h 307085"/>
                <a:gd name="connsiteX9" fmla="*/ 0 w 232981"/>
                <a:gd name="connsiteY9" fmla="*/ 120205 h 307085"/>
                <a:gd name="connsiteX10" fmla="*/ 9335 w 232981"/>
                <a:gd name="connsiteY10" fmla="*/ 69723 h 307085"/>
                <a:gd name="connsiteX11" fmla="*/ 34385 w 232981"/>
                <a:gd name="connsiteY11" fmla="*/ 32004 h 307085"/>
                <a:gd name="connsiteX12" fmla="*/ 69628 w 232981"/>
                <a:gd name="connsiteY12" fmla="*/ 8287 h 307085"/>
                <a:gd name="connsiteX13" fmla="*/ 110204 w 232981"/>
                <a:gd name="connsiteY13" fmla="*/ 0 h 307085"/>
                <a:gd name="connsiteX14" fmla="*/ 139637 w 232981"/>
                <a:gd name="connsiteY14" fmla="*/ 4000 h 307085"/>
                <a:gd name="connsiteX15" fmla="*/ 163735 w 232981"/>
                <a:gd name="connsiteY15" fmla="*/ 14668 h 307085"/>
                <a:gd name="connsiteX16" fmla="*/ 183166 w 232981"/>
                <a:gd name="connsiteY16" fmla="*/ 30289 h 307085"/>
                <a:gd name="connsiteX17" fmla="*/ 198596 w 232981"/>
                <a:gd name="connsiteY17" fmla="*/ 49054 h 307085"/>
                <a:gd name="connsiteX18" fmla="*/ 198596 w 232981"/>
                <a:gd name="connsiteY18" fmla="*/ 4858 h 307085"/>
                <a:gd name="connsiteX19" fmla="*/ 232982 w 232981"/>
                <a:gd name="connsiteY19" fmla="*/ 4858 h 307085"/>
                <a:gd name="connsiteX20" fmla="*/ 232982 w 232981"/>
                <a:gd name="connsiteY20" fmla="*/ 307086 h 307085"/>
                <a:gd name="connsiteX21" fmla="*/ 198596 w 232981"/>
                <a:gd name="connsiteY21" fmla="*/ 307086 h 307085"/>
                <a:gd name="connsiteX22" fmla="*/ 198596 w 232981"/>
                <a:gd name="connsiteY22" fmla="*/ 189262 h 307085"/>
                <a:gd name="connsiteX23" fmla="*/ 116491 w 232981"/>
                <a:gd name="connsiteY23" fmla="*/ 209931 h 307085"/>
                <a:gd name="connsiteX24" fmla="*/ 147542 w 232981"/>
                <a:gd name="connsiteY24" fmla="*/ 203454 h 307085"/>
                <a:gd name="connsiteX25" fmla="*/ 174308 w 232981"/>
                <a:gd name="connsiteY25" fmla="*/ 185166 h 307085"/>
                <a:gd name="connsiteX26" fmla="*/ 193072 w 232981"/>
                <a:gd name="connsiteY26" fmla="*/ 157067 h 307085"/>
                <a:gd name="connsiteX27" fmla="*/ 200025 w 232981"/>
                <a:gd name="connsiteY27" fmla="*/ 120682 h 307085"/>
                <a:gd name="connsiteX28" fmla="*/ 200025 w 232981"/>
                <a:gd name="connsiteY28" fmla="*/ 119824 h 307085"/>
                <a:gd name="connsiteX29" fmla="*/ 193072 w 232981"/>
                <a:gd name="connsiteY29" fmla="*/ 83439 h 307085"/>
                <a:gd name="connsiteX30" fmla="*/ 174308 w 232981"/>
                <a:gd name="connsiteY30" fmla="*/ 55531 h 307085"/>
                <a:gd name="connsiteX31" fmla="*/ 147542 w 232981"/>
                <a:gd name="connsiteY31" fmla="*/ 37433 h 307085"/>
                <a:gd name="connsiteX32" fmla="*/ 116491 w 232981"/>
                <a:gd name="connsiteY32" fmla="*/ 30956 h 307085"/>
                <a:gd name="connsiteX33" fmla="*/ 84773 w 232981"/>
                <a:gd name="connsiteY33" fmla="*/ 36957 h 307085"/>
                <a:gd name="connsiteX34" fmla="*/ 59150 w 232981"/>
                <a:gd name="connsiteY34" fmla="*/ 54388 h 307085"/>
                <a:gd name="connsiteX35" fmla="*/ 41720 w 232981"/>
                <a:gd name="connsiteY35" fmla="*/ 82296 h 307085"/>
                <a:gd name="connsiteX36" fmla="*/ 35242 w 232981"/>
                <a:gd name="connsiteY36" fmla="*/ 119824 h 307085"/>
                <a:gd name="connsiteX37" fmla="*/ 35242 w 232981"/>
                <a:gd name="connsiteY37" fmla="*/ 120682 h 307085"/>
                <a:gd name="connsiteX38" fmla="*/ 41720 w 232981"/>
                <a:gd name="connsiteY38" fmla="*/ 157734 h 307085"/>
                <a:gd name="connsiteX39" fmla="*/ 59341 w 232981"/>
                <a:gd name="connsiteY39" fmla="*/ 185833 h 307085"/>
                <a:gd name="connsiteX40" fmla="*/ 85249 w 232981"/>
                <a:gd name="connsiteY40" fmla="*/ 203740 h 307085"/>
                <a:gd name="connsiteX41" fmla="*/ 116491 w 232981"/>
                <a:gd name="connsiteY41" fmla="*/ 210026 h 30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07085">
                  <a:moveTo>
                    <a:pt x="198596" y="189357"/>
                  </a:moveTo>
                  <a:cubicBezTo>
                    <a:pt x="193834" y="196215"/>
                    <a:pt x="188595" y="202787"/>
                    <a:pt x="182785" y="208978"/>
                  </a:cubicBezTo>
                  <a:cubicBezTo>
                    <a:pt x="176975" y="215265"/>
                    <a:pt x="170498" y="220789"/>
                    <a:pt x="163354" y="225552"/>
                  </a:cubicBezTo>
                  <a:cubicBezTo>
                    <a:pt x="156210" y="230314"/>
                    <a:pt x="148209" y="234029"/>
                    <a:pt x="139446" y="236696"/>
                  </a:cubicBezTo>
                  <a:cubicBezTo>
                    <a:pt x="130683" y="239363"/>
                    <a:pt x="120967" y="240697"/>
                    <a:pt x="110204" y="240697"/>
                  </a:cubicBezTo>
                  <a:cubicBezTo>
                    <a:pt x="96203" y="240697"/>
                    <a:pt x="82677" y="238030"/>
                    <a:pt x="69628" y="232696"/>
                  </a:cubicBezTo>
                  <a:cubicBezTo>
                    <a:pt x="56579" y="227362"/>
                    <a:pt x="44767" y="219551"/>
                    <a:pt x="34385" y="209264"/>
                  </a:cubicBezTo>
                  <a:cubicBezTo>
                    <a:pt x="24003" y="198977"/>
                    <a:pt x="15621" y="186499"/>
                    <a:pt x="9335" y="171736"/>
                  </a:cubicBezTo>
                  <a:cubicBezTo>
                    <a:pt x="3048" y="156972"/>
                    <a:pt x="0" y="140113"/>
                    <a:pt x="0" y="121063"/>
                  </a:cubicBezTo>
                  <a:lnTo>
                    <a:pt x="0" y="120205"/>
                  </a:lnTo>
                  <a:cubicBezTo>
                    <a:pt x="0" y="101441"/>
                    <a:pt x="3143" y="84677"/>
                    <a:pt x="9335" y="69723"/>
                  </a:cubicBezTo>
                  <a:cubicBezTo>
                    <a:pt x="15621" y="54864"/>
                    <a:pt x="23908" y="42291"/>
                    <a:pt x="34385" y="32004"/>
                  </a:cubicBezTo>
                  <a:cubicBezTo>
                    <a:pt x="44767" y="21717"/>
                    <a:pt x="56579" y="13811"/>
                    <a:pt x="69628" y="8287"/>
                  </a:cubicBezTo>
                  <a:cubicBezTo>
                    <a:pt x="82677" y="2762"/>
                    <a:pt x="96298" y="0"/>
                    <a:pt x="110204" y="0"/>
                  </a:cubicBezTo>
                  <a:cubicBezTo>
                    <a:pt x="120967" y="0"/>
                    <a:pt x="130778" y="1333"/>
                    <a:pt x="139637" y="4000"/>
                  </a:cubicBezTo>
                  <a:cubicBezTo>
                    <a:pt x="148590" y="6667"/>
                    <a:pt x="156591" y="10287"/>
                    <a:pt x="163735" y="14668"/>
                  </a:cubicBezTo>
                  <a:cubicBezTo>
                    <a:pt x="170879" y="19145"/>
                    <a:pt x="177356" y="24384"/>
                    <a:pt x="183166" y="30289"/>
                  </a:cubicBezTo>
                  <a:cubicBezTo>
                    <a:pt x="188976" y="36290"/>
                    <a:pt x="194120" y="42481"/>
                    <a:pt x="198596" y="49054"/>
                  </a:cubicBezTo>
                  <a:lnTo>
                    <a:pt x="198596" y="4858"/>
                  </a:lnTo>
                  <a:lnTo>
                    <a:pt x="232982" y="4858"/>
                  </a:lnTo>
                  <a:lnTo>
                    <a:pt x="232982" y="307086"/>
                  </a:lnTo>
                  <a:lnTo>
                    <a:pt x="198596" y="307086"/>
                  </a:lnTo>
                  <a:lnTo>
                    <a:pt x="198596" y="189262"/>
                  </a:lnTo>
                  <a:close/>
                  <a:moveTo>
                    <a:pt x="116491" y="209931"/>
                  </a:moveTo>
                  <a:cubicBezTo>
                    <a:pt x="127159" y="209931"/>
                    <a:pt x="137541" y="207740"/>
                    <a:pt x="147542" y="203454"/>
                  </a:cubicBezTo>
                  <a:cubicBezTo>
                    <a:pt x="157544" y="199168"/>
                    <a:pt x="166402" y="193072"/>
                    <a:pt x="174308" y="185166"/>
                  </a:cubicBezTo>
                  <a:cubicBezTo>
                    <a:pt x="182213" y="177260"/>
                    <a:pt x="188404" y="167926"/>
                    <a:pt x="193072" y="157067"/>
                  </a:cubicBezTo>
                  <a:cubicBezTo>
                    <a:pt x="197739" y="146209"/>
                    <a:pt x="200025" y="134112"/>
                    <a:pt x="200025" y="120682"/>
                  </a:cubicBezTo>
                  <a:lnTo>
                    <a:pt x="200025" y="119824"/>
                  </a:lnTo>
                  <a:cubicBezTo>
                    <a:pt x="200025" y="106394"/>
                    <a:pt x="197739" y="94297"/>
                    <a:pt x="193072" y="83439"/>
                  </a:cubicBezTo>
                  <a:cubicBezTo>
                    <a:pt x="188500" y="72580"/>
                    <a:pt x="182213" y="63246"/>
                    <a:pt x="174308" y="55531"/>
                  </a:cubicBezTo>
                  <a:cubicBezTo>
                    <a:pt x="166402" y="47815"/>
                    <a:pt x="157544" y="41815"/>
                    <a:pt x="147542" y="37433"/>
                  </a:cubicBezTo>
                  <a:cubicBezTo>
                    <a:pt x="137541" y="33147"/>
                    <a:pt x="127254" y="30956"/>
                    <a:pt x="116491" y="30956"/>
                  </a:cubicBezTo>
                  <a:cubicBezTo>
                    <a:pt x="105156" y="30956"/>
                    <a:pt x="94583" y="32956"/>
                    <a:pt x="84773" y="36957"/>
                  </a:cubicBezTo>
                  <a:cubicBezTo>
                    <a:pt x="74962" y="40957"/>
                    <a:pt x="66389" y="46767"/>
                    <a:pt x="59150" y="54388"/>
                  </a:cubicBezTo>
                  <a:cubicBezTo>
                    <a:pt x="51816" y="61913"/>
                    <a:pt x="46101" y="71247"/>
                    <a:pt x="41720" y="82296"/>
                  </a:cubicBezTo>
                  <a:cubicBezTo>
                    <a:pt x="37433" y="93250"/>
                    <a:pt x="35242" y="105823"/>
                    <a:pt x="35242" y="119824"/>
                  </a:cubicBezTo>
                  <a:lnTo>
                    <a:pt x="35242" y="120682"/>
                  </a:lnTo>
                  <a:cubicBezTo>
                    <a:pt x="35242" y="134398"/>
                    <a:pt x="37433" y="146780"/>
                    <a:pt x="41720" y="157734"/>
                  </a:cubicBezTo>
                  <a:cubicBezTo>
                    <a:pt x="46006" y="168783"/>
                    <a:pt x="51911" y="178117"/>
                    <a:pt x="59341" y="185833"/>
                  </a:cubicBezTo>
                  <a:cubicBezTo>
                    <a:pt x="66770" y="193548"/>
                    <a:pt x="75438" y="199549"/>
                    <a:pt x="85249" y="203740"/>
                  </a:cubicBezTo>
                  <a:cubicBezTo>
                    <a:pt x="95060" y="207931"/>
                    <a:pt x="105442" y="210026"/>
                    <a:pt x="116491" y="210026"/>
                  </a:cubicBezTo>
                  <a:close/>
                </a:path>
              </a:pathLst>
            </a:custGeom>
            <a:solidFill>
              <a:srgbClr val="44505E"/>
            </a:solidFill>
            <a:ln w="9525" cap="flat">
              <a:noFill/>
              <a:prstDash val="solid"/>
              <a:miter/>
            </a:ln>
          </p:spPr>
          <p:txBody>
            <a:bodyPr rtlCol="0" anchor="ctr"/>
            <a:lstStyle/>
            <a:p>
              <a:endParaRPr lang="pt-BR" noProof="0"/>
            </a:p>
          </p:txBody>
        </p:sp>
        <p:sp>
          <p:nvSpPr>
            <p:cNvPr id="42" name="Freeform: Shape 41">
              <a:extLst>
                <a:ext uri="{FF2B5EF4-FFF2-40B4-BE49-F238E27FC236}">
                  <a16:creationId xmlns:a16="http://schemas.microsoft.com/office/drawing/2014/main" id="{F17971D5-F12B-8CDF-A214-41AC126AB55E}"/>
                </a:ext>
              </a:extLst>
            </p:cNvPr>
            <p:cNvSpPr/>
            <p:nvPr/>
          </p:nvSpPr>
          <p:spPr>
            <a:xfrm>
              <a:off x="5829624" y="925297"/>
              <a:ext cx="50618" cy="59238"/>
            </a:xfrm>
            <a:custGeom>
              <a:avLst/>
              <a:gdLst>
                <a:gd name="connsiteX0" fmla="*/ 88392 w 201358"/>
                <a:gd name="connsiteY0" fmla="*/ 235648 h 235648"/>
                <a:gd name="connsiteX1" fmla="*/ 51149 w 201358"/>
                <a:gd name="connsiteY1" fmla="*/ 228981 h 235648"/>
                <a:gd name="connsiteX2" fmla="*/ 23432 w 201358"/>
                <a:gd name="connsiteY2" fmla="*/ 210026 h 235648"/>
                <a:gd name="connsiteX3" fmla="*/ 6001 w 201358"/>
                <a:gd name="connsiteY3" fmla="*/ 180784 h 235648"/>
                <a:gd name="connsiteX4" fmla="*/ 0 w 201358"/>
                <a:gd name="connsiteY4" fmla="*/ 143256 h 235648"/>
                <a:gd name="connsiteX5" fmla="*/ 0 w 201358"/>
                <a:gd name="connsiteY5" fmla="*/ 0 h 235648"/>
                <a:gd name="connsiteX6" fmla="*/ 34385 w 201358"/>
                <a:gd name="connsiteY6" fmla="*/ 0 h 235648"/>
                <a:gd name="connsiteX7" fmla="*/ 34385 w 201358"/>
                <a:gd name="connsiteY7" fmla="*/ 134493 h 235648"/>
                <a:gd name="connsiteX8" fmla="*/ 50959 w 201358"/>
                <a:gd name="connsiteY8" fmla="*/ 185261 h 235648"/>
                <a:gd name="connsiteX9" fmla="*/ 98298 w 201358"/>
                <a:gd name="connsiteY9" fmla="*/ 203930 h 235648"/>
                <a:gd name="connsiteX10" fmla="*/ 125730 w 201358"/>
                <a:gd name="connsiteY10" fmla="*/ 198787 h 235648"/>
                <a:gd name="connsiteX11" fmla="*/ 147638 w 201358"/>
                <a:gd name="connsiteY11" fmla="*/ 184118 h 235648"/>
                <a:gd name="connsiteX12" fmla="*/ 162116 w 201358"/>
                <a:gd name="connsiteY12" fmla="*/ 161163 h 235648"/>
                <a:gd name="connsiteX13" fmla="*/ 167450 w 201358"/>
                <a:gd name="connsiteY13" fmla="*/ 131826 h 235648"/>
                <a:gd name="connsiteX14" fmla="*/ 167450 w 201358"/>
                <a:gd name="connsiteY14" fmla="*/ 0 h 235648"/>
                <a:gd name="connsiteX15" fmla="*/ 201359 w 201358"/>
                <a:gd name="connsiteY15" fmla="*/ 0 h 235648"/>
                <a:gd name="connsiteX16" fmla="*/ 201359 w 201358"/>
                <a:gd name="connsiteY16" fmla="*/ 230791 h 235648"/>
                <a:gd name="connsiteX17" fmla="*/ 167450 w 201358"/>
                <a:gd name="connsiteY17" fmla="*/ 230791 h 235648"/>
                <a:gd name="connsiteX18" fmla="*/ 167450 w 201358"/>
                <a:gd name="connsiteY18" fmla="*/ 190595 h 235648"/>
                <a:gd name="connsiteX19" fmla="*/ 137065 w 201358"/>
                <a:gd name="connsiteY19" fmla="*/ 222504 h 235648"/>
                <a:gd name="connsiteX20" fmla="*/ 88392 w 201358"/>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358" h="235648">
                  <a:moveTo>
                    <a:pt x="88392" y="235648"/>
                  </a:moveTo>
                  <a:cubicBezTo>
                    <a:pt x="74390" y="235648"/>
                    <a:pt x="62008" y="233363"/>
                    <a:pt x="51149" y="228981"/>
                  </a:cubicBezTo>
                  <a:cubicBezTo>
                    <a:pt x="40291" y="224504"/>
                    <a:pt x="31052" y="218218"/>
                    <a:pt x="23432"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959" y="185261"/>
                  </a:cubicBezTo>
                  <a:cubicBezTo>
                    <a:pt x="61913" y="197739"/>
                    <a:pt x="77724" y="203930"/>
                    <a:pt x="98298" y="203930"/>
                  </a:cubicBezTo>
                  <a:cubicBezTo>
                    <a:pt x="108109" y="203930"/>
                    <a:pt x="117253" y="202216"/>
                    <a:pt x="125730" y="198787"/>
                  </a:cubicBezTo>
                  <a:cubicBezTo>
                    <a:pt x="134207" y="195358"/>
                    <a:pt x="141446" y="190500"/>
                    <a:pt x="147638" y="184118"/>
                  </a:cubicBezTo>
                  <a:cubicBezTo>
                    <a:pt x="153734" y="177736"/>
                    <a:pt x="158591" y="170116"/>
                    <a:pt x="162116" y="161163"/>
                  </a:cubicBezTo>
                  <a:cubicBezTo>
                    <a:pt x="165735" y="152305"/>
                    <a:pt x="167450" y="142494"/>
                    <a:pt x="167450" y="131826"/>
                  </a:cubicBezTo>
                  <a:lnTo>
                    <a:pt x="167450" y="0"/>
                  </a:lnTo>
                  <a:lnTo>
                    <a:pt x="201359" y="0"/>
                  </a:lnTo>
                  <a:lnTo>
                    <a:pt x="201359" y="230791"/>
                  </a:lnTo>
                  <a:lnTo>
                    <a:pt x="167450" y="230791"/>
                  </a:lnTo>
                  <a:lnTo>
                    <a:pt x="167450" y="190595"/>
                  </a:lnTo>
                  <a:cubicBezTo>
                    <a:pt x="159734" y="203073"/>
                    <a:pt x="149543" y="213741"/>
                    <a:pt x="137065" y="222504"/>
                  </a:cubicBezTo>
                  <a:cubicBezTo>
                    <a:pt x="124587" y="231267"/>
                    <a:pt x="108395" y="235648"/>
                    <a:pt x="88392" y="235648"/>
                  </a:cubicBezTo>
                  <a:close/>
                </a:path>
              </a:pathLst>
            </a:custGeom>
            <a:solidFill>
              <a:srgbClr val="44505E"/>
            </a:solidFill>
            <a:ln w="9525" cap="flat">
              <a:noFill/>
              <a:prstDash val="solid"/>
              <a:miter/>
            </a:ln>
          </p:spPr>
          <p:txBody>
            <a:bodyPr rtlCol="0" anchor="ctr"/>
            <a:lstStyle/>
            <a:p>
              <a:endParaRPr lang="pt-BR" noProof="0"/>
            </a:p>
          </p:txBody>
        </p:sp>
        <p:sp>
          <p:nvSpPr>
            <p:cNvPr id="43" name="Freeform: Shape 42">
              <a:extLst>
                <a:ext uri="{FF2B5EF4-FFF2-40B4-BE49-F238E27FC236}">
                  <a16:creationId xmlns:a16="http://schemas.microsoft.com/office/drawing/2014/main" id="{8BC2F800-26CF-9439-3BA7-6A48EC1F9D0B}"/>
                </a:ext>
              </a:extLst>
            </p:cNvPr>
            <p:cNvSpPr/>
            <p:nvPr/>
          </p:nvSpPr>
          <p:spPr>
            <a:xfrm>
              <a:off x="5896069"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7059 w 218217"/>
                <a:gd name="connsiteY3" fmla="*/ 206026 h 241077"/>
                <a:gd name="connsiteX4" fmla="*/ 116110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7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0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356 w 218217"/>
                <a:gd name="connsiteY25" fmla="*/ 106299 h 241077"/>
                <a:gd name="connsiteX26" fmla="*/ 176689 w 218217"/>
                <a:gd name="connsiteY26" fmla="*/ 76771 h 241077"/>
                <a:gd name="connsiteX27" fmla="*/ 162211 w 218217"/>
                <a:gd name="connsiteY27" fmla="*/ 52101 h 241077"/>
                <a:gd name="connsiteX28" fmla="*/ 139922 w 218217"/>
                <a:gd name="connsiteY28" fmla="*/ 35242 h 241077"/>
                <a:gd name="connsiteX29" fmla="*/ 109823 w 218217"/>
                <a:gd name="connsiteY29" fmla="*/ 29051 h 241077"/>
                <a:gd name="connsiteX30" fmla="*/ 82105 w 218217"/>
                <a:gd name="connsiteY30" fmla="*/ 34766 h 241077"/>
                <a:gd name="connsiteX31" fmla="*/ 59341 w 218217"/>
                <a:gd name="connsiteY31" fmla="*/ 50959 h 241077"/>
                <a:gd name="connsiteX32" fmla="*/ 43053 w 218217"/>
                <a:gd name="connsiteY32" fmla="*/ 75628 h 241077"/>
                <a:gd name="connsiteX33" fmla="*/ 34766 w 218217"/>
                <a:gd name="connsiteY33" fmla="*/ 106204 h 241077"/>
                <a:gd name="connsiteX34" fmla="*/ 183356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819" y="202597"/>
                    <a:pt x="87059" y="206026"/>
                  </a:cubicBezTo>
                  <a:cubicBezTo>
                    <a:pt x="96298" y="209455"/>
                    <a:pt x="105918" y="211169"/>
                    <a:pt x="116110" y="211169"/>
                  </a:cubicBezTo>
                  <a:cubicBezTo>
                    <a:pt x="132207" y="211169"/>
                    <a:pt x="145923" y="208216"/>
                    <a:pt x="157353" y="202216"/>
                  </a:cubicBezTo>
                  <a:cubicBezTo>
                    <a:pt x="168783" y="196310"/>
                    <a:pt x="179261" y="188404"/>
                    <a:pt x="188786" y="178594"/>
                  </a:cubicBezTo>
                  <a:lnTo>
                    <a:pt x="210217" y="197834"/>
                  </a:lnTo>
                  <a:cubicBezTo>
                    <a:pt x="198596" y="210979"/>
                    <a:pt x="185356" y="221361"/>
                    <a:pt x="170497" y="229267"/>
                  </a:cubicBezTo>
                  <a:cubicBezTo>
                    <a:pt x="155638"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583" y="0"/>
                    <a:pt x="110680"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356" y="106299"/>
                  </a:moveTo>
                  <a:cubicBezTo>
                    <a:pt x="182499" y="95917"/>
                    <a:pt x="180213" y="86106"/>
                    <a:pt x="176689" y="76771"/>
                  </a:cubicBezTo>
                  <a:cubicBezTo>
                    <a:pt x="173069" y="67437"/>
                    <a:pt x="168307" y="59245"/>
                    <a:pt x="162211" y="52101"/>
                  </a:cubicBezTo>
                  <a:cubicBezTo>
                    <a:pt x="156115" y="44958"/>
                    <a:pt x="148685" y="39338"/>
                    <a:pt x="139922" y="35242"/>
                  </a:cubicBezTo>
                  <a:cubicBezTo>
                    <a:pt x="131159" y="31147"/>
                    <a:pt x="121063" y="29051"/>
                    <a:pt x="109823" y="29051"/>
                  </a:cubicBezTo>
                  <a:cubicBezTo>
                    <a:pt x="100013" y="29051"/>
                    <a:pt x="90773" y="30956"/>
                    <a:pt x="82105" y="34766"/>
                  </a:cubicBezTo>
                  <a:cubicBezTo>
                    <a:pt x="73438" y="38671"/>
                    <a:pt x="65913" y="44005"/>
                    <a:pt x="59341" y="50959"/>
                  </a:cubicBezTo>
                  <a:cubicBezTo>
                    <a:pt x="52769" y="57912"/>
                    <a:pt x="47339" y="66103"/>
                    <a:pt x="43053" y="75628"/>
                  </a:cubicBezTo>
                  <a:cubicBezTo>
                    <a:pt x="38767" y="85058"/>
                    <a:pt x="36004" y="95345"/>
                    <a:pt x="34766" y="106204"/>
                  </a:cubicBezTo>
                  <a:lnTo>
                    <a:pt x="183356" y="106204"/>
                  </a:lnTo>
                  <a:close/>
                </a:path>
              </a:pathLst>
            </a:custGeom>
            <a:solidFill>
              <a:srgbClr val="44505E"/>
            </a:solidFill>
            <a:ln w="9525" cap="flat">
              <a:noFill/>
              <a:prstDash val="solid"/>
              <a:miter/>
            </a:ln>
          </p:spPr>
          <p:txBody>
            <a:bodyPr rtlCol="0" anchor="ctr"/>
            <a:lstStyle/>
            <a:p>
              <a:endParaRPr lang="pt-BR" noProof="0"/>
            </a:p>
          </p:txBody>
        </p:sp>
        <p:sp>
          <p:nvSpPr>
            <p:cNvPr id="44" name="Freeform: Shape 43">
              <a:extLst>
                <a:ext uri="{FF2B5EF4-FFF2-40B4-BE49-F238E27FC236}">
                  <a16:creationId xmlns:a16="http://schemas.microsoft.com/office/drawing/2014/main" id="{AEE11CB7-7D59-E8B4-B17A-A3245D8C05A9}"/>
                </a:ext>
              </a:extLst>
            </p:cNvPr>
            <p:cNvSpPr/>
            <p:nvPr/>
          </p:nvSpPr>
          <p:spPr>
            <a:xfrm>
              <a:off x="5994910" y="924268"/>
              <a:ext cx="44680" cy="60195"/>
            </a:xfrm>
            <a:custGeom>
              <a:avLst/>
              <a:gdLst>
                <a:gd name="connsiteX0" fmla="*/ 95536 w 177736"/>
                <a:gd name="connsiteY0" fmla="*/ 239268 h 239458"/>
                <a:gd name="connsiteX1" fmla="*/ 45053 w 177736"/>
                <a:gd name="connsiteY1" fmla="*/ 230124 h 239458"/>
                <a:gd name="connsiteX2" fmla="*/ 0 w 177736"/>
                <a:gd name="connsiteY2" fmla="*/ 205359 h 239458"/>
                <a:gd name="connsiteX3" fmla="*/ 17431 w 177736"/>
                <a:gd name="connsiteY3" fmla="*/ 180785 h 239458"/>
                <a:gd name="connsiteX4" fmla="*/ 56483 w 177736"/>
                <a:gd name="connsiteY4" fmla="*/ 202692 h 239458"/>
                <a:gd name="connsiteX5" fmla="*/ 97346 w 177736"/>
                <a:gd name="connsiteY5" fmla="*/ 210217 h 239458"/>
                <a:gd name="connsiteX6" fmla="*/ 131731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730 w 177736"/>
                <a:gd name="connsiteY10" fmla="*/ 147066 h 239458"/>
                <a:gd name="connsiteX11" fmla="*/ 109252 w 177736"/>
                <a:gd name="connsiteY11" fmla="*/ 138779 h 239458"/>
                <a:gd name="connsiteX12" fmla="*/ 87630 w 177736"/>
                <a:gd name="connsiteY12" fmla="*/ 132112 h 239458"/>
                <a:gd name="connsiteX13" fmla="*/ 60674 w 177736"/>
                <a:gd name="connsiteY13" fmla="*/ 123444 h 239458"/>
                <a:gd name="connsiteX14" fmla="*/ 36100 w 177736"/>
                <a:gd name="connsiteY14" fmla="*/ 111633 h 239458"/>
                <a:gd name="connsiteX15" fmla="*/ 18193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60 w 177736"/>
                <a:gd name="connsiteY22" fmla="*/ 6953 h 239458"/>
                <a:gd name="connsiteX23" fmla="*/ 172879 w 177736"/>
                <a:gd name="connsiteY23" fmla="*/ 25527 h 239458"/>
                <a:gd name="connsiteX24" fmla="*/ 157258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4 w 177736"/>
                <a:gd name="connsiteY32" fmla="*/ 96203 h 239458"/>
                <a:gd name="connsiteX33" fmla="*/ 103632 w 177736"/>
                <a:gd name="connsiteY33" fmla="*/ 103346 h 239458"/>
                <a:gd name="connsiteX34" fmla="*/ 130207 w 177736"/>
                <a:gd name="connsiteY34" fmla="*/ 112300 h 239458"/>
                <a:gd name="connsiteX35" fmla="*/ 154114 w 177736"/>
                <a:gd name="connsiteY35" fmla="*/ 124778 h 239458"/>
                <a:gd name="connsiteX36" fmla="*/ 171260 w 177736"/>
                <a:gd name="connsiteY36" fmla="*/ 143066 h 239458"/>
                <a:gd name="connsiteX37" fmla="*/ 177737 w 177736"/>
                <a:gd name="connsiteY37" fmla="*/ 169450 h 239458"/>
                <a:gd name="connsiteX38" fmla="*/ 177737 w 177736"/>
                <a:gd name="connsiteY38" fmla="*/ 170307 h 239458"/>
                <a:gd name="connsiteX39" fmla="*/ 171260 w 177736"/>
                <a:gd name="connsiteY39" fmla="*/ 199549 h 239458"/>
                <a:gd name="connsiteX40" fmla="*/ 153829 w 177736"/>
                <a:gd name="connsiteY40" fmla="*/ 221171 h 239458"/>
                <a:gd name="connsiteX41" fmla="*/ 127921 w 177736"/>
                <a:gd name="connsiteY41" fmla="*/ 234791 h 239458"/>
                <a:gd name="connsiteX42" fmla="*/ 95536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6" y="239268"/>
                  </a:moveTo>
                  <a:cubicBezTo>
                    <a:pt x="78867" y="239268"/>
                    <a:pt x="62008" y="236220"/>
                    <a:pt x="45053" y="230124"/>
                  </a:cubicBezTo>
                  <a:cubicBezTo>
                    <a:pt x="28099" y="224028"/>
                    <a:pt x="13049" y="215741"/>
                    <a:pt x="0" y="205359"/>
                  </a:cubicBezTo>
                  <a:lnTo>
                    <a:pt x="17431" y="180785"/>
                  </a:lnTo>
                  <a:cubicBezTo>
                    <a:pt x="29909"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637" y="162211"/>
                    <a:pt x="140494" y="158020"/>
                  </a:cubicBezTo>
                  <a:cubicBezTo>
                    <a:pt x="137351" y="153829"/>
                    <a:pt x="133160" y="150209"/>
                    <a:pt x="127730" y="147066"/>
                  </a:cubicBezTo>
                  <a:cubicBezTo>
                    <a:pt x="122396" y="143923"/>
                    <a:pt x="116205" y="141161"/>
                    <a:pt x="109252" y="138779"/>
                  </a:cubicBezTo>
                  <a:cubicBezTo>
                    <a:pt x="102299" y="136398"/>
                    <a:pt x="95060" y="134207"/>
                    <a:pt x="87630" y="132112"/>
                  </a:cubicBezTo>
                  <a:cubicBezTo>
                    <a:pt x="78677" y="129445"/>
                    <a:pt x="69723" y="126492"/>
                    <a:pt x="60674" y="123444"/>
                  </a:cubicBezTo>
                  <a:cubicBezTo>
                    <a:pt x="51626" y="120301"/>
                    <a:pt x="43434" y="116396"/>
                    <a:pt x="36100" y="111633"/>
                  </a:cubicBezTo>
                  <a:cubicBezTo>
                    <a:pt x="28766" y="106871"/>
                    <a:pt x="22860" y="100870"/>
                    <a:pt x="18193" y="93726"/>
                  </a:cubicBezTo>
                  <a:cubicBezTo>
                    <a:pt x="13621" y="86582"/>
                    <a:pt x="11239" y="77629"/>
                    <a:pt x="11239" y="66961"/>
                  </a:cubicBezTo>
                  <a:lnTo>
                    <a:pt x="11239" y="66008"/>
                  </a:lnTo>
                  <a:cubicBezTo>
                    <a:pt x="11239" y="56198"/>
                    <a:pt x="13145" y="47149"/>
                    <a:pt x="17050" y="39053"/>
                  </a:cubicBezTo>
                  <a:cubicBezTo>
                    <a:pt x="20860" y="30861"/>
                    <a:pt x="26289" y="23908"/>
                    <a:pt x="33338" y="18098"/>
                  </a:cubicBezTo>
                  <a:cubicBezTo>
                    <a:pt x="40291" y="12287"/>
                    <a:pt x="48673" y="7811"/>
                    <a:pt x="58388" y="4667"/>
                  </a:cubicBezTo>
                  <a:cubicBezTo>
                    <a:pt x="68009" y="1524"/>
                    <a:pt x="78581" y="0"/>
                    <a:pt x="89821" y="0"/>
                  </a:cubicBezTo>
                  <a:cubicBezTo>
                    <a:pt x="104108" y="0"/>
                    <a:pt x="118491" y="2286"/>
                    <a:pt x="133160" y="6953"/>
                  </a:cubicBezTo>
                  <a:cubicBezTo>
                    <a:pt x="147733" y="11621"/>
                    <a:pt x="160972" y="17717"/>
                    <a:pt x="172879" y="25527"/>
                  </a:cubicBezTo>
                  <a:lnTo>
                    <a:pt x="157258" y="51435"/>
                  </a:lnTo>
                  <a:cubicBezTo>
                    <a:pt x="146495" y="44577"/>
                    <a:pt x="135350" y="39148"/>
                    <a:pt x="123539" y="35147"/>
                  </a:cubicBezTo>
                  <a:cubicBezTo>
                    <a:pt x="111824" y="31147"/>
                    <a:pt x="100298" y="29146"/>
                    <a:pt x="88963" y="29146"/>
                  </a:cubicBezTo>
                  <a:cubicBezTo>
                    <a:pt x="75247" y="29146"/>
                    <a:pt x="64389" y="32385"/>
                    <a:pt x="56388" y="38767"/>
                  </a:cubicBezTo>
                  <a:cubicBezTo>
                    <a:pt x="48387" y="45149"/>
                    <a:pt x="44291" y="53150"/>
                    <a:pt x="44291" y="62675"/>
                  </a:cubicBezTo>
                  <a:lnTo>
                    <a:pt x="44291" y="63627"/>
                  </a:lnTo>
                  <a:cubicBezTo>
                    <a:pt x="44291" y="68961"/>
                    <a:pt x="45911" y="73628"/>
                    <a:pt x="49244" y="77724"/>
                  </a:cubicBezTo>
                  <a:cubicBezTo>
                    <a:pt x="52483" y="81725"/>
                    <a:pt x="56960" y="85249"/>
                    <a:pt x="62389" y="88202"/>
                  </a:cubicBezTo>
                  <a:cubicBezTo>
                    <a:pt x="67913" y="91154"/>
                    <a:pt x="74200" y="93821"/>
                    <a:pt x="81344" y="96203"/>
                  </a:cubicBezTo>
                  <a:cubicBezTo>
                    <a:pt x="88487" y="98584"/>
                    <a:pt x="95917" y="100965"/>
                    <a:pt x="103632" y="103346"/>
                  </a:cubicBezTo>
                  <a:cubicBezTo>
                    <a:pt x="112586" y="106013"/>
                    <a:pt x="121444" y="108966"/>
                    <a:pt x="130207" y="112300"/>
                  </a:cubicBezTo>
                  <a:cubicBezTo>
                    <a:pt x="138970" y="115538"/>
                    <a:pt x="146971" y="119729"/>
                    <a:pt x="154114" y="124778"/>
                  </a:cubicBezTo>
                  <a:cubicBezTo>
                    <a:pt x="161258" y="129826"/>
                    <a:pt x="166973" y="135922"/>
                    <a:pt x="171260" y="143066"/>
                  </a:cubicBezTo>
                  <a:cubicBezTo>
                    <a:pt x="175546" y="150209"/>
                    <a:pt x="177737" y="158972"/>
                    <a:pt x="177737" y="169450"/>
                  </a:cubicBezTo>
                  <a:lnTo>
                    <a:pt x="177737" y="170307"/>
                  </a:lnTo>
                  <a:cubicBezTo>
                    <a:pt x="177737" y="181356"/>
                    <a:pt x="175546" y="191071"/>
                    <a:pt x="171260" y="199549"/>
                  </a:cubicBezTo>
                  <a:cubicBezTo>
                    <a:pt x="166973" y="208026"/>
                    <a:pt x="161163" y="215265"/>
                    <a:pt x="153829" y="221171"/>
                  </a:cubicBezTo>
                  <a:cubicBezTo>
                    <a:pt x="146495" y="227171"/>
                    <a:pt x="137922" y="231648"/>
                    <a:pt x="127921" y="234791"/>
                  </a:cubicBezTo>
                  <a:cubicBezTo>
                    <a:pt x="117920" y="237935"/>
                    <a:pt x="107156" y="239459"/>
                    <a:pt x="95536" y="239459"/>
                  </a:cubicBezTo>
                  <a:close/>
                </a:path>
              </a:pathLst>
            </a:custGeom>
            <a:solidFill>
              <a:srgbClr val="44505E"/>
            </a:solidFill>
            <a:ln w="9525" cap="flat">
              <a:noFill/>
              <a:prstDash val="solid"/>
              <a:miter/>
            </a:ln>
          </p:spPr>
          <p:txBody>
            <a:bodyPr rtlCol="0" anchor="ctr"/>
            <a:lstStyle/>
            <a:p>
              <a:endParaRPr lang="pt-BR" noProof="0"/>
            </a:p>
          </p:txBody>
        </p:sp>
        <p:sp>
          <p:nvSpPr>
            <p:cNvPr id="45" name="Freeform: Shape 44">
              <a:extLst>
                <a:ext uri="{FF2B5EF4-FFF2-40B4-BE49-F238E27FC236}">
                  <a16:creationId xmlns:a16="http://schemas.microsoft.com/office/drawing/2014/main" id="{900B026A-EF04-2FC7-1EC3-98775A929D2B}"/>
                </a:ext>
              </a:extLst>
            </p:cNvPr>
            <p:cNvSpPr/>
            <p:nvPr/>
          </p:nvSpPr>
          <p:spPr>
            <a:xfrm>
              <a:off x="605122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4 w 202977"/>
                <a:gd name="connsiteY30" fmla="*/ 174593 h 239267"/>
                <a:gd name="connsiteX31" fmla="*/ 169735 w 202977"/>
                <a:gd name="connsiteY31" fmla="*/ 149447 h 239267"/>
                <a:gd name="connsiteX32" fmla="*/ 169735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0" y="90964"/>
                    <a:pt x="98584" y="90964"/>
                  </a:cubicBezTo>
                  <a:cubicBezTo>
                    <a:pt x="113157" y="90964"/>
                    <a:pt x="126301"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1" y="33147"/>
                    <a:pt x="63436" y="36100"/>
                  </a:cubicBezTo>
                  <a:cubicBezTo>
                    <a:pt x="52292" y="39053"/>
                    <a:pt x="41338" y="43053"/>
                    <a:pt x="30671" y="48196"/>
                  </a:cubicBezTo>
                  <a:lnTo>
                    <a:pt x="20383" y="19907"/>
                  </a:lnTo>
                  <a:cubicBezTo>
                    <a:pt x="33147" y="13906"/>
                    <a:pt x="46101" y="9049"/>
                    <a:pt x="59246" y="5429"/>
                  </a:cubicBezTo>
                  <a:cubicBezTo>
                    <a:pt x="72295"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1" y="239173"/>
                  </a:cubicBezTo>
                  <a:close/>
                  <a:moveTo>
                    <a:pt x="93154" y="211169"/>
                  </a:moveTo>
                  <a:cubicBezTo>
                    <a:pt x="103822" y="211169"/>
                    <a:pt x="113728" y="209740"/>
                    <a:pt x="122967" y="206788"/>
                  </a:cubicBezTo>
                  <a:cubicBezTo>
                    <a:pt x="132207" y="203835"/>
                    <a:pt x="140208" y="199644"/>
                    <a:pt x="147256" y="194120"/>
                  </a:cubicBezTo>
                  <a:cubicBezTo>
                    <a:pt x="154209" y="188595"/>
                    <a:pt x="159734" y="182118"/>
                    <a:pt x="163734" y="174593"/>
                  </a:cubicBezTo>
                  <a:cubicBezTo>
                    <a:pt x="167735" y="167068"/>
                    <a:pt x="169735" y="158687"/>
                    <a:pt x="169735" y="149447"/>
                  </a:cubicBezTo>
                  <a:lnTo>
                    <a:pt x="169735" y="128111"/>
                  </a:lnTo>
                  <a:cubicBezTo>
                    <a:pt x="161163" y="125730"/>
                    <a:pt x="151352" y="123539"/>
                    <a:pt x="140398" y="121444"/>
                  </a:cubicBezTo>
                  <a:cubicBezTo>
                    <a:pt x="129445" y="119348"/>
                    <a:pt x="116872"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46" name="Freeform: Shape 45">
              <a:extLst>
                <a:ext uri="{FF2B5EF4-FFF2-40B4-BE49-F238E27FC236}">
                  <a16:creationId xmlns:a16="http://schemas.microsoft.com/office/drawing/2014/main" id="{900B4BC6-8977-A413-D87B-E5F949E387CD}"/>
                </a:ext>
              </a:extLst>
            </p:cNvPr>
            <p:cNvSpPr/>
            <p:nvPr/>
          </p:nvSpPr>
          <p:spPr>
            <a:xfrm>
              <a:off x="6121359" y="901377"/>
              <a:ext cx="8644" cy="81913"/>
            </a:xfrm>
            <a:custGeom>
              <a:avLst/>
              <a:gdLst>
                <a:gd name="connsiteX0" fmla="*/ 0 w 34385"/>
                <a:gd name="connsiteY0" fmla="*/ 0 h 325850"/>
                <a:gd name="connsiteX1" fmla="*/ 34385 w 34385"/>
                <a:gd name="connsiteY1" fmla="*/ 0 h 325850"/>
                <a:gd name="connsiteX2" fmla="*/ 34385 w 34385"/>
                <a:gd name="connsiteY2" fmla="*/ 325850 h 325850"/>
                <a:gd name="connsiteX3" fmla="*/ 0 w 34385"/>
                <a:gd name="connsiteY3" fmla="*/ 325850 h 325850"/>
                <a:gd name="connsiteX4" fmla="*/ 0 w 34385"/>
                <a:gd name="connsiteY4" fmla="*/ 0 h 32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 h="325850">
                  <a:moveTo>
                    <a:pt x="0" y="0"/>
                  </a:moveTo>
                  <a:lnTo>
                    <a:pt x="34385" y="0"/>
                  </a:lnTo>
                  <a:lnTo>
                    <a:pt x="34385" y="325850"/>
                  </a:lnTo>
                  <a:lnTo>
                    <a:pt x="0" y="325850"/>
                  </a:lnTo>
                  <a:lnTo>
                    <a:pt x="0" y="0"/>
                  </a:lnTo>
                  <a:close/>
                </a:path>
              </a:pathLst>
            </a:custGeom>
            <a:solidFill>
              <a:srgbClr val="44505E"/>
            </a:solidFill>
            <a:ln w="9525" cap="flat">
              <a:noFill/>
              <a:prstDash val="solid"/>
              <a:miter/>
            </a:ln>
          </p:spPr>
          <p:txBody>
            <a:bodyPr rtlCol="0" anchor="ctr"/>
            <a:lstStyle/>
            <a:p>
              <a:endParaRPr lang="pt-BR" noProof="0"/>
            </a:p>
          </p:txBody>
        </p:sp>
        <p:sp>
          <p:nvSpPr>
            <p:cNvPr id="47" name="Freeform: Shape 46">
              <a:extLst>
                <a:ext uri="{FF2B5EF4-FFF2-40B4-BE49-F238E27FC236}">
                  <a16:creationId xmlns:a16="http://schemas.microsoft.com/office/drawing/2014/main" id="{9C3AA59D-E09D-5CFC-F82D-7DB0D6C53001}"/>
                </a:ext>
              </a:extLst>
            </p:cNvPr>
            <p:cNvSpPr/>
            <p:nvPr/>
          </p:nvSpPr>
          <p:spPr>
            <a:xfrm>
              <a:off x="6144346" y="925273"/>
              <a:ext cx="58016" cy="58448"/>
            </a:xfrm>
            <a:custGeom>
              <a:avLst/>
              <a:gdLst>
                <a:gd name="connsiteX0" fmla="*/ 95 w 230790"/>
                <a:gd name="connsiteY0" fmla="*/ 0 h 232505"/>
                <a:gd name="connsiteX1" fmla="*/ 38005 w 230790"/>
                <a:gd name="connsiteY1" fmla="*/ 0 h 232505"/>
                <a:gd name="connsiteX2" fmla="*/ 115634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4"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48" name="Freeform: Shape 47">
              <a:extLst>
                <a:ext uri="{FF2B5EF4-FFF2-40B4-BE49-F238E27FC236}">
                  <a16:creationId xmlns:a16="http://schemas.microsoft.com/office/drawing/2014/main" id="{5FE2373B-3911-D7DE-508D-C0535A7E9AF7}"/>
                </a:ext>
              </a:extLst>
            </p:cNvPr>
            <p:cNvSpPr/>
            <p:nvPr/>
          </p:nvSpPr>
          <p:spPr>
            <a:xfrm>
              <a:off x="621155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8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338 w 202977"/>
                <a:gd name="connsiteY36" fmla="*/ 164497 h 239267"/>
                <a:gd name="connsiteX37" fmla="*/ 35338 w 202977"/>
                <a:gd name="connsiteY37" fmla="*/ 165449 h 239267"/>
                <a:gd name="connsiteX38" fmla="*/ 40005 w 202977"/>
                <a:gd name="connsiteY38" fmla="*/ 184785 h 239267"/>
                <a:gd name="connsiteX39" fmla="*/ 52673 w 202977"/>
                <a:gd name="connsiteY39" fmla="*/ 199263 h 239267"/>
                <a:gd name="connsiteX40" fmla="*/ 71152 w 202977"/>
                <a:gd name="connsiteY40" fmla="*/ 208121 h 239267"/>
                <a:gd name="connsiteX41" fmla="*/ 93154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438" y="239268"/>
                    <a:pt x="64961"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1" y="90964"/>
                    <a:pt x="98584" y="90964"/>
                  </a:cubicBezTo>
                  <a:cubicBezTo>
                    <a:pt x="113157" y="90964"/>
                    <a:pt x="126302" y="91821"/>
                    <a:pt x="137160" y="93631"/>
                  </a:cubicBezTo>
                  <a:cubicBezTo>
                    <a:pt x="148019" y="95440"/>
                    <a:pt x="158687" y="97822"/>
                    <a:pt x="169069" y="100774"/>
                  </a:cubicBezTo>
                  <a:lnTo>
                    <a:pt x="169069" y="93726"/>
                  </a:lnTo>
                  <a:cubicBezTo>
                    <a:pt x="169069" y="73342"/>
                    <a:pt x="163068" y="57912"/>
                    <a:pt x="151162" y="47339"/>
                  </a:cubicBezTo>
                  <a:cubicBezTo>
                    <a:pt x="139255" y="36862"/>
                    <a:pt x="122491" y="31623"/>
                    <a:pt x="100679" y="31623"/>
                  </a:cubicBezTo>
                  <a:cubicBezTo>
                    <a:pt x="86963" y="31623"/>
                    <a:pt x="74581" y="33147"/>
                    <a:pt x="63437" y="36100"/>
                  </a:cubicBezTo>
                  <a:cubicBezTo>
                    <a:pt x="52292" y="39053"/>
                    <a:pt x="41338" y="43053"/>
                    <a:pt x="30671" y="48196"/>
                  </a:cubicBezTo>
                  <a:lnTo>
                    <a:pt x="20383" y="19907"/>
                  </a:lnTo>
                  <a:cubicBezTo>
                    <a:pt x="33147" y="13906"/>
                    <a:pt x="46101" y="9049"/>
                    <a:pt x="59246" y="5429"/>
                  </a:cubicBezTo>
                  <a:cubicBezTo>
                    <a:pt x="72390"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04" y="239173"/>
                    <a:pt x="86011" y="239173"/>
                  </a:cubicBezTo>
                  <a:close/>
                  <a:moveTo>
                    <a:pt x="93154" y="211169"/>
                  </a:moveTo>
                  <a:cubicBezTo>
                    <a:pt x="103822" y="211169"/>
                    <a:pt x="113824" y="209740"/>
                    <a:pt x="122968" y="206788"/>
                  </a:cubicBezTo>
                  <a:cubicBezTo>
                    <a:pt x="132112"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5" y="119348"/>
                    <a:pt x="116777" y="118300"/>
                    <a:pt x="102584" y="118300"/>
                  </a:cubicBezTo>
                  <a:cubicBezTo>
                    <a:pt x="81248" y="118300"/>
                    <a:pt x="64675" y="122491"/>
                    <a:pt x="52959" y="130969"/>
                  </a:cubicBezTo>
                  <a:cubicBezTo>
                    <a:pt x="41243" y="139446"/>
                    <a:pt x="35338" y="150590"/>
                    <a:pt x="35338" y="164497"/>
                  </a:cubicBezTo>
                  <a:lnTo>
                    <a:pt x="35338" y="165449"/>
                  </a:lnTo>
                  <a:cubicBezTo>
                    <a:pt x="35338" y="172498"/>
                    <a:pt x="36862" y="178975"/>
                    <a:pt x="40005" y="184785"/>
                  </a:cubicBezTo>
                  <a:cubicBezTo>
                    <a:pt x="43148" y="190500"/>
                    <a:pt x="47339" y="195358"/>
                    <a:pt x="52673" y="199263"/>
                  </a:cubicBezTo>
                  <a:cubicBezTo>
                    <a:pt x="58007" y="203073"/>
                    <a:pt x="64198" y="206026"/>
                    <a:pt x="71152" y="208121"/>
                  </a:cubicBezTo>
                  <a:cubicBezTo>
                    <a:pt x="78105" y="210217"/>
                    <a:pt x="85439" y="211169"/>
                    <a:pt x="93154" y="211169"/>
                  </a:cubicBezTo>
                  <a:close/>
                </a:path>
              </a:pathLst>
            </a:custGeom>
            <a:solidFill>
              <a:srgbClr val="44505E"/>
            </a:solidFill>
            <a:ln w="9525" cap="flat">
              <a:noFill/>
              <a:prstDash val="solid"/>
              <a:miter/>
            </a:ln>
          </p:spPr>
          <p:txBody>
            <a:bodyPr rtlCol="0" anchor="ctr"/>
            <a:lstStyle/>
            <a:p>
              <a:endParaRPr lang="pt-BR" noProof="0"/>
            </a:p>
          </p:txBody>
        </p:sp>
        <p:sp>
          <p:nvSpPr>
            <p:cNvPr id="49" name="Freeform: Shape 48">
              <a:extLst>
                <a:ext uri="{FF2B5EF4-FFF2-40B4-BE49-F238E27FC236}">
                  <a16:creationId xmlns:a16="http://schemas.microsoft.com/office/drawing/2014/main" id="{79E7687F-CFB6-E39C-BF7F-E5A40EC0CF8D}"/>
                </a:ext>
              </a:extLst>
            </p:cNvPr>
            <p:cNvSpPr/>
            <p:nvPr/>
          </p:nvSpPr>
          <p:spPr>
            <a:xfrm>
              <a:off x="6280899" y="923980"/>
              <a:ext cx="87995" cy="59238"/>
            </a:xfrm>
            <a:custGeom>
              <a:avLst/>
              <a:gdLst>
                <a:gd name="connsiteX0" fmla="*/ 0 w 350043"/>
                <a:gd name="connsiteY0" fmla="*/ 5144 h 235648"/>
                <a:gd name="connsiteX1" fmla="*/ 34385 w 350043"/>
                <a:gd name="connsiteY1" fmla="*/ 5144 h 235648"/>
                <a:gd name="connsiteX2" fmla="*/ 34385 w 350043"/>
                <a:gd name="connsiteY2" fmla="*/ 44005 h 235648"/>
                <a:gd name="connsiteX3" fmla="*/ 47149 w 350043"/>
                <a:gd name="connsiteY3" fmla="*/ 27432 h 235648"/>
                <a:gd name="connsiteX4" fmla="*/ 62960 w 350043"/>
                <a:gd name="connsiteY4" fmla="*/ 13335 h 235648"/>
                <a:gd name="connsiteX5" fmla="*/ 83058 w 350043"/>
                <a:gd name="connsiteY5" fmla="*/ 3715 h 235648"/>
                <a:gd name="connsiteX6" fmla="*/ 108966 w 350043"/>
                <a:gd name="connsiteY6" fmla="*/ 95 h 235648"/>
                <a:gd name="connsiteX7" fmla="*/ 155448 w 350043"/>
                <a:gd name="connsiteY7" fmla="*/ 13240 h 235648"/>
                <a:gd name="connsiteX8" fmla="*/ 183166 w 350043"/>
                <a:gd name="connsiteY8" fmla="*/ 46006 h 235648"/>
                <a:gd name="connsiteX9" fmla="*/ 197168 w 350043"/>
                <a:gd name="connsiteY9" fmla="*/ 28194 h 235648"/>
                <a:gd name="connsiteX10" fmla="*/ 214789 w 350043"/>
                <a:gd name="connsiteY10" fmla="*/ 13430 h 235648"/>
                <a:gd name="connsiteX11" fmla="*/ 236887 w 350043"/>
                <a:gd name="connsiteY11" fmla="*/ 3620 h 235648"/>
                <a:gd name="connsiteX12" fmla="*/ 264319 w 350043"/>
                <a:gd name="connsiteY12" fmla="*/ 0 h 235648"/>
                <a:gd name="connsiteX13" fmla="*/ 327279 w 350043"/>
                <a:gd name="connsiteY13" fmla="*/ 24765 h 235648"/>
                <a:gd name="connsiteX14" fmla="*/ 350044 w 350043"/>
                <a:gd name="connsiteY14" fmla="*/ 92773 h 235648"/>
                <a:gd name="connsiteX15" fmla="*/ 350044 w 350043"/>
                <a:gd name="connsiteY15" fmla="*/ 235648 h 235648"/>
                <a:gd name="connsiteX16" fmla="*/ 315659 w 350043"/>
                <a:gd name="connsiteY16" fmla="*/ 235648 h 235648"/>
                <a:gd name="connsiteX17" fmla="*/ 315659 w 350043"/>
                <a:gd name="connsiteY17" fmla="*/ 101155 h 235648"/>
                <a:gd name="connsiteX18" fmla="*/ 299847 w 350043"/>
                <a:gd name="connsiteY18" fmla="*/ 49721 h 235648"/>
                <a:gd name="connsiteX19" fmla="*/ 255937 w 350043"/>
                <a:gd name="connsiteY19" fmla="*/ 31718 h 235648"/>
                <a:gd name="connsiteX20" fmla="*/ 231362 w 350043"/>
                <a:gd name="connsiteY20" fmla="*/ 36386 h 235648"/>
                <a:gd name="connsiteX21" fmla="*/ 211074 w 350043"/>
                <a:gd name="connsiteY21" fmla="*/ 50197 h 235648"/>
                <a:gd name="connsiteX22" fmla="*/ 197263 w 350043"/>
                <a:gd name="connsiteY22" fmla="*/ 72676 h 235648"/>
                <a:gd name="connsiteX23" fmla="*/ 192119 w 350043"/>
                <a:gd name="connsiteY23" fmla="*/ 102965 h 235648"/>
                <a:gd name="connsiteX24" fmla="*/ 192119 w 350043"/>
                <a:gd name="connsiteY24" fmla="*/ 235648 h 235648"/>
                <a:gd name="connsiteX25" fmla="*/ 158210 w 350043"/>
                <a:gd name="connsiteY25" fmla="*/ 235648 h 235648"/>
                <a:gd name="connsiteX26" fmla="*/ 158210 w 350043"/>
                <a:gd name="connsiteY26" fmla="*/ 100298 h 235648"/>
                <a:gd name="connsiteX27" fmla="*/ 142399 w 350043"/>
                <a:gd name="connsiteY27" fmla="*/ 49721 h 235648"/>
                <a:gd name="connsiteX28" fmla="*/ 98870 w 350043"/>
                <a:gd name="connsiteY28" fmla="*/ 31718 h 235648"/>
                <a:gd name="connsiteX29" fmla="*/ 73438 w 350043"/>
                <a:gd name="connsiteY29" fmla="*/ 37052 h 235648"/>
                <a:gd name="connsiteX30" fmla="*/ 53150 w 350043"/>
                <a:gd name="connsiteY30" fmla="*/ 52197 h 235648"/>
                <a:gd name="connsiteX31" fmla="*/ 39529 w 350043"/>
                <a:gd name="connsiteY31" fmla="*/ 75152 h 235648"/>
                <a:gd name="connsiteX32" fmla="*/ 34576 w 350043"/>
                <a:gd name="connsiteY32" fmla="*/ 104299 h 235648"/>
                <a:gd name="connsiteX33" fmla="*/ 34576 w 350043"/>
                <a:gd name="connsiteY33" fmla="*/ 235648 h 235648"/>
                <a:gd name="connsiteX34" fmla="*/ 190 w 350043"/>
                <a:gd name="connsiteY34" fmla="*/ 235648 h 235648"/>
                <a:gd name="connsiteX35" fmla="*/ 190 w 350043"/>
                <a:gd name="connsiteY35" fmla="*/ 485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0043" h="235648">
                  <a:moveTo>
                    <a:pt x="0" y="5144"/>
                  </a:moveTo>
                  <a:lnTo>
                    <a:pt x="34385" y="5144"/>
                  </a:lnTo>
                  <a:lnTo>
                    <a:pt x="34385" y="44005"/>
                  </a:lnTo>
                  <a:cubicBezTo>
                    <a:pt x="38290" y="38386"/>
                    <a:pt x="42481" y="32861"/>
                    <a:pt x="47149" y="27432"/>
                  </a:cubicBezTo>
                  <a:cubicBezTo>
                    <a:pt x="51721" y="22098"/>
                    <a:pt x="57055" y="17431"/>
                    <a:pt x="62960" y="13335"/>
                  </a:cubicBezTo>
                  <a:cubicBezTo>
                    <a:pt x="68866" y="9335"/>
                    <a:pt x="75629" y="6096"/>
                    <a:pt x="83058" y="3715"/>
                  </a:cubicBezTo>
                  <a:cubicBezTo>
                    <a:pt x="90488" y="1334"/>
                    <a:pt x="99155" y="95"/>
                    <a:pt x="108966" y="95"/>
                  </a:cubicBezTo>
                  <a:cubicBezTo>
                    <a:pt x="127730" y="95"/>
                    <a:pt x="143161" y="4477"/>
                    <a:pt x="155448" y="13240"/>
                  </a:cubicBezTo>
                  <a:cubicBezTo>
                    <a:pt x="167640" y="22003"/>
                    <a:pt x="176879" y="32956"/>
                    <a:pt x="183166" y="46006"/>
                  </a:cubicBezTo>
                  <a:cubicBezTo>
                    <a:pt x="187357" y="39719"/>
                    <a:pt x="192024" y="33814"/>
                    <a:pt x="197168" y="28194"/>
                  </a:cubicBezTo>
                  <a:cubicBezTo>
                    <a:pt x="202406" y="22574"/>
                    <a:pt x="208217" y="17621"/>
                    <a:pt x="214789" y="13430"/>
                  </a:cubicBezTo>
                  <a:cubicBezTo>
                    <a:pt x="221361" y="9239"/>
                    <a:pt x="228695" y="6001"/>
                    <a:pt x="236887" y="3620"/>
                  </a:cubicBezTo>
                  <a:cubicBezTo>
                    <a:pt x="245078" y="1238"/>
                    <a:pt x="254222" y="0"/>
                    <a:pt x="264319" y="0"/>
                  </a:cubicBezTo>
                  <a:cubicBezTo>
                    <a:pt x="291084" y="0"/>
                    <a:pt x="312039" y="8287"/>
                    <a:pt x="327279" y="24765"/>
                  </a:cubicBezTo>
                  <a:cubicBezTo>
                    <a:pt x="342519" y="41243"/>
                    <a:pt x="350044" y="63913"/>
                    <a:pt x="350044" y="92773"/>
                  </a:cubicBezTo>
                  <a:lnTo>
                    <a:pt x="350044" y="235648"/>
                  </a:lnTo>
                  <a:lnTo>
                    <a:pt x="315659" y="235648"/>
                  </a:lnTo>
                  <a:lnTo>
                    <a:pt x="315659" y="101155"/>
                  </a:lnTo>
                  <a:cubicBezTo>
                    <a:pt x="315659" y="78867"/>
                    <a:pt x="310420" y="61722"/>
                    <a:pt x="299847" y="49721"/>
                  </a:cubicBezTo>
                  <a:cubicBezTo>
                    <a:pt x="289274" y="37719"/>
                    <a:pt x="274606" y="31718"/>
                    <a:pt x="255937" y="31718"/>
                  </a:cubicBezTo>
                  <a:cubicBezTo>
                    <a:pt x="247269" y="31718"/>
                    <a:pt x="239078" y="33242"/>
                    <a:pt x="231362" y="36386"/>
                  </a:cubicBezTo>
                  <a:cubicBezTo>
                    <a:pt x="223647" y="39529"/>
                    <a:pt x="216884" y="44101"/>
                    <a:pt x="211074" y="50197"/>
                  </a:cubicBezTo>
                  <a:cubicBezTo>
                    <a:pt x="205264" y="56293"/>
                    <a:pt x="200692" y="63818"/>
                    <a:pt x="197263" y="72676"/>
                  </a:cubicBezTo>
                  <a:cubicBezTo>
                    <a:pt x="193834" y="81629"/>
                    <a:pt x="192119" y="91726"/>
                    <a:pt x="192119" y="102965"/>
                  </a:cubicBezTo>
                  <a:lnTo>
                    <a:pt x="192119" y="235648"/>
                  </a:lnTo>
                  <a:lnTo>
                    <a:pt x="158210" y="235648"/>
                  </a:lnTo>
                  <a:lnTo>
                    <a:pt x="158210" y="100298"/>
                  </a:lnTo>
                  <a:cubicBezTo>
                    <a:pt x="158210" y="78677"/>
                    <a:pt x="152971" y="61817"/>
                    <a:pt x="142399" y="49721"/>
                  </a:cubicBezTo>
                  <a:cubicBezTo>
                    <a:pt x="131826" y="37719"/>
                    <a:pt x="117348" y="31718"/>
                    <a:pt x="98870" y="31718"/>
                  </a:cubicBezTo>
                  <a:cubicBezTo>
                    <a:pt x="89630" y="31718"/>
                    <a:pt x="81153" y="33528"/>
                    <a:pt x="73438" y="37052"/>
                  </a:cubicBezTo>
                  <a:cubicBezTo>
                    <a:pt x="65722" y="40672"/>
                    <a:pt x="58960" y="45720"/>
                    <a:pt x="53150" y="52197"/>
                  </a:cubicBezTo>
                  <a:cubicBezTo>
                    <a:pt x="47339" y="58769"/>
                    <a:pt x="42767" y="66389"/>
                    <a:pt x="39529" y="75152"/>
                  </a:cubicBezTo>
                  <a:cubicBezTo>
                    <a:pt x="36290" y="83915"/>
                    <a:pt x="34576" y="93631"/>
                    <a:pt x="34576" y="104299"/>
                  </a:cubicBezTo>
                  <a:lnTo>
                    <a:pt x="34576" y="235648"/>
                  </a:lnTo>
                  <a:lnTo>
                    <a:pt x="190" y="235648"/>
                  </a:lnTo>
                  <a:lnTo>
                    <a:pt x="190" y="4858"/>
                  </a:lnTo>
                  <a:close/>
                </a:path>
              </a:pathLst>
            </a:custGeom>
            <a:solidFill>
              <a:srgbClr val="44505E"/>
            </a:solidFill>
            <a:ln w="9525" cap="flat">
              <a:noFill/>
              <a:prstDash val="solid"/>
              <a:miter/>
            </a:ln>
          </p:spPr>
          <p:txBody>
            <a:bodyPr rtlCol="0" anchor="ctr"/>
            <a:lstStyle/>
            <a:p>
              <a:endParaRPr lang="pt-BR" noProof="0"/>
            </a:p>
          </p:txBody>
        </p:sp>
        <p:sp>
          <p:nvSpPr>
            <p:cNvPr id="50" name="Freeform: Shape 49">
              <a:extLst>
                <a:ext uri="{FF2B5EF4-FFF2-40B4-BE49-F238E27FC236}">
                  <a16:creationId xmlns:a16="http://schemas.microsoft.com/office/drawing/2014/main" id="{F1E8ED3A-0933-EF65-5112-AF9E7D8A5879}"/>
                </a:ext>
              </a:extLst>
            </p:cNvPr>
            <p:cNvSpPr/>
            <p:nvPr/>
          </p:nvSpPr>
          <p:spPr>
            <a:xfrm>
              <a:off x="6415537" y="925273"/>
              <a:ext cx="58016" cy="58448"/>
            </a:xfrm>
            <a:custGeom>
              <a:avLst/>
              <a:gdLst>
                <a:gd name="connsiteX0" fmla="*/ 95 w 230790"/>
                <a:gd name="connsiteY0" fmla="*/ 0 h 232505"/>
                <a:gd name="connsiteX1" fmla="*/ 38005 w 230790"/>
                <a:gd name="connsiteY1" fmla="*/ 0 h 232505"/>
                <a:gd name="connsiteX2" fmla="*/ 115633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3"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51" name="Freeform: Shape 50">
              <a:extLst>
                <a:ext uri="{FF2B5EF4-FFF2-40B4-BE49-F238E27FC236}">
                  <a16:creationId xmlns:a16="http://schemas.microsoft.com/office/drawing/2014/main" id="{C084329B-F2BB-B4AD-97DF-678D3DE7DCCA}"/>
                </a:ext>
              </a:extLst>
            </p:cNvPr>
            <p:cNvSpPr/>
            <p:nvPr/>
          </p:nvSpPr>
          <p:spPr>
            <a:xfrm>
              <a:off x="6487369"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286 w 39242"/>
                <a:gd name="connsiteY5" fmla="*/ 88392 h 319182"/>
                <a:gd name="connsiteX6" fmla="*/ 36671 w 39242"/>
                <a:gd name="connsiteY6" fmla="*/ 88392 h 319182"/>
                <a:gd name="connsiteX7" fmla="*/ 36671 w 39242"/>
                <a:gd name="connsiteY7" fmla="*/ 319183 h 319182"/>
                <a:gd name="connsiteX8" fmla="*/ 2286 w 39242"/>
                <a:gd name="connsiteY8" fmla="*/ 319183 h 319182"/>
                <a:gd name="connsiteX9" fmla="*/ 2286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286" y="88392"/>
                  </a:moveTo>
                  <a:lnTo>
                    <a:pt x="36671" y="88392"/>
                  </a:lnTo>
                  <a:lnTo>
                    <a:pt x="36671" y="319183"/>
                  </a:lnTo>
                  <a:lnTo>
                    <a:pt x="2286" y="319183"/>
                  </a:lnTo>
                  <a:lnTo>
                    <a:pt x="2286" y="88392"/>
                  </a:lnTo>
                  <a:close/>
                </a:path>
              </a:pathLst>
            </a:custGeom>
            <a:solidFill>
              <a:srgbClr val="44505E"/>
            </a:solidFill>
            <a:ln w="9525" cap="flat">
              <a:noFill/>
              <a:prstDash val="solid"/>
              <a:miter/>
            </a:ln>
          </p:spPr>
          <p:txBody>
            <a:bodyPr rtlCol="0" anchor="ctr"/>
            <a:lstStyle/>
            <a:p>
              <a:endParaRPr lang="pt-BR" noProof="0"/>
            </a:p>
          </p:txBody>
        </p:sp>
        <p:sp>
          <p:nvSpPr>
            <p:cNvPr id="52" name="Freeform: Shape 51">
              <a:extLst>
                <a:ext uri="{FF2B5EF4-FFF2-40B4-BE49-F238E27FC236}">
                  <a16:creationId xmlns:a16="http://schemas.microsoft.com/office/drawing/2014/main" id="{44D9900D-A20F-74B9-6D33-C5AC9246AB67}"/>
                </a:ext>
              </a:extLst>
            </p:cNvPr>
            <p:cNvSpPr/>
            <p:nvPr/>
          </p:nvSpPr>
          <p:spPr>
            <a:xfrm>
              <a:off x="6513253" y="901353"/>
              <a:ext cx="58615" cy="83182"/>
            </a:xfrm>
            <a:custGeom>
              <a:avLst/>
              <a:gdLst>
                <a:gd name="connsiteX0" fmla="*/ 110394 w 233171"/>
                <a:gd name="connsiteY0" fmla="*/ 330898 h 330898"/>
                <a:gd name="connsiteX1" fmla="*/ 69723 w 233171"/>
                <a:gd name="connsiteY1" fmla="*/ 322897 h 330898"/>
                <a:gd name="connsiteX2" fmla="*/ 34480 w 233171"/>
                <a:gd name="connsiteY2" fmla="*/ 299466 h 330898"/>
                <a:gd name="connsiteX3" fmla="*/ 9430 w 233171"/>
                <a:gd name="connsiteY3" fmla="*/ 261938 h 330898"/>
                <a:gd name="connsiteX4" fmla="*/ 0 w 233171"/>
                <a:gd name="connsiteY4" fmla="*/ 211264 h 330898"/>
                <a:gd name="connsiteX5" fmla="*/ 0 w 233171"/>
                <a:gd name="connsiteY5" fmla="*/ 210407 h 330898"/>
                <a:gd name="connsiteX6" fmla="*/ 9430 w 233171"/>
                <a:gd name="connsiteY6" fmla="*/ 159925 h 330898"/>
                <a:gd name="connsiteX7" fmla="*/ 34480 w 233171"/>
                <a:gd name="connsiteY7" fmla="*/ 122206 h 330898"/>
                <a:gd name="connsiteX8" fmla="*/ 69723 w 233171"/>
                <a:gd name="connsiteY8" fmla="*/ 98488 h 330898"/>
                <a:gd name="connsiteX9" fmla="*/ 110394 w 233171"/>
                <a:gd name="connsiteY9" fmla="*/ 90202 h 330898"/>
                <a:gd name="connsiteX10" fmla="*/ 139827 w 233171"/>
                <a:gd name="connsiteY10" fmla="*/ 94202 h 330898"/>
                <a:gd name="connsiteX11" fmla="*/ 163925 w 233171"/>
                <a:gd name="connsiteY11" fmla="*/ 104870 h 330898"/>
                <a:gd name="connsiteX12" fmla="*/ 183356 w 233171"/>
                <a:gd name="connsiteY12" fmla="*/ 120491 h 330898"/>
                <a:gd name="connsiteX13" fmla="*/ 198787 w 233171"/>
                <a:gd name="connsiteY13" fmla="*/ 139255 h 330898"/>
                <a:gd name="connsiteX14" fmla="*/ 198787 w 233171"/>
                <a:gd name="connsiteY14" fmla="*/ 0 h 330898"/>
                <a:gd name="connsiteX15" fmla="*/ 233172 w 233171"/>
                <a:gd name="connsiteY15" fmla="*/ 0 h 330898"/>
                <a:gd name="connsiteX16" fmla="*/ 233172 w 233171"/>
                <a:gd name="connsiteY16" fmla="*/ 325850 h 330898"/>
                <a:gd name="connsiteX17" fmla="*/ 198787 w 233171"/>
                <a:gd name="connsiteY17" fmla="*/ 325850 h 330898"/>
                <a:gd name="connsiteX18" fmla="*/ 198787 w 233171"/>
                <a:gd name="connsiteY18" fmla="*/ 279463 h 330898"/>
                <a:gd name="connsiteX19" fmla="*/ 182975 w 233171"/>
                <a:gd name="connsiteY19" fmla="*/ 299085 h 330898"/>
                <a:gd name="connsiteX20" fmla="*/ 163544 w 233171"/>
                <a:gd name="connsiteY20" fmla="*/ 315658 h 330898"/>
                <a:gd name="connsiteX21" fmla="*/ 139636 w 233171"/>
                <a:gd name="connsiteY21" fmla="*/ 326803 h 330898"/>
                <a:gd name="connsiteX22" fmla="*/ 110394 w 233171"/>
                <a:gd name="connsiteY22" fmla="*/ 330803 h 330898"/>
                <a:gd name="connsiteX23" fmla="*/ 116681 w 233171"/>
                <a:gd name="connsiteY23" fmla="*/ 300133 h 330898"/>
                <a:gd name="connsiteX24" fmla="*/ 147733 w 233171"/>
                <a:gd name="connsiteY24" fmla="*/ 293656 h 330898"/>
                <a:gd name="connsiteX25" fmla="*/ 174498 w 233171"/>
                <a:gd name="connsiteY25" fmla="*/ 275368 h 330898"/>
                <a:gd name="connsiteX26" fmla="*/ 193262 w 233171"/>
                <a:gd name="connsiteY26" fmla="*/ 247269 h 330898"/>
                <a:gd name="connsiteX27" fmla="*/ 200216 w 233171"/>
                <a:gd name="connsiteY27" fmla="*/ 210883 h 330898"/>
                <a:gd name="connsiteX28" fmla="*/ 200216 w 233171"/>
                <a:gd name="connsiteY28" fmla="*/ 210026 h 330898"/>
                <a:gd name="connsiteX29" fmla="*/ 193262 w 233171"/>
                <a:gd name="connsiteY29" fmla="*/ 173641 h 330898"/>
                <a:gd name="connsiteX30" fmla="*/ 174498 w 233171"/>
                <a:gd name="connsiteY30" fmla="*/ 145732 h 330898"/>
                <a:gd name="connsiteX31" fmla="*/ 147733 w 233171"/>
                <a:gd name="connsiteY31" fmla="*/ 127635 h 330898"/>
                <a:gd name="connsiteX32" fmla="*/ 116681 w 233171"/>
                <a:gd name="connsiteY32" fmla="*/ 121158 h 330898"/>
                <a:gd name="connsiteX33" fmla="*/ 84963 w 233171"/>
                <a:gd name="connsiteY33" fmla="*/ 127159 h 330898"/>
                <a:gd name="connsiteX34" fmla="*/ 59341 w 233171"/>
                <a:gd name="connsiteY34" fmla="*/ 144589 h 330898"/>
                <a:gd name="connsiteX35" fmla="*/ 41910 w 233171"/>
                <a:gd name="connsiteY35" fmla="*/ 172498 h 330898"/>
                <a:gd name="connsiteX36" fmla="*/ 35433 w 233171"/>
                <a:gd name="connsiteY36" fmla="*/ 210026 h 330898"/>
                <a:gd name="connsiteX37" fmla="*/ 35433 w 233171"/>
                <a:gd name="connsiteY37" fmla="*/ 210883 h 330898"/>
                <a:gd name="connsiteX38" fmla="*/ 41910 w 233171"/>
                <a:gd name="connsiteY38" fmla="*/ 247936 h 330898"/>
                <a:gd name="connsiteX39" fmla="*/ 59531 w 233171"/>
                <a:gd name="connsiteY39" fmla="*/ 276034 h 330898"/>
                <a:gd name="connsiteX40" fmla="*/ 85439 w 233171"/>
                <a:gd name="connsiteY40" fmla="*/ 293941 h 330898"/>
                <a:gd name="connsiteX41" fmla="*/ 116681 w 23317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3171" h="330898">
                  <a:moveTo>
                    <a:pt x="110394" y="330898"/>
                  </a:moveTo>
                  <a:cubicBezTo>
                    <a:pt x="96393" y="330898"/>
                    <a:pt x="82868" y="328231"/>
                    <a:pt x="69723" y="322897"/>
                  </a:cubicBezTo>
                  <a:cubicBezTo>
                    <a:pt x="56674" y="317563"/>
                    <a:pt x="44863" y="309753"/>
                    <a:pt x="34480" y="299466"/>
                  </a:cubicBezTo>
                  <a:cubicBezTo>
                    <a:pt x="24003" y="289179"/>
                    <a:pt x="15716" y="276701"/>
                    <a:pt x="9430" y="261938"/>
                  </a:cubicBezTo>
                  <a:cubicBezTo>
                    <a:pt x="3143" y="247174"/>
                    <a:pt x="0" y="230314"/>
                    <a:pt x="0" y="211264"/>
                  </a:cubicBezTo>
                  <a:lnTo>
                    <a:pt x="0" y="210407"/>
                  </a:lnTo>
                  <a:cubicBezTo>
                    <a:pt x="0" y="191643"/>
                    <a:pt x="3143" y="174879"/>
                    <a:pt x="9430" y="159925"/>
                  </a:cubicBezTo>
                  <a:cubicBezTo>
                    <a:pt x="15716" y="145066"/>
                    <a:pt x="24003" y="132493"/>
                    <a:pt x="34480" y="122206"/>
                  </a:cubicBezTo>
                  <a:cubicBezTo>
                    <a:pt x="44863" y="111919"/>
                    <a:pt x="56674" y="104013"/>
                    <a:pt x="69723" y="98488"/>
                  </a:cubicBezTo>
                  <a:cubicBezTo>
                    <a:pt x="82868" y="92964"/>
                    <a:pt x="96393" y="90202"/>
                    <a:pt x="110394" y="90202"/>
                  </a:cubicBezTo>
                  <a:cubicBezTo>
                    <a:pt x="121158" y="90202"/>
                    <a:pt x="130969" y="91535"/>
                    <a:pt x="139827" y="94202"/>
                  </a:cubicBezTo>
                  <a:cubicBezTo>
                    <a:pt x="148780" y="96869"/>
                    <a:pt x="156782" y="100489"/>
                    <a:pt x="163925" y="104870"/>
                  </a:cubicBezTo>
                  <a:cubicBezTo>
                    <a:pt x="171069" y="109347"/>
                    <a:pt x="177546" y="114586"/>
                    <a:pt x="183356" y="120491"/>
                  </a:cubicBezTo>
                  <a:cubicBezTo>
                    <a:pt x="189166" y="126492"/>
                    <a:pt x="194310" y="132683"/>
                    <a:pt x="198787" y="139255"/>
                  </a:cubicBezTo>
                  <a:lnTo>
                    <a:pt x="198787" y="0"/>
                  </a:lnTo>
                  <a:lnTo>
                    <a:pt x="233172" y="0"/>
                  </a:lnTo>
                  <a:lnTo>
                    <a:pt x="233172" y="325850"/>
                  </a:lnTo>
                  <a:lnTo>
                    <a:pt x="198787" y="325850"/>
                  </a:lnTo>
                  <a:lnTo>
                    <a:pt x="198787" y="279463"/>
                  </a:lnTo>
                  <a:cubicBezTo>
                    <a:pt x="194024" y="286321"/>
                    <a:pt x="188786" y="292894"/>
                    <a:pt x="182975" y="299085"/>
                  </a:cubicBezTo>
                  <a:cubicBezTo>
                    <a:pt x="177165" y="305371"/>
                    <a:pt x="170688" y="310896"/>
                    <a:pt x="163544" y="315658"/>
                  </a:cubicBezTo>
                  <a:cubicBezTo>
                    <a:pt x="156400" y="320421"/>
                    <a:pt x="148494" y="324136"/>
                    <a:pt x="139636" y="326803"/>
                  </a:cubicBezTo>
                  <a:cubicBezTo>
                    <a:pt x="130873" y="329470"/>
                    <a:pt x="121158" y="330803"/>
                    <a:pt x="110394" y="330803"/>
                  </a:cubicBezTo>
                  <a:close/>
                  <a:moveTo>
                    <a:pt x="116681" y="300133"/>
                  </a:moveTo>
                  <a:cubicBezTo>
                    <a:pt x="127445" y="300133"/>
                    <a:pt x="137732" y="297942"/>
                    <a:pt x="147733" y="293656"/>
                  </a:cubicBezTo>
                  <a:cubicBezTo>
                    <a:pt x="157734" y="289369"/>
                    <a:pt x="166592" y="283273"/>
                    <a:pt x="174498" y="275368"/>
                  </a:cubicBezTo>
                  <a:cubicBezTo>
                    <a:pt x="182404" y="267462"/>
                    <a:pt x="188595" y="258127"/>
                    <a:pt x="193262" y="247269"/>
                  </a:cubicBezTo>
                  <a:cubicBezTo>
                    <a:pt x="197834" y="236410"/>
                    <a:pt x="200216" y="224314"/>
                    <a:pt x="200216" y="210883"/>
                  </a:cubicBezTo>
                  <a:lnTo>
                    <a:pt x="200216" y="210026"/>
                  </a:lnTo>
                  <a:cubicBezTo>
                    <a:pt x="200216" y="196596"/>
                    <a:pt x="197929" y="184499"/>
                    <a:pt x="193262" y="173641"/>
                  </a:cubicBezTo>
                  <a:cubicBezTo>
                    <a:pt x="188595" y="162782"/>
                    <a:pt x="182404" y="153448"/>
                    <a:pt x="174498" y="145732"/>
                  </a:cubicBezTo>
                  <a:cubicBezTo>
                    <a:pt x="166592" y="138017"/>
                    <a:pt x="157639" y="132016"/>
                    <a:pt x="147733" y="127635"/>
                  </a:cubicBezTo>
                  <a:cubicBezTo>
                    <a:pt x="137732" y="123349"/>
                    <a:pt x="127445" y="121158"/>
                    <a:pt x="116681" y="121158"/>
                  </a:cubicBezTo>
                  <a:cubicBezTo>
                    <a:pt x="105346" y="121158"/>
                    <a:pt x="94774" y="123158"/>
                    <a:pt x="84963" y="127159"/>
                  </a:cubicBezTo>
                  <a:cubicBezTo>
                    <a:pt x="75152" y="131159"/>
                    <a:pt x="66580" y="136969"/>
                    <a:pt x="59341" y="144589"/>
                  </a:cubicBezTo>
                  <a:cubicBezTo>
                    <a:pt x="52007" y="152114"/>
                    <a:pt x="46291" y="161449"/>
                    <a:pt x="41910" y="172498"/>
                  </a:cubicBezTo>
                  <a:cubicBezTo>
                    <a:pt x="37624" y="183451"/>
                    <a:pt x="35433" y="196024"/>
                    <a:pt x="35433" y="210026"/>
                  </a:cubicBezTo>
                  <a:lnTo>
                    <a:pt x="35433" y="210883"/>
                  </a:lnTo>
                  <a:cubicBezTo>
                    <a:pt x="35433" y="224599"/>
                    <a:pt x="37624" y="236982"/>
                    <a:pt x="41910" y="247936"/>
                  </a:cubicBezTo>
                  <a:cubicBezTo>
                    <a:pt x="46196" y="258984"/>
                    <a:pt x="52101" y="268319"/>
                    <a:pt x="59531" y="276034"/>
                  </a:cubicBezTo>
                  <a:cubicBezTo>
                    <a:pt x="66960" y="283750"/>
                    <a:pt x="75629" y="289750"/>
                    <a:pt x="85439" y="293941"/>
                  </a:cubicBezTo>
                  <a:cubicBezTo>
                    <a:pt x="95250" y="298132"/>
                    <a:pt x="105632" y="300228"/>
                    <a:pt x="116681" y="300228"/>
                  </a:cubicBezTo>
                  <a:close/>
                </a:path>
              </a:pathLst>
            </a:custGeom>
            <a:solidFill>
              <a:srgbClr val="44505E"/>
            </a:solidFill>
            <a:ln w="9525" cap="flat">
              <a:noFill/>
              <a:prstDash val="solid"/>
              <a:miter/>
            </a:ln>
          </p:spPr>
          <p:txBody>
            <a:bodyPr rtlCol="0" anchor="ctr"/>
            <a:lstStyle/>
            <a:p>
              <a:endParaRPr lang="pt-BR" noProof="0"/>
            </a:p>
          </p:txBody>
        </p:sp>
        <p:sp>
          <p:nvSpPr>
            <p:cNvPr id="53" name="Freeform: Shape 52">
              <a:extLst>
                <a:ext uri="{FF2B5EF4-FFF2-40B4-BE49-F238E27FC236}">
                  <a16:creationId xmlns:a16="http://schemas.microsoft.com/office/drawing/2014/main" id="{A4B44985-53C4-6622-DA10-361981D11E04}"/>
                </a:ext>
              </a:extLst>
            </p:cNvPr>
            <p:cNvSpPr/>
            <p:nvPr/>
          </p:nvSpPr>
          <p:spPr>
            <a:xfrm>
              <a:off x="6586762"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0 w 202977"/>
                <a:gd name="connsiteY16" fmla="*/ 48196 h 239267"/>
                <a:gd name="connsiteX17" fmla="*/ 20383 w 202977"/>
                <a:gd name="connsiteY17" fmla="*/ 19907 h 239267"/>
                <a:gd name="connsiteX18" fmla="*/ 59245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0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1"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675" y="92678"/>
                    <a:pt x="84011" y="90964"/>
                    <a:pt x="98584" y="90964"/>
                  </a:cubicBezTo>
                  <a:cubicBezTo>
                    <a:pt x="113157" y="90964"/>
                    <a:pt x="126302"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0" y="33147"/>
                    <a:pt x="63436" y="36100"/>
                  </a:cubicBezTo>
                  <a:cubicBezTo>
                    <a:pt x="52292" y="39053"/>
                    <a:pt x="41338" y="43053"/>
                    <a:pt x="30670" y="48196"/>
                  </a:cubicBezTo>
                  <a:lnTo>
                    <a:pt x="20383" y="19907"/>
                  </a:lnTo>
                  <a:cubicBezTo>
                    <a:pt x="33147" y="13906"/>
                    <a:pt x="46101" y="9049"/>
                    <a:pt x="59245" y="5429"/>
                  </a:cubicBezTo>
                  <a:cubicBezTo>
                    <a:pt x="72294" y="1810"/>
                    <a:pt x="87344" y="0"/>
                    <a:pt x="104299" y="0"/>
                  </a:cubicBezTo>
                  <a:cubicBezTo>
                    <a:pt x="137064" y="0"/>
                    <a:pt x="161925" y="8477"/>
                    <a:pt x="178879" y="25432"/>
                  </a:cubicBezTo>
                  <a:cubicBezTo>
                    <a:pt x="194976"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0" y="239173"/>
                  </a:cubicBezTo>
                  <a:close/>
                  <a:moveTo>
                    <a:pt x="93154" y="211169"/>
                  </a:moveTo>
                  <a:cubicBezTo>
                    <a:pt x="103822" y="211169"/>
                    <a:pt x="113729" y="209740"/>
                    <a:pt x="122967" y="206788"/>
                  </a:cubicBezTo>
                  <a:cubicBezTo>
                    <a:pt x="132207"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4" y="119348"/>
                    <a:pt x="116871"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54" name="Freeform: Shape 53">
              <a:extLst>
                <a:ext uri="{FF2B5EF4-FFF2-40B4-BE49-F238E27FC236}">
                  <a16:creationId xmlns:a16="http://schemas.microsoft.com/office/drawing/2014/main" id="{22A2753D-8819-83BB-22EE-567B00C856E9}"/>
                </a:ext>
              </a:extLst>
            </p:cNvPr>
            <p:cNvSpPr/>
            <p:nvPr/>
          </p:nvSpPr>
          <p:spPr>
            <a:xfrm>
              <a:off x="6651291" y="924268"/>
              <a:ext cx="44680" cy="60195"/>
            </a:xfrm>
            <a:custGeom>
              <a:avLst/>
              <a:gdLst>
                <a:gd name="connsiteX0" fmla="*/ 95535 w 177736"/>
                <a:gd name="connsiteY0" fmla="*/ 239268 h 239458"/>
                <a:gd name="connsiteX1" fmla="*/ 45053 w 177736"/>
                <a:gd name="connsiteY1" fmla="*/ 230124 h 239458"/>
                <a:gd name="connsiteX2" fmla="*/ 0 w 177736"/>
                <a:gd name="connsiteY2" fmla="*/ 205359 h 239458"/>
                <a:gd name="connsiteX3" fmla="*/ 17430 w 177736"/>
                <a:gd name="connsiteY3" fmla="*/ 180785 h 239458"/>
                <a:gd name="connsiteX4" fmla="*/ 56483 w 177736"/>
                <a:gd name="connsiteY4" fmla="*/ 202692 h 239458"/>
                <a:gd name="connsiteX5" fmla="*/ 97345 w 177736"/>
                <a:gd name="connsiteY5" fmla="*/ 210217 h 239458"/>
                <a:gd name="connsiteX6" fmla="*/ 131730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825 w 177736"/>
                <a:gd name="connsiteY10" fmla="*/ 147066 h 239458"/>
                <a:gd name="connsiteX11" fmla="*/ 109251 w 177736"/>
                <a:gd name="connsiteY11" fmla="*/ 138779 h 239458"/>
                <a:gd name="connsiteX12" fmla="*/ 87630 w 177736"/>
                <a:gd name="connsiteY12" fmla="*/ 132112 h 239458"/>
                <a:gd name="connsiteX13" fmla="*/ 60579 w 177736"/>
                <a:gd name="connsiteY13" fmla="*/ 123444 h 239458"/>
                <a:gd name="connsiteX14" fmla="*/ 36004 w 177736"/>
                <a:gd name="connsiteY14" fmla="*/ 111633 h 239458"/>
                <a:gd name="connsiteX15" fmla="*/ 18192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59 w 177736"/>
                <a:gd name="connsiteY22" fmla="*/ 6953 h 239458"/>
                <a:gd name="connsiteX23" fmla="*/ 172878 w 177736"/>
                <a:gd name="connsiteY23" fmla="*/ 25527 h 239458"/>
                <a:gd name="connsiteX24" fmla="*/ 157257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3 w 177736"/>
                <a:gd name="connsiteY32" fmla="*/ 96203 h 239458"/>
                <a:gd name="connsiteX33" fmla="*/ 103631 w 177736"/>
                <a:gd name="connsiteY33" fmla="*/ 103346 h 239458"/>
                <a:gd name="connsiteX34" fmla="*/ 130207 w 177736"/>
                <a:gd name="connsiteY34" fmla="*/ 112300 h 239458"/>
                <a:gd name="connsiteX35" fmla="*/ 154114 w 177736"/>
                <a:gd name="connsiteY35" fmla="*/ 124778 h 239458"/>
                <a:gd name="connsiteX36" fmla="*/ 171259 w 177736"/>
                <a:gd name="connsiteY36" fmla="*/ 143066 h 239458"/>
                <a:gd name="connsiteX37" fmla="*/ 177736 w 177736"/>
                <a:gd name="connsiteY37" fmla="*/ 169450 h 239458"/>
                <a:gd name="connsiteX38" fmla="*/ 177736 w 177736"/>
                <a:gd name="connsiteY38" fmla="*/ 170307 h 239458"/>
                <a:gd name="connsiteX39" fmla="*/ 171259 w 177736"/>
                <a:gd name="connsiteY39" fmla="*/ 199549 h 239458"/>
                <a:gd name="connsiteX40" fmla="*/ 153828 w 177736"/>
                <a:gd name="connsiteY40" fmla="*/ 221171 h 239458"/>
                <a:gd name="connsiteX41" fmla="*/ 127921 w 177736"/>
                <a:gd name="connsiteY41" fmla="*/ 234791 h 239458"/>
                <a:gd name="connsiteX42" fmla="*/ 95535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5" y="239268"/>
                  </a:moveTo>
                  <a:cubicBezTo>
                    <a:pt x="78867" y="239268"/>
                    <a:pt x="62007" y="236220"/>
                    <a:pt x="45053" y="230124"/>
                  </a:cubicBezTo>
                  <a:cubicBezTo>
                    <a:pt x="28098" y="224028"/>
                    <a:pt x="13049" y="215741"/>
                    <a:pt x="0" y="205359"/>
                  </a:cubicBezTo>
                  <a:lnTo>
                    <a:pt x="17430" y="180785"/>
                  </a:lnTo>
                  <a:cubicBezTo>
                    <a:pt x="29908" y="190310"/>
                    <a:pt x="42957" y="197644"/>
                    <a:pt x="56483" y="202692"/>
                  </a:cubicBezTo>
                  <a:cubicBezTo>
                    <a:pt x="70009" y="207740"/>
                    <a:pt x="83629" y="210217"/>
                    <a:pt x="97345" y="210217"/>
                  </a:cubicBezTo>
                  <a:cubicBezTo>
                    <a:pt x="111061" y="210217"/>
                    <a:pt x="122777" y="206978"/>
                    <a:pt x="131730" y="200406"/>
                  </a:cubicBezTo>
                  <a:cubicBezTo>
                    <a:pt x="140684" y="193834"/>
                    <a:pt x="145161" y="184976"/>
                    <a:pt x="145161" y="173641"/>
                  </a:cubicBezTo>
                  <a:lnTo>
                    <a:pt x="145161" y="172784"/>
                  </a:lnTo>
                  <a:cubicBezTo>
                    <a:pt x="145161" y="167164"/>
                    <a:pt x="143541" y="162211"/>
                    <a:pt x="140494" y="158020"/>
                  </a:cubicBezTo>
                  <a:cubicBezTo>
                    <a:pt x="137350" y="153829"/>
                    <a:pt x="133159" y="150209"/>
                    <a:pt x="127825" y="147066"/>
                  </a:cubicBezTo>
                  <a:cubicBezTo>
                    <a:pt x="122491" y="143923"/>
                    <a:pt x="116300" y="141161"/>
                    <a:pt x="109251" y="138779"/>
                  </a:cubicBezTo>
                  <a:cubicBezTo>
                    <a:pt x="102298" y="136398"/>
                    <a:pt x="95059" y="134207"/>
                    <a:pt x="87630" y="132112"/>
                  </a:cubicBezTo>
                  <a:cubicBezTo>
                    <a:pt x="78676" y="129445"/>
                    <a:pt x="69722" y="126492"/>
                    <a:pt x="60579" y="123444"/>
                  </a:cubicBezTo>
                  <a:cubicBezTo>
                    <a:pt x="51530" y="120301"/>
                    <a:pt x="43339" y="116396"/>
                    <a:pt x="36004" y="111633"/>
                  </a:cubicBezTo>
                  <a:cubicBezTo>
                    <a:pt x="28670" y="106871"/>
                    <a:pt x="22764" y="100870"/>
                    <a:pt x="18192" y="93726"/>
                  </a:cubicBezTo>
                  <a:cubicBezTo>
                    <a:pt x="13525" y="86582"/>
                    <a:pt x="11239" y="77629"/>
                    <a:pt x="11239" y="66961"/>
                  </a:cubicBezTo>
                  <a:lnTo>
                    <a:pt x="11239" y="66008"/>
                  </a:lnTo>
                  <a:cubicBezTo>
                    <a:pt x="11239" y="56198"/>
                    <a:pt x="13144" y="47149"/>
                    <a:pt x="17050" y="39053"/>
                  </a:cubicBezTo>
                  <a:cubicBezTo>
                    <a:pt x="20955" y="30861"/>
                    <a:pt x="26384" y="23908"/>
                    <a:pt x="33338" y="18098"/>
                  </a:cubicBezTo>
                  <a:cubicBezTo>
                    <a:pt x="40291" y="12287"/>
                    <a:pt x="48673" y="7811"/>
                    <a:pt x="58388" y="4667"/>
                  </a:cubicBezTo>
                  <a:cubicBezTo>
                    <a:pt x="68008" y="1524"/>
                    <a:pt x="78581" y="0"/>
                    <a:pt x="89821" y="0"/>
                  </a:cubicBezTo>
                  <a:cubicBezTo>
                    <a:pt x="104108" y="0"/>
                    <a:pt x="118586" y="2286"/>
                    <a:pt x="133159" y="6953"/>
                  </a:cubicBezTo>
                  <a:cubicBezTo>
                    <a:pt x="147732" y="11621"/>
                    <a:pt x="160972" y="17717"/>
                    <a:pt x="172878" y="25527"/>
                  </a:cubicBezTo>
                  <a:lnTo>
                    <a:pt x="157257" y="51435"/>
                  </a:lnTo>
                  <a:cubicBezTo>
                    <a:pt x="146494" y="44577"/>
                    <a:pt x="135255" y="39148"/>
                    <a:pt x="123539" y="35147"/>
                  </a:cubicBezTo>
                  <a:cubicBezTo>
                    <a:pt x="111823" y="31147"/>
                    <a:pt x="100203" y="29146"/>
                    <a:pt x="88963" y="29146"/>
                  </a:cubicBezTo>
                  <a:cubicBezTo>
                    <a:pt x="75247" y="29146"/>
                    <a:pt x="64389" y="32385"/>
                    <a:pt x="56388" y="38767"/>
                  </a:cubicBezTo>
                  <a:cubicBezTo>
                    <a:pt x="48291" y="45149"/>
                    <a:pt x="44291" y="53150"/>
                    <a:pt x="44291" y="62675"/>
                  </a:cubicBezTo>
                  <a:lnTo>
                    <a:pt x="44291" y="63627"/>
                  </a:lnTo>
                  <a:cubicBezTo>
                    <a:pt x="44291" y="68961"/>
                    <a:pt x="45910" y="73628"/>
                    <a:pt x="49244" y="77724"/>
                  </a:cubicBezTo>
                  <a:cubicBezTo>
                    <a:pt x="52482" y="81725"/>
                    <a:pt x="56864" y="85249"/>
                    <a:pt x="62389" y="88202"/>
                  </a:cubicBezTo>
                  <a:cubicBezTo>
                    <a:pt x="67913" y="91154"/>
                    <a:pt x="74200" y="93821"/>
                    <a:pt x="81343" y="96203"/>
                  </a:cubicBezTo>
                  <a:cubicBezTo>
                    <a:pt x="88487" y="98584"/>
                    <a:pt x="95916" y="100965"/>
                    <a:pt x="103631" y="103346"/>
                  </a:cubicBezTo>
                  <a:cubicBezTo>
                    <a:pt x="112585" y="106013"/>
                    <a:pt x="121444" y="108966"/>
                    <a:pt x="130207" y="112300"/>
                  </a:cubicBezTo>
                  <a:cubicBezTo>
                    <a:pt x="138969" y="115538"/>
                    <a:pt x="146971" y="119729"/>
                    <a:pt x="154114" y="124778"/>
                  </a:cubicBezTo>
                  <a:cubicBezTo>
                    <a:pt x="161258" y="129826"/>
                    <a:pt x="166973" y="135922"/>
                    <a:pt x="171259" y="143066"/>
                  </a:cubicBezTo>
                  <a:cubicBezTo>
                    <a:pt x="175546" y="150209"/>
                    <a:pt x="177736" y="158972"/>
                    <a:pt x="177736" y="169450"/>
                  </a:cubicBezTo>
                  <a:lnTo>
                    <a:pt x="177736" y="170307"/>
                  </a:lnTo>
                  <a:cubicBezTo>
                    <a:pt x="177736" y="181356"/>
                    <a:pt x="175546" y="191071"/>
                    <a:pt x="171259" y="199549"/>
                  </a:cubicBezTo>
                  <a:cubicBezTo>
                    <a:pt x="166973" y="208026"/>
                    <a:pt x="161163" y="215265"/>
                    <a:pt x="153828" y="221171"/>
                  </a:cubicBezTo>
                  <a:cubicBezTo>
                    <a:pt x="146589" y="227171"/>
                    <a:pt x="137922" y="231648"/>
                    <a:pt x="127921" y="234791"/>
                  </a:cubicBezTo>
                  <a:cubicBezTo>
                    <a:pt x="117919" y="237935"/>
                    <a:pt x="107156" y="239459"/>
                    <a:pt x="95535" y="239459"/>
                  </a:cubicBezTo>
                  <a:close/>
                </a:path>
              </a:pathLst>
            </a:custGeom>
            <a:solidFill>
              <a:srgbClr val="44505E"/>
            </a:solidFill>
            <a:ln w="9525" cap="flat">
              <a:noFill/>
              <a:prstDash val="solid"/>
              <a:miter/>
            </a:ln>
          </p:spPr>
          <p:txBody>
            <a:bodyPr rtlCol="0" anchor="ctr"/>
            <a:lstStyle/>
            <a:p>
              <a:endParaRPr lang="pt-BR" noProof="0"/>
            </a:p>
          </p:txBody>
        </p:sp>
        <p:sp>
          <p:nvSpPr>
            <p:cNvPr id="55" name="Freeform: Shape 54">
              <a:extLst>
                <a:ext uri="{FF2B5EF4-FFF2-40B4-BE49-F238E27FC236}">
                  <a16:creationId xmlns:a16="http://schemas.microsoft.com/office/drawing/2014/main" id="{0AF598C4-52A2-D2D9-8D62-0A69622961D2}"/>
                </a:ext>
              </a:extLst>
            </p:cNvPr>
            <p:cNvSpPr/>
            <p:nvPr/>
          </p:nvSpPr>
          <p:spPr>
            <a:xfrm>
              <a:off x="5250320" y="846952"/>
              <a:ext cx="1459036" cy="16186"/>
            </a:xfrm>
            <a:custGeom>
              <a:avLst/>
              <a:gdLst>
                <a:gd name="connsiteX0" fmla="*/ 0 w 5804058"/>
                <a:gd name="connsiteY0" fmla="*/ 0 h 64388"/>
                <a:gd name="connsiteX1" fmla="*/ 5804059 w 5804058"/>
                <a:gd name="connsiteY1" fmla="*/ 0 h 64388"/>
                <a:gd name="connsiteX2" fmla="*/ 5804059 w 5804058"/>
                <a:gd name="connsiteY2" fmla="*/ 64389 h 64388"/>
                <a:gd name="connsiteX3" fmla="*/ 0 w 5804058"/>
                <a:gd name="connsiteY3" fmla="*/ 64389 h 64388"/>
              </a:gdLst>
              <a:ahLst/>
              <a:cxnLst>
                <a:cxn ang="0">
                  <a:pos x="connsiteX0" y="connsiteY0"/>
                </a:cxn>
                <a:cxn ang="0">
                  <a:pos x="connsiteX1" y="connsiteY1"/>
                </a:cxn>
                <a:cxn ang="0">
                  <a:pos x="connsiteX2" y="connsiteY2"/>
                </a:cxn>
                <a:cxn ang="0">
                  <a:pos x="connsiteX3" y="connsiteY3"/>
                </a:cxn>
              </a:cxnLst>
              <a:rect l="l" t="t" r="r" b="b"/>
              <a:pathLst>
                <a:path w="5804058" h="64388">
                  <a:moveTo>
                    <a:pt x="0" y="0"/>
                  </a:moveTo>
                  <a:lnTo>
                    <a:pt x="5804059" y="0"/>
                  </a:lnTo>
                  <a:lnTo>
                    <a:pt x="5804059" y="64389"/>
                  </a:lnTo>
                  <a:lnTo>
                    <a:pt x="0" y="64389"/>
                  </a:lnTo>
                  <a:close/>
                </a:path>
              </a:pathLst>
            </a:custGeom>
            <a:solidFill>
              <a:srgbClr val="44505E"/>
            </a:solidFill>
            <a:ln w="9525" cap="flat">
              <a:noFill/>
              <a:prstDash val="solid"/>
              <a:miter/>
            </a:ln>
          </p:spPr>
          <p:txBody>
            <a:bodyPr rtlCol="0" anchor="ctr"/>
            <a:lstStyle/>
            <a:p>
              <a:endParaRPr lang="pt-BR" noProof="0"/>
            </a:p>
          </p:txBody>
        </p:sp>
        <p:sp>
          <p:nvSpPr>
            <p:cNvPr id="56" name="Freeform: Shape 55">
              <a:extLst>
                <a:ext uri="{FF2B5EF4-FFF2-40B4-BE49-F238E27FC236}">
                  <a16:creationId xmlns:a16="http://schemas.microsoft.com/office/drawing/2014/main" id="{A476678E-D4C4-945B-1AD9-EB7C5004B440}"/>
                </a:ext>
              </a:extLst>
            </p:cNvPr>
            <p:cNvSpPr/>
            <p:nvPr/>
          </p:nvSpPr>
          <p:spPr>
            <a:xfrm>
              <a:off x="6902633" y="268821"/>
              <a:ext cx="273418" cy="601046"/>
            </a:xfrm>
            <a:custGeom>
              <a:avLst/>
              <a:gdLst>
                <a:gd name="connsiteX0" fmla="*/ 0 w 1087659"/>
                <a:gd name="connsiteY0" fmla="*/ 210979 h 2390965"/>
                <a:gd name="connsiteX1" fmla="*/ 125063 w 1087659"/>
                <a:gd name="connsiteY1" fmla="*/ 103442 h 2390965"/>
                <a:gd name="connsiteX2" fmla="*/ 250031 w 1087659"/>
                <a:gd name="connsiteY2" fmla="*/ 210979 h 2390965"/>
                <a:gd name="connsiteX3" fmla="*/ 250031 w 1087659"/>
                <a:gd name="connsiteY3" fmla="*/ 1922717 h 2390965"/>
                <a:gd name="connsiteX4" fmla="*/ 249841 w 1087659"/>
                <a:gd name="connsiteY4" fmla="*/ 1922717 h 2390965"/>
                <a:gd name="connsiteX5" fmla="*/ 249841 w 1087659"/>
                <a:gd name="connsiteY5" fmla="*/ 1925955 h 2390965"/>
                <a:gd name="connsiteX6" fmla="*/ 333756 w 1087659"/>
                <a:gd name="connsiteY6" fmla="*/ 2100263 h 2390965"/>
                <a:gd name="connsiteX7" fmla="*/ 335566 w 1087659"/>
                <a:gd name="connsiteY7" fmla="*/ 2101787 h 2390965"/>
                <a:gd name="connsiteX8" fmla="*/ 336042 w 1087659"/>
                <a:gd name="connsiteY8" fmla="*/ 2102168 h 2390965"/>
                <a:gd name="connsiteX9" fmla="*/ 543877 w 1087659"/>
                <a:gd name="connsiteY9" fmla="*/ 2175891 h 2390965"/>
                <a:gd name="connsiteX10" fmla="*/ 749998 w 1087659"/>
                <a:gd name="connsiteY10" fmla="*/ 2103692 h 2390965"/>
                <a:gd name="connsiteX11" fmla="*/ 751713 w 1087659"/>
                <a:gd name="connsiteY11" fmla="*/ 2102168 h 2390965"/>
                <a:gd name="connsiteX12" fmla="*/ 752189 w 1087659"/>
                <a:gd name="connsiteY12" fmla="*/ 2101787 h 2390965"/>
                <a:gd name="connsiteX13" fmla="*/ 837819 w 1087659"/>
                <a:gd name="connsiteY13" fmla="*/ 1922812 h 2390965"/>
                <a:gd name="connsiteX14" fmla="*/ 837819 w 1087659"/>
                <a:gd name="connsiteY14" fmla="*/ 107537 h 2390965"/>
                <a:gd name="connsiteX15" fmla="*/ 962787 w 1087659"/>
                <a:gd name="connsiteY15" fmla="*/ 0 h 2390965"/>
                <a:gd name="connsiteX16" fmla="*/ 1087660 w 1087659"/>
                <a:gd name="connsiteY16" fmla="*/ 107537 h 2390965"/>
                <a:gd name="connsiteX17" fmla="*/ 1087660 w 1087659"/>
                <a:gd name="connsiteY17" fmla="*/ 1922621 h 2390965"/>
                <a:gd name="connsiteX18" fmla="*/ 928307 w 1087659"/>
                <a:gd name="connsiteY18" fmla="*/ 2253234 h 2390965"/>
                <a:gd name="connsiteX19" fmla="*/ 928116 w 1087659"/>
                <a:gd name="connsiteY19" fmla="*/ 2253424 h 2390965"/>
                <a:gd name="connsiteX20" fmla="*/ 927830 w 1087659"/>
                <a:gd name="connsiteY20" fmla="*/ 2253710 h 2390965"/>
                <a:gd name="connsiteX21" fmla="*/ 927354 w 1087659"/>
                <a:gd name="connsiteY21" fmla="*/ 2254187 h 2390965"/>
                <a:gd name="connsiteX22" fmla="*/ 543783 w 1087659"/>
                <a:gd name="connsiteY22" fmla="*/ 2390966 h 2390965"/>
                <a:gd name="connsiteX23" fmla="*/ 159734 w 1087659"/>
                <a:gd name="connsiteY23" fmla="*/ 2253710 h 2390965"/>
                <a:gd name="connsiteX24" fmla="*/ 159734 w 1087659"/>
                <a:gd name="connsiteY24" fmla="*/ 2253424 h 2390965"/>
                <a:gd name="connsiteX25" fmla="*/ 159353 w 1087659"/>
                <a:gd name="connsiteY25" fmla="*/ 2253234 h 2390965"/>
                <a:gd name="connsiteX26" fmla="*/ 158877 w 1087659"/>
                <a:gd name="connsiteY26" fmla="*/ 2252948 h 2390965"/>
                <a:gd name="connsiteX27" fmla="*/ 0 w 1087659"/>
                <a:gd name="connsiteY27" fmla="*/ 1922621 h 2390965"/>
                <a:gd name="connsiteX28" fmla="*/ 0 w 1087659"/>
                <a:gd name="connsiteY28" fmla="*/ 1922621 h 2390965"/>
                <a:gd name="connsiteX29" fmla="*/ 0 w 1087659"/>
                <a:gd name="connsiteY29" fmla="*/ 210979 h 239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87659" h="2390965">
                  <a:moveTo>
                    <a:pt x="0" y="210979"/>
                  </a:moveTo>
                  <a:cubicBezTo>
                    <a:pt x="0" y="151638"/>
                    <a:pt x="56007" y="103442"/>
                    <a:pt x="125063" y="103442"/>
                  </a:cubicBezTo>
                  <a:cubicBezTo>
                    <a:pt x="194120" y="103442"/>
                    <a:pt x="250031" y="151638"/>
                    <a:pt x="250031" y="210979"/>
                  </a:cubicBezTo>
                  <a:lnTo>
                    <a:pt x="250031" y="1922717"/>
                  </a:lnTo>
                  <a:lnTo>
                    <a:pt x="249841" y="1922717"/>
                  </a:lnTo>
                  <a:lnTo>
                    <a:pt x="249841" y="1925955"/>
                  </a:lnTo>
                  <a:cubicBezTo>
                    <a:pt x="250793" y="1994059"/>
                    <a:pt x="282797" y="2055495"/>
                    <a:pt x="333756" y="2100263"/>
                  </a:cubicBezTo>
                  <a:lnTo>
                    <a:pt x="335566" y="2101787"/>
                  </a:lnTo>
                  <a:lnTo>
                    <a:pt x="336042" y="2102168"/>
                  </a:lnTo>
                  <a:cubicBezTo>
                    <a:pt x="388906" y="2147697"/>
                    <a:pt x="462343" y="2175891"/>
                    <a:pt x="543877" y="2175891"/>
                  </a:cubicBezTo>
                  <a:cubicBezTo>
                    <a:pt x="625411" y="2175891"/>
                    <a:pt x="697420" y="2148364"/>
                    <a:pt x="749998" y="2103692"/>
                  </a:cubicBezTo>
                  <a:lnTo>
                    <a:pt x="751713" y="2102168"/>
                  </a:lnTo>
                  <a:lnTo>
                    <a:pt x="752189" y="2101787"/>
                  </a:lnTo>
                  <a:cubicBezTo>
                    <a:pt x="805053" y="2056352"/>
                    <a:pt x="837819" y="1993011"/>
                    <a:pt x="837819" y="1922812"/>
                  </a:cubicBezTo>
                  <a:lnTo>
                    <a:pt x="837819" y="107537"/>
                  </a:lnTo>
                  <a:cubicBezTo>
                    <a:pt x="837819" y="48196"/>
                    <a:pt x="893731" y="0"/>
                    <a:pt x="962787" y="0"/>
                  </a:cubicBezTo>
                  <a:cubicBezTo>
                    <a:pt x="1031843" y="0"/>
                    <a:pt x="1087660" y="48196"/>
                    <a:pt x="1087660" y="107537"/>
                  </a:cubicBezTo>
                  <a:lnTo>
                    <a:pt x="1087660" y="1922621"/>
                  </a:lnTo>
                  <a:cubicBezTo>
                    <a:pt x="1087660" y="2051399"/>
                    <a:pt x="1026795" y="2168366"/>
                    <a:pt x="928307" y="2253234"/>
                  </a:cubicBezTo>
                  <a:lnTo>
                    <a:pt x="928116" y="2253424"/>
                  </a:lnTo>
                  <a:lnTo>
                    <a:pt x="927830" y="2253710"/>
                  </a:lnTo>
                  <a:lnTo>
                    <a:pt x="927354" y="2254187"/>
                  </a:lnTo>
                  <a:cubicBezTo>
                    <a:pt x="828770" y="2338673"/>
                    <a:pt x="693134" y="2390966"/>
                    <a:pt x="543783" y="2390966"/>
                  </a:cubicBezTo>
                  <a:cubicBezTo>
                    <a:pt x="394430" y="2390966"/>
                    <a:pt x="258413" y="2338483"/>
                    <a:pt x="159734" y="2253710"/>
                  </a:cubicBezTo>
                  <a:lnTo>
                    <a:pt x="159734" y="2253424"/>
                  </a:lnTo>
                  <a:cubicBezTo>
                    <a:pt x="159734" y="2253424"/>
                    <a:pt x="159353" y="2253234"/>
                    <a:pt x="159353" y="2253234"/>
                  </a:cubicBezTo>
                  <a:lnTo>
                    <a:pt x="158877" y="2252948"/>
                  </a:lnTo>
                  <a:cubicBezTo>
                    <a:pt x="60770" y="2167985"/>
                    <a:pt x="0" y="2051304"/>
                    <a:pt x="0" y="1922621"/>
                  </a:cubicBezTo>
                  <a:lnTo>
                    <a:pt x="0" y="1922621"/>
                  </a:lnTo>
                  <a:lnTo>
                    <a:pt x="0" y="210979"/>
                  </a:lnTo>
                  <a:close/>
                </a:path>
              </a:pathLst>
            </a:custGeom>
            <a:solidFill>
              <a:srgbClr val="8FC640"/>
            </a:solidFill>
            <a:ln w="9525" cap="flat">
              <a:noFill/>
              <a:prstDash val="solid"/>
              <a:miter/>
            </a:ln>
          </p:spPr>
          <p:txBody>
            <a:bodyPr rtlCol="0" anchor="ctr"/>
            <a:lstStyle/>
            <a:p>
              <a:endParaRPr lang="pt-BR" noProof="0"/>
            </a:p>
          </p:txBody>
        </p:sp>
        <p:sp>
          <p:nvSpPr>
            <p:cNvPr id="57" name="Freeform: Shape 56">
              <a:extLst>
                <a:ext uri="{FF2B5EF4-FFF2-40B4-BE49-F238E27FC236}">
                  <a16:creationId xmlns:a16="http://schemas.microsoft.com/office/drawing/2014/main" id="{1676F03F-6FC3-FAC8-42AA-E1FB26C7D9C4}"/>
                </a:ext>
              </a:extLst>
            </p:cNvPr>
            <p:cNvSpPr/>
            <p:nvPr/>
          </p:nvSpPr>
          <p:spPr>
            <a:xfrm>
              <a:off x="7013590" y="213965"/>
              <a:ext cx="54018" cy="562280"/>
            </a:xfrm>
            <a:custGeom>
              <a:avLst/>
              <a:gdLst>
                <a:gd name="connsiteX0" fmla="*/ 0 w 214883"/>
                <a:gd name="connsiteY0" fmla="*/ 107537 h 2236755"/>
                <a:gd name="connsiteX1" fmla="*/ 107537 w 214883"/>
                <a:gd name="connsiteY1" fmla="*/ 0 h 2236755"/>
                <a:gd name="connsiteX2" fmla="*/ 214884 w 214883"/>
                <a:gd name="connsiteY2" fmla="*/ 107537 h 2236755"/>
                <a:gd name="connsiteX3" fmla="*/ 214884 w 214883"/>
                <a:gd name="connsiteY3" fmla="*/ 2129219 h 2236755"/>
                <a:gd name="connsiteX4" fmla="*/ 107537 w 214883"/>
                <a:gd name="connsiteY4" fmla="*/ 2236756 h 2236755"/>
                <a:gd name="connsiteX5" fmla="*/ 0 w 214883"/>
                <a:gd name="connsiteY5" fmla="*/ 2129219 h 2236755"/>
                <a:gd name="connsiteX6" fmla="*/ 0 w 214883"/>
                <a:gd name="connsiteY6" fmla="*/ 107537 h 223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 h="2236755">
                  <a:moveTo>
                    <a:pt x="0" y="107537"/>
                  </a:moveTo>
                  <a:cubicBezTo>
                    <a:pt x="0" y="48197"/>
                    <a:pt x="48101" y="0"/>
                    <a:pt x="107537" y="0"/>
                  </a:cubicBezTo>
                  <a:cubicBezTo>
                    <a:pt x="166973" y="0"/>
                    <a:pt x="214884" y="48197"/>
                    <a:pt x="214884" y="107537"/>
                  </a:cubicBezTo>
                  <a:lnTo>
                    <a:pt x="214884" y="2129219"/>
                  </a:lnTo>
                  <a:cubicBezTo>
                    <a:pt x="214884" y="2188559"/>
                    <a:pt x="166782" y="2236756"/>
                    <a:pt x="107537" y="2236756"/>
                  </a:cubicBezTo>
                  <a:cubicBezTo>
                    <a:pt x="48291" y="2236756"/>
                    <a:pt x="0" y="2188559"/>
                    <a:pt x="0" y="2129219"/>
                  </a:cubicBezTo>
                  <a:lnTo>
                    <a:pt x="0" y="107537"/>
                  </a:lnTo>
                  <a:close/>
                </a:path>
              </a:pathLst>
            </a:custGeom>
            <a:solidFill>
              <a:srgbClr val="3698B0"/>
            </a:solidFill>
            <a:ln w="9525" cap="flat">
              <a:noFill/>
              <a:prstDash val="solid"/>
              <a:miter/>
            </a:ln>
          </p:spPr>
          <p:txBody>
            <a:bodyPr rtlCol="0" anchor="ctr"/>
            <a:lstStyle/>
            <a:p>
              <a:endParaRPr lang="pt-BR" noProof="0"/>
            </a:p>
          </p:txBody>
        </p:sp>
        <p:sp>
          <p:nvSpPr>
            <p:cNvPr id="58" name="Freeform: Shape 57">
              <a:extLst>
                <a:ext uri="{FF2B5EF4-FFF2-40B4-BE49-F238E27FC236}">
                  <a16:creationId xmlns:a16="http://schemas.microsoft.com/office/drawing/2014/main" id="{DE19AC22-FE68-5F19-03B8-5EF99DD35C0C}"/>
                </a:ext>
              </a:extLst>
            </p:cNvPr>
            <p:cNvSpPr/>
            <p:nvPr/>
          </p:nvSpPr>
          <p:spPr>
            <a:xfrm>
              <a:off x="6795770" y="332991"/>
              <a:ext cx="485994" cy="649437"/>
            </a:xfrm>
            <a:custGeom>
              <a:avLst/>
              <a:gdLst>
                <a:gd name="connsiteX0" fmla="*/ 1933290 w 1933289"/>
                <a:gd name="connsiteY0" fmla="*/ 138017 h 2583465"/>
                <a:gd name="connsiteX1" fmla="*/ 1933290 w 1933289"/>
                <a:gd name="connsiteY1" fmla="*/ 1734122 h 2583465"/>
                <a:gd name="connsiteX2" fmla="*/ 1796606 w 1933289"/>
                <a:gd name="connsiteY2" fmla="*/ 2229136 h 2583465"/>
                <a:gd name="connsiteX3" fmla="*/ 977742 w 1933289"/>
                <a:gd name="connsiteY3" fmla="*/ 2583466 h 2583465"/>
                <a:gd name="connsiteX4" fmla="*/ 955357 w 1933289"/>
                <a:gd name="connsiteY4" fmla="*/ 2583466 h 2583465"/>
                <a:gd name="connsiteX5" fmla="*/ 136589 w 1933289"/>
                <a:gd name="connsiteY5" fmla="*/ 2229136 h 2583465"/>
                <a:gd name="connsiteX6" fmla="*/ 0 w 1933289"/>
                <a:gd name="connsiteY6" fmla="*/ 1734122 h 2583465"/>
                <a:gd name="connsiteX7" fmla="*/ 0 w 1933289"/>
                <a:gd name="connsiteY7" fmla="*/ 794194 h 2583465"/>
                <a:gd name="connsiteX8" fmla="*/ 137827 w 1933289"/>
                <a:gd name="connsiteY8" fmla="*/ 656273 h 2583465"/>
                <a:gd name="connsiteX9" fmla="*/ 275463 w 1933289"/>
                <a:gd name="connsiteY9" fmla="*/ 794194 h 2583465"/>
                <a:gd name="connsiteX10" fmla="*/ 275463 w 1933289"/>
                <a:gd name="connsiteY10" fmla="*/ 1734122 h 2583465"/>
                <a:gd name="connsiteX11" fmla="*/ 354235 w 1933289"/>
                <a:gd name="connsiteY11" fmla="*/ 2059686 h 2583465"/>
                <a:gd name="connsiteX12" fmla="*/ 958215 w 1933289"/>
                <a:gd name="connsiteY12" fmla="*/ 2307527 h 2583465"/>
                <a:gd name="connsiteX13" fmla="*/ 974789 w 1933289"/>
                <a:gd name="connsiteY13" fmla="*/ 2307527 h 2583465"/>
                <a:gd name="connsiteX14" fmla="*/ 1578959 w 1933289"/>
                <a:gd name="connsiteY14" fmla="*/ 2059686 h 2583465"/>
                <a:gd name="connsiteX15" fmla="*/ 1657636 w 1933289"/>
                <a:gd name="connsiteY15" fmla="*/ 1734122 h 2583465"/>
                <a:gd name="connsiteX16" fmla="*/ 1657636 w 1933289"/>
                <a:gd name="connsiteY16" fmla="*/ 138017 h 2583465"/>
                <a:gd name="connsiteX17" fmla="*/ 1795463 w 1933289"/>
                <a:gd name="connsiteY17" fmla="*/ 0 h 2583465"/>
                <a:gd name="connsiteX18" fmla="*/ 1933290 w 1933289"/>
                <a:gd name="connsiteY18" fmla="*/ 138017 h 25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3289" h="2583465">
                  <a:moveTo>
                    <a:pt x="1933290" y="138017"/>
                  </a:moveTo>
                  <a:lnTo>
                    <a:pt x="1933290" y="1734122"/>
                  </a:lnTo>
                  <a:cubicBezTo>
                    <a:pt x="1933290" y="1870996"/>
                    <a:pt x="1919002" y="2071211"/>
                    <a:pt x="1796606" y="2229136"/>
                  </a:cubicBezTo>
                  <a:cubicBezTo>
                    <a:pt x="1634395" y="2438305"/>
                    <a:pt x="1432084" y="2578703"/>
                    <a:pt x="977742" y="2583466"/>
                  </a:cubicBezTo>
                  <a:lnTo>
                    <a:pt x="955357" y="2583466"/>
                  </a:lnTo>
                  <a:cubicBezTo>
                    <a:pt x="501015" y="2578703"/>
                    <a:pt x="298704" y="2438400"/>
                    <a:pt x="136589" y="2229136"/>
                  </a:cubicBezTo>
                  <a:cubicBezTo>
                    <a:pt x="14192" y="2071211"/>
                    <a:pt x="0" y="1870996"/>
                    <a:pt x="0" y="1734122"/>
                  </a:cubicBezTo>
                  <a:lnTo>
                    <a:pt x="0" y="794194"/>
                  </a:lnTo>
                  <a:cubicBezTo>
                    <a:pt x="0" y="718185"/>
                    <a:pt x="61436" y="656273"/>
                    <a:pt x="137827" y="656273"/>
                  </a:cubicBezTo>
                  <a:cubicBezTo>
                    <a:pt x="214217" y="656273"/>
                    <a:pt x="275463" y="718185"/>
                    <a:pt x="275463" y="794194"/>
                  </a:cubicBezTo>
                  <a:lnTo>
                    <a:pt x="275463" y="1734122"/>
                  </a:lnTo>
                  <a:cubicBezTo>
                    <a:pt x="275463" y="1887188"/>
                    <a:pt x="300324" y="1990630"/>
                    <a:pt x="354235" y="2059686"/>
                  </a:cubicBezTo>
                  <a:cubicBezTo>
                    <a:pt x="476250" y="2217611"/>
                    <a:pt x="609791" y="2304479"/>
                    <a:pt x="958215" y="2307527"/>
                  </a:cubicBezTo>
                  <a:lnTo>
                    <a:pt x="974789" y="2307527"/>
                  </a:lnTo>
                  <a:cubicBezTo>
                    <a:pt x="1323499" y="2304479"/>
                    <a:pt x="1456563" y="2217611"/>
                    <a:pt x="1578959" y="2059686"/>
                  </a:cubicBezTo>
                  <a:cubicBezTo>
                    <a:pt x="1632490" y="1990630"/>
                    <a:pt x="1657636" y="1887093"/>
                    <a:pt x="1657636" y="1734122"/>
                  </a:cubicBezTo>
                  <a:lnTo>
                    <a:pt x="1657636" y="138017"/>
                  </a:lnTo>
                  <a:cubicBezTo>
                    <a:pt x="1657636" y="61531"/>
                    <a:pt x="1719453" y="0"/>
                    <a:pt x="1795463" y="0"/>
                  </a:cubicBezTo>
                  <a:cubicBezTo>
                    <a:pt x="1871472" y="0"/>
                    <a:pt x="1933290" y="61531"/>
                    <a:pt x="1933290" y="138017"/>
                  </a:cubicBezTo>
                </a:path>
              </a:pathLst>
            </a:custGeom>
            <a:solidFill>
              <a:srgbClr val="49306E"/>
            </a:solidFill>
            <a:ln w="9525" cap="flat">
              <a:noFill/>
              <a:prstDash val="solid"/>
              <a:miter/>
            </a:ln>
          </p:spPr>
          <p:txBody>
            <a:bodyPr rtlCol="0" anchor="ctr"/>
            <a:lstStyle/>
            <a:p>
              <a:endParaRPr lang="pt-BR" noProof="0"/>
            </a:p>
          </p:txBody>
        </p:sp>
      </p:grpSp>
      <p:sp>
        <p:nvSpPr>
          <p:cNvPr id="5" name="Rectangle 3">
            <a:extLst>
              <a:ext uri="{FF2B5EF4-FFF2-40B4-BE49-F238E27FC236}">
                <a16:creationId xmlns:a16="http://schemas.microsoft.com/office/drawing/2014/main" id="{D09BC5E5-9058-D846-0F95-065C3CFF9DE6}"/>
              </a:ext>
            </a:extLst>
          </p:cNvPr>
          <p:cNvSpPr>
            <a:spLocks noChangeArrowheads="1"/>
          </p:cNvSpPr>
          <p:nvPr/>
        </p:nvSpPr>
        <p:spPr bwMode="auto">
          <a:xfrm>
            <a:off x="428153" y="692497"/>
            <a:ext cx="264816" cy="2862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p:txBody>
      </p:sp>
      <p:sp>
        <p:nvSpPr>
          <p:cNvPr id="8" name="CaixaDeTexto 7">
            <a:extLst>
              <a:ext uri="{FF2B5EF4-FFF2-40B4-BE49-F238E27FC236}">
                <a16:creationId xmlns:a16="http://schemas.microsoft.com/office/drawing/2014/main" id="{FC8901B0-6348-DB40-2C67-4CFE0A908284}"/>
              </a:ext>
            </a:extLst>
          </p:cNvPr>
          <p:cNvSpPr txBox="1"/>
          <p:nvPr/>
        </p:nvSpPr>
        <p:spPr>
          <a:xfrm>
            <a:off x="5324345" y="1486660"/>
            <a:ext cx="1741715" cy="461665"/>
          </a:xfrm>
          <a:prstGeom prst="rect">
            <a:avLst/>
          </a:prstGeom>
          <a:noFill/>
        </p:spPr>
        <p:txBody>
          <a:bodyPr wrap="square" rtlCol="0">
            <a:spAutoFit/>
          </a:bodyPr>
          <a:lstStyle/>
          <a:p>
            <a:r>
              <a:rPr lang="pt-BR" sz="2400" b="1" noProof="0">
                <a:solidFill>
                  <a:schemeClr val="bg1"/>
                </a:solidFill>
              </a:rPr>
              <a:t>Envelope 1</a:t>
            </a:r>
            <a:endParaRPr lang="pt-BR" sz="2400" b="1" noProof="0"/>
          </a:p>
        </p:txBody>
      </p:sp>
    </p:spTree>
    <p:extLst>
      <p:ext uri="{BB962C8B-B14F-4D97-AF65-F5344CB8AC3E}">
        <p14:creationId xmlns:p14="http://schemas.microsoft.com/office/powerpoint/2010/main" val="296004497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0B23DF-8DB2-6AB6-CB50-3D37709D7782}"/>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5EB72946-56D7-B4DE-A7DC-9C2961A415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8" progId="TCLayout.ActiveDocument.1">
                  <p:embed/>
                </p:oleObj>
              </mc:Choice>
              <mc:Fallback>
                <p:oleObj name="think-cell Slide" r:id="rId4" imgW="306" imgH="308" progId="TCLayout.ActiveDocument.1">
                  <p:embed/>
                  <p:pic>
                    <p:nvPicPr>
                      <p:cNvPr id="12" name="think-cell data - do not delete" hidden="1">
                        <a:extLst>
                          <a:ext uri="{FF2B5EF4-FFF2-40B4-BE49-F238E27FC236}">
                            <a16:creationId xmlns:a16="http://schemas.microsoft.com/office/drawing/2014/main" id="{5EB72946-56D7-B4DE-A7DC-9C2961A4154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3" name="Group 12">
            <a:extLst>
              <a:ext uri="{FF2B5EF4-FFF2-40B4-BE49-F238E27FC236}">
                <a16:creationId xmlns:a16="http://schemas.microsoft.com/office/drawing/2014/main" id="{1851A488-126D-E355-3F41-D8696294E72A}"/>
              </a:ext>
            </a:extLst>
          </p:cNvPr>
          <p:cNvGrpSpPr/>
          <p:nvPr/>
        </p:nvGrpSpPr>
        <p:grpSpPr>
          <a:xfrm>
            <a:off x="304800" y="249455"/>
            <a:ext cx="1193800" cy="462985"/>
            <a:chOff x="5245100" y="211355"/>
            <a:chExt cx="2036664" cy="789869"/>
          </a:xfrm>
        </p:grpSpPr>
        <p:sp>
          <p:nvSpPr>
            <p:cNvPr id="14" name="Freeform: Shape 13">
              <a:extLst>
                <a:ext uri="{FF2B5EF4-FFF2-40B4-BE49-F238E27FC236}">
                  <a16:creationId xmlns:a16="http://schemas.microsoft.com/office/drawing/2014/main" id="{D3392AA9-8213-410B-66F9-D1704C2BDB11}"/>
                </a:ext>
              </a:extLst>
            </p:cNvPr>
            <p:cNvSpPr/>
            <p:nvPr/>
          </p:nvSpPr>
          <p:spPr>
            <a:xfrm>
              <a:off x="5245100" y="308520"/>
              <a:ext cx="247894" cy="322815"/>
            </a:xfrm>
            <a:custGeom>
              <a:avLst/>
              <a:gdLst>
                <a:gd name="connsiteX0" fmla="*/ 529590 w 986123"/>
                <a:gd name="connsiteY0" fmla="*/ 1284160 h 1284160"/>
                <a:gd name="connsiteX1" fmla="*/ 249650 w 986123"/>
                <a:gd name="connsiteY1" fmla="*/ 1235107 h 1284160"/>
                <a:gd name="connsiteX2" fmla="*/ 0 w 986123"/>
                <a:gd name="connsiteY2" fmla="*/ 1084421 h 1284160"/>
                <a:gd name="connsiteX3" fmla="*/ 162306 w 986123"/>
                <a:gd name="connsiteY3" fmla="*/ 890016 h 1284160"/>
                <a:gd name="connsiteX4" fmla="*/ 337947 w 986123"/>
                <a:gd name="connsiteY4" fmla="*/ 1000601 h 1284160"/>
                <a:gd name="connsiteX5" fmla="*/ 535019 w 986123"/>
                <a:gd name="connsiteY5" fmla="*/ 1041654 h 1284160"/>
                <a:gd name="connsiteX6" fmla="*/ 667893 w 986123"/>
                <a:gd name="connsiteY6" fmla="*/ 1010412 h 1284160"/>
                <a:gd name="connsiteX7" fmla="*/ 715137 w 986123"/>
                <a:gd name="connsiteY7" fmla="*/ 923925 h 1284160"/>
                <a:gd name="connsiteX8" fmla="*/ 715137 w 986123"/>
                <a:gd name="connsiteY8" fmla="*/ 920305 h 1284160"/>
                <a:gd name="connsiteX9" fmla="*/ 705326 w 986123"/>
                <a:gd name="connsiteY9" fmla="*/ 873062 h 1284160"/>
                <a:gd name="connsiteX10" fmla="*/ 667798 w 986123"/>
                <a:gd name="connsiteY10" fmla="*/ 834676 h 1284160"/>
                <a:gd name="connsiteX11" fmla="*/ 590931 w 986123"/>
                <a:gd name="connsiteY11" fmla="*/ 798957 h 1284160"/>
                <a:gd name="connsiteX12" fmla="*/ 463106 w 986123"/>
                <a:gd name="connsiteY12" fmla="*/ 761524 h 1284160"/>
                <a:gd name="connsiteX13" fmla="*/ 291465 w 986123"/>
                <a:gd name="connsiteY13" fmla="*/ 709803 h 1284160"/>
                <a:gd name="connsiteX14" fmla="*/ 160973 w 986123"/>
                <a:gd name="connsiteY14" fmla="*/ 639318 h 1284160"/>
                <a:gd name="connsiteX15" fmla="*/ 77819 w 986123"/>
                <a:gd name="connsiteY15" fmla="*/ 535019 h 1284160"/>
                <a:gd name="connsiteX16" fmla="*/ 48292 w 986123"/>
                <a:gd name="connsiteY16" fmla="*/ 379857 h 1284160"/>
                <a:gd name="connsiteX17" fmla="*/ 48292 w 986123"/>
                <a:gd name="connsiteY17" fmla="*/ 376238 h 1284160"/>
                <a:gd name="connsiteX18" fmla="*/ 80201 w 986123"/>
                <a:gd name="connsiteY18" fmla="*/ 222028 h 1284160"/>
                <a:gd name="connsiteX19" fmla="*/ 169640 w 986123"/>
                <a:gd name="connsiteY19" fmla="*/ 103441 h 1284160"/>
                <a:gd name="connsiteX20" fmla="*/ 307181 w 986123"/>
                <a:gd name="connsiteY20" fmla="*/ 26765 h 1284160"/>
                <a:gd name="connsiteX21" fmla="*/ 483394 w 986123"/>
                <a:gd name="connsiteY21" fmla="*/ 0 h 1284160"/>
                <a:gd name="connsiteX22" fmla="*/ 735711 w 986123"/>
                <a:gd name="connsiteY22" fmla="*/ 41053 h 1284160"/>
                <a:gd name="connsiteX23" fmla="*/ 946976 w 986123"/>
                <a:gd name="connsiteY23" fmla="*/ 158687 h 1284160"/>
                <a:gd name="connsiteX24" fmla="*/ 804291 w 986123"/>
                <a:gd name="connsiteY24" fmla="*/ 365569 h 1284160"/>
                <a:gd name="connsiteX25" fmla="*/ 640271 w 986123"/>
                <a:gd name="connsiteY25" fmla="*/ 275558 h 1284160"/>
                <a:gd name="connsiteX26" fmla="*/ 479774 w 986123"/>
                <a:gd name="connsiteY26" fmla="*/ 242602 h 1284160"/>
                <a:gd name="connsiteX27" fmla="*/ 359378 w 986123"/>
                <a:gd name="connsiteY27" fmla="*/ 273844 h 1284160"/>
                <a:gd name="connsiteX28" fmla="*/ 319278 w 986123"/>
                <a:gd name="connsiteY28" fmla="*/ 351377 h 1284160"/>
                <a:gd name="connsiteX29" fmla="*/ 319278 w 986123"/>
                <a:gd name="connsiteY29" fmla="*/ 354997 h 1284160"/>
                <a:gd name="connsiteX30" fmla="*/ 330899 w 986123"/>
                <a:gd name="connsiteY30" fmla="*/ 407575 h 1284160"/>
                <a:gd name="connsiteX31" fmla="*/ 372904 w 986123"/>
                <a:gd name="connsiteY31" fmla="*/ 447675 h 1284160"/>
                <a:gd name="connsiteX32" fmla="*/ 456057 w 986123"/>
                <a:gd name="connsiteY32" fmla="*/ 481489 h 1284160"/>
                <a:gd name="connsiteX33" fmla="*/ 589217 w 986123"/>
                <a:gd name="connsiteY33" fmla="*/ 518922 h 1284160"/>
                <a:gd name="connsiteX34" fmla="*/ 758190 w 986123"/>
                <a:gd name="connsiteY34" fmla="*/ 575120 h 1284160"/>
                <a:gd name="connsiteX35" fmla="*/ 883349 w 986123"/>
                <a:gd name="connsiteY35" fmla="*/ 649986 h 1284160"/>
                <a:gd name="connsiteX36" fmla="*/ 960215 w 986123"/>
                <a:gd name="connsiteY36" fmla="*/ 752570 h 1284160"/>
                <a:gd name="connsiteX37" fmla="*/ 986123 w 986123"/>
                <a:gd name="connsiteY37" fmla="*/ 893445 h 1284160"/>
                <a:gd name="connsiteX38" fmla="*/ 986123 w 986123"/>
                <a:gd name="connsiteY38" fmla="*/ 897064 h 1284160"/>
                <a:gd name="connsiteX39" fmla="*/ 952500 w 986123"/>
                <a:gd name="connsiteY39" fmla="*/ 1062038 h 1284160"/>
                <a:gd name="connsiteX40" fmla="*/ 858584 w 986123"/>
                <a:gd name="connsiteY40" fmla="*/ 1183291 h 1284160"/>
                <a:gd name="connsiteX41" fmla="*/ 714851 w 986123"/>
                <a:gd name="connsiteY41" fmla="*/ 1258157 h 1284160"/>
                <a:gd name="connsiteX42" fmla="*/ 529685 w 986123"/>
                <a:gd name="connsiteY42" fmla="*/ 1284065 h 128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6123" h="1284160">
                  <a:moveTo>
                    <a:pt x="529590" y="1284160"/>
                  </a:moveTo>
                  <a:cubicBezTo>
                    <a:pt x="434435" y="1284160"/>
                    <a:pt x="341186" y="1267777"/>
                    <a:pt x="249650" y="1235107"/>
                  </a:cubicBezTo>
                  <a:cubicBezTo>
                    <a:pt x="158115" y="1202436"/>
                    <a:pt x="74867" y="1152239"/>
                    <a:pt x="0" y="1084421"/>
                  </a:cubicBezTo>
                  <a:lnTo>
                    <a:pt x="162306" y="890016"/>
                  </a:lnTo>
                  <a:cubicBezTo>
                    <a:pt x="219361" y="936403"/>
                    <a:pt x="277844" y="973264"/>
                    <a:pt x="337947" y="1000601"/>
                  </a:cubicBezTo>
                  <a:cubicBezTo>
                    <a:pt x="397955" y="1027938"/>
                    <a:pt x="463677" y="1041654"/>
                    <a:pt x="535019" y="1041654"/>
                  </a:cubicBezTo>
                  <a:cubicBezTo>
                    <a:pt x="592074" y="1041654"/>
                    <a:pt x="636365" y="1031272"/>
                    <a:pt x="667893" y="1010412"/>
                  </a:cubicBezTo>
                  <a:cubicBezTo>
                    <a:pt x="699421" y="989647"/>
                    <a:pt x="715137" y="960787"/>
                    <a:pt x="715137" y="923925"/>
                  </a:cubicBezTo>
                  <a:lnTo>
                    <a:pt x="715137" y="920305"/>
                  </a:lnTo>
                  <a:cubicBezTo>
                    <a:pt x="715137" y="902494"/>
                    <a:pt x="711803" y="886777"/>
                    <a:pt x="705326" y="873062"/>
                  </a:cubicBezTo>
                  <a:cubicBezTo>
                    <a:pt x="698754" y="859441"/>
                    <a:pt x="686276" y="846582"/>
                    <a:pt x="667798" y="834676"/>
                  </a:cubicBezTo>
                  <a:cubicBezTo>
                    <a:pt x="649319" y="822770"/>
                    <a:pt x="623697" y="810863"/>
                    <a:pt x="590931" y="798957"/>
                  </a:cubicBezTo>
                  <a:cubicBezTo>
                    <a:pt x="558165" y="787146"/>
                    <a:pt x="515493" y="774573"/>
                    <a:pt x="463106" y="761524"/>
                  </a:cubicBezTo>
                  <a:cubicBezTo>
                    <a:pt x="399955" y="746093"/>
                    <a:pt x="342710" y="728853"/>
                    <a:pt x="291465" y="709803"/>
                  </a:cubicBezTo>
                  <a:cubicBezTo>
                    <a:pt x="240221" y="690753"/>
                    <a:pt x="196691" y="667322"/>
                    <a:pt x="160973" y="639318"/>
                  </a:cubicBezTo>
                  <a:cubicBezTo>
                    <a:pt x="125159" y="611410"/>
                    <a:pt x="97536" y="576644"/>
                    <a:pt x="77819" y="535019"/>
                  </a:cubicBezTo>
                  <a:cubicBezTo>
                    <a:pt x="58103" y="493395"/>
                    <a:pt x="48292" y="441674"/>
                    <a:pt x="48292" y="379857"/>
                  </a:cubicBezTo>
                  <a:lnTo>
                    <a:pt x="48292" y="376238"/>
                  </a:lnTo>
                  <a:cubicBezTo>
                    <a:pt x="48292" y="319183"/>
                    <a:pt x="58865" y="267748"/>
                    <a:pt x="80201" y="222028"/>
                  </a:cubicBezTo>
                  <a:cubicBezTo>
                    <a:pt x="101441" y="176308"/>
                    <a:pt x="131255" y="136779"/>
                    <a:pt x="169640" y="103441"/>
                  </a:cubicBezTo>
                  <a:cubicBezTo>
                    <a:pt x="208026" y="70199"/>
                    <a:pt x="253841" y="44577"/>
                    <a:pt x="307181" y="26765"/>
                  </a:cubicBezTo>
                  <a:cubicBezTo>
                    <a:pt x="360426" y="8953"/>
                    <a:pt x="419195" y="0"/>
                    <a:pt x="483394" y="0"/>
                  </a:cubicBezTo>
                  <a:cubicBezTo>
                    <a:pt x="574929" y="0"/>
                    <a:pt x="659035" y="13716"/>
                    <a:pt x="735711" y="41053"/>
                  </a:cubicBezTo>
                  <a:cubicBezTo>
                    <a:pt x="812387" y="68389"/>
                    <a:pt x="882777" y="107632"/>
                    <a:pt x="946976" y="158687"/>
                  </a:cubicBezTo>
                  <a:lnTo>
                    <a:pt x="804291" y="365569"/>
                  </a:lnTo>
                  <a:cubicBezTo>
                    <a:pt x="748379" y="327565"/>
                    <a:pt x="693706" y="297561"/>
                    <a:pt x="640271" y="275558"/>
                  </a:cubicBezTo>
                  <a:cubicBezTo>
                    <a:pt x="586740" y="253555"/>
                    <a:pt x="533305" y="242602"/>
                    <a:pt x="479774" y="242602"/>
                  </a:cubicBezTo>
                  <a:cubicBezTo>
                    <a:pt x="426244" y="242602"/>
                    <a:pt x="386144" y="252984"/>
                    <a:pt x="359378" y="273844"/>
                  </a:cubicBezTo>
                  <a:cubicBezTo>
                    <a:pt x="332613" y="294608"/>
                    <a:pt x="319278" y="320516"/>
                    <a:pt x="319278" y="351377"/>
                  </a:cubicBezTo>
                  <a:lnTo>
                    <a:pt x="319278" y="354997"/>
                  </a:lnTo>
                  <a:cubicBezTo>
                    <a:pt x="319278" y="375190"/>
                    <a:pt x="323183" y="392716"/>
                    <a:pt x="330899" y="407575"/>
                  </a:cubicBezTo>
                  <a:cubicBezTo>
                    <a:pt x="338614" y="422434"/>
                    <a:pt x="352616" y="435864"/>
                    <a:pt x="372904" y="447675"/>
                  </a:cubicBezTo>
                  <a:cubicBezTo>
                    <a:pt x="393192" y="459581"/>
                    <a:pt x="420910" y="470821"/>
                    <a:pt x="456057" y="481489"/>
                  </a:cubicBezTo>
                  <a:cubicBezTo>
                    <a:pt x="491204" y="492157"/>
                    <a:pt x="535591" y="504730"/>
                    <a:pt x="589217" y="518922"/>
                  </a:cubicBezTo>
                  <a:cubicBezTo>
                    <a:pt x="652367" y="535591"/>
                    <a:pt x="708660" y="554260"/>
                    <a:pt x="758190" y="575120"/>
                  </a:cubicBezTo>
                  <a:cubicBezTo>
                    <a:pt x="807625" y="595979"/>
                    <a:pt x="849344" y="620935"/>
                    <a:pt x="883349" y="649986"/>
                  </a:cubicBezTo>
                  <a:cubicBezTo>
                    <a:pt x="917353" y="679132"/>
                    <a:pt x="942975" y="713327"/>
                    <a:pt x="960215" y="752570"/>
                  </a:cubicBezTo>
                  <a:cubicBezTo>
                    <a:pt x="977456" y="791813"/>
                    <a:pt x="986123" y="838772"/>
                    <a:pt x="986123" y="893445"/>
                  </a:cubicBezTo>
                  <a:lnTo>
                    <a:pt x="986123" y="897064"/>
                  </a:lnTo>
                  <a:cubicBezTo>
                    <a:pt x="986123" y="958882"/>
                    <a:pt x="974884" y="1013841"/>
                    <a:pt x="952500" y="1062038"/>
                  </a:cubicBezTo>
                  <a:cubicBezTo>
                    <a:pt x="930021" y="1110139"/>
                    <a:pt x="898779" y="1150620"/>
                    <a:pt x="858584" y="1183291"/>
                  </a:cubicBezTo>
                  <a:cubicBezTo>
                    <a:pt x="818388" y="1216057"/>
                    <a:pt x="770477" y="1241012"/>
                    <a:pt x="714851" y="1258157"/>
                  </a:cubicBezTo>
                  <a:cubicBezTo>
                    <a:pt x="659130" y="1275398"/>
                    <a:pt x="597503" y="1284065"/>
                    <a:pt x="529685" y="1284065"/>
                  </a:cubicBezTo>
                  <a:close/>
                </a:path>
              </a:pathLst>
            </a:custGeom>
            <a:solidFill>
              <a:srgbClr val="44505E"/>
            </a:solidFill>
            <a:ln w="9525" cap="flat">
              <a:noFill/>
              <a:prstDash val="solid"/>
              <a:miter/>
            </a:ln>
          </p:spPr>
          <p:txBody>
            <a:bodyPr rtlCol="0" anchor="ctr"/>
            <a:lstStyle/>
            <a:p>
              <a:endParaRPr lang="pt-BR" noProof="0"/>
            </a:p>
          </p:txBody>
        </p:sp>
        <p:sp>
          <p:nvSpPr>
            <p:cNvPr id="17" name="Freeform: Shape 16">
              <a:extLst>
                <a:ext uri="{FF2B5EF4-FFF2-40B4-BE49-F238E27FC236}">
                  <a16:creationId xmlns:a16="http://schemas.microsoft.com/office/drawing/2014/main" id="{9674BE09-8715-7B8D-9CF1-5FF1ACD4C291}"/>
                </a:ext>
              </a:extLst>
            </p:cNvPr>
            <p:cNvSpPr/>
            <p:nvPr/>
          </p:nvSpPr>
          <p:spPr>
            <a:xfrm>
              <a:off x="5492084" y="310867"/>
              <a:ext cx="332584" cy="315991"/>
            </a:xfrm>
            <a:custGeom>
              <a:avLst/>
              <a:gdLst>
                <a:gd name="connsiteX0" fmla="*/ 534924 w 1323022"/>
                <a:gd name="connsiteY0" fmla="*/ 0 h 1257014"/>
                <a:gd name="connsiteX1" fmla="*/ 788099 w 1323022"/>
                <a:gd name="connsiteY1" fmla="*/ 0 h 1257014"/>
                <a:gd name="connsiteX2" fmla="*/ 1323023 w 1323022"/>
                <a:gd name="connsiteY2" fmla="*/ 1257014 h 1257014"/>
                <a:gd name="connsiteX3" fmla="*/ 1035939 w 1323022"/>
                <a:gd name="connsiteY3" fmla="*/ 1257014 h 1257014"/>
                <a:gd name="connsiteX4" fmla="*/ 921829 w 1323022"/>
                <a:gd name="connsiteY4" fmla="*/ 977075 h 1257014"/>
                <a:gd name="connsiteX5" fmla="*/ 394049 w 1323022"/>
                <a:gd name="connsiteY5" fmla="*/ 977075 h 1257014"/>
                <a:gd name="connsiteX6" fmla="*/ 279940 w 1323022"/>
                <a:gd name="connsiteY6" fmla="*/ 1257014 h 1257014"/>
                <a:gd name="connsiteX7" fmla="*/ 0 w 1323022"/>
                <a:gd name="connsiteY7" fmla="*/ 1257014 h 1257014"/>
                <a:gd name="connsiteX8" fmla="*/ 534924 w 1323022"/>
                <a:gd name="connsiteY8" fmla="*/ 0 h 1257014"/>
                <a:gd name="connsiteX9" fmla="*/ 823817 w 1323022"/>
                <a:gd name="connsiteY9" fmla="*/ 734568 h 1257014"/>
                <a:gd name="connsiteX10" fmla="*/ 657987 w 1323022"/>
                <a:gd name="connsiteY10" fmla="*/ 329851 h 1257014"/>
                <a:gd name="connsiteX11" fmla="*/ 492157 w 1323022"/>
                <a:gd name="connsiteY11" fmla="*/ 734568 h 1257014"/>
                <a:gd name="connsiteX12" fmla="*/ 823817 w 1323022"/>
                <a:gd name="connsiteY12" fmla="*/ 734568 h 125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022" h="1257014">
                  <a:moveTo>
                    <a:pt x="534924" y="0"/>
                  </a:moveTo>
                  <a:lnTo>
                    <a:pt x="788099" y="0"/>
                  </a:lnTo>
                  <a:lnTo>
                    <a:pt x="1323023" y="1257014"/>
                  </a:lnTo>
                  <a:lnTo>
                    <a:pt x="1035939" y="1257014"/>
                  </a:lnTo>
                  <a:lnTo>
                    <a:pt x="921829" y="977075"/>
                  </a:lnTo>
                  <a:lnTo>
                    <a:pt x="394049" y="977075"/>
                  </a:lnTo>
                  <a:lnTo>
                    <a:pt x="279940" y="1257014"/>
                  </a:lnTo>
                  <a:lnTo>
                    <a:pt x="0" y="1257014"/>
                  </a:lnTo>
                  <a:lnTo>
                    <a:pt x="534924" y="0"/>
                  </a:lnTo>
                  <a:close/>
                  <a:moveTo>
                    <a:pt x="823817" y="734568"/>
                  </a:moveTo>
                  <a:lnTo>
                    <a:pt x="657987" y="329851"/>
                  </a:lnTo>
                  <a:lnTo>
                    <a:pt x="492157" y="734568"/>
                  </a:lnTo>
                  <a:lnTo>
                    <a:pt x="823817" y="734568"/>
                  </a:lnTo>
                  <a:close/>
                </a:path>
              </a:pathLst>
            </a:custGeom>
            <a:solidFill>
              <a:srgbClr val="44505E"/>
            </a:solidFill>
            <a:ln w="9525" cap="flat">
              <a:noFill/>
              <a:prstDash val="solid"/>
              <a:miter/>
            </a:ln>
          </p:spPr>
          <p:txBody>
            <a:bodyPr rtlCol="0" anchor="ctr"/>
            <a:lstStyle/>
            <a:p>
              <a:endParaRPr lang="pt-BR" noProof="0"/>
            </a:p>
          </p:txBody>
        </p:sp>
        <p:sp>
          <p:nvSpPr>
            <p:cNvPr id="18" name="Freeform: Shape 17">
              <a:extLst>
                <a:ext uri="{FF2B5EF4-FFF2-40B4-BE49-F238E27FC236}">
                  <a16:creationId xmlns:a16="http://schemas.microsoft.com/office/drawing/2014/main" id="{158A453F-E622-6FF5-3A75-F695A04AD6FB}"/>
                </a:ext>
              </a:extLst>
            </p:cNvPr>
            <p:cNvSpPr/>
            <p:nvPr/>
          </p:nvSpPr>
          <p:spPr>
            <a:xfrm>
              <a:off x="5834078" y="211355"/>
              <a:ext cx="273442" cy="420435"/>
            </a:xfrm>
            <a:custGeom>
              <a:avLst/>
              <a:gdLst>
                <a:gd name="connsiteX0" fmla="*/ 540258 w 1087754"/>
                <a:gd name="connsiteY0" fmla="*/ 1672495 h 1672494"/>
                <a:gd name="connsiteX1" fmla="*/ 144399 w 1087754"/>
                <a:gd name="connsiteY1" fmla="*/ 1533430 h 1672494"/>
                <a:gd name="connsiteX2" fmla="*/ 0 w 1087754"/>
                <a:gd name="connsiteY2" fmla="*/ 1117949 h 1672494"/>
                <a:gd name="connsiteX3" fmla="*/ 0 w 1087754"/>
                <a:gd name="connsiteY3" fmla="*/ 404717 h 1672494"/>
                <a:gd name="connsiteX4" fmla="*/ 274606 w 1087754"/>
                <a:gd name="connsiteY4" fmla="*/ 404717 h 1672494"/>
                <a:gd name="connsiteX5" fmla="*/ 274606 w 1087754"/>
                <a:gd name="connsiteY5" fmla="*/ 1110806 h 1672494"/>
                <a:gd name="connsiteX6" fmla="*/ 345948 w 1087754"/>
                <a:gd name="connsiteY6" fmla="*/ 1341692 h 1672494"/>
                <a:gd name="connsiteX7" fmla="*/ 543877 w 1087754"/>
                <a:gd name="connsiteY7" fmla="*/ 1419225 h 1672494"/>
                <a:gd name="connsiteX8" fmla="*/ 741807 w 1087754"/>
                <a:gd name="connsiteY8" fmla="*/ 1344359 h 1672494"/>
                <a:gd name="connsiteX9" fmla="*/ 813149 w 1087754"/>
                <a:gd name="connsiteY9" fmla="*/ 1119664 h 1672494"/>
                <a:gd name="connsiteX10" fmla="*/ 813149 w 1087754"/>
                <a:gd name="connsiteY10" fmla="*/ 404717 h 1672494"/>
                <a:gd name="connsiteX11" fmla="*/ 1087755 w 1087754"/>
                <a:gd name="connsiteY11" fmla="*/ 404717 h 1672494"/>
                <a:gd name="connsiteX12" fmla="*/ 1087755 w 1087754"/>
                <a:gd name="connsiteY12" fmla="*/ 1108996 h 1672494"/>
                <a:gd name="connsiteX13" fmla="*/ 1049369 w 1087754"/>
                <a:gd name="connsiteY13" fmla="*/ 1356836 h 1672494"/>
                <a:gd name="connsiteX14" fmla="*/ 939737 w 1087754"/>
                <a:gd name="connsiteY14" fmla="*/ 1532477 h 1672494"/>
                <a:gd name="connsiteX15" fmla="*/ 766763 w 1087754"/>
                <a:gd name="connsiteY15" fmla="*/ 1637729 h 1672494"/>
                <a:gd name="connsiteX16" fmla="*/ 540353 w 1087754"/>
                <a:gd name="connsiteY16" fmla="*/ 1672495 h 1672494"/>
                <a:gd name="connsiteX17" fmla="*/ 622268 w 1087754"/>
                <a:gd name="connsiteY17" fmla="*/ 0 h 1672494"/>
                <a:gd name="connsiteX18" fmla="*/ 855821 w 1087754"/>
                <a:gd name="connsiteY18" fmla="*/ 101632 h 1672494"/>
                <a:gd name="connsiteX19" fmla="*/ 627602 w 1087754"/>
                <a:gd name="connsiteY19" fmla="*/ 315563 h 1672494"/>
                <a:gd name="connsiteX20" fmla="*/ 420719 w 1087754"/>
                <a:gd name="connsiteY20" fmla="*/ 315563 h 1672494"/>
                <a:gd name="connsiteX21" fmla="*/ 622268 w 1087754"/>
                <a:gd name="connsiteY21" fmla="*/ 0 h 16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754" h="1672494">
                  <a:moveTo>
                    <a:pt x="540258" y="1672495"/>
                  </a:moveTo>
                  <a:cubicBezTo>
                    <a:pt x="372618" y="1672495"/>
                    <a:pt x="240697" y="1626108"/>
                    <a:pt x="144399" y="1533430"/>
                  </a:cubicBezTo>
                  <a:cubicBezTo>
                    <a:pt x="48101" y="1440752"/>
                    <a:pt x="0" y="1302258"/>
                    <a:pt x="0" y="1117949"/>
                  </a:cubicBezTo>
                  <a:lnTo>
                    <a:pt x="0" y="404717"/>
                  </a:lnTo>
                  <a:lnTo>
                    <a:pt x="274606" y="404717"/>
                  </a:lnTo>
                  <a:lnTo>
                    <a:pt x="274606" y="1110806"/>
                  </a:lnTo>
                  <a:cubicBezTo>
                    <a:pt x="274606" y="1213009"/>
                    <a:pt x="298418" y="1289971"/>
                    <a:pt x="345948" y="1341692"/>
                  </a:cubicBezTo>
                  <a:cubicBezTo>
                    <a:pt x="393478" y="1393412"/>
                    <a:pt x="459486" y="1419225"/>
                    <a:pt x="543877" y="1419225"/>
                  </a:cubicBezTo>
                  <a:cubicBezTo>
                    <a:pt x="628269" y="1419225"/>
                    <a:pt x="694277" y="1394270"/>
                    <a:pt x="741807" y="1344359"/>
                  </a:cubicBezTo>
                  <a:cubicBezTo>
                    <a:pt x="789337" y="1294448"/>
                    <a:pt x="813149" y="1219581"/>
                    <a:pt x="813149" y="1119664"/>
                  </a:cubicBezTo>
                  <a:lnTo>
                    <a:pt x="813149" y="404717"/>
                  </a:lnTo>
                  <a:lnTo>
                    <a:pt x="1087755" y="404717"/>
                  </a:lnTo>
                  <a:lnTo>
                    <a:pt x="1087755" y="1108996"/>
                  </a:lnTo>
                  <a:cubicBezTo>
                    <a:pt x="1087755" y="1204151"/>
                    <a:pt x="1074992" y="1286732"/>
                    <a:pt x="1049369" y="1356836"/>
                  </a:cubicBezTo>
                  <a:cubicBezTo>
                    <a:pt x="1023747" y="1426940"/>
                    <a:pt x="987266" y="1485519"/>
                    <a:pt x="939737" y="1532477"/>
                  </a:cubicBezTo>
                  <a:cubicBezTo>
                    <a:pt x="892207" y="1579436"/>
                    <a:pt x="834485" y="1614488"/>
                    <a:pt x="766763" y="1637729"/>
                  </a:cubicBezTo>
                  <a:cubicBezTo>
                    <a:pt x="699040" y="1660874"/>
                    <a:pt x="623507" y="1672495"/>
                    <a:pt x="540353" y="1672495"/>
                  </a:cubicBezTo>
                  <a:close/>
                  <a:moveTo>
                    <a:pt x="622268" y="0"/>
                  </a:moveTo>
                  <a:lnTo>
                    <a:pt x="855821" y="101632"/>
                  </a:lnTo>
                  <a:lnTo>
                    <a:pt x="627602" y="315563"/>
                  </a:lnTo>
                  <a:lnTo>
                    <a:pt x="420719" y="315563"/>
                  </a:lnTo>
                  <a:lnTo>
                    <a:pt x="622268" y="0"/>
                  </a:lnTo>
                  <a:close/>
                </a:path>
              </a:pathLst>
            </a:custGeom>
            <a:solidFill>
              <a:srgbClr val="44505E"/>
            </a:solidFill>
            <a:ln w="9525" cap="flat">
              <a:noFill/>
              <a:prstDash val="solid"/>
              <a:miter/>
            </a:ln>
          </p:spPr>
          <p:txBody>
            <a:bodyPr rtlCol="0" anchor="ctr"/>
            <a:lstStyle/>
            <a:p>
              <a:endParaRPr lang="pt-BR" noProof="0"/>
            </a:p>
          </p:txBody>
        </p:sp>
        <p:sp>
          <p:nvSpPr>
            <p:cNvPr id="19" name="Freeform: Shape 18">
              <a:extLst>
                <a:ext uri="{FF2B5EF4-FFF2-40B4-BE49-F238E27FC236}">
                  <a16:creationId xmlns:a16="http://schemas.microsoft.com/office/drawing/2014/main" id="{C1A77EA7-C8C0-7F5B-B3E5-990873E0EDB6}"/>
                </a:ext>
              </a:extLst>
            </p:cNvPr>
            <p:cNvSpPr/>
            <p:nvPr/>
          </p:nvSpPr>
          <p:spPr>
            <a:xfrm>
              <a:off x="6143795" y="313094"/>
              <a:ext cx="289101" cy="313764"/>
            </a:xfrm>
            <a:custGeom>
              <a:avLst/>
              <a:gdLst>
                <a:gd name="connsiteX0" fmla="*/ 0 w 1150048"/>
                <a:gd name="connsiteY0" fmla="*/ 0 h 1248155"/>
                <a:gd name="connsiteX1" fmla="*/ 486728 w 1150048"/>
                <a:gd name="connsiteY1" fmla="*/ 0 h 1248155"/>
                <a:gd name="connsiteX2" fmla="*/ 755047 w 1150048"/>
                <a:gd name="connsiteY2" fmla="*/ 47244 h 1248155"/>
                <a:gd name="connsiteX3" fmla="*/ 965454 w 1150048"/>
                <a:gd name="connsiteY3" fmla="*/ 178308 h 1248155"/>
                <a:gd name="connsiteX4" fmla="*/ 1101852 w 1150048"/>
                <a:gd name="connsiteY4" fmla="*/ 375380 h 1248155"/>
                <a:gd name="connsiteX5" fmla="*/ 1150049 w 1150048"/>
                <a:gd name="connsiteY5" fmla="*/ 620554 h 1248155"/>
                <a:gd name="connsiteX6" fmla="*/ 1150049 w 1150048"/>
                <a:gd name="connsiteY6" fmla="*/ 624173 h 1248155"/>
                <a:gd name="connsiteX7" fmla="*/ 1101852 w 1150048"/>
                <a:gd name="connsiteY7" fmla="*/ 870204 h 1248155"/>
                <a:gd name="connsiteX8" fmla="*/ 965454 w 1150048"/>
                <a:gd name="connsiteY8" fmla="*/ 1068134 h 1248155"/>
                <a:gd name="connsiteX9" fmla="*/ 755047 w 1150048"/>
                <a:gd name="connsiteY9" fmla="*/ 1200055 h 1248155"/>
                <a:gd name="connsiteX10" fmla="*/ 486728 w 1150048"/>
                <a:gd name="connsiteY10" fmla="*/ 1248156 h 1248155"/>
                <a:gd name="connsiteX11" fmla="*/ 0 w 1150048"/>
                <a:gd name="connsiteY11" fmla="*/ 1248156 h 1248155"/>
                <a:gd name="connsiteX12" fmla="*/ 0 w 1150048"/>
                <a:gd name="connsiteY12" fmla="*/ 0 h 1248155"/>
                <a:gd name="connsiteX13" fmla="*/ 486728 w 1150048"/>
                <a:gd name="connsiteY13" fmla="*/ 1000315 h 1248155"/>
                <a:gd name="connsiteX14" fmla="*/ 640080 w 1150048"/>
                <a:gd name="connsiteY14" fmla="*/ 973550 h 1248155"/>
                <a:gd name="connsiteX15" fmla="*/ 758667 w 1150048"/>
                <a:gd name="connsiteY15" fmla="*/ 896874 h 1248155"/>
                <a:gd name="connsiteX16" fmla="*/ 835343 w 1150048"/>
                <a:gd name="connsiteY16" fmla="*/ 779240 h 1248155"/>
                <a:gd name="connsiteX17" fmla="*/ 862965 w 1150048"/>
                <a:gd name="connsiteY17" fmla="*/ 627698 h 1248155"/>
                <a:gd name="connsiteX18" fmla="*/ 862965 w 1150048"/>
                <a:gd name="connsiteY18" fmla="*/ 624078 h 1248155"/>
                <a:gd name="connsiteX19" fmla="*/ 835343 w 1150048"/>
                <a:gd name="connsiteY19" fmla="*/ 472535 h 1248155"/>
                <a:gd name="connsiteX20" fmla="*/ 758667 w 1150048"/>
                <a:gd name="connsiteY20" fmla="*/ 353092 h 1248155"/>
                <a:gd name="connsiteX21" fmla="*/ 640080 w 1150048"/>
                <a:gd name="connsiteY21" fmla="*/ 275558 h 1248155"/>
                <a:gd name="connsiteX22" fmla="*/ 486728 w 1150048"/>
                <a:gd name="connsiteY22" fmla="*/ 247936 h 1248155"/>
                <a:gd name="connsiteX23" fmla="*/ 274511 w 1150048"/>
                <a:gd name="connsiteY23" fmla="*/ 247936 h 1248155"/>
                <a:gd name="connsiteX24" fmla="*/ 274511 w 1150048"/>
                <a:gd name="connsiteY24" fmla="*/ 1000411 h 1248155"/>
                <a:gd name="connsiteX25" fmla="*/ 486728 w 1150048"/>
                <a:gd name="connsiteY25" fmla="*/ 1000411 h 124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50048" h="1248155">
                  <a:moveTo>
                    <a:pt x="0" y="0"/>
                  </a:moveTo>
                  <a:lnTo>
                    <a:pt x="486728" y="0"/>
                  </a:lnTo>
                  <a:cubicBezTo>
                    <a:pt x="584168" y="0"/>
                    <a:pt x="673608" y="15811"/>
                    <a:pt x="755047" y="47244"/>
                  </a:cubicBezTo>
                  <a:cubicBezTo>
                    <a:pt x="836486" y="78772"/>
                    <a:pt x="906590" y="122396"/>
                    <a:pt x="965454" y="178308"/>
                  </a:cubicBezTo>
                  <a:cubicBezTo>
                    <a:pt x="1024319" y="234220"/>
                    <a:pt x="1069753" y="299847"/>
                    <a:pt x="1101852" y="375380"/>
                  </a:cubicBezTo>
                  <a:cubicBezTo>
                    <a:pt x="1133951" y="450914"/>
                    <a:pt x="1150049" y="532543"/>
                    <a:pt x="1150049" y="620554"/>
                  </a:cubicBezTo>
                  <a:lnTo>
                    <a:pt x="1150049" y="624173"/>
                  </a:lnTo>
                  <a:cubicBezTo>
                    <a:pt x="1150049" y="712184"/>
                    <a:pt x="1133951" y="794195"/>
                    <a:pt x="1101852" y="870204"/>
                  </a:cubicBezTo>
                  <a:cubicBezTo>
                    <a:pt x="1069753" y="946309"/>
                    <a:pt x="1024319" y="1012222"/>
                    <a:pt x="965454" y="1068134"/>
                  </a:cubicBezTo>
                  <a:cubicBezTo>
                    <a:pt x="906590" y="1124045"/>
                    <a:pt x="836486" y="1167956"/>
                    <a:pt x="755047" y="1200055"/>
                  </a:cubicBezTo>
                  <a:cubicBezTo>
                    <a:pt x="673608" y="1232154"/>
                    <a:pt x="584168" y="1248156"/>
                    <a:pt x="486728" y="1248156"/>
                  </a:cubicBezTo>
                  <a:lnTo>
                    <a:pt x="0" y="1248156"/>
                  </a:lnTo>
                  <a:lnTo>
                    <a:pt x="0" y="0"/>
                  </a:lnTo>
                  <a:close/>
                  <a:moveTo>
                    <a:pt x="486728" y="1000315"/>
                  </a:moveTo>
                  <a:cubicBezTo>
                    <a:pt x="542639" y="1000315"/>
                    <a:pt x="593693" y="991457"/>
                    <a:pt x="640080" y="973550"/>
                  </a:cubicBezTo>
                  <a:cubicBezTo>
                    <a:pt x="686467" y="955739"/>
                    <a:pt x="725900" y="930211"/>
                    <a:pt x="758667" y="896874"/>
                  </a:cubicBezTo>
                  <a:cubicBezTo>
                    <a:pt x="791337" y="863632"/>
                    <a:pt x="816864" y="824389"/>
                    <a:pt x="835343" y="779240"/>
                  </a:cubicBezTo>
                  <a:cubicBezTo>
                    <a:pt x="853726" y="734092"/>
                    <a:pt x="862965" y="683609"/>
                    <a:pt x="862965" y="627698"/>
                  </a:cubicBezTo>
                  <a:lnTo>
                    <a:pt x="862965" y="624078"/>
                  </a:lnTo>
                  <a:cubicBezTo>
                    <a:pt x="862965" y="569404"/>
                    <a:pt x="853726" y="518827"/>
                    <a:pt x="835343" y="472535"/>
                  </a:cubicBezTo>
                  <a:cubicBezTo>
                    <a:pt x="816864" y="426149"/>
                    <a:pt x="791337" y="386334"/>
                    <a:pt x="758667" y="353092"/>
                  </a:cubicBezTo>
                  <a:cubicBezTo>
                    <a:pt x="725996" y="319849"/>
                    <a:pt x="686467" y="293941"/>
                    <a:pt x="640080" y="275558"/>
                  </a:cubicBezTo>
                  <a:cubicBezTo>
                    <a:pt x="593693" y="257175"/>
                    <a:pt x="542639" y="247936"/>
                    <a:pt x="486728" y="247936"/>
                  </a:cubicBezTo>
                  <a:lnTo>
                    <a:pt x="274511" y="247936"/>
                  </a:lnTo>
                  <a:lnTo>
                    <a:pt x="274511" y="1000411"/>
                  </a:lnTo>
                  <a:lnTo>
                    <a:pt x="486728" y="1000411"/>
                  </a:lnTo>
                  <a:close/>
                </a:path>
              </a:pathLst>
            </a:custGeom>
            <a:solidFill>
              <a:srgbClr val="44505E"/>
            </a:solidFill>
            <a:ln w="9525" cap="flat">
              <a:noFill/>
              <a:prstDash val="solid"/>
              <a:miter/>
            </a:ln>
          </p:spPr>
          <p:txBody>
            <a:bodyPr rtlCol="0" anchor="ctr"/>
            <a:lstStyle/>
            <a:p>
              <a:endParaRPr lang="pt-BR" noProof="0"/>
            </a:p>
          </p:txBody>
        </p:sp>
        <p:sp>
          <p:nvSpPr>
            <p:cNvPr id="20" name="Freeform: Shape 19">
              <a:extLst>
                <a:ext uri="{FF2B5EF4-FFF2-40B4-BE49-F238E27FC236}">
                  <a16:creationId xmlns:a16="http://schemas.microsoft.com/office/drawing/2014/main" id="{F9835415-F294-506A-09C6-7B94EE147430}"/>
                </a:ext>
              </a:extLst>
            </p:cNvPr>
            <p:cNvSpPr/>
            <p:nvPr/>
          </p:nvSpPr>
          <p:spPr>
            <a:xfrm>
              <a:off x="6460217" y="313094"/>
              <a:ext cx="238459" cy="313788"/>
            </a:xfrm>
            <a:custGeom>
              <a:avLst/>
              <a:gdLst>
                <a:gd name="connsiteX0" fmla="*/ 95 w 948594"/>
                <a:gd name="connsiteY0" fmla="*/ 0 h 1248251"/>
                <a:gd name="connsiteX1" fmla="*/ 939737 w 948594"/>
                <a:gd name="connsiteY1" fmla="*/ 0 h 1248251"/>
                <a:gd name="connsiteX2" fmla="*/ 939737 w 948594"/>
                <a:gd name="connsiteY2" fmla="*/ 244316 h 1248251"/>
                <a:gd name="connsiteX3" fmla="*/ 271081 w 948594"/>
                <a:gd name="connsiteY3" fmla="*/ 244316 h 1248251"/>
                <a:gd name="connsiteX4" fmla="*/ 271081 w 948594"/>
                <a:gd name="connsiteY4" fmla="*/ 497491 h 1248251"/>
                <a:gd name="connsiteX5" fmla="*/ 859441 w 948594"/>
                <a:gd name="connsiteY5" fmla="*/ 497491 h 1248251"/>
                <a:gd name="connsiteX6" fmla="*/ 859441 w 948594"/>
                <a:gd name="connsiteY6" fmla="*/ 741807 h 1248251"/>
                <a:gd name="connsiteX7" fmla="*/ 271081 w 948594"/>
                <a:gd name="connsiteY7" fmla="*/ 741807 h 1248251"/>
                <a:gd name="connsiteX8" fmla="*/ 271081 w 948594"/>
                <a:gd name="connsiteY8" fmla="*/ 1003935 h 1248251"/>
                <a:gd name="connsiteX9" fmla="*/ 948595 w 948594"/>
                <a:gd name="connsiteY9" fmla="*/ 1003935 h 1248251"/>
                <a:gd name="connsiteX10" fmla="*/ 948595 w 948594"/>
                <a:gd name="connsiteY10" fmla="*/ 1248251 h 1248251"/>
                <a:gd name="connsiteX11" fmla="*/ 0 w 948594"/>
                <a:gd name="connsiteY11" fmla="*/ 1248251 h 1248251"/>
                <a:gd name="connsiteX12" fmla="*/ 0 w 948594"/>
                <a:gd name="connsiteY12" fmla="*/ 0 h 124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594" h="1248251">
                  <a:moveTo>
                    <a:pt x="95" y="0"/>
                  </a:moveTo>
                  <a:lnTo>
                    <a:pt x="939737" y="0"/>
                  </a:lnTo>
                  <a:lnTo>
                    <a:pt x="939737" y="244316"/>
                  </a:lnTo>
                  <a:lnTo>
                    <a:pt x="271081" y="244316"/>
                  </a:lnTo>
                  <a:lnTo>
                    <a:pt x="271081" y="497491"/>
                  </a:lnTo>
                  <a:lnTo>
                    <a:pt x="859441" y="497491"/>
                  </a:lnTo>
                  <a:lnTo>
                    <a:pt x="859441" y="741807"/>
                  </a:lnTo>
                  <a:lnTo>
                    <a:pt x="271081" y="741807"/>
                  </a:lnTo>
                  <a:lnTo>
                    <a:pt x="271081" y="1003935"/>
                  </a:lnTo>
                  <a:lnTo>
                    <a:pt x="948595" y="1003935"/>
                  </a:lnTo>
                  <a:lnTo>
                    <a:pt x="948595" y="1248251"/>
                  </a:lnTo>
                  <a:lnTo>
                    <a:pt x="0" y="1248251"/>
                  </a:lnTo>
                  <a:lnTo>
                    <a:pt x="0" y="0"/>
                  </a:lnTo>
                  <a:close/>
                </a:path>
              </a:pathLst>
            </a:custGeom>
            <a:solidFill>
              <a:srgbClr val="44505E"/>
            </a:solidFill>
            <a:ln w="9525" cap="flat">
              <a:noFill/>
              <a:prstDash val="solid"/>
              <a:miter/>
            </a:ln>
          </p:spPr>
          <p:txBody>
            <a:bodyPr rtlCol="0" anchor="ctr"/>
            <a:lstStyle/>
            <a:p>
              <a:endParaRPr lang="pt-BR" noProof="0"/>
            </a:p>
          </p:txBody>
        </p:sp>
        <p:sp>
          <p:nvSpPr>
            <p:cNvPr id="21" name="Freeform: Shape 20">
              <a:extLst>
                <a:ext uri="{FF2B5EF4-FFF2-40B4-BE49-F238E27FC236}">
                  <a16:creationId xmlns:a16="http://schemas.microsoft.com/office/drawing/2014/main" id="{1BBC0FA3-129C-441F-C5E9-D4ED2BFE1BF1}"/>
                </a:ext>
              </a:extLst>
            </p:cNvPr>
            <p:cNvSpPr/>
            <p:nvPr/>
          </p:nvSpPr>
          <p:spPr>
            <a:xfrm>
              <a:off x="5253193" y="699983"/>
              <a:ext cx="90796" cy="97883"/>
            </a:xfrm>
            <a:custGeom>
              <a:avLst/>
              <a:gdLst>
                <a:gd name="connsiteX0" fmla="*/ 191548 w 361187"/>
                <a:gd name="connsiteY0" fmla="*/ 389382 h 389381"/>
                <a:gd name="connsiteX1" fmla="*/ 116300 w 361187"/>
                <a:gd name="connsiteY1" fmla="*/ 375285 h 389381"/>
                <a:gd name="connsiteX2" fmla="*/ 55531 w 361187"/>
                <a:gd name="connsiteY2" fmla="*/ 335756 h 389381"/>
                <a:gd name="connsiteX3" fmla="*/ 14859 w 361187"/>
                <a:gd name="connsiteY3" fmla="*/ 274606 h 389381"/>
                <a:gd name="connsiteX4" fmla="*/ 0 w 361187"/>
                <a:gd name="connsiteY4" fmla="*/ 195834 h 389381"/>
                <a:gd name="connsiteX5" fmla="*/ 0 w 361187"/>
                <a:gd name="connsiteY5" fmla="*/ 194405 h 389381"/>
                <a:gd name="connsiteX6" fmla="*/ 13430 w 361187"/>
                <a:gd name="connsiteY6" fmla="*/ 118777 h 389381"/>
                <a:gd name="connsiteX7" fmla="*/ 51245 w 361187"/>
                <a:gd name="connsiteY7" fmla="*/ 56959 h 389381"/>
                <a:gd name="connsiteX8" fmla="*/ 108871 w 361187"/>
                <a:gd name="connsiteY8" fmla="*/ 15240 h 389381"/>
                <a:gd name="connsiteX9" fmla="*/ 182404 w 361187"/>
                <a:gd name="connsiteY9" fmla="*/ 0 h 389381"/>
                <a:gd name="connsiteX10" fmla="*/ 260509 w 361187"/>
                <a:gd name="connsiteY10" fmla="*/ 16288 h 389381"/>
                <a:gd name="connsiteX11" fmla="*/ 316325 w 361187"/>
                <a:gd name="connsiteY11" fmla="*/ 60103 h 389381"/>
                <a:gd name="connsiteX12" fmla="*/ 349853 w 361187"/>
                <a:gd name="connsiteY12" fmla="*/ 124015 h 389381"/>
                <a:gd name="connsiteX13" fmla="*/ 361188 w 361187"/>
                <a:gd name="connsiteY13" fmla="*/ 200692 h 389381"/>
                <a:gd name="connsiteX14" fmla="*/ 360807 w 361187"/>
                <a:gd name="connsiteY14" fmla="*/ 212312 h 389381"/>
                <a:gd name="connsiteX15" fmla="*/ 359759 w 361187"/>
                <a:gd name="connsiteY15" fmla="*/ 224695 h 389381"/>
                <a:gd name="connsiteX16" fmla="*/ 85534 w 361187"/>
                <a:gd name="connsiteY16" fmla="*/ 224695 h 389381"/>
                <a:gd name="connsiteX17" fmla="*/ 121920 w 361187"/>
                <a:gd name="connsiteY17" fmla="*/ 294989 h 389381"/>
                <a:gd name="connsiteX18" fmla="*/ 192977 w 361187"/>
                <a:gd name="connsiteY18" fmla="*/ 319373 h 389381"/>
                <a:gd name="connsiteX19" fmla="*/ 248126 w 361187"/>
                <a:gd name="connsiteY19" fmla="*/ 308038 h 389381"/>
                <a:gd name="connsiteX20" fmla="*/ 294037 w 361187"/>
                <a:gd name="connsiteY20" fmla="*/ 274796 h 389381"/>
                <a:gd name="connsiteX21" fmla="*/ 344234 w 361187"/>
                <a:gd name="connsiteY21" fmla="*/ 319278 h 389381"/>
                <a:gd name="connsiteX22" fmla="*/ 280226 w 361187"/>
                <a:gd name="connsiteY22" fmla="*/ 370141 h 389381"/>
                <a:gd name="connsiteX23" fmla="*/ 191548 w 361187"/>
                <a:gd name="connsiteY23" fmla="*/ 389191 h 389381"/>
                <a:gd name="connsiteX24" fmla="*/ 276320 w 361187"/>
                <a:gd name="connsiteY24" fmla="*/ 168211 h 389381"/>
                <a:gd name="connsiteX25" fmla="*/ 267176 w 361187"/>
                <a:gd name="connsiteY25" fmla="*/ 129730 h 389381"/>
                <a:gd name="connsiteX26" fmla="*/ 248126 w 361187"/>
                <a:gd name="connsiteY26" fmla="*/ 98679 h 389381"/>
                <a:gd name="connsiteX27" fmla="*/ 219551 w 361187"/>
                <a:gd name="connsiteY27" fmla="*/ 77819 h 389381"/>
                <a:gd name="connsiteX28" fmla="*/ 181737 w 361187"/>
                <a:gd name="connsiteY28" fmla="*/ 70009 h 389381"/>
                <a:gd name="connsiteX29" fmla="*/ 116396 w 361187"/>
                <a:gd name="connsiteY29" fmla="*/ 97250 h 389381"/>
                <a:gd name="connsiteX30" fmla="*/ 84963 w 361187"/>
                <a:gd name="connsiteY30" fmla="*/ 168307 h 389381"/>
                <a:gd name="connsiteX31" fmla="*/ 276511 w 361187"/>
                <a:gd name="connsiteY31" fmla="*/ 168307 h 38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187" h="389381">
                  <a:moveTo>
                    <a:pt x="191548" y="389382"/>
                  </a:moveTo>
                  <a:cubicBezTo>
                    <a:pt x="164687" y="389382"/>
                    <a:pt x="139637" y="384715"/>
                    <a:pt x="116300" y="375285"/>
                  </a:cubicBezTo>
                  <a:cubicBezTo>
                    <a:pt x="92964" y="365855"/>
                    <a:pt x="72771" y="352711"/>
                    <a:pt x="55531" y="335756"/>
                  </a:cubicBezTo>
                  <a:cubicBezTo>
                    <a:pt x="38291" y="318802"/>
                    <a:pt x="24765" y="298418"/>
                    <a:pt x="14859" y="274606"/>
                  </a:cubicBezTo>
                  <a:cubicBezTo>
                    <a:pt x="4953" y="250793"/>
                    <a:pt x="0" y="224599"/>
                    <a:pt x="0" y="195834"/>
                  </a:cubicBezTo>
                  <a:lnTo>
                    <a:pt x="0" y="194405"/>
                  </a:lnTo>
                  <a:cubicBezTo>
                    <a:pt x="0" y="167545"/>
                    <a:pt x="4477" y="142399"/>
                    <a:pt x="13430" y="118777"/>
                  </a:cubicBezTo>
                  <a:cubicBezTo>
                    <a:pt x="22384" y="95250"/>
                    <a:pt x="34957" y="74581"/>
                    <a:pt x="51245" y="56959"/>
                  </a:cubicBezTo>
                  <a:cubicBezTo>
                    <a:pt x="67532" y="39338"/>
                    <a:pt x="86677" y="25432"/>
                    <a:pt x="108871" y="15240"/>
                  </a:cubicBezTo>
                  <a:cubicBezTo>
                    <a:pt x="131064" y="5143"/>
                    <a:pt x="155543" y="0"/>
                    <a:pt x="182404" y="0"/>
                  </a:cubicBezTo>
                  <a:cubicBezTo>
                    <a:pt x="212122" y="0"/>
                    <a:pt x="238125" y="5429"/>
                    <a:pt x="260509" y="16288"/>
                  </a:cubicBezTo>
                  <a:cubicBezTo>
                    <a:pt x="282893" y="27146"/>
                    <a:pt x="301466" y="41719"/>
                    <a:pt x="316325" y="60103"/>
                  </a:cubicBezTo>
                  <a:cubicBezTo>
                    <a:pt x="331184" y="78486"/>
                    <a:pt x="342329" y="99822"/>
                    <a:pt x="349853" y="124015"/>
                  </a:cubicBezTo>
                  <a:cubicBezTo>
                    <a:pt x="357378" y="148304"/>
                    <a:pt x="361188" y="173831"/>
                    <a:pt x="361188" y="200692"/>
                  </a:cubicBezTo>
                  <a:cubicBezTo>
                    <a:pt x="361188" y="204502"/>
                    <a:pt x="361093" y="208312"/>
                    <a:pt x="360807" y="212312"/>
                  </a:cubicBezTo>
                  <a:cubicBezTo>
                    <a:pt x="360521" y="216313"/>
                    <a:pt x="360236" y="220409"/>
                    <a:pt x="359759" y="224695"/>
                  </a:cubicBezTo>
                  <a:lnTo>
                    <a:pt x="85534" y="224695"/>
                  </a:lnTo>
                  <a:cubicBezTo>
                    <a:pt x="90202" y="255365"/>
                    <a:pt x="102394" y="278797"/>
                    <a:pt x="121920" y="294989"/>
                  </a:cubicBezTo>
                  <a:cubicBezTo>
                    <a:pt x="141446" y="311277"/>
                    <a:pt x="165164" y="319373"/>
                    <a:pt x="192977" y="319373"/>
                  </a:cubicBezTo>
                  <a:cubicBezTo>
                    <a:pt x="214217" y="319373"/>
                    <a:pt x="232505" y="315563"/>
                    <a:pt x="248126" y="308038"/>
                  </a:cubicBezTo>
                  <a:cubicBezTo>
                    <a:pt x="263652" y="300514"/>
                    <a:pt x="278987" y="289465"/>
                    <a:pt x="294037" y="274796"/>
                  </a:cubicBezTo>
                  <a:lnTo>
                    <a:pt x="344234" y="319278"/>
                  </a:lnTo>
                  <a:cubicBezTo>
                    <a:pt x="326327" y="340519"/>
                    <a:pt x="304991" y="357473"/>
                    <a:pt x="280226" y="370141"/>
                  </a:cubicBezTo>
                  <a:cubicBezTo>
                    <a:pt x="255461" y="382810"/>
                    <a:pt x="225933" y="389191"/>
                    <a:pt x="191548" y="389191"/>
                  </a:cubicBezTo>
                  <a:close/>
                  <a:moveTo>
                    <a:pt x="276320" y="168211"/>
                  </a:moveTo>
                  <a:cubicBezTo>
                    <a:pt x="274892" y="154591"/>
                    <a:pt x="271844" y="141732"/>
                    <a:pt x="267176" y="129730"/>
                  </a:cubicBezTo>
                  <a:cubicBezTo>
                    <a:pt x="262414" y="117729"/>
                    <a:pt x="256127" y="107347"/>
                    <a:pt x="248126" y="98679"/>
                  </a:cubicBezTo>
                  <a:cubicBezTo>
                    <a:pt x="240125" y="89916"/>
                    <a:pt x="230600" y="82963"/>
                    <a:pt x="219551" y="77819"/>
                  </a:cubicBezTo>
                  <a:cubicBezTo>
                    <a:pt x="208502" y="72676"/>
                    <a:pt x="195834" y="70009"/>
                    <a:pt x="181737" y="70009"/>
                  </a:cubicBezTo>
                  <a:cubicBezTo>
                    <a:pt x="155353" y="70009"/>
                    <a:pt x="133541" y="79057"/>
                    <a:pt x="116396" y="97250"/>
                  </a:cubicBezTo>
                  <a:cubicBezTo>
                    <a:pt x="99155" y="115348"/>
                    <a:pt x="88678" y="139065"/>
                    <a:pt x="84963" y="168307"/>
                  </a:cubicBezTo>
                  <a:lnTo>
                    <a:pt x="276511" y="168307"/>
                  </a:lnTo>
                  <a:close/>
                </a:path>
              </a:pathLst>
            </a:custGeom>
            <a:solidFill>
              <a:srgbClr val="44505E"/>
            </a:solidFill>
            <a:ln w="9525" cap="flat">
              <a:noFill/>
              <a:prstDash val="solid"/>
              <a:miter/>
            </a:ln>
          </p:spPr>
          <p:txBody>
            <a:bodyPr rtlCol="0" anchor="ctr"/>
            <a:lstStyle/>
            <a:p>
              <a:endParaRPr lang="pt-BR" noProof="0"/>
            </a:p>
          </p:txBody>
        </p:sp>
        <p:sp>
          <p:nvSpPr>
            <p:cNvPr id="22" name="Freeform: Shape 21">
              <a:extLst>
                <a:ext uri="{FF2B5EF4-FFF2-40B4-BE49-F238E27FC236}">
                  <a16:creationId xmlns:a16="http://schemas.microsoft.com/office/drawing/2014/main" id="{E32CCF6C-7028-DFA7-6244-24F1C3106155}"/>
                </a:ext>
              </a:extLst>
            </p:cNvPr>
            <p:cNvSpPr/>
            <p:nvPr/>
          </p:nvSpPr>
          <p:spPr>
            <a:xfrm>
              <a:off x="5365659"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5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8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3 w 568166"/>
                <a:gd name="connsiteY21" fmla="*/ 381000 h 381000"/>
                <a:gd name="connsiteX22" fmla="*/ 240983 w 568166"/>
                <a:gd name="connsiteY22" fmla="*/ 168783 h 381000"/>
                <a:gd name="connsiteX23" fmla="*/ 221266 w 568166"/>
                <a:gd name="connsiteY23" fmla="*/ 101822 h 381000"/>
                <a:gd name="connsiteX24" fmla="*/ 165640 w 568166"/>
                <a:gd name="connsiteY24" fmla="*/ 78581 h 381000"/>
                <a:gd name="connsiteX25" fmla="*/ 108014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70" y="48196"/>
                    <a:pt x="105918" y="40576"/>
                  </a:cubicBezTo>
                  <a:cubicBezTo>
                    <a:pt x="112967" y="32956"/>
                    <a:pt x="121063" y="26099"/>
                    <a:pt x="130207" y="19907"/>
                  </a:cubicBezTo>
                  <a:cubicBezTo>
                    <a:pt x="139351" y="13716"/>
                    <a:pt x="149733" y="8858"/>
                    <a:pt x="161163" y="5334"/>
                  </a:cubicBezTo>
                  <a:cubicBezTo>
                    <a:pt x="172688" y="1714"/>
                    <a:pt x="185452" y="0"/>
                    <a:pt x="199549" y="0"/>
                  </a:cubicBezTo>
                  <a:cubicBezTo>
                    <a:pt x="226314" y="0"/>
                    <a:pt x="248984" y="6096"/>
                    <a:pt x="267557" y="18193"/>
                  </a:cubicBezTo>
                  <a:cubicBezTo>
                    <a:pt x="286131" y="30289"/>
                    <a:pt x="300323" y="46387"/>
                    <a:pt x="310134" y="66294"/>
                  </a:cubicBezTo>
                  <a:cubicBezTo>
                    <a:pt x="325279" y="46387"/>
                    <a:pt x="343091" y="30289"/>
                    <a:pt x="363665" y="18193"/>
                  </a:cubicBezTo>
                  <a:cubicBezTo>
                    <a:pt x="384239" y="6096"/>
                    <a:pt x="408718" y="0"/>
                    <a:pt x="437007" y="0"/>
                  </a:cubicBezTo>
                  <a:cubicBezTo>
                    <a:pt x="478060"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8" y="78486"/>
                  </a:cubicBezTo>
                  <a:cubicBezTo>
                    <a:pt x="382810" y="78486"/>
                    <a:pt x="364141" y="86392"/>
                    <a:pt x="349377" y="102108"/>
                  </a:cubicBezTo>
                  <a:cubicBezTo>
                    <a:pt x="334613" y="117824"/>
                    <a:pt x="327184" y="140779"/>
                    <a:pt x="327184" y="170879"/>
                  </a:cubicBezTo>
                  <a:lnTo>
                    <a:pt x="327184" y="381000"/>
                  </a:lnTo>
                  <a:lnTo>
                    <a:pt x="240983" y="381000"/>
                  </a:lnTo>
                  <a:lnTo>
                    <a:pt x="240983" y="168783"/>
                  </a:lnTo>
                  <a:cubicBezTo>
                    <a:pt x="240983" y="139637"/>
                    <a:pt x="234410" y="117348"/>
                    <a:pt x="221266" y="101822"/>
                  </a:cubicBezTo>
                  <a:cubicBezTo>
                    <a:pt x="208121" y="86296"/>
                    <a:pt x="189643" y="78581"/>
                    <a:pt x="165640" y="78581"/>
                  </a:cubicBezTo>
                  <a:cubicBezTo>
                    <a:pt x="141637" y="78581"/>
                    <a:pt x="122492" y="86773"/>
                    <a:pt x="108014"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23" name="Freeform: Shape 22">
              <a:extLst>
                <a:ext uri="{FF2B5EF4-FFF2-40B4-BE49-F238E27FC236}">
                  <a16:creationId xmlns:a16="http://schemas.microsoft.com/office/drawing/2014/main" id="{52FCF116-107C-0558-5A5F-1E3A6FF4D153}"/>
                </a:ext>
              </a:extLst>
            </p:cNvPr>
            <p:cNvSpPr/>
            <p:nvPr/>
          </p:nvSpPr>
          <p:spPr>
            <a:xfrm>
              <a:off x="5587693" y="700007"/>
              <a:ext cx="84211" cy="95752"/>
            </a:xfrm>
            <a:custGeom>
              <a:avLst/>
              <a:gdLst>
                <a:gd name="connsiteX0" fmla="*/ 95 w 334994"/>
                <a:gd name="connsiteY0" fmla="*/ 7715 h 380904"/>
                <a:gd name="connsiteX1" fmla="*/ 86296 w 334994"/>
                <a:gd name="connsiteY1" fmla="*/ 7715 h 380904"/>
                <a:gd name="connsiteX2" fmla="*/ 86296 w 334994"/>
                <a:gd name="connsiteY2" fmla="*/ 66294 h 380904"/>
                <a:gd name="connsiteX3" fmla="*/ 106394 w 334994"/>
                <a:gd name="connsiteY3" fmla="*/ 40958 h 380904"/>
                <a:gd name="connsiteX4" fmla="*/ 131731 w 334994"/>
                <a:gd name="connsiteY4" fmla="*/ 19907 h 380904"/>
                <a:gd name="connsiteX5" fmla="*/ 163449 w 334994"/>
                <a:gd name="connsiteY5" fmla="*/ 5334 h 380904"/>
                <a:gd name="connsiteX6" fmla="*/ 202597 w 334994"/>
                <a:gd name="connsiteY6" fmla="*/ 0 h 380904"/>
                <a:gd name="connsiteX7" fmla="*/ 300514 w 334994"/>
                <a:gd name="connsiteY7" fmla="*/ 38862 h 380904"/>
                <a:gd name="connsiteX8" fmla="*/ 334994 w 334994"/>
                <a:gd name="connsiteY8" fmla="*/ 143446 h 380904"/>
                <a:gd name="connsiteX9" fmla="*/ 334994 w 334994"/>
                <a:gd name="connsiteY9" fmla="*/ 380905 h 380904"/>
                <a:gd name="connsiteX10" fmla="*/ 248793 w 334994"/>
                <a:gd name="connsiteY10" fmla="*/ 380905 h 380904"/>
                <a:gd name="connsiteX11" fmla="*/ 248793 w 334994"/>
                <a:gd name="connsiteY11" fmla="*/ 169450 h 380904"/>
                <a:gd name="connsiteX12" fmla="*/ 228124 w 334994"/>
                <a:gd name="connsiteY12" fmla="*/ 102108 h 380904"/>
                <a:gd name="connsiteX13" fmla="*/ 169640 w 334994"/>
                <a:gd name="connsiteY13" fmla="*/ 78486 h 380904"/>
                <a:gd name="connsiteX14" fmla="*/ 109347 w 334994"/>
                <a:gd name="connsiteY14" fmla="*/ 102775 h 380904"/>
                <a:gd name="connsiteX15" fmla="*/ 86201 w 334994"/>
                <a:gd name="connsiteY15" fmla="*/ 170783 h 380904"/>
                <a:gd name="connsiteX16" fmla="*/ 86201 w 334994"/>
                <a:gd name="connsiteY16" fmla="*/ 380905 h 380904"/>
                <a:gd name="connsiteX17" fmla="*/ 0 w 334994"/>
                <a:gd name="connsiteY17" fmla="*/ 380905 h 380904"/>
                <a:gd name="connsiteX18" fmla="*/ 0 w 334994"/>
                <a:gd name="connsiteY18" fmla="*/ 7810 h 38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94" h="380904">
                  <a:moveTo>
                    <a:pt x="95" y="7715"/>
                  </a:moveTo>
                  <a:lnTo>
                    <a:pt x="86296" y="7715"/>
                  </a:lnTo>
                  <a:lnTo>
                    <a:pt x="86296" y="66294"/>
                  </a:lnTo>
                  <a:cubicBezTo>
                    <a:pt x="92392" y="57245"/>
                    <a:pt x="99060" y="48863"/>
                    <a:pt x="106394" y="40958"/>
                  </a:cubicBezTo>
                  <a:cubicBezTo>
                    <a:pt x="113633" y="33147"/>
                    <a:pt x="122110" y="26099"/>
                    <a:pt x="131731" y="19907"/>
                  </a:cubicBezTo>
                  <a:cubicBezTo>
                    <a:pt x="141351" y="13716"/>
                    <a:pt x="151924" y="8858"/>
                    <a:pt x="163449" y="5334"/>
                  </a:cubicBezTo>
                  <a:cubicBezTo>
                    <a:pt x="174974" y="1714"/>
                    <a:pt x="188024" y="0"/>
                    <a:pt x="202597" y="0"/>
                  </a:cubicBezTo>
                  <a:cubicBezTo>
                    <a:pt x="244888" y="0"/>
                    <a:pt x="277559" y="12954"/>
                    <a:pt x="300514" y="38862"/>
                  </a:cubicBezTo>
                  <a:cubicBezTo>
                    <a:pt x="323564" y="64770"/>
                    <a:pt x="334994" y="99631"/>
                    <a:pt x="334994" y="143446"/>
                  </a:cubicBezTo>
                  <a:lnTo>
                    <a:pt x="334994" y="380905"/>
                  </a:lnTo>
                  <a:lnTo>
                    <a:pt x="248793" y="380905"/>
                  </a:lnTo>
                  <a:lnTo>
                    <a:pt x="248793" y="169450"/>
                  </a:lnTo>
                  <a:cubicBezTo>
                    <a:pt x="248793" y="140303"/>
                    <a:pt x="241935" y="117824"/>
                    <a:pt x="228124" y="102108"/>
                  </a:cubicBezTo>
                  <a:cubicBezTo>
                    <a:pt x="214313" y="86392"/>
                    <a:pt x="194881" y="78486"/>
                    <a:pt x="169640" y="78486"/>
                  </a:cubicBezTo>
                  <a:cubicBezTo>
                    <a:pt x="144399" y="78486"/>
                    <a:pt x="124777" y="86582"/>
                    <a:pt x="109347" y="102775"/>
                  </a:cubicBezTo>
                  <a:cubicBezTo>
                    <a:pt x="93917" y="118967"/>
                    <a:pt x="86201" y="141637"/>
                    <a:pt x="86201" y="170783"/>
                  </a:cubicBezTo>
                  <a:lnTo>
                    <a:pt x="86201" y="380905"/>
                  </a:lnTo>
                  <a:lnTo>
                    <a:pt x="0" y="380905"/>
                  </a:lnTo>
                  <a:lnTo>
                    <a:pt x="0" y="7810"/>
                  </a:lnTo>
                  <a:close/>
                </a:path>
              </a:pathLst>
            </a:custGeom>
            <a:solidFill>
              <a:srgbClr val="44505E"/>
            </a:solidFill>
            <a:ln w="9525" cap="flat">
              <a:noFill/>
              <a:prstDash val="solid"/>
              <a:miter/>
            </a:ln>
          </p:spPr>
          <p:txBody>
            <a:bodyPr rtlCol="0" anchor="ctr"/>
            <a:lstStyle/>
            <a:p>
              <a:endParaRPr lang="pt-BR" noProof="0"/>
            </a:p>
          </p:txBody>
        </p:sp>
        <p:sp>
          <p:nvSpPr>
            <p:cNvPr id="24" name="Freeform: Shape 23">
              <a:extLst>
                <a:ext uri="{FF2B5EF4-FFF2-40B4-BE49-F238E27FC236}">
                  <a16:creationId xmlns:a16="http://schemas.microsoft.com/office/drawing/2014/main" id="{D9C0F2EF-8E87-635A-F1A0-3BC26087F9F0}"/>
                </a:ext>
              </a:extLst>
            </p:cNvPr>
            <p:cNvSpPr/>
            <p:nvPr/>
          </p:nvSpPr>
          <p:spPr>
            <a:xfrm>
              <a:off x="5692712" y="699959"/>
              <a:ext cx="100015" cy="97908"/>
            </a:xfrm>
            <a:custGeom>
              <a:avLst/>
              <a:gdLst>
                <a:gd name="connsiteX0" fmla="*/ 197834 w 397859"/>
                <a:gd name="connsiteY0" fmla="*/ 389477 h 389477"/>
                <a:gd name="connsiteX1" fmla="*/ 119063 w 397859"/>
                <a:gd name="connsiteY1" fmla="*/ 374237 h 389477"/>
                <a:gd name="connsiteX2" fmla="*/ 56197 w 397859"/>
                <a:gd name="connsiteY2" fmla="*/ 332899 h 389477"/>
                <a:gd name="connsiteX3" fmla="*/ 14859 w 397859"/>
                <a:gd name="connsiteY3" fmla="*/ 271463 h 389477"/>
                <a:gd name="connsiteX4" fmla="*/ 0 w 397859"/>
                <a:gd name="connsiteY4" fmla="*/ 196501 h 389477"/>
                <a:gd name="connsiteX5" fmla="*/ 0 w 397859"/>
                <a:gd name="connsiteY5" fmla="*/ 195072 h 389477"/>
                <a:gd name="connsiteX6" fmla="*/ 15145 w 397859"/>
                <a:gd name="connsiteY6" fmla="*/ 119444 h 389477"/>
                <a:gd name="connsiteX7" fmla="*/ 56864 w 397859"/>
                <a:gd name="connsiteY7" fmla="*/ 57626 h 389477"/>
                <a:gd name="connsiteX8" fmla="*/ 119729 w 397859"/>
                <a:gd name="connsiteY8" fmla="*/ 15526 h 389477"/>
                <a:gd name="connsiteX9" fmla="*/ 199263 w 397859"/>
                <a:gd name="connsiteY9" fmla="*/ 0 h 389477"/>
                <a:gd name="connsiteX10" fmla="*/ 278797 w 397859"/>
                <a:gd name="connsiteY10" fmla="*/ 15240 h 389477"/>
                <a:gd name="connsiteX11" fmla="*/ 341662 w 397859"/>
                <a:gd name="connsiteY11" fmla="*/ 56959 h 389477"/>
                <a:gd name="connsiteX12" fmla="*/ 383000 w 397859"/>
                <a:gd name="connsiteY12" fmla="*/ 118396 h 389477"/>
                <a:gd name="connsiteX13" fmla="*/ 397859 w 397859"/>
                <a:gd name="connsiteY13" fmla="*/ 193643 h 389477"/>
                <a:gd name="connsiteX14" fmla="*/ 397859 w 397859"/>
                <a:gd name="connsiteY14" fmla="*/ 195072 h 389477"/>
                <a:gd name="connsiteX15" fmla="*/ 382619 w 397859"/>
                <a:gd name="connsiteY15" fmla="*/ 270034 h 389477"/>
                <a:gd name="connsiteX16" fmla="*/ 340900 w 397859"/>
                <a:gd name="connsiteY16" fmla="*/ 331851 h 389477"/>
                <a:gd name="connsiteX17" fmla="*/ 277654 w 397859"/>
                <a:gd name="connsiteY17" fmla="*/ 373856 h 389477"/>
                <a:gd name="connsiteX18" fmla="*/ 197834 w 397859"/>
                <a:gd name="connsiteY18" fmla="*/ 389382 h 389477"/>
                <a:gd name="connsiteX19" fmla="*/ 199263 w 397859"/>
                <a:gd name="connsiteY19" fmla="*/ 315278 h 389477"/>
                <a:gd name="connsiteX20" fmla="*/ 245935 w 397859"/>
                <a:gd name="connsiteY20" fmla="*/ 305753 h 389477"/>
                <a:gd name="connsiteX21" fmla="*/ 281368 w 397859"/>
                <a:gd name="connsiteY21" fmla="*/ 279940 h 389477"/>
                <a:gd name="connsiteX22" fmla="*/ 303847 w 397859"/>
                <a:gd name="connsiteY22" fmla="*/ 242125 h 389477"/>
                <a:gd name="connsiteX23" fmla="*/ 311563 w 397859"/>
                <a:gd name="connsiteY23" fmla="*/ 196501 h 389477"/>
                <a:gd name="connsiteX24" fmla="*/ 311563 w 397859"/>
                <a:gd name="connsiteY24" fmla="*/ 195072 h 389477"/>
                <a:gd name="connsiteX25" fmla="*/ 303181 w 397859"/>
                <a:gd name="connsiteY25" fmla="*/ 148400 h 389477"/>
                <a:gd name="connsiteX26" fmla="*/ 279654 w 397859"/>
                <a:gd name="connsiteY26" fmla="*/ 110204 h 389477"/>
                <a:gd name="connsiteX27" fmla="*/ 243840 w 397859"/>
                <a:gd name="connsiteY27" fmla="*/ 84392 h 389477"/>
                <a:gd name="connsiteX28" fmla="*/ 197834 w 397859"/>
                <a:gd name="connsiteY28" fmla="*/ 74867 h 389477"/>
                <a:gd name="connsiteX29" fmla="*/ 151829 w 397859"/>
                <a:gd name="connsiteY29" fmla="*/ 84392 h 389477"/>
                <a:gd name="connsiteX30" fmla="*/ 116396 w 397859"/>
                <a:gd name="connsiteY30" fmla="*/ 109823 h 389477"/>
                <a:gd name="connsiteX31" fmla="*/ 93917 w 397859"/>
                <a:gd name="connsiteY31" fmla="*/ 147638 h 389477"/>
                <a:gd name="connsiteX32" fmla="*/ 86201 w 397859"/>
                <a:gd name="connsiteY32" fmla="*/ 193548 h 389477"/>
                <a:gd name="connsiteX33" fmla="*/ 86201 w 397859"/>
                <a:gd name="connsiteY33" fmla="*/ 194977 h 389477"/>
                <a:gd name="connsiteX34" fmla="*/ 94583 w 397859"/>
                <a:gd name="connsiteY34" fmla="*/ 241268 h 389477"/>
                <a:gd name="connsiteX35" fmla="*/ 118110 w 397859"/>
                <a:gd name="connsiteY35" fmla="*/ 279463 h 389477"/>
                <a:gd name="connsiteX36" fmla="*/ 153924 w 397859"/>
                <a:gd name="connsiteY36" fmla="*/ 305562 h 389477"/>
                <a:gd name="connsiteX37" fmla="*/ 199263 w 397859"/>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859" h="389477">
                  <a:moveTo>
                    <a:pt x="197834" y="389477"/>
                  </a:moveTo>
                  <a:cubicBezTo>
                    <a:pt x="169545" y="389477"/>
                    <a:pt x="143351" y="384429"/>
                    <a:pt x="119063" y="374237"/>
                  </a:cubicBezTo>
                  <a:cubicBezTo>
                    <a:pt x="94774" y="364141"/>
                    <a:pt x="73819" y="350330"/>
                    <a:pt x="56197" y="332899"/>
                  </a:cubicBezTo>
                  <a:cubicBezTo>
                    <a:pt x="38481" y="315468"/>
                    <a:pt x="24765" y="294989"/>
                    <a:pt x="14859" y="271463"/>
                  </a:cubicBezTo>
                  <a:cubicBezTo>
                    <a:pt x="4953" y="247936"/>
                    <a:pt x="0" y="222980"/>
                    <a:pt x="0" y="196501"/>
                  </a:cubicBezTo>
                  <a:lnTo>
                    <a:pt x="0" y="195072"/>
                  </a:lnTo>
                  <a:cubicBezTo>
                    <a:pt x="0" y="168212"/>
                    <a:pt x="5048" y="143066"/>
                    <a:pt x="15145" y="119444"/>
                  </a:cubicBezTo>
                  <a:cubicBezTo>
                    <a:pt x="25241" y="95917"/>
                    <a:pt x="39148" y="75248"/>
                    <a:pt x="56864" y="57626"/>
                  </a:cubicBezTo>
                  <a:cubicBezTo>
                    <a:pt x="74581" y="39910"/>
                    <a:pt x="95536" y="25908"/>
                    <a:pt x="119729" y="15526"/>
                  </a:cubicBezTo>
                  <a:cubicBezTo>
                    <a:pt x="144018" y="5144"/>
                    <a:pt x="170497" y="0"/>
                    <a:pt x="199263" y="0"/>
                  </a:cubicBezTo>
                  <a:cubicBezTo>
                    <a:pt x="228029" y="0"/>
                    <a:pt x="254508" y="5048"/>
                    <a:pt x="278797" y="15240"/>
                  </a:cubicBezTo>
                  <a:cubicBezTo>
                    <a:pt x="303085" y="25337"/>
                    <a:pt x="324041" y="39243"/>
                    <a:pt x="341662" y="56959"/>
                  </a:cubicBezTo>
                  <a:cubicBezTo>
                    <a:pt x="359378" y="74676"/>
                    <a:pt x="373094" y="95155"/>
                    <a:pt x="383000" y="118396"/>
                  </a:cubicBezTo>
                  <a:cubicBezTo>
                    <a:pt x="392906" y="141732"/>
                    <a:pt x="397859" y="166783"/>
                    <a:pt x="397859" y="193643"/>
                  </a:cubicBezTo>
                  <a:lnTo>
                    <a:pt x="397859" y="195072"/>
                  </a:lnTo>
                  <a:cubicBezTo>
                    <a:pt x="397859" y="221456"/>
                    <a:pt x="392811" y="246412"/>
                    <a:pt x="382619" y="270034"/>
                  </a:cubicBezTo>
                  <a:cubicBezTo>
                    <a:pt x="372523" y="293561"/>
                    <a:pt x="358616" y="314230"/>
                    <a:pt x="340900" y="331851"/>
                  </a:cubicBezTo>
                  <a:cubicBezTo>
                    <a:pt x="323183" y="349472"/>
                    <a:pt x="302133" y="363569"/>
                    <a:pt x="277654" y="373856"/>
                  </a:cubicBezTo>
                  <a:cubicBezTo>
                    <a:pt x="253175" y="384238"/>
                    <a:pt x="226504" y="389382"/>
                    <a:pt x="197834" y="389382"/>
                  </a:cubicBezTo>
                  <a:close/>
                  <a:moveTo>
                    <a:pt x="199263" y="315278"/>
                  </a:moveTo>
                  <a:cubicBezTo>
                    <a:pt x="216598" y="315278"/>
                    <a:pt x="232124" y="312039"/>
                    <a:pt x="245935" y="305753"/>
                  </a:cubicBezTo>
                  <a:cubicBezTo>
                    <a:pt x="259747" y="299371"/>
                    <a:pt x="271558" y="290798"/>
                    <a:pt x="281368" y="279940"/>
                  </a:cubicBezTo>
                  <a:cubicBezTo>
                    <a:pt x="291179" y="269081"/>
                    <a:pt x="298704" y="256508"/>
                    <a:pt x="303847" y="242125"/>
                  </a:cubicBezTo>
                  <a:cubicBezTo>
                    <a:pt x="308991" y="227743"/>
                    <a:pt x="311563" y="212598"/>
                    <a:pt x="311563" y="196501"/>
                  </a:cubicBezTo>
                  <a:lnTo>
                    <a:pt x="311563" y="195072"/>
                  </a:lnTo>
                  <a:cubicBezTo>
                    <a:pt x="311563" y="178594"/>
                    <a:pt x="308800" y="163068"/>
                    <a:pt x="303181" y="148400"/>
                  </a:cubicBezTo>
                  <a:cubicBezTo>
                    <a:pt x="297561" y="133826"/>
                    <a:pt x="289750" y="121063"/>
                    <a:pt x="279654" y="110204"/>
                  </a:cubicBezTo>
                  <a:cubicBezTo>
                    <a:pt x="269558" y="99346"/>
                    <a:pt x="257651" y="90773"/>
                    <a:pt x="243840" y="84392"/>
                  </a:cubicBezTo>
                  <a:cubicBezTo>
                    <a:pt x="230029" y="78010"/>
                    <a:pt x="214693" y="74867"/>
                    <a:pt x="197834" y="74867"/>
                  </a:cubicBezTo>
                  <a:cubicBezTo>
                    <a:pt x="180975" y="74867"/>
                    <a:pt x="165640" y="78010"/>
                    <a:pt x="151829" y="84392"/>
                  </a:cubicBezTo>
                  <a:cubicBezTo>
                    <a:pt x="138017" y="90773"/>
                    <a:pt x="126206" y="99250"/>
                    <a:pt x="116396" y="109823"/>
                  </a:cubicBezTo>
                  <a:cubicBezTo>
                    <a:pt x="106585" y="120396"/>
                    <a:pt x="99060" y="133064"/>
                    <a:pt x="93917" y="147638"/>
                  </a:cubicBezTo>
                  <a:cubicBezTo>
                    <a:pt x="88773" y="162211"/>
                    <a:pt x="86201" y="177546"/>
                    <a:pt x="86201" y="193548"/>
                  </a:cubicBezTo>
                  <a:lnTo>
                    <a:pt x="86201" y="194977"/>
                  </a:lnTo>
                  <a:cubicBezTo>
                    <a:pt x="86201" y="211455"/>
                    <a:pt x="88963" y="226886"/>
                    <a:pt x="94583" y="241268"/>
                  </a:cubicBezTo>
                  <a:cubicBezTo>
                    <a:pt x="100203" y="255651"/>
                    <a:pt x="108013" y="268319"/>
                    <a:pt x="118110" y="279463"/>
                  </a:cubicBezTo>
                  <a:cubicBezTo>
                    <a:pt x="128206" y="290513"/>
                    <a:pt x="140113" y="299275"/>
                    <a:pt x="153924" y="305562"/>
                  </a:cubicBezTo>
                  <a:cubicBezTo>
                    <a:pt x="167735" y="311944"/>
                    <a:pt x="182880"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25" name="Freeform: Shape 24">
              <a:extLst>
                <a:ext uri="{FF2B5EF4-FFF2-40B4-BE49-F238E27FC236}">
                  <a16:creationId xmlns:a16="http://schemas.microsoft.com/office/drawing/2014/main" id="{820FD385-1EC8-CA08-E649-2498A217A44A}"/>
                </a:ext>
              </a:extLst>
            </p:cNvPr>
            <p:cNvSpPr/>
            <p:nvPr/>
          </p:nvSpPr>
          <p:spPr>
            <a:xfrm>
              <a:off x="5806925"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2 w 296894"/>
                <a:gd name="connsiteY36" fmla="*/ 224980 h 386714"/>
                <a:gd name="connsiteX37" fmla="*/ 296894 w 296894"/>
                <a:gd name="connsiteY37" fmla="*/ 267938 h 386714"/>
                <a:gd name="connsiteX38" fmla="*/ 296894 w 296894"/>
                <a:gd name="connsiteY38" fmla="*/ 269367 h 386714"/>
                <a:gd name="connsiteX39" fmla="*/ 286322 w 296894"/>
                <a:gd name="connsiteY39" fmla="*/ 320897 h 386714"/>
                <a:gd name="connsiteX40" fmla="*/ 256984 w 296894"/>
                <a:gd name="connsiteY40" fmla="*/ 357188 h 386714"/>
                <a:gd name="connsiteX41" fmla="*/ 212789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8" y="298704"/>
                    <a:pt x="100013" y="306514"/>
                  </a:cubicBezTo>
                  <a:cubicBezTo>
                    <a:pt x="120967" y="314325"/>
                    <a:pt x="141161" y="318135"/>
                    <a:pt x="160401" y="318135"/>
                  </a:cubicBezTo>
                  <a:cubicBezTo>
                    <a:pt x="179642" y="318135"/>
                    <a:pt x="192976"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2" y="241078"/>
                    <a:pt x="176498" y="237553"/>
                    <a:pt x="166402" y="234220"/>
                  </a:cubicBezTo>
                  <a:cubicBezTo>
                    <a:pt x="156305" y="230886"/>
                    <a:pt x="145733" y="227647"/>
                    <a:pt x="134969" y="224314"/>
                  </a:cubicBezTo>
                  <a:cubicBezTo>
                    <a:pt x="121253" y="220599"/>
                    <a:pt x="107537" y="216122"/>
                    <a:pt x="93631" y="210884"/>
                  </a:cubicBezTo>
                  <a:cubicBezTo>
                    <a:pt x="79724" y="205740"/>
                    <a:pt x="67246" y="198977"/>
                    <a:pt x="56197" y="190786"/>
                  </a:cubicBezTo>
                  <a:cubicBezTo>
                    <a:pt x="45149" y="182594"/>
                    <a:pt x="36100" y="172307"/>
                    <a:pt x="28956" y="160115"/>
                  </a:cubicBezTo>
                  <a:cubicBezTo>
                    <a:pt x="21908"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5"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7" y="156210"/>
                    <a:pt x="180975" y="159448"/>
                  </a:cubicBezTo>
                  <a:cubicBezTo>
                    <a:pt x="194596" y="163639"/>
                    <a:pt x="208312" y="168592"/>
                    <a:pt x="222028" y="174212"/>
                  </a:cubicBezTo>
                  <a:cubicBezTo>
                    <a:pt x="235649" y="179832"/>
                    <a:pt x="248031" y="186785"/>
                    <a:pt x="259080" y="194977"/>
                  </a:cubicBezTo>
                  <a:cubicBezTo>
                    <a:pt x="270129" y="203168"/>
                    <a:pt x="279273" y="213169"/>
                    <a:pt x="286322" y="224980"/>
                  </a:cubicBezTo>
                  <a:cubicBezTo>
                    <a:pt x="293370" y="236696"/>
                    <a:pt x="296894" y="251079"/>
                    <a:pt x="296894" y="267938"/>
                  </a:cubicBezTo>
                  <a:lnTo>
                    <a:pt x="296894" y="269367"/>
                  </a:lnTo>
                  <a:cubicBezTo>
                    <a:pt x="296894" y="289084"/>
                    <a:pt x="293370" y="306229"/>
                    <a:pt x="286322" y="320897"/>
                  </a:cubicBezTo>
                  <a:cubicBezTo>
                    <a:pt x="279273" y="335470"/>
                    <a:pt x="269462" y="347567"/>
                    <a:pt x="256984" y="357188"/>
                  </a:cubicBezTo>
                  <a:cubicBezTo>
                    <a:pt x="244507" y="366808"/>
                    <a:pt x="229743" y="374142"/>
                    <a:pt x="212789"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6" name="Freeform: Shape 25">
              <a:extLst>
                <a:ext uri="{FF2B5EF4-FFF2-40B4-BE49-F238E27FC236}">
                  <a16:creationId xmlns:a16="http://schemas.microsoft.com/office/drawing/2014/main" id="{ECF6CA72-916D-23AF-676D-521F341E0A71}"/>
                </a:ext>
              </a:extLst>
            </p:cNvPr>
            <p:cNvSpPr/>
            <p:nvPr/>
          </p:nvSpPr>
          <p:spPr>
            <a:xfrm>
              <a:off x="589573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6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160" y="318135"/>
                    <a:pt x="160401" y="318135"/>
                  </a:cubicBezTo>
                  <a:cubicBezTo>
                    <a:pt x="179641" y="318135"/>
                    <a:pt x="192976"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4"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792"/>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7" name="Freeform: Shape 26">
              <a:extLst>
                <a:ext uri="{FF2B5EF4-FFF2-40B4-BE49-F238E27FC236}">
                  <a16:creationId xmlns:a16="http://schemas.microsoft.com/office/drawing/2014/main" id="{B954EEE7-431E-B03D-6B3F-D1316983CB21}"/>
                </a:ext>
              </a:extLst>
            </p:cNvPr>
            <p:cNvSpPr/>
            <p:nvPr/>
          </p:nvSpPr>
          <p:spPr>
            <a:xfrm>
              <a:off x="5985812" y="700558"/>
              <a:ext cx="85097" cy="97141"/>
            </a:xfrm>
            <a:custGeom>
              <a:avLst/>
              <a:gdLst>
                <a:gd name="connsiteX0" fmla="*/ 253651 w 338518"/>
                <a:gd name="connsiteY0" fmla="*/ 378619 h 386429"/>
                <a:gd name="connsiteX1" fmla="*/ 253651 w 338518"/>
                <a:gd name="connsiteY1" fmla="*/ 332708 h 386429"/>
                <a:gd name="connsiteX2" fmla="*/ 204883 w 338518"/>
                <a:gd name="connsiteY2" fmla="*/ 370904 h 386429"/>
                <a:gd name="connsiteX3" fmla="*/ 132779 w 338518"/>
                <a:gd name="connsiteY3" fmla="*/ 386429 h 386429"/>
                <a:gd name="connsiteX4" fmla="*/ 81915 w 338518"/>
                <a:gd name="connsiteY4" fmla="*/ 379000 h 386429"/>
                <a:gd name="connsiteX5" fmla="*/ 39910 w 338518"/>
                <a:gd name="connsiteY5" fmla="*/ 357092 h 386429"/>
                <a:gd name="connsiteX6" fmla="*/ 10954 w 338518"/>
                <a:gd name="connsiteY6" fmla="*/ 321088 h 386429"/>
                <a:gd name="connsiteX7" fmla="*/ 0 w 338518"/>
                <a:gd name="connsiteY7" fmla="*/ 271272 h 386429"/>
                <a:gd name="connsiteX8" fmla="*/ 0 w 338518"/>
                <a:gd name="connsiteY8" fmla="*/ 269843 h 386429"/>
                <a:gd name="connsiteX9" fmla="*/ 11335 w 338518"/>
                <a:gd name="connsiteY9" fmla="*/ 215741 h 386429"/>
                <a:gd name="connsiteX10" fmla="*/ 42767 w 338518"/>
                <a:gd name="connsiteY10" fmla="*/ 177546 h 386429"/>
                <a:gd name="connsiteX11" fmla="*/ 90773 w 338518"/>
                <a:gd name="connsiteY11" fmla="*/ 154972 h 386429"/>
                <a:gd name="connsiteX12" fmla="*/ 151162 w 338518"/>
                <a:gd name="connsiteY12" fmla="*/ 147542 h 386429"/>
                <a:gd name="connsiteX13" fmla="*/ 208788 w 338518"/>
                <a:gd name="connsiteY13" fmla="*/ 151829 h 386429"/>
                <a:gd name="connsiteX14" fmla="*/ 254413 w 338518"/>
                <a:gd name="connsiteY14" fmla="*/ 163163 h 386429"/>
                <a:gd name="connsiteX15" fmla="*/ 254413 w 338518"/>
                <a:gd name="connsiteY15" fmla="*/ 156115 h 386429"/>
                <a:gd name="connsiteX16" fmla="*/ 230696 w 338518"/>
                <a:gd name="connsiteY16" fmla="*/ 96774 h 386429"/>
                <a:gd name="connsiteX17" fmla="*/ 162496 w 338518"/>
                <a:gd name="connsiteY17" fmla="*/ 76295 h 386429"/>
                <a:gd name="connsiteX18" fmla="*/ 106013 w 338518"/>
                <a:gd name="connsiteY18" fmla="*/ 82677 h 386429"/>
                <a:gd name="connsiteX19" fmla="*/ 55816 w 338518"/>
                <a:gd name="connsiteY19" fmla="*/ 99632 h 386429"/>
                <a:gd name="connsiteX20" fmla="*/ 32480 w 338518"/>
                <a:gd name="connsiteY20" fmla="*/ 31052 h 386429"/>
                <a:gd name="connsiteX21" fmla="*/ 96107 w 338518"/>
                <a:gd name="connsiteY21" fmla="*/ 8477 h 386429"/>
                <a:gd name="connsiteX22" fmla="*/ 174593 w 338518"/>
                <a:gd name="connsiteY22" fmla="*/ 0 h 386429"/>
                <a:gd name="connsiteX23" fmla="*/ 298228 w 338518"/>
                <a:gd name="connsiteY23" fmla="*/ 41338 h 386429"/>
                <a:gd name="connsiteX24" fmla="*/ 338519 w 338518"/>
                <a:gd name="connsiteY24" fmla="*/ 157544 h 386429"/>
                <a:gd name="connsiteX25" fmla="*/ 338519 w 338518"/>
                <a:gd name="connsiteY25" fmla="*/ 378714 h 386429"/>
                <a:gd name="connsiteX26" fmla="*/ 253746 w 338518"/>
                <a:gd name="connsiteY26" fmla="*/ 378714 h 386429"/>
                <a:gd name="connsiteX27" fmla="*/ 255746 w 338518"/>
                <a:gd name="connsiteY27" fmla="*/ 222409 h 386429"/>
                <a:gd name="connsiteX28" fmla="*/ 217265 w 338518"/>
                <a:gd name="connsiteY28" fmla="*/ 211836 h 386429"/>
                <a:gd name="connsiteX29" fmla="*/ 170307 w 338518"/>
                <a:gd name="connsiteY29" fmla="*/ 207550 h 386429"/>
                <a:gd name="connsiteX30" fmla="*/ 107442 w 338518"/>
                <a:gd name="connsiteY30" fmla="*/ 223075 h 386429"/>
                <a:gd name="connsiteX31" fmla="*/ 84868 w 338518"/>
                <a:gd name="connsiteY31" fmla="*/ 265462 h 386429"/>
                <a:gd name="connsiteX32" fmla="*/ 84868 w 338518"/>
                <a:gd name="connsiteY32" fmla="*/ 266891 h 386429"/>
                <a:gd name="connsiteX33" fmla="*/ 105728 w 338518"/>
                <a:gd name="connsiteY33" fmla="*/ 307848 h 386429"/>
                <a:gd name="connsiteX34" fmla="*/ 156972 w 338518"/>
                <a:gd name="connsiteY34" fmla="*/ 321945 h 386429"/>
                <a:gd name="connsiteX35" fmla="*/ 196215 w 338518"/>
                <a:gd name="connsiteY35" fmla="*/ 316325 h 386429"/>
                <a:gd name="connsiteX36" fmla="*/ 227647 w 338518"/>
                <a:gd name="connsiteY36" fmla="*/ 300419 h 386429"/>
                <a:gd name="connsiteX37" fmla="*/ 248507 w 338518"/>
                <a:gd name="connsiteY37" fmla="*/ 275654 h 386429"/>
                <a:gd name="connsiteX38" fmla="*/ 255937 w 338518"/>
                <a:gd name="connsiteY38" fmla="*/ 243459 h 386429"/>
                <a:gd name="connsiteX39" fmla="*/ 255937 w 338518"/>
                <a:gd name="connsiteY39" fmla="*/ 222218 h 3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8518" h="386429">
                  <a:moveTo>
                    <a:pt x="253651" y="378619"/>
                  </a:moveTo>
                  <a:lnTo>
                    <a:pt x="253651" y="332708"/>
                  </a:lnTo>
                  <a:cubicBezTo>
                    <a:pt x="240887" y="347758"/>
                    <a:pt x="224695" y="360521"/>
                    <a:pt x="204883" y="370904"/>
                  </a:cubicBezTo>
                  <a:cubicBezTo>
                    <a:pt x="185071" y="381286"/>
                    <a:pt x="161068" y="386429"/>
                    <a:pt x="132779" y="386429"/>
                  </a:cubicBezTo>
                  <a:cubicBezTo>
                    <a:pt x="114871" y="386429"/>
                    <a:pt x="97917" y="383953"/>
                    <a:pt x="81915" y="379000"/>
                  </a:cubicBezTo>
                  <a:cubicBezTo>
                    <a:pt x="65913" y="374047"/>
                    <a:pt x="51911" y="366713"/>
                    <a:pt x="39910" y="357092"/>
                  </a:cubicBezTo>
                  <a:cubicBezTo>
                    <a:pt x="27908" y="347472"/>
                    <a:pt x="18193" y="335471"/>
                    <a:pt x="10954" y="321088"/>
                  </a:cubicBezTo>
                  <a:cubicBezTo>
                    <a:pt x="3620" y="306705"/>
                    <a:pt x="0" y="290132"/>
                    <a:pt x="0" y="271272"/>
                  </a:cubicBezTo>
                  <a:lnTo>
                    <a:pt x="0" y="269843"/>
                  </a:lnTo>
                  <a:cubicBezTo>
                    <a:pt x="0" y="249079"/>
                    <a:pt x="3810" y="231077"/>
                    <a:pt x="11335" y="215741"/>
                  </a:cubicBezTo>
                  <a:cubicBezTo>
                    <a:pt x="18859" y="200406"/>
                    <a:pt x="29337" y="187738"/>
                    <a:pt x="42767" y="177546"/>
                  </a:cubicBezTo>
                  <a:cubicBezTo>
                    <a:pt x="56197" y="167450"/>
                    <a:pt x="72199" y="159925"/>
                    <a:pt x="90773" y="154972"/>
                  </a:cubicBezTo>
                  <a:cubicBezTo>
                    <a:pt x="109347" y="150019"/>
                    <a:pt x="129540" y="147542"/>
                    <a:pt x="151162" y="147542"/>
                  </a:cubicBezTo>
                  <a:cubicBezTo>
                    <a:pt x="172783" y="147542"/>
                    <a:pt x="192976" y="148971"/>
                    <a:pt x="208788" y="151829"/>
                  </a:cubicBezTo>
                  <a:cubicBezTo>
                    <a:pt x="224599" y="154686"/>
                    <a:pt x="239744" y="158401"/>
                    <a:pt x="254413" y="163163"/>
                  </a:cubicBezTo>
                  <a:lnTo>
                    <a:pt x="254413" y="156115"/>
                  </a:lnTo>
                  <a:cubicBezTo>
                    <a:pt x="254413" y="130207"/>
                    <a:pt x="246507" y="110395"/>
                    <a:pt x="230696" y="96774"/>
                  </a:cubicBezTo>
                  <a:cubicBezTo>
                    <a:pt x="214884" y="83153"/>
                    <a:pt x="192214" y="76295"/>
                    <a:pt x="162496" y="76295"/>
                  </a:cubicBezTo>
                  <a:cubicBezTo>
                    <a:pt x="141351" y="76295"/>
                    <a:pt x="122491" y="78391"/>
                    <a:pt x="106013" y="82677"/>
                  </a:cubicBezTo>
                  <a:cubicBezTo>
                    <a:pt x="89535" y="86963"/>
                    <a:pt x="72771" y="92583"/>
                    <a:pt x="55816" y="99632"/>
                  </a:cubicBezTo>
                  <a:lnTo>
                    <a:pt x="32480" y="31052"/>
                  </a:lnTo>
                  <a:cubicBezTo>
                    <a:pt x="53149" y="21622"/>
                    <a:pt x="74390" y="14097"/>
                    <a:pt x="96107" y="8477"/>
                  </a:cubicBezTo>
                  <a:cubicBezTo>
                    <a:pt x="117729" y="2858"/>
                    <a:pt x="143923" y="0"/>
                    <a:pt x="174593" y="0"/>
                  </a:cubicBezTo>
                  <a:cubicBezTo>
                    <a:pt x="230124" y="0"/>
                    <a:pt x="271367" y="13811"/>
                    <a:pt x="298228" y="41338"/>
                  </a:cubicBezTo>
                  <a:cubicBezTo>
                    <a:pt x="325088" y="68866"/>
                    <a:pt x="338519" y="107633"/>
                    <a:pt x="338519" y="157544"/>
                  </a:cubicBezTo>
                  <a:lnTo>
                    <a:pt x="338519" y="378714"/>
                  </a:lnTo>
                  <a:lnTo>
                    <a:pt x="253746" y="378714"/>
                  </a:lnTo>
                  <a:close/>
                  <a:moveTo>
                    <a:pt x="255746" y="222409"/>
                  </a:moveTo>
                  <a:cubicBezTo>
                    <a:pt x="244888" y="218123"/>
                    <a:pt x="232029" y="214598"/>
                    <a:pt x="217265" y="211836"/>
                  </a:cubicBezTo>
                  <a:cubicBezTo>
                    <a:pt x="202406" y="208979"/>
                    <a:pt x="186785" y="207550"/>
                    <a:pt x="170307" y="207550"/>
                  </a:cubicBezTo>
                  <a:cubicBezTo>
                    <a:pt x="143446" y="207550"/>
                    <a:pt x="122491" y="212693"/>
                    <a:pt x="107442" y="223075"/>
                  </a:cubicBezTo>
                  <a:cubicBezTo>
                    <a:pt x="92392" y="233458"/>
                    <a:pt x="84868" y="247555"/>
                    <a:pt x="84868" y="265462"/>
                  </a:cubicBezTo>
                  <a:lnTo>
                    <a:pt x="84868" y="266891"/>
                  </a:lnTo>
                  <a:cubicBezTo>
                    <a:pt x="84868" y="284798"/>
                    <a:pt x="91821" y="298418"/>
                    <a:pt x="105728" y="307848"/>
                  </a:cubicBezTo>
                  <a:cubicBezTo>
                    <a:pt x="119634" y="317278"/>
                    <a:pt x="136684" y="321945"/>
                    <a:pt x="156972" y="321945"/>
                  </a:cubicBezTo>
                  <a:cubicBezTo>
                    <a:pt x="171069" y="321945"/>
                    <a:pt x="184213" y="320040"/>
                    <a:pt x="196215" y="316325"/>
                  </a:cubicBezTo>
                  <a:cubicBezTo>
                    <a:pt x="208216" y="312515"/>
                    <a:pt x="218694" y="307277"/>
                    <a:pt x="227647" y="300419"/>
                  </a:cubicBezTo>
                  <a:cubicBezTo>
                    <a:pt x="236601" y="293561"/>
                    <a:pt x="243554" y="285369"/>
                    <a:pt x="248507" y="275654"/>
                  </a:cubicBezTo>
                  <a:cubicBezTo>
                    <a:pt x="253460" y="266033"/>
                    <a:pt x="255937" y="255270"/>
                    <a:pt x="255937" y="243459"/>
                  </a:cubicBezTo>
                  <a:lnTo>
                    <a:pt x="255937" y="222218"/>
                  </a:lnTo>
                  <a:close/>
                </a:path>
              </a:pathLst>
            </a:custGeom>
            <a:solidFill>
              <a:srgbClr val="44505E"/>
            </a:solidFill>
            <a:ln w="9525" cap="flat">
              <a:noFill/>
              <a:prstDash val="solid"/>
              <a:miter/>
            </a:ln>
          </p:spPr>
          <p:txBody>
            <a:bodyPr rtlCol="0" anchor="ctr"/>
            <a:lstStyle/>
            <a:p>
              <a:endParaRPr lang="pt-BR" noProof="0"/>
            </a:p>
          </p:txBody>
        </p:sp>
        <p:sp>
          <p:nvSpPr>
            <p:cNvPr id="28" name="Freeform: Shape 27">
              <a:extLst>
                <a:ext uri="{FF2B5EF4-FFF2-40B4-BE49-F238E27FC236}">
                  <a16:creationId xmlns:a16="http://schemas.microsoft.com/office/drawing/2014/main" id="{20678E81-6A7F-8DD8-A755-C493149A528A}"/>
                </a:ext>
              </a:extLst>
            </p:cNvPr>
            <p:cNvSpPr/>
            <p:nvPr/>
          </p:nvSpPr>
          <p:spPr>
            <a:xfrm>
              <a:off x="6088843" y="700318"/>
              <a:ext cx="74610" cy="97213"/>
            </a:xfrm>
            <a:custGeom>
              <a:avLst/>
              <a:gdLst>
                <a:gd name="connsiteX0" fmla="*/ 158305 w 296799"/>
                <a:gd name="connsiteY0" fmla="*/ 386715 h 386714"/>
                <a:gd name="connsiteX1" fmla="*/ 76676 w 296799"/>
                <a:gd name="connsiteY1" fmla="*/ 372427 h 386714"/>
                <a:gd name="connsiteX2" fmla="*/ 0 w 296799"/>
                <a:gd name="connsiteY2" fmla="*/ 330327 h 386714"/>
                <a:gd name="connsiteX3" fmla="*/ 38195 w 296799"/>
                <a:gd name="connsiteY3" fmla="*/ 272224 h 386714"/>
                <a:gd name="connsiteX4" fmla="*/ 100013 w 296799"/>
                <a:gd name="connsiteY4" fmla="*/ 306514 h 386714"/>
                <a:gd name="connsiteX5" fmla="*/ 160401 w 296799"/>
                <a:gd name="connsiteY5" fmla="*/ 318135 h 386714"/>
                <a:gd name="connsiteX6" fmla="*/ 203168 w 296799"/>
                <a:gd name="connsiteY6" fmla="*/ 307181 h 386714"/>
                <a:gd name="connsiteX7" fmla="*/ 218408 w 296799"/>
                <a:gd name="connsiteY7" fmla="*/ 277939 h 386714"/>
                <a:gd name="connsiteX8" fmla="*/ 218408 w 296799"/>
                <a:gd name="connsiteY8" fmla="*/ 276511 h 386714"/>
                <a:gd name="connsiteX9" fmla="*/ 211646 w 296799"/>
                <a:gd name="connsiteY9" fmla="*/ 258223 h 386714"/>
                <a:gd name="connsiteX10" fmla="*/ 193262 w 296799"/>
                <a:gd name="connsiteY10" fmla="*/ 244792 h 386714"/>
                <a:gd name="connsiteX11" fmla="*/ 166402 w 296799"/>
                <a:gd name="connsiteY11" fmla="*/ 234220 h 386714"/>
                <a:gd name="connsiteX12" fmla="*/ 134969 w 296799"/>
                <a:gd name="connsiteY12" fmla="*/ 224314 h 386714"/>
                <a:gd name="connsiteX13" fmla="*/ 93631 w 296799"/>
                <a:gd name="connsiteY13" fmla="*/ 210884 h 386714"/>
                <a:gd name="connsiteX14" fmla="*/ 56197 w 296799"/>
                <a:gd name="connsiteY14" fmla="*/ 190786 h 386714"/>
                <a:gd name="connsiteX15" fmla="*/ 28956 w 296799"/>
                <a:gd name="connsiteY15" fmla="*/ 160115 h 386714"/>
                <a:gd name="connsiteX16" fmla="*/ 18383 w 296799"/>
                <a:gd name="connsiteY16" fmla="*/ 114967 h 386714"/>
                <a:gd name="connsiteX17" fmla="*/ 18383 w 296799"/>
                <a:gd name="connsiteY17" fmla="*/ 113538 h 386714"/>
                <a:gd name="connsiteX18" fmla="*/ 28575 w 296799"/>
                <a:gd name="connsiteY18" fmla="*/ 66294 h 386714"/>
                <a:gd name="connsiteX19" fmla="*/ 56864 w 296799"/>
                <a:gd name="connsiteY19" fmla="*/ 30385 h 386714"/>
                <a:gd name="connsiteX20" fmla="*/ 99250 w 296799"/>
                <a:gd name="connsiteY20" fmla="*/ 7810 h 386714"/>
                <a:gd name="connsiteX21" fmla="*/ 151162 w 296799"/>
                <a:gd name="connsiteY21" fmla="*/ 0 h 386714"/>
                <a:gd name="connsiteX22" fmla="*/ 222504 w 296799"/>
                <a:gd name="connsiteY22" fmla="*/ 11430 h 386714"/>
                <a:gd name="connsiteX23" fmla="*/ 288227 w 296799"/>
                <a:gd name="connsiteY23" fmla="*/ 42863 h 386714"/>
                <a:gd name="connsiteX24" fmla="*/ 254317 w 296799"/>
                <a:gd name="connsiteY24" fmla="*/ 103918 h 386714"/>
                <a:gd name="connsiteX25" fmla="*/ 199930 w 296799"/>
                <a:gd name="connsiteY25" fmla="*/ 78105 h 386714"/>
                <a:gd name="connsiteX26" fmla="*/ 149066 w 296799"/>
                <a:gd name="connsiteY26" fmla="*/ 68580 h 386714"/>
                <a:gd name="connsiteX27" fmla="*/ 110585 w 296799"/>
                <a:gd name="connsiteY27" fmla="*/ 79153 h 386714"/>
                <a:gd name="connsiteX28" fmla="*/ 96774 w 296799"/>
                <a:gd name="connsiteY28" fmla="*/ 105918 h 386714"/>
                <a:gd name="connsiteX29" fmla="*/ 96774 w 296799"/>
                <a:gd name="connsiteY29" fmla="*/ 107347 h 386714"/>
                <a:gd name="connsiteX30" fmla="*/ 103822 w 296799"/>
                <a:gd name="connsiteY30" fmla="*/ 124587 h 386714"/>
                <a:gd name="connsiteX31" fmla="*/ 122587 w 296799"/>
                <a:gd name="connsiteY31" fmla="*/ 138017 h 386714"/>
                <a:gd name="connsiteX32" fmla="*/ 149447 w 296799"/>
                <a:gd name="connsiteY32" fmla="*/ 149257 h 386714"/>
                <a:gd name="connsiteX33" fmla="*/ 180880 w 296799"/>
                <a:gd name="connsiteY33" fmla="*/ 159448 h 386714"/>
                <a:gd name="connsiteX34" fmla="*/ 221837 w 296799"/>
                <a:gd name="connsiteY34" fmla="*/ 174212 h 386714"/>
                <a:gd name="connsiteX35" fmla="*/ 258985 w 296799"/>
                <a:gd name="connsiteY35" fmla="*/ 194977 h 386714"/>
                <a:gd name="connsiteX36" fmla="*/ 286226 w 296799"/>
                <a:gd name="connsiteY36" fmla="*/ 224980 h 386714"/>
                <a:gd name="connsiteX37" fmla="*/ 296799 w 296799"/>
                <a:gd name="connsiteY37" fmla="*/ 267938 h 386714"/>
                <a:gd name="connsiteX38" fmla="*/ 296799 w 296799"/>
                <a:gd name="connsiteY38" fmla="*/ 269367 h 386714"/>
                <a:gd name="connsiteX39" fmla="*/ 286226 w 296799"/>
                <a:gd name="connsiteY39" fmla="*/ 320897 h 386714"/>
                <a:gd name="connsiteX40" fmla="*/ 256889 w 296799"/>
                <a:gd name="connsiteY40" fmla="*/ 357188 h 386714"/>
                <a:gd name="connsiteX41" fmla="*/ 212693 w 296799"/>
                <a:gd name="connsiteY41" fmla="*/ 379095 h 386714"/>
                <a:gd name="connsiteX42" fmla="*/ 158305 w 296799"/>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799"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065" y="318135"/>
                    <a:pt x="160401" y="318135"/>
                  </a:cubicBezTo>
                  <a:cubicBezTo>
                    <a:pt x="179737" y="318135"/>
                    <a:pt x="193072"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828" y="227647"/>
                    <a:pt x="134969" y="224314"/>
                  </a:cubicBezTo>
                  <a:cubicBezTo>
                    <a:pt x="121348" y="220599"/>
                    <a:pt x="107537" y="216122"/>
                    <a:pt x="93631" y="210884"/>
                  </a:cubicBezTo>
                  <a:cubicBezTo>
                    <a:pt x="79724" y="205740"/>
                    <a:pt x="67246" y="198977"/>
                    <a:pt x="56197" y="190786"/>
                  </a:cubicBezTo>
                  <a:cubicBezTo>
                    <a:pt x="45148" y="182594"/>
                    <a:pt x="36004"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874" y="0"/>
                    <a:pt x="151162" y="0"/>
                  </a:cubicBezTo>
                  <a:cubicBezTo>
                    <a:pt x="174688" y="0"/>
                    <a:pt x="198501" y="3810"/>
                    <a:pt x="222504" y="11430"/>
                  </a:cubicBezTo>
                  <a:cubicBezTo>
                    <a:pt x="246507" y="19050"/>
                    <a:pt x="268414" y="29527"/>
                    <a:pt x="288227" y="42863"/>
                  </a:cubicBezTo>
                  <a:lnTo>
                    <a:pt x="254317"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774" y="95155"/>
                    <a:pt x="96774" y="105918"/>
                  </a:cubicBezTo>
                  <a:lnTo>
                    <a:pt x="96774" y="107347"/>
                  </a:lnTo>
                  <a:cubicBezTo>
                    <a:pt x="96774" y="113919"/>
                    <a:pt x="99155" y="119634"/>
                    <a:pt x="103822" y="124587"/>
                  </a:cubicBezTo>
                  <a:cubicBezTo>
                    <a:pt x="108490" y="129540"/>
                    <a:pt x="114776" y="134017"/>
                    <a:pt x="122587" y="138017"/>
                  </a:cubicBezTo>
                  <a:cubicBezTo>
                    <a:pt x="130397" y="142018"/>
                    <a:pt x="139351" y="145732"/>
                    <a:pt x="149447" y="149257"/>
                  </a:cubicBezTo>
                  <a:cubicBezTo>
                    <a:pt x="159544" y="152781"/>
                    <a:pt x="170021" y="156210"/>
                    <a:pt x="180880" y="159448"/>
                  </a:cubicBezTo>
                  <a:cubicBezTo>
                    <a:pt x="194500" y="163639"/>
                    <a:pt x="208216" y="168592"/>
                    <a:pt x="221837" y="174212"/>
                  </a:cubicBezTo>
                  <a:cubicBezTo>
                    <a:pt x="235458" y="179832"/>
                    <a:pt x="247840" y="186785"/>
                    <a:pt x="258985" y="194977"/>
                  </a:cubicBezTo>
                  <a:cubicBezTo>
                    <a:pt x="270034" y="203168"/>
                    <a:pt x="279178" y="213169"/>
                    <a:pt x="286226" y="224980"/>
                  </a:cubicBezTo>
                  <a:cubicBezTo>
                    <a:pt x="293275" y="236696"/>
                    <a:pt x="296799" y="251079"/>
                    <a:pt x="296799" y="267938"/>
                  </a:cubicBezTo>
                  <a:lnTo>
                    <a:pt x="296799" y="269367"/>
                  </a:lnTo>
                  <a:cubicBezTo>
                    <a:pt x="296799" y="289084"/>
                    <a:pt x="293275" y="306229"/>
                    <a:pt x="286226" y="320897"/>
                  </a:cubicBezTo>
                  <a:cubicBezTo>
                    <a:pt x="279178" y="335470"/>
                    <a:pt x="269367" y="347567"/>
                    <a:pt x="256889" y="357188"/>
                  </a:cubicBezTo>
                  <a:cubicBezTo>
                    <a:pt x="244412" y="366808"/>
                    <a:pt x="229648" y="374142"/>
                    <a:pt x="212693" y="379095"/>
                  </a:cubicBezTo>
                  <a:cubicBezTo>
                    <a:pt x="195739" y="384048"/>
                    <a:pt x="177641" y="386524"/>
                    <a:pt x="158305" y="386524"/>
                  </a:cubicBezTo>
                  <a:close/>
                </a:path>
              </a:pathLst>
            </a:custGeom>
            <a:solidFill>
              <a:srgbClr val="44505E"/>
            </a:solidFill>
            <a:ln w="9525" cap="flat">
              <a:noFill/>
              <a:prstDash val="solid"/>
              <a:miter/>
            </a:ln>
          </p:spPr>
          <p:txBody>
            <a:bodyPr rtlCol="0" anchor="ctr"/>
            <a:lstStyle/>
            <a:p>
              <a:endParaRPr lang="pt-BR" noProof="0"/>
            </a:p>
          </p:txBody>
        </p:sp>
        <p:sp>
          <p:nvSpPr>
            <p:cNvPr id="29" name="Freeform: Shape 28">
              <a:extLst>
                <a:ext uri="{FF2B5EF4-FFF2-40B4-BE49-F238E27FC236}">
                  <a16:creationId xmlns:a16="http://schemas.microsoft.com/office/drawing/2014/main" id="{D101FBE7-1F87-80A2-A310-E6FBEF2322E6}"/>
                </a:ext>
              </a:extLst>
            </p:cNvPr>
            <p:cNvSpPr/>
            <p:nvPr/>
          </p:nvSpPr>
          <p:spPr>
            <a:xfrm>
              <a:off x="6238590"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4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7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2 w 568166"/>
                <a:gd name="connsiteY21" fmla="*/ 381000 h 381000"/>
                <a:gd name="connsiteX22" fmla="*/ 240982 w 568166"/>
                <a:gd name="connsiteY22" fmla="*/ 168783 h 381000"/>
                <a:gd name="connsiteX23" fmla="*/ 221266 w 568166"/>
                <a:gd name="connsiteY23" fmla="*/ 101822 h 381000"/>
                <a:gd name="connsiteX24" fmla="*/ 165640 w 568166"/>
                <a:gd name="connsiteY24" fmla="*/ 78581 h 381000"/>
                <a:gd name="connsiteX25" fmla="*/ 108013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69" y="48196"/>
                    <a:pt x="105918" y="40576"/>
                  </a:cubicBezTo>
                  <a:cubicBezTo>
                    <a:pt x="112966" y="32956"/>
                    <a:pt x="121063" y="26099"/>
                    <a:pt x="130207" y="19907"/>
                  </a:cubicBezTo>
                  <a:cubicBezTo>
                    <a:pt x="139351" y="13716"/>
                    <a:pt x="149638" y="8858"/>
                    <a:pt x="161163" y="5334"/>
                  </a:cubicBezTo>
                  <a:cubicBezTo>
                    <a:pt x="172688" y="1714"/>
                    <a:pt x="185452" y="0"/>
                    <a:pt x="199549" y="0"/>
                  </a:cubicBezTo>
                  <a:cubicBezTo>
                    <a:pt x="226314" y="0"/>
                    <a:pt x="248983" y="6096"/>
                    <a:pt x="267557" y="18193"/>
                  </a:cubicBezTo>
                  <a:cubicBezTo>
                    <a:pt x="286131" y="30289"/>
                    <a:pt x="300323" y="46387"/>
                    <a:pt x="310134" y="66294"/>
                  </a:cubicBezTo>
                  <a:cubicBezTo>
                    <a:pt x="325279" y="46387"/>
                    <a:pt x="343090" y="30289"/>
                    <a:pt x="363664" y="18193"/>
                  </a:cubicBezTo>
                  <a:cubicBezTo>
                    <a:pt x="384238" y="6096"/>
                    <a:pt x="408718" y="0"/>
                    <a:pt x="437007" y="0"/>
                  </a:cubicBezTo>
                  <a:cubicBezTo>
                    <a:pt x="478155"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7" y="78486"/>
                  </a:cubicBezTo>
                  <a:cubicBezTo>
                    <a:pt x="382809" y="78486"/>
                    <a:pt x="364141" y="86392"/>
                    <a:pt x="349377" y="102108"/>
                  </a:cubicBezTo>
                  <a:cubicBezTo>
                    <a:pt x="334613" y="117824"/>
                    <a:pt x="327184" y="140779"/>
                    <a:pt x="327184" y="170879"/>
                  </a:cubicBezTo>
                  <a:lnTo>
                    <a:pt x="327184" y="381000"/>
                  </a:lnTo>
                  <a:lnTo>
                    <a:pt x="240982" y="381000"/>
                  </a:lnTo>
                  <a:lnTo>
                    <a:pt x="240982" y="168783"/>
                  </a:lnTo>
                  <a:cubicBezTo>
                    <a:pt x="240982" y="139637"/>
                    <a:pt x="234410" y="117348"/>
                    <a:pt x="221266" y="101822"/>
                  </a:cubicBezTo>
                  <a:cubicBezTo>
                    <a:pt x="208121" y="86296"/>
                    <a:pt x="189547" y="78581"/>
                    <a:pt x="165640" y="78581"/>
                  </a:cubicBezTo>
                  <a:cubicBezTo>
                    <a:pt x="141732" y="78581"/>
                    <a:pt x="122491" y="86773"/>
                    <a:pt x="108013"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30" name="Freeform: Shape 29">
              <a:extLst>
                <a:ext uri="{FF2B5EF4-FFF2-40B4-BE49-F238E27FC236}">
                  <a16:creationId xmlns:a16="http://schemas.microsoft.com/office/drawing/2014/main" id="{F07B00B3-BE13-7DE7-05B2-7FBC8BA25BEB}"/>
                </a:ext>
              </a:extLst>
            </p:cNvPr>
            <p:cNvSpPr/>
            <p:nvPr/>
          </p:nvSpPr>
          <p:spPr>
            <a:xfrm>
              <a:off x="6400979" y="664258"/>
              <a:ext cx="85097" cy="133441"/>
            </a:xfrm>
            <a:custGeom>
              <a:avLst/>
              <a:gdLst>
                <a:gd name="connsiteX0" fmla="*/ 253651 w 338518"/>
                <a:gd name="connsiteY0" fmla="*/ 523018 h 530828"/>
                <a:gd name="connsiteX1" fmla="*/ 253651 w 338518"/>
                <a:gd name="connsiteY1" fmla="*/ 477107 h 530828"/>
                <a:gd name="connsiteX2" fmla="*/ 204883 w 338518"/>
                <a:gd name="connsiteY2" fmla="*/ 515303 h 530828"/>
                <a:gd name="connsiteX3" fmla="*/ 132779 w 338518"/>
                <a:gd name="connsiteY3" fmla="*/ 530828 h 530828"/>
                <a:gd name="connsiteX4" fmla="*/ 81915 w 338518"/>
                <a:gd name="connsiteY4" fmla="*/ 523399 h 530828"/>
                <a:gd name="connsiteX5" fmla="*/ 39910 w 338518"/>
                <a:gd name="connsiteY5" fmla="*/ 501491 h 530828"/>
                <a:gd name="connsiteX6" fmla="*/ 10954 w 338518"/>
                <a:gd name="connsiteY6" fmla="*/ 465487 h 530828"/>
                <a:gd name="connsiteX7" fmla="*/ 0 w 338518"/>
                <a:gd name="connsiteY7" fmla="*/ 415671 h 530828"/>
                <a:gd name="connsiteX8" fmla="*/ 0 w 338518"/>
                <a:gd name="connsiteY8" fmla="*/ 414242 h 530828"/>
                <a:gd name="connsiteX9" fmla="*/ 11335 w 338518"/>
                <a:gd name="connsiteY9" fmla="*/ 360140 h 530828"/>
                <a:gd name="connsiteX10" fmla="*/ 42767 w 338518"/>
                <a:gd name="connsiteY10" fmla="*/ 321945 h 530828"/>
                <a:gd name="connsiteX11" fmla="*/ 90773 w 338518"/>
                <a:gd name="connsiteY11" fmla="*/ 299371 h 530828"/>
                <a:gd name="connsiteX12" fmla="*/ 151162 w 338518"/>
                <a:gd name="connsiteY12" fmla="*/ 291941 h 530828"/>
                <a:gd name="connsiteX13" fmla="*/ 208788 w 338518"/>
                <a:gd name="connsiteY13" fmla="*/ 296228 h 530828"/>
                <a:gd name="connsiteX14" fmla="*/ 254413 w 338518"/>
                <a:gd name="connsiteY14" fmla="*/ 307562 h 530828"/>
                <a:gd name="connsiteX15" fmla="*/ 254413 w 338518"/>
                <a:gd name="connsiteY15" fmla="*/ 300514 h 530828"/>
                <a:gd name="connsiteX16" fmla="*/ 230696 w 338518"/>
                <a:gd name="connsiteY16" fmla="*/ 241173 h 530828"/>
                <a:gd name="connsiteX17" fmla="*/ 162496 w 338518"/>
                <a:gd name="connsiteY17" fmla="*/ 220694 h 530828"/>
                <a:gd name="connsiteX18" fmla="*/ 106013 w 338518"/>
                <a:gd name="connsiteY18" fmla="*/ 227076 h 530828"/>
                <a:gd name="connsiteX19" fmla="*/ 55817 w 338518"/>
                <a:gd name="connsiteY19" fmla="*/ 244031 h 530828"/>
                <a:gd name="connsiteX20" fmla="*/ 32480 w 338518"/>
                <a:gd name="connsiteY20" fmla="*/ 175451 h 530828"/>
                <a:gd name="connsiteX21" fmla="*/ 96107 w 338518"/>
                <a:gd name="connsiteY21" fmla="*/ 152876 h 530828"/>
                <a:gd name="connsiteX22" fmla="*/ 174593 w 338518"/>
                <a:gd name="connsiteY22" fmla="*/ 144399 h 530828"/>
                <a:gd name="connsiteX23" fmla="*/ 298228 w 338518"/>
                <a:gd name="connsiteY23" fmla="*/ 185738 h 530828"/>
                <a:gd name="connsiteX24" fmla="*/ 338519 w 338518"/>
                <a:gd name="connsiteY24" fmla="*/ 301943 h 530828"/>
                <a:gd name="connsiteX25" fmla="*/ 338519 w 338518"/>
                <a:gd name="connsiteY25" fmla="*/ 523113 h 530828"/>
                <a:gd name="connsiteX26" fmla="*/ 253746 w 338518"/>
                <a:gd name="connsiteY26" fmla="*/ 523113 h 530828"/>
                <a:gd name="connsiteX27" fmla="*/ 45911 w 338518"/>
                <a:gd name="connsiteY27" fmla="*/ 95441 h 530828"/>
                <a:gd name="connsiteX28" fmla="*/ 75248 w 338518"/>
                <a:gd name="connsiteY28" fmla="*/ 29718 h 530828"/>
                <a:gd name="connsiteX29" fmla="*/ 125063 w 338518"/>
                <a:gd name="connsiteY29" fmla="*/ 7144 h 530828"/>
                <a:gd name="connsiteX30" fmla="*/ 154019 w 338518"/>
                <a:gd name="connsiteY30" fmla="*/ 11716 h 530828"/>
                <a:gd name="connsiteX31" fmla="*/ 181261 w 338518"/>
                <a:gd name="connsiteY31" fmla="*/ 21622 h 530828"/>
                <a:gd name="connsiteX32" fmla="*/ 205645 w 338518"/>
                <a:gd name="connsiteY32" fmla="*/ 31147 h 530828"/>
                <a:gd name="connsiteX33" fmla="*/ 226790 w 338518"/>
                <a:gd name="connsiteY33" fmla="*/ 35338 h 530828"/>
                <a:gd name="connsiteX34" fmla="*/ 250127 w 338518"/>
                <a:gd name="connsiteY34" fmla="*/ 26861 h 530828"/>
                <a:gd name="connsiteX35" fmla="*/ 265652 w 338518"/>
                <a:gd name="connsiteY35" fmla="*/ 0 h 530828"/>
                <a:gd name="connsiteX36" fmla="*/ 312991 w 338518"/>
                <a:gd name="connsiteY36" fmla="*/ 14859 h 530828"/>
                <a:gd name="connsiteX37" fmla="*/ 283655 w 338518"/>
                <a:gd name="connsiteY37" fmla="*/ 79820 h 530828"/>
                <a:gd name="connsiteX38" fmla="*/ 233839 w 338518"/>
                <a:gd name="connsiteY38" fmla="*/ 102394 h 530828"/>
                <a:gd name="connsiteX39" fmla="*/ 204883 w 338518"/>
                <a:gd name="connsiteY39" fmla="*/ 98203 h 530828"/>
                <a:gd name="connsiteX40" fmla="*/ 177641 w 338518"/>
                <a:gd name="connsiteY40" fmla="*/ 88678 h 530828"/>
                <a:gd name="connsiteX41" fmla="*/ 152876 w 338518"/>
                <a:gd name="connsiteY41" fmla="*/ 78772 h 530828"/>
                <a:gd name="connsiteX42" fmla="*/ 132017 w 338518"/>
                <a:gd name="connsiteY42" fmla="*/ 74200 h 530828"/>
                <a:gd name="connsiteX43" fmla="*/ 108680 w 338518"/>
                <a:gd name="connsiteY43" fmla="*/ 82677 h 530828"/>
                <a:gd name="connsiteX44" fmla="*/ 93154 w 338518"/>
                <a:gd name="connsiteY44" fmla="*/ 109538 h 530828"/>
                <a:gd name="connsiteX45" fmla="*/ 45815 w 338518"/>
                <a:gd name="connsiteY45" fmla="*/ 95441 h 530828"/>
                <a:gd name="connsiteX46" fmla="*/ 255842 w 338518"/>
                <a:gd name="connsiteY46" fmla="*/ 366808 h 530828"/>
                <a:gd name="connsiteX47" fmla="*/ 217361 w 338518"/>
                <a:gd name="connsiteY47" fmla="*/ 356235 h 530828"/>
                <a:gd name="connsiteX48" fmla="*/ 170402 w 338518"/>
                <a:gd name="connsiteY48" fmla="*/ 351949 h 530828"/>
                <a:gd name="connsiteX49" fmla="*/ 107537 w 338518"/>
                <a:gd name="connsiteY49" fmla="*/ 367475 h 530828"/>
                <a:gd name="connsiteX50" fmla="*/ 84963 w 338518"/>
                <a:gd name="connsiteY50" fmla="*/ 409861 h 530828"/>
                <a:gd name="connsiteX51" fmla="*/ 84963 w 338518"/>
                <a:gd name="connsiteY51" fmla="*/ 411290 h 530828"/>
                <a:gd name="connsiteX52" fmla="*/ 105823 w 338518"/>
                <a:gd name="connsiteY52" fmla="*/ 452247 h 530828"/>
                <a:gd name="connsiteX53" fmla="*/ 157067 w 338518"/>
                <a:gd name="connsiteY53" fmla="*/ 466344 h 530828"/>
                <a:gd name="connsiteX54" fmla="*/ 196310 w 338518"/>
                <a:gd name="connsiteY54" fmla="*/ 460724 h 530828"/>
                <a:gd name="connsiteX55" fmla="*/ 227743 w 338518"/>
                <a:gd name="connsiteY55" fmla="*/ 444818 h 530828"/>
                <a:gd name="connsiteX56" fmla="*/ 248603 w 338518"/>
                <a:gd name="connsiteY56" fmla="*/ 420053 h 530828"/>
                <a:gd name="connsiteX57" fmla="*/ 256032 w 338518"/>
                <a:gd name="connsiteY57" fmla="*/ 387858 h 530828"/>
                <a:gd name="connsiteX58" fmla="*/ 256032 w 338518"/>
                <a:gd name="connsiteY58" fmla="*/ 366617 h 5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8518" h="530828">
                  <a:moveTo>
                    <a:pt x="253651" y="523018"/>
                  </a:moveTo>
                  <a:lnTo>
                    <a:pt x="253651" y="477107"/>
                  </a:lnTo>
                  <a:cubicBezTo>
                    <a:pt x="240887" y="492157"/>
                    <a:pt x="224695" y="504920"/>
                    <a:pt x="204883" y="515303"/>
                  </a:cubicBezTo>
                  <a:cubicBezTo>
                    <a:pt x="185071" y="525685"/>
                    <a:pt x="161068" y="530828"/>
                    <a:pt x="132779" y="530828"/>
                  </a:cubicBezTo>
                  <a:cubicBezTo>
                    <a:pt x="114871" y="530828"/>
                    <a:pt x="97917" y="528352"/>
                    <a:pt x="81915" y="523399"/>
                  </a:cubicBezTo>
                  <a:cubicBezTo>
                    <a:pt x="65913" y="518446"/>
                    <a:pt x="51911" y="511112"/>
                    <a:pt x="39910" y="501491"/>
                  </a:cubicBezTo>
                  <a:cubicBezTo>
                    <a:pt x="27908" y="491871"/>
                    <a:pt x="18193" y="479870"/>
                    <a:pt x="10954" y="465487"/>
                  </a:cubicBezTo>
                  <a:cubicBezTo>
                    <a:pt x="3620" y="451104"/>
                    <a:pt x="0" y="434531"/>
                    <a:pt x="0" y="415671"/>
                  </a:cubicBezTo>
                  <a:lnTo>
                    <a:pt x="0" y="414242"/>
                  </a:lnTo>
                  <a:cubicBezTo>
                    <a:pt x="0" y="393478"/>
                    <a:pt x="3810" y="375476"/>
                    <a:pt x="11335" y="360140"/>
                  </a:cubicBezTo>
                  <a:cubicBezTo>
                    <a:pt x="18860" y="344805"/>
                    <a:pt x="29337" y="332137"/>
                    <a:pt x="42767" y="321945"/>
                  </a:cubicBezTo>
                  <a:cubicBezTo>
                    <a:pt x="56198" y="311849"/>
                    <a:pt x="72200" y="304324"/>
                    <a:pt x="90773" y="299371"/>
                  </a:cubicBezTo>
                  <a:cubicBezTo>
                    <a:pt x="109347" y="294418"/>
                    <a:pt x="129540" y="291941"/>
                    <a:pt x="151162" y="291941"/>
                  </a:cubicBezTo>
                  <a:cubicBezTo>
                    <a:pt x="172784" y="291941"/>
                    <a:pt x="192977" y="293370"/>
                    <a:pt x="208788" y="296228"/>
                  </a:cubicBezTo>
                  <a:cubicBezTo>
                    <a:pt x="224600" y="299085"/>
                    <a:pt x="239744" y="302800"/>
                    <a:pt x="254413" y="307562"/>
                  </a:cubicBezTo>
                  <a:lnTo>
                    <a:pt x="254413" y="300514"/>
                  </a:lnTo>
                  <a:cubicBezTo>
                    <a:pt x="254413" y="274606"/>
                    <a:pt x="246507" y="254794"/>
                    <a:pt x="230696" y="241173"/>
                  </a:cubicBezTo>
                  <a:cubicBezTo>
                    <a:pt x="214884" y="227552"/>
                    <a:pt x="192215" y="220694"/>
                    <a:pt x="162496" y="220694"/>
                  </a:cubicBezTo>
                  <a:cubicBezTo>
                    <a:pt x="141351" y="220694"/>
                    <a:pt x="122492" y="222790"/>
                    <a:pt x="106013" y="227076"/>
                  </a:cubicBezTo>
                  <a:cubicBezTo>
                    <a:pt x="89535" y="231362"/>
                    <a:pt x="72771" y="236982"/>
                    <a:pt x="55817" y="244031"/>
                  </a:cubicBezTo>
                  <a:lnTo>
                    <a:pt x="32480" y="175451"/>
                  </a:lnTo>
                  <a:cubicBezTo>
                    <a:pt x="53150" y="166021"/>
                    <a:pt x="74390" y="158496"/>
                    <a:pt x="96107" y="152876"/>
                  </a:cubicBezTo>
                  <a:cubicBezTo>
                    <a:pt x="117729" y="147257"/>
                    <a:pt x="143923" y="144399"/>
                    <a:pt x="174593" y="144399"/>
                  </a:cubicBezTo>
                  <a:cubicBezTo>
                    <a:pt x="230124" y="144399"/>
                    <a:pt x="271367" y="158210"/>
                    <a:pt x="298228" y="185738"/>
                  </a:cubicBezTo>
                  <a:cubicBezTo>
                    <a:pt x="325088" y="213265"/>
                    <a:pt x="338519" y="252032"/>
                    <a:pt x="338519" y="301943"/>
                  </a:cubicBezTo>
                  <a:lnTo>
                    <a:pt x="338519" y="523113"/>
                  </a:lnTo>
                  <a:lnTo>
                    <a:pt x="253746" y="523113"/>
                  </a:lnTo>
                  <a:close/>
                  <a:moveTo>
                    <a:pt x="45911" y="95441"/>
                  </a:moveTo>
                  <a:cubicBezTo>
                    <a:pt x="53912" y="66675"/>
                    <a:pt x="63722" y="44768"/>
                    <a:pt x="75248" y="29718"/>
                  </a:cubicBezTo>
                  <a:cubicBezTo>
                    <a:pt x="86773" y="14669"/>
                    <a:pt x="103442" y="7144"/>
                    <a:pt x="125063" y="7144"/>
                  </a:cubicBezTo>
                  <a:cubicBezTo>
                    <a:pt x="134969" y="7144"/>
                    <a:pt x="144590" y="8668"/>
                    <a:pt x="154019" y="11716"/>
                  </a:cubicBezTo>
                  <a:cubicBezTo>
                    <a:pt x="163449" y="14764"/>
                    <a:pt x="172498" y="18098"/>
                    <a:pt x="181261" y="21622"/>
                  </a:cubicBezTo>
                  <a:cubicBezTo>
                    <a:pt x="189929" y="25146"/>
                    <a:pt x="198120" y="28385"/>
                    <a:pt x="205645" y="31147"/>
                  </a:cubicBezTo>
                  <a:cubicBezTo>
                    <a:pt x="213170" y="34004"/>
                    <a:pt x="220218" y="35338"/>
                    <a:pt x="226790" y="35338"/>
                  </a:cubicBezTo>
                  <a:cubicBezTo>
                    <a:pt x="237173" y="35338"/>
                    <a:pt x="244888" y="32480"/>
                    <a:pt x="250127" y="26861"/>
                  </a:cubicBezTo>
                  <a:cubicBezTo>
                    <a:pt x="255270" y="21241"/>
                    <a:pt x="260509" y="12287"/>
                    <a:pt x="265652" y="0"/>
                  </a:cubicBezTo>
                  <a:lnTo>
                    <a:pt x="312991" y="14859"/>
                  </a:lnTo>
                  <a:cubicBezTo>
                    <a:pt x="304991" y="43148"/>
                    <a:pt x="295180" y="64770"/>
                    <a:pt x="283655" y="79820"/>
                  </a:cubicBezTo>
                  <a:cubicBezTo>
                    <a:pt x="272129" y="94869"/>
                    <a:pt x="255461" y="102394"/>
                    <a:pt x="233839" y="102394"/>
                  </a:cubicBezTo>
                  <a:cubicBezTo>
                    <a:pt x="223933" y="102394"/>
                    <a:pt x="214313" y="100965"/>
                    <a:pt x="204883" y="98203"/>
                  </a:cubicBezTo>
                  <a:cubicBezTo>
                    <a:pt x="195453" y="95345"/>
                    <a:pt x="186404" y="92202"/>
                    <a:pt x="177641" y="88678"/>
                  </a:cubicBezTo>
                  <a:cubicBezTo>
                    <a:pt x="168878" y="85154"/>
                    <a:pt x="160687" y="81820"/>
                    <a:pt x="152876" y="78772"/>
                  </a:cubicBezTo>
                  <a:cubicBezTo>
                    <a:pt x="145066" y="75724"/>
                    <a:pt x="138113" y="74200"/>
                    <a:pt x="132017" y="74200"/>
                  </a:cubicBezTo>
                  <a:cubicBezTo>
                    <a:pt x="121634" y="74200"/>
                    <a:pt x="113919" y="77057"/>
                    <a:pt x="108680" y="82677"/>
                  </a:cubicBezTo>
                  <a:cubicBezTo>
                    <a:pt x="103537" y="88297"/>
                    <a:pt x="98298" y="97250"/>
                    <a:pt x="93154" y="109538"/>
                  </a:cubicBezTo>
                  <a:lnTo>
                    <a:pt x="45815" y="95441"/>
                  </a:lnTo>
                  <a:close/>
                  <a:moveTo>
                    <a:pt x="255842" y="366808"/>
                  </a:moveTo>
                  <a:cubicBezTo>
                    <a:pt x="244983" y="362522"/>
                    <a:pt x="232124" y="358997"/>
                    <a:pt x="217361" y="356235"/>
                  </a:cubicBezTo>
                  <a:cubicBezTo>
                    <a:pt x="202502" y="353378"/>
                    <a:pt x="186880" y="351949"/>
                    <a:pt x="170402" y="351949"/>
                  </a:cubicBezTo>
                  <a:cubicBezTo>
                    <a:pt x="143542" y="351949"/>
                    <a:pt x="122587" y="357092"/>
                    <a:pt x="107537" y="367475"/>
                  </a:cubicBezTo>
                  <a:cubicBezTo>
                    <a:pt x="92488" y="377857"/>
                    <a:pt x="84963" y="391954"/>
                    <a:pt x="84963" y="409861"/>
                  </a:cubicBezTo>
                  <a:lnTo>
                    <a:pt x="84963" y="411290"/>
                  </a:lnTo>
                  <a:cubicBezTo>
                    <a:pt x="84963" y="429197"/>
                    <a:pt x="91916" y="442817"/>
                    <a:pt x="105823" y="452247"/>
                  </a:cubicBezTo>
                  <a:cubicBezTo>
                    <a:pt x="119729" y="461677"/>
                    <a:pt x="136779" y="466344"/>
                    <a:pt x="157067" y="466344"/>
                  </a:cubicBezTo>
                  <a:cubicBezTo>
                    <a:pt x="171164" y="466344"/>
                    <a:pt x="184309" y="464439"/>
                    <a:pt x="196310" y="460724"/>
                  </a:cubicBezTo>
                  <a:cubicBezTo>
                    <a:pt x="208312" y="456914"/>
                    <a:pt x="218789" y="451676"/>
                    <a:pt x="227743" y="444818"/>
                  </a:cubicBezTo>
                  <a:cubicBezTo>
                    <a:pt x="236696" y="437960"/>
                    <a:pt x="243650" y="429768"/>
                    <a:pt x="248603" y="420053"/>
                  </a:cubicBezTo>
                  <a:cubicBezTo>
                    <a:pt x="253555" y="410432"/>
                    <a:pt x="256032" y="399669"/>
                    <a:pt x="256032" y="387858"/>
                  </a:cubicBezTo>
                  <a:lnTo>
                    <a:pt x="256032" y="366617"/>
                  </a:lnTo>
                  <a:close/>
                </a:path>
              </a:pathLst>
            </a:custGeom>
            <a:solidFill>
              <a:srgbClr val="44505E"/>
            </a:solidFill>
            <a:ln w="9525" cap="flat">
              <a:noFill/>
              <a:prstDash val="solid"/>
              <a:miter/>
            </a:ln>
          </p:spPr>
          <p:txBody>
            <a:bodyPr rtlCol="0" anchor="ctr"/>
            <a:lstStyle/>
            <a:p>
              <a:endParaRPr lang="pt-BR" noProof="0"/>
            </a:p>
          </p:txBody>
        </p:sp>
        <p:sp>
          <p:nvSpPr>
            <p:cNvPr id="31" name="Freeform: Shape 30">
              <a:extLst>
                <a:ext uri="{FF2B5EF4-FFF2-40B4-BE49-F238E27FC236}">
                  <a16:creationId xmlns:a16="http://schemas.microsoft.com/office/drawing/2014/main" id="{1E7B6C3D-C7FE-7E61-F919-2D3E05F35EB0}"/>
                </a:ext>
              </a:extLst>
            </p:cNvPr>
            <p:cNvSpPr/>
            <p:nvPr/>
          </p:nvSpPr>
          <p:spPr>
            <a:xfrm>
              <a:off x="6506477" y="699959"/>
              <a:ext cx="100038" cy="97908"/>
            </a:xfrm>
            <a:custGeom>
              <a:avLst/>
              <a:gdLst>
                <a:gd name="connsiteX0" fmla="*/ 197834 w 397954"/>
                <a:gd name="connsiteY0" fmla="*/ 389477 h 389477"/>
                <a:gd name="connsiteX1" fmla="*/ 119063 w 397954"/>
                <a:gd name="connsiteY1" fmla="*/ 374237 h 389477"/>
                <a:gd name="connsiteX2" fmla="*/ 56198 w 397954"/>
                <a:gd name="connsiteY2" fmla="*/ 332899 h 389477"/>
                <a:gd name="connsiteX3" fmla="*/ 14859 w 397954"/>
                <a:gd name="connsiteY3" fmla="*/ 271463 h 389477"/>
                <a:gd name="connsiteX4" fmla="*/ 0 w 397954"/>
                <a:gd name="connsiteY4" fmla="*/ 196501 h 389477"/>
                <a:gd name="connsiteX5" fmla="*/ 0 w 397954"/>
                <a:gd name="connsiteY5" fmla="*/ 195072 h 389477"/>
                <a:gd name="connsiteX6" fmla="*/ 15240 w 397954"/>
                <a:gd name="connsiteY6" fmla="*/ 119444 h 389477"/>
                <a:gd name="connsiteX7" fmla="*/ 56960 w 397954"/>
                <a:gd name="connsiteY7" fmla="*/ 57626 h 389477"/>
                <a:gd name="connsiteX8" fmla="*/ 119825 w 397954"/>
                <a:gd name="connsiteY8" fmla="*/ 15526 h 389477"/>
                <a:gd name="connsiteX9" fmla="*/ 199358 w 397954"/>
                <a:gd name="connsiteY9" fmla="*/ 0 h 389477"/>
                <a:gd name="connsiteX10" fmla="*/ 278892 w 397954"/>
                <a:gd name="connsiteY10" fmla="*/ 15240 h 389477"/>
                <a:gd name="connsiteX11" fmla="*/ 341757 w 397954"/>
                <a:gd name="connsiteY11" fmla="*/ 56959 h 389477"/>
                <a:gd name="connsiteX12" fmla="*/ 383096 w 397954"/>
                <a:gd name="connsiteY12" fmla="*/ 118396 h 389477"/>
                <a:gd name="connsiteX13" fmla="*/ 397955 w 397954"/>
                <a:gd name="connsiteY13" fmla="*/ 193643 h 389477"/>
                <a:gd name="connsiteX14" fmla="*/ 397955 w 397954"/>
                <a:gd name="connsiteY14" fmla="*/ 195072 h 389477"/>
                <a:gd name="connsiteX15" fmla="*/ 382714 w 397954"/>
                <a:gd name="connsiteY15" fmla="*/ 270034 h 389477"/>
                <a:gd name="connsiteX16" fmla="*/ 340995 w 397954"/>
                <a:gd name="connsiteY16" fmla="*/ 331851 h 389477"/>
                <a:gd name="connsiteX17" fmla="*/ 277749 w 397954"/>
                <a:gd name="connsiteY17" fmla="*/ 373856 h 389477"/>
                <a:gd name="connsiteX18" fmla="*/ 197834 w 397954"/>
                <a:gd name="connsiteY18" fmla="*/ 389382 h 389477"/>
                <a:gd name="connsiteX19" fmla="*/ 199263 w 397954"/>
                <a:gd name="connsiteY19" fmla="*/ 315278 h 389477"/>
                <a:gd name="connsiteX20" fmla="*/ 245936 w 397954"/>
                <a:gd name="connsiteY20" fmla="*/ 305753 h 389477"/>
                <a:gd name="connsiteX21" fmla="*/ 281369 w 397954"/>
                <a:gd name="connsiteY21" fmla="*/ 279940 h 389477"/>
                <a:gd name="connsiteX22" fmla="*/ 303848 w 397954"/>
                <a:gd name="connsiteY22" fmla="*/ 242125 h 389477"/>
                <a:gd name="connsiteX23" fmla="*/ 311563 w 397954"/>
                <a:gd name="connsiteY23" fmla="*/ 196501 h 389477"/>
                <a:gd name="connsiteX24" fmla="*/ 311563 w 397954"/>
                <a:gd name="connsiteY24" fmla="*/ 195072 h 389477"/>
                <a:gd name="connsiteX25" fmla="*/ 303181 w 397954"/>
                <a:gd name="connsiteY25" fmla="*/ 148400 h 389477"/>
                <a:gd name="connsiteX26" fmla="*/ 279654 w 397954"/>
                <a:gd name="connsiteY26" fmla="*/ 110204 h 389477"/>
                <a:gd name="connsiteX27" fmla="*/ 243840 w 397954"/>
                <a:gd name="connsiteY27" fmla="*/ 84392 h 389477"/>
                <a:gd name="connsiteX28" fmla="*/ 197834 w 397954"/>
                <a:gd name="connsiteY28" fmla="*/ 74867 h 389477"/>
                <a:gd name="connsiteX29" fmla="*/ 151829 w 397954"/>
                <a:gd name="connsiteY29" fmla="*/ 84392 h 389477"/>
                <a:gd name="connsiteX30" fmla="*/ 116396 w 397954"/>
                <a:gd name="connsiteY30" fmla="*/ 109823 h 389477"/>
                <a:gd name="connsiteX31" fmla="*/ 93916 w 397954"/>
                <a:gd name="connsiteY31" fmla="*/ 147638 h 389477"/>
                <a:gd name="connsiteX32" fmla="*/ 86201 w 397954"/>
                <a:gd name="connsiteY32" fmla="*/ 193548 h 389477"/>
                <a:gd name="connsiteX33" fmla="*/ 86201 w 397954"/>
                <a:gd name="connsiteY33" fmla="*/ 194977 h 389477"/>
                <a:gd name="connsiteX34" fmla="*/ 94583 w 397954"/>
                <a:gd name="connsiteY34" fmla="*/ 241268 h 389477"/>
                <a:gd name="connsiteX35" fmla="*/ 118110 w 397954"/>
                <a:gd name="connsiteY35" fmla="*/ 279463 h 389477"/>
                <a:gd name="connsiteX36" fmla="*/ 153924 w 397954"/>
                <a:gd name="connsiteY36" fmla="*/ 305562 h 389477"/>
                <a:gd name="connsiteX37" fmla="*/ 199263 w 397954"/>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954" h="389477">
                  <a:moveTo>
                    <a:pt x="197834" y="389477"/>
                  </a:moveTo>
                  <a:cubicBezTo>
                    <a:pt x="169545" y="389477"/>
                    <a:pt x="143351" y="384429"/>
                    <a:pt x="119063" y="374237"/>
                  </a:cubicBezTo>
                  <a:cubicBezTo>
                    <a:pt x="94774" y="364141"/>
                    <a:pt x="73819" y="350330"/>
                    <a:pt x="56198" y="332899"/>
                  </a:cubicBezTo>
                  <a:cubicBezTo>
                    <a:pt x="38576" y="315468"/>
                    <a:pt x="24765" y="294989"/>
                    <a:pt x="14859" y="271463"/>
                  </a:cubicBezTo>
                  <a:cubicBezTo>
                    <a:pt x="4953" y="247936"/>
                    <a:pt x="0" y="222980"/>
                    <a:pt x="0" y="196501"/>
                  </a:cubicBezTo>
                  <a:lnTo>
                    <a:pt x="0" y="195072"/>
                  </a:lnTo>
                  <a:cubicBezTo>
                    <a:pt x="0" y="168212"/>
                    <a:pt x="5049" y="143066"/>
                    <a:pt x="15240" y="119444"/>
                  </a:cubicBezTo>
                  <a:cubicBezTo>
                    <a:pt x="25337" y="95917"/>
                    <a:pt x="39243" y="75248"/>
                    <a:pt x="56960" y="57626"/>
                  </a:cubicBezTo>
                  <a:cubicBezTo>
                    <a:pt x="74676" y="39910"/>
                    <a:pt x="95631" y="25908"/>
                    <a:pt x="119825" y="15526"/>
                  </a:cubicBezTo>
                  <a:cubicBezTo>
                    <a:pt x="144113" y="5144"/>
                    <a:pt x="170593" y="0"/>
                    <a:pt x="199358" y="0"/>
                  </a:cubicBezTo>
                  <a:cubicBezTo>
                    <a:pt x="228124" y="0"/>
                    <a:pt x="254604" y="5048"/>
                    <a:pt x="278892" y="15240"/>
                  </a:cubicBezTo>
                  <a:cubicBezTo>
                    <a:pt x="303181" y="25337"/>
                    <a:pt x="324136" y="39243"/>
                    <a:pt x="341757" y="56959"/>
                  </a:cubicBezTo>
                  <a:cubicBezTo>
                    <a:pt x="359379" y="74676"/>
                    <a:pt x="373189" y="95155"/>
                    <a:pt x="383096" y="118396"/>
                  </a:cubicBezTo>
                  <a:cubicBezTo>
                    <a:pt x="393002" y="141732"/>
                    <a:pt x="397955" y="166783"/>
                    <a:pt x="397955" y="193643"/>
                  </a:cubicBezTo>
                  <a:lnTo>
                    <a:pt x="397955" y="195072"/>
                  </a:lnTo>
                  <a:cubicBezTo>
                    <a:pt x="397955" y="221456"/>
                    <a:pt x="392906" y="246412"/>
                    <a:pt x="382714" y="270034"/>
                  </a:cubicBezTo>
                  <a:cubicBezTo>
                    <a:pt x="372618" y="293561"/>
                    <a:pt x="358712" y="314230"/>
                    <a:pt x="340995" y="331851"/>
                  </a:cubicBezTo>
                  <a:cubicBezTo>
                    <a:pt x="323279" y="349472"/>
                    <a:pt x="302229" y="363569"/>
                    <a:pt x="277749" y="373856"/>
                  </a:cubicBezTo>
                  <a:cubicBezTo>
                    <a:pt x="253270" y="384238"/>
                    <a:pt x="226600" y="389382"/>
                    <a:pt x="197834" y="389382"/>
                  </a:cubicBezTo>
                  <a:close/>
                  <a:moveTo>
                    <a:pt x="199263" y="315278"/>
                  </a:moveTo>
                  <a:cubicBezTo>
                    <a:pt x="216598" y="315278"/>
                    <a:pt x="232124" y="312039"/>
                    <a:pt x="245936" y="305753"/>
                  </a:cubicBezTo>
                  <a:cubicBezTo>
                    <a:pt x="259747" y="299371"/>
                    <a:pt x="271558" y="290798"/>
                    <a:pt x="281369" y="279940"/>
                  </a:cubicBezTo>
                  <a:cubicBezTo>
                    <a:pt x="291179" y="269081"/>
                    <a:pt x="298704" y="256508"/>
                    <a:pt x="303848" y="242125"/>
                  </a:cubicBezTo>
                  <a:cubicBezTo>
                    <a:pt x="308991" y="227743"/>
                    <a:pt x="311563" y="212598"/>
                    <a:pt x="311563" y="196501"/>
                  </a:cubicBezTo>
                  <a:lnTo>
                    <a:pt x="311563" y="195072"/>
                  </a:lnTo>
                  <a:cubicBezTo>
                    <a:pt x="311563" y="178594"/>
                    <a:pt x="308706" y="163068"/>
                    <a:pt x="303181" y="148400"/>
                  </a:cubicBezTo>
                  <a:cubicBezTo>
                    <a:pt x="297561" y="133826"/>
                    <a:pt x="289750" y="121063"/>
                    <a:pt x="279654" y="110204"/>
                  </a:cubicBezTo>
                  <a:cubicBezTo>
                    <a:pt x="269557" y="99346"/>
                    <a:pt x="257651" y="90773"/>
                    <a:pt x="243840" y="84392"/>
                  </a:cubicBezTo>
                  <a:cubicBezTo>
                    <a:pt x="230029" y="78010"/>
                    <a:pt x="214694" y="74867"/>
                    <a:pt x="197834" y="74867"/>
                  </a:cubicBezTo>
                  <a:cubicBezTo>
                    <a:pt x="180975" y="74867"/>
                    <a:pt x="165640" y="78010"/>
                    <a:pt x="151829" y="84392"/>
                  </a:cubicBezTo>
                  <a:cubicBezTo>
                    <a:pt x="138017" y="90773"/>
                    <a:pt x="126206" y="99250"/>
                    <a:pt x="116396" y="109823"/>
                  </a:cubicBezTo>
                  <a:cubicBezTo>
                    <a:pt x="106585" y="120396"/>
                    <a:pt x="99060" y="133064"/>
                    <a:pt x="93916" y="147638"/>
                  </a:cubicBezTo>
                  <a:cubicBezTo>
                    <a:pt x="88773" y="162211"/>
                    <a:pt x="86201" y="177546"/>
                    <a:pt x="86201" y="193548"/>
                  </a:cubicBezTo>
                  <a:lnTo>
                    <a:pt x="86201" y="194977"/>
                  </a:lnTo>
                  <a:cubicBezTo>
                    <a:pt x="86201" y="211455"/>
                    <a:pt x="89059" y="226886"/>
                    <a:pt x="94583" y="241268"/>
                  </a:cubicBezTo>
                  <a:cubicBezTo>
                    <a:pt x="100203" y="255651"/>
                    <a:pt x="108014" y="268319"/>
                    <a:pt x="118110" y="279463"/>
                  </a:cubicBezTo>
                  <a:cubicBezTo>
                    <a:pt x="128207" y="290608"/>
                    <a:pt x="140113" y="299275"/>
                    <a:pt x="153924" y="305562"/>
                  </a:cubicBezTo>
                  <a:cubicBezTo>
                    <a:pt x="167735" y="311944"/>
                    <a:pt x="182785"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32" name="Freeform: Shape 31">
              <a:extLst>
                <a:ext uri="{FF2B5EF4-FFF2-40B4-BE49-F238E27FC236}">
                  <a16:creationId xmlns:a16="http://schemas.microsoft.com/office/drawing/2014/main" id="{58152E95-D1AD-4BEB-408C-C18E5C0F09C5}"/>
                </a:ext>
              </a:extLst>
            </p:cNvPr>
            <p:cNvSpPr/>
            <p:nvPr/>
          </p:nvSpPr>
          <p:spPr>
            <a:xfrm>
              <a:off x="662071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1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7 w 296894"/>
                <a:gd name="connsiteY23" fmla="*/ 42863 h 386714"/>
                <a:gd name="connsiteX24" fmla="*/ 254318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7 w 296894"/>
                <a:gd name="connsiteY30" fmla="*/ 124587 h 386714"/>
                <a:gd name="connsiteX31" fmla="*/ 122682 w 296894"/>
                <a:gd name="connsiteY31" fmla="*/ 138017 h 386714"/>
                <a:gd name="connsiteX32" fmla="*/ 149543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6" y="348901"/>
                    <a:pt x="0" y="330327"/>
                  </a:cubicBezTo>
                  <a:lnTo>
                    <a:pt x="38195" y="272224"/>
                  </a:lnTo>
                  <a:cubicBezTo>
                    <a:pt x="58484" y="287274"/>
                    <a:pt x="79057" y="298704"/>
                    <a:pt x="100013" y="306514"/>
                  </a:cubicBezTo>
                  <a:cubicBezTo>
                    <a:pt x="120968" y="314325"/>
                    <a:pt x="141161" y="318135"/>
                    <a:pt x="160401" y="318135"/>
                  </a:cubicBezTo>
                  <a:cubicBezTo>
                    <a:pt x="179641" y="318135"/>
                    <a:pt x="192977"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1" y="241078"/>
                    <a:pt x="176498" y="237553"/>
                    <a:pt x="166401"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2" y="40195"/>
                    <a:pt x="56864" y="30385"/>
                  </a:cubicBezTo>
                  <a:cubicBezTo>
                    <a:pt x="68866" y="20479"/>
                    <a:pt x="82962" y="12954"/>
                    <a:pt x="99250" y="7810"/>
                  </a:cubicBezTo>
                  <a:cubicBezTo>
                    <a:pt x="115538" y="2667"/>
                    <a:pt x="132779" y="0"/>
                    <a:pt x="151162" y="0"/>
                  </a:cubicBezTo>
                  <a:cubicBezTo>
                    <a:pt x="174688" y="0"/>
                    <a:pt x="198501" y="3810"/>
                    <a:pt x="222504" y="11430"/>
                  </a:cubicBezTo>
                  <a:cubicBezTo>
                    <a:pt x="246507" y="19050"/>
                    <a:pt x="268414" y="29527"/>
                    <a:pt x="288227" y="42863"/>
                  </a:cubicBezTo>
                  <a:lnTo>
                    <a:pt x="254318"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7" y="124587"/>
                  </a:cubicBezTo>
                  <a:cubicBezTo>
                    <a:pt x="108585" y="129540"/>
                    <a:pt x="114871" y="134017"/>
                    <a:pt x="122682" y="138017"/>
                  </a:cubicBezTo>
                  <a:cubicBezTo>
                    <a:pt x="130493" y="142018"/>
                    <a:pt x="139351" y="145732"/>
                    <a:pt x="149543"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696"/>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33" name="Freeform: Shape 32">
              <a:extLst>
                <a:ext uri="{FF2B5EF4-FFF2-40B4-BE49-F238E27FC236}">
                  <a16:creationId xmlns:a16="http://schemas.microsoft.com/office/drawing/2014/main" id="{94880C64-4DDB-C408-C29A-D78AAA357EE9}"/>
                </a:ext>
              </a:extLst>
            </p:cNvPr>
            <p:cNvSpPr/>
            <p:nvPr/>
          </p:nvSpPr>
          <p:spPr>
            <a:xfrm>
              <a:off x="526693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4 w 202977"/>
                <a:gd name="connsiteY17" fmla="*/ 19907 h 239267"/>
                <a:gd name="connsiteX18" fmla="*/ 59246 w 202977"/>
                <a:gd name="connsiteY18" fmla="*/ 5429 h 239267"/>
                <a:gd name="connsiteX19" fmla="*/ 104299 w 202977"/>
                <a:gd name="connsiteY19" fmla="*/ 0 h 239267"/>
                <a:gd name="connsiteX20" fmla="*/ 178880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5 w 202977"/>
                <a:gd name="connsiteY27" fmla="*/ 211169 h 239267"/>
                <a:gd name="connsiteX28" fmla="*/ 122968 w 202977"/>
                <a:gd name="connsiteY28" fmla="*/ 206788 h 239267"/>
                <a:gd name="connsiteX29" fmla="*/ 147257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9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9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3" y="99155"/>
                    <a:pt x="58674" y="95917"/>
                  </a:cubicBezTo>
                  <a:cubicBezTo>
                    <a:pt x="70771" y="92678"/>
                    <a:pt x="84011" y="90964"/>
                    <a:pt x="98584" y="90964"/>
                  </a:cubicBezTo>
                  <a:cubicBezTo>
                    <a:pt x="113157" y="90964"/>
                    <a:pt x="126301" y="91821"/>
                    <a:pt x="137160" y="93631"/>
                  </a:cubicBezTo>
                  <a:cubicBezTo>
                    <a:pt x="148019" y="95440"/>
                    <a:pt x="158687" y="97822"/>
                    <a:pt x="169069" y="100774"/>
                  </a:cubicBezTo>
                  <a:lnTo>
                    <a:pt x="169069" y="93726"/>
                  </a:lnTo>
                  <a:cubicBezTo>
                    <a:pt x="169069" y="73342"/>
                    <a:pt x="163068" y="57912"/>
                    <a:pt x="151162" y="47339"/>
                  </a:cubicBezTo>
                  <a:cubicBezTo>
                    <a:pt x="139256" y="36862"/>
                    <a:pt x="122492" y="31623"/>
                    <a:pt x="100679" y="31623"/>
                  </a:cubicBezTo>
                  <a:cubicBezTo>
                    <a:pt x="86963" y="31623"/>
                    <a:pt x="74581" y="33147"/>
                    <a:pt x="63437" y="36100"/>
                  </a:cubicBezTo>
                  <a:cubicBezTo>
                    <a:pt x="52292" y="39053"/>
                    <a:pt x="41339" y="43053"/>
                    <a:pt x="30671" y="48196"/>
                  </a:cubicBezTo>
                  <a:lnTo>
                    <a:pt x="20384" y="19907"/>
                  </a:lnTo>
                  <a:cubicBezTo>
                    <a:pt x="33147" y="13906"/>
                    <a:pt x="46101" y="9049"/>
                    <a:pt x="59246" y="5429"/>
                  </a:cubicBezTo>
                  <a:cubicBezTo>
                    <a:pt x="72295" y="1810"/>
                    <a:pt x="87344" y="0"/>
                    <a:pt x="104299" y="0"/>
                  </a:cubicBezTo>
                  <a:cubicBezTo>
                    <a:pt x="137065" y="0"/>
                    <a:pt x="161925" y="8477"/>
                    <a:pt x="178880"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99" y="239173"/>
                    <a:pt x="86011" y="239173"/>
                  </a:cubicBezTo>
                  <a:close/>
                  <a:moveTo>
                    <a:pt x="93155" y="211169"/>
                  </a:moveTo>
                  <a:cubicBezTo>
                    <a:pt x="103823" y="211169"/>
                    <a:pt x="113728" y="209740"/>
                    <a:pt x="122968" y="206788"/>
                  </a:cubicBezTo>
                  <a:cubicBezTo>
                    <a:pt x="132207" y="203835"/>
                    <a:pt x="140208" y="199644"/>
                    <a:pt x="147257"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9" y="121444"/>
                  </a:cubicBezTo>
                  <a:cubicBezTo>
                    <a:pt x="129445" y="119348"/>
                    <a:pt x="116776"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244" y="190500"/>
                    <a:pt x="47435" y="195358"/>
                    <a:pt x="52769" y="199263"/>
                  </a:cubicBezTo>
                  <a:cubicBezTo>
                    <a:pt x="58103" y="203073"/>
                    <a:pt x="64294" y="206026"/>
                    <a:pt x="71247" y="208121"/>
                  </a:cubicBezTo>
                  <a:cubicBezTo>
                    <a:pt x="78200" y="210217"/>
                    <a:pt x="85535"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34" name="Freeform: Shape 33">
              <a:extLst>
                <a:ext uri="{FF2B5EF4-FFF2-40B4-BE49-F238E27FC236}">
                  <a16:creationId xmlns:a16="http://schemas.microsoft.com/office/drawing/2014/main" id="{FFA9728D-1ED8-8737-7B81-4AB48892A3A4}"/>
                </a:ext>
              </a:extLst>
            </p:cNvPr>
            <p:cNvSpPr/>
            <p:nvPr/>
          </p:nvSpPr>
          <p:spPr>
            <a:xfrm>
              <a:off x="5331227"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9" y="303276"/>
                    <a:pt x="71438" y="300895"/>
                  </a:cubicBezTo>
                  <a:cubicBezTo>
                    <a:pt x="63437"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2"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5" name="Freeform: Shape 34">
              <a:extLst>
                <a:ext uri="{FF2B5EF4-FFF2-40B4-BE49-F238E27FC236}">
                  <a16:creationId xmlns:a16="http://schemas.microsoft.com/office/drawing/2014/main" id="{75A6076B-4B04-51C1-9A16-F6D8860E7C2D}"/>
                </a:ext>
              </a:extLst>
            </p:cNvPr>
            <p:cNvSpPr/>
            <p:nvPr/>
          </p:nvSpPr>
          <p:spPr>
            <a:xfrm>
              <a:off x="5381845"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191 w 39242"/>
                <a:gd name="connsiteY5" fmla="*/ 88392 h 319182"/>
                <a:gd name="connsiteX6" fmla="*/ 36576 w 39242"/>
                <a:gd name="connsiteY6" fmla="*/ 88392 h 319182"/>
                <a:gd name="connsiteX7" fmla="*/ 36576 w 39242"/>
                <a:gd name="connsiteY7" fmla="*/ 319183 h 319182"/>
                <a:gd name="connsiteX8" fmla="*/ 2191 w 39242"/>
                <a:gd name="connsiteY8" fmla="*/ 319183 h 319182"/>
                <a:gd name="connsiteX9" fmla="*/ 2191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191" y="88392"/>
                  </a:moveTo>
                  <a:lnTo>
                    <a:pt x="36576" y="88392"/>
                  </a:lnTo>
                  <a:lnTo>
                    <a:pt x="36576" y="319183"/>
                  </a:lnTo>
                  <a:lnTo>
                    <a:pt x="2191" y="319183"/>
                  </a:lnTo>
                  <a:lnTo>
                    <a:pt x="2191" y="88392"/>
                  </a:lnTo>
                  <a:close/>
                </a:path>
              </a:pathLst>
            </a:custGeom>
            <a:solidFill>
              <a:srgbClr val="44505E"/>
            </a:solidFill>
            <a:ln w="9525" cap="flat">
              <a:noFill/>
              <a:prstDash val="solid"/>
              <a:miter/>
            </a:ln>
          </p:spPr>
          <p:txBody>
            <a:bodyPr rtlCol="0" anchor="ctr"/>
            <a:lstStyle/>
            <a:p>
              <a:endParaRPr lang="pt-BR" noProof="0"/>
            </a:p>
          </p:txBody>
        </p:sp>
        <p:sp>
          <p:nvSpPr>
            <p:cNvPr id="36" name="Freeform: Shape 35">
              <a:extLst>
                <a:ext uri="{FF2B5EF4-FFF2-40B4-BE49-F238E27FC236}">
                  <a16:creationId xmlns:a16="http://schemas.microsoft.com/office/drawing/2014/main" id="{7DE4B128-60E6-36B9-B14F-1E1B25AA122B}"/>
                </a:ext>
              </a:extLst>
            </p:cNvPr>
            <p:cNvSpPr/>
            <p:nvPr/>
          </p:nvSpPr>
          <p:spPr>
            <a:xfrm>
              <a:off x="5406076"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8" y="303276"/>
                    <a:pt x="71438" y="300895"/>
                  </a:cubicBezTo>
                  <a:cubicBezTo>
                    <a:pt x="63436"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1"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7" name="Freeform: Shape 36">
              <a:extLst>
                <a:ext uri="{FF2B5EF4-FFF2-40B4-BE49-F238E27FC236}">
                  <a16:creationId xmlns:a16="http://schemas.microsoft.com/office/drawing/2014/main" id="{369A8CB3-4D94-49AE-D463-E3E454303266}"/>
                </a:ext>
              </a:extLst>
            </p:cNvPr>
            <p:cNvSpPr/>
            <p:nvPr/>
          </p:nvSpPr>
          <p:spPr>
            <a:xfrm>
              <a:off x="5455545" y="925297"/>
              <a:ext cx="50594" cy="59238"/>
            </a:xfrm>
            <a:custGeom>
              <a:avLst/>
              <a:gdLst>
                <a:gd name="connsiteX0" fmla="*/ 88392 w 201263"/>
                <a:gd name="connsiteY0" fmla="*/ 235648 h 235648"/>
                <a:gd name="connsiteX1" fmla="*/ 51149 w 201263"/>
                <a:gd name="connsiteY1" fmla="*/ 228981 h 235648"/>
                <a:gd name="connsiteX2" fmla="*/ 23431 w 201263"/>
                <a:gd name="connsiteY2" fmla="*/ 210026 h 235648"/>
                <a:gd name="connsiteX3" fmla="*/ 6001 w 201263"/>
                <a:gd name="connsiteY3" fmla="*/ 180784 h 235648"/>
                <a:gd name="connsiteX4" fmla="*/ 0 w 201263"/>
                <a:gd name="connsiteY4" fmla="*/ 143256 h 235648"/>
                <a:gd name="connsiteX5" fmla="*/ 0 w 201263"/>
                <a:gd name="connsiteY5" fmla="*/ 0 h 235648"/>
                <a:gd name="connsiteX6" fmla="*/ 34385 w 201263"/>
                <a:gd name="connsiteY6" fmla="*/ 0 h 235648"/>
                <a:gd name="connsiteX7" fmla="*/ 34385 w 201263"/>
                <a:gd name="connsiteY7" fmla="*/ 134493 h 235648"/>
                <a:gd name="connsiteX8" fmla="*/ 50864 w 201263"/>
                <a:gd name="connsiteY8" fmla="*/ 185261 h 235648"/>
                <a:gd name="connsiteX9" fmla="*/ 98203 w 201263"/>
                <a:gd name="connsiteY9" fmla="*/ 203930 h 235648"/>
                <a:gd name="connsiteX10" fmla="*/ 125635 w 201263"/>
                <a:gd name="connsiteY10" fmla="*/ 198787 h 235648"/>
                <a:gd name="connsiteX11" fmla="*/ 147542 w 201263"/>
                <a:gd name="connsiteY11" fmla="*/ 184118 h 235648"/>
                <a:gd name="connsiteX12" fmla="*/ 162020 w 201263"/>
                <a:gd name="connsiteY12" fmla="*/ 161163 h 235648"/>
                <a:gd name="connsiteX13" fmla="*/ 167354 w 201263"/>
                <a:gd name="connsiteY13" fmla="*/ 131826 h 235648"/>
                <a:gd name="connsiteX14" fmla="*/ 167354 w 201263"/>
                <a:gd name="connsiteY14" fmla="*/ 0 h 235648"/>
                <a:gd name="connsiteX15" fmla="*/ 201263 w 201263"/>
                <a:gd name="connsiteY15" fmla="*/ 0 h 235648"/>
                <a:gd name="connsiteX16" fmla="*/ 201263 w 201263"/>
                <a:gd name="connsiteY16" fmla="*/ 230791 h 235648"/>
                <a:gd name="connsiteX17" fmla="*/ 167354 w 201263"/>
                <a:gd name="connsiteY17" fmla="*/ 230791 h 235648"/>
                <a:gd name="connsiteX18" fmla="*/ 167354 w 201263"/>
                <a:gd name="connsiteY18" fmla="*/ 190595 h 235648"/>
                <a:gd name="connsiteX19" fmla="*/ 136969 w 201263"/>
                <a:gd name="connsiteY19" fmla="*/ 222504 h 235648"/>
                <a:gd name="connsiteX20" fmla="*/ 88297 w 201263"/>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263" h="235648">
                  <a:moveTo>
                    <a:pt x="88392" y="235648"/>
                  </a:moveTo>
                  <a:cubicBezTo>
                    <a:pt x="74390" y="235648"/>
                    <a:pt x="62008" y="233363"/>
                    <a:pt x="51149" y="228981"/>
                  </a:cubicBezTo>
                  <a:cubicBezTo>
                    <a:pt x="40291" y="224504"/>
                    <a:pt x="31052" y="218218"/>
                    <a:pt x="23431"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864" y="185261"/>
                  </a:cubicBezTo>
                  <a:cubicBezTo>
                    <a:pt x="61913" y="197739"/>
                    <a:pt x="77629" y="203930"/>
                    <a:pt x="98203" y="203930"/>
                  </a:cubicBezTo>
                  <a:cubicBezTo>
                    <a:pt x="108014" y="203930"/>
                    <a:pt x="117158" y="202216"/>
                    <a:pt x="125635" y="198787"/>
                  </a:cubicBezTo>
                  <a:cubicBezTo>
                    <a:pt x="134112" y="195358"/>
                    <a:pt x="141351" y="190500"/>
                    <a:pt x="147542" y="184118"/>
                  </a:cubicBezTo>
                  <a:cubicBezTo>
                    <a:pt x="153638" y="177736"/>
                    <a:pt x="158496" y="170116"/>
                    <a:pt x="162020" y="161163"/>
                  </a:cubicBezTo>
                  <a:cubicBezTo>
                    <a:pt x="165640" y="152305"/>
                    <a:pt x="167354" y="142494"/>
                    <a:pt x="167354" y="131826"/>
                  </a:cubicBezTo>
                  <a:lnTo>
                    <a:pt x="167354" y="0"/>
                  </a:lnTo>
                  <a:lnTo>
                    <a:pt x="201263" y="0"/>
                  </a:lnTo>
                  <a:lnTo>
                    <a:pt x="201263" y="230791"/>
                  </a:lnTo>
                  <a:lnTo>
                    <a:pt x="167354" y="230791"/>
                  </a:lnTo>
                  <a:lnTo>
                    <a:pt x="167354" y="190595"/>
                  </a:lnTo>
                  <a:cubicBezTo>
                    <a:pt x="159639" y="203073"/>
                    <a:pt x="149447" y="213741"/>
                    <a:pt x="136969" y="222504"/>
                  </a:cubicBezTo>
                  <a:cubicBezTo>
                    <a:pt x="124492" y="231267"/>
                    <a:pt x="108299" y="235648"/>
                    <a:pt x="88297" y="235648"/>
                  </a:cubicBezTo>
                  <a:close/>
                </a:path>
              </a:pathLst>
            </a:custGeom>
            <a:solidFill>
              <a:srgbClr val="44505E"/>
            </a:solidFill>
            <a:ln w="9525" cap="flat">
              <a:noFill/>
              <a:prstDash val="solid"/>
              <a:miter/>
            </a:ln>
          </p:spPr>
          <p:txBody>
            <a:bodyPr rtlCol="0" anchor="ctr"/>
            <a:lstStyle/>
            <a:p>
              <a:endParaRPr lang="pt-BR" noProof="0"/>
            </a:p>
          </p:txBody>
        </p:sp>
        <p:sp>
          <p:nvSpPr>
            <p:cNvPr id="38" name="Freeform: Shape 37">
              <a:extLst>
                <a:ext uri="{FF2B5EF4-FFF2-40B4-BE49-F238E27FC236}">
                  <a16:creationId xmlns:a16="http://schemas.microsoft.com/office/drawing/2014/main" id="{D967C561-C4E4-2D51-0573-5975DC066E61}"/>
                </a:ext>
              </a:extLst>
            </p:cNvPr>
            <p:cNvSpPr/>
            <p:nvPr/>
          </p:nvSpPr>
          <p:spPr>
            <a:xfrm>
              <a:off x="5522205" y="901353"/>
              <a:ext cx="58567" cy="83182"/>
            </a:xfrm>
            <a:custGeom>
              <a:avLst/>
              <a:gdLst>
                <a:gd name="connsiteX0" fmla="*/ 110204 w 232981"/>
                <a:gd name="connsiteY0" fmla="*/ 330898 h 330898"/>
                <a:gd name="connsiteX1" fmla="*/ 69628 w 232981"/>
                <a:gd name="connsiteY1" fmla="*/ 322897 h 330898"/>
                <a:gd name="connsiteX2" fmla="*/ 34385 w 232981"/>
                <a:gd name="connsiteY2" fmla="*/ 299466 h 330898"/>
                <a:gd name="connsiteX3" fmla="*/ 9334 w 232981"/>
                <a:gd name="connsiteY3" fmla="*/ 261938 h 330898"/>
                <a:gd name="connsiteX4" fmla="*/ 0 w 232981"/>
                <a:gd name="connsiteY4" fmla="*/ 211264 h 330898"/>
                <a:gd name="connsiteX5" fmla="*/ 0 w 232981"/>
                <a:gd name="connsiteY5" fmla="*/ 210407 h 330898"/>
                <a:gd name="connsiteX6" fmla="*/ 9334 w 232981"/>
                <a:gd name="connsiteY6" fmla="*/ 159925 h 330898"/>
                <a:gd name="connsiteX7" fmla="*/ 34385 w 232981"/>
                <a:gd name="connsiteY7" fmla="*/ 122206 h 330898"/>
                <a:gd name="connsiteX8" fmla="*/ 69628 w 232981"/>
                <a:gd name="connsiteY8" fmla="*/ 98488 h 330898"/>
                <a:gd name="connsiteX9" fmla="*/ 110204 w 232981"/>
                <a:gd name="connsiteY9" fmla="*/ 90202 h 330898"/>
                <a:gd name="connsiteX10" fmla="*/ 139636 w 232981"/>
                <a:gd name="connsiteY10" fmla="*/ 94202 h 330898"/>
                <a:gd name="connsiteX11" fmla="*/ 163735 w 232981"/>
                <a:gd name="connsiteY11" fmla="*/ 104870 h 330898"/>
                <a:gd name="connsiteX12" fmla="*/ 183166 w 232981"/>
                <a:gd name="connsiteY12" fmla="*/ 120491 h 330898"/>
                <a:gd name="connsiteX13" fmla="*/ 198596 w 232981"/>
                <a:gd name="connsiteY13" fmla="*/ 139255 h 330898"/>
                <a:gd name="connsiteX14" fmla="*/ 198596 w 232981"/>
                <a:gd name="connsiteY14" fmla="*/ 0 h 330898"/>
                <a:gd name="connsiteX15" fmla="*/ 232981 w 232981"/>
                <a:gd name="connsiteY15" fmla="*/ 0 h 330898"/>
                <a:gd name="connsiteX16" fmla="*/ 232981 w 232981"/>
                <a:gd name="connsiteY16" fmla="*/ 325850 h 330898"/>
                <a:gd name="connsiteX17" fmla="*/ 198596 w 232981"/>
                <a:gd name="connsiteY17" fmla="*/ 325850 h 330898"/>
                <a:gd name="connsiteX18" fmla="*/ 198596 w 232981"/>
                <a:gd name="connsiteY18" fmla="*/ 279463 h 330898"/>
                <a:gd name="connsiteX19" fmla="*/ 182785 w 232981"/>
                <a:gd name="connsiteY19" fmla="*/ 299085 h 330898"/>
                <a:gd name="connsiteX20" fmla="*/ 163354 w 232981"/>
                <a:gd name="connsiteY20" fmla="*/ 315658 h 330898"/>
                <a:gd name="connsiteX21" fmla="*/ 139446 w 232981"/>
                <a:gd name="connsiteY21" fmla="*/ 326803 h 330898"/>
                <a:gd name="connsiteX22" fmla="*/ 110204 w 232981"/>
                <a:gd name="connsiteY22" fmla="*/ 330803 h 330898"/>
                <a:gd name="connsiteX23" fmla="*/ 116491 w 232981"/>
                <a:gd name="connsiteY23" fmla="*/ 300133 h 330898"/>
                <a:gd name="connsiteX24" fmla="*/ 147542 w 232981"/>
                <a:gd name="connsiteY24" fmla="*/ 293656 h 330898"/>
                <a:gd name="connsiteX25" fmla="*/ 174307 w 232981"/>
                <a:gd name="connsiteY25" fmla="*/ 275368 h 330898"/>
                <a:gd name="connsiteX26" fmla="*/ 193072 w 232981"/>
                <a:gd name="connsiteY26" fmla="*/ 247269 h 330898"/>
                <a:gd name="connsiteX27" fmla="*/ 200025 w 232981"/>
                <a:gd name="connsiteY27" fmla="*/ 210883 h 330898"/>
                <a:gd name="connsiteX28" fmla="*/ 200025 w 232981"/>
                <a:gd name="connsiteY28" fmla="*/ 210026 h 330898"/>
                <a:gd name="connsiteX29" fmla="*/ 193072 w 232981"/>
                <a:gd name="connsiteY29" fmla="*/ 173641 h 330898"/>
                <a:gd name="connsiteX30" fmla="*/ 174307 w 232981"/>
                <a:gd name="connsiteY30" fmla="*/ 145732 h 330898"/>
                <a:gd name="connsiteX31" fmla="*/ 147542 w 232981"/>
                <a:gd name="connsiteY31" fmla="*/ 127635 h 330898"/>
                <a:gd name="connsiteX32" fmla="*/ 116491 w 232981"/>
                <a:gd name="connsiteY32" fmla="*/ 121158 h 330898"/>
                <a:gd name="connsiteX33" fmla="*/ 84772 w 232981"/>
                <a:gd name="connsiteY33" fmla="*/ 127159 h 330898"/>
                <a:gd name="connsiteX34" fmla="*/ 59150 w 232981"/>
                <a:gd name="connsiteY34" fmla="*/ 144589 h 330898"/>
                <a:gd name="connsiteX35" fmla="*/ 41719 w 232981"/>
                <a:gd name="connsiteY35" fmla="*/ 172498 h 330898"/>
                <a:gd name="connsiteX36" fmla="*/ 35242 w 232981"/>
                <a:gd name="connsiteY36" fmla="*/ 210026 h 330898"/>
                <a:gd name="connsiteX37" fmla="*/ 35242 w 232981"/>
                <a:gd name="connsiteY37" fmla="*/ 210883 h 330898"/>
                <a:gd name="connsiteX38" fmla="*/ 41719 w 232981"/>
                <a:gd name="connsiteY38" fmla="*/ 247936 h 330898"/>
                <a:gd name="connsiteX39" fmla="*/ 59341 w 232981"/>
                <a:gd name="connsiteY39" fmla="*/ 276034 h 330898"/>
                <a:gd name="connsiteX40" fmla="*/ 85249 w 232981"/>
                <a:gd name="connsiteY40" fmla="*/ 293941 h 330898"/>
                <a:gd name="connsiteX41" fmla="*/ 116491 w 23298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30898">
                  <a:moveTo>
                    <a:pt x="110204" y="330898"/>
                  </a:moveTo>
                  <a:cubicBezTo>
                    <a:pt x="96202" y="330898"/>
                    <a:pt x="82677" y="328231"/>
                    <a:pt x="69628" y="322897"/>
                  </a:cubicBezTo>
                  <a:cubicBezTo>
                    <a:pt x="56578" y="317563"/>
                    <a:pt x="44767" y="309753"/>
                    <a:pt x="34385" y="299466"/>
                  </a:cubicBezTo>
                  <a:cubicBezTo>
                    <a:pt x="24003" y="289179"/>
                    <a:pt x="15621" y="276701"/>
                    <a:pt x="9334" y="261938"/>
                  </a:cubicBezTo>
                  <a:cubicBezTo>
                    <a:pt x="3048" y="247174"/>
                    <a:pt x="0" y="230314"/>
                    <a:pt x="0" y="211264"/>
                  </a:cubicBezTo>
                  <a:lnTo>
                    <a:pt x="0" y="210407"/>
                  </a:lnTo>
                  <a:cubicBezTo>
                    <a:pt x="0" y="191643"/>
                    <a:pt x="3143" y="174879"/>
                    <a:pt x="9334" y="159925"/>
                  </a:cubicBezTo>
                  <a:cubicBezTo>
                    <a:pt x="15621" y="145066"/>
                    <a:pt x="23908" y="132493"/>
                    <a:pt x="34385" y="122206"/>
                  </a:cubicBezTo>
                  <a:cubicBezTo>
                    <a:pt x="44767" y="111919"/>
                    <a:pt x="56578" y="104013"/>
                    <a:pt x="69628" y="98488"/>
                  </a:cubicBezTo>
                  <a:cubicBezTo>
                    <a:pt x="82677" y="92964"/>
                    <a:pt x="96298" y="90202"/>
                    <a:pt x="110204" y="90202"/>
                  </a:cubicBezTo>
                  <a:cubicBezTo>
                    <a:pt x="120967" y="90202"/>
                    <a:pt x="130778" y="91535"/>
                    <a:pt x="139636" y="94202"/>
                  </a:cubicBezTo>
                  <a:cubicBezTo>
                    <a:pt x="148590" y="96869"/>
                    <a:pt x="156591" y="100489"/>
                    <a:pt x="163735" y="104870"/>
                  </a:cubicBezTo>
                  <a:cubicBezTo>
                    <a:pt x="170878" y="109347"/>
                    <a:pt x="177356" y="114586"/>
                    <a:pt x="183166" y="120491"/>
                  </a:cubicBezTo>
                  <a:cubicBezTo>
                    <a:pt x="188976" y="126492"/>
                    <a:pt x="194119" y="132683"/>
                    <a:pt x="198596" y="139255"/>
                  </a:cubicBezTo>
                  <a:lnTo>
                    <a:pt x="198596" y="0"/>
                  </a:lnTo>
                  <a:lnTo>
                    <a:pt x="232981" y="0"/>
                  </a:lnTo>
                  <a:lnTo>
                    <a:pt x="232981" y="325850"/>
                  </a:lnTo>
                  <a:lnTo>
                    <a:pt x="198596" y="325850"/>
                  </a:lnTo>
                  <a:lnTo>
                    <a:pt x="198596" y="279463"/>
                  </a:lnTo>
                  <a:cubicBezTo>
                    <a:pt x="193834" y="286321"/>
                    <a:pt x="188595" y="292894"/>
                    <a:pt x="182785" y="299085"/>
                  </a:cubicBezTo>
                  <a:cubicBezTo>
                    <a:pt x="176974" y="305371"/>
                    <a:pt x="170498" y="310896"/>
                    <a:pt x="163354" y="315658"/>
                  </a:cubicBezTo>
                  <a:cubicBezTo>
                    <a:pt x="156210" y="320421"/>
                    <a:pt x="148209" y="324136"/>
                    <a:pt x="139446" y="326803"/>
                  </a:cubicBezTo>
                  <a:cubicBezTo>
                    <a:pt x="130683" y="329470"/>
                    <a:pt x="120967" y="330803"/>
                    <a:pt x="110204" y="330803"/>
                  </a:cubicBezTo>
                  <a:close/>
                  <a:moveTo>
                    <a:pt x="116491" y="300133"/>
                  </a:moveTo>
                  <a:cubicBezTo>
                    <a:pt x="127159" y="300133"/>
                    <a:pt x="137541" y="297942"/>
                    <a:pt x="147542" y="293656"/>
                  </a:cubicBezTo>
                  <a:cubicBezTo>
                    <a:pt x="157544" y="289369"/>
                    <a:pt x="166402" y="283273"/>
                    <a:pt x="174307" y="275368"/>
                  </a:cubicBezTo>
                  <a:cubicBezTo>
                    <a:pt x="182213" y="267462"/>
                    <a:pt x="188404" y="258127"/>
                    <a:pt x="193072" y="247269"/>
                  </a:cubicBezTo>
                  <a:cubicBezTo>
                    <a:pt x="197644" y="236410"/>
                    <a:pt x="200025" y="224314"/>
                    <a:pt x="200025" y="210883"/>
                  </a:cubicBezTo>
                  <a:lnTo>
                    <a:pt x="200025" y="210026"/>
                  </a:lnTo>
                  <a:cubicBezTo>
                    <a:pt x="200025" y="196596"/>
                    <a:pt x="197739" y="184499"/>
                    <a:pt x="193072" y="173641"/>
                  </a:cubicBezTo>
                  <a:cubicBezTo>
                    <a:pt x="188500" y="162782"/>
                    <a:pt x="182213" y="153448"/>
                    <a:pt x="174307" y="145732"/>
                  </a:cubicBezTo>
                  <a:cubicBezTo>
                    <a:pt x="166402" y="138017"/>
                    <a:pt x="157448" y="132016"/>
                    <a:pt x="147542" y="127635"/>
                  </a:cubicBezTo>
                  <a:cubicBezTo>
                    <a:pt x="137541" y="123349"/>
                    <a:pt x="127254" y="121158"/>
                    <a:pt x="116491" y="121158"/>
                  </a:cubicBezTo>
                  <a:cubicBezTo>
                    <a:pt x="105156" y="121158"/>
                    <a:pt x="94583" y="123158"/>
                    <a:pt x="84772" y="127159"/>
                  </a:cubicBezTo>
                  <a:cubicBezTo>
                    <a:pt x="74962" y="131159"/>
                    <a:pt x="66389" y="136969"/>
                    <a:pt x="59150" y="144589"/>
                  </a:cubicBezTo>
                  <a:cubicBezTo>
                    <a:pt x="51816" y="152114"/>
                    <a:pt x="46101" y="161449"/>
                    <a:pt x="41719" y="172498"/>
                  </a:cubicBezTo>
                  <a:cubicBezTo>
                    <a:pt x="37433" y="183451"/>
                    <a:pt x="35242" y="196024"/>
                    <a:pt x="35242" y="210026"/>
                  </a:cubicBezTo>
                  <a:lnTo>
                    <a:pt x="35242" y="210883"/>
                  </a:lnTo>
                  <a:cubicBezTo>
                    <a:pt x="35242" y="224599"/>
                    <a:pt x="37433" y="236982"/>
                    <a:pt x="41719" y="247936"/>
                  </a:cubicBezTo>
                  <a:cubicBezTo>
                    <a:pt x="46006" y="258984"/>
                    <a:pt x="51911" y="268319"/>
                    <a:pt x="59341" y="276034"/>
                  </a:cubicBezTo>
                  <a:cubicBezTo>
                    <a:pt x="66770" y="283750"/>
                    <a:pt x="75438" y="289750"/>
                    <a:pt x="85249" y="293941"/>
                  </a:cubicBezTo>
                  <a:cubicBezTo>
                    <a:pt x="95059" y="298132"/>
                    <a:pt x="105442" y="300228"/>
                    <a:pt x="116491" y="300228"/>
                  </a:cubicBezTo>
                  <a:close/>
                </a:path>
              </a:pathLst>
            </a:custGeom>
            <a:solidFill>
              <a:srgbClr val="44505E"/>
            </a:solidFill>
            <a:ln w="9525" cap="flat">
              <a:noFill/>
              <a:prstDash val="solid"/>
              <a:miter/>
            </a:ln>
          </p:spPr>
          <p:txBody>
            <a:bodyPr rtlCol="0" anchor="ctr"/>
            <a:lstStyle/>
            <a:p>
              <a:endParaRPr lang="pt-BR" noProof="0"/>
            </a:p>
          </p:txBody>
        </p:sp>
        <p:sp>
          <p:nvSpPr>
            <p:cNvPr id="39" name="Freeform: Shape 38">
              <a:extLst>
                <a:ext uri="{FF2B5EF4-FFF2-40B4-BE49-F238E27FC236}">
                  <a16:creationId xmlns:a16="http://schemas.microsoft.com/office/drawing/2014/main" id="{CA99E0E9-5B77-C198-ACFD-143FE49A0435}"/>
                </a:ext>
              </a:extLst>
            </p:cNvPr>
            <p:cNvSpPr/>
            <p:nvPr/>
          </p:nvSpPr>
          <p:spPr>
            <a:xfrm>
              <a:off x="5596504"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6963 w 218217"/>
                <a:gd name="connsiteY3" fmla="*/ 206026 h 241077"/>
                <a:gd name="connsiteX4" fmla="*/ 116015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8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1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452 w 218217"/>
                <a:gd name="connsiteY25" fmla="*/ 106299 h 241077"/>
                <a:gd name="connsiteX26" fmla="*/ 176784 w 218217"/>
                <a:gd name="connsiteY26" fmla="*/ 76771 h 241077"/>
                <a:gd name="connsiteX27" fmla="*/ 162306 w 218217"/>
                <a:gd name="connsiteY27" fmla="*/ 52101 h 241077"/>
                <a:gd name="connsiteX28" fmla="*/ 140018 w 218217"/>
                <a:gd name="connsiteY28" fmla="*/ 35242 h 241077"/>
                <a:gd name="connsiteX29" fmla="*/ 109919 w 218217"/>
                <a:gd name="connsiteY29" fmla="*/ 29051 h 241077"/>
                <a:gd name="connsiteX30" fmla="*/ 82201 w 218217"/>
                <a:gd name="connsiteY30" fmla="*/ 34766 h 241077"/>
                <a:gd name="connsiteX31" fmla="*/ 59436 w 218217"/>
                <a:gd name="connsiteY31" fmla="*/ 50959 h 241077"/>
                <a:gd name="connsiteX32" fmla="*/ 43148 w 218217"/>
                <a:gd name="connsiteY32" fmla="*/ 75628 h 241077"/>
                <a:gd name="connsiteX33" fmla="*/ 34862 w 218217"/>
                <a:gd name="connsiteY33" fmla="*/ 106204 h 241077"/>
                <a:gd name="connsiteX34" fmla="*/ 183547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724" y="202597"/>
                    <a:pt x="86963" y="206026"/>
                  </a:cubicBezTo>
                  <a:cubicBezTo>
                    <a:pt x="96203" y="209455"/>
                    <a:pt x="105823" y="211169"/>
                    <a:pt x="116015" y="211169"/>
                  </a:cubicBezTo>
                  <a:cubicBezTo>
                    <a:pt x="132112" y="211169"/>
                    <a:pt x="145828" y="208216"/>
                    <a:pt x="157353" y="202216"/>
                  </a:cubicBezTo>
                  <a:cubicBezTo>
                    <a:pt x="168783" y="196310"/>
                    <a:pt x="179261" y="188404"/>
                    <a:pt x="188786" y="178594"/>
                  </a:cubicBezTo>
                  <a:lnTo>
                    <a:pt x="210217" y="197834"/>
                  </a:lnTo>
                  <a:cubicBezTo>
                    <a:pt x="198596" y="210979"/>
                    <a:pt x="185357" y="221361"/>
                    <a:pt x="170498" y="229267"/>
                  </a:cubicBezTo>
                  <a:cubicBezTo>
                    <a:pt x="155639"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679" y="0"/>
                    <a:pt x="110681"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452" y="106299"/>
                  </a:moveTo>
                  <a:cubicBezTo>
                    <a:pt x="182594" y="95917"/>
                    <a:pt x="180308" y="86106"/>
                    <a:pt x="176784" y="76771"/>
                  </a:cubicBezTo>
                  <a:cubicBezTo>
                    <a:pt x="173165" y="67437"/>
                    <a:pt x="168402" y="59245"/>
                    <a:pt x="162306" y="52101"/>
                  </a:cubicBezTo>
                  <a:cubicBezTo>
                    <a:pt x="156210" y="44958"/>
                    <a:pt x="148781" y="39338"/>
                    <a:pt x="140018" y="35242"/>
                  </a:cubicBezTo>
                  <a:cubicBezTo>
                    <a:pt x="131254" y="31147"/>
                    <a:pt x="121158" y="29051"/>
                    <a:pt x="109919" y="29051"/>
                  </a:cubicBezTo>
                  <a:cubicBezTo>
                    <a:pt x="100108" y="29051"/>
                    <a:pt x="90869" y="30956"/>
                    <a:pt x="82201" y="34766"/>
                  </a:cubicBezTo>
                  <a:cubicBezTo>
                    <a:pt x="73533" y="38671"/>
                    <a:pt x="66008" y="44005"/>
                    <a:pt x="59436" y="50959"/>
                  </a:cubicBezTo>
                  <a:cubicBezTo>
                    <a:pt x="52864" y="57912"/>
                    <a:pt x="47435" y="66103"/>
                    <a:pt x="43148" y="75628"/>
                  </a:cubicBezTo>
                  <a:cubicBezTo>
                    <a:pt x="38862" y="85058"/>
                    <a:pt x="36100" y="95345"/>
                    <a:pt x="34862" y="106204"/>
                  </a:cubicBezTo>
                  <a:lnTo>
                    <a:pt x="183547" y="106204"/>
                  </a:lnTo>
                  <a:close/>
                </a:path>
              </a:pathLst>
            </a:custGeom>
            <a:solidFill>
              <a:srgbClr val="44505E"/>
            </a:solidFill>
            <a:ln w="9525" cap="flat">
              <a:noFill/>
              <a:prstDash val="solid"/>
              <a:miter/>
            </a:ln>
          </p:spPr>
          <p:txBody>
            <a:bodyPr rtlCol="0" anchor="ctr"/>
            <a:lstStyle/>
            <a:p>
              <a:endParaRPr lang="pt-BR" noProof="0"/>
            </a:p>
          </p:txBody>
        </p:sp>
        <p:sp>
          <p:nvSpPr>
            <p:cNvPr id="40" name="Freeform: Shape 39">
              <a:extLst>
                <a:ext uri="{FF2B5EF4-FFF2-40B4-BE49-F238E27FC236}">
                  <a16:creationId xmlns:a16="http://schemas.microsoft.com/office/drawing/2014/main" id="{4EBA9BDF-22B4-844E-67DD-6D305133F7E7}"/>
                </a:ext>
              </a:extLst>
            </p:cNvPr>
            <p:cNvSpPr/>
            <p:nvPr/>
          </p:nvSpPr>
          <p:spPr>
            <a:xfrm>
              <a:off x="5661680" y="924268"/>
              <a:ext cx="44656" cy="60195"/>
            </a:xfrm>
            <a:custGeom>
              <a:avLst/>
              <a:gdLst>
                <a:gd name="connsiteX0" fmla="*/ 95536 w 177641"/>
                <a:gd name="connsiteY0" fmla="*/ 239268 h 239458"/>
                <a:gd name="connsiteX1" fmla="*/ 45053 w 177641"/>
                <a:gd name="connsiteY1" fmla="*/ 230124 h 239458"/>
                <a:gd name="connsiteX2" fmla="*/ 0 w 177641"/>
                <a:gd name="connsiteY2" fmla="*/ 205359 h 239458"/>
                <a:gd name="connsiteX3" fmla="*/ 17431 w 177641"/>
                <a:gd name="connsiteY3" fmla="*/ 180785 h 239458"/>
                <a:gd name="connsiteX4" fmla="*/ 56483 w 177641"/>
                <a:gd name="connsiteY4" fmla="*/ 202692 h 239458"/>
                <a:gd name="connsiteX5" fmla="*/ 97346 w 177641"/>
                <a:gd name="connsiteY5" fmla="*/ 210217 h 239458"/>
                <a:gd name="connsiteX6" fmla="*/ 131731 w 177641"/>
                <a:gd name="connsiteY6" fmla="*/ 200406 h 239458"/>
                <a:gd name="connsiteX7" fmla="*/ 145161 w 177641"/>
                <a:gd name="connsiteY7" fmla="*/ 173641 h 239458"/>
                <a:gd name="connsiteX8" fmla="*/ 145161 w 177641"/>
                <a:gd name="connsiteY8" fmla="*/ 172784 h 239458"/>
                <a:gd name="connsiteX9" fmla="*/ 140494 w 177641"/>
                <a:gd name="connsiteY9" fmla="*/ 158020 h 239458"/>
                <a:gd name="connsiteX10" fmla="*/ 127730 w 177641"/>
                <a:gd name="connsiteY10" fmla="*/ 147066 h 239458"/>
                <a:gd name="connsiteX11" fmla="*/ 109157 w 177641"/>
                <a:gd name="connsiteY11" fmla="*/ 138779 h 239458"/>
                <a:gd name="connsiteX12" fmla="*/ 87535 w 177641"/>
                <a:gd name="connsiteY12" fmla="*/ 132112 h 239458"/>
                <a:gd name="connsiteX13" fmla="*/ 60484 w 177641"/>
                <a:gd name="connsiteY13" fmla="*/ 123444 h 239458"/>
                <a:gd name="connsiteX14" fmla="*/ 35909 w 177641"/>
                <a:gd name="connsiteY14" fmla="*/ 111633 h 239458"/>
                <a:gd name="connsiteX15" fmla="*/ 18098 w 177641"/>
                <a:gd name="connsiteY15" fmla="*/ 93726 h 239458"/>
                <a:gd name="connsiteX16" fmla="*/ 11144 w 177641"/>
                <a:gd name="connsiteY16" fmla="*/ 66961 h 239458"/>
                <a:gd name="connsiteX17" fmla="*/ 11144 w 177641"/>
                <a:gd name="connsiteY17" fmla="*/ 66008 h 239458"/>
                <a:gd name="connsiteX18" fmla="*/ 16954 w 177641"/>
                <a:gd name="connsiteY18" fmla="*/ 39053 h 239458"/>
                <a:gd name="connsiteX19" fmla="*/ 33242 w 177641"/>
                <a:gd name="connsiteY19" fmla="*/ 18098 h 239458"/>
                <a:gd name="connsiteX20" fmla="*/ 58293 w 177641"/>
                <a:gd name="connsiteY20" fmla="*/ 4667 h 239458"/>
                <a:gd name="connsiteX21" fmla="*/ 89725 w 177641"/>
                <a:gd name="connsiteY21" fmla="*/ 0 h 239458"/>
                <a:gd name="connsiteX22" fmla="*/ 133064 w 177641"/>
                <a:gd name="connsiteY22" fmla="*/ 6953 h 239458"/>
                <a:gd name="connsiteX23" fmla="*/ 172784 w 177641"/>
                <a:gd name="connsiteY23" fmla="*/ 25527 h 239458"/>
                <a:gd name="connsiteX24" fmla="*/ 157163 w 177641"/>
                <a:gd name="connsiteY24" fmla="*/ 51435 h 239458"/>
                <a:gd name="connsiteX25" fmla="*/ 123444 w 177641"/>
                <a:gd name="connsiteY25" fmla="*/ 35147 h 239458"/>
                <a:gd name="connsiteX26" fmla="*/ 88868 w 177641"/>
                <a:gd name="connsiteY26" fmla="*/ 29146 h 239458"/>
                <a:gd name="connsiteX27" fmla="*/ 56293 w 177641"/>
                <a:gd name="connsiteY27" fmla="*/ 38767 h 239458"/>
                <a:gd name="connsiteX28" fmla="*/ 44196 w 177641"/>
                <a:gd name="connsiteY28" fmla="*/ 62675 h 239458"/>
                <a:gd name="connsiteX29" fmla="*/ 44196 w 177641"/>
                <a:gd name="connsiteY29" fmla="*/ 63627 h 239458"/>
                <a:gd name="connsiteX30" fmla="*/ 49149 w 177641"/>
                <a:gd name="connsiteY30" fmla="*/ 77724 h 239458"/>
                <a:gd name="connsiteX31" fmla="*/ 62294 w 177641"/>
                <a:gd name="connsiteY31" fmla="*/ 88202 h 239458"/>
                <a:gd name="connsiteX32" fmla="*/ 81248 w 177641"/>
                <a:gd name="connsiteY32" fmla="*/ 96203 h 239458"/>
                <a:gd name="connsiteX33" fmla="*/ 103537 w 177641"/>
                <a:gd name="connsiteY33" fmla="*/ 103346 h 239458"/>
                <a:gd name="connsiteX34" fmla="*/ 130112 w 177641"/>
                <a:gd name="connsiteY34" fmla="*/ 112300 h 239458"/>
                <a:gd name="connsiteX35" fmla="*/ 154019 w 177641"/>
                <a:gd name="connsiteY35" fmla="*/ 124778 h 239458"/>
                <a:gd name="connsiteX36" fmla="*/ 171164 w 177641"/>
                <a:gd name="connsiteY36" fmla="*/ 143066 h 239458"/>
                <a:gd name="connsiteX37" fmla="*/ 177641 w 177641"/>
                <a:gd name="connsiteY37" fmla="*/ 169450 h 239458"/>
                <a:gd name="connsiteX38" fmla="*/ 177641 w 177641"/>
                <a:gd name="connsiteY38" fmla="*/ 170307 h 239458"/>
                <a:gd name="connsiteX39" fmla="*/ 171164 w 177641"/>
                <a:gd name="connsiteY39" fmla="*/ 199549 h 239458"/>
                <a:gd name="connsiteX40" fmla="*/ 153734 w 177641"/>
                <a:gd name="connsiteY40" fmla="*/ 221171 h 239458"/>
                <a:gd name="connsiteX41" fmla="*/ 127825 w 177641"/>
                <a:gd name="connsiteY41" fmla="*/ 234791 h 239458"/>
                <a:gd name="connsiteX42" fmla="*/ 95441 w 177641"/>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641" h="239458">
                  <a:moveTo>
                    <a:pt x="95536" y="239268"/>
                  </a:moveTo>
                  <a:cubicBezTo>
                    <a:pt x="78867" y="239268"/>
                    <a:pt x="62008" y="236220"/>
                    <a:pt x="45053" y="230124"/>
                  </a:cubicBezTo>
                  <a:cubicBezTo>
                    <a:pt x="28099" y="224028"/>
                    <a:pt x="13049" y="215741"/>
                    <a:pt x="0" y="205359"/>
                  </a:cubicBezTo>
                  <a:lnTo>
                    <a:pt x="17431" y="180785"/>
                  </a:lnTo>
                  <a:cubicBezTo>
                    <a:pt x="29908"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542" y="162211"/>
                    <a:pt x="140494" y="158020"/>
                  </a:cubicBezTo>
                  <a:cubicBezTo>
                    <a:pt x="137350" y="153829"/>
                    <a:pt x="133160" y="150209"/>
                    <a:pt x="127730" y="147066"/>
                  </a:cubicBezTo>
                  <a:cubicBezTo>
                    <a:pt x="122396" y="143923"/>
                    <a:pt x="116205" y="141161"/>
                    <a:pt x="109157" y="138779"/>
                  </a:cubicBezTo>
                  <a:cubicBezTo>
                    <a:pt x="102203" y="136398"/>
                    <a:pt x="94964" y="134207"/>
                    <a:pt x="87535" y="132112"/>
                  </a:cubicBezTo>
                  <a:cubicBezTo>
                    <a:pt x="78581" y="129445"/>
                    <a:pt x="69628" y="126492"/>
                    <a:pt x="60484" y="123444"/>
                  </a:cubicBezTo>
                  <a:cubicBezTo>
                    <a:pt x="51435" y="120301"/>
                    <a:pt x="43244" y="116396"/>
                    <a:pt x="35909" y="111633"/>
                  </a:cubicBezTo>
                  <a:cubicBezTo>
                    <a:pt x="28575" y="106871"/>
                    <a:pt x="22670" y="100870"/>
                    <a:pt x="18098" y="93726"/>
                  </a:cubicBezTo>
                  <a:cubicBezTo>
                    <a:pt x="13525" y="86582"/>
                    <a:pt x="11144" y="77629"/>
                    <a:pt x="11144" y="66961"/>
                  </a:cubicBezTo>
                  <a:lnTo>
                    <a:pt x="11144" y="66008"/>
                  </a:lnTo>
                  <a:cubicBezTo>
                    <a:pt x="11144" y="56198"/>
                    <a:pt x="13049" y="47149"/>
                    <a:pt x="16954" y="39053"/>
                  </a:cubicBezTo>
                  <a:cubicBezTo>
                    <a:pt x="20860" y="30861"/>
                    <a:pt x="26289" y="23908"/>
                    <a:pt x="33242" y="18098"/>
                  </a:cubicBezTo>
                  <a:cubicBezTo>
                    <a:pt x="40196" y="12287"/>
                    <a:pt x="48578" y="7811"/>
                    <a:pt x="58293" y="4667"/>
                  </a:cubicBezTo>
                  <a:cubicBezTo>
                    <a:pt x="67913" y="1524"/>
                    <a:pt x="78486" y="0"/>
                    <a:pt x="89725" y="0"/>
                  </a:cubicBezTo>
                  <a:cubicBezTo>
                    <a:pt x="104013" y="0"/>
                    <a:pt x="118396" y="2286"/>
                    <a:pt x="133064" y="6953"/>
                  </a:cubicBezTo>
                  <a:cubicBezTo>
                    <a:pt x="147638" y="11621"/>
                    <a:pt x="160877" y="17717"/>
                    <a:pt x="172784" y="25527"/>
                  </a:cubicBezTo>
                  <a:lnTo>
                    <a:pt x="157163" y="51435"/>
                  </a:lnTo>
                  <a:cubicBezTo>
                    <a:pt x="146399" y="44577"/>
                    <a:pt x="135255" y="39148"/>
                    <a:pt x="123444" y="35147"/>
                  </a:cubicBezTo>
                  <a:cubicBezTo>
                    <a:pt x="111728" y="31147"/>
                    <a:pt x="100203" y="29146"/>
                    <a:pt x="88868" y="29146"/>
                  </a:cubicBezTo>
                  <a:cubicBezTo>
                    <a:pt x="75152" y="29146"/>
                    <a:pt x="64294" y="32385"/>
                    <a:pt x="56293" y="38767"/>
                  </a:cubicBezTo>
                  <a:cubicBezTo>
                    <a:pt x="48292" y="45149"/>
                    <a:pt x="44196" y="53150"/>
                    <a:pt x="44196" y="62675"/>
                  </a:cubicBezTo>
                  <a:lnTo>
                    <a:pt x="44196" y="63627"/>
                  </a:lnTo>
                  <a:cubicBezTo>
                    <a:pt x="44196" y="68961"/>
                    <a:pt x="45815" y="73628"/>
                    <a:pt x="49149" y="77724"/>
                  </a:cubicBezTo>
                  <a:cubicBezTo>
                    <a:pt x="52388" y="81725"/>
                    <a:pt x="56769" y="85249"/>
                    <a:pt x="62294" y="88202"/>
                  </a:cubicBezTo>
                  <a:cubicBezTo>
                    <a:pt x="67818" y="91154"/>
                    <a:pt x="74104" y="93821"/>
                    <a:pt x="81248" y="96203"/>
                  </a:cubicBezTo>
                  <a:cubicBezTo>
                    <a:pt x="88392" y="98584"/>
                    <a:pt x="95821" y="100965"/>
                    <a:pt x="103537" y="103346"/>
                  </a:cubicBezTo>
                  <a:cubicBezTo>
                    <a:pt x="112490" y="106013"/>
                    <a:pt x="121349" y="108966"/>
                    <a:pt x="130112" y="112300"/>
                  </a:cubicBezTo>
                  <a:cubicBezTo>
                    <a:pt x="138875" y="115538"/>
                    <a:pt x="146875" y="119729"/>
                    <a:pt x="154019" y="124778"/>
                  </a:cubicBezTo>
                  <a:cubicBezTo>
                    <a:pt x="161163" y="129826"/>
                    <a:pt x="166878" y="135922"/>
                    <a:pt x="171164" y="143066"/>
                  </a:cubicBezTo>
                  <a:cubicBezTo>
                    <a:pt x="175450" y="150209"/>
                    <a:pt x="177641" y="158972"/>
                    <a:pt x="177641" y="169450"/>
                  </a:cubicBezTo>
                  <a:lnTo>
                    <a:pt x="177641" y="170307"/>
                  </a:lnTo>
                  <a:cubicBezTo>
                    <a:pt x="177641" y="181356"/>
                    <a:pt x="175450" y="191071"/>
                    <a:pt x="171164" y="199549"/>
                  </a:cubicBezTo>
                  <a:cubicBezTo>
                    <a:pt x="166878" y="208026"/>
                    <a:pt x="161068" y="215265"/>
                    <a:pt x="153734" y="221171"/>
                  </a:cubicBezTo>
                  <a:cubicBezTo>
                    <a:pt x="146495" y="227171"/>
                    <a:pt x="137827" y="231648"/>
                    <a:pt x="127825" y="234791"/>
                  </a:cubicBezTo>
                  <a:cubicBezTo>
                    <a:pt x="117824" y="237935"/>
                    <a:pt x="107061" y="239459"/>
                    <a:pt x="95441" y="239459"/>
                  </a:cubicBezTo>
                  <a:close/>
                </a:path>
              </a:pathLst>
            </a:custGeom>
            <a:solidFill>
              <a:srgbClr val="44505E"/>
            </a:solidFill>
            <a:ln w="9525" cap="flat">
              <a:noFill/>
              <a:prstDash val="solid"/>
              <a:miter/>
            </a:ln>
          </p:spPr>
          <p:txBody>
            <a:bodyPr rtlCol="0" anchor="ctr"/>
            <a:lstStyle/>
            <a:p>
              <a:endParaRPr lang="pt-BR" noProof="0"/>
            </a:p>
          </p:txBody>
        </p:sp>
        <p:sp>
          <p:nvSpPr>
            <p:cNvPr id="41" name="Freeform: Shape 40">
              <a:extLst>
                <a:ext uri="{FF2B5EF4-FFF2-40B4-BE49-F238E27FC236}">
                  <a16:creationId xmlns:a16="http://schemas.microsoft.com/office/drawing/2014/main" id="{0CAB84DA-A398-6FDA-2E63-64F31BF479C0}"/>
                </a:ext>
              </a:extLst>
            </p:cNvPr>
            <p:cNvSpPr/>
            <p:nvPr/>
          </p:nvSpPr>
          <p:spPr>
            <a:xfrm>
              <a:off x="5752668" y="924028"/>
              <a:ext cx="58567" cy="77196"/>
            </a:xfrm>
            <a:custGeom>
              <a:avLst/>
              <a:gdLst>
                <a:gd name="connsiteX0" fmla="*/ 198596 w 232981"/>
                <a:gd name="connsiteY0" fmla="*/ 189357 h 307085"/>
                <a:gd name="connsiteX1" fmla="*/ 182785 w 232981"/>
                <a:gd name="connsiteY1" fmla="*/ 208978 h 307085"/>
                <a:gd name="connsiteX2" fmla="*/ 163354 w 232981"/>
                <a:gd name="connsiteY2" fmla="*/ 225552 h 307085"/>
                <a:gd name="connsiteX3" fmla="*/ 139446 w 232981"/>
                <a:gd name="connsiteY3" fmla="*/ 236696 h 307085"/>
                <a:gd name="connsiteX4" fmla="*/ 110204 w 232981"/>
                <a:gd name="connsiteY4" fmla="*/ 240697 h 307085"/>
                <a:gd name="connsiteX5" fmla="*/ 69628 w 232981"/>
                <a:gd name="connsiteY5" fmla="*/ 232696 h 307085"/>
                <a:gd name="connsiteX6" fmla="*/ 34385 w 232981"/>
                <a:gd name="connsiteY6" fmla="*/ 209264 h 307085"/>
                <a:gd name="connsiteX7" fmla="*/ 9335 w 232981"/>
                <a:gd name="connsiteY7" fmla="*/ 171736 h 307085"/>
                <a:gd name="connsiteX8" fmla="*/ 0 w 232981"/>
                <a:gd name="connsiteY8" fmla="*/ 121063 h 307085"/>
                <a:gd name="connsiteX9" fmla="*/ 0 w 232981"/>
                <a:gd name="connsiteY9" fmla="*/ 120205 h 307085"/>
                <a:gd name="connsiteX10" fmla="*/ 9335 w 232981"/>
                <a:gd name="connsiteY10" fmla="*/ 69723 h 307085"/>
                <a:gd name="connsiteX11" fmla="*/ 34385 w 232981"/>
                <a:gd name="connsiteY11" fmla="*/ 32004 h 307085"/>
                <a:gd name="connsiteX12" fmla="*/ 69628 w 232981"/>
                <a:gd name="connsiteY12" fmla="*/ 8287 h 307085"/>
                <a:gd name="connsiteX13" fmla="*/ 110204 w 232981"/>
                <a:gd name="connsiteY13" fmla="*/ 0 h 307085"/>
                <a:gd name="connsiteX14" fmla="*/ 139637 w 232981"/>
                <a:gd name="connsiteY14" fmla="*/ 4000 h 307085"/>
                <a:gd name="connsiteX15" fmla="*/ 163735 w 232981"/>
                <a:gd name="connsiteY15" fmla="*/ 14668 h 307085"/>
                <a:gd name="connsiteX16" fmla="*/ 183166 w 232981"/>
                <a:gd name="connsiteY16" fmla="*/ 30289 h 307085"/>
                <a:gd name="connsiteX17" fmla="*/ 198596 w 232981"/>
                <a:gd name="connsiteY17" fmla="*/ 49054 h 307085"/>
                <a:gd name="connsiteX18" fmla="*/ 198596 w 232981"/>
                <a:gd name="connsiteY18" fmla="*/ 4858 h 307085"/>
                <a:gd name="connsiteX19" fmla="*/ 232982 w 232981"/>
                <a:gd name="connsiteY19" fmla="*/ 4858 h 307085"/>
                <a:gd name="connsiteX20" fmla="*/ 232982 w 232981"/>
                <a:gd name="connsiteY20" fmla="*/ 307086 h 307085"/>
                <a:gd name="connsiteX21" fmla="*/ 198596 w 232981"/>
                <a:gd name="connsiteY21" fmla="*/ 307086 h 307085"/>
                <a:gd name="connsiteX22" fmla="*/ 198596 w 232981"/>
                <a:gd name="connsiteY22" fmla="*/ 189262 h 307085"/>
                <a:gd name="connsiteX23" fmla="*/ 116491 w 232981"/>
                <a:gd name="connsiteY23" fmla="*/ 209931 h 307085"/>
                <a:gd name="connsiteX24" fmla="*/ 147542 w 232981"/>
                <a:gd name="connsiteY24" fmla="*/ 203454 h 307085"/>
                <a:gd name="connsiteX25" fmla="*/ 174308 w 232981"/>
                <a:gd name="connsiteY25" fmla="*/ 185166 h 307085"/>
                <a:gd name="connsiteX26" fmla="*/ 193072 w 232981"/>
                <a:gd name="connsiteY26" fmla="*/ 157067 h 307085"/>
                <a:gd name="connsiteX27" fmla="*/ 200025 w 232981"/>
                <a:gd name="connsiteY27" fmla="*/ 120682 h 307085"/>
                <a:gd name="connsiteX28" fmla="*/ 200025 w 232981"/>
                <a:gd name="connsiteY28" fmla="*/ 119824 h 307085"/>
                <a:gd name="connsiteX29" fmla="*/ 193072 w 232981"/>
                <a:gd name="connsiteY29" fmla="*/ 83439 h 307085"/>
                <a:gd name="connsiteX30" fmla="*/ 174308 w 232981"/>
                <a:gd name="connsiteY30" fmla="*/ 55531 h 307085"/>
                <a:gd name="connsiteX31" fmla="*/ 147542 w 232981"/>
                <a:gd name="connsiteY31" fmla="*/ 37433 h 307085"/>
                <a:gd name="connsiteX32" fmla="*/ 116491 w 232981"/>
                <a:gd name="connsiteY32" fmla="*/ 30956 h 307085"/>
                <a:gd name="connsiteX33" fmla="*/ 84773 w 232981"/>
                <a:gd name="connsiteY33" fmla="*/ 36957 h 307085"/>
                <a:gd name="connsiteX34" fmla="*/ 59150 w 232981"/>
                <a:gd name="connsiteY34" fmla="*/ 54388 h 307085"/>
                <a:gd name="connsiteX35" fmla="*/ 41720 w 232981"/>
                <a:gd name="connsiteY35" fmla="*/ 82296 h 307085"/>
                <a:gd name="connsiteX36" fmla="*/ 35242 w 232981"/>
                <a:gd name="connsiteY36" fmla="*/ 119824 h 307085"/>
                <a:gd name="connsiteX37" fmla="*/ 35242 w 232981"/>
                <a:gd name="connsiteY37" fmla="*/ 120682 h 307085"/>
                <a:gd name="connsiteX38" fmla="*/ 41720 w 232981"/>
                <a:gd name="connsiteY38" fmla="*/ 157734 h 307085"/>
                <a:gd name="connsiteX39" fmla="*/ 59341 w 232981"/>
                <a:gd name="connsiteY39" fmla="*/ 185833 h 307085"/>
                <a:gd name="connsiteX40" fmla="*/ 85249 w 232981"/>
                <a:gd name="connsiteY40" fmla="*/ 203740 h 307085"/>
                <a:gd name="connsiteX41" fmla="*/ 116491 w 232981"/>
                <a:gd name="connsiteY41" fmla="*/ 210026 h 30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07085">
                  <a:moveTo>
                    <a:pt x="198596" y="189357"/>
                  </a:moveTo>
                  <a:cubicBezTo>
                    <a:pt x="193834" y="196215"/>
                    <a:pt x="188595" y="202787"/>
                    <a:pt x="182785" y="208978"/>
                  </a:cubicBezTo>
                  <a:cubicBezTo>
                    <a:pt x="176975" y="215265"/>
                    <a:pt x="170498" y="220789"/>
                    <a:pt x="163354" y="225552"/>
                  </a:cubicBezTo>
                  <a:cubicBezTo>
                    <a:pt x="156210" y="230314"/>
                    <a:pt x="148209" y="234029"/>
                    <a:pt x="139446" y="236696"/>
                  </a:cubicBezTo>
                  <a:cubicBezTo>
                    <a:pt x="130683" y="239363"/>
                    <a:pt x="120967" y="240697"/>
                    <a:pt x="110204" y="240697"/>
                  </a:cubicBezTo>
                  <a:cubicBezTo>
                    <a:pt x="96203" y="240697"/>
                    <a:pt x="82677" y="238030"/>
                    <a:pt x="69628" y="232696"/>
                  </a:cubicBezTo>
                  <a:cubicBezTo>
                    <a:pt x="56579" y="227362"/>
                    <a:pt x="44767" y="219551"/>
                    <a:pt x="34385" y="209264"/>
                  </a:cubicBezTo>
                  <a:cubicBezTo>
                    <a:pt x="24003" y="198977"/>
                    <a:pt x="15621" y="186499"/>
                    <a:pt x="9335" y="171736"/>
                  </a:cubicBezTo>
                  <a:cubicBezTo>
                    <a:pt x="3048" y="156972"/>
                    <a:pt x="0" y="140113"/>
                    <a:pt x="0" y="121063"/>
                  </a:cubicBezTo>
                  <a:lnTo>
                    <a:pt x="0" y="120205"/>
                  </a:lnTo>
                  <a:cubicBezTo>
                    <a:pt x="0" y="101441"/>
                    <a:pt x="3143" y="84677"/>
                    <a:pt x="9335" y="69723"/>
                  </a:cubicBezTo>
                  <a:cubicBezTo>
                    <a:pt x="15621" y="54864"/>
                    <a:pt x="23908" y="42291"/>
                    <a:pt x="34385" y="32004"/>
                  </a:cubicBezTo>
                  <a:cubicBezTo>
                    <a:pt x="44767" y="21717"/>
                    <a:pt x="56579" y="13811"/>
                    <a:pt x="69628" y="8287"/>
                  </a:cubicBezTo>
                  <a:cubicBezTo>
                    <a:pt x="82677" y="2762"/>
                    <a:pt x="96298" y="0"/>
                    <a:pt x="110204" y="0"/>
                  </a:cubicBezTo>
                  <a:cubicBezTo>
                    <a:pt x="120967" y="0"/>
                    <a:pt x="130778" y="1333"/>
                    <a:pt x="139637" y="4000"/>
                  </a:cubicBezTo>
                  <a:cubicBezTo>
                    <a:pt x="148590" y="6667"/>
                    <a:pt x="156591" y="10287"/>
                    <a:pt x="163735" y="14668"/>
                  </a:cubicBezTo>
                  <a:cubicBezTo>
                    <a:pt x="170879" y="19145"/>
                    <a:pt x="177356" y="24384"/>
                    <a:pt x="183166" y="30289"/>
                  </a:cubicBezTo>
                  <a:cubicBezTo>
                    <a:pt x="188976" y="36290"/>
                    <a:pt x="194120" y="42481"/>
                    <a:pt x="198596" y="49054"/>
                  </a:cubicBezTo>
                  <a:lnTo>
                    <a:pt x="198596" y="4858"/>
                  </a:lnTo>
                  <a:lnTo>
                    <a:pt x="232982" y="4858"/>
                  </a:lnTo>
                  <a:lnTo>
                    <a:pt x="232982" y="307086"/>
                  </a:lnTo>
                  <a:lnTo>
                    <a:pt x="198596" y="307086"/>
                  </a:lnTo>
                  <a:lnTo>
                    <a:pt x="198596" y="189262"/>
                  </a:lnTo>
                  <a:close/>
                  <a:moveTo>
                    <a:pt x="116491" y="209931"/>
                  </a:moveTo>
                  <a:cubicBezTo>
                    <a:pt x="127159" y="209931"/>
                    <a:pt x="137541" y="207740"/>
                    <a:pt x="147542" y="203454"/>
                  </a:cubicBezTo>
                  <a:cubicBezTo>
                    <a:pt x="157544" y="199168"/>
                    <a:pt x="166402" y="193072"/>
                    <a:pt x="174308" y="185166"/>
                  </a:cubicBezTo>
                  <a:cubicBezTo>
                    <a:pt x="182213" y="177260"/>
                    <a:pt x="188404" y="167926"/>
                    <a:pt x="193072" y="157067"/>
                  </a:cubicBezTo>
                  <a:cubicBezTo>
                    <a:pt x="197739" y="146209"/>
                    <a:pt x="200025" y="134112"/>
                    <a:pt x="200025" y="120682"/>
                  </a:cubicBezTo>
                  <a:lnTo>
                    <a:pt x="200025" y="119824"/>
                  </a:lnTo>
                  <a:cubicBezTo>
                    <a:pt x="200025" y="106394"/>
                    <a:pt x="197739" y="94297"/>
                    <a:pt x="193072" y="83439"/>
                  </a:cubicBezTo>
                  <a:cubicBezTo>
                    <a:pt x="188500" y="72580"/>
                    <a:pt x="182213" y="63246"/>
                    <a:pt x="174308" y="55531"/>
                  </a:cubicBezTo>
                  <a:cubicBezTo>
                    <a:pt x="166402" y="47815"/>
                    <a:pt x="157544" y="41815"/>
                    <a:pt x="147542" y="37433"/>
                  </a:cubicBezTo>
                  <a:cubicBezTo>
                    <a:pt x="137541" y="33147"/>
                    <a:pt x="127254" y="30956"/>
                    <a:pt x="116491" y="30956"/>
                  </a:cubicBezTo>
                  <a:cubicBezTo>
                    <a:pt x="105156" y="30956"/>
                    <a:pt x="94583" y="32956"/>
                    <a:pt x="84773" y="36957"/>
                  </a:cubicBezTo>
                  <a:cubicBezTo>
                    <a:pt x="74962" y="40957"/>
                    <a:pt x="66389" y="46767"/>
                    <a:pt x="59150" y="54388"/>
                  </a:cubicBezTo>
                  <a:cubicBezTo>
                    <a:pt x="51816" y="61913"/>
                    <a:pt x="46101" y="71247"/>
                    <a:pt x="41720" y="82296"/>
                  </a:cubicBezTo>
                  <a:cubicBezTo>
                    <a:pt x="37433" y="93250"/>
                    <a:pt x="35242" y="105823"/>
                    <a:pt x="35242" y="119824"/>
                  </a:cubicBezTo>
                  <a:lnTo>
                    <a:pt x="35242" y="120682"/>
                  </a:lnTo>
                  <a:cubicBezTo>
                    <a:pt x="35242" y="134398"/>
                    <a:pt x="37433" y="146780"/>
                    <a:pt x="41720" y="157734"/>
                  </a:cubicBezTo>
                  <a:cubicBezTo>
                    <a:pt x="46006" y="168783"/>
                    <a:pt x="51911" y="178117"/>
                    <a:pt x="59341" y="185833"/>
                  </a:cubicBezTo>
                  <a:cubicBezTo>
                    <a:pt x="66770" y="193548"/>
                    <a:pt x="75438" y="199549"/>
                    <a:pt x="85249" y="203740"/>
                  </a:cubicBezTo>
                  <a:cubicBezTo>
                    <a:pt x="95060" y="207931"/>
                    <a:pt x="105442" y="210026"/>
                    <a:pt x="116491" y="210026"/>
                  </a:cubicBezTo>
                  <a:close/>
                </a:path>
              </a:pathLst>
            </a:custGeom>
            <a:solidFill>
              <a:srgbClr val="44505E"/>
            </a:solidFill>
            <a:ln w="9525" cap="flat">
              <a:noFill/>
              <a:prstDash val="solid"/>
              <a:miter/>
            </a:ln>
          </p:spPr>
          <p:txBody>
            <a:bodyPr rtlCol="0" anchor="ctr"/>
            <a:lstStyle/>
            <a:p>
              <a:endParaRPr lang="pt-BR" noProof="0"/>
            </a:p>
          </p:txBody>
        </p:sp>
        <p:sp>
          <p:nvSpPr>
            <p:cNvPr id="42" name="Freeform: Shape 41">
              <a:extLst>
                <a:ext uri="{FF2B5EF4-FFF2-40B4-BE49-F238E27FC236}">
                  <a16:creationId xmlns:a16="http://schemas.microsoft.com/office/drawing/2014/main" id="{3D01E32C-B4EE-F485-891D-1E2F09AF239B}"/>
                </a:ext>
              </a:extLst>
            </p:cNvPr>
            <p:cNvSpPr/>
            <p:nvPr/>
          </p:nvSpPr>
          <p:spPr>
            <a:xfrm>
              <a:off x="5829624" y="925297"/>
              <a:ext cx="50618" cy="59238"/>
            </a:xfrm>
            <a:custGeom>
              <a:avLst/>
              <a:gdLst>
                <a:gd name="connsiteX0" fmla="*/ 88392 w 201358"/>
                <a:gd name="connsiteY0" fmla="*/ 235648 h 235648"/>
                <a:gd name="connsiteX1" fmla="*/ 51149 w 201358"/>
                <a:gd name="connsiteY1" fmla="*/ 228981 h 235648"/>
                <a:gd name="connsiteX2" fmla="*/ 23432 w 201358"/>
                <a:gd name="connsiteY2" fmla="*/ 210026 h 235648"/>
                <a:gd name="connsiteX3" fmla="*/ 6001 w 201358"/>
                <a:gd name="connsiteY3" fmla="*/ 180784 h 235648"/>
                <a:gd name="connsiteX4" fmla="*/ 0 w 201358"/>
                <a:gd name="connsiteY4" fmla="*/ 143256 h 235648"/>
                <a:gd name="connsiteX5" fmla="*/ 0 w 201358"/>
                <a:gd name="connsiteY5" fmla="*/ 0 h 235648"/>
                <a:gd name="connsiteX6" fmla="*/ 34385 w 201358"/>
                <a:gd name="connsiteY6" fmla="*/ 0 h 235648"/>
                <a:gd name="connsiteX7" fmla="*/ 34385 w 201358"/>
                <a:gd name="connsiteY7" fmla="*/ 134493 h 235648"/>
                <a:gd name="connsiteX8" fmla="*/ 50959 w 201358"/>
                <a:gd name="connsiteY8" fmla="*/ 185261 h 235648"/>
                <a:gd name="connsiteX9" fmla="*/ 98298 w 201358"/>
                <a:gd name="connsiteY9" fmla="*/ 203930 h 235648"/>
                <a:gd name="connsiteX10" fmla="*/ 125730 w 201358"/>
                <a:gd name="connsiteY10" fmla="*/ 198787 h 235648"/>
                <a:gd name="connsiteX11" fmla="*/ 147638 w 201358"/>
                <a:gd name="connsiteY11" fmla="*/ 184118 h 235648"/>
                <a:gd name="connsiteX12" fmla="*/ 162116 w 201358"/>
                <a:gd name="connsiteY12" fmla="*/ 161163 h 235648"/>
                <a:gd name="connsiteX13" fmla="*/ 167450 w 201358"/>
                <a:gd name="connsiteY13" fmla="*/ 131826 h 235648"/>
                <a:gd name="connsiteX14" fmla="*/ 167450 w 201358"/>
                <a:gd name="connsiteY14" fmla="*/ 0 h 235648"/>
                <a:gd name="connsiteX15" fmla="*/ 201359 w 201358"/>
                <a:gd name="connsiteY15" fmla="*/ 0 h 235648"/>
                <a:gd name="connsiteX16" fmla="*/ 201359 w 201358"/>
                <a:gd name="connsiteY16" fmla="*/ 230791 h 235648"/>
                <a:gd name="connsiteX17" fmla="*/ 167450 w 201358"/>
                <a:gd name="connsiteY17" fmla="*/ 230791 h 235648"/>
                <a:gd name="connsiteX18" fmla="*/ 167450 w 201358"/>
                <a:gd name="connsiteY18" fmla="*/ 190595 h 235648"/>
                <a:gd name="connsiteX19" fmla="*/ 137065 w 201358"/>
                <a:gd name="connsiteY19" fmla="*/ 222504 h 235648"/>
                <a:gd name="connsiteX20" fmla="*/ 88392 w 201358"/>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358" h="235648">
                  <a:moveTo>
                    <a:pt x="88392" y="235648"/>
                  </a:moveTo>
                  <a:cubicBezTo>
                    <a:pt x="74390" y="235648"/>
                    <a:pt x="62008" y="233363"/>
                    <a:pt x="51149" y="228981"/>
                  </a:cubicBezTo>
                  <a:cubicBezTo>
                    <a:pt x="40291" y="224504"/>
                    <a:pt x="31052" y="218218"/>
                    <a:pt x="23432"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959" y="185261"/>
                  </a:cubicBezTo>
                  <a:cubicBezTo>
                    <a:pt x="61913" y="197739"/>
                    <a:pt x="77724" y="203930"/>
                    <a:pt x="98298" y="203930"/>
                  </a:cubicBezTo>
                  <a:cubicBezTo>
                    <a:pt x="108109" y="203930"/>
                    <a:pt x="117253" y="202216"/>
                    <a:pt x="125730" y="198787"/>
                  </a:cubicBezTo>
                  <a:cubicBezTo>
                    <a:pt x="134207" y="195358"/>
                    <a:pt x="141446" y="190500"/>
                    <a:pt x="147638" y="184118"/>
                  </a:cubicBezTo>
                  <a:cubicBezTo>
                    <a:pt x="153734" y="177736"/>
                    <a:pt x="158591" y="170116"/>
                    <a:pt x="162116" y="161163"/>
                  </a:cubicBezTo>
                  <a:cubicBezTo>
                    <a:pt x="165735" y="152305"/>
                    <a:pt x="167450" y="142494"/>
                    <a:pt x="167450" y="131826"/>
                  </a:cubicBezTo>
                  <a:lnTo>
                    <a:pt x="167450" y="0"/>
                  </a:lnTo>
                  <a:lnTo>
                    <a:pt x="201359" y="0"/>
                  </a:lnTo>
                  <a:lnTo>
                    <a:pt x="201359" y="230791"/>
                  </a:lnTo>
                  <a:lnTo>
                    <a:pt x="167450" y="230791"/>
                  </a:lnTo>
                  <a:lnTo>
                    <a:pt x="167450" y="190595"/>
                  </a:lnTo>
                  <a:cubicBezTo>
                    <a:pt x="159734" y="203073"/>
                    <a:pt x="149543" y="213741"/>
                    <a:pt x="137065" y="222504"/>
                  </a:cubicBezTo>
                  <a:cubicBezTo>
                    <a:pt x="124587" y="231267"/>
                    <a:pt x="108395" y="235648"/>
                    <a:pt x="88392" y="235648"/>
                  </a:cubicBezTo>
                  <a:close/>
                </a:path>
              </a:pathLst>
            </a:custGeom>
            <a:solidFill>
              <a:srgbClr val="44505E"/>
            </a:solidFill>
            <a:ln w="9525" cap="flat">
              <a:noFill/>
              <a:prstDash val="solid"/>
              <a:miter/>
            </a:ln>
          </p:spPr>
          <p:txBody>
            <a:bodyPr rtlCol="0" anchor="ctr"/>
            <a:lstStyle/>
            <a:p>
              <a:endParaRPr lang="pt-BR" noProof="0"/>
            </a:p>
          </p:txBody>
        </p:sp>
        <p:sp>
          <p:nvSpPr>
            <p:cNvPr id="43" name="Freeform: Shape 42">
              <a:extLst>
                <a:ext uri="{FF2B5EF4-FFF2-40B4-BE49-F238E27FC236}">
                  <a16:creationId xmlns:a16="http://schemas.microsoft.com/office/drawing/2014/main" id="{3A545A1E-3F6C-0BB0-0CB4-EA0B6F888267}"/>
                </a:ext>
              </a:extLst>
            </p:cNvPr>
            <p:cNvSpPr/>
            <p:nvPr/>
          </p:nvSpPr>
          <p:spPr>
            <a:xfrm>
              <a:off x="5896069"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7059 w 218217"/>
                <a:gd name="connsiteY3" fmla="*/ 206026 h 241077"/>
                <a:gd name="connsiteX4" fmla="*/ 116110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7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0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356 w 218217"/>
                <a:gd name="connsiteY25" fmla="*/ 106299 h 241077"/>
                <a:gd name="connsiteX26" fmla="*/ 176689 w 218217"/>
                <a:gd name="connsiteY26" fmla="*/ 76771 h 241077"/>
                <a:gd name="connsiteX27" fmla="*/ 162211 w 218217"/>
                <a:gd name="connsiteY27" fmla="*/ 52101 h 241077"/>
                <a:gd name="connsiteX28" fmla="*/ 139922 w 218217"/>
                <a:gd name="connsiteY28" fmla="*/ 35242 h 241077"/>
                <a:gd name="connsiteX29" fmla="*/ 109823 w 218217"/>
                <a:gd name="connsiteY29" fmla="*/ 29051 h 241077"/>
                <a:gd name="connsiteX30" fmla="*/ 82105 w 218217"/>
                <a:gd name="connsiteY30" fmla="*/ 34766 h 241077"/>
                <a:gd name="connsiteX31" fmla="*/ 59341 w 218217"/>
                <a:gd name="connsiteY31" fmla="*/ 50959 h 241077"/>
                <a:gd name="connsiteX32" fmla="*/ 43053 w 218217"/>
                <a:gd name="connsiteY32" fmla="*/ 75628 h 241077"/>
                <a:gd name="connsiteX33" fmla="*/ 34766 w 218217"/>
                <a:gd name="connsiteY33" fmla="*/ 106204 h 241077"/>
                <a:gd name="connsiteX34" fmla="*/ 183356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819" y="202597"/>
                    <a:pt x="87059" y="206026"/>
                  </a:cubicBezTo>
                  <a:cubicBezTo>
                    <a:pt x="96298" y="209455"/>
                    <a:pt x="105918" y="211169"/>
                    <a:pt x="116110" y="211169"/>
                  </a:cubicBezTo>
                  <a:cubicBezTo>
                    <a:pt x="132207" y="211169"/>
                    <a:pt x="145923" y="208216"/>
                    <a:pt x="157353" y="202216"/>
                  </a:cubicBezTo>
                  <a:cubicBezTo>
                    <a:pt x="168783" y="196310"/>
                    <a:pt x="179261" y="188404"/>
                    <a:pt x="188786" y="178594"/>
                  </a:cubicBezTo>
                  <a:lnTo>
                    <a:pt x="210217" y="197834"/>
                  </a:lnTo>
                  <a:cubicBezTo>
                    <a:pt x="198596" y="210979"/>
                    <a:pt x="185356" y="221361"/>
                    <a:pt x="170497" y="229267"/>
                  </a:cubicBezTo>
                  <a:cubicBezTo>
                    <a:pt x="155638"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583" y="0"/>
                    <a:pt x="110680"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356" y="106299"/>
                  </a:moveTo>
                  <a:cubicBezTo>
                    <a:pt x="182499" y="95917"/>
                    <a:pt x="180213" y="86106"/>
                    <a:pt x="176689" y="76771"/>
                  </a:cubicBezTo>
                  <a:cubicBezTo>
                    <a:pt x="173069" y="67437"/>
                    <a:pt x="168307" y="59245"/>
                    <a:pt x="162211" y="52101"/>
                  </a:cubicBezTo>
                  <a:cubicBezTo>
                    <a:pt x="156115" y="44958"/>
                    <a:pt x="148685" y="39338"/>
                    <a:pt x="139922" y="35242"/>
                  </a:cubicBezTo>
                  <a:cubicBezTo>
                    <a:pt x="131159" y="31147"/>
                    <a:pt x="121063" y="29051"/>
                    <a:pt x="109823" y="29051"/>
                  </a:cubicBezTo>
                  <a:cubicBezTo>
                    <a:pt x="100013" y="29051"/>
                    <a:pt x="90773" y="30956"/>
                    <a:pt x="82105" y="34766"/>
                  </a:cubicBezTo>
                  <a:cubicBezTo>
                    <a:pt x="73438" y="38671"/>
                    <a:pt x="65913" y="44005"/>
                    <a:pt x="59341" y="50959"/>
                  </a:cubicBezTo>
                  <a:cubicBezTo>
                    <a:pt x="52769" y="57912"/>
                    <a:pt x="47339" y="66103"/>
                    <a:pt x="43053" y="75628"/>
                  </a:cubicBezTo>
                  <a:cubicBezTo>
                    <a:pt x="38767" y="85058"/>
                    <a:pt x="36004" y="95345"/>
                    <a:pt x="34766" y="106204"/>
                  </a:cubicBezTo>
                  <a:lnTo>
                    <a:pt x="183356" y="106204"/>
                  </a:lnTo>
                  <a:close/>
                </a:path>
              </a:pathLst>
            </a:custGeom>
            <a:solidFill>
              <a:srgbClr val="44505E"/>
            </a:solidFill>
            <a:ln w="9525" cap="flat">
              <a:noFill/>
              <a:prstDash val="solid"/>
              <a:miter/>
            </a:ln>
          </p:spPr>
          <p:txBody>
            <a:bodyPr rtlCol="0" anchor="ctr"/>
            <a:lstStyle/>
            <a:p>
              <a:endParaRPr lang="pt-BR" noProof="0"/>
            </a:p>
          </p:txBody>
        </p:sp>
        <p:sp>
          <p:nvSpPr>
            <p:cNvPr id="44" name="Freeform: Shape 43">
              <a:extLst>
                <a:ext uri="{FF2B5EF4-FFF2-40B4-BE49-F238E27FC236}">
                  <a16:creationId xmlns:a16="http://schemas.microsoft.com/office/drawing/2014/main" id="{38A27C6E-B201-46D7-78B9-E8A06FA3EFA2}"/>
                </a:ext>
              </a:extLst>
            </p:cNvPr>
            <p:cNvSpPr/>
            <p:nvPr/>
          </p:nvSpPr>
          <p:spPr>
            <a:xfrm>
              <a:off x="5994910" y="924268"/>
              <a:ext cx="44680" cy="60195"/>
            </a:xfrm>
            <a:custGeom>
              <a:avLst/>
              <a:gdLst>
                <a:gd name="connsiteX0" fmla="*/ 95536 w 177736"/>
                <a:gd name="connsiteY0" fmla="*/ 239268 h 239458"/>
                <a:gd name="connsiteX1" fmla="*/ 45053 w 177736"/>
                <a:gd name="connsiteY1" fmla="*/ 230124 h 239458"/>
                <a:gd name="connsiteX2" fmla="*/ 0 w 177736"/>
                <a:gd name="connsiteY2" fmla="*/ 205359 h 239458"/>
                <a:gd name="connsiteX3" fmla="*/ 17431 w 177736"/>
                <a:gd name="connsiteY3" fmla="*/ 180785 h 239458"/>
                <a:gd name="connsiteX4" fmla="*/ 56483 w 177736"/>
                <a:gd name="connsiteY4" fmla="*/ 202692 h 239458"/>
                <a:gd name="connsiteX5" fmla="*/ 97346 w 177736"/>
                <a:gd name="connsiteY5" fmla="*/ 210217 h 239458"/>
                <a:gd name="connsiteX6" fmla="*/ 131731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730 w 177736"/>
                <a:gd name="connsiteY10" fmla="*/ 147066 h 239458"/>
                <a:gd name="connsiteX11" fmla="*/ 109252 w 177736"/>
                <a:gd name="connsiteY11" fmla="*/ 138779 h 239458"/>
                <a:gd name="connsiteX12" fmla="*/ 87630 w 177736"/>
                <a:gd name="connsiteY12" fmla="*/ 132112 h 239458"/>
                <a:gd name="connsiteX13" fmla="*/ 60674 w 177736"/>
                <a:gd name="connsiteY13" fmla="*/ 123444 h 239458"/>
                <a:gd name="connsiteX14" fmla="*/ 36100 w 177736"/>
                <a:gd name="connsiteY14" fmla="*/ 111633 h 239458"/>
                <a:gd name="connsiteX15" fmla="*/ 18193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60 w 177736"/>
                <a:gd name="connsiteY22" fmla="*/ 6953 h 239458"/>
                <a:gd name="connsiteX23" fmla="*/ 172879 w 177736"/>
                <a:gd name="connsiteY23" fmla="*/ 25527 h 239458"/>
                <a:gd name="connsiteX24" fmla="*/ 157258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4 w 177736"/>
                <a:gd name="connsiteY32" fmla="*/ 96203 h 239458"/>
                <a:gd name="connsiteX33" fmla="*/ 103632 w 177736"/>
                <a:gd name="connsiteY33" fmla="*/ 103346 h 239458"/>
                <a:gd name="connsiteX34" fmla="*/ 130207 w 177736"/>
                <a:gd name="connsiteY34" fmla="*/ 112300 h 239458"/>
                <a:gd name="connsiteX35" fmla="*/ 154114 w 177736"/>
                <a:gd name="connsiteY35" fmla="*/ 124778 h 239458"/>
                <a:gd name="connsiteX36" fmla="*/ 171260 w 177736"/>
                <a:gd name="connsiteY36" fmla="*/ 143066 h 239458"/>
                <a:gd name="connsiteX37" fmla="*/ 177737 w 177736"/>
                <a:gd name="connsiteY37" fmla="*/ 169450 h 239458"/>
                <a:gd name="connsiteX38" fmla="*/ 177737 w 177736"/>
                <a:gd name="connsiteY38" fmla="*/ 170307 h 239458"/>
                <a:gd name="connsiteX39" fmla="*/ 171260 w 177736"/>
                <a:gd name="connsiteY39" fmla="*/ 199549 h 239458"/>
                <a:gd name="connsiteX40" fmla="*/ 153829 w 177736"/>
                <a:gd name="connsiteY40" fmla="*/ 221171 h 239458"/>
                <a:gd name="connsiteX41" fmla="*/ 127921 w 177736"/>
                <a:gd name="connsiteY41" fmla="*/ 234791 h 239458"/>
                <a:gd name="connsiteX42" fmla="*/ 95536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6" y="239268"/>
                  </a:moveTo>
                  <a:cubicBezTo>
                    <a:pt x="78867" y="239268"/>
                    <a:pt x="62008" y="236220"/>
                    <a:pt x="45053" y="230124"/>
                  </a:cubicBezTo>
                  <a:cubicBezTo>
                    <a:pt x="28099" y="224028"/>
                    <a:pt x="13049" y="215741"/>
                    <a:pt x="0" y="205359"/>
                  </a:cubicBezTo>
                  <a:lnTo>
                    <a:pt x="17431" y="180785"/>
                  </a:lnTo>
                  <a:cubicBezTo>
                    <a:pt x="29909"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637" y="162211"/>
                    <a:pt x="140494" y="158020"/>
                  </a:cubicBezTo>
                  <a:cubicBezTo>
                    <a:pt x="137351" y="153829"/>
                    <a:pt x="133160" y="150209"/>
                    <a:pt x="127730" y="147066"/>
                  </a:cubicBezTo>
                  <a:cubicBezTo>
                    <a:pt x="122396" y="143923"/>
                    <a:pt x="116205" y="141161"/>
                    <a:pt x="109252" y="138779"/>
                  </a:cubicBezTo>
                  <a:cubicBezTo>
                    <a:pt x="102299" y="136398"/>
                    <a:pt x="95060" y="134207"/>
                    <a:pt x="87630" y="132112"/>
                  </a:cubicBezTo>
                  <a:cubicBezTo>
                    <a:pt x="78677" y="129445"/>
                    <a:pt x="69723" y="126492"/>
                    <a:pt x="60674" y="123444"/>
                  </a:cubicBezTo>
                  <a:cubicBezTo>
                    <a:pt x="51626" y="120301"/>
                    <a:pt x="43434" y="116396"/>
                    <a:pt x="36100" y="111633"/>
                  </a:cubicBezTo>
                  <a:cubicBezTo>
                    <a:pt x="28766" y="106871"/>
                    <a:pt x="22860" y="100870"/>
                    <a:pt x="18193" y="93726"/>
                  </a:cubicBezTo>
                  <a:cubicBezTo>
                    <a:pt x="13621" y="86582"/>
                    <a:pt x="11239" y="77629"/>
                    <a:pt x="11239" y="66961"/>
                  </a:cubicBezTo>
                  <a:lnTo>
                    <a:pt x="11239" y="66008"/>
                  </a:lnTo>
                  <a:cubicBezTo>
                    <a:pt x="11239" y="56198"/>
                    <a:pt x="13145" y="47149"/>
                    <a:pt x="17050" y="39053"/>
                  </a:cubicBezTo>
                  <a:cubicBezTo>
                    <a:pt x="20860" y="30861"/>
                    <a:pt x="26289" y="23908"/>
                    <a:pt x="33338" y="18098"/>
                  </a:cubicBezTo>
                  <a:cubicBezTo>
                    <a:pt x="40291" y="12287"/>
                    <a:pt x="48673" y="7811"/>
                    <a:pt x="58388" y="4667"/>
                  </a:cubicBezTo>
                  <a:cubicBezTo>
                    <a:pt x="68009" y="1524"/>
                    <a:pt x="78581" y="0"/>
                    <a:pt x="89821" y="0"/>
                  </a:cubicBezTo>
                  <a:cubicBezTo>
                    <a:pt x="104108" y="0"/>
                    <a:pt x="118491" y="2286"/>
                    <a:pt x="133160" y="6953"/>
                  </a:cubicBezTo>
                  <a:cubicBezTo>
                    <a:pt x="147733" y="11621"/>
                    <a:pt x="160972" y="17717"/>
                    <a:pt x="172879" y="25527"/>
                  </a:cubicBezTo>
                  <a:lnTo>
                    <a:pt x="157258" y="51435"/>
                  </a:lnTo>
                  <a:cubicBezTo>
                    <a:pt x="146495" y="44577"/>
                    <a:pt x="135350" y="39148"/>
                    <a:pt x="123539" y="35147"/>
                  </a:cubicBezTo>
                  <a:cubicBezTo>
                    <a:pt x="111824" y="31147"/>
                    <a:pt x="100298" y="29146"/>
                    <a:pt x="88963" y="29146"/>
                  </a:cubicBezTo>
                  <a:cubicBezTo>
                    <a:pt x="75247" y="29146"/>
                    <a:pt x="64389" y="32385"/>
                    <a:pt x="56388" y="38767"/>
                  </a:cubicBezTo>
                  <a:cubicBezTo>
                    <a:pt x="48387" y="45149"/>
                    <a:pt x="44291" y="53150"/>
                    <a:pt x="44291" y="62675"/>
                  </a:cubicBezTo>
                  <a:lnTo>
                    <a:pt x="44291" y="63627"/>
                  </a:lnTo>
                  <a:cubicBezTo>
                    <a:pt x="44291" y="68961"/>
                    <a:pt x="45911" y="73628"/>
                    <a:pt x="49244" y="77724"/>
                  </a:cubicBezTo>
                  <a:cubicBezTo>
                    <a:pt x="52483" y="81725"/>
                    <a:pt x="56960" y="85249"/>
                    <a:pt x="62389" y="88202"/>
                  </a:cubicBezTo>
                  <a:cubicBezTo>
                    <a:pt x="67913" y="91154"/>
                    <a:pt x="74200" y="93821"/>
                    <a:pt x="81344" y="96203"/>
                  </a:cubicBezTo>
                  <a:cubicBezTo>
                    <a:pt x="88487" y="98584"/>
                    <a:pt x="95917" y="100965"/>
                    <a:pt x="103632" y="103346"/>
                  </a:cubicBezTo>
                  <a:cubicBezTo>
                    <a:pt x="112586" y="106013"/>
                    <a:pt x="121444" y="108966"/>
                    <a:pt x="130207" y="112300"/>
                  </a:cubicBezTo>
                  <a:cubicBezTo>
                    <a:pt x="138970" y="115538"/>
                    <a:pt x="146971" y="119729"/>
                    <a:pt x="154114" y="124778"/>
                  </a:cubicBezTo>
                  <a:cubicBezTo>
                    <a:pt x="161258" y="129826"/>
                    <a:pt x="166973" y="135922"/>
                    <a:pt x="171260" y="143066"/>
                  </a:cubicBezTo>
                  <a:cubicBezTo>
                    <a:pt x="175546" y="150209"/>
                    <a:pt x="177737" y="158972"/>
                    <a:pt x="177737" y="169450"/>
                  </a:cubicBezTo>
                  <a:lnTo>
                    <a:pt x="177737" y="170307"/>
                  </a:lnTo>
                  <a:cubicBezTo>
                    <a:pt x="177737" y="181356"/>
                    <a:pt x="175546" y="191071"/>
                    <a:pt x="171260" y="199549"/>
                  </a:cubicBezTo>
                  <a:cubicBezTo>
                    <a:pt x="166973" y="208026"/>
                    <a:pt x="161163" y="215265"/>
                    <a:pt x="153829" y="221171"/>
                  </a:cubicBezTo>
                  <a:cubicBezTo>
                    <a:pt x="146495" y="227171"/>
                    <a:pt x="137922" y="231648"/>
                    <a:pt x="127921" y="234791"/>
                  </a:cubicBezTo>
                  <a:cubicBezTo>
                    <a:pt x="117920" y="237935"/>
                    <a:pt x="107156" y="239459"/>
                    <a:pt x="95536" y="239459"/>
                  </a:cubicBezTo>
                  <a:close/>
                </a:path>
              </a:pathLst>
            </a:custGeom>
            <a:solidFill>
              <a:srgbClr val="44505E"/>
            </a:solidFill>
            <a:ln w="9525" cap="flat">
              <a:noFill/>
              <a:prstDash val="solid"/>
              <a:miter/>
            </a:ln>
          </p:spPr>
          <p:txBody>
            <a:bodyPr rtlCol="0" anchor="ctr"/>
            <a:lstStyle/>
            <a:p>
              <a:endParaRPr lang="pt-BR" noProof="0"/>
            </a:p>
          </p:txBody>
        </p:sp>
        <p:sp>
          <p:nvSpPr>
            <p:cNvPr id="45" name="Freeform: Shape 44">
              <a:extLst>
                <a:ext uri="{FF2B5EF4-FFF2-40B4-BE49-F238E27FC236}">
                  <a16:creationId xmlns:a16="http://schemas.microsoft.com/office/drawing/2014/main" id="{0521D227-02EC-79DA-B0F2-183D791944B4}"/>
                </a:ext>
              </a:extLst>
            </p:cNvPr>
            <p:cNvSpPr/>
            <p:nvPr/>
          </p:nvSpPr>
          <p:spPr>
            <a:xfrm>
              <a:off x="605122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4 w 202977"/>
                <a:gd name="connsiteY30" fmla="*/ 174593 h 239267"/>
                <a:gd name="connsiteX31" fmla="*/ 169735 w 202977"/>
                <a:gd name="connsiteY31" fmla="*/ 149447 h 239267"/>
                <a:gd name="connsiteX32" fmla="*/ 169735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0" y="90964"/>
                    <a:pt x="98584" y="90964"/>
                  </a:cubicBezTo>
                  <a:cubicBezTo>
                    <a:pt x="113157" y="90964"/>
                    <a:pt x="126301"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1" y="33147"/>
                    <a:pt x="63436" y="36100"/>
                  </a:cubicBezTo>
                  <a:cubicBezTo>
                    <a:pt x="52292" y="39053"/>
                    <a:pt x="41338" y="43053"/>
                    <a:pt x="30671" y="48196"/>
                  </a:cubicBezTo>
                  <a:lnTo>
                    <a:pt x="20383" y="19907"/>
                  </a:lnTo>
                  <a:cubicBezTo>
                    <a:pt x="33147" y="13906"/>
                    <a:pt x="46101" y="9049"/>
                    <a:pt x="59246" y="5429"/>
                  </a:cubicBezTo>
                  <a:cubicBezTo>
                    <a:pt x="72295"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1" y="239173"/>
                  </a:cubicBezTo>
                  <a:close/>
                  <a:moveTo>
                    <a:pt x="93154" y="211169"/>
                  </a:moveTo>
                  <a:cubicBezTo>
                    <a:pt x="103822" y="211169"/>
                    <a:pt x="113728" y="209740"/>
                    <a:pt x="122967" y="206788"/>
                  </a:cubicBezTo>
                  <a:cubicBezTo>
                    <a:pt x="132207" y="203835"/>
                    <a:pt x="140208" y="199644"/>
                    <a:pt x="147256" y="194120"/>
                  </a:cubicBezTo>
                  <a:cubicBezTo>
                    <a:pt x="154209" y="188595"/>
                    <a:pt x="159734" y="182118"/>
                    <a:pt x="163734" y="174593"/>
                  </a:cubicBezTo>
                  <a:cubicBezTo>
                    <a:pt x="167735" y="167068"/>
                    <a:pt x="169735" y="158687"/>
                    <a:pt x="169735" y="149447"/>
                  </a:cubicBezTo>
                  <a:lnTo>
                    <a:pt x="169735" y="128111"/>
                  </a:lnTo>
                  <a:cubicBezTo>
                    <a:pt x="161163" y="125730"/>
                    <a:pt x="151352" y="123539"/>
                    <a:pt x="140398" y="121444"/>
                  </a:cubicBezTo>
                  <a:cubicBezTo>
                    <a:pt x="129445" y="119348"/>
                    <a:pt x="116872"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46" name="Freeform: Shape 45">
              <a:extLst>
                <a:ext uri="{FF2B5EF4-FFF2-40B4-BE49-F238E27FC236}">
                  <a16:creationId xmlns:a16="http://schemas.microsoft.com/office/drawing/2014/main" id="{1B7FF453-B340-75B2-F2E5-89A1221DCADE}"/>
                </a:ext>
              </a:extLst>
            </p:cNvPr>
            <p:cNvSpPr/>
            <p:nvPr/>
          </p:nvSpPr>
          <p:spPr>
            <a:xfrm>
              <a:off x="6121359" y="901377"/>
              <a:ext cx="8644" cy="81913"/>
            </a:xfrm>
            <a:custGeom>
              <a:avLst/>
              <a:gdLst>
                <a:gd name="connsiteX0" fmla="*/ 0 w 34385"/>
                <a:gd name="connsiteY0" fmla="*/ 0 h 325850"/>
                <a:gd name="connsiteX1" fmla="*/ 34385 w 34385"/>
                <a:gd name="connsiteY1" fmla="*/ 0 h 325850"/>
                <a:gd name="connsiteX2" fmla="*/ 34385 w 34385"/>
                <a:gd name="connsiteY2" fmla="*/ 325850 h 325850"/>
                <a:gd name="connsiteX3" fmla="*/ 0 w 34385"/>
                <a:gd name="connsiteY3" fmla="*/ 325850 h 325850"/>
                <a:gd name="connsiteX4" fmla="*/ 0 w 34385"/>
                <a:gd name="connsiteY4" fmla="*/ 0 h 32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 h="325850">
                  <a:moveTo>
                    <a:pt x="0" y="0"/>
                  </a:moveTo>
                  <a:lnTo>
                    <a:pt x="34385" y="0"/>
                  </a:lnTo>
                  <a:lnTo>
                    <a:pt x="34385" y="325850"/>
                  </a:lnTo>
                  <a:lnTo>
                    <a:pt x="0" y="325850"/>
                  </a:lnTo>
                  <a:lnTo>
                    <a:pt x="0" y="0"/>
                  </a:lnTo>
                  <a:close/>
                </a:path>
              </a:pathLst>
            </a:custGeom>
            <a:solidFill>
              <a:srgbClr val="44505E"/>
            </a:solidFill>
            <a:ln w="9525" cap="flat">
              <a:noFill/>
              <a:prstDash val="solid"/>
              <a:miter/>
            </a:ln>
          </p:spPr>
          <p:txBody>
            <a:bodyPr rtlCol="0" anchor="ctr"/>
            <a:lstStyle/>
            <a:p>
              <a:endParaRPr lang="pt-BR" noProof="0"/>
            </a:p>
          </p:txBody>
        </p:sp>
        <p:sp>
          <p:nvSpPr>
            <p:cNvPr id="47" name="Freeform: Shape 46">
              <a:extLst>
                <a:ext uri="{FF2B5EF4-FFF2-40B4-BE49-F238E27FC236}">
                  <a16:creationId xmlns:a16="http://schemas.microsoft.com/office/drawing/2014/main" id="{FA3879C5-5256-CDA3-9854-4CC40D8A2775}"/>
                </a:ext>
              </a:extLst>
            </p:cNvPr>
            <p:cNvSpPr/>
            <p:nvPr/>
          </p:nvSpPr>
          <p:spPr>
            <a:xfrm>
              <a:off x="6144346" y="925273"/>
              <a:ext cx="58016" cy="58448"/>
            </a:xfrm>
            <a:custGeom>
              <a:avLst/>
              <a:gdLst>
                <a:gd name="connsiteX0" fmla="*/ 95 w 230790"/>
                <a:gd name="connsiteY0" fmla="*/ 0 h 232505"/>
                <a:gd name="connsiteX1" fmla="*/ 38005 w 230790"/>
                <a:gd name="connsiteY1" fmla="*/ 0 h 232505"/>
                <a:gd name="connsiteX2" fmla="*/ 115634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4"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48" name="Freeform: Shape 47">
              <a:extLst>
                <a:ext uri="{FF2B5EF4-FFF2-40B4-BE49-F238E27FC236}">
                  <a16:creationId xmlns:a16="http://schemas.microsoft.com/office/drawing/2014/main" id="{BE917228-0C00-54F2-7BF4-72A9AEE3D710}"/>
                </a:ext>
              </a:extLst>
            </p:cNvPr>
            <p:cNvSpPr/>
            <p:nvPr/>
          </p:nvSpPr>
          <p:spPr>
            <a:xfrm>
              <a:off x="621155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8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338 w 202977"/>
                <a:gd name="connsiteY36" fmla="*/ 164497 h 239267"/>
                <a:gd name="connsiteX37" fmla="*/ 35338 w 202977"/>
                <a:gd name="connsiteY37" fmla="*/ 165449 h 239267"/>
                <a:gd name="connsiteX38" fmla="*/ 40005 w 202977"/>
                <a:gd name="connsiteY38" fmla="*/ 184785 h 239267"/>
                <a:gd name="connsiteX39" fmla="*/ 52673 w 202977"/>
                <a:gd name="connsiteY39" fmla="*/ 199263 h 239267"/>
                <a:gd name="connsiteX40" fmla="*/ 71152 w 202977"/>
                <a:gd name="connsiteY40" fmla="*/ 208121 h 239267"/>
                <a:gd name="connsiteX41" fmla="*/ 93154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438" y="239268"/>
                    <a:pt x="64961"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1" y="90964"/>
                    <a:pt x="98584" y="90964"/>
                  </a:cubicBezTo>
                  <a:cubicBezTo>
                    <a:pt x="113157" y="90964"/>
                    <a:pt x="126302" y="91821"/>
                    <a:pt x="137160" y="93631"/>
                  </a:cubicBezTo>
                  <a:cubicBezTo>
                    <a:pt x="148019" y="95440"/>
                    <a:pt x="158687" y="97822"/>
                    <a:pt x="169069" y="100774"/>
                  </a:cubicBezTo>
                  <a:lnTo>
                    <a:pt x="169069" y="93726"/>
                  </a:lnTo>
                  <a:cubicBezTo>
                    <a:pt x="169069" y="73342"/>
                    <a:pt x="163068" y="57912"/>
                    <a:pt x="151162" y="47339"/>
                  </a:cubicBezTo>
                  <a:cubicBezTo>
                    <a:pt x="139255" y="36862"/>
                    <a:pt x="122491" y="31623"/>
                    <a:pt x="100679" y="31623"/>
                  </a:cubicBezTo>
                  <a:cubicBezTo>
                    <a:pt x="86963" y="31623"/>
                    <a:pt x="74581" y="33147"/>
                    <a:pt x="63437" y="36100"/>
                  </a:cubicBezTo>
                  <a:cubicBezTo>
                    <a:pt x="52292" y="39053"/>
                    <a:pt x="41338" y="43053"/>
                    <a:pt x="30671" y="48196"/>
                  </a:cubicBezTo>
                  <a:lnTo>
                    <a:pt x="20383" y="19907"/>
                  </a:lnTo>
                  <a:cubicBezTo>
                    <a:pt x="33147" y="13906"/>
                    <a:pt x="46101" y="9049"/>
                    <a:pt x="59246" y="5429"/>
                  </a:cubicBezTo>
                  <a:cubicBezTo>
                    <a:pt x="72390"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04" y="239173"/>
                    <a:pt x="86011" y="239173"/>
                  </a:cubicBezTo>
                  <a:close/>
                  <a:moveTo>
                    <a:pt x="93154" y="211169"/>
                  </a:moveTo>
                  <a:cubicBezTo>
                    <a:pt x="103822" y="211169"/>
                    <a:pt x="113824" y="209740"/>
                    <a:pt x="122968" y="206788"/>
                  </a:cubicBezTo>
                  <a:cubicBezTo>
                    <a:pt x="132112"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5" y="119348"/>
                    <a:pt x="116777" y="118300"/>
                    <a:pt x="102584" y="118300"/>
                  </a:cubicBezTo>
                  <a:cubicBezTo>
                    <a:pt x="81248" y="118300"/>
                    <a:pt x="64675" y="122491"/>
                    <a:pt x="52959" y="130969"/>
                  </a:cubicBezTo>
                  <a:cubicBezTo>
                    <a:pt x="41243" y="139446"/>
                    <a:pt x="35338" y="150590"/>
                    <a:pt x="35338" y="164497"/>
                  </a:cubicBezTo>
                  <a:lnTo>
                    <a:pt x="35338" y="165449"/>
                  </a:lnTo>
                  <a:cubicBezTo>
                    <a:pt x="35338" y="172498"/>
                    <a:pt x="36862" y="178975"/>
                    <a:pt x="40005" y="184785"/>
                  </a:cubicBezTo>
                  <a:cubicBezTo>
                    <a:pt x="43148" y="190500"/>
                    <a:pt x="47339" y="195358"/>
                    <a:pt x="52673" y="199263"/>
                  </a:cubicBezTo>
                  <a:cubicBezTo>
                    <a:pt x="58007" y="203073"/>
                    <a:pt x="64198" y="206026"/>
                    <a:pt x="71152" y="208121"/>
                  </a:cubicBezTo>
                  <a:cubicBezTo>
                    <a:pt x="78105" y="210217"/>
                    <a:pt x="85439" y="211169"/>
                    <a:pt x="93154" y="211169"/>
                  </a:cubicBezTo>
                  <a:close/>
                </a:path>
              </a:pathLst>
            </a:custGeom>
            <a:solidFill>
              <a:srgbClr val="44505E"/>
            </a:solidFill>
            <a:ln w="9525" cap="flat">
              <a:noFill/>
              <a:prstDash val="solid"/>
              <a:miter/>
            </a:ln>
          </p:spPr>
          <p:txBody>
            <a:bodyPr rtlCol="0" anchor="ctr"/>
            <a:lstStyle/>
            <a:p>
              <a:endParaRPr lang="pt-BR" noProof="0"/>
            </a:p>
          </p:txBody>
        </p:sp>
        <p:sp>
          <p:nvSpPr>
            <p:cNvPr id="49" name="Freeform: Shape 48">
              <a:extLst>
                <a:ext uri="{FF2B5EF4-FFF2-40B4-BE49-F238E27FC236}">
                  <a16:creationId xmlns:a16="http://schemas.microsoft.com/office/drawing/2014/main" id="{84FD2561-2CCA-F079-45FA-216BE23263C7}"/>
                </a:ext>
              </a:extLst>
            </p:cNvPr>
            <p:cNvSpPr/>
            <p:nvPr/>
          </p:nvSpPr>
          <p:spPr>
            <a:xfrm>
              <a:off x="6280899" y="923980"/>
              <a:ext cx="87995" cy="59238"/>
            </a:xfrm>
            <a:custGeom>
              <a:avLst/>
              <a:gdLst>
                <a:gd name="connsiteX0" fmla="*/ 0 w 350043"/>
                <a:gd name="connsiteY0" fmla="*/ 5144 h 235648"/>
                <a:gd name="connsiteX1" fmla="*/ 34385 w 350043"/>
                <a:gd name="connsiteY1" fmla="*/ 5144 h 235648"/>
                <a:gd name="connsiteX2" fmla="*/ 34385 w 350043"/>
                <a:gd name="connsiteY2" fmla="*/ 44005 h 235648"/>
                <a:gd name="connsiteX3" fmla="*/ 47149 w 350043"/>
                <a:gd name="connsiteY3" fmla="*/ 27432 h 235648"/>
                <a:gd name="connsiteX4" fmla="*/ 62960 w 350043"/>
                <a:gd name="connsiteY4" fmla="*/ 13335 h 235648"/>
                <a:gd name="connsiteX5" fmla="*/ 83058 w 350043"/>
                <a:gd name="connsiteY5" fmla="*/ 3715 h 235648"/>
                <a:gd name="connsiteX6" fmla="*/ 108966 w 350043"/>
                <a:gd name="connsiteY6" fmla="*/ 95 h 235648"/>
                <a:gd name="connsiteX7" fmla="*/ 155448 w 350043"/>
                <a:gd name="connsiteY7" fmla="*/ 13240 h 235648"/>
                <a:gd name="connsiteX8" fmla="*/ 183166 w 350043"/>
                <a:gd name="connsiteY8" fmla="*/ 46006 h 235648"/>
                <a:gd name="connsiteX9" fmla="*/ 197168 w 350043"/>
                <a:gd name="connsiteY9" fmla="*/ 28194 h 235648"/>
                <a:gd name="connsiteX10" fmla="*/ 214789 w 350043"/>
                <a:gd name="connsiteY10" fmla="*/ 13430 h 235648"/>
                <a:gd name="connsiteX11" fmla="*/ 236887 w 350043"/>
                <a:gd name="connsiteY11" fmla="*/ 3620 h 235648"/>
                <a:gd name="connsiteX12" fmla="*/ 264319 w 350043"/>
                <a:gd name="connsiteY12" fmla="*/ 0 h 235648"/>
                <a:gd name="connsiteX13" fmla="*/ 327279 w 350043"/>
                <a:gd name="connsiteY13" fmla="*/ 24765 h 235648"/>
                <a:gd name="connsiteX14" fmla="*/ 350044 w 350043"/>
                <a:gd name="connsiteY14" fmla="*/ 92773 h 235648"/>
                <a:gd name="connsiteX15" fmla="*/ 350044 w 350043"/>
                <a:gd name="connsiteY15" fmla="*/ 235648 h 235648"/>
                <a:gd name="connsiteX16" fmla="*/ 315659 w 350043"/>
                <a:gd name="connsiteY16" fmla="*/ 235648 h 235648"/>
                <a:gd name="connsiteX17" fmla="*/ 315659 w 350043"/>
                <a:gd name="connsiteY17" fmla="*/ 101155 h 235648"/>
                <a:gd name="connsiteX18" fmla="*/ 299847 w 350043"/>
                <a:gd name="connsiteY18" fmla="*/ 49721 h 235648"/>
                <a:gd name="connsiteX19" fmla="*/ 255937 w 350043"/>
                <a:gd name="connsiteY19" fmla="*/ 31718 h 235648"/>
                <a:gd name="connsiteX20" fmla="*/ 231362 w 350043"/>
                <a:gd name="connsiteY20" fmla="*/ 36386 h 235648"/>
                <a:gd name="connsiteX21" fmla="*/ 211074 w 350043"/>
                <a:gd name="connsiteY21" fmla="*/ 50197 h 235648"/>
                <a:gd name="connsiteX22" fmla="*/ 197263 w 350043"/>
                <a:gd name="connsiteY22" fmla="*/ 72676 h 235648"/>
                <a:gd name="connsiteX23" fmla="*/ 192119 w 350043"/>
                <a:gd name="connsiteY23" fmla="*/ 102965 h 235648"/>
                <a:gd name="connsiteX24" fmla="*/ 192119 w 350043"/>
                <a:gd name="connsiteY24" fmla="*/ 235648 h 235648"/>
                <a:gd name="connsiteX25" fmla="*/ 158210 w 350043"/>
                <a:gd name="connsiteY25" fmla="*/ 235648 h 235648"/>
                <a:gd name="connsiteX26" fmla="*/ 158210 w 350043"/>
                <a:gd name="connsiteY26" fmla="*/ 100298 h 235648"/>
                <a:gd name="connsiteX27" fmla="*/ 142399 w 350043"/>
                <a:gd name="connsiteY27" fmla="*/ 49721 h 235648"/>
                <a:gd name="connsiteX28" fmla="*/ 98870 w 350043"/>
                <a:gd name="connsiteY28" fmla="*/ 31718 h 235648"/>
                <a:gd name="connsiteX29" fmla="*/ 73438 w 350043"/>
                <a:gd name="connsiteY29" fmla="*/ 37052 h 235648"/>
                <a:gd name="connsiteX30" fmla="*/ 53150 w 350043"/>
                <a:gd name="connsiteY30" fmla="*/ 52197 h 235648"/>
                <a:gd name="connsiteX31" fmla="*/ 39529 w 350043"/>
                <a:gd name="connsiteY31" fmla="*/ 75152 h 235648"/>
                <a:gd name="connsiteX32" fmla="*/ 34576 w 350043"/>
                <a:gd name="connsiteY32" fmla="*/ 104299 h 235648"/>
                <a:gd name="connsiteX33" fmla="*/ 34576 w 350043"/>
                <a:gd name="connsiteY33" fmla="*/ 235648 h 235648"/>
                <a:gd name="connsiteX34" fmla="*/ 190 w 350043"/>
                <a:gd name="connsiteY34" fmla="*/ 235648 h 235648"/>
                <a:gd name="connsiteX35" fmla="*/ 190 w 350043"/>
                <a:gd name="connsiteY35" fmla="*/ 485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0043" h="235648">
                  <a:moveTo>
                    <a:pt x="0" y="5144"/>
                  </a:moveTo>
                  <a:lnTo>
                    <a:pt x="34385" y="5144"/>
                  </a:lnTo>
                  <a:lnTo>
                    <a:pt x="34385" y="44005"/>
                  </a:lnTo>
                  <a:cubicBezTo>
                    <a:pt x="38290" y="38386"/>
                    <a:pt x="42481" y="32861"/>
                    <a:pt x="47149" y="27432"/>
                  </a:cubicBezTo>
                  <a:cubicBezTo>
                    <a:pt x="51721" y="22098"/>
                    <a:pt x="57055" y="17431"/>
                    <a:pt x="62960" y="13335"/>
                  </a:cubicBezTo>
                  <a:cubicBezTo>
                    <a:pt x="68866" y="9335"/>
                    <a:pt x="75629" y="6096"/>
                    <a:pt x="83058" y="3715"/>
                  </a:cubicBezTo>
                  <a:cubicBezTo>
                    <a:pt x="90488" y="1334"/>
                    <a:pt x="99155" y="95"/>
                    <a:pt x="108966" y="95"/>
                  </a:cubicBezTo>
                  <a:cubicBezTo>
                    <a:pt x="127730" y="95"/>
                    <a:pt x="143161" y="4477"/>
                    <a:pt x="155448" y="13240"/>
                  </a:cubicBezTo>
                  <a:cubicBezTo>
                    <a:pt x="167640" y="22003"/>
                    <a:pt x="176879" y="32956"/>
                    <a:pt x="183166" y="46006"/>
                  </a:cubicBezTo>
                  <a:cubicBezTo>
                    <a:pt x="187357" y="39719"/>
                    <a:pt x="192024" y="33814"/>
                    <a:pt x="197168" y="28194"/>
                  </a:cubicBezTo>
                  <a:cubicBezTo>
                    <a:pt x="202406" y="22574"/>
                    <a:pt x="208217" y="17621"/>
                    <a:pt x="214789" y="13430"/>
                  </a:cubicBezTo>
                  <a:cubicBezTo>
                    <a:pt x="221361" y="9239"/>
                    <a:pt x="228695" y="6001"/>
                    <a:pt x="236887" y="3620"/>
                  </a:cubicBezTo>
                  <a:cubicBezTo>
                    <a:pt x="245078" y="1238"/>
                    <a:pt x="254222" y="0"/>
                    <a:pt x="264319" y="0"/>
                  </a:cubicBezTo>
                  <a:cubicBezTo>
                    <a:pt x="291084" y="0"/>
                    <a:pt x="312039" y="8287"/>
                    <a:pt x="327279" y="24765"/>
                  </a:cubicBezTo>
                  <a:cubicBezTo>
                    <a:pt x="342519" y="41243"/>
                    <a:pt x="350044" y="63913"/>
                    <a:pt x="350044" y="92773"/>
                  </a:cubicBezTo>
                  <a:lnTo>
                    <a:pt x="350044" y="235648"/>
                  </a:lnTo>
                  <a:lnTo>
                    <a:pt x="315659" y="235648"/>
                  </a:lnTo>
                  <a:lnTo>
                    <a:pt x="315659" y="101155"/>
                  </a:lnTo>
                  <a:cubicBezTo>
                    <a:pt x="315659" y="78867"/>
                    <a:pt x="310420" y="61722"/>
                    <a:pt x="299847" y="49721"/>
                  </a:cubicBezTo>
                  <a:cubicBezTo>
                    <a:pt x="289274" y="37719"/>
                    <a:pt x="274606" y="31718"/>
                    <a:pt x="255937" y="31718"/>
                  </a:cubicBezTo>
                  <a:cubicBezTo>
                    <a:pt x="247269" y="31718"/>
                    <a:pt x="239078" y="33242"/>
                    <a:pt x="231362" y="36386"/>
                  </a:cubicBezTo>
                  <a:cubicBezTo>
                    <a:pt x="223647" y="39529"/>
                    <a:pt x="216884" y="44101"/>
                    <a:pt x="211074" y="50197"/>
                  </a:cubicBezTo>
                  <a:cubicBezTo>
                    <a:pt x="205264" y="56293"/>
                    <a:pt x="200692" y="63818"/>
                    <a:pt x="197263" y="72676"/>
                  </a:cubicBezTo>
                  <a:cubicBezTo>
                    <a:pt x="193834" y="81629"/>
                    <a:pt x="192119" y="91726"/>
                    <a:pt x="192119" y="102965"/>
                  </a:cubicBezTo>
                  <a:lnTo>
                    <a:pt x="192119" y="235648"/>
                  </a:lnTo>
                  <a:lnTo>
                    <a:pt x="158210" y="235648"/>
                  </a:lnTo>
                  <a:lnTo>
                    <a:pt x="158210" y="100298"/>
                  </a:lnTo>
                  <a:cubicBezTo>
                    <a:pt x="158210" y="78677"/>
                    <a:pt x="152971" y="61817"/>
                    <a:pt x="142399" y="49721"/>
                  </a:cubicBezTo>
                  <a:cubicBezTo>
                    <a:pt x="131826" y="37719"/>
                    <a:pt x="117348" y="31718"/>
                    <a:pt x="98870" y="31718"/>
                  </a:cubicBezTo>
                  <a:cubicBezTo>
                    <a:pt x="89630" y="31718"/>
                    <a:pt x="81153" y="33528"/>
                    <a:pt x="73438" y="37052"/>
                  </a:cubicBezTo>
                  <a:cubicBezTo>
                    <a:pt x="65722" y="40672"/>
                    <a:pt x="58960" y="45720"/>
                    <a:pt x="53150" y="52197"/>
                  </a:cubicBezTo>
                  <a:cubicBezTo>
                    <a:pt x="47339" y="58769"/>
                    <a:pt x="42767" y="66389"/>
                    <a:pt x="39529" y="75152"/>
                  </a:cubicBezTo>
                  <a:cubicBezTo>
                    <a:pt x="36290" y="83915"/>
                    <a:pt x="34576" y="93631"/>
                    <a:pt x="34576" y="104299"/>
                  </a:cubicBezTo>
                  <a:lnTo>
                    <a:pt x="34576" y="235648"/>
                  </a:lnTo>
                  <a:lnTo>
                    <a:pt x="190" y="235648"/>
                  </a:lnTo>
                  <a:lnTo>
                    <a:pt x="190" y="4858"/>
                  </a:lnTo>
                  <a:close/>
                </a:path>
              </a:pathLst>
            </a:custGeom>
            <a:solidFill>
              <a:srgbClr val="44505E"/>
            </a:solidFill>
            <a:ln w="9525" cap="flat">
              <a:noFill/>
              <a:prstDash val="solid"/>
              <a:miter/>
            </a:ln>
          </p:spPr>
          <p:txBody>
            <a:bodyPr rtlCol="0" anchor="ctr"/>
            <a:lstStyle/>
            <a:p>
              <a:endParaRPr lang="pt-BR" noProof="0"/>
            </a:p>
          </p:txBody>
        </p:sp>
        <p:sp>
          <p:nvSpPr>
            <p:cNvPr id="50" name="Freeform: Shape 49">
              <a:extLst>
                <a:ext uri="{FF2B5EF4-FFF2-40B4-BE49-F238E27FC236}">
                  <a16:creationId xmlns:a16="http://schemas.microsoft.com/office/drawing/2014/main" id="{AAD8D696-C2C4-99A1-CCC1-079A2E2CED5F}"/>
                </a:ext>
              </a:extLst>
            </p:cNvPr>
            <p:cNvSpPr/>
            <p:nvPr/>
          </p:nvSpPr>
          <p:spPr>
            <a:xfrm>
              <a:off x="6415537" y="925273"/>
              <a:ext cx="58016" cy="58448"/>
            </a:xfrm>
            <a:custGeom>
              <a:avLst/>
              <a:gdLst>
                <a:gd name="connsiteX0" fmla="*/ 95 w 230790"/>
                <a:gd name="connsiteY0" fmla="*/ 0 h 232505"/>
                <a:gd name="connsiteX1" fmla="*/ 38005 w 230790"/>
                <a:gd name="connsiteY1" fmla="*/ 0 h 232505"/>
                <a:gd name="connsiteX2" fmla="*/ 115633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3"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51" name="Freeform: Shape 50">
              <a:extLst>
                <a:ext uri="{FF2B5EF4-FFF2-40B4-BE49-F238E27FC236}">
                  <a16:creationId xmlns:a16="http://schemas.microsoft.com/office/drawing/2014/main" id="{B2C961DA-7595-F846-45B8-0884593DCD8A}"/>
                </a:ext>
              </a:extLst>
            </p:cNvPr>
            <p:cNvSpPr/>
            <p:nvPr/>
          </p:nvSpPr>
          <p:spPr>
            <a:xfrm>
              <a:off x="6487369"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286 w 39242"/>
                <a:gd name="connsiteY5" fmla="*/ 88392 h 319182"/>
                <a:gd name="connsiteX6" fmla="*/ 36671 w 39242"/>
                <a:gd name="connsiteY6" fmla="*/ 88392 h 319182"/>
                <a:gd name="connsiteX7" fmla="*/ 36671 w 39242"/>
                <a:gd name="connsiteY7" fmla="*/ 319183 h 319182"/>
                <a:gd name="connsiteX8" fmla="*/ 2286 w 39242"/>
                <a:gd name="connsiteY8" fmla="*/ 319183 h 319182"/>
                <a:gd name="connsiteX9" fmla="*/ 2286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286" y="88392"/>
                  </a:moveTo>
                  <a:lnTo>
                    <a:pt x="36671" y="88392"/>
                  </a:lnTo>
                  <a:lnTo>
                    <a:pt x="36671" y="319183"/>
                  </a:lnTo>
                  <a:lnTo>
                    <a:pt x="2286" y="319183"/>
                  </a:lnTo>
                  <a:lnTo>
                    <a:pt x="2286" y="88392"/>
                  </a:lnTo>
                  <a:close/>
                </a:path>
              </a:pathLst>
            </a:custGeom>
            <a:solidFill>
              <a:srgbClr val="44505E"/>
            </a:solidFill>
            <a:ln w="9525" cap="flat">
              <a:noFill/>
              <a:prstDash val="solid"/>
              <a:miter/>
            </a:ln>
          </p:spPr>
          <p:txBody>
            <a:bodyPr rtlCol="0" anchor="ctr"/>
            <a:lstStyle/>
            <a:p>
              <a:endParaRPr lang="pt-BR" noProof="0"/>
            </a:p>
          </p:txBody>
        </p:sp>
        <p:sp>
          <p:nvSpPr>
            <p:cNvPr id="52" name="Freeform: Shape 51">
              <a:extLst>
                <a:ext uri="{FF2B5EF4-FFF2-40B4-BE49-F238E27FC236}">
                  <a16:creationId xmlns:a16="http://schemas.microsoft.com/office/drawing/2014/main" id="{C87FF860-B4D9-8347-8A38-834322952908}"/>
                </a:ext>
              </a:extLst>
            </p:cNvPr>
            <p:cNvSpPr/>
            <p:nvPr/>
          </p:nvSpPr>
          <p:spPr>
            <a:xfrm>
              <a:off x="6513253" y="901353"/>
              <a:ext cx="58615" cy="83182"/>
            </a:xfrm>
            <a:custGeom>
              <a:avLst/>
              <a:gdLst>
                <a:gd name="connsiteX0" fmla="*/ 110394 w 233171"/>
                <a:gd name="connsiteY0" fmla="*/ 330898 h 330898"/>
                <a:gd name="connsiteX1" fmla="*/ 69723 w 233171"/>
                <a:gd name="connsiteY1" fmla="*/ 322897 h 330898"/>
                <a:gd name="connsiteX2" fmla="*/ 34480 w 233171"/>
                <a:gd name="connsiteY2" fmla="*/ 299466 h 330898"/>
                <a:gd name="connsiteX3" fmla="*/ 9430 w 233171"/>
                <a:gd name="connsiteY3" fmla="*/ 261938 h 330898"/>
                <a:gd name="connsiteX4" fmla="*/ 0 w 233171"/>
                <a:gd name="connsiteY4" fmla="*/ 211264 h 330898"/>
                <a:gd name="connsiteX5" fmla="*/ 0 w 233171"/>
                <a:gd name="connsiteY5" fmla="*/ 210407 h 330898"/>
                <a:gd name="connsiteX6" fmla="*/ 9430 w 233171"/>
                <a:gd name="connsiteY6" fmla="*/ 159925 h 330898"/>
                <a:gd name="connsiteX7" fmla="*/ 34480 w 233171"/>
                <a:gd name="connsiteY7" fmla="*/ 122206 h 330898"/>
                <a:gd name="connsiteX8" fmla="*/ 69723 w 233171"/>
                <a:gd name="connsiteY8" fmla="*/ 98488 h 330898"/>
                <a:gd name="connsiteX9" fmla="*/ 110394 w 233171"/>
                <a:gd name="connsiteY9" fmla="*/ 90202 h 330898"/>
                <a:gd name="connsiteX10" fmla="*/ 139827 w 233171"/>
                <a:gd name="connsiteY10" fmla="*/ 94202 h 330898"/>
                <a:gd name="connsiteX11" fmla="*/ 163925 w 233171"/>
                <a:gd name="connsiteY11" fmla="*/ 104870 h 330898"/>
                <a:gd name="connsiteX12" fmla="*/ 183356 w 233171"/>
                <a:gd name="connsiteY12" fmla="*/ 120491 h 330898"/>
                <a:gd name="connsiteX13" fmla="*/ 198787 w 233171"/>
                <a:gd name="connsiteY13" fmla="*/ 139255 h 330898"/>
                <a:gd name="connsiteX14" fmla="*/ 198787 w 233171"/>
                <a:gd name="connsiteY14" fmla="*/ 0 h 330898"/>
                <a:gd name="connsiteX15" fmla="*/ 233172 w 233171"/>
                <a:gd name="connsiteY15" fmla="*/ 0 h 330898"/>
                <a:gd name="connsiteX16" fmla="*/ 233172 w 233171"/>
                <a:gd name="connsiteY16" fmla="*/ 325850 h 330898"/>
                <a:gd name="connsiteX17" fmla="*/ 198787 w 233171"/>
                <a:gd name="connsiteY17" fmla="*/ 325850 h 330898"/>
                <a:gd name="connsiteX18" fmla="*/ 198787 w 233171"/>
                <a:gd name="connsiteY18" fmla="*/ 279463 h 330898"/>
                <a:gd name="connsiteX19" fmla="*/ 182975 w 233171"/>
                <a:gd name="connsiteY19" fmla="*/ 299085 h 330898"/>
                <a:gd name="connsiteX20" fmla="*/ 163544 w 233171"/>
                <a:gd name="connsiteY20" fmla="*/ 315658 h 330898"/>
                <a:gd name="connsiteX21" fmla="*/ 139636 w 233171"/>
                <a:gd name="connsiteY21" fmla="*/ 326803 h 330898"/>
                <a:gd name="connsiteX22" fmla="*/ 110394 w 233171"/>
                <a:gd name="connsiteY22" fmla="*/ 330803 h 330898"/>
                <a:gd name="connsiteX23" fmla="*/ 116681 w 233171"/>
                <a:gd name="connsiteY23" fmla="*/ 300133 h 330898"/>
                <a:gd name="connsiteX24" fmla="*/ 147733 w 233171"/>
                <a:gd name="connsiteY24" fmla="*/ 293656 h 330898"/>
                <a:gd name="connsiteX25" fmla="*/ 174498 w 233171"/>
                <a:gd name="connsiteY25" fmla="*/ 275368 h 330898"/>
                <a:gd name="connsiteX26" fmla="*/ 193262 w 233171"/>
                <a:gd name="connsiteY26" fmla="*/ 247269 h 330898"/>
                <a:gd name="connsiteX27" fmla="*/ 200216 w 233171"/>
                <a:gd name="connsiteY27" fmla="*/ 210883 h 330898"/>
                <a:gd name="connsiteX28" fmla="*/ 200216 w 233171"/>
                <a:gd name="connsiteY28" fmla="*/ 210026 h 330898"/>
                <a:gd name="connsiteX29" fmla="*/ 193262 w 233171"/>
                <a:gd name="connsiteY29" fmla="*/ 173641 h 330898"/>
                <a:gd name="connsiteX30" fmla="*/ 174498 w 233171"/>
                <a:gd name="connsiteY30" fmla="*/ 145732 h 330898"/>
                <a:gd name="connsiteX31" fmla="*/ 147733 w 233171"/>
                <a:gd name="connsiteY31" fmla="*/ 127635 h 330898"/>
                <a:gd name="connsiteX32" fmla="*/ 116681 w 233171"/>
                <a:gd name="connsiteY32" fmla="*/ 121158 h 330898"/>
                <a:gd name="connsiteX33" fmla="*/ 84963 w 233171"/>
                <a:gd name="connsiteY33" fmla="*/ 127159 h 330898"/>
                <a:gd name="connsiteX34" fmla="*/ 59341 w 233171"/>
                <a:gd name="connsiteY34" fmla="*/ 144589 h 330898"/>
                <a:gd name="connsiteX35" fmla="*/ 41910 w 233171"/>
                <a:gd name="connsiteY35" fmla="*/ 172498 h 330898"/>
                <a:gd name="connsiteX36" fmla="*/ 35433 w 233171"/>
                <a:gd name="connsiteY36" fmla="*/ 210026 h 330898"/>
                <a:gd name="connsiteX37" fmla="*/ 35433 w 233171"/>
                <a:gd name="connsiteY37" fmla="*/ 210883 h 330898"/>
                <a:gd name="connsiteX38" fmla="*/ 41910 w 233171"/>
                <a:gd name="connsiteY38" fmla="*/ 247936 h 330898"/>
                <a:gd name="connsiteX39" fmla="*/ 59531 w 233171"/>
                <a:gd name="connsiteY39" fmla="*/ 276034 h 330898"/>
                <a:gd name="connsiteX40" fmla="*/ 85439 w 233171"/>
                <a:gd name="connsiteY40" fmla="*/ 293941 h 330898"/>
                <a:gd name="connsiteX41" fmla="*/ 116681 w 23317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3171" h="330898">
                  <a:moveTo>
                    <a:pt x="110394" y="330898"/>
                  </a:moveTo>
                  <a:cubicBezTo>
                    <a:pt x="96393" y="330898"/>
                    <a:pt x="82868" y="328231"/>
                    <a:pt x="69723" y="322897"/>
                  </a:cubicBezTo>
                  <a:cubicBezTo>
                    <a:pt x="56674" y="317563"/>
                    <a:pt x="44863" y="309753"/>
                    <a:pt x="34480" y="299466"/>
                  </a:cubicBezTo>
                  <a:cubicBezTo>
                    <a:pt x="24003" y="289179"/>
                    <a:pt x="15716" y="276701"/>
                    <a:pt x="9430" y="261938"/>
                  </a:cubicBezTo>
                  <a:cubicBezTo>
                    <a:pt x="3143" y="247174"/>
                    <a:pt x="0" y="230314"/>
                    <a:pt x="0" y="211264"/>
                  </a:cubicBezTo>
                  <a:lnTo>
                    <a:pt x="0" y="210407"/>
                  </a:lnTo>
                  <a:cubicBezTo>
                    <a:pt x="0" y="191643"/>
                    <a:pt x="3143" y="174879"/>
                    <a:pt x="9430" y="159925"/>
                  </a:cubicBezTo>
                  <a:cubicBezTo>
                    <a:pt x="15716" y="145066"/>
                    <a:pt x="24003" y="132493"/>
                    <a:pt x="34480" y="122206"/>
                  </a:cubicBezTo>
                  <a:cubicBezTo>
                    <a:pt x="44863" y="111919"/>
                    <a:pt x="56674" y="104013"/>
                    <a:pt x="69723" y="98488"/>
                  </a:cubicBezTo>
                  <a:cubicBezTo>
                    <a:pt x="82868" y="92964"/>
                    <a:pt x="96393" y="90202"/>
                    <a:pt x="110394" y="90202"/>
                  </a:cubicBezTo>
                  <a:cubicBezTo>
                    <a:pt x="121158" y="90202"/>
                    <a:pt x="130969" y="91535"/>
                    <a:pt x="139827" y="94202"/>
                  </a:cubicBezTo>
                  <a:cubicBezTo>
                    <a:pt x="148780" y="96869"/>
                    <a:pt x="156782" y="100489"/>
                    <a:pt x="163925" y="104870"/>
                  </a:cubicBezTo>
                  <a:cubicBezTo>
                    <a:pt x="171069" y="109347"/>
                    <a:pt x="177546" y="114586"/>
                    <a:pt x="183356" y="120491"/>
                  </a:cubicBezTo>
                  <a:cubicBezTo>
                    <a:pt x="189166" y="126492"/>
                    <a:pt x="194310" y="132683"/>
                    <a:pt x="198787" y="139255"/>
                  </a:cubicBezTo>
                  <a:lnTo>
                    <a:pt x="198787" y="0"/>
                  </a:lnTo>
                  <a:lnTo>
                    <a:pt x="233172" y="0"/>
                  </a:lnTo>
                  <a:lnTo>
                    <a:pt x="233172" y="325850"/>
                  </a:lnTo>
                  <a:lnTo>
                    <a:pt x="198787" y="325850"/>
                  </a:lnTo>
                  <a:lnTo>
                    <a:pt x="198787" y="279463"/>
                  </a:lnTo>
                  <a:cubicBezTo>
                    <a:pt x="194024" y="286321"/>
                    <a:pt x="188786" y="292894"/>
                    <a:pt x="182975" y="299085"/>
                  </a:cubicBezTo>
                  <a:cubicBezTo>
                    <a:pt x="177165" y="305371"/>
                    <a:pt x="170688" y="310896"/>
                    <a:pt x="163544" y="315658"/>
                  </a:cubicBezTo>
                  <a:cubicBezTo>
                    <a:pt x="156400" y="320421"/>
                    <a:pt x="148494" y="324136"/>
                    <a:pt x="139636" y="326803"/>
                  </a:cubicBezTo>
                  <a:cubicBezTo>
                    <a:pt x="130873" y="329470"/>
                    <a:pt x="121158" y="330803"/>
                    <a:pt x="110394" y="330803"/>
                  </a:cubicBezTo>
                  <a:close/>
                  <a:moveTo>
                    <a:pt x="116681" y="300133"/>
                  </a:moveTo>
                  <a:cubicBezTo>
                    <a:pt x="127445" y="300133"/>
                    <a:pt x="137732" y="297942"/>
                    <a:pt x="147733" y="293656"/>
                  </a:cubicBezTo>
                  <a:cubicBezTo>
                    <a:pt x="157734" y="289369"/>
                    <a:pt x="166592" y="283273"/>
                    <a:pt x="174498" y="275368"/>
                  </a:cubicBezTo>
                  <a:cubicBezTo>
                    <a:pt x="182404" y="267462"/>
                    <a:pt x="188595" y="258127"/>
                    <a:pt x="193262" y="247269"/>
                  </a:cubicBezTo>
                  <a:cubicBezTo>
                    <a:pt x="197834" y="236410"/>
                    <a:pt x="200216" y="224314"/>
                    <a:pt x="200216" y="210883"/>
                  </a:cubicBezTo>
                  <a:lnTo>
                    <a:pt x="200216" y="210026"/>
                  </a:lnTo>
                  <a:cubicBezTo>
                    <a:pt x="200216" y="196596"/>
                    <a:pt x="197929" y="184499"/>
                    <a:pt x="193262" y="173641"/>
                  </a:cubicBezTo>
                  <a:cubicBezTo>
                    <a:pt x="188595" y="162782"/>
                    <a:pt x="182404" y="153448"/>
                    <a:pt x="174498" y="145732"/>
                  </a:cubicBezTo>
                  <a:cubicBezTo>
                    <a:pt x="166592" y="138017"/>
                    <a:pt x="157639" y="132016"/>
                    <a:pt x="147733" y="127635"/>
                  </a:cubicBezTo>
                  <a:cubicBezTo>
                    <a:pt x="137732" y="123349"/>
                    <a:pt x="127445" y="121158"/>
                    <a:pt x="116681" y="121158"/>
                  </a:cubicBezTo>
                  <a:cubicBezTo>
                    <a:pt x="105346" y="121158"/>
                    <a:pt x="94774" y="123158"/>
                    <a:pt x="84963" y="127159"/>
                  </a:cubicBezTo>
                  <a:cubicBezTo>
                    <a:pt x="75152" y="131159"/>
                    <a:pt x="66580" y="136969"/>
                    <a:pt x="59341" y="144589"/>
                  </a:cubicBezTo>
                  <a:cubicBezTo>
                    <a:pt x="52007" y="152114"/>
                    <a:pt x="46291" y="161449"/>
                    <a:pt x="41910" y="172498"/>
                  </a:cubicBezTo>
                  <a:cubicBezTo>
                    <a:pt x="37624" y="183451"/>
                    <a:pt x="35433" y="196024"/>
                    <a:pt x="35433" y="210026"/>
                  </a:cubicBezTo>
                  <a:lnTo>
                    <a:pt x="35433" y="210883"/>
                  </a:lnTo>
                  <a:cubicBezTo>
                    <a:pt x="35433" y="224599"/>
                    <a:pt x="37624" y="236982"/>
                    <a:pt x="41910" y="247936"/>
                  </a:cubicBezTo>
                  <a:cubicBezTo>
                    <a:pt x="46196" y="258984"/>
                    <a:pt x="52101" y="268319"/>
                    <a:pt x="59531" y="276034"/>
                  </a:cubicBezTo>
                  <a:cubicBezTo>
                    <a:pt x="66960" y="283750"/>
                    <a:pt x="75629" y="289750"/>
                    <a:pt x="85439" y="293941"/>
                  </a:cubicBezTo>
                  <a:cubicBezTo>
                    <a:pt x="95250" y="298132"/>
                    <a:pt x="105632" y="300228"/>
                    <a:pt x="116681" y="300228"/>
                  </a:cubicBezTo>
                  <a:close/>
                </a:path>
              </a:pathLst>
            </a:custGeom>
            <a:solidFill>
              <a:srgbClr val="44505E"/>
            </a:solidFill>
            <a:ln w="9525" cap="flat">
              <a:noFill/>
              <a:prstDash val="solid"/>
              <a:miter/>
            </a:ln>
          </p:spPr>
          <p:txBody>
            <a:bodyPr rtlCol="0" anchor="ctr"/>
            <a:lstStyle/>
            <a:p>
              <a:endParaRPr lang="pt-BR" noProof="0"/>
            </a:p>
          </p:txBody>
        </p:sp>
        <p:sp>
          <p:nvSpPr>
            <p:cNvPr id="53" name="Freeform: Shape 52">
              <a:extLst>
                <a:ext uri="{FF2B5EF4-FFF2-40B4-BE49-F238E27FC236}">
                  <a16:creationId xmlns:a16="http://schemas.microsoft.com/office/drawing/2014/main" id="{1153C57E-34EB-EBEF-EEB2-5AC720DE594F}"/>
                </a:ext>
              </a:extLst>
            </p:cNvPr>
            <p:cNvSpPr/>
            <p:nvPr/>
          </p:nvSpPr>
          <p:spPr>
            <a:xfrm>
              <a:off x="6586762"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0 w 202977"/>
                <a:gd name="connsiteY16" fmla="*/ 48196 h 239267"/>
                <a:gd name="connsiteX17" fmla="*/ 20383 w 202977"/>
                <a:gd name="connsiteY17" fmla="*/ 19907 h 239267"/>
                <a:gd name="connsiteX18" fmla="*/ 59245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0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1"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675" y="92678"/>
                    <a:pt x="84011" y="90964"/>
                    <a:pt x="98584" y="90964"/>
                  </a:cubicBezTo>
                  <a:cubicBezTo>
                    <a:pt x="113157" y="90964"/>
                    <a:pt x="126302"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0" y="33147"/>
                    <a:pt x="63436" y="36100"/>
                  </a:cubicBezTo>
                  <a:cubicBezTo>
                    <a:pt x="52292" y="39053"/>
                    <a:pt x="41338" y="43053"/>
                    <a:pt x="30670" y="48196"/>
                  </a:cubicBezTo>
                  <a:lnTo>
                    <a:pt x="20383" y="19907"/>
                  </a:lnTo>
                  <a:cubicBezTo>
                    <a:pt x="33147" y="13906"/>
                    <a:pt x="46101" y="9049"/>
                    <a:pt x="59245" y="5429"/>
                  </a:cubicBezTo>
                  <a:cubicBezTo>
                    <a:pt x="72294" y="1810"/>
                    <a:pt x="87344" y="0"/>
                    <a:pt x="104299" y="0"/>
                  </a:cubicBezTo>
                  <a:cubicBezTo>
                    <a:pt x="137064" y="0"/>
                    <a:pt x="161925" y="8477"/>
                    <a:pt x="178879" y="25432"/>
                  </a:cubicBezTo>
                  <a:cubicBezTo>
                    <a:pt x="194976"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0" y="239173"/>
                  </a:cubicBezTo>
                  <a:close/>
                  <a:moveTo>
                    <a:pt x="93154" y="211169"/>
                  </a:moveTo>
                  <a:cubicBezTo>
                    <a:pt x="103822" y="211169"/>
                    <a:pt x="113729" y="209740"/>
                    <a:pt x="122967" y="206788"/>
                  </a:cubicBezTo>
                  <a:cubicBezTo>
                    <a:pt x="132207"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4" y="119348"/>
                    <a:pt x="116871"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54" name="Freeform: Shape 53">
              <a:extLst>
                <a:ext uri="{FF2B5EF4-FFF2-40B4-BE49-F238E27FC236}">
                  <a16:creationId xmlns:a16="http://schemas.microsoft.com/office/drawing/2014/main" id="{5DCCEBB1-F9BF-EAD9-6DAF-FBBB7716A916}"/>
                </a:ext>
              </a:extLst>
            </p:cNvPr>
            <p:cNvSpPr/>
            <p:nvPr/>
          </p:nvSpPr>
          <p:spPr>
            <a:xfrm>
              <a:off x="6651291" y="924268"/>
              <a:ext cx="44680" cy="60195"/>
            </a:xfrm>
            <a:custGeom>
              <a:avLst/>
              <a:gdLst>
                <a:gd name="connsiteX0" fmla="*/ 95535 w 177736"/>
                <a:gd name="connsiteY0" fmla="*/ 239268 h 239458"/>
                <a:gd name="connsiteX1" fmla="*/ 45053 w 177736"/>
                <a:gd name="connsiteY1" fmla="*/ 230124 h 239458"/>
                <a:gd name="connsiteX2" fmla="*/ 0 w 177736"/>
                <a:gd name="connsiteY2" fmla="*/ 205359 h 239458"/>
                <a:gd name="connsiteX3" fmla="*/ 17430 w 177736"/>
                <a:gd name="connsiteY3" fmla="*/ 180785 h 239458"/>
                <a:gd name="connsiteX4" fmla="*/ 56483 w 177736"/>
                <a:gd name="connsiteY4" fmla="*/ 202692 h 239458"/>
                <a:gd name="connsiteX5" fmla="*/ 97345 w 177736"/>
                <a:gd name="connsiteY5" fmla="*/ 210217 h 239458"/>
                <a:gd name="connsiteX6" fmla="*/ 131730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825 w 177736"/>
                <a:gd name="connsiteY10" fmla="*/ 147066 h 239458"/>
                <a:gd name="connsiteX11" fmla="*/ 109251 w 177736"/>
                <a:gd name="connsiteY11" fmla="*/ 138779 h 239458"/>
                <a:gd name="connsiteX12" fmla="*/ 87630 w 177736"/>
                <a:gd name="connsiteY12" fmla="*/ 132112 h 239458"/>
                <a:gd name="connsiteX13" fmla="*/ 60579 w 177736"/>
                <a:gd name="connsiteY13" fmla="*/ 123444 h 239458"/>
                <a:gd name="connsiteX14" fmla="*/ 36004 w 177736"/>
                <a:gd name="connsiteY14" fmla="*/ 111633 h 239458"/>
                <a:gd name="connsiteX15" fmla="*/ 18192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59 w 177736"/>
                <a:gd name="connsiteY22" fmla="*/ 6953 h 239458"/>
                <a:gd name="connsiteX23" fmla="*/ 172878 w 177736"/>
                <a:gd name="connsiteY23" fmla="*/ 25527 h 239458"/>
                <a:gd name="connsiteX24" fmla="*/ 157257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3 w 177736"/>
                <a:gd name="connsiteY32" fmla="*/ 96203 h 239458"/>
                <a:gd name="connsiteX33" fmla="*/ 103631 w 177736"/>
                <a:gd name="connsiteY33" fmla="*/ 103346 h 239458"/>
                <a:gd name="connsiteX34" fmla="*/ 130207 w 177736"/>
                <a:gd name="connsiteY34" fmla="*/ 112300 h 239458"/>
                <a:gd name="connsiteX35" fmla="*/ 154114 w 177736"/>
                <a:gd name="connsiteY35" fmla="*/ 124778 h 239458"/>
                <a:gd name="connsiteX36" fmla="*/ 171259 w 177736"/>
                <a:gd name="connsiteY36" fmla="*/ 143066 h 239458"/>
                <a:gd name="connsiteX37" fmla="*/ 177736 w 177736"/>
                <a:gd name="connsiteY37" fmla="*/ 169450 h 239458"/>
                <a:gd name="connsiteX38" fmla="*/ 177736 w 177736"/>
                <a:gd name="connsiteY38" fmla="*/ 170307 h 239458"/>
                <a:gd name="connsiteX39" fmla="*/ 171259 w 177736"/>
                <a:gd name="connsiteY39" fmla="*/ 199549 h 239458"/>
                <a:gd name="connsiteX40" fmla="*/ 153828 w 177736"/>
                <a:gd name="connsiteY40" fmla="*/ 221171 h 239458"/>
                <a:gd name="connsiteX41" fmla="*/ 127921 w 177736"/>
                <a:gd name="connsiteY41" fmla="*/ 234791 h 239458"/>
                <a:gd name="connsiteX42" fmla="*/ 95535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5" y="239268"/>
                  </a:moveTo>
                  <a:cubicBezTo>
                    <a:pt x="78867" y="239268"/>
                    <a:pt x="62007" y="236220"/>
                    <a:pt x="45053" y="230124"/>
                  </a:cubicBezTo>
                  <a:cubicBezTo>
                    <a:pt x="28098" y="224028"/>
                    <a:pt x="13049" y="215741"/>
                    <a:pt x="0" y="205359"/>
                  </a:cubicBezTo>
                  <a:lnTo>
                    <a:pt x="17430" y="180785"/>
                  </a:lnTo>
                  <a:cubicBezTo>
                    <a:pt x="29908" y="190310"/>
                    <a:pt x="42957" y="197644"/>
                    <a:pt x="56483" y="202692"/>
                  </a:cubicBezTo>
                  <a:cubicBezTo>
                    <a:pt x="70009" y="207740"/>
                    <a:pt x="83629" y="210217"/>
                    <a:pt x="97345" y="210217"/>
                  </a:cubicBezTo>
                  <a:cubicBezTo>
                    <a:pt x="111061" y="210217"/>
                    <a:pt x="122777" y="206978"/>
                    <a:pt x="131730" y="200406"/>
                  </a:cubicBezTo>
                  <a:cubicBezTo>
                    <a:pt x="140684" y="193834"/>
                    <a:pt x="145161" y="184976"/>
                    <a:pt x="145161" y="173641"/>
                  </a:cubicBezTo>
                  <a:lnTo>
                    <a:pt x="145161" y="172784"/>
                  </a:lnTo>
                  <a:cubicBezTo>
                    <a:pt x="145161" y="167164"/>
                    <a:pt x="143541" y="162211"/>
                    <a:pt x="140494" y="158020"/>
                  </a:cubicBezTo>
                  <a:cubicBezTo>
                    <a:pt x="137350" y="153829"/>
                    <a:pt x="133159" y="150209"/>
                    <a:pt x="127825" y="147066"/>
                  </a:cubicBezTo>
                  <a:cubicBezTo>
                    <a:pt x="122491" y="143923"/>
                    <a:pt x="116300" y="141161"/>
                    <a:pt x="109251" y="138779"/>
                  </a:cubicBezTo>
                  <a:cubicBezTo>
                    <a:pt x="102298" y="136398"/>
                    <a:pt x="95059" y="134207"/>
                    <a:pt x="87630" y="132112"/>
                  </a:cubicBezTo>
                  <a:cubicBezTo>
                    <a:pt x="78676" y="129445"/>
                    <a:pt x="69722" y="126492"/>
                    <a:pt x="60579" y="123444"/>
                  </a:cubicBezTo>
                  <a:cubicBezTo>
                    <a:pt x="51530" y="120301"/>
                    <a:pt x="43339" y="116396"/>
                    <a:pt x="36004" y="111633"/>
                  </a:cubicBezTo>
                  <a:cubicBezTo>
                    <a:pt x="28670" y="106871"/>
                    <a:pt x="22764" y="100870"/>
                    <a:pt x="18192" y="93726"/>
                  </a:cubicBezTo>
                  <a:cubicBezTo>
                    <a:pt x="13525" y="86582"/>
                    <a:pt x="11239" y="77629"/>
                    <a:pt x="11239" y="66961"/>
                  </a:cubicBezTo>
                  <a:lnTo>
                    <a:pt x="11239" y="66008"/>
                  </a:lnTo>
                  <a:cubicBezTo>
                    <a:pt x="11239" y="56198"/>
                    <a:pt x="13144" y="47149"/>
                    <a:pt x="17050" y="39053"/>
                  </a:cubicBezTo>
                  <a:cubicBezTo>
                    <a:pt x="20955" y="30861"/>
                    <a:pt x="26384" y="23908"/>
                    <a:pt x="33338" y="18098"/>
                  </a:cubicBezTo>
                  <a:cubicBezTo>
                    <a:pt x="40291" y="12287"/>
                    <a:pt x="48673" y="7811"/>
                    <a:pt x="58388" y="4667"/>
                  </a:cubicBezTo>
                  <a:cubicBezTo>
                    <a:pt x="68008" y="1524"/>
                    <a:pt x="78581" y="0"/>
                    <a:pt x="89821" y="0"/>
                  </a:cubicBezTo>
                  <a:cubicBezTo>
                    <a:pt x="104108" y="0"/>
                    <a:pt x="118586" y="2286"/>
                    <a:pt x="133159" y="6953"/>
                  </a:cubicBezTo>
                  <a:cubicBezTo>
                    <a:pt x="147732" y="11621"/>
                    <a:pt x="160972" y="17717"/>
                    <a:pt x="172878" y="25527"/>
                  </a:cubicBezTo>
                  <a:lnTo>
                    <a:pt x="157257" y="51435"/>
                  </a:lnTo>
                  <a:cubicBezTo>
                    <a:pt x="146494" y="44577"/>
                    <a:pt x="135255" y="39148"/>
                    <a:pt x="123539" y="35147"/>
                  </a:cubicBezTo>
                  <a:cubicBezTo>
                    <a:pt x="111823" y="31147"/>
                    <a:pt x="100203" y="29146"/>
                    <a:pt x="88963" y="29146"/>
                  </a:cubicBezTo>
                  <a:cubicBezTo>
                    <a:pt x="75247" y="29146"/>
                    <a:pt x="64389" y="32385"/>
                    <a:pt x="56388" y="38767"/>
                  </a:cubicBezTo>
                  <a:cubicBezTo>
                    <a:pt x="48291" y="45149"/>
                    <a:pt x="44291" y="53150"/>
                    <a:pt x="44291" y="62675"/>
                  </a:cubicBezTo>
                  <a:lnTo>
                    <a:pt x="44291" y="63627"/>
                  </a:lnTo>
                  <a:cubicBezTo>
                    <a:pt x="44291" y="68961"/>
                    <a:pt x="45910" y="73628"/>
                    <a:pt x="49244" y="77724"/>
                  </a:cubicBezTo>
                  <a:cubicBezTo>
                    <a:pt x="52482" y="81725"/>
                    <a:pt x="56864" y="85249"/>
                    <a:pt x="62389" y="88202"/>
                  </a:cubicBezTo>
                  <a:cubicBezTo>
                    <a:pt x="67913" y="91154"/>
                    <a:pt x="74200" y="93821"/>
                    <a:pt x="81343" y="96203"/>
                  </a:cubicBezTo>
                  <a:cubicBezTo>
                    <a:pt x="88487" y="98584"/>
                    <a:pt x="95916" y="100965"/>
                    <a:pt x="103631" y="103346"/>
                  </a:cubicBezTo>
                  <a:cubicBezTo>
                    <a:pt x="112585" y="106013"/>
                    <a:pt x="121444" y="108966"/>
                    <a:pt x="130207" y="112300"/>
                  </a:cubicBezTo>
                  <a:cubicBezTo>
                    <a:pt x="138969" y="115538"/>
                    <a:pt x="146971" y="119729"/>
                    <a:pt x="154114" y="124778"/>
                  </a:cubicBezTo>
                  <a:cubicBezTo>
                    <a:pt x="161258" y="129826"/>
                    <a:pt x="166973" y="135922"/>
                    <a:pt x="171259" y="143066"/>
                  </a:cubicBezTo>
                  <a:cubicBezTo>
                    <a:pt x="175546" y="150209"/>
                    <a:pt x="177736" y="158972"/>
                    <a:pt x="177736" y="169450"/>
                  </a:cubicBezTo>
                  <a:lnTo>
                    <a:pt x="177736" y="170307"/>
                  </a:lnTo>
                  <a:cubicBezTo>
                    <a:pt x="177736" y="181356"/>
                    <a:pt x="175546" y="191071"/>
                    <a:pt x="171259" y="199549"/>
                  </a:cubicBezTo>
                  <a:cubicBezTo>
                    <a:pt x="166973" y="208026"/>
                    <a:pt x="161163" y="215265"/>
                    <a:pt x="153828" y="221171"/>
                  </a:cubicBezTo>
                  <a:cubicBezTo>
                    <a:pt x="146589" y="227171"/>
                    <a:pt x="137922" y="231648"/>
                    <a:pt x="127921" y="234791"/>
                  </a:cubicBezTo>
                  <a:cubicBezTo>
                    <a:pt x="117919" y="237935"/>
                    <a:pt x="107156" y="239459"/>
                    <a:pt x="95535" y="239459"/>
                  </a:cubicBezTo>
                  <a:close/>
                </a:path>
              </a:pathLst>
            </a:custGeom>
            <a:solidFill>
              <a:srgbClr val="44505E"/>
            </a:solidFill>
            <a:ln w="9525" cap="flat">
              <a:noFill/>
              <a:prstDash val="solid"/>
              <a:miter/>
            </a:ln>
          </p:spPr>
          <p:txBody>
            <a:bodyPr rtlCol="0" anchor="ctr"/>
            <a:lstStyle/>
            <a:p>
              <a:endParaRPr lang="pt-BR" noProof="0"/>
            </a:p>
          </p:txBody>
        </p:sp>
        <p:sp>
          <p:nvSpPr>
            <p:cNvPr id="55" name="Freeform: Shape 54">
              <a:extLst>
                <a:ext uri="{FF2B5EF4-FFF2-40B4-BE49-F238E27FC236}">
                  <a16:creationId xmlns:a16="http://schemas.microsoft.com/office/drawing/2014/main" id="{D45BF36E-E37F-8397-BB8F-0B7B178FFAD3}"/>
                </a:ext>
              </a:extLst>
            </p:cNvPr>
            <p:cNvSpPr/>
            <p:nvPr/>
          </p:nvSpPr>
          <p:spPr>
            <a:xfrm>
              <a:off x="5250320" y="846952"/>
              <a:ext cx="1459036" cy="16186"/>
            </a:xfrm>
            <a:custGeom>
              <a:avLst/>
              <a:gdLst>
                <a:gd name="connsiteX0" fmla="*/ 0 w 5804058"/>
                <a:gd name="connsiteY0" fmla="*/ 0 h 64388"/>
                <a:gd name="connsiteX1" fmla="*/ 5804059 w 5804058"/>
                <a:gd name="connsiteY1" fmla="*/ 0 h 64388"/>
                <a:gd name="connsiteX2" fmla="*/ 5804059 w 5804058"/>
                <a:gd name="connsiteY2" fmla="*/ 64389 h 64388"/>
                <a:gd name="connsiteX3" fmla="*/ 0 w 5804058"/>
                <a:gd name="connsiteY3" fmla="*/ 64389 h 64388"/>
              </a:gdLst>
              <a:ahLst/>
              <a:cxnLst>
                <a:cxn ang="0">
                  <a:pos x="connsiteX0" y="connsiteY0"/>
                </a:cxn>
                <a:cxn ang="0">
                  <a:pos x="connsiteX1" y="connsiteY1"/>
                </a:cxn>
                <a:cxn ang="0">
                  <a:pos x="connsiteX2" y="connsiteY2"/>
                </a:cxn>
                <a:cxn ang="0">
                  <a:pos x="connsiteX3" y="connsiteY3"/>
                </a:cxn>
              </a:cxnLst>
              <a:rect l="l" t="t" r="r" b="b"/>
              <a:pathLst>
                <a:path w="5804058" h="64388">
                  <a:moveTo>
                    <a:pt x="0" y="0"/>
                  </a:moveTo>
                  <a:lnTo>
                    <a:pt x="5804059" y="0"/>
                  </a:lnTo>
                  <a:lnTo>
                    <a:pt x="5804059" y="64389"/>
                  </a:lnTo>
                  <a:lnTo>
                    <a:pt x="0" y="64389"/>
                  </a:lnTo>
                  <a:close/>
                </a:path>
              </a:pathLst>
            </a:custGeom>
            <a:solidFill>
              <a:srgbClr val="44505E"/>
            </a:solidFill>
            <a:ln w="9525" cap="flat">
              <a:noFill/>
              <a:prstDash val="solid"/>
              <a:miter/>
            </a:ln>
          </p:spPr>
          <p:txBody>
            <a:bodyPr rtlCol="0" anchor="ctr"/>
            <a:lstStyle/>
            <a:p>
              <a:endParaRPr lang="pt-BR" noProof="0"/>
            </a:p>
          </p:txBody>
        </p:sp>
        <p:sp>
          <p:nvSpPr>
            <p:cNvPr id="56" name="Freeform: Shape 55">
              <a:extLst>
                <a:ext uri="{FF2B5EF4-FFF2-40B4-BE49-F238E27FC236}">
                  <a16:creationId xmlns:a16="http://schemas.microsoft.com/office/drawing/2014/main" id="{845628C5-AD85-8A00-A415-202807D010E4}"/>
                </a:ext>
              </a:extLst>
            </p:cNvPr>
            <p:cNvSpPr/>
            <p:nvPr/>
          </p:nvSpPr>
          <p:spPr>
            <a:xfrm>
              <a:off x="6902633" y="268821"/>
              <a:ext cx="273418" cy="601046"/>
            </a:xfrm>
            <a:custGeom>
              <a:avLst/>
              <a:gdLst>
                <a:gd name="connsiteX0" fmla="*/ 0 w 1087659"/>
                <a:gd name="connsiteY0" fmla="*/ 210979 h 2390965"/>
                <a:gd name="connsiteX1" fmla="*/ 125063 w 1087659"/>
                <a:gd name="connsiteY1" fmla="*/ 103442 h 2390965"/>
                <a:gd name="connsiteX2" fmla="*/ 250031 w 1087659"/>
                <a:gd name="connsiteY2" fmla="*/ 210979 h 2390965"/>
                <a:gd name="connsiteX3" fmla="*/ 250031 w 1087659"/>
                <a:gd name="connsiteY3" fmla="*/ 1922717 h 2390965"/>
                <a:gd name="connsiteX4" fmla="*/ 249841 w 1087659"/>
                <a:gd name="connsiteY4" fmla="*/ 1922717 h 2390965"/>
                <a:gd name="connsiteX5" fmla="*/ 249841 w 1087659"/>
                <a:gd name="connsiteY5" fmla="*/ 1925955 h 2390965"/>
                <a:gd name="connsiteX6" fmla="*/ 333756 w 1087659"/>
                <a:gd name="connsiteY6" fmla="*/ 2100263 h 2390965"/>
                <a:gd name="connsiteX7" fmla="*/ 335566 w 1087659"/>
                <a:gd name="connsiteY7" fmla="*/ 2101787 h 2390965"/>
                <a:gd name="connsiteX8" fmla="*/ 336042 w 1087659"/>
                <a:gd name="connsiteY8" fmla="*/ 2102168 h 2390965"/>
                <a:gd name="connsiteX9" fmla="*/ 543877 w 1087659"/>
                <a:gd name="connsiteY9" fmla="*/ 2175891 h 2390965"/>
                <a:gd name="connsiteX10" fmla="*/ 749998 w 1087659"/>
                <a:gd name="connsiteY10" fmla="*/ 2103692 h 2390965"/>
                <a:gd name="connsiteX11" fmla="*/ 751713 w 1087659"/>
                <a:gd name="connsiteY11" fmla="*/ 2102168 h 2390965"/>
                <a:gd name="connsiteX12" fmla="*/ 752189 w 1087659"/>
                <a:gd name="connsiteY12" fmla="*/ 2101787 h 2390965"/>
                <a:gd name="connsiteX13" fmla="*/ 837819 w 1087659"/>
                <a:gd name="connsiteY13" fmla="*/ 1922812 h 2390965"/>
                <a:gd name="connsiteX14" fmla="*/ 837819 w 1087659"/>
                <a:gd name="connsiteY14" fmla="*/ 107537 h 2390965"/>
                <a:gd name="connsiteX15" fmla="*/ 962787 w 1087659"/>
                <a:gd name="connsiteY15" fmla="*/ 0 h 2390965"/>
                <a:gd name="connsiteX16" fmla="*/ 1087660 w 1087659"/>
                <a:gd name="connsiteY16" fmla="*/ 107537 h 2390965"/>
                <a:gd name="connsiteX17" fmla="*/ 1087660 w 1087659"/>
                <a:gd name="connsiteY17" fmla="*/ 1922621 h 2390965"/>
                <a:gd name="connsiteX18" fmla="*/ 928307 w 1087659"/>
                <a:gd name="connsiteY18" fmla="*/ 2253234 h 2390965"/>
                <a:gd name="connsiteX19" fmla="*/ 928116 w 1087659"/>
                <a:gd name="connsiteY19" fmla="*/ 2253424 h 2390965"/>
                <a:gd name="connsiteX20" fmla="*/ 927830 w 1087659"/>
                <a:gd name="connsiteY20" fmla="*/ 2253710 h 2390965"/>
                <a:gd name="connsiteX21" fmla="*/ 927354 w 1087659"/>
                <a:gd name="connsiteY21" fmla="*/ 2254187 h 2390965"/>
                <a:gd name="connsiteX22" fmla="*/ 543783 w 1087659"/>
                <a:gd name="connsiteY22" fmla="*/ 2390966 h 2390965"/>
                <a:gd name="connsiteX23" fmla="*/ 159734 w 1087659"/>
                <a:gd name="connsiteY23" fmla="*/ 2253710 h 2390965"/>
                <a:gd name="connsiteX24" fmla="*/ 159734 w 1087659"/>
                <a:gd name="connsiteY24" fmla="*/ 2253424 h 2390965"/>
                <a:gd name="connsiteX25" fmla="*/ 159353 w 1087659"/>
                <a:gd name="connsiteY25" fmla="*/ 2253234 h 2390965"/>
                <a:gd name="connsiteX26" fmla="*/ 158877 w 1087659"/>
                <a:gd name="connsiteY26" fmla="*/ 2252948 h 2390965"/>
                <a:gd name="connsiteX27" fmla="*/ 0 w 1087659"/>
                <a:gd name="connsiteY27" fmla="*/ 1922621 h 2390965"/>
                <a:gd name="connsiteX28" fmla="*/ 0 w 1087659"/>
                <a:gd name="connsiteY28" fmla="*/ 1922621 h 2390965"/>
                <a:gd name="connsiteX29" fmla="*/ 0 w 1087659"/>
                <a:gd name="connsiteY29" fmla="*/ 210979 h 239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87659" h="2390965">
                  <a:moveTo>
                    <a:pt x="0" y="210979"/>
                  </a:moveTo>
                  <a:cubicBezTo>
                    <a:pt x="0" y="151638"/>
                    <a:pt x="56007" y="103442"/>
                    <a:pt x="125063" y="103442"/>
                  </a:cubicBezTo>
                  <a:cubicBezTo>
                    <a:pt x="194120" y="103442"/>
                    <a:pt x="250031" y="151638"/>
                    <a:pt x="250031" y="210979"/>
                  </a:cubicBezTo>
                  <a:lnTo>
                    <a:pt x="250031" y="1922717"/>
                  </a:lnTo>
                  <a:lnTo>
                    <a:pt x="249841" y="1922717"/>
                  </a:lnTo>
                  <a:lnTo>
                    <a:pt x="249841" y="1925955"/>
                  </a:lnTo>
                  <a:cubicBezTo>
                    <a:pt x="250793" y="1994059"/>
                    <a:pt x="282797" y="2055495"/>
                    <a:pt x="333756" y="2100263"/>
                  </a:cubicBezTo>
                  <a:lnTo>
                    <a:pt x="335566" y="2101787"/>
                  </a:lnTo>
                  <a:lnTo>
                    <a:pt x="336042" y="2102168"/>
                  </a:lnTo>
                  <a:cubicBezTo>
                    <a:pt x="388906" y="2147697"/>
                    <a:pt x="462343" y="2175891"/>
                    <a:pt x="543877" y="2175891"/>
                  </a:cubicBezTo>
                  <a:cubicBezTo>
                    <a:pt x="625411" y="2175891"/>
                    <a:pt x="697420" y="2148364"/>
                    <a:pt x="749998" y="2103692"/>
                  </a:cubicBezTo>
                  <a:lnTo>
                    <a:pt x="751713" y="2102168"/>
                  </a:lnTo>
                  <a:lnTo>
                    <a:pt x="752189" y="2101787"/>
                  </a:lnTo>
                  <a:cubicBezTo>
                    <a:pt x="805053" y="2056352"/>
                    <a:pt x="837819" y="1993011"/>
                    <a:pt x="837819" y="1922812"/>
                  </a:cubicBezTo>
                  <a:lnTo>
                    <a:pt x="837819" y="107537"/>
                  </a:lnTo>
                  <a:cubicBezTo>
                    <a:pt x="837819" y="48196"/>
                    <a:pt x="893731" y="0"/>
                    <a:pt x="962787" y="0"/>
                  </a:cubicBezTo>
                  <a:cubicBezTo>
                    <a:pt x="1031843" y="0"/>
                    <a:pt x="1087660" y="48196"/>
                    <a:pt x="1087660" y="107537"/>
                  </a:cubicBezTo>
                  <a:lnTo>
                    <a:pt x="1087660" y="1922621"/>
                  </a:lnTo>
                  <a:cubicBezTo>
                    <a:pt x="1087660" y="2051399"/>
                    <a:pt x="1026795" y="2168366"/>
                    <a:pt x="928307" y="2253234"/>
                  </a:cubicBezTo>
                  <a:lnTo>
                    <a:pt x="928116" y="2253424"/>
                  </a:lnTo>
                  <a:lnTo>
                    <a:pt x="927830" y="2253710"/>
                  </a:lnTo>
                  <a:lnTo>
                    <a:pt x="927354" y="2254187"/>
                  </a:lnTo>
                  <a:cubicBezTo>
                    <a:pt x="828770" y="2338673"/>
                    <a:pt x="693134" y="2390966"/>
                    <a:pt x="543783" y="2390966"/>
                  </a:cubicBezTo>
                  <a:cubicBezTo>
                    <a:pt x="394430" y="2390966"/>
                    <a:pt x="258413" y="2338483"/>
                    <a:pt x="159734" y="2253710"/>
                  </a:cubicBezTo>
                  <a:lnTo>
                    <a:pt x="159734" y="2253424"/>
                  </a:lnTo>
                  <a:cubicBezTo>
                    <a:pt x="159734" y="2253424"/>
                    <a:pt x="159353" y="2253234"/>
                    <a:pt x="159353" y="2253234"/>
                  </a:cubicBezTo>
                  <a:lnTo>
                    <a:pt x="158877" y="2252948"/>
                  </a:lnTo>
                  <a:cubicBezTo>
                    <a:pt x="60770" y="2167985"/>
                    <a:pt x="0" y="2051304"/>
                    <a:pt x="0" y="1922621"/>
                  </a:cubicBezTo>
                  <a:lnTo>
                    <a:pt x="0" y="1922621"/>
                  </a:lnTo>
                  <a:lnTo>
                    <a:pt x="0" y="210979"/>
                  </a:lnTo>
                  <a:close/>
                </a:path>
              </a:pathLst>
            </a:custGeom>
            <a:solidFill>
              <a:srgbClr val="8FC640"/>
            </a:solidFill>
            <a:ln w="9525" cap="flat">
              <a:noFill/>
              <a:prstDash val="solid"/>
              <a:miter/>
            </a:ln>
          </p:spPr>
          <p:txBody>
            <a:bodyPr rtlCol="0" anchor="ctr"/>
            <a:lstStyle/>
            <a:p>
              <a:endParaRPr lang="pt-BR" noProof="0"/>
            </a:p>
          </p:txBody>
        </p:sp>
        <p:sp>
          <p:nvSpPr>
            <p:cNvPr id="57" name="Freeform: Shape 56">
              <a:extLst>
                <a:ext uri="{FF2B5EF4-FFF2-40B4-BE49-F238E27FC236}">
                  <a16:creationId xmlns:a16="http://schemas.microsoft.com/office/drawing/2014/main" id="{BBC6AEE0-E9E3-64BC-64A6-755AFCE5DD7D}"/>
                </a:ext>
              </a:extLst>
            </p:cNvPr>
            <p:cNvSpPr/>
            <p:nvPr/>
          </p:nvSpPr>
          <p:spPr>
            <a:xfrm>
              <a:off x="7013590" y="213965"/>
              <a:ext cx="54018" cy="562280"/>
            </a:xfrm>
            <a:custGeom>
              <a:avLst/>
              <a:gdLst>
                <a:gd name="connsiteX0" fmla="*/ 0 w 214883"/>
                <a:gd name="connsiteY0" fmla="*/ 107537 h 2236755"/>
                <a:gd name="connsiteX1" fmla="*/ 107537 w 214883"/>
                <a:gd name="connsiteY1" fmla="*/ 0 h 2236755"/>
                <a:gd name="connsiteX2" fmla="*/ 214884 w 214883"/>
                <a:gd name="connsiteY2" fmla="*/ 107537 h 2236755"/>
                <a:gd name="connsiteX3" fmla="*/ 214884 w 214883"/>
                <a:gd name="connsiteY3" fmla="*/ 2129219 h 2236755"/>
                <a:gd name="connsiteX4" fmla="*/ 107537 w 214883"/>
                <a:gd name="connsiteY4" fmla="*/ 2236756 h 2236755"/>
                <a:gd name="connsiteX5" fmla="*/ 0 w 214883"/>
                <a:gd name="connsiteY5" fmla="*/ 2129219 h 2236755"/>
                <a:gd name="connsiteX6" fmla="*/ 0 w 214883"/>
                <a:gd name="connsiteY6" fmla="*/ 107537 h 223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 h="2236755">
                  <a:moveTo>
                    <a:pt x="0" y="107537"/>
                  </a:moveTo>
                  <a:cubicBezTo>
                    <a:pt x="0" y="48197"/>
                    <a:pt x="48101" y="0"/>
                    <a:pt x="107537" y="0"/>
                  </a:cubicBezTo>
                  <a:cubicBezTo>
                    <a:pt x="166973" y="0"/>
                    <a:pt x="214884" y="48197"/>
                    <a:pt x="214884" y="107537"/>
                  </a:cubicBezTo>
                  <a:lnTo>
                    <a:pt x="214884" y="2129219"/>
                  </a:lnTo>
                  <a:cubicBezTo>
                    <a:pt x="214884" y="2188559"/>
                    <a:pt x="166782" y="2236756"/>
                    <a:pt x="107537" y="2236756"/>
                  </a:cubicBezTo>
                  <a:cubicBezTo>
                    <a:pt x="48291" y="2236756"/>
                    <a:pt x="0" y="2188559"/>
                    <a:pt x="0" y="2129219"/>
                  </a:cubicBezTo>
                  <a:lnTo>
                    <a:pt x="0" y="107537"/>
                  </a:lnTo>
                  <a:close/>
                </a:path>
              </a:pathLst>
            </a:custGeom>
            <a:solidFill>
              <a:srgbClr val="3698B0"/>
            </a:solidFill>
            <a:ln w="9525" cap="flat">
              <a:noFill/>
              <a:prstDash val="solid"/>
              <a:miter/>
            </a:ln>
          </p:spPr>
          <p:txBody>
            <a:bodyPr rtlCol="0" anchor="ctr"/>
            <a:lstStyle/>
            <a:p>
              <a:endParaRPr lang="pt-BR" noProof="0"/>
            </a:p>
          </p:txBody>
        </p:sp>
        <p:sp>
          <p:nvSpPr>
            <p:cNvPr id="58" name="Freeform: Shape 57">
              <a:extLst>
                <a:ext uri="{FF2B5EF4-FFF2-40B4-BE49-F238E27FC236}">
                  <a16:creationId xmlns:a16="http://schemas.microsoft.com/office/drawing/2014/main" id="{E1990EAA-F21B-109E-F022-34F991A23DDB}"/>
                </a:ext>
              </a:extLst>
            </p:cNvPr>
            <p:cNvSpPr/>
            <p:nvPr/>
          </p:nvSpPr>
          <p:spPr>
            <a:xfrm>
              <a:off x="6795770" y="332991"/>
              <a:ext cx="485994" cy="649437"/>
            </a:xfrm>
            <a:custGeom>
              <a:avLst/>
              <a:gdLst>
                <a:gd name="connsiteX0" fmla="*/ 1933290 w 1933289"/>
                <a:gd name="connsiteY0" fmla="*/ 138017 h 2583465"/>
                <a:gd name="connsiteX1" fmla="*/ 1933290 w 1933289"/>
                <a:gd name="connsiteY1" fmla="*/ 1734122 h 2583465"/>
                <a:gd name="connsiteX2" fmla="*/ 1796606 w 1933289"/>
                <a:gd name="connsiteY2" fmla="*/ 2229136 h 2583465"/>
                <a:gd name="connsiteX3" fmla="*/ 977742 w 1933289"/>
                <a:gd name="connsiteY3" fmla="*/ 2583466 h 2583465"/>
                <a:gd name="connsiteX4" fmla="*/ 955357 w 1933289"/>
                <a:gd name="connsiteY4" fmla="*/ 2583466 h 2583465"/>
                <a:gd name="connsiteX5" fmla="*/ 136589 w 1933289"/>
                <a:gd name="connsiteY5" fmla="*/ 2229136 h 2583465"/>
                <a:gd name="connsiteX6" fmla="*/ 0 w 1933289"/>
                <a:gd name="connsiteY6" fmla="*/ 1734122 h 2583465"/>
                <a:gd name="connsiteX7" fmla="*/ 0 w 1933289"/>
                <a:gd name="connsiteY7" fmla="*/ 794194 h 2583465"/>
                <a:gd name="connsiteX8" fmla="*/ 137827 w 1933289"/>
                <a:gd name="connsiteY8" fmla="*/ 656273 h 2583465"/>
                <a:gd name="connsiteX9" fmla="*/ 275463 w 1933289"/>
                <a:gd name="connsiteY9" fmla="*/ 794194 h 2583465"/>
                <a:gd name="connsiteX10" fmla="*/ 275463 w 1933289"/>
                <a:gd name="connsiteY10" fmla="*/ 1734122 h 2583465"/>
                <a:gd name="connsiteX11" fmla="*/ 354235 w 1933289"/>
                <a:gd name="connsiteY11" fmla="*/ 2059686 h 2583465"/>
                <a:gd name="connsiteX12" fmla="*/ 958215 w 1933289"/>
                <a:gd name="connsiteY12" fmla="*/ 2307527 h 2583465"/>
                <a:gd name="connsiteX13" fmla="*/ 974789 w 1933289"/>
                <a:gd name="connsiteY13" fmla="*/ 2307527 h 2583465"/>
                <a:gd name="connsiteX14" fmla="*/ 1578959 w 1933289"/>
                <a:gd name="connsiteY14" fmla="*/ 2059686 h 2583465"/>
                <a:gd name="connsiteX15" fmla="*/ 1657636 w 1933289"/>
                <a:gd name="connsiteY15" fmla="*/ 1734122 h 2583465"/>
                <a:gd name="connsiteX16" fmla="*/ 1657636 w 1933289"/>
                <a:gd name="connsiteY16" fmla="*/ 138017 h 2583465"/>
                <a:gd name="connsiteX17" fmla="*/ 1795463 w 1933289"/>
                <a:gd name="connsiteY17" fmla="*/ 0 h 2583465"/>
                <a:gd name="connsiteX18" fmla="*/ 1933290 w 1933289"/>
                <a:gd name="connsiteY18" fmla="*/ 138017 h 25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3289" h="2583465">
                  <a:moveTo>
                    <a:pt x="1933290" y="138017"/>
                  </a:moveTo>
                  <a:lnTo>
                    <a:pt x="1933290" y="1734122"/>
                  </a:lnTo>
                  <a:cubicBezTo>
                    <a:pt x="1933290" y="1870996"/>
                    <a:pt x="1919002" y="2071211"/>
                    <a:pt x="1796606" y="2229136"/>
                  </a:cubicBezTo>
                  <a:cubicBezTo>
                    <a:pt x="1634395" y="2438305"/>
                    <a:pt x="1432084" y="2578703"/>
                    <a:pt x="977742" y="2583466"/>
                  </a:cubicBezTo>
                  <a:lnTo>
                    <a:pt x="955357" y="2583466"/>
                  </a:lnTo>
                  <a:cubicBezTo>
                    <a:pt x="501015" y="2578703"/>
                    <a:pt x="298704" y="2438400"/>
                    <a:pt x="136589" y="2229136"/>
                  </a:cubicBezTo>
                  <a:cubicBezTo>
                    <a:pt x="14192" y="2071211"/>
                    <a:pt x="0" y="1870996"/>
                    <a:pt x="0" y="1734122"/>
                  </a:cubicBezTo>
                  <a:lnTo>
                    <a:pt x="0" y="794194"/>
                  </a:lnTo>
                  <a:cubicBezTo>
                    <a:pt x="0" y="718185"/>
                    <a:pt x="61436" y="656273"/>
                    <a:pt x="137827" y="656273"/>
                  </a:cubicBezTo>
                  <a:cubicBezTo>
                    <a:pt x="214217" y="656273"/>
                    <a:pt x="275463" y="718185"/>
                    <a:pt x="275463" y="794194"/>
                  </a:cubicBezTo>
                  <a:lnTo>
                    <a:pt x="275463" y="1734122"/>
                  </a:lnTo>
                  <a:cubicBezTo>
                    <a:pt x="275463" y="1887188"/>
                    <a:pt x="300324" y="1990630"/>
                    <a:pt x="354235" y="2059686"/>
                  </a:cubicBezTo>
                  <a:cubicBezTo>
                    <a:pt x="476250" y="2217611"/>
                    <a:pt x="609791" y="2304479"/>
                    <a:pt x="958215" y="2307527"/>
                  </a:cubicBezTo>
                  <a:lnTo>
                    <a:pt x="974789" y="2307527"/>
                  </a:lnTo>
                  <a:cubicBezTo>
                    <a:pt x="1323499" y="2304479"/>
                    <a:pt x="1456563" y="2217611"/>
                    <a:pt x="1578959" y="2059686"/>
                  </a:cubicBezTo>
                  <a:cubicBezTo>
                    <a:pt x="1632490" y="1990630"/>
                    <a:pt x="1657636" y="1887093"/>
                    <a:pt x="1657636" y="1734122"/>
                  </a:cubicBezTo>
                  <a:lnTo>
                    <a:pt x="1657636" y="138017"/>
                  </a:lnTo>
                  <a:cubicBezTo>
                    <a:pt x="1657636" y="61531"/>
                    <a:pt x="1719453" y="0"/>
                    <a:pt x="1795463" y="0"/>
                  </a:cubicBezTo>
                  <a:cubicBezTo>
                    <a:pt x="1871472" y="0"/>
                    <a:pt x="1933290" y="61531"/>
                    <a:pt x="1933290" y="138017"/>
                  </a:cubicBezTo>
                </a:path>
              </a:pathLst>
            </a:custGeom>
            <a:solidFill>
              <a:srgbClr val="49306E"/>
            </a:solidFill>
            <a:ln w="9525" cap="flat">
              <a:noFill/>
              <a:prstDash val="solid"/>
              <a:miter/>
            </a:ln>
          </p:spPr>
          <p:txBody>
            <a:bodyPr rtlCol="0" anchor="ctr"/>
            <a:lstStyle/>
            <a:p>
              <a:endParaRPr lang="pt-BR" noProof="0"/>
            </a:p>
          </p:txBody>
        </p:sp>
      </p:grpSp>
      <p:sp>
        <p:nvSpPr>
          <p:cNvPr id="5" name="Rectangle 3">
            <a:extLst>
              <a:ext uri="{FF2B5EF4-FFF2-40B4-BE49-F238E27FC236}">
                <a16:creationId xmlns:a16="http://schemas.microsoft.com/office/drawing/2014/main" id="{6ABEEBFD-887B-9B06-E48F-4D9BB5DB606E}"/>
              </a:ext>
            </a:extLst>
          </p:cNvPr>
          <p:cNvSpPr>
            <a:spLocks noChangeArrowheads="1"/>
          </p:cNvSpPr>
          <p:nvPr/>
        </p:nvSpPr>
        <p:spPr bwMode="auto">
          <a:xfrm>
            <a:off x="428153" y="692497"/>
            <a:ext cx="264816" cy="2862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p:txBody>
      </p:sp>
      <p:sp>
        <p:nvSpPr>
          <p:cNvPr id="4" name="Seta: para Baixo 3">
            <a:extLst>
              <a:ext uri="{FF2B5EF4-FFF2-40B4-BE49-F238E27FC236}">
                <a16:creationId xmlns:a16="http://schemas.microsoft.com/office/drawing/2014/main" id="{06A0B1A9-18D4-41B4-7E12-DC6B9C51733A}"/>
              </a:ext>
            </a:extLst>
          </p:cNvPr>
          <p:cNvSpPr/>
          <p:nvPr/>
        </p:nvSpPr>
        <p:spPr>
          <a:xfrm rot="16200000">
            <a:off x="4985466" y="2520269"/>
            <a:ext cx="457200" cy="542417"/>
          </a:xfrm>
          <a:prstGeom prst="downArrow">
            <a:avLst/>
          </a:prstGeom>
          <a:solidFill>
            <a:srgbClr val="D9D9D9"/>
          </a:solidFill>
          <a:ln w="19050">
            <a:solidFill>
              <a:srgbClr val="7F3D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lgn="just">
              <a:buFont typeface="Arial" panose="020B0604020202020204" pitchFamily="34" charset="0"/>
              <a:buChar char="•"/>
            </a:pPr>
            <a:endParaRPr lang="pt-BR" sz="1800" noProof="0"/>
          </a:p>
        </p:txBody>
      </p:sp>
      <p:sp>
        <p:nvSpPr>
          <p:cNvPr id="9" name="Seta: para Baixo 8">
            <a:extLst>
              <a:ext uri="{FF2B5EF4-FFF2-40B4-BE49-F238E27FC236}">
                <a16:creationId xmlns:a16="http://schemas.microsoft.com/office/drawing/2014/main" id="{E742DD90-217A-4C85-CBDB-788C0F32A902}"/>
              </a:ext>
            </a:extLst>
          </p:cNvPr>
          <p:cNvSpPr/>
          <p:nvPr/>
        </p:nvSpPr>
        <p:spPr>
          <a:xfrm rot="16200000">
            <a:off x="11306757" y="6212918"/>
            <a:ext cx="457200" cy="542417"/>
          </a:xfrm>
          <a:prstGeom prst="downArrow">
            <a:avLst/>
          </a:prstGeom>
          <a:solidFill>
            <a:srgbClr val="D9D9D9"/>
          </a:solidFill>
          <a:ln w="19050">
            <a:solidFill>
              <a:srgbClr val="7F3D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lgn="just">
              <a:buFont typeface="Arial" panose="020B0604020202020204" pitchFamily="34" charset="0"/>
              <a:buChar char="•"/>
            </a:pPr>
            <a:endParaRPr lang="pt-BR" sz="1800" noProof="0"/>
          </a:p>
        </p:txBody>
      </p:sp>
      <p:pic>
        <p:nvPicPr>
          <p:cNvPr id="10" name="Picture 2" descr="Vetores de Ilustração Em Vetor De Uma Pessoa Abrindo Um ...">
            <a:extLst>
              <a:ext uri="{FF2B5EF4-FFF2-40B4-BE49-F238E27FC236}">
                <a16:creationId xmlns:a16="http://schemas.microsoft.com/office/drawing/2014/main" id="{BFE1B27D-1B9E-AD1D-E797-35769757732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01555" y="1655349"/>
            <a:ext cx="3891100" cy="3367736"/>
          </a:xfrm>
          <a:prstGeom prst="rect">
            <a:avLst/>
          </a:prstGeom>
          <a:noFill/>
          <a:extLst>
            <a:ext uri="{909E8E84-426E-40DD-AFC4-6F175D3DCCD1}">
              <a14:hiddenFill xmlns:a14="http://schemas.microsoft.com/office/drawing/2010/main">
                <a:solidFill>
                  <a:srgbClr val="FFFFFF"/>
                </a:solidFill>
              </a14:hiddenFill>
            </a:ext>
          </a:extLst>
        </p:spPr>
      </p:pic>
      <p:sp>
        <p:nvSpPr>
          <p:cNvPr id="11" name="CaixaDeTexto 10">
            <a:extLst>
              <a:ext uri="{FF2B5EF4-FFF2-40B4-BE49-F238E27FC236}">
                <a16:creationId xmlns:a16="http://schemas.microsoft.com/office/drawing/2014/main" id="{F9839532-A215-79DC-C389-F9B67C5BB5F9}"/>
              </a:ext>
            </a:extLst>
          </p:cNvPr>
          <p:cNvSpPr txBox="1"/>
          <p:nvPr/>
        </p:nvSpPr>
        <p:spPr>
          <a:xfrm>
            <a:off x="1600997" y="2877088"/>
            <a:ext cx="1741715" cy="461665"/>
          </a:xfrm>
          <a:prstGeom prst="rect">
            <a:avLst/>
          </a:prstGeom>
          <a:noFill/>
        </p:spPr>
        <p:txBody>
          <a:bodyPr wrap="square" rtlCol="0">
            <a:spAutoFit/>
          </a:bodyPr>
          <a:lstStyle/>
          <a:p>
            <a:r>
              <a:rPr lang="pt-BR" sz="2400" b="1" noProof="0"/>
              <a:t>Envelope 1</a:t>
            </a:r>
          </a:p>
        </p:txBody>
      </p:sp>
      <p:sp>
        <p:nvSpPr>
          <p:cNvPr id="2" name="CaixaDeTexto 1">
            <a:extLst>
              <a:ext uri="{FF2B5EF4-FFF2-40B4-BE49-F238E27FC236}">
                <a16:creationId xmlns:a16="http://schemas.microsoft.com/office/drawing/2014/main" id="{13FD1C71-9E56-E4D2-A042-D3DF1395D7D9}"/>
              </a:ext>
            </a:extLst>
          </p:cNvPr>
          <p:cNvSpPr txBox="1"/>
          <p:nvPr/>
        </p:nvSpPr>
        <p:spPr>
          <a:xfrm>
            <a:off x="6154373" y="2118899"/>
            <a:ext cx="4898940" cy="3055260"/>
          </a:xfrm>
          <a:prstGeom prst="rect">
            <a:avLst/>
          </a:prstGeom>
          <a:noFill/>
        </p:spPr>
        <p:txBody>
          <a:bodyPr wrap="square" lIns="91440" tIns="45720" rIns="91440" bIns="45720" rtlCol="0" anchor="t">
            <a:spAutoFit/>
          </a:bodyPr>
          <a:lstStyle/>
          <a:p>
            <a:pPr>
              <a:lnSpc>
                <a:spcPct val="150000"/>
              </a:lnSpc>
            </a:pPr>
            <a:r>
              <a:rPr lang="pt-BR" sz="2000" b="1" dirty="0">
                <a:solidFill>
                  <a:srgbClr val="1C1C1C"/>
                </a:solidFill>
              </a:rPr>
              <a:t>8º dia de internação: </a:t>
            </a:r>
          </a:p>
          <a:p>
            <a:pPr>
              <a:lnSpc>
                <a:spcPct val="150000"/>
              </a:lnSpc>
            </a:pPr>
            <a:endParaRPr lang="pt-BR" sz="2000" noProof="0" dirty="0"/>
          </a:p>
          <a:p>
            <a:pPr marL="342900" indent="-342900">
              <a:buFont typeface="Arial" panose="020B0604020202020204" pitchFamily="34" charset="0"/>
              <a:buChar char="•"/>
            </a:pPr>
            <a:r>
              <a:rPr lang="pt-BR" sz="2000" dirty="0">
                <a:solidFill>
                  <a:srgbClr val="1C1C1C"/>
                </a:solidFill>
              </a:rPr>
              <a:t>Mantendo cateter central (D8)</a:t>
            </a:r>
          </a:p>
          <a:p>
            <a:pPr marL="342900" indent="-342900">
              <a:buFont typeface="Arial" panose="020B0604020202020204" pitchFamily="34" charset="0"/>
              <a:buChar char="•"/>
            </a:pPr>
            <a:endParaRPr lang="pt-BR" sz="2000" dirty="0">
              <a:solidFill>
                <a:srgbClr val="1C1C1C"/>
              </a:solidFill>
            </a:endParaRPr>
          </a:p>
          <a:p>
            <a:pPr marL="342900" indent="-342900">
              <a:buFont typeface="Arial" panose="020B0604020202020204" pitchFamily="34" charset="0"/>
              <a:buChar char="•"/>
            </a:pPr>
            <a:r>
              <a:rPr lang="pt-BR" sz="2000" dirty="0">
                <a:solidFill>
                  <a:srgbClr val="1C1C1C"/>
                </a:solidFill>
              </a:rPr>
              <a:t>Cateter vesical (D8)</a:t>
            </a:r>
          </a:p>
          <a:p>
            <a:pPr marL="342900" indent="-342900">
              <a:buFont typeface="Arial" panose="020B0604020202020204" pitchFamily="34" charset="0"/>
              <a:buChar char="•"/>
            </a:pPr>
            <a:endParaRPr lang="pt-BR" sz="2000" dirty="0">
              <a:solidFill>
                <a:srgbClr val="1C1C1C"/>
              </a:solidFill>
            </a:endParaRPr>
          </a:p>
          <a:p>
            <a:pPr marL="342900" indent="-342900">
              <a:buFont typeface="Arial" panose="020B0604020202020204" pitchFamily="34" charset="0"/>
              <a:buChar char="•"/>
            </a:pPr>
            <a:r>
              <a:rPr lang="pt-BR" sz="2000" dirty="0">
                <a:solidFill>
                  <a:srgbClr val="1C1C1C"/>
                </a:solidFill>
              </a:rPr>
              <a:t>Intubado em Ventilação mecânica (D8)</a:t>
            </a:r>
          </a:p>
          <a:p>
            <a:pPr marL="285750" indent="-285750">
              <a:lnSpc>
                <a:spcPct val="150000"/>
              </a:lnSpc>
              <a:buFont typeface="Arial" panose="020B0604020202020204" pitchFamily="34" charset="0"/>
              <a:buChar char="•"/>
            </a:pPr>
            <a:endParaRPr lang="pt-BR" sz="2400" noProof="0" dirty="0"/>
          </a:p>
        </p:txBody>
      </p:sp>
    </p:spTree>
    <p:extLst>
      <p:ext uri="{BB962C8B-B14F-4D97-AF65-F5344CB8AC3E}">
        <p14:creationId xmlns:p14="http://schemas.microsoft.com/office/powerpoint/2010/main" val="33440406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9" grpId="0" animBg="1"/>
      <p:bldP spid="11" grpId="0"/>
      <p:bldP spid="2"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675AB3-7DBC-D757-59F7-204C78BF2732}"/>
            </a:ext>
          </a:extLst>
        </p:cNvPr>
        <p:cNvGrpSpPr/>
        <p:nvPr/>
      </p:nvGrpSpPr>
      <p:grpSpPr>
        <a:xfrm>
          <a:off x="0" y="0"/>
          <a:ext cx="0" cy="0"/>
          <a:chOff x="0" y="0"/>
          <a:chExt cx="0" cy="0"/>
        </a:xfrm>
      </p:grpSpPr>
      <p:pic>
        <p:nvPicPr>
          <p:cNvPr id="4" name="Imagem 3" descr="Imagem de desenho infantil&#10;&#10;Descrição gerada automaticamente com confiança média">
            <a:extLst>
              <a:ext uri="{FF2B5EF4-FFF2-40B4-BE49-F238E27FC236}">
                <a16:creationId xmlns:a16="http://schemas.microsoft.com/office/drawing/2014/main" id="{29FEE4AC-E649-D6C6-34D9-0D2FF7504FB0}"/>
              </a:ext>
            </a:extLst>
          </p:cNvPr>
          <p:cNvPicPr>
            <a:picLocks noChangeAspect="1"/>
          </p:cNvPicPr>
          <p:nvPr/>
        </p:nvPicPr>
        <p:blipFill rotWithShape="1">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l="8940" t="22000" r="8413" b="22117"/>
          <a:stretch/>
        </p:blipFill>
        <p:spPr>
          <a:xfrm>
            <a:off x="2373330" y="588718"/>
            <a:ext cx="7931650" cy="5363105"/>
          </a:xfrm>
          <a:prstGeom prst="rect">
            <a:avLst/>
          </a:prstGeom>
        </p:spPr>
      </p:pic>
      <p:graphicFrame>
        <p:nvGraphicFramePr>
          <p:cNvPr id="12" name="think-cell data - do not delete" hidden="1">
            <a:extLst>
              <a:ext uri="{FF2B5EF4-FFF2-40B4-BE49-F238E27FC236}">
                <a16:creationId xmlns:a16="http://schemas.microsoft.com/office/drawing/2014/main" id="{992F21D9-5D03-CD1A-A864-19CF2D86BC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06" imgH="308" progId="TCLayout.ActiveDocument.1">
                  <p:embed/>
                </p:oleObj>
              </mc:Choice>
              <mc:Fallback>
                <p:oleObj name="think-cell Slide" r:id="rId6" imgW="306" imgH="308" progId="TCLayout.ActiveDocument.1">
                  <p:embed/>
                  <p:pic>
                    <p:nvPicPr>
                      <p:cNvPr id="12" name="think-cell data - do not delete" hidden="1">
                        <a:extLst>
                          <a:ext uri="{FF2B5EF4-FFF2-40B4-BE49-F238E27FC236}">
                            <a16:creationId xmlns:a16="http://schemas.microsoft.com/office/drawing/2014/main" id="{992F21D9-5D03-CD1A-A864-19CF2D86BCC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13" name="Group 12">
            <a:extLst>
              <a:ext uri="{FF2B5EF4-FFF2-40B4-BE49-F238E27FC236}">
                <a16:creationId xmlns:a16="http://schemas.microsoft.com/office/drawing/2014/main" id="{FE3EF56E-1AB6-D0A8-C7A8-0FA0A5484432}"/>
              </a:ext>
            </a:extLst>
          </p:cNvPr>
          <p:cNvGrpSpPr/>
          <p:nvPr/>
        </p:nvGrpSpPr>
        <p:grpSpPr>
          <a:xfrm>
            <a:off x="304800" y="249455"/>
            <a:ext cx="1193800" cy="462985"/>
            <a:chOff x="5245100" y="211355"/>
            <a:chExt cx="2036664" cy="789869"/>
          </a:xfrm>
        </p:grpSpPr>
        <p:sp>
          <p:nvSpPr>
            <p:cNvPr id="14" name="Freeform: Shape 13">
              <a:extLst>
                <a:ext uri="{FF2B5EF4-FFF2-40B4-BE49-F238E27FC236}">
                  <a16:creationId xmlns:a16="http://schemas.microsoft.com/office/drawing/2014/main" id="{996F5311-0687-66F1-D24F-E59613BED781}"/>
                </a:ext>
              </a:extLst>
            </p:cNvPr>
            <p:cNvSpPr/>
            <p:nvPr/>
          </p:nvSpPr>
          <p:spPr>
            <a:xfrm>
              <a:off x="5245100" y="308520"/>
              <a:ext cx="247894" cy="322815"/>
            </a:xfrm>
            <a:custGeom>
              <a:avLst/>
              <a:gdLst>
                <a:gd name="connsiteX0" fmla="*/ 529590 w 986123"/>
                <a:gd name="connsiteY0" fmla="*/ 1284160 h 1284160"/>
                <a:gd name="connsiteX1" fmla="*/ 249650 w 986123"/>
                <a:gd name="connsiteY1" fmla="*/ 1235107 h 1284160"/>
                <a:gd name="connsiteX2" fmla="*/ 0 w 986123"/>
                <a:gd name="connsiteY2" fmla="*/ 1084421 h 1284160"/>
                <a:gd name="connsiteX3" fmla="*/ 162306 w 986123"/>
                <a:gd name="connsiteY3" fmla="*/ 890016 h 1284160"/>
                <a:gd name="connsiteX4" fmla="*/ 337947 w 986123"/>
                <a:gd name="connsiteY4" fmla="*/ 1000601 h 1284160"/>
                <a:gd name="connsiteX5" fmla="*/ 535019 w 986123"/>
                <a:gd name="connsiteY5" fmla="*/ 1041654 h 1284160"/>
                <a:gd name="connsiteX6" fmla="*/ 667893 w 986123"/>
                <a:gd name="connsiteY6" fmla="*/ 1010412 h 1284160"/>
                <a:gd name="connsiteX7" fmla="*/ 715137 w 986123"/>
                <a:gd name="connsiteY7" fmla="*/ 923925 h 1284160"/>
                <a:gd name="connsiteX8" fmla="*/ 715137 w 986123"/>
                <a:gd name="connsiteY8" fmla="*/ 920305 h 1284160"/>
                <a:gd name="connsiteX9" fmla="*/ 705326 w 986123"/>
                <a:gd name="connsiteY9" fmla="*/ 873062 h 1284160"/>
                <a:gd name="connsiteX10" fmla="*/ 667798 w 986123"/>
                <a:gd name="connsiteY10" fmla="*/ 834676 h 1284160"/>
                <a:gd name="connsiteX11" fmla="*/ 590931 w 986123"/>
                <a:gd name="connsiteY11" fmla="*/ 798957 h 1284160"/>
                <a:gd name="connsiteX12" fmla="*/ 463106 w 986123"/>
                <a:gd name="connsiteY12" fmla="*/ 761524 h 1284160"/>
                <a:gd name="connsiteX13" fmla="*/ 291465 w 986123"/>
                <a:gd name="connsiteY13" fmla="*/ 709803 h 1284160"/>
                <a:gd name="connsiteX14" fmla="*/ 160973 w 986123"/>
                <a:gd name="connsiteY14" fmla="*/ 639318 h 1284160"/>
                <a:gd name="connsiteX15" fmla="*/ 77819 w 986123"/>
                <a:gd name="connsiteY15" fmla="*/ 535019 h 1284160"/>
                <a:gd name="connsiteX16" fmla="*/ 48292 w 986123"/>
                <a:gd name="connsiteY16" fmla="*/ 379857 h 1284160"/>
                <a:gd name="connsiteX17" fmla="*/ 48292 w 986123"/>
                <a:gd name="connsiteY17" fmla="*/ 376238 h 1284160"/>
                <a:gd name="connsiteX18" fmla="*/ 80201 w 986123"/>
                <a:gd name="connsiteY18" fmla="*/ 222028 h 1284160"/>
                <a:gd name="connsiteX19" fmla="*/ 169640 w 986123"/>
                <a:gd name="connsiteY19" fmla="*/ 103441 h 1284160"/>
                <a:gd name="connsiteX20" fmla="*/ 307181 w 986123"/>
                <a:gd name="connsiteY20" fmla="*/ 26765 h 1284160"/>
                <a:gd name="connsiteX21" fmla="*/ 483394 w 986123"/>
                <a:gd name="connsiteY21" fmla="*/ 0 h 1284160"/>
                <a:gd name="connsiteX22" fmla="*/ 735711 w 986123"/>
                <a:gd name="connsiteY22" fmla="*/ 41053 h 1284160"/>
                <a:gd name="connsiteX23" fmla="*/ 946976 w 986123"/>
                <a:gd name="connsiteY23" fmla="*/ 158687 h 1284160"/>
                <a:gd name="connsiteX24" fmla="*/ 804291 w 986123"/>
                <a:gd name="connsiteY24" fmla="*/ 365569 h 1284160"/>
                <a:gd name="connsiteX25" fmla="*/ 640271 w 986123"/>
                <a:gd name="connsiteY25" fmla="*/ 275558 h 1284160"/>
                <a:gd name="connsiteX26" fmla="*/ 479774 w 986123"/>
                <a:gd name="connsiteY26" fmla="*/ 242602 h 1284160"/>
                <a:gd name="connsiteX27" fmla="*/ 359378 w 986123"/>
                <a:gd name="connsiteY27" fmla="*/ 273844 h 1284160"/>
                <a:gd name="connsiteX28" fmla="*/ 319278 w 986123"/>
                <a:gd name="connsiteY28" fmla="*/ 351377 h 1284160"/>
                <a:gd name="connsiteX29" fmla="*/ 319278 w 986123"/>
                <a:gd name="connsiteY29" fmla="*/ 354997 h 1284160"/>
                <a:gd name="connsiteX30" fmla="*/ 330899 w 986123"/>
                <a:gd name="connsiteY30" fmla="*/ 407575 h 1284160"/>
                <a:gd name="connsiteX31" fmla="*/ 372904 w 986123"/>
                <a:gd name="connsiteY31" fmla="*/ 447675 h 1284160"/>
                <a:gd name="connsiteX32" fmla="*/ 456057 w 986123"/>
                <a:gd name="connsiteY32" fmla="*/ 481489 h 1284160"/>
                <a:gd name="connsiteX33" fmla="*/ 589217 w 986123"/>
                <a:gd name="connsiteY33" fmla="*/ 518922 h 1284160"/>
                <a:gd name="connsiteX34" fmla="*/ 758190 w 986123"/>
                <a:gd name="connsiteY34" fmla="*/ 575120 h 1284160"/>
                <a:gd name="connsiteX35" fmla="*/ 883349 w 986123"/>
                <a:gd name="connsiteY35" fmla="*/ 649986 h 1284160"/>
                <a:gd name="connsiteX36" fmla="*/ 960215 w 986123"/>
                <a:gd name="connsiteY36" fmla="*/ 752570 h 1284160"/>
                <a:gd name="connsiteX37" fmla="*/ 986123 w 986123"/>
                <a:gd name="connsiteY37" fmla="*/ 893445 h 1284160"/>
                <a:gd name="connsiteX38" fmla="*/ 986123 w 986123"/>
                <a:gd name="connsiteY38" fmla="*/ 897064 h 1284160"/>
                <a:gd name="connsiteX39" fmla="*/ 952500 w 986123"/>
                <a:gd name="connsiteY39" fmla="*/ 1062038 h 1284160"/>
                <a:gd name="connsiteX40" fmla="*/ 858584 w 986123"/>
                <a:gd name="connsiteY40" fmla="*/ 1183291 h 1284160"/>
                <a:gd name="connsiteX41" fmla="*/ 714851 w 986123"/>
                <a:gd name="connsiteY41" fmla="*/ 1258157 h 1284160"/>
                <a:gd name="connsiteX42" fmla="*/ 529685 w 986123"/>
                <a:gd name="connsiteY42" fmla="*/ 1284065 h 128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6123" h="1284160">
                  <a:moveTo>
                    <a:pt x="529590" y="1284160"/>
                  </a:moveTo>
                  <a:cubicBezTo>
                    <a:pt x="434435" y="1284160"/>
                    <a:pt x="341186" y="1267777"/>
                    <a:pt x="249650" y="1235107"/>
                  </a:cubicBezTo>
                  <a:cubicBezTo>
                    <a:pt x="158115" y="1202436"/>
                    <a:pt x="74867" y="1152239"/>
                    <a:pt x="0" y="1084421"/>
                  </a:cubicBezTo>
                  <a:lnTo>
                    <a:pt x="162306" y="890016"/>
                  </a:lnTo>
                  <a:cubicBezTo>
                    <a:pt x="219361" y="936403"/>
                    <a:pt x="277844" y="973264"/>
                    <a:pt x="337947" y="1000601"/>
                  </a:cubicBezTo>
                  <a:cubicBezTo>
                    <a:pt x="397955" y="1027938"/>
                    <a:pt x="463677" y="1041654"/>
                    <a:pt x="535019" y="1041654"/>
                  </a:cubicBezTo>
                  <a:cubicBezTo>
                    <a:pt x="592074" y="1041654"/>
                    <a:pt x="636365" y="1031272"/>
                    <a:pt x="667893" y="1010412"/>
                  </a:cubicBezTo>
                  <a:cubicBezTo>
                    <a:pt x="699421" y="989647"/>
                    <a:pt x="715137" y="960787"/>
                    <a:pt x="715137" y="923925"/>
                  </a:cubicBezTo>
                  <a:lnTo>
                    <a:pt x="715137" y="920305"/>
                  </a:lnTo>
                  <a:cubicBezTo>
                    <a:pt x="715137" y="902494"/>
                    <a:pt x="711803" y="886777"/>
                    <a:pt x="705326" y="873062"/>
                  </a:cubicBezTo>
                  <a:cubicBezTo>
                    <a:pt x="698754" y="859441"/>
                    <a:pt x="686276" y="846582"/>
                    <a:pt x="667798" y="834676"/>
                  </a:cubicBezTo>
                  <a:cubicBezTo>
                    <a:pt x="649319" y="822770"/>
                    <a:pt x="623697" y="810863"/>
                    <a:pt x="590931" y="798957"/>
                  </a:cubicBezTo>
                  <a:cubicBezTo>
                    <a:pt x="558165" y="787146"/>
                    <a:pt x="515493" y="774573"/>
                    <a:pt x="463106" y="761524"/>
                  </a:cubicBezTo>
                  <a:cubicBezTo>
                    <a:pt x="399955" y="746093"/>
                    <a:pt x="342710" y="728853"/>
                    <a:pt x="291465" y="709803"/>
                  </a:cubicBezTo>
                  <a:cubicBezTo>
                    <a:pt x="240221" y="690753"/>
                    <a:pt x="196691" y="667322"/>
                    <a:pt x="160973" y="639318"/>
                  </a:cubicBezTo>
                  <a:cubicBezTo>
                    <a:pt x="125159" y="611410"/>
                    <a:pt x="97536" y="576644"/>
                    <a:pt x="77819" y="535019"/>
                  </a:cubicBezTo>
                  <a:cubicBezTo>
                    <a:pt x="58103" y="493395"/>
                    <a:pt x="48292" y="441674"/>
                    <a:pt x="48292" y="379857"/>
                  </a:cubicBezTo>
                  <a:lnTo>
                    <a:pt x="48292" y="376238"/>
                  </a:lnTo>
                  <a:cubicBezTo>
                    <a:pt x="48292" y="319183"/>
                    <a:pt x="58865" y="267748"/>
                    <a:pt x="80201" y="222028"/>
                  </a:cubicBezTo>
                  <a:cubicBezTo>
                    <a:pt x="101441" y="176308"/>
                    <a:pt x="131255" y="136779"/>
                    <a:pt x="169640" y="103441"/>
                  </a:cubicBezTo>
                  <a:cubicBezTo>
                    <a:pt x="208026" y="70199"/>
                    <a:pt x="253841" y="44577"/>
                    <a:pt x="307181" y="26765"/>
                  </a:cubicBezTo>
                  <a:cubicBezTo>
                    <a:pt x="360426" y="8953"/>
                    <a:pt x="419195" y="0"/>
                    <a:pt x="483394" y="0"/>
                  </a:cubicBezTo>
                  <a:cubicBezTo>
                    <a:pt x="574929" y="0"/>
                    <a:pt x="659035" y="13716"/>
                    <a:pt x="735711" y="41053"/>
                  </a:cubicBezTo>
                  <a:cubicBezTo>
                    <a:pt x="812387" y="68389"/>
                    <a:pt x="882777" y="107632"/>
                    <a:pt x="946976" y="158687"/>
                  </a:cubicBezTo>
                  <a:lnTo>
                    <a:pt x="804291" y="365569"/>
                  </a:lnTo>
                  <a:cubicBezTo>
                    <a:pt x="748379" y="327565"/>
                    <a:pt x="693706" y="297561"/>
                    <a:pt x="640271" y="275558"/>
                  </a:cubicBezTo>
                  <a:cubicBezTo>
                    <a:pt x="586740" y="253555"/>
                    <a:pt x="533305" y="242602"/>
                    <a:pt x="479774" y="242602"/>
                  </a:cubicBezTo>
                  <a:cubicBezTo>
                    <a:pt x="426244" y="242602"/>
                    <a:pt x="386144" y="252984"/>
                    <a:pt x="359378" y="273844"/>
                  </a:cubicBezTo>
                  <a:cubicBezTo>
                    <a:pt x="332613" y="294608"/>
                    <a:pt x="319278" y="320516"/>
                    <a:pt x="319278" y="351377"/>
                  </a:cubicBezTo>
                  <a:lnTo>
                    <a:pt x="319278" y="354997"/>
                  </a:lnTo>
                  <a:cubicBezTo>
                    <a:pt x="319278" y="375190"/>
                    <a:pt x="323183" y="392716"/>
                    <a:pt x="330899" y="407575"/>
                  </a:cubicBezTo>
                  <a:cubicBezTo>
                    <a:pt x="338614" y="422434"/>
                    <a:pt x="352616" y="435864"/>
                    <a:pt x="372904" y="447675"/>
                  </a:cubicBezTo>
                  <a:cubicBezTo>
                    <a:pt x="393192" y="459581"/>
                    <a:pt x="420910" y="470821"/>
                    <a:pt x="456057" y="481489"/>
                  </a:cubicBezTo>
                  <a:cubicBezTo>
                    <a:pt x="491204" y="492157"/>
                    <a:pt x="535591" y="504730"/>
                    <a:pt x="589217" y="518922"/>
                  </a:cubicBezTo>
                  <a:cubicBezTo>
                    <a:pt x="652367" y="535591"/>
                    <a:pt x="708660" y="554260"/>
                    <a:pt x="758190" y="575120"/>
                  </a:cubicBezTo>
                  <a:cubicBezTo>
                    <a:pt x="807625" y="595979"/>
                    <a:pt x="849344" y="620935"/>
                    <a:pt x="883349" y="649986"/>
                  </a:cubicBezTo>
                  <a:cubicBezTo>
                    <a:pt x="917353" y="679132"/>
                    <a:pt x="942975" y="713327"/>
                    <a:pt x="960215" y="752570"/>
                  </a:cubicBezTo>
                  <a:cubicBezTo>
                    <a:pt x="977456" y="791813"/>
                    <a:pt x="986123" y="838772"/>
                    <a:pt x="986123" y="893445"/>
                  </a:cubicBezTo>
                  <a:lnTo>
                    <a:pt x="986123" y="897064"/>
                  </a:lnTo>
                  <a:cubicBezTo>
                    <a:pt x="986123" y="958882"/>
                    <a:pt x="974884" y="1013841"/>
                    <a:pt x="952500" y="1062038"/>
                  </a:cubicBezTo>
                  <a:cubicBezTo>
                    <a:pt x="930021" y="1110139"/>
                    <a:pt x="898779" y="1150620"/>
                    <a:pt x="858584" y="1183291"/>
                  </a:cubicBezTo>
                  <a:cubicBezTo>
                    <a:pt x="818388" y="1216057"/>
                    <a:pt x="770477" y="1241012"/>
                    <a:pt x="714851" y="1258157"/>
                  </a:cubicBezTo>
                  <a:cubicBezTo>
                    <a:pt x="659130" y="1275398"/>
                    <a:pt x="597503" y="1284065"/>
                    <a:pt x="529685" y="1284065"/>
                  </a:cubicBezTo>
                  <a:close/>
                </a:path>
              </a:pathLst>
            </a:custGeom>
            <a:solidFill>
              <a:srgbClr val="44505E"/>
            </a:solidFill>
            <a:ln w="9525" cap="flat">
              <a:noFill/>
              <a:prstDash val="solid"/>
              <a:miter/>
            </a:ln>
          </p:spPr>
          <p:txBody>
            <a:bodyPr rtlCol="0" anchor="ctr"/>
            <a:lstStyle/>
            <a:p>
              <a:endParaRPr lang="pt-BR" noProof="0"/>
            </a:p>
          </p:txBody>
        </p:sp>
        <p:sp>
          <p:nvSpPr>
            <p:cNvPr id="17" name="Freeform: Shape 16">
              <a:extLst>
                <a:ext uri="{FF2B5EF4-FFF2-40B4-BE49-F238E27FC236}">
                  <a16:creationId xmlns:a16="http://schemas.microsoft.com/office/drawing/2014/main" id="{B4B5D7D3-65E6-8477-6CA3-73125FDB2142}"/>
                </a:ext>
              </a:extLst>
            </p:cNvPr>
            <p:cNvSpPr/>
            <p:nvPr/>
          </p:nvSpPr>
          <p:spPr>
            <a:xfrm>
              <a:off x="5492084" y="310867"/>
              <a:ext cx="332584" cy="315991"/>
            </a:xfrm>
            <a:custGeom>
              <a:avLst/>
              <a:gdLst>
                <a:gd name="connsiteX0" fmla="*/ 534924 w 1323022"/>
                <a:gd name="connsiteY0" fmla="*/ 0 h 1257014"/>
                <a:gd name="connsiteX1" fmla="*/ 788099 w 1323022"/>
                <a:gd name="connsiteY1" fmla="*/ 0 h 1257014"/>
                <a:gd name="connsiteX2" fmla="*/ 1323023 w 1323022"/>
                <a:gd name="connsiteY2" fmla="*/ 1257014 h 1257014"/>
                <a:gd name="connsiteX3" fmla="*/ 1035939 w 1323022"/>
                <a:gd name="connsiteY3" fmla="*/ 1257014 h 1257014"/>
                <a:gd name="connsiteX4" fmla="*/ 921829 w 1323022"/>
                <a:gd name="connsiteY4" fmla="*/ 977075 h 1257014"/>
                <a:gd name="connsiteX5" fmla="*/ 394049 w 1323022"/>
                <a:gd name="connsiteY5" fmla="*/ 977075 h 1257014"/>
                <a:gd name="connsiteX6" fmla="*/ 279940 w 1323022"/>
                <a:gd name="connsiteY6" fmla="*/ 1257014 h 1257014"/>
                <a:gd name="connsiteX7" fmla="*/ 0 w 1323022"/>
                <a:gd name="connsiteY7" fmla="*/ 1257014 h 1257014"/>
                <a:gd name="connsiteX8" fmla="*/ 534924 w 1323022"/>
                <a:gd name="connsiteY8" fmla="*/ 0 h 1257014"/>
                <a:gd name="connsiteX9" fmla="*/ 823817 w 1323022"/>
                <a:gd name="connsiteY9" fmla="*/ 734568 h 1257014"/>
                <a:gd name="connsiteX10" fmla="*/ 657987 w 1323022"/>
                <a:gd name="connsiteY10" fmla="*/ 329851 h 1257014"/>
                <a:gd name="connsiteX11" fmla="*/ 492157 w 1323022"/>
                <a:gd name="connsiteY11" fmla="*/ 734568 h 1257014"/>
                <a:gd name="connsiteX12" fmla="*/ 823817 w 1323022"/>
                <a:gd name="connsiteY12" fmla="*/ 734568 h 125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022" h="1257014">
                  <a:moveTo>
                    <a:pt x="534924" y="0"/>
                  </a:moveTo>
                  <a:lnTo>
                    <a:pt x="788099" y="0"/>
                  </a:lnTo>
                  <a:lnTo>
                    <a:pt x="1323023" y="1257014"/>
                  </a:lnTo>
                  <a:lnTo>
                    <a:pt x="1035939" y="1257014"/>
                  </a:lnTo>
                  <a:lnTo>
                    <a:pt x="921829" y="977075"/>
                  </a:lnTo>
                  <a:lnTo>
                    <a:pt x="394049" y="977075"/>
                  </a:lnTo>
                  <a:lnTo>
                    <a:pt x="279940" y="1257014"/>
                  </a:lnTo>
                  <a:lnTo>
                    <a:pt x="0" y="1257014"/>
                  </a:lnTo>
                  <a:lnTo>
                    <a:pt x="534924" y="0"/>
                  </a:lnTo>
                  <a:close/>
                  <a:moveTo>
                    <a:pt x="823817" y="734568"/>
                  </a:moveTo>
                  <a:lnTo>
                    <a:pt x="657987" y="329851"/>
                  </a:lnTo>
                  <a:lnTo>
                    <a:pt x="492157" y="734568"/>
                  </a:lnTo>
                  <a:lnTo>
                    <a:pt x="823817" y="734568"/>
                  </a:lnTo>
                  <a:close/>
                </a:path>
              </a:pathLst>
            </a:custGeom>
            <a:solidFill>
              <a:srgbClr val="44505E"/>
            </a:solidFill>
            <a:ln w="9525" cap="flat">
              <a:noFill/>
              <a:prstDash val="solid"/>
              <a:miter/>
            </a:ln>
          </p:spPr>
          <p:txBody>
            <a:bodyPr rtlCol="0" anchor="ctr"/>
            <a:lstStyle/>
            <a:p>
              <a:endParaRPr lang="pt-BR" noProof="0"/>
            </a:p>
          </p:txBody>
        </p:sp>
        <p:sp>
          <p:nvSpPr>
            <p:cNvPr id="18" name="Freeform: Shape 17">
              <a:extLst>
                <a:ext uri="{FF2B5EF4-FFF2-40B4-BE49-F238E27FC236}">
                  <a16:creationId xmlns:a16="http://schemas.microsoft.com/office/drawing/2014/main" id="{36C56214-A878-E712-E818-C8A91B92D3A5}"/>
                </a:ext>
              </a:extLst>
            </p:cNvPr>
            <p:cNvSpPr/>
            <p:nvPr/>
          </p:nvSpPr>
          <p:spPr>
            <a:xfrm>
              <a:off x="5834078" y="211355"/>
              <a:ext cx="273442" cy="420435"/>
            </a:xfrm>
            <a:custGeom>
              <a:avLst/>
              <a:gdLst>
                <a:gd name="connsiteX0" fmla="*/ 540258 w 1087754"/>
                <a:gd name="connsiteY0" fmla="*/ 1672495 h 1672494"/>
                <a:gd name="connsiteX1" fmla="*/ 144399 w 1087754"/>
                <a:gd name="connsiteY1" fmla="*/ 1533430 h 1672494"/>
                <a:gd name="connsiteX2" fmla="*/ 0 w 1087754"/>
                <a:gd name="connsiteY2" fmla="*/ 1117949 h 1672494"/>
                <a:gd name="connsiteX3" fmla="*/ 0 w 1087754"/>
                <a:gd name="connsiteY3" fmla="*/ 404717 h 1672494"/>
                <a:gd name="connsiteX4" fmla="*/ 274606 w 1087754"/>
                <a:gd name="connsiteY4" fmla="*/ 404717 h 1672494"/>
                <a:gd name="connsiteX5" fmla="*/ 274606 w 1087754"/>
                <a:gd name="connsiteY5" fmla="*/ 1110806 h 1672494"/>
                <a:gd name="connsiteX6" fmla="*/ 345948 w 1087754"/>
                <a:gd name="connsiteY6" fmla="*/ 1341692 h 1672494"/>
                <a:gd name="connsiteX7" fmla="*/ 543877 w 1087754"/>
                <a:gd name="connsiteY7" fmla="*/ 1419225 h 1672494"/>
                <a:gd name="connsiteX8" fmla="*/ 741807 w 1087754"/>
                <a:gd name="connsiteY8" fmla="*/ 1344359 h 1672494"/>
                <a:gd name="connsiteX9" fmla="*/ 813149 w 1087754"/>
                <a:gd name="connsiteY9" fmla="*/ 1119664 h 1672494"/>
                <a:gd name="connsiteX10" fmla="*/ 813149 w 1087754"/>
                <a:gd name="connsiteY10" fmla="*/ 404717 h 1672494"/>
                <a:gd name="connsiteX11" fmla="*/ 1087755 w 1087754"/>
                <a:gd name="connsiteY11" fmla="*/ 404717 h 1672494"/>
                <a:gd name="connsiteX12" fmla="*/ 1087755 w 1087754"/>
                <a:gd name="connsiteY12" fmla="*/ 1108996 h 1672494"/>
                <a:gd name="connsiteX13" fmla="*/ 1049369 w 1087754"/>
                <a:gd name="connsiteY13" fmla="*/ 1356836 h 1672494"/>
                <a:gd name="connsiteX14" fmla="*/ 939737 w 1087754"/>
                <a:gd name="connsiteY14" fmla="*/ 1532477 h 1672494"/>
                <a:gd name="connsiteX15" fmla="*/ 766763 w 1087754"/>
                <a:gd name="connsiteY15" fmla="*/ 1637729 h 1672494"/>
                <a:gd name="connsiteX16" fmla="*/ 540353 w 1087754"/>
                <a:gd name="connsiteY16" fmla="*/ 1672495 h 1672494"/>
                <a:gd name="connsiteX17" fmla="*/ 622268 w 1087754"/>
                <a:gd name="connsiteY17" fmla="*/ 0 h 1672494"/>
                <a:gd name="connsiteX18" fmla="*/ 855821 w 1087754"/>
                <a:gd name="connsiteY18" fmla="*/ 101632 h 1672494"/>
                <a:gd name="connsiteX19" fmla="*/ 627602 w 1087754"/>
                <a:gd name="connsiteY19" fmla="*/ 315563 h 1672494"/>
                <a:gd name="connsiteX20" fmla="*/ 420719 w 1087754"/>
                <a:gd name="connsiteY20" fmla="*/ 315563 h 1672494"/>
                <a:gd name="connsiteX21" fmla="*/ 622268 w 1087754"/>
                <a:gd name="connsiteY21" fmla="*/ 0 h 16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754" h="1672494">
                  <a:moveTo>
                    <a:pt x="540258" y="1672495"/>
                  </a:moveTo>
                  <a:cubicBezTo>
                    <a:pt x="372618" y="1672495"/>
                    <a:pt x="240697" y="1626108"/>
                    <a:pt x="144399" y="1533430"/>
                  </a:cubicBezTo>
                  <a:cubicBezTo>
                    <a:pt x="48101" y="1440752"/>
                    <a:pt x="0" y="1302258"/>
                    <a:pt x="0" y="1117949"/>
                  </a:cubicBezTo>
                  <a:lnTo>
                    <a:pt x="0" y="404717"/>
                  </a:lnTo>
                  <a:lnTo>
                    <a:pt x="274606" y="404717"/>
                  </a:lnTo>
                  <a:lnTo>
                    <a:pt x="274606" y="1110806"/>
                  </a:lnTo>
                  <a:cubicBezTo>
                    <a:pt x="274606" y="1213009"/>
                    <a:pt x="298418" y="1289971"/>
                    <a:pt x="345948" y="1341692"/>
                  </a:cubicBezTo>
                  <a:cubicBezTo>
                    <a:pt x="393478" y="1393412"/>
                    <a:pt x="459486" y="1419225"/>
                    <a:pt x="543877" y="1419225"/>
                  </a:cubicBezTo>
                  <a:cubicBezTo>
                    <a:pt x="628269" y="1419225"/>
                    <a:pt x="694277" y="1394270"/>
                    <a:pt x="741807" y="1344359"/>
                  </a:cubicBezTo>
                  <a:cubicBezTo>
                    <a:pt x="789337" y="1294448"/>
                    <a:pt x="813149" y="1219581"/>
                    <a:pt x="813149" y="1119664"/>
                  </a:cubicBezTo>
                  <a:lnTo>
                    <a:pt x="813149" y="404717"/>
                  </a:lnTo>
                  <a:lnTo>
                    <a:pt x="1087755" y="404717"/>
                  </a:lnTo>
                  <a:lnTo>
                    <a:pt x="1087755" y="1108996"/>
                  </a:lnTo>
                  <a:cubicBezTo>
                    <a:pt x="1087755" y="1204151"/>
                    <a:pt x="1074992" y="1286732"/>
                    <a:pt x="1049369" y="1356836"/>
                  </a:cubicBezTo>
                  <a:cubicBezTo>
                    <a:pt x="1023747" y="1426940"/>
                    <a:pt x="987266" y="1485519"/>
                    <a:pt x="939737" y="1532477"/>
                  </a:cubicBezTo>
                  <a:cubicBezTo>
                    <a:pt x="892207" y="1579436"/>
                    <a:pt x="834485" y="1614488"/>
                    <a:pt x="766763" y="1637729"/>
                  </a:cubicBezTo>
                  <a:cubicBezTo>
                    <a:pt x="699040" y="1660874"/>
                    <a:pt x="623507" y="1672495"/>
                    <a:pt x="540353" y="1672495"/>
                  </a:cubicBezTo>
                  <a:close/>
                  <a:moveTo>
                    <a:pt x="622268" y="0"/>
                  </a:moveTo>
                  <a:lnTo>
                    <a:pt x="855821" y="101632"/>
                  </a:lnTo>
                  <a:lnTo>
                    <a:pt x="627602" y="315563"/>
                  </a:lnTo>
                  <a:lnTo>
                    <a:pt x="420719" y="315563"/>
                  </a:lnTo>
                  <a:lnTo>
                    <a:pt x="622268" y="0"/>
                  </a:lnTo>
                  <a:close/>
                </a:path>
              </a:pathLst>
            </a:custGeom>
            <a:solidFill>
              <a:srgbClr val="44505E"/>
            </a:solidFill>
            <a:ln w="9525" cap="flat">
              <a:noFill/>
              <a:prstDash val="solid"/>
              <a:miter/>
            </a:ln>
          </p:spPr>
          <p:txBody>
            <a:bodyPr rtlCol="0" anchor="ctr"/>
            <a:lstStyle/>
            <a:p>
              <a:endParaRPr lang="pt-BR" noProof="0"/>
            </a:p>
          </p:txBody>
        </p:sp>
        <p:sp>
          <p:nvSpPr>
            <p:cNvPr id="19" name="Freeform: Shape 18">
              <a:extLst>
                <a:ext uri="{FF2B5EF4-FFF2-40B4-BE49-F238E27FC236}">
                  <a16:creationId xmlns:a16="http://schemas.microsoft.com/office/drawing/2014/main" id="{C99AA14A-ACD6-176F-B1B4-5E0F8180D2D6}"/>
                </a:ext>
              </a:extLst>
            </p:cNvPr>
            <p:cNvSpPr/>
            <p:nvPr/>
          </p:nvSpPr>
          <p:spPr>
            <a:xfrm>
              <a:off x="6143795" y="313094"/>
              <a:ext cx="289101" cy="313764"/>
            </a:xfrm>
            <a:custGeom>
              <a:avLst/>
              <a:gdLst>
                <a:gd name="connsiteX0" fmla="*/ 0 w 1150048"/>
                <a:gd name="connsiteY0" fmla="*/ 0 h 1248155"/>
                <a:gd name="connsiteX1" fmla="*/ 486728 w 1150048"/>
                <a:gd name="connsiteY1" fmla="*/ 0 h 1248155"/>
                <a:gd name="connsiteX2" fmla="*/ 755047 w 1150048"/>
                <a:gd name="connsiteY2" fmla="*/ 47244 h 1248155"/>
                <a:gd name="connsiteX3" fmla="*/ 965454 w 1150048"/>
                <a:gd name="connsiteY3" fmla="*/ 178308 h 1248155"/>
                <a:gd name="connsiteX4" fmla="*/ 1101852 w 1150048"/>
                <a:gd name="connsiteY4" fmla="*/ 375380 h 1248155"/>
                <a:gd name="connsiteX5" fmla="*/ 1150049 w 1150048"/>
                <a:gd name="connsiteY5" fmla="*/ 620554 h 1248155"/>
                <a:gd name="connsiteX6" fmla="*/ 1150049 w 1150048"/>
                <a:gd name="connsiteY6" fmla="*/ 624173 h 1248155"/>
                <a:gd name="connsiteX7" fmla="*/ 1101852 w 1150048"/>
                <a:gd name="connsiteY7" fmla="*/ 870204 h 1248155"/>
                <a:gd name="connsiteX8" fmla="*/ 965454 w 1150048"/>
                <a:gd name="connsiteY8" fmla="*/ 1068134 h 1248155"/>
                <a:gd name="connsiteX9" fmla="*/ 755047 w 1150048"/>
                <a:gd name="connsiteY9" fmla="*/ 1200055 h 1248155"/>
                <a:gd name="connsiteX10" fmla="*/ 486728 w 1150048"/>
                <a:gd name="connsiteY10" fmla="*/ 1248156 h 1248155"/>
                <a:gd name="connsiteX11" fmla="*/ 0 w 1150048"/>
                <a:gd name="connsiteY11" fmla="*/ 1248156 h 1248155"/>
                <a:gd name="connsiteX12" fmla="*/ 0 w 1150048"/>
                <a:gd name="connsiteY12" fmla="*/ 0 h 1248155"/>
                <a:gd name="connsiteX13" fmla="*/ 486728 w 1150048"/>
                <a:gd name="connsiteY13" fmla="*/ 1000315 h 1248155"/>
                <a:gd name="connsiteX14" fmla="*/ 640080 w 1150048"/>
                <a:gd name="connsiteY14" fmla="*/ 973550 h 1248155"/>
                <a:gd name="connsiteX15" fmla="*/ 758667 w 1150048"/>
                <a:gd name="connsiteY15" fmla="*/ 896874 h 1248155"/>
                <a:gd name="connsiteX16" fmla="*/ 835343 w 1150048"/>
                <a:gd name="connsiteY16" fmla="*/ 779240 h 1248155"/>
                <a:gd name="connsiteX17" fmla="*/ 862965 w 1150048"/>
                <a:gd name="connsiteY17" fmla="*/ 627698 h 1248155"/>
                <a:gd name="connsiteX18" fmla="*/ 862965 w 1150048"/>
                <a:gd name="connsiteY18" fmla="*/ 624078 h 1248155"/>
                <a:gd name="connsiteX19" fmla="*/ 835343 w 1150048"/>
                <a:gd name="connsiteY19" fmla="*/ 472535 h 1248155"/>
                <a:gd name="connsiteX20" fmla="*/ 758667 w 1150048"/>
                <a:gd name="connsiteY20" fmla="*/ 353092 h 1248155"/>
                <a:gd name="connsiteX21" fmla="*/ 640080 w 1150048"/>
                <a:gd name="connsiteY21" fmla="*/ 275558 h 1248155"/>
                <a:gd name="connsiteX22" fmla="*/ 486728 w 1150048"/>
                <a:gd name="connsiteY22" fmla="*/ 247936 h 1248155"/>
                <a:gd name="connsiteX23" fmla="*/ 274511 w 1150048"/>
                <a:gd name="connsiteY23" fmla="*/ 247936 h 1248155"/>
                <a:gd name="connsiteX24" fmla="*/ 274511 w 1150048"/>
                <a:gd name="connsiteY24" fmla="*/ 1000411 h 1248155"/>
                <a:gd name="connsiteX25" fmla="*/ 486728 w 1150048"/>
                <a:gd name="connsiteY25" fmla="*/ 1000411 h 124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50048" h="1248155">
                  <a:moveTo>
                    <a:pt x="0" y="0"/>
                  </a:moveTo>
                  <a:lnTo>
                    <a:pt x="486728" y="0"/>
                  </a:lnTo>
                  <a:cubicBezTo>
                    <a:pt x="584168" y="0"/>
                    <a:pt x="673608" y="15811"/>
                    <a:pt x="755047" y="47244"/>
                  </a:cubicBezTo>
                  <a:cubicBezTo>
                    <a:pt x="836486" y="78772"/>
                    <a:pt x="906590" y="122396"/>
                    <a:pt x="965454" y="178308"/>
                  </a:cubicBezTo>
                  <a:cubicBezTo>
                    <a:pt x="1024319" y="234220"/>
                    <a:pt x="1069753" y="299847"/>
                    <a:pt x="1101852" y="375380"/>
                  </a:cubicBezTo>
                  <a:cubicBezTo>
                    <a:pt x="1133951" y="450914"/>
                    <a:pt x="1150049" y="532543"/>
                    <a:pt x="1150049" y="620554"/>
                  </a:cubicBezTo>
                  <a:lnTo>
                    <a:pt x="1150049" y="624173"/>
                  </a:lnTo>
                  <a:cubicBezTo>
                    <a:pt x="1150049" y="712184"/>
                    <a:pt x="1133951" y="794195"/>
                    <a:pt x="1101852" y="870204"/>
                  </a:cubicBezTo>
                  <a:cubicBezTo>
                    <a:pt x="1069753" y="946309"/>
                    <a:pt x="1024319" y="1012222"/>
                    <a:pt x="965454" y="1068134"/>
                  </a:cubicBezTo>
                  <a:cubicBezTo>
                    <a:pt x="906590" y="1124045"/>
                    <a:pt x="836486" y="1167956"/>
                    <a:pt x="755047" y="1200055"/>
                  </a:cubicBezTo>
                  <a:cubicBezTo>
                    <a:pt x="673608" y="1232154"/>
                    <a:pt x="584168" y="1248156"/>
                    <a:pt x="486728" y="1248156"/>
                  </a:cubicBezTo>
                  <a:lnTo>
                    <a:pt x="0" y="1248156"/>
                  </a:lnTo>
                  <a:lnTo>
                    <a:pt x="0" y="0"/>
                  </a:lnTo>
                  <a:close/>
                  <a:moveTo>
                    <a:pt x="486728" y="1000315"/>
                  </a:moveTo>
                  <a:cubicBezTo>
                    <a:pt x="542639" y="1000315"/>
                    <a:pt x="593693" y="991457"/>
                    <a:pt x="640080" y="973550"/>
                  </a:cubicBezTo>
                  <a:cubicBezTo>
                    <a:pt x="686467" y="955739"/>
                    <a:pt x="725900" y="930211"/>
                    <a:pt x="758667" y="896874"/>
                  </a:cubicBezTo>
                  <a:cubicBezTo>
                    <a:pt x="791337" y="863632"/>
                    <a:pt x="816864" y="824389"/>
                    <a:pt x="835343" y="779240"/>
                  </a:cubicBezTo>
                  <a:cubicBezTo>
                    <a:pt x="853726" y="734092"/>
                    <a:pt x="862965" y="683609"/>
                    <a:pt x="862965" y="627698"/>
                  </a:cubicBezTo>
                  <a:lnTo>
                    <a:pt x="862965" y="624078"/>
                  </a:lnTo>
                  <a:cubicBezTo>
                    <a:pt x="862965" y="569404"/>
                    <a:pt x="853726" y="518827"/>
                    <a:pt x="835343" y="472535"/>
                  </a:cubicBezTo>
                  <a:cubicBezTo>
                    <a:pt x="816864" y="426149"/>
                    <a:pt x="791337" y="386334"/>
                    <a:pt x="758667" y="353092"/>
                  </a:cubicBezTo>
                  <a:cubicBezTo>
                    <a:pt x="725996" y="319849"/>
                    <a:pt x="686467" y="293941"/>
                    <a:pt x="640080" y="275558"/>
                  </a:cubicBezTo>
                  <a:cubicBezTo>
                    <a:pt x="593693" y="257175"/>
                    <a:pt x="542639" y="247936"/>
                    <a:pt x="486728" y="247936"/>
                  </a:cubicBezTo>
                  <a:lnTo>
                    <a:pt x="274511" y="247936"/>
                  </a:lnTo>
                  <a:lnTo>
                    <a:pt x="274511" y="1000411"/>
                  </a:lnTo>
                  <a:lnTo>
                    <a:pt x="486728" y="1000411"/>
                  </a:lnTo>
                  <a:close/>
                </a:path>
              </a:pathLst>
            </a:custGeom>
            <a:solidFill>
              <a:srgbClr val="44505E"/>
            </a:solidFill>
            <a:ln w="9525" cap="flat">
              <a:noFill/>
              <a:prstDash val="solid"/>
              <a:miter/>
            </a:ln>
          </p:spPr>
          <p:txBody>
            <a:bodyPr rtlCol="0" anchor="ctr"/>
            <a:lstStyle/>
            <a:p>
              <a:endParaRPr lang="pt-BR" noProof="0"/>
            </a:p>
          </p:txBody>
        </p:sp>
        <p:sp>
          <p:nvSpPr>
            <p:cNvPr id="20" name="Freeform: Shape 19">
              <a:extLst>
                <a:ext uri="{FF2B5EF4-FFF2-40B4-BE49-F238E27FC236}">
                  <a16:creationId xmlns:a16="http://schemas.microsoft.com/office/drawing/2014/main" id="{852542F7-E923-85F7-A2D1-E80EAD49FB0D}"/>
                </a:ext>
              </a:extLst>
            </p:cNvPr>
            <p:cNvSpPr/>
            <p:nvPr/>
          </p:nvSpPr>
          <p:spPr>
            <a:xfrm>
              <a:off x="6460217" y="313094"/>
              <a:ext cx="238459" cy="313788"/>
            </a:xfrm>
            <a:custGeom>
              <a:avLst/>
              <a:gdLst>
                <a:gd name="connsiteX0" fmla="*/ 95 w 948594"/>
                <a:gd name="connsiteY0" fmla="*/ 0 h 1248251"/>
                <a:gd name="connsiteX1" fmla="*/ 939737 w 948594"/>
                <a:gd name="connsiteY1" fmla="*/ 0 h 1248251"/>
                <a:gd name="connsiteX2" fmla="*/ 939737 w 948594"/>
                <a:gd name="connsiteY2" fmla="*/ 244316 h 1248251"/>
                <a:gd name="connsiteX3" fmla="*/ 271081 w 948594"/>
                <a:gd name="connsiteY3" fmla="*/ 244316 h 1248251"/>
                <a:gd name="connsiteX4" fmla="*/ 271081 w 948594"/>
                <a:gd name="connsiteY4" fmla="*/ 497491 h 1248251"/>
                <a:gd name="connsiteX5" fmla="*/ 859441 w 948594"/>
                <a:gd name="connsiteY5" fmla="*/ 497491 h 1248251"/>
                <a:gd name="connsiteX6" fmla="*/ 859441 w 948594"/>
                <a:gd name="connsiteY6" fmla="*/ 741807 h 1248251"/>
                <a:gd name="connsiteX7" fmla="*/ 271081 w 948594"/>
                <a:gd name="connsiteY7" fmla="*/ 741807 h 1248251"/>
                <a:gd name="connsiteX8" fmla="*/ 271081 w 948594"/>
                <a:gd name="connsiteY8" fmla="*/ 1003935 h 1248251"/>
                <a:gd name="connsiteX9" fmla="*/ 948595 w 948594"/>
                <a:gd name="connsiteY9" fmla="*/ 1003935 h 1248251"/>
                <a:gd name="connsiteX10" fmla="*/ 948595 w 948594"/>
                <a:gd name="connsiteY10" fmla="*/ 1248251 h 1248251"/>
                <a:gd name="connsiteX11" fmla="*/ 0 w 948594"/>
                <a:gd name="connsiteY11" fmla="*/ 1248251 h 1248251"/>
                <a:gd name="connsiteX12" fmla="*/ 0 w 948594"/>
                <a:gd name="connsiteY12" fmla="*/ 0 h 124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594" h="1248251">
                  <a:moveTo>
                    <a:pt x="95" y="0"/>
                  </a:moveTo>
                  <a:lnTo>
                    <a:pt x="939737" y="0"/>
                  </a:lnTo>
                  <a:lnTo>
                    <a:pt x="939737" y="244316"/>
                  </a:lnTo>
                  <a:lnTo>
                    <a:pt x="271081" y="244316"/>
                  </a:lnTo>
                  <a:lnTo>
                    <a:pt x="271081" y="497491"/>
                  </a:lnTo>
                  <a:lnTo>
                    <a:pt x="859441" y="497491"/>
                  </a:lnTo>
                  <a:lnTo>
                    <a:pt x="859441" y="741807"/>
                  </a:lnTo>
                  <a:lnTo>
                    <a:pt x="271081" y="741807"/>
                  </a:lnTo>
                  <a:lnTo>
                    <a:pt x="271081" y="1003935"/>
                  </a:lnTo>
                  <a:lnTo>
                    <a:pt x="948595" y="1003935"/>
                  </a:lnTo>
                  <a:lnTo>
                    <a:pt x="948595" y="1248251"/>
                  </a:lnTo>
                  <a:lnTo>
                    <a:pt x="0" y="1248251"/>
                  </a:lnTo>
                  <a:lnTo>
                    <a:pt x="0" y="0"/>
                  </a:lnTo>
                  <a:close/>
                </a:path>
              </a:pathLst>
            </a:custGeom>
            <a:solidFill>
              <a:srgbClr val="44505E"/>
            </a:solidFill>
            <a:ln w="9525" cap="flat">
              <a:noFill/>
              <a:prstDash val="solid"/>
              <a:miter/>
            </a:ln>
          </p:spPr>
          <p:txBody>
            <a:bodyPr rtlCol="0" anchor="ctr"/>
            <a:lstStyle/>
            <a:p>
              <a:endParaRPr lang="pt-BR" noProof="0"/>
            </a:p>
          </p:txBody>
        </p:sp>
        <p:sp>
          <p:nvSpPr>
            <p:cNvPr id="21" name="Freeform: Shape 20">
              <a:extLst>
                <a:ext uri="{FF2B5EF4-FFF2-40B4-BE49-F238E27FC236}">
                  <a16:creationId xmlns:a16="http://schemas.microsoft.com/office/drawing/2014/main" id="{98782FDA-6A70-B4BB-5A6E-79386BE45D48}"/>
                </a:ext>
              </a:extLst>
            </p:cNvPr>
            <p:cNvSpPr/>
            <p:nvPr/>
          </p:nvSpPr>
          <p:spPr>
            <a:xfrm>
              <a:off x="5253193" y="699983"/>
              <a:ext cx="90796" cy="97883"/>
            </a:xfrm>
            <a:custGeom>
              <a:avLst/>
              <a:gdLst>
                <a:gd name="connsiteX0" fmla="*/ 191548 w 361187"/>
                <a:gd name="connsiteY0" fmla="*/ 389382 h 389381"/>
                <a:gd name="connsiteX1" fmla="*/ 116300 w 361187"/>
                <a:gd name="connsiteY1" fmla="*/ 375285 h 389381"/>
                <a:gd name="connsiteX2" fmla="*/ 55531 w 361187"/>
                <a:gd name="connsiteY2" fmla="*/ 335756 h 389381"/>
                <a:gd name="connsiteX3" fmla="*/ 14859 w 361187"/>
                <a:gd name="connsiteY3" fmla="*/ 274606 h 389381"/>
                <a:gd name="connsiteX4" fmla="*/ 0 w 361187"/>
                <a:gd name="connsiteY4" fmla="*/ 195834 h 389381"/>
                <a:gd name="connsiteX5" fmla="*/ 0 w 361187"/>
                <a:gd name="connsiteY5" fmla="*/ 194405 h 389381"/>
                <a:gd name="connsiteX6" fmla="*/ 13430 w 361187"/>
                <a:gd name="connsiteY6" fmla="*/ 118777 h 389381"/>
                <a:gd name="connsiteX7" fmla="*/ 51245 w 361187"/>
                <a:gd name="connsiteY7" fmla="*/ 56959 h 389381"/>
                <a:gd name="connsiteX8" fmla="*/ 108871 w 361187"/>
                <a:gd name="connsiteY8" fmla="*/ 15240 h 389381"/>
                <a:gd name="connsiteX9" fmla="*/ 182404 w 361187"/>
                <a:gd name="connsiteY9" fmla="*/ 0 h 389381"/>
                <a:gd name="connsiteX10" fmla="*/ 260509 w 361187"/>
                <a:gd name="connsiteY10" fmla="*/ 16288 h 389381"/>
                <a:gd name="connsiteX11" fmla="*/ 316325 w 361187"/>
                <a:gd name="connsiteY11" fmla="*/ 60103 h 389381"/>
                <a:gd name="connsiteX12" fmla="*/ 349853 w 361187"/>
                <a:gd name="connsiteY12" fmla="*/ 124015 h 389381"/>
                <a:gd name="connsiteX13" fmla="*/ 361188 w 361187"/>
                <a:gd name="connsiteY13" fmla="*/ 200692 h 389381"/>
                <a:gd name="connsiteX14" fmla="*/ 360807 w 361187"/>
                <a:gd name="connsiteY14" fmla="*/ 212312 h 389381"/>
                <a:gd name="connsiteX15" fmla="*/ 359759 w 361187"/>
                <a:gd name="connsiteY15" fmla="*/ 224695 h 389381"/>
                <a:gd name="connsiteX16" fmla="*/ 85534 w 361187"/>
                <a:gd name="connsiteY16" fmla="*/ 224695 h 389381"/>
                <a:gd name="connsiteX17" fmla="*/ 121920 w 361187"/>
                <a:gd name="connsiteY17" fmla="*/ 294989 h 389381"/>
                <a:gd name="connsiteX18" fmla="*/ 192977 w 361187"/>
                <a:gd name="connsiteY18" fmla="*/ 319373 h 389381"/>
                <a:gd name="connsiteX19" fmla="*/ 248126 w 361187"/>
                <a:gd name="connsiteY19" fmla="*/ 308038 h 389381"/>
                <a:gd name="connsiteX20" fmla="*/ 294037 w 361187"/>
                <a:gd name="connsiteY20" fmla="*/ 274796 h 389381"/>
                <a:gd name="connsiteX21" fmla="*/ 344234 w 361187"/>
                <a:gd name="connsiteY21" fmla="*/ 319278 h 389381"/>
                <a:gd name="connsiteX22" fmla="*/ 280226 w 361187"/>
                <a:gd name="connsiteY22" fmla="*/ 370141 h 389381"/>
                <a:gd name="connsiteX23" fmla="*/ 191548 w 361187"/>
                <a:gd name="connsiteY23" fmla="*/ 389191 h 389381"/>
                <a:gd name="connsiteX24" fmla="*/ 276320 w 361187"/>
                <a:gd name="connsiteY24" fmla="*/ 168211 h 389381"/>
                <a:gd name="connsiteX25" fmla="*/ 267176 w 361187"/>
                <a:gd name="connsiteY25" fmla="*/ 129730 h 389381"/>
                <a:gd name="connsiteX26" fmla="*/ 248126 w 361187"/>
                <a:gd name="connsiteY26" fmla="*/ 98679 h 389381"/>
                <a:gd name="connsiteX27" fmla="*/ 219551 w 361187"/>
                <a:gd name="connsiteY27" fmla="*/ 77819 h 389381"/>
                <a:gd name="connsiteX28" fmla="*/ 181737 w 361187"/>
                <a:gd name="connsiteY28" fmla="*/ 70009 h 389381"/>
                <a:gd name="connsiteX29" fmla="*/ 116396 w 361187"/>
                <a:gd name="connsiteY29" fmla="*/ 97250 h 389381"/>
                <a:gd name="connsiteX30" fmla="*/ 84963 w 361187"/>
                <a:gd name="connsiteY30" fmla="*/ 168307 h 389381"/>
                <a:gd name="connsiteX31" fmla="*/ 276511 w 361187"/>
                <a:gd name="connsiteY31" fmla="*/ 168307 h 38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187" h="389381">
                  <a:moveTo>
                    <a:pt x="191548" y="389382"/>
                  </a:moveTo>
                  <a:cubicBezTo>
                    <a:pt x="164687" y="389382"/>
                    <a:pt x="139637" y="384715"/>
                    <a:pt x="116300" y="375285"/>
                  </a:cubicBezTo>
                  <a:cubicBezTo>
                    <a:pt x="92964" y="365855"/>
                    <a:pt x="72771" y="352711"/>
                    <a:pt x="55531" y="335756"/>
                  </a:cubicBezTo>
                  <a:cubicBezTo>
                    <a:pt x="38291" y="318802"/>
                    <a:pt x="24765" y="298418"/>
                    <a:pt x="14859" y="274606"/>
                  </a:cubicBezTo>
                  <a:cubicBezTo>
                    <a:pt x="4953" y="250793"/>
                    <a:pt x="0" y="224599"/>
                    <a:pt x="0" y="195834"/>
                  </a:cubicBezTo>
                  <a:lnTo>
                    <a:pt x="0" y="194405"/>
                  </a:lnTo>
                  <a:cubicBezTo>
                    <a:pt x="0" y="167545"/>
                    <a:pt x="4477" y="142399"/>
                    <a:pt x="13430" y="118777"/>
                  </a:cubicBezTo>
                  <a:cubicBezTo>
                    <a:pt x="22384" y="95250"/>
                    <a:pt x="34957" y="74581"/>
                    <a:pt x="51245" y="56959"/>
                  </a:cubicBezTo>
                  <a:cubicBezTo>
                    <a:pt x="67532" y="39338"/>
                    <a:pt x="86677" y="25432"/>
                    <a:pt x="108871" y="15240"/>
                  </a:cubicBezTo>
                  <a:cubicBezTo>
                    <a:pt x="131064" y="5143"/>
                    <a:pt x="155543" y="0"/>
                    <a:pt x="182404" y="0"/>
                  </a:cubicBezTo>
                  <a:cubicBezTo>
                    <a:pt x="212122" y="0"/>
                    <a:pt x="238125" y="5429"/>
                    <a:pt x="260509" y="16288"/>
                  </a:cubicBezTo>
                  <a:cubicBezTo>
                    <a:pt x="282893" y="27146"/>
                    <a:pt x="301466" y="41719"/>
                    <a:pt x="316325" y="60103"/>
                  </a:cubicBezTo>
                  <a:cubicBezTo>
                    <a:pt x="331184" y="78486"/>
                    <a:pt x="342329" y="99822"/>
                    <a:pt x="349853" y="124015"/>
                  </a:cubicBezTo>
                  <a:cubicBezTo>
                    <a:pt x="357378" y="148304"/>
                    <a:pt x="361188" y="173831"/>
                    <a:pt x="361188" y="200692"/>
                  </a:cubicBezTo>
                  <a:cubicBezTo>
                    <a:pt x="361188" y="204502"/>
                    <a:pt x="361093" y="208312"/>
                    <a:pt x="360807" y="212312"/>
                  </a:cubicBezTo>
                  <a:cubicBezTo>
                    <a:pt x="360521" y="216313"/>
                    <a:pt x="360236" y="220409"/>
                    <a:pt x="359759" y="224695"/>
                  </a:cubicBezTo>
                  <a:lnTo>
                    <a:pt x="85534" y="224695"/>
                  </a:lnTo>
                  <a:cubicBezTo>
                    <a:pt x="90202" y="255365"/>
                    <a:pt x="102394" y="278797"/>
                    <a:pt x="121920" y="294989"/>
                  </a:cubicBezTo>
                  <a:cubicBezTo>
                    <a:pt x="141446" y="311277"/>
                    <a:pt x="165164" y="319373"/>
                    <a:pt x="192977" y="319373"/>
                  </a:cubicBezTo>
                  <a:cubicBezTo>
                    <a:pt x="214217" y="319373"/>
                    <a:pt x="232505" y="315563"/>
                    <a:pt x="248126" y="308038"/>
                  </a:cubicBezTo>
                  <a:cubicBezTo>
                    <a:pt x="263652" y="300514"/>
                    <a:pt x="278987" y="289465"/>
                    <a:pt x="294037" y="274796"/>
                  </a:cubicBezTo>
                  <a:lnTo>
                    <a:pt x="344234" y="319278"/>
                  </a:lnTo>
                  <a:cubicBezTo>
                    <a:pt x="326327" y="340519"/>
                    <a:pt x="304991" y="357473"/>
                    <a:pt x="280226" y="370141"/>
                  </a:cubicBezTo>
                  <a:cubicBezTo>
                    <a:pt x="255461" y="382810"/>
                    <a:pt x="225933" y="389191"/>
                    <a:pt x="191548" y="389191"/>
                  </a:cubicBezTo>
                  <a:close/>
                  <a:moveTo>
                    <a:pt x="276320" y="168211"/>
                  </a:moveTo>
                  <a:cubicBezTo>
                    <a:pt x="274892" y="154591"/>
                    <a:pt x="271844" y="141732"/>
                    <a:pt x="267176" y="129730"/>
                  </a:cubicBezTo>
                  <a:cubicBezTo>
                    <a:pt x="262414" y="117729"/>
                    <a:pt x="256127" y="107347"/>
                    <a:pt x="248126" y="98679"/>
                  </a:cubicBezTo>
                  <a:cubicBezTo>
                    <a:pt x="240125" y="89916"/>
                    <a:pt x="230600" y="82963"/>
                    <a:pt x="219551" y="77819"/>
                  </a:cubicBezTo>
                  <a:cubicBezTo>
                    <a:pt x="208502" y="72676"/>
                    <a:pt x="195834" y="70009"/>
                    <a:pt x="181737" y="70009"/>
                  </a:cubicBezTo>
                  <a:cubicBezTo>
                    <a:pt x="155353" y="70009"/>
                    <a:pt x="133541" y="79057"/>
                    <a:pt x="116396" y="97250"/>
                  </a:cubicBezTo>
                  <a:cubicBezTo>
                    <a:pt x="99155" y="115348"/>
                    <a:pt x="88678" y="139065"/>
                    <a:pt x="84963" y="168307"/>
                  </a:cubicBezTo>
                  <a:lnTo>
                    <a:pt x="276511" y="168307"/>
                  </a:lnTo>
                  <a:close/>
                </a:path>
              </a:pathLst>
            </a:custGeom>
            <a:solidFill>
              <a:srgbClr val="44505E"/>
            </a:solidFill>
            <a:ln w="9525" cap="flat">
              <a:noFill/>
              <a:prstDash val="solid"/>
              <a:miter/>
            </a:ln>
          </p:spPr>
          <p:txBody>
            <a:bodyPr rtlCol="0" anchor="ctr"/>
            <a:lstStyle/>
            <a:p>
              <a:endParaRPr lang="pt-BR" noProof="0"/>
            </a:p>
          </p:txBody>
        </p:sp>
        <p:sp>
          <p:nvSpPr>
            <p:cNvPr id="22" name="Freeform: Shape 21">
              <a:extLst>
                <a:ext uri="{FF2B5EF4-FFF2-40B4-BE49-F238E27FC236}">
                  <a16:creationId xmlns:a16="http://schemas.microsoft.com/office/drawing/2014/main" id="{D3512049-B751-D22A-36CB-A31F3614C480}"/>
                </a:ext>
              </a:extLst>
            </p:cNvPr>
            <p:cNvSpPr/>
            <p:nvPr/>
          </p:nvSpPr>
          <p:spPr>
            <a:xfrm>
              <a:off x="5365659"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5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8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3 w 568166"/>
                <a:gd name="connsiteY21" fmla="*/ 381000 h 381000"/>
                <a:gd name="connsiteX22" fmla="*/ 240983 w 568166"/>
                <a:gd name="connsiteY22" fmla="*/ 168783 h 381000"/>
                <a:gd name="connsiteX23" fmla="*/ 221266 w 568166"/>
                <a:gd name="connsiteY23" fmla="*/ 101822 h 381000"/>
                <a:gd name="connsiteX24" fmla="*/ 165640 w 568166"/>
                <a:gd name="connsiteY24" fmla="*/ 78581 h 381000"/>
                <a:gd name="connsiteX25" fmla="*/ 108014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70" y="48196"/>
                    <a:pt x="105918" y="40576"/>
                  </a:cubicBezTo>
                  <a:cubicBezTo>
                    <a:pt x="112967" y="32956"/>
                    <a:pt x="121063" y="26099"/>
                    <a:pt x="130207" y="19907"/>
                  </a:cubicBezTo>
                  <a:cubicBezTo>
                    <a:pt x="139351" y="13716"/>
                    <a:pt x="149733" y="8858"/>
                    <a:pt x="161163" y="5334"/>
                  </a:cubicBezTo>
                  <a:cubicBezTo>
                    <a:pt x="172688" y="1714"/>
                    <a:pt x="185452" y="0"/>
                    <a:pt x="199549" y="0"/>
                  </a:cubicBezTo>
                  <a:cubicBezTo>
                    <a:pt x="226314" y="0"/>
                    <a:pt x="248984" y="6096"/>
                    <a:pt x="267557" y="18193"/>
                  </a:cubicBezTo>
                  <a:cubicBezTo>
                    <a:pt x="286131" y="30289"/>
                    <a:pt x="300323" y="46387"/>
                    <a:pt x="310134" y="66294"/>
                  </a:cubicBezTo>
                  <a:cubicBezTo>
                    <a:pt x="325279" y="46387"/>
                    <a:pt x="343091" y="30289"/>
                    <a:pt x="363665" y="18193"/>
                  </a:cubicBezTo>
                  <a:cubicBezTo>
                    <a:pt x="384239" y="6096"/>
                    <a:pt x="408718" y="0"/>
                    <a:pt x="437007" y="0"/>
                  </a:cubicBezTo>
                  <a:cubicBezTo>
                    <a:pt x="478060"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8" y="78486"/>
                  </a:cubicBezTo>
                  <a:cubicBezTo>
                    <a:pt x="382810" y="78486"/>
                    <a:pt x="364141" y="86392"/>
                    <a:pt x="349377" y="102108"/>
                  </a:cubicBezTo>
                  <a:cubicBezTo>
                    <a:pt x="334613" y="117824"/>
                    <a:pt x="327184" y="140779"/>
                    <a:pt x="327184" y="170879"/>
                  </a:cubicBezTo>
                  <a:lnTo>
                    <a:pt x="327184" y="381000"/>
                  </a:lnTo>
                  <a:lnTo>
                    <a:pt x="240983" y="381000"/>
                  </a:lnTo>
                  <a:lnTo>
                    <a:pt x="240983" y="168783"/>
                  </a:lnTo>
                  <a:cubicBezTo>
                    <a:pt x="240983" y="139637"/>
                    <a:pt x="234410" y="117348"/>
                    <a:pt x="221266" y="101822"/>
                  </a:cubicBezTo>
                  <a:cubicBezTo>
                    <a:pt x="208121" y="86296"/>
                    <a:pt x="189643" y="78581"/>
                    <a:pt x="165640" y="78581"/>
                  </a:cubicBezTo>
                  <a:cubicBezTo>
                    <a:pt x="141637" y="78581"/>
                    <a:pt x="122492" y="86773"/>
                    <a:pt x="108014"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23" name="Freeform: Shape 22">
              <a:extLst>
                <a:ext uri="{FF2B5EF4-FFF2-40B4-BE49-F238E27FC236}">
                  <a16:creationId xmlns:a16="http://schemas.microsoft.com/office/drawing/2014/main" id="{388785A5-3423-F00A-59FF-851F79A747AA}"/>
                </a:ext>
              </a:extLst>
            </p:cNvPr>
            <p:cNvSpPr/>
            <p:nvPr/>
          </p:nvSpPr>
          <p:spPr>
            <a:xfrm>
              <a:off x="5587693" y="700007"/>
              <a:ext cx="84211" cy="95752"/>
            </a:xfrm>
            <a:custGeom>
              <a:avLst/>
              <a:gdLst>
                <a:gd name="connsiteX0" fmla="*/ 95 w 334994"/>
                <a:gd name="connsiteY0" fmla="*/ 7715 h 380904"/>
                <a:gd name="connsiteX1" fmla="*/ 86296 w 334994"/>
                <a:gd name="connsiteY1" fmla="*/ 7715 h 380904"/>
                <a:gd name="connsiteX2" fmla="*/ 86296 w 334994"/>
                <a:gd name="connsiteY2" fmla="*/ 66294 h 380904"/>
                <a:gd name="connsiteX3" fmla="*/ 106394 w 334994"/>
                <a:gd name="connsiteY3" fmla="*/ 40958 h 380904"/>
                <a:gd name="connsiteX4" fmla="*/ 131731 w 334994"/>
                <a:gd name="connsiteY4" fmla="*/ 19907 h 380904"/>
                <a:gd name="connsiteX5" fmla="*/ 163449 w 334994"/>
                <a:gd name="connsiteY5" fmla="*/ 5334 h 380904"/>
                <a:gd name="connsiteX6" fmla="*/ 202597 w 334994"/>
                <a:gd name="connsiteY6" fmla="*/ 0 h 380904"/>
                <a:gd name="connsiteX7" fmla="*/ 300514 w 334994"/>
                <a:gd name="connsiteY7" fmla="*/ 38862 h 380904"/>
                <a:gd name="connsiteX8" fmla="*/ 334994 w 334994"/>
                <a:gd name="connsiteY8" fmla="*/ 143446 h 380904"/>
                <a:gd name="connsiteX9" fmla="*/ 334994 w 334994"/>
                <a:gd name="connsiteY9" fmla="*/ 380905 h 380904"/>
                <a:gd name="connsiteX10" fmla="*/ 248793 w 334994"/>
                <a:gd name="connsiteY10" fmla="*/ 380905 h 380904"/>
                <a:gd name="connsiteX11" fmla="*/ 248793 w 334994"/>
                <a:gd name="connsiteY11" fmla="*/ 169450 h 380904"/>
                <a:gd name="connsiteX12" fmla="*/ 228124 w 334994"/>
                <a:gd name="connsiteY12" fmla="*/ 102108 h 380904"/>
                <a:gd name="connsiteX13" fmla="*/ 169640 w 334994"/>
                <a:gd name="connsiteY13" fmla="*/ 78486 h 380904"/>
                <a:gd name="connsiteX14" fmla="*/ 109347 w 334994"/>
                <a:gd name="connsiteY14" fmla="*/ 102775 h 380904"/>
                <a:gd name="connsiteX15" fmla="*/ 86201 w 334994"/>
                <a:gd name="connsiteY15" fmla="*/ 170783 h 380904"/>
                <a:gd name="connsiteX16" fmla="*/ 86201 w 334994"/>
                <a:gd name="connsiteY16" fmla="*/ 380905 h 380904"/>
                <a:gd name="connsiteX17" fmla="*/ 0 w 334994"/>
                <a:gd name="connsiteY17" fmla="*/ 380905 h 380904"/>
                <a:gd name="connsiteX18" fmla="*/ 0 w 334994"/>
                <a:gd name="connsiteY18" fmla="*/ 7810 h 38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94" h="380904">
                  <a:moveTo>
                    <a:pt x="95" y="7715"/>
                  </a:moveTo>
                  <a:lnTo>
                    <a:pt x="86296" y="7715"/>
                  </a:lnTo>
                  <a:lnTo>
                    <a:pt x="86296" y="66294"/>
                  </a:lnTo>
                  <a:cubicBezTo>
                    <a:pt x="92392" y="57245"/>
                    <a:pt x="99060" y="48863"/>
                    <a:pt x="106394" y="40958"/>
                  </a:cubicBezTo>
                  <a:cubicBezTo>
                    <a:pt x="113633" y="33147"/>
                    <a:pt x="122110" y="26099"/>
                    <a:pt x="131731" y="19907"/>
                  </a:cubicBezTo>
                  <a:cubicBezTo>
                    <a:pt x="141351" y="13716"/>
                    <a:pt x="151924" y="8858"/>
                    <a:pt x="163449" y="5334"/>
                  </a:cubicBezTo>
                  <a:cubicBezTo>
                    <a:pt x="174974" y="1714"/>
                    <a:pt x="188024" y="0"/>
                    <a:pt x="202597" y="0"/>
                  </a:cubicBezTo>
                  <a:cubicBezTo>
                    <a:pt x="244888" y="0"/>
                    <a:pt x="277559" y="12954"/>
                    <a:pt x="300514" y="38862"/>
                  </a:cubicBezTo>
                  <a:cubicBezTo>
                    <a:pt x="323564" y="64770"/>
                    <a:pt x="334994" y="99631"/>
                    <a:pt x="334994" y="143446"/>
                  </a:cubicBezTo>
                  <a:lnTo>
                    <a:pt x="334994" y="380905"/>
                  </a:lnTo>
                  <a:lnTo>
                    <a:pt x="248793" y="380905"/>
                  </a:lnTo>
                  <a:lnTo>
                    <a:pt x="248793" y="169450"/>
                  </a:lnTo>
                  <a:cubicBezTo>
                    <a:pt x="248793" y="140303"/>
                    <a:pt x="241935" y="117824"/>
                    <a:pt x="228124" y="102108"/>
                  </a:cubicBezTo>
                  <a:cubicBezTo>
                    <a:pt x="214313" y="86392"/>
                    <a:pt x="194881" y="78486"/>
                    <a:pt x="169640" y="78486"/>
                  </a:cubicBezTo>
                  <a:cubicBezTo>
                    <a:pt x="144399" y="78486"/>
                    <a:pt x="124777" y="86582"/>
                    <a:pt x="109347" y="102775"/>
                  </a:cubicBezTo>
                  <a:cubicBezTo>
                    <a:pt x="93917" y="118967"/>
                    <a:pt x="86201" y="141637"/>
                    <a:pt x="86201" y="170783"/>
                  </a:cubicBezTo>
                  <a:lnTo>
                    <a:pt x="86201" y="380905"/>
                  </a:lnTo>
                  <a:lnTo>
                    <a:pt x="0" y="380905"/>
                  </a:lnTo>
                  <a:lnTo>
                    <a:pt x="0" y="7810"/>
                  </a:lnTo>
                  <a:close/>
                </a:path>
              </a:pathLst>
            </a:custGeom>
            <a:solidFill>
              <a:srgbClr val="44505E"/>
            </a:solidFill>
            <a:ln w="9525" cap="flat">
              <a:noFill/>
              <a:prstDash val="solid"/>
              <a:miter/>
            </a:ln>
          </p:spPr>
          <p:txBody>
            <a:bodyPr rtlCol="0" anchor="ctr"/>
            <a:lstStyle/>
            <a:p>
              <a:endParaRPr lang="pt-BR" noProof="0"/>
            </a:p>
          </p:txBody>
        </p:sp>
        <p:sp>
          <p:nvSpPr>
            <p:cNvPr id="24" name="Freeform: Shape 23">
              <a:extLst>
                <a:ext uri="{FF2B5EF4-FFF2-40B4-BE49-F238E27FC236}">
                  <a16:creationId xmlns:a16="http://schemas.microsoft.com/office/drawing/2014/main" id="{0F921795-0039-A81A-A6A1-AA695F4CF6FB}"/>
                </a:ext>
              </a:extLst>
            </p:cNvPr>
            <p:cNvSpPr/>
            <p:nvPr/>
          </p:nvSpPr>
          <p:spPr>
            <a:xfrm>
              <a:off x="5692712" y="699959"/>
              <a:ext cx="100015" cy="97908"/>
            </a:xfrm>
            <a:custGeom>
              <a:avLst/>
              <a:gdLst>
                <a:gd name="connsiteX0" fmla="*/ 197834 w 397859"/>
                <a:gd name="connsiteY0" fmla="*/ 389477 h 389477"/>
                <a:gd name="connsiteX1" fmla="*/ 119063 w 397859"/>
                <a:gd name="connsiteY1" fmla="*/ 374237 h 389477"/>
                <a:gd name="connsiteX2" fmla="*/ 56197 w 397859"/>
                <a:gd name="connsiteY2" fmla="*/ 332899 h 389477"/>
                <a:gd name="connsiteX3" fmla="*/ 14859 w 397859"/>
                <a:gd name="connsiteY3" fmla="*/ 271463 h 389477"/>
                <a:gd name="connsiteX4" fmla="*/ 0 w 397859"/>
                <a:gd name="connsiteY4" fmla="*/ 196501 h 389477"/>
                <a:gd name="connsiteX5" fmla="*/ 0 w 397859"/>
                <a:gd name="connsiteY5" fmla="*/ 195072 h 389477"/>
                <a:gd name="connsiteX6" fmla="*/ 15145 w 397859"/>
                <a:gd name="connsiteY6" fmla="*/ 119444 h 389477"/>
                <a:gd name="connsiteX7" fmla="*/ 56864 w 397859"/>
                <a:gd name="connsiteY7" fmla="*/ 57626 h 389477"/>
                <a:gd name="connsiteX8" fmla="*/ 119729 w 397859"/>
                <a:gd name="connsiteY8" fmla="*/ 15526 h 389477"/>
                <a:gd name="connsiteX9" fmla="*/ 199263 w 397859"/>
                <a:gd name="connsiteY9" fmla="*/ 0 h 389477"/>
                <a:gd name="connsiteX10" fmla="*/ 278797 w 397859"/>
                <a:gd name="connsiteY10" fmla="*/ 15240 h 389477"/>
                <a:gd name="connsiteX11" fmla="*/ 341662 w 397859"/>
                <a:gd name="connsiteY11" fmla="*/ 56959 h 389477"/>
                <a:gd name="connsiteX12" fmla="*/ 383000 w 397859"/>
                <a:gd name="connsiteY12" fmla="*/ 118396 h 389477"/>
                <a:gd name="connsiteX13" fmla="*/ 397859 w 397859"/>
                <a:gd name="connsiteY13" fmla="*/ 193643 h 389477"/>
                <a:gd name="connsiteX14" fmla="*/ 397859 w 397859"/>
                <a:gd name="connsiteY14" fmla="*/ 195072 h 389477"/>
                <a:gd name="connsiteX15" fmla="*/ 382619 w 397859"/>
                <a:gd name="connsiteY15" fmla="*/ 270034 h 389477"/>
                <a:gd name="connsiteX16" fmla="*/ 340900 w 397859"/>
                <a:gd name="connsiteY16" fmla="*/ 331851 h 389477"/>
                <a:gd name="connsiteX17" fmla="*/ 277654 w 397859"/>
                <a:gd name="connsiteY17" fmla="*/ 373856 h 389477"/>
                <a:gd name="connsiteX18" fmla="*/ 197834 w 397859"/>
                <a:gd name="connsiteY18" fmla="*/ 389382 h 389477"/>
                <a:gd name="connsiteX19" fmla="*/ 199263 w 397859"/>
                <a:gd name="connsiteY19" fmla="*/ 315278 h 389477"/>
                <a:gd name="connsiteX20" fmla="*/ 245935 w 397859"/>
                <a:gd name="connsiteY20" fmla="*/ 305753 h 389477"/>
                <a:gd name="connsiteX21" fmla="*/ 281368 w 397859"/>
                <a:gd name="connsiteY21" fmla="*/ 279940 h 389477"/>
                <a:gd name="connsiteX22" fmla="*/ 303847 w 397859"/>
                <a:gd name="connsiteY22" fmla="*/ 242125 h 389477"/>
                <a:gd name="connsiteX23" fmla="*/ 311563 w 397859"/>
                <a:gd name="connsiteY23" fmla="*/ 196501 h 389477"/>
                <a:gd name="connsiteX24" fmla="*/ 311563 w 397859"/>
                <a:gd name="connsiteY24" fmla="*/ 195072 h 389477"/>
                <a:gd name="connsiteX25" fmla="*/ 303181 w 397859"/>
                <a:gd name="connsiteY25" fmla="*/ 148400 h 389477"/>
                <a:gd name="connsiteX26" fmla="*/ 279654 w 397859"/>
                <a:gd name="connsiteY26" fmla="*/ 110204 h 389477"/>
                <a:gd name="connsiteX27" fmla="*/ 243840 w 397859"/>
                <a:gd name="connsiteY27" fmla="*/ 84392 h 389477"/>
                <a:gd name="connsiteX28" fmla="*/ 197834 w 397859"/>
                <a:gd name="connsiteY28" fmla="*/ 74867 h 389477"/>
                <a:gd name="connsiteX29" fmla="*/ 151829 w 397859"/>
                <a:gd name="connsiteY29" fmla="*/ 84392 h 389477"/>
                <a:gd name="connsiteX30" fmla="*/ 116396 w 397859"/>
                <a:gd name="connsiteY30" fmla="*/ 109823 h 389477"/>
                <a:gd name="connsiteX31" fmla="*/ 93917 w 397859"/>
                <a:gd name="connsiteY31" fmla="*/ 147638 h 389477"/>
                <a:gd name="connsiteX32" fmla="*/ 86201 w 397859"/>
                <a:gd name="connsiteY32" fmla="*/ 193548 h 389477"/>
                <a:gd name="connsiteX33" fmla="*/ 86201 w 397859"/>
                <a:gd name="connsiteY33" fmla="*/ 194977 h 389477"/>
                <a:gd name="connsiteX34" fmla="*/ 94583 w 397859"/>
                <a:gd name="connsiteY34" fmla="*/ 241268 h 389477"/>
                <a:gd name="connsiteX35" fmla="*/ 118110 w 397859"/>
                <a:gd name="connsiteY35" fmla="*/ 279463 h 389477"/>
                <a:gd name="connsiteX36" fmla="*/ 153924 w 397859"/>
                <a:gd name="connsiteY36" fmla="*/ 305562 h 389477"/>
                <a:gd name="connsiteX37" fmla="*/ 199263 w 397859"/>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859" h="389477">
                  <a:moveTo>
                    <a:pt x="197834" y="389477"/>
                  </a:moveTo>
                  <a:cubicBezTo>
                    <a:pt x="169545" y="389477"/>
                    <a:pt x="143351" y="384429"/>
                    <a:pt x="119063" y="374237"/>
                  </a:cubicBezTo>
                  <a:cubicBezTo>
                    <a:pt x="94774" y="364141"/>
                    <a:pt x="73819" y="350330"/>
                    <a:pt x="56197" y="332899"/>
                  </a:cubicBezTo>
                  <a:cubicBezTo>
                    <a:pt x="38481" y="315468"/>
                    <a:pt x="24765" y="294989"/>
                    <a:pt x="14859" y="271463"/>
                  </a:cubicBezTo>
                  <a:cubicBezTo>
                    <a:pt x="4953" y="247936"/>
                    <a:pt x="0" y="222980"/>
                    <a:pt x="0" y="196501"/>
                  </a:cubicBezTo>
                  <a:lnTo>
                    <a:pt x="0" y="195072"/>
                  </a:lnTo>
                  <a:cubicBezTo>
                    <a:pt x="0" y="168212"/>
                    <a:pt x="5048" y="143066"/>
                    <a:pt x="15145" y="119444"/>
                  </a:cubicBezTo>
                  <a:cubicBezTo>
                    <a:pt x="25241" y="95917"/>
                    <a:pt x="39148" y="75248"/>
                    <a:pt x="56864" y="57626"/>
                  </a:cubicBezTo>
                  <a:cubicBezTo>
                    <a:pt x="74581" y="39910"/>
                    <a:pt x="95536" y="25908"/>
                    <a:pt x="119729" y="15526"/>
                  </a:cubicBezTo>
                  <a:cubicBezTo>
                    <a:pt x="144018" y="5144"/>
                    <a:pt x="170497" y="0"/>
                    <a:pt x="199263" y="0"/>
                  </a:cubicBezTo>
                  <a:cubicBezTo>
                    <a:pt x="228029" y="0"/>
                    <a:pt x="254508" y="5048"/>
                    <a:pt x="278797" y="15240"/>
                  </a:cubicBezTo>
                  <a:cubicBezTo>
                    <a:pt x="303085" y="25337"/>
                    <a:pt x="324041" y="39243"/>
                    <a:pt x="341662" y="56959"/>
                  </a:cubicBezTo>
                  <a:cubicBezTo>
                    <a:pt x="359378" y="74676"/>
                    <a:pt x="373094" y="95155"/>
                    <a:pt x="383000" y="118396"/>
                  </a:cubicBezTo>
                  <a:cubicBezTo>
                    <a:pt x="392906" y="141732"/>
                    <a:pt x="397859" y="166783"/>
                    <a:pt x="397859" y="193643"/>
                  </a:cubicBezTo>
                  <a:lnTo>
                    <a:pt x="397859" y="195072"/>
                  </a:lnTo>
                  <a:cubicBezTo>
                    <a:pt x="397859" y="221456"/>
                    <a:pt x="392811" y="246412"/>
                    <a:pt x="382619" y="270034"/>
                  </a:cubicBezTo>
                  <a:cubicBezTo>
                    <a:pt x="372523" y="293561"/>
                    <a:pt x="358616" y="314230"/>
                    <a:pt x="340900" y="331851"/>
                  </a:cubicBezTo>
                  <a:cubicBezTo>
                    <a:pt x="323183" y="349472"/>
                    <a:pt x="302133" y="363569"/>
                    <a:pt x="277654" y="373856"/>
                  </a:cubicBezTo>
                  <a:cubicBezTo>
                    <a:pt x="253175" y="384238"/>
                    <a:pt x="226504" y="389382"/>
                    <a:pt x="197834" y="389382"/>
                  </a:cubicBezTo>
                  <a:close/>
                  <a:moveTo>
                    <a:pt x="199263" y="315278"/>
                  </a:moveTo>
                  <a:cubicBezTo>
                    <a:pt x="216598" y="315278"/>
                    <a:pt x="232124" y="312039"/>
                    <a:pt x="245935" y="305753"/>
                  </a:cubicBezTo>
                  <a:cubicBezTo>
                    <a:pt x="259747" y="299371"/>
                    <a:pt x="271558" y="290798"/>
                    <a:pt x="281368" y="279940"/>
                  </a:cubicBezTo>
                  <a:cubicBezTo>
                    <a:pt x="291179" y="269081"/>
                    <a:pt x="298704" y="256508"/>
                    <a:pt x="303847" y="242125"/>
                  </a:cubicBezTo>
                  <a:cubicBezTo>
                    <a:pt x="308991" y="227743"/>
                    <a:pt x="311563" y="212598"/>
                    <a:pt x="311563" y="196501"/>
                  </a:cubicBezTo>
                  <a:lnTo>
                    <a:pt x="311563" y="195072"/>
                  </a:lnTo>
                  <a:cubicBezTo>
                    <a:pt x="311563" y="178594"/>
                    <a:pt x="308800" y="163068"/>
                    <a:pt x="303181" y="148400"/>
                  </a:cubicBezTo>
                  <a:cubicBezTo>
                    <a:pt x="297561" y="133826"/>
                    <a:pt x="289750" y="121063"/>
                    <a:pt x="279654" y="110204"/>
                  </a:cubicBezTo>
                  <a:cubicBezTo>
                    <a:pt x="269558" y="99346"/>
                    <a:pt x="257651" y="90773"/>
                    <a:pt x="243840" y="84392"/>
                  </a:cubicBezTo>
                  <a:cubicBezTo>
                    <a:pt x="230029" y="78010"/>
                    <a:pt x="214693" y="74867"/>
                    <a:pt x="197834" y="74867"/>
                  </a:cubicBezTo>
                  <a:cubicBezTo>
                    <a:pt x="180975" y="74867"/>
                    <a:pt x="165640" y="78010"/>
                    <a:pt x="151829" y="84392"/>
                  </a:cubicBezTo>
                  <a:cubicBezTo>
                    <a:pt x="138017" y="90773"/>
                    <a:pt x="126206" y="99250"/>
                    <a:pt x="116396" y="109823"/>
                  </a:cubicBezTo>
                  <a:cubicBezTo>
                    <a:pt x="106585" y="120396"/>
                    <a:pt x="99060" y="133064"/>
                    <a:pt x="93917" y="147638"/>
                  </a:cubicBezTo>
                  <a:cubicBezTo>
                    <a:pt x="88773" y="162211"/>
                    <a:pt x="86201" y="177546"/>
                    <a:pt x="86201" y="193548"/>
                  </a:cubicBezTo>
                  <a:lnTo>
                    <a:pt x="86201" y="194977"/>
                  </a:lnTo>
                  <a:cubicBezTo>
                    <a:pt x="86201" y="211455"/>
                    <a:pt x="88963" y="226886"/>
                    <a:pt x="94583" y="241268"/>
                  </a:cubicBezTo>
                  <a:cubicBezTo>
                    <a:pt x="100203" y="255651"/>
                    <a:pt x="108013" y="268319"/>
                    <a:pt x="118110" y="279463"/>
                  </a:cubicBezTo>
                  <a:cubicBezTo>
                    <a:pt x="128206" y="290513"/>
                    <a:pt x="140113" y="299275"/>
                    <a:pt x="153924" y="305562"/>
                  </a:cubicBezTo>
                  <a:cubicBezTo>
                    <a:pt x="167735" y="311944"/>
                    <a:pt x="182880"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25" name="Freeform: Shape 24">
              <a:extLst>
                <a:ext uri="{FF2B5EF4-FFF2-40B4-BE49-F238E27FC236}">
                  <a16:creationId xmlns:a16="http://schemas.microsoft.com/office/drawing/2014/main" id="{E7EC5F12-FFCD-2F57-798C-14138565D3B2}"/>
                </a:ext>
              </a:extLst>
            </p:cNvPr>
            <p:cNvSpPr/>
            <p:nvPr/>
          </p:nvSpPr>
          <p:spPr>
            <a:xfrm>
              <a:off x="5806925"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2 w 296894"/>
                <a:gd name="connsiteY36" fmla="*/ 224980 h 386714"/>
                <a:gd name="connsiteX37" fmla="*/ 296894 w 296894"/>
                <a:gd name="connsiteY37" fmla="*/ 267938 h 386714"/>
                <a:gd name="connsiteX38" fmla="*/ 296894 w 296894"/>
                <a:gd name="connsiteY38" fmla="*/ 269367 h 386714"/>
                <a:gd name="connsiteX39" fmla="*/ 286322 w 296894"/>
                <a:gd name="connsiteY39" fmla="*/ 320897 h 386714"/>
                <a:gd name="connsiteX40" fmla="*/ 256984 w 296894"/>
                <a:gd name="connsiteY40" fmla="*/ 357188 h 386714"/>
                <a:gd name="connsiteX41" fmla="*/ 212789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8" y="298704"/>
                    <a:pt x="100013" y="306514"/>
                  </a:cubicBezTo>
                  <a:cubicBezTo>
                    <a:pt x="120967" y="314325"/>
                    <a:pt x="141161" y="318135"/>
                    <a:pt x="160401" y="318135"/>
                  </a:cubicBezTo>
                  <a:cubicBezTo>
                    <a:pt x="179642" y="318135"/>
                    <a:pt x="192976"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2" y="241078"/>
                    <a:pt x="176498" y="237553"/>
                    <a:pt x="166402" y="234220"/>
                  </a:cubicBezTo>
                  <a:cubicBezTo>
                    <a:pt x="156305" y="230886"/>
                    <a:pt x="145733" y="227647"/>
                    <a:pt x="134969" y="224314"/>
                  </a:cubicBezTo>
                  <a:cubicBezTo>
                    <a:pt x="121253" y="220599"/>
                    <a:pt x="107537" y="216122"/>
                    <a:pt x="93631" y="210884"/>
                  </a:cubicBezTo>
                  <a:cubicBezTo>
                    <a:pt x="79724" y="205740"/>
                    <a:pt x="67246" y="198977"/>
                    <a:pt x="56197" y="190786"/>
                  </a:cubicBezTo>
                  <a:cubicBezTo>
                    <a:pt x="45149" y="182594"/>
                    <a:pt x="36100" y="172307"/>
                    <a:pt x="28956" y="160115"/>
                  </a:cubicBezTo>
                  <a:cubicBezTo>
                    <a:pt x="21908"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5"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7" y="156210"/>
                    <a:pt x="180975" y="159448"/>
                  </a:cubicBezTo>
                  <a:cubicBezTo>
                    <a:pt x="194596" y="163639"/>
                    <a:pt x="208312" y="168592"/>
                    <a:pt x="222028" y="174212"/>
                  </a:cubicBezTo>
                  <a:cubicBezTo>
                    <a:pt x="235649" y="179832"/>
                    <a:pt x="248031" y="186785"/>
                    <a:pt x="259080" y="194977"/>
                  </a:cubicBezTo>
                  <a:cubicBezTo>
                    <a:pt x="270129" y="203168"/>
                    <a:pt x="279273" y="213169"/>
                    <a:pt x="286322" y="224980"/>
                  </a:cubicBezTo>
                  <a:cubicBezTo>
                    <a:pt x="293370" y="236696"/>
                    <a:pt x="296894" y="251079"/>
                    <a:pt x="296894" y="267938"/>
                  </a:cubicBezTo>
                  <a:lnTo>
                    <a:pt x="296894" y="269367"/>
                  </a:lnTo>
                  <a:cubicBezTo>
                    <a:pt x="296894" y="289084"/>
                    <a:pt x="293370" y="306229"/>
                    <a:pt x="286322" y="320897"/>
                  </a:cubicBezTo>
                  <a:cubicBezTo>
                    <a:pt x="279273" y="335470"/>
                    <a:pt x="269462" y="347567"/>
                    <a:pt x="256984" y="357188"/>
                  </a:cubicBezTo>
                  <a:cubicBezTo>
                    <a:pt x="244507" y="366808"/>
                    <a:pt x="229743" y="374142"/>
                    <a:pt x="212789"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6" name="Freeform: Shape 25">
              <a:extLst>
                <a:ext uri="{FF2B5EF4-FFF2-40B4-BE49-F238E27FC236}">
                  <a16:creationId xmlns:a16="http://schemas.microsoft.com/office/drawing/2014/main" id="{B38074B6-6CED-E5B4-2133-18C76EFF3D4E}"/>
                </a:ext>
              </a:extLst>
            </p:cNvPr>
            <p:cNvSpPr/>
            <p:nvPr/>
          </p:nvSpPr>
          <p:spPr>
            <a:xfrm>
              <a:off x="589573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6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160" y="318135"/>
                    <a:pt x="160401" y="318135"/>
                  </a:cubicBezTo>
                  <a:cubicBezTo>
                    <a:pt x="179641" y="318135"/>
                    <a:pt x="192976"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4"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792"/>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7" name="Freeform: Shape 26">
              <a:extLst>
                <a:ext uri="{FF2B5EF4-FFF2-40B4-BE49-F238E27FC236}">
                  <a16:creationId xmlns:a16="http://schemas.microsoft.com/office/drawing/2014/main" id="{740683A5-DD86-D11E-0157-93310ACAE783}"/>
                </a:ext>
              </a:extLst>
            </p:cNvPr>
            <p:cNvSpPr/>
            <p:nvPr/>
          </p:nvSpPr>
          <p:spPr>
            <a:xfrm>
              <a:off x="5985812" y="700558"/>
              <a:ext cx="85097" cy="97141"/>
            </a:xfrm>
            <a:custGeom>
              <a:avLst/>
              <a:gdLst>
                <a:gd name="connsiteX0" fmla="*/ 253651 w 338518"/>
                <a:gd name="connsiteY0" fmla="*/ 378619 h 386429"/>
                <a:gd name="connsiteX1" fmla="*/ 253651 w 338518"/>
                <a:gd name="connsiteY1" fmla="*/ 332708 h 386429"/>
                <a:gd name="connsiteX2" fmla="*/ 204883 w 338518"/>
                <a:gd name="connsiteY2" fmla="*/ 370904 h 386429"/>
                <a:gd name="connsiteX3" fmla="*/ 132779 w 338518"/>
                <a:gd name="connsiteY3" fmla="*/ 386429 h 386429"/>
                <a:gd name="connsiteX4" fmla="*/ 81915 w 338518"/>
                <a:gd name="connsiteY4" fmla="*/ 379000 h 386429"/>
                <a:gd name="connsiteX5" fmla="*/ 39910 w 338518"/>
                <a:gd name="connsiteY5" fmla="*/ 357092 h 386429"/>
                <a:gd name="connsiteX6" fmla="*/ 10954 w 338518"/>
                <a:gd name="connsiteY6" fmla="*/ 321088 h 386429"/>
                <a:gd name="connsiteX7" fmla="*/ 0 w 338518"/>
                <a:gd name="connsiteY7" fmla="*/ 271272 h 386429"/>
                <a:gd name="connsiteX8" fmla="*/ 0 w 338518"/>
                <a:gd name="connsiteY8" fmla="*/ 269843 h 386429"/>
                <a:gd name="connsiteX9" fmla="*/ 11335 w 338518"/>
                <a:gd name="connsiteY9" fmla="*/ 215741 h 386429"/>
                <a:gd name="connsiteX10" fmla="*/ 42767 w 338518"/>
                <a:gd name="connsiteY10" fmla="*/ 177546 h 386429"/>
                <a:gd name="connsiteX11" fmla="*/ 90773 w 338518"/>
                <a:gd name="connsiteY11" fmla="*/ 154972 h 386429"/>
                <a:gd name="connsiteX12" fmla="*/ 151162 w 338518"/>
                <a:gd name="connsiteY12" fmla="*/ 147542 h 386429"/>
                <a:gd name="connsiteX13" fmla="*/ 208788 w 338518"/>
                <a:gd name="connsiteY13" fmla="*/ 151829 h 386429"/>
                <a:gd name="connsiteX14" fmla="*/ 254413 w 338518"/>
                <a:gd name="connsiteY14" fmla="*/ 163163 h 386429"/>
                <a:gd name="connsiteX15" fmla="*/ 254413 w 338518"/>
                <a:gd name="connsiteY15" fmla="*/ 156115 h 386429"/>
                <a:gd name="connsiteX16" fmla="*/ 230696 w 338518"/>
                <a:gd name="connsiteY16" fmla="*/ 96774 h 386429"/>
                <a:gd name="connsiteX17" fmla="*/ 162496 w 338518"/>
                <a:gd name="connsiteY17" fmla="*/ 76295 h 386429"/>
                <a:gd name="connsiteX18" fmla="*/ 106013 w 338518"/>
                <a:gd name="connsiteY18" fmla="*/ 82677 h 386429"/>
                <a:gd name="connsiteX19" fmla="*/ 55816 w 338518"/>
                <a:gd name="connsiteY19" fmla="*/ 99632 h 386429"/>
                <a:gd name="connsiteX20" fmla="*/ 32480 w 338518"/>
                <a:gd name="connsiteY20" fmla="*/ 31052 h 386429"/>
                <a:gd name="connsiteX21" fmla="*/ 96107 w 338518"/>
                <a:gd name="connsiteY21" fmla="*/ 8477 h 386429"/>
                <a:gd name="connsiteX22" fmla="*/ 174593 w 338518"/>
                <a:gd name="connsiteY22" fmla="*/ 0 h 386429"/>
                <a:gd name="connsiteX23" fmla="*/ 298228 w 338518"/>
                <a:gd name="connsiteY23" fmla="*/ 41338 h 386429"/>
                <a:gd name="connsiteX24" fmla="*/ 338519 w 338518"/>
                <a:gd name="connsiteY24" fmla="*/ 157544 h 386429"/>
                <a:gd name="connsiteX25" fmla="*/ 338519 w 338518"/>
                <a:gd name="connsiteY25" fmla="*/ 378714 h 386429"/>
                <a:gd name="connsiteX26" fmla="*/ 253746 w 338518"/>
                <a:gd name="connsiteY26" fmla="*/ 378714 h 386429"/>
                <a:gd name="connsiteX27" fmla="*/ 255746 w 338518"/>
                <a:gd name="connsiteY27" fmla="*/ 222409 h 386429"/>
                <a:gd name="connsiteX28" fmla="*/ 217265 w 338518"/>
                <a:gd name="connsiteY28" fmla="*/ 211836 h 386429"/>
                <a:gd name="connsiteX29" fmla="*/ 170307 w 338518"/>
                <a:gd name="connsiteY29" fmla="*/ 207550 h 386429"/>
                <a:gd name="connsiteX30" fmla="*/ 107442 w 338518"/>
                <a:gd name="connsiteY30" fmla="*/ 223075 h 386429"/>
                <a:gd name="connsiteX31" fmla="*/ 84868 w 338518"/>
                <a:gd name="connsiteY31" fmla="*/ 265462 h 386429"/>
                <a:gd name="connsiteX32" fmla="*/ 84868 w 338518"/>
                <a:gd name="connsiteY32" fmla="*/ 266891 h 386429"/>
                <a:gd name="connsiteX33" fmla="*/ 105728 w 338518"/>
                <a:gd name="connsiteY33" fmla="*/ 307848 h 386429"/>
                <a:gd name="connsiteX34" fmla="*/ 156972 w 338518"/>
                <a:gd name="connsiteY34" fmla="*/ 321945 h 386429"/>
                <a:gd name="connsiteX35" fmla="*/ 196215 w 338518"/>
                <a:gd name="connsiteY35" fmla="*/ 316325 h 386429"/>
                <a:gd name="connsiteX36" fmla="*/ 227647 w 338518"/>
                <a:gd name="connsiteY36" fmla="*/ 300419 h 386429"/>
                <a:gd name="connsiteX37" fmla="*/ 248507 w 338518"/>
                <a:gd name="connsiteY37" fmla="*/ 275654 h 386429"/>
                <a:gd name="connsiteX38" fmla="*/ 255937 w 338518"/>
                <a:gd name="connsiteY38" fmla="*/ 243459 h 386429"/>
                <a:gd name="connsiteX39" fmla="*/ 255937 w 338518"/>
                <a:gd name="connsiteY39" fmla="*/ 222218 h 3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8518" h="386429">
                  <a:moveTo>
                    <a:pt x="253651" y="378619"/>
                  </a:moveTo>
                  <a:lnTo>
                    <a:pt x="253651" y="332708"/>
                  </a:lnTo>
                  <a:cubicBezTo>
                    <a:pt x="240887" y="347758"/>
                    <a:pt x="224695" y="360521"/>
                    <a:pt x="204883" y="370904"/>
                  </a:cubicBezTo>
                  <a:cubicBezTo>
                    <a:pt x="185071" y="381286"/>
                    <a:pt x="161068" y="386429"/>
                    <a:pt x="132779" y="386429"/>
                  </a:cubicBezTo>
                  <a:cubicBezTo>
                    <a:pt x="114871" y="386429"/>
                    <a:pt x="97917" y="383953"/>
                    <a:pt x="81915" y="379000"/>
                  </a:cubicBezTo>
                  <a:cubicBezTo>
                    <a:pt x="65913" y="374047"/>
                    <a:pt x="51911" y="366713"/>
                    <a:pt x="39910" y="357092"/>
                  </a:cubicBezTo>
                  <a:cubicBezTo>
                    <a:pt x="27908" y="347472"/>
                    <a:pt x="18193" y="335471"/>
                    <a:pt x="10954" y="321088"/>
                  </a:cubicBezTo>
                  <a:cubicBezTo>
                    <a:pt x="3620" y="306705"/>
                    <a:pt x="0" y="290132"/>
                    <a:pt x="0" y="271272"/>
                  </a:cubicBezTo>
                  <a:lnTo>
                    <a:pt x="0" y="269843"/>
                  </a:lnTo>
                  <a:cubicBezTo>
                    <a:pt x="0" y="249079"/>
                    <a:pt x="3810" y="231077"/>
                    <a:pt x="11335" y="215741"/>
                  </a:cubicBezTo>
                  <a:cubicBezTo>
                    <a:pt x="18859" y="200406"/>
                    <a:pt x="29337" y="187738"/>
                    <a:pt x="42767" y="177546"/>
                  </a:cubicBezTo>
                  <a:cubicBezTo>
                    <a:pt x="56197" y="167450"/>
                    <a:pt x="72199" y="159925"/>
                    <a:pt x="90773" y="154972"/>
                  </a:cubicBezTo>
                  <a:cubicBezTo>
                    <a:pt x="109347" y="150019"/>
                    <a:pt x="129540" y="147542"/>
                    <a:pt x="151162" y="147542"/>
                  </a:cubicBezTo>
                  <a:cubicBezTo>
                    <a:pt x="172783" y="147542"/>
                    <a:pt x="192976" y="148971"/>
                    <a:pt x="208788" y="151829"/>
                  </a:cubicBezTo>
                  <a:cubicBezTo>
                    <a:pt x="224599" y="154686"/>
                    <a:pt x="239744" y="158401"/>
                    <a:pt x="254413" y="163163"/>
                  </a:cubicBezTo>
                  <a:lnTo>
                    <a:pt x="254413" y="156115"/>
                  </a:lnTo>
                  <a:cubicBezTo>
                    <a:pt x="254413" y="130207"/>
                    <a:pt x="246507" y="110395"/>
                    <a:pt x="230696" y="96774"/>
                  </a:cubicBezTo>
                  <a:cubicBezTo>
                    <a:pt x="214884" y="83153"/>
                    <a:pt x="192214" y="76295"/>
                    <a:pt x="162496" y="76295"/>
                  </a:cubicBezTo>
                  <a:cubicBezTo>
                    <a:pt x="141351" y="76295"/>
                    <a:pt x="122491" y="78391"/>
                    <a:pt x="106013" y="82677"/>
                  </a:cubicBezTo>
                  <a:cubicBezTo>
                    <a:pt x="89535" y="86963"/>
                    <a:pt x="72771" y="92583"/>
                    <a:pt x="55816" y="99632"/>
                  </a:cubicBezTo>
                  <a:lnTo>
                    <a:pt x="32480" y="31052"/>
                  </a:lnTo>
                  <a:cubicBezTo>
                    <a:pt x="53149" y="21622"/>
                    <a:pt x="74390" y="14097"/>
                    <a:pt x="96107" y="8477"/>
                  </a:cubicBezTo>
                  <a:cubicBezTo>
                    <a:pt x="117729" y="2858"/>
                    <a:pt x="143923" y="0"/>
                    <a:pt x="174593" y="0"/>
                  </a:cubicBezTo>
                  <a:cubicBezTo>
                    <a:pt x="230124" y="0"/>
                    <a:pt x="271367" y="13811"/>
                    <a:pt x="298228" y="41338"/>
                  </a:cubicBezTo>
                  <a:cubicBezTo>
                    <a:pt x="325088" y="68866"/>
                    <a:pt x="338519" y="107633"/>
                    <a:pt x="338519" y="157544"/>
                  </a:cubicBezTo>
                  <a:lnTo>
                    <a:pt x="338519" y="378714"/>
                  </a:lnTo>
                  <a:lnTo>
                    <a:pt x="253746" y="378714"/>
                  </a:lnTo>
                  <a:close/>
                  <a:moveTo>
                    <a:pt x="255746" y="222409"/>
                  </a:moveTo>
                  <a:cubicBezTo>
                    <a:pt x="244888" y="218123"/>
                    <a:pt x="232029" y="214598"/>
                    <a:pt x="217265" y="211836"/>
                  </a:cubicBezTo>
                  <a:cubicBezTo>
                    <a:pt x="202406" y="208979"/>
                    <a:pt x="186785" y="207550"/>
                    <a:pt x="170307" y="207550"/>
                  </a:cubicBezTo>
                  <a:cubicBezTo>
                    <a:pt x="143446" y="207550"/>
                    <a:pt x="122491" y="212693"/>
                    <a:pt x="107442" y="223075"/>
                  </a:cubicBezTo>
                  <a:cubicBezTo>
                    <a:pt x="92392" y="233458"/>
                    <a:pt x="84868" y="247555"/>
                    <a:pt x="84868" y="265462"/>
                  </a:cubicBezTo>
                  <a:lnTo>
                    <a:pt x="84868" y="266891"/>
                  </a:lnTo>
                  <a:cubicBezTo>
                    <a:pt x="84868" y="284798"/>
                    <a:pt x="91821" y="298418"/>
                    <a:pt x="105728" y="307848"/>
                  </a:cubicBezTo>
                  <a:cubicBezTo>
                    <a:pt x="119634" y="317278"/>
                    <a:pt x="136684" y="321945"/>
                    <a:pt x="156972" y="321945"/>
                  </a:cubicBezTo>
                  <a:cubicBezTo>
                    <a:pt x="171069" y="321945"/>
                    <a:pt x="184213" y="320040"/>
                    <a:pt x="196215" y="316325"/>
                  </a:cubicBezTo>
                  <a:cubicBezTo>
                    <a:pt x="208216" y="312515"/>
                    <a:pt x="218694" y="307277"/>
                    <a:pt x="227647" y="300419"/>
                  </a:cubicBezTo>
                  <a:cubicBezTo>
                    <a:pt x="236601" y="293561"/>
                    <a:pt x="243554" y="285369"/>
                    <a:pt x="248507" y="275654"/>
                  </a:cubicBezTo>
                  <a:cubicBezTo>
                    <a:pt x="253460" y="266033"/>
                    <a:pt x="255937" y="255270"/>
                    <a:pt x="255937" y="243459"/>
                  </a:cubicBezTo>
                  <a:lnTo>
                    <a:pt x="255937" y="222218"/>
                  </a:lnTo>
                  <a:close/>
                </a:path>
              </a:pathLst>
            </a:custGeom>
            <a:solidFill>
              <a:srgbClr val="44505E"/>
            </a:solidFill>
            <a:ln w="9525" cap="flat">
              <a:noFill/>
              <a:prstDash val="solid"/>
              <a:miter/>
            </a:ln>
          </p:spPr>
          <p:txBody>
            <a:bodyPr rtlCol="0" anchor="ctr"/>
            <a:lstStyle/>
            <a:p>
              <a:endParaRPr lang="pt-BR" noProof="0"/>
            </a:p>
          </p:txBody>
        </p:sp>
        <p:sp>
          <p:nvSpPr>
            <p:cNvPr id="28" name="Freeform: Shape 27">
              <a:extLst>
                <a:ext uri="{FF2B5EF4-FFF2-40B4-BE49-F238E27FC236}">
                  <a16:creationId xmlns:a16="http://schemas.microsoft.com/office/drawing/2014/main" id="{81B7CFEA-7221-1B55-94EB-6DAE37802285}"/>
                </a:ext>
              </a:extLst>
            </p:cNvPr>
            <p:cNvSpPr/>
            <p:nvPr/>
          </p:nvSpPr>
          <p:spPr>
            <a:xfrm>
              <a:off x="6088843" y="700318"/>
              <a:ext cx="74610" cy="97213"/>
            </a:xfrm>
            <a:custGeom>
              <a:avLst/>
              <a:gdLst>
                <a:gd name="connsiteX0" fmla="*/ 158305 w 296799"/>
                <a:gd name="connsiteY0" fmla="*/ 386715 h 386714"/>
                <a:gd name="connsiteX1" fmla="*/ 76676 w 296799"/>
                <a:gd name="connsiteY1" fmla="*/ 372427 h 386714"/>
                <a:gd name="connsiteX2" fmla="*/ 0 w 296799"/>
                <a:gd name="connsiteY2" fmla="*/ 330327 h 386714"/>
                <a:gd name="connsiteX3" fmla="*/ 38195 w 296799"/>
                <a:gd name="connsiteY3" fmla="*/ 272224 h 386714"/>
                <a:gd name="connsiteX4" fmla="*/ 100013 w 296799"/>
                <a:gd name="connsiteY4" fmla="*/ 306514 h 386714"/>
                <a:gd name="connsiteX5" fmla="*/ 160401 w 296799"/>
                <a:gd name="connsiteY5" fmla="*/ 318135 h 386714"/>
                <a:gd name="connsiteX6" fmla="*/ 203168 w 296799"/>
                <a:gd name="connsiteY6" fmla="*/ 307181 h 386714"/>
                <a:gd name="connsiteX7" fmla="*/ 218408 w 296799"/>
                <a:gd name="connsiteY7" fmla="*/ 277939 h 386714"/>
                <a:gd name="connsiteX8" fmla="*/ 218408 w 296799"/>
                <a:gd name="connsiteY8" fmla="*/ 276511 h 386714"/>
                <a:gd name="connsiteX9" fmla="*/ 211646 w 296799"/>
                <a:gd name="connsiteY9" fmla="*/ 258223 h 386714"/>
                <a:gd name="connsiteX10" fmla="*/ 193262 w 296799"/>
                <a:gd name="connsiteY10" fmla="*/ 244792 h 386714"/>
                <a:gd name="connsiteX11" fmla="*/ 166402 w 296799"/>
                <a:gd name="connsiteY11" fmla="*/ 234220 h 386714"/>
                <a:gd name="connsiteX12" fmla="*/ 134969 w 296799"/>
                <a:gd name="connsiteY12" fmla="*/ 224314 h 386714"/>
                <a:gd name="connsiteX13" fmla="*/ 93631 w 296799"/>
                <a:gd name="connsiteY13" fmla="*/ 210884 h 386714"/>
                <a:gd name="connsiteX14" fmla="*/ 56197 w 296799"/>
                <a:gd name="connsiteY14" fmla="*/ 190786 h 386714"/>
                <a:gd name="connsiteX15" fmla="*/ 28956 w 296799"/>
                <a:gd name="connsiteY15" fmla="*/ 160115 h 386714"/>
                <a:gd name="connsiteX16" fmla="*/ 18383 w 296799"/>
                <a:gd name="connsiteY16" fmla="*/ 114967 h 386714"/>
                <a:gd name="connsiteX17" fmla="*/ 18383 w 296799"/>
                <a:gd name="connsiteY17" fmla="*/ 113538 h 386714"/>
                <a:gd name="connsiteX18" fmla="*/ 28575 w 296799"/>
                <a:gd name="connsiteY18" fmla="*/ 66294 h 386714"/>
                <a:gd name="connsiteX19" fmla="*/ 56864 w 296799"/>
                <a:gd name="connsiteY19" fmla="*/ 30385 h 386714"/>
                <a:gd name="connsiteX20" fmla="*/ 99250 w 296799"/>
                <a:gd name="connsiteY20" fmla="*/ 7810 h 386714"/>
                <a:gd name="connsiteX21" fmla="*/ 151162 w 296799"/>
                <a:gd name="connsiteY21" fmla="*/ 0 h 386714"/>
                <a:gd name="connsiteX22" fmla="*/ 222504 w 296799"/>
                <a:gd name="connsiteY22" fmla="*/ 11430 h 386714"/>
                <a:gd name="connsiteX23" fmla="*/ 288227 w 296799"/>
                <a:gd name="connsiteY23" fmla="*/ 42863 h 386714"/>
                <a:gd name="connsiteX24" fmla="*/ 254317 w 296799"/>
                <a:gd name="connsiteY24" fmla="*/ 103918 h 386714"/>
                <a:gd name="connsiteX25" fmla="*/ 199930 w 296799"/>
                <a:gd name="connsiteY25" fmla="*/ 78105 h 386714"/>
                <a:gd name="connsiteX26" fmla="*/ 149066 w 296799"/>
                <a:gd name="connsiteY26" fmla="*/ 68580 h 386714"/>
                <a:gd name="connsiteX27" fmla="*/ 110585 w 296799"/>
                <a:gd name="connsiteY27" fmla="*/ 79153 h 386714"/>
                <a:gd name="connsiteX28" fmla="*/ 96774 w 296799"/>
                <a:gd name="connsiteY28" fmla="*/ 105918 h 386714"/>
                <a:gd name="connsiteX29" fmla="*/ 96774 w 296799"/>
                <a:gd name="connsiteY29" fmla="*/ 107347 h 386714"/>
                <a:gd name="connsiteX30" fmla="*/ 103822 w 296799"/>
                <a:gd name="connsiteY30" fmla="*/ 124587 h 386714"/>
                <a:gd name="connsiteX31" fmla="*/ 122587 w 296799"/>
                <a:gd name="connsiteY31" fmla="*/ 138017 h 386714"/>
                <a:gd name="connsiteX32" fmla="*/ 149447 w 296799"/>
                <a:gd name="connsiteY32" fmla="*/ 149257 h 386714"/>
                <a:gd name="connsiteX33" fmla="*/ 180880 w 296799"/>
                <a:gd name="connsiteY33" fmla="*/ 159448 h 386714"/>
                <a:gd name="connsiteX34" fmla="*/ 221837 w 296799"/>
                <a:gd name="connsiteY34" fmla="*/ 174212 h 386714"/>
                <a:gd name="connsiteX35" fmla="*/ 258985 w 296799"/>
                <a:gd name="connsiteY35" fmla="*/ 194977 h 386714"/>
                <a:gd name="connsiteX36" fmla="*/ 286226 w 296799"/>
                <a:gd name="connsiteY36" fmla="*/ 224980 h 386714"/>
                <a:gd name="connsiteX37" fmla="*/ 296799 w 296799"/>
                <a:gd name="connsiteY37" fmla="*/ 267938 h 386714"/>
                <a:gd name="connsiteX38" fmla="*/ 296799 w 296799"/>
                <a:gd name="connsiteY38" fmla="*/ 269367 h 386714"/>
                <a:gd name="connsiteX39" fmla="*/ 286226 w 296799"/>
                <a:gd name="connsiteY39" fmla="*/ 320897 h 386714"/>
                <a:gd name="connsiteX40" fmla="*/ 256889 w 296799"/>
                <a:gd name="connsiteY40" fmla="*/ 357188 h 386714"/>
                <a:gd name="connsiteX41" fmla="*/ 212693 w 296799"/>
                <a:gd name="connsiteY41" fmla="*/ 379095 h 386714"/>
                <a:gd name="connsiteX42" fmla="*/ 158305 w 296799"/>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799"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065" y="318135"/>
                    <a:pt x="160401" y="318135"/>
                  </a:cubicBezTo>
                  <a:cubicBezTo>
                    <a:pt x="179737" y="318135"/>
                    <a:pt x="193072"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828" y="227647"/>
                    <a:pt x="134969" y="224314"/>
                  </a:cubicBezTo>
                  <a:cubicBezTo>
                    <a:pt x="121348" y="220599"/>
                    <a:pt x="107537" y="216122"/>
                    <a:pt x="93631" y="210884"/>
                  </a:cubicBezTo>
                  <a:cubicBezTo>
                    <a:pt x="79724" y="205740"/>
                    <a:pt x="67246" y="198977"/>
                    <a:pt x="56197" y="190786"/>
                  </a:cubicBezTo>
                  <a:cubicBezTo>
                    <a:pt x="45148" y="182594"/>
                    <a:pt x="36004"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874" y="0"/>
                    <a:pt x="151162" y="0"/>
                  </a:cubicBezTo>
                  <a:cubicBezTo>
                    <a:pt x="174688" y="0"/>
                    <a:pt x="198501" y="3810"/>
                    <a:pt x="222504" y="11430"/>
                  </a:cubicBezTo>
                  <a:cubicBezTo>
                    <a:pt x="246507" y="19050"/>
                    <a:pt x="268414" y="29527"/>
                    <a:pt x="288227" y="42863"/>
                  </a:cubicBezTo>
                  <a:lnTo>
                    <a:pt x="254317"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774" y="95155"/>
                    <a:pt x="96774" y="105918"/>
                  </a:cubicBezTo>
                  <a:lnTo>
                    <a:pt x="96774" y="107347"/>
                  </a:lnTo>
                  <a:cubicBezTo>
                    <a:pt x="96774" y="113919"/>
                    <a:pt x="99155" y="119634"/>
                    <a:pt x="103822" y="124587"/>
                  </a:cubicBezTo>
                  <a:cubicBezTo>
                    <a:pt x="108490" y="129540"/>
                    <a:pt x="114776" y="134017"/>
                    <a:pt x="122587" y="138017"/>
                  </a:cubicBezTo>
                  <a:cubicBezTo>
                    <a:pt x="130397" y="142018"/>
                    <a:pt x="139351" y="145732"/>
                    <a:pt x="149447" y="149257"/>
                  </a:cubicBezTo>
                  <a:cubicBezTo>
                    <a:pt x="159544" y="152781"/>
                    <a:pt x="170021" y="156210"/>
                    <a:pt x="180880" y="159448"/>
                  </a:cubicBezTo>
                  <a:cubicBezTo>
                    <a:pt x="194500" y="163639"/>
                    <a:pt x="208216" y="168592"/>
                    <a:pt x="221837" y="174212"/>
                  </a:cubicBezTo>
                  <a:cubicBezTo>
                    <a:pt x="235458" y="179832"/>
                    <a:pt x="247840" y="186785"/>
                    <a:pt x="258985" y="194977"/>
                  </a:cubicBezTo>
                  <a:cubicBezTo>
                    <a:pt x="270034" y="203168"/>
                    <a:pt x="279178" y="213169"/>
                    <a:pt x="286226" y="224980"/>
                  </a:cubicBezTo>
                  <a:cubicBezTo>
                    <a:pt x="293275" y="236696"/>
                    <a:pt x="296799" y="251079"/>
                    <a:pt x="296799" y="267938"/>
                  </a:cubicBezTo>
                  <a:lnTo>
                    <a:pt x="296799" y="269367"/>
                  </a:lnTo>
                  <a:cubicBezTo>
                    <a:pt x="296799" y="289084"/>
                    <a:pt x="293275" y="306229"/>
                    <a:pt x="286226" y="320897"/>
                  </a:cubicBezTo>
                  <a:cubicBezTo>
                    <a:pt x="279178" y="335470"/>
                    <a:pt x="269367" y="347567"/>
                    <a:pt x="256889" y="357188"/>
                  </a:cubicBezTo>
                  <a:cubicBezTo>
                    <a:pt x="244412" y="366808"/>
                    <a:pt x="229648" y="374142"/>
                    <a:pt x="212693" y="379095"/>
                  </a:cubicBezTo>
                  <a:cubicBezTo>
                    <a:pt x="195739" y="384048"/>
                    <a:pt x="177641" y="386524"/>
                    <a:pt x="158305" y="386524"/>
                  </a:cubicBezTo>
                  <a:close/>
                </a:path>
              </a:pathLst>
            </a:custGeom>
            <a:solidFill>
              <a:srgbClr val="44505E"/>
            </a:solidFill>
            <a:ln w="9525" cap="flat">
              <a:noFill/>
              <a:prstDash val="solid"/>
              <a:miter/>
            </a:ln>
          </p:spPr>
          <p:txBody>
            <a:bodyPr rtlCol="0" anchor="ctr"/>
            <a:lstStyle/>
            <a:p>
              <a:endParaRPr lang="pt-BR" noProof="0"/>
            </a:p>
          </p:txBody>
        </p:sp>
        <p:sp>
          <p:nvSpPr>
            <p:cNvPr id="29" name="Freeform: Shape 28">
              <a:extLst>
                <a:ext uri="{FF2B5EF4-FFF2-40B4-BE49-F238E27FC236}">
                  <a16:creationId xmlns:a16="http://schemas.microsoft.com/office/drawing/2014/main" id="{21EF55C0-DAFE-EC95-2C0B-45E468D725A4}"/>
                </a:ext>
              </a:extLst>
            </p:cNvPr>
            <p:cNvSpPr/>
            <p:nvPr/>
          </p:nvSpPr>
          <p:spPr>
            <a:xfrm>
              <a:off x="6238590"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4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7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2 w 568166"/>
                <a:gd name="connsiteY21" fmla="*/ 381000 h 381000"/>
                <a:gd name="connsiteX22" fmla="*/ 240982 w 568166"/>
                <a:gd name="connsiteY22" fmla="*/ 168783 h 381000"/>
                <a:gd name="connsiteX23" fmla="*/ 221266 w 568166"/>
                <a:gd name="connsiteY23" fmla="*/ 101822 h 381000"/>
                <a:gd name="connsiteX24" fmla="*/ 165640 w 568166"/>
                <a:gd name="connsiteY24" fmla="*/ 78581 h 381000"/>
                <a:gd name="connsiteX25" fmla="*/ 108013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69" y="48196"/>
                    <a:pt x="105918" y="40576"/>
                  </a:cubicBezTo>
                  <a:cubicBezTo>
                    <a:pt x="112966" y="32956"/>
                    <a:pt x="121063" y="26099"/>
                    <a:pt x="130207" y="19907"/>
                  </a:cubicBezTo>
                  <a:cubicBezTo>
                    <a:pt x="139351" y="13716"/>
                    <a:pt x="149638" y="8858"/>
                    <a:pt x="161163" y="5334"/>
                  </a:cubicBezTo>
                  <a:cubicBezTo>
                    <a:pt x="172688" y="1714"/>
                    <a:pt x="185452" y="0"/>
                    <a:pt x="199549" y="0"/>
                  </a:cubicBezTo>
                  <a:cubicBezTo>
                    <a:pt x="226314" y="0"/>
                    <a:pt x="248983" y="6096"/>
                    <a:pt x="267557" y="18193"/>
                  </a:cubicBezTo>
                  <a:cubicBezTo>
                    <a:pt x="286131" y="30289"/>
                    <a:pt x="300323" y="46387"/>
                    <a:pt x="310134" y="66294"/>
                  </a:cubicBezTo>
                  <a:cubicBezTo>
                    <a:pt x="325279" y="46387"/>
                    <a:pt x="343090" y="30289"/>
                    <a:pt x="363664" y="18193"/>
                  </a:cubicBezTo>
                  <a:cubicBezTo>
                    <a:pt x="384238" y="6096"/>
                    <a:pt x="408718" y="0"/>
                    <a:pt x="437007" y="0"/>
                  </a:cubicBezTo>
                  <a:cubicBezTo>
                    <a:pt x="478155"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7" y="78486"/>
                  </a:cubicBezTo>
                  <a:cubicBezTo>
                    <a:pt x="382809" y="78486"/>
                    <a:pt x="364141" y="86392"/>
                    <a:pt x="349377" y="102108"/>
                  </a:cubicBezTo>
                  <a:cubicBezTo>
                    <a:pt x="334613" y="117824"/>
                    <a:pt x="327184" y="140779"/>
                    <a:pt x="327184" y="170879"/>
                  </a:cubicBezTo>
                  <a:lnTo>
                    <a:pt x="327184" y="381000"/>
                  </a:lnTo>
                  <a:lnTo>
                    <a:pt x="240982" y="381000"/>
                  </a:lnTo>
                  <a:lnTo>
                    <a:pt x="240982" y="168783"/>
                  </a:lnTo>
                  <a:cubicBezTo>
                    <a:pt x="240982" y="139637"/>
                    <a:pt x="234410" y="117348"/>
                    <a:pt x="221266" y="101822"/>
                  </a:cubicBezTo>
                  <a:cubicBezTo>
                    <a:pt x="208121" y="86296"/>
                    <a:pt x="189547" y="78581"/>
                    <a:pt x="165640" y="78581"/>
                  </a:cubicBezTo>
                  <a:cubicBezTo>
                    <a:pt x="141732" y="78581"/>
                    <a:pt x="122491" y="86773"/>
                    <a:pt x="108013"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30" name="Freeform: Shape 29">
              <a:extLst>
                <a:ext uri="{FF2B5EF4-FFF2-40B4-BE49-F238E27FC236}">
                  <a16:creationId xmlns:a16="http://schemas.microsoft.com/office/drawing/2014/main" id="{D0E4A22B-9532-1C74-B976-46B2813F5236}"/>
                </a:ext>
              </a:extLst>
            </p:cNvPr>
            <p:cNvSpPr/>
            <p:nvPr/>
          </p:nvSpPr>
          <p:spPr>
            <a:xfrm>
              <a:off x="6400979" y="664258"/>
              <a:ext cx="85097" cy="133441"/>
            </a:xfrm>
            <a:custGeom>
              <a:avLst/>
              <a:gdLst>
                <a:gd name="connsiteX0" fmla="*/ 253651 w 338518"/>
                <a:gd name="connsiteY0" fmla="*/ 523018 h 530828"/>
                <a:gd name="connsiteX1" fmla="*/ 253651 w 338518"/>
                <a:gd name="connsiteY1" fmla="*/ 477107 h 530828"/>
                <a:gd name="connsiteX2" fmla="*/ 204883 w 338518"/>
                <a:gd name="connsiteY2" fmla="*/ 515303 h 530828"/>
                <a:gd name="connsiteX3" fmla="*/ 132779 w 338518"/>
                <a:gd name="connsiteY3" fmla="*/ 530828 h 530828"/>
                <a:gd name="connsiteX4" fmla="*/ 81915 w 338518"/>
                <a:gd name="connsiteY4" fmla="*/ 523399 h 530828"/>
                <a:gd name="connsiteX5" fmla="*/ 39910 w 338518"/>
                <a:gd name="connsiteY5" fmla="*/ 501491 h 530828"/>
                <a:gd name="connsiteX6" fmla="*/ 10954 w 338518"/>
                <a:gd name="connsiteY6" fmla="*/ 465487 h 530828"/>
                <a:gd name="connsiteX7" fmla="*/ 0 w 338518"/>
                <a:gd name="connsiteY7" fmla="*/ 415671 h 530828"/>
                <a:gd name="connsiteX8" fmla="*/ 0 w 338518"/>
                <a:gd name="connsiteY8" fmla="*/ 414242 h 530828"/>
                <a:gd name="connsiteX9" fmla="*/ 11335 w 338518"/>
                <a:gd name="connsiteY9" fmla="*/ 360140 h 530828"/>
                <a:gd name="connsiteX10" fmla="*/ 42767 w 338518"/>
                <a:gd name="connsiteY10" fmla="*/ 321945 h 530828"/>
                <a:gd name="connsiteX11" fmla="*/ 90773 w 338518"/>
                <a:gd name="connsiteY11" fmla="*/ 299371 h 530828"/>
                <a:gd name="connsiteX12" fmla="*/ 151162 w 338518"/>
                <a:gd name="connsiteY12" fmla="*/ 291941 h 530828"/>
                <a:gd name="connsiteX13" fmla="*/ 208788 w 338518"/>
                <a:gd name="connsiteY13" fmla="*/ 296228 h 530828"/>
                <a:gd name="connsiteX14" fmla="*/ 254413 w 338518"/>
                <a:gd name="connsiteY14" fmla="*/ 307562 h 530828"/>
                <a:gd name="connsiteX15" fmla="*/ 254413 w 338518"/>
                <a:gd name="connsiteY15" fmla="*/ 300514 h 530828"/>
                <a:gd name="connsiteX16" fmla="*/ 230696 w 338518"/>
                <a:gd name="connsiteY16" fmla="*/ 241173 h 530828"/>
                <a:gd name="connsiteX17" fmla="*/ 162496 w 338518"/>
                <a:gd name="connsiteY17" fmla="*/ 220694 h 530828"/>
                <a:gd name="connsiteX18" fmla="*/ 106013 w 338518"/>
                <a:gd name="connsiteY18" fmla="*/ 227076 h 530828"/>
                <a:gd name="connsiteX19" fmla="*/ 55817 w 338518"/>
                <a:gd name="connsiteY19" fmla="*/ 244031 h 530828"/>
                <a:gd name="connsiteX20" fmla="*/ 32480 w 338518"/>
                <a:gd name="connsiteY20" fmla="*/ 175451 h 530828"/>
                <a:gd name="connsiteX21" fmla="*/ 96107 w 338518"/>
                <a:gd name="connsiteY21" fmla="*/ 152876 h 530828"/>
                <a:gd name="connsiteX22" fmla="*/ 174593 w 338518"/>
                <a:gd name="connsiteY22" fmla="*/ 144399 h 530828"/>
                <a:gd name="connsiteX23" fmla="*/ 298228 w 338518"/>
                <a:gd name="connsiteY23" fmla="*/ 185738 h 530828"/>
                <a:gd name="connsiteX24" fmla="*/ 338519 w 338518"/>
                <a:gd name="connsiteY24" fmla="*/ 301943 h 530828"/>
                <a:gd name="connsiteX25" fmla="*/ 338519 w 338518"/>
                <a:gd name="connsiteY25" fmla="*/ 523113 h 530828"/>
                <a:gd name="connsiteX26" fmla="*/ 253746 w 338518"/>
                <a:gd name="connsiteY26" fmla="*/ 523113 h 530828"/>
                <a:gd name="connsiteX27" fmla="*/ 45911 w 338518"/>
                <a:gd name="connsiteY27" fmla="*/ 95441 h 530828"/>
                <a:gd name="connsiteX28" fmla="*/ 75248 w 338518"/>
                <a:gd name="connsiteY28" fmla="*/ 29718 h 530828"/>
                <a:gd name="connsiteX29" fmla="*/ 125063 w 338518"/>
                <a:gd name="connsiteY29" fmla="*/ 7144 h 530828"/>
                <a:gd name="connsiteX30" fmla="*/ 154019 w 338518"/>
                <a:gd name="connsiteY30" fmla="*/ 11716 h 530828"/>
                <a:gd name="connsiteX31" fmla="*/ 181261 w 338518"/>
                <a:gd name="connsiteY31" fmla="*/ 21622 h 530828"/>
                <a:gd name="connsiteX32" fmla="*/ 205645 w 338518"/>
                <a:gd name="connsiteY32" fmla="*/ 31147 h 530828"/>
                <a:gd name="connsiteX33" fmla="*/ 226790 w 338518"/>
                <a:gd name="connsiteY33" fmla="*/ 35338 h 530828"/>
                <a:gd name="connsiteX34" fmla="*/ 250127 w 338518"/>
                <a:gd name="connsiteY34" fmla="*/ 26861 h 530828"/>
                <a:gd name="connsiteX35" fmla="*/ 265652 w 338518"/>
                <a:gd name="connsiteY35" fmla="*/ 0 h 530828"/>
                <a:gd name="connsiteX36" fmla="*/ 312991 w 338518"/>
                <a:gd name="connsiteY36" fmla="*/ 14859 h 530828"/>
                <a:gd name="connsiteX37" fmla="*/ 283655 w 338518"/>
                <a:gd name="connsiteY37" fmla="*/ 79820 h 530828"/>
                <a:gd name="connsiteX38" fmla="*/ 233839 w 338518"/>
                <a:gd name="connsiteY38" fmla="*/ 102394 h 530828"/>
                <a:gd name="connsiteX39" fmla="*/ 204883 w 338518"/>
                <a:gd name="connsiteY39" fmla="*/ 98203 h 530828"/>
                <a:gd name="connsiteX40" fmla="*/ 177641 w 338518"/>
                <a:gd name="connsiteY40" fmla="*/ 88678 h 530828"/>
                <a:gd name="connsiteX41" fmla="*/ 152876 w 338518"/>
                <a:gd name="connsiteY41" fmla="*/ 78772 h 530828"/>
                <a:gd name="connsiteX42" fmla="*/ 132017 w 338518"/>
                <a:gd name="connsiteY42" fmla="*/ 74200 h 530828"/>
                <a:gd name="connsiteX43" fmla="*/ 108680 w 338518"/>
                <a:gd name="connsiteY43" fmla="*/ 82677 h 530828"/>
                <a:gd name="connsiteX44" fmla="*/ 93154 w 338518"/>
                <a:gd name="connsiteY44" fmla="*/ 109538 h 530828"/>
                <a:gd name="connsiteX45" fmla="*/ 45815 w 338518"/>
                <a:gd name="connsiteY45" fmla="*/ 95441 h 530828"/>
                <a:gd name="connsiteX46" fmla="*/ 255842 w 338518"/>
                <a:gd name="connsiteY46" fmla="*/ 366808 h 530828"/>
                <a:gd name="connsiteX47" fmla="*/ 217361 w 338518"/>
                <a:gd name="connsiteY47" fmla="*/ 356235 h 530828"/>
                <a:gd name="connsiteX48" fmla="*/ 170402 w 338518"/>
                <a:gd name="connsiteY48" fmla="*/ 351949 h 530828"/>
                <a:gd name="connsiteX49" fmla="*/ 107537 w 338518"/>
                <a:gd name="connsiteY49" fmla="*/ 367475 h 530828"/>
                <a:gd name="connsiteX50" fmla="*/ 84963 w 338518"/>
                <a:gd name="connsiteY50" fmla="*/ 409861 h 530828"/>
                <a:gd name="connsiteX51" fmla="*/ 84963 w 338518"/>
                <a:gd name="connsiteY51" fmla="*/ 411290 h 530828"/>
                <a:gd name="connsiteX52" fmla="*/ 105823 w 338518"/>
                <a:gd name="connsiteY52" fmla="*/ 452247 h 530828"/>
                <a:gd name="connsiteX53" fmla="*/ 157067 w 338518"/>
                <a:gd name="connsiteY53" fmla="*/ 466344 h 530828"/>
                <a:gd name="connsiteX54" fmla="*/ 196310 w 338518"/>
                <a:gd name="connsiteY54" fmla="*/ 460724 h 530828"/>
                <a:gd name="connsiteX55" fmla="*/ 227743 w 338518"/>
                <a:gd name="connsiteY55" fmla="*/ 444818 h 530828"/>
                <a:gd name="connsiteX56" fmla="*/ 248603 w 338518"/>
                <a:gd name="connsiteY56" fmla="*/ 420053 h 530828"/>
                <a:gd name="connsiteX57" fmla="*/ 256032 w 338518"/>
                <a:gd name="connsiteY57" fmla="*/ 387858 h 530828"/>
                <a:gd name="connsiteX58" fmla="*/ 256032 w 338518"/>
                <a:gd name="connsiteY58" fmla="*/ 366617 h 5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8518" h="530828">
                  <a:moveTo>
                    <a:pt x="253651" y="523018"/>
                  </a:moveTo>
                  <a:lnTo>
                    <a:pt x="253651" y="477107"/>
                  </a:lnTo>
                  <a:cubicBezTo>
                    <a:pt x="240887" y="492157"/>
                    <a:pt x="224695" y="504920"/>
                    <a:pt x="204883" y="515303"/>
                  </a:cubicBezTo>
                  <a:cubicBezTo>
                    <a:pt x="185071" y="525685"/>
                    <a:pt x="161068" y="530828"/>
                    <a:pt x="132779" y="530828"/>
                  </a:cubicBezTo>
                  <a:cubicBezTo>
                    <a:pt x="114871" y="530828"/>
                    <a:pt x="97917" y="528352"/>
                    <a:pt x="81915" y="523399"/>
                  </a:cubicBezTo>
                  <a:cubicBezTo>
                    <a:pt x="65913" y="518446"/>
                    <a:pt x="51911" y="511112"/>
                    <a:pt x="39910" y="501491"/>
                  </a:cubicBezTo>
                  <a:cubicBezTo>
                    <a:pt x="27908" y="491871"/>
                    <a:pt x="18193" y="479870"/>
                    <a:pt x="10954" y="465487"/>
                  </a:cubicBezTo>
                  <a:cubicBezTo>
                    <a:pt x="3620" y="451104"/>
                    <a:pt x="0" y="434531"/>
                    <a:pt x="0" y="415671"/>
                  </a:cubicBezTo>
                  <a:lnTo>
                    <a:pt x="0" y="414242"/>
                  </a:lnTo>
                  <a:cubicBezTo>
                    <a:pt x="0" y="393478"/>
                    <a:pt x="3810" y="375476"/>
                    <a:pt x="11335" y="360140"/>
                  </a:cubicBezTo>
                  <a:cubicBezTo>
                    <a:pt x="18860" y="344805"/>
                    <a:pt x="29337" y="332137"/>
                    <a:pt x="42767" y="321945"/>
                  </a:cubicBezTo>
                  <a:cubicBezTo>
                    <a:pt x="56198" y="311849"/>
                    <a:pt x="72200" y="304324"/>
                    <a:pt x="90773" y="299371"/>
                  </a:cubicBezTo>
                  <a:cubicBezTo>
                    <a:pt x="109347" y="294418"/>
                    <a:pt x="129540" y="291941"/>
                    <a:pt x="151162" y="291941"/>
                  </a:cubicBezTo>
                  <a:cubicBezTo>
                    <a:pt x="172784" y="291941"/>
                    <a:pt x="192977" y="293370"/>
                    <a:pt x="208788" y="296228"/>
                  </a:cubicBezTo>
                  <a:cubicBezTo>
                    <a:pt x="224600" y="299085"/>
                    <a:pt x="239744" y="302800"/>
                    <a:pt x="254413" y="307562"/>
                  </a:cubicBezTo>
                  <a:lnTo>
                    <a:pt x="254413" y="300514"/>
                  </a:lnTo>
                  <a:cubicBezTo>
                    <a:pt x="254413" y="274606"/>
                    <a:pt x="246507" y="254794"/>
                    <a:pt x="230696" y="241173"/>
                  </a:cubicBezTo>
                  <a:cubicBezTo>
                    <a:pt x="214884" y="227552"/>
                    <a:pt x="192215" y="220694"/>
                    <a:pt x="162496" y="220694"/>
                  </a:cubicBezTo>
                  <a:cubicBezTo>
                    <a:pt x="141351" y="220694"/>
                    <a:pt x="122492" y="222790"/>
                    <a:pt x="106013" y="227076"/>
                  </a:cubicBezTo>
                  <a:cubicBezTo>
                    <a:pt x="89535" y="231362"/>
                    <a:pt x="72771" y="236982"/>
                    <a:pt x="55817" y="244031"/>
                  </a:cubicBezTo>
                  <a:lnTo>
                    <a:pt x="32480" y="175451"/>
                  </a:lnTo>
                  <a:cubicBezTo>
                    <a:pt x="53150" y="166021"/>
                    <a:pt x="74390" y="158496"/>
                    <a:pt x="96107" y="152876"/>
                  </a:cubicBezTo>
                  <a:cubicBezTo>
                    <a:pt x="117729" y="147257"/>
                    <a:pt x="143923" y="144399"/>
                    <a:pt x="174593" y="144399"/>
                  </a:cubicBezTo>
                  <a:cubicBezTo>
                    <a:pt x="230124" y="144399"/>
                    <a:pt x="271367" y="158210"/>
                    <a:pt x="298228" y="185738"/>
                  </a:cubicBezTo>
                  <a:cubicBezTo>
                    <a:pt x="325088" y="213265"/>
                    <a:pt x="338519" y="252032"/>
                    <a:pt x="338519" y="301943"/>
                  </a:cubicBezTo>
                  <a:lnTo>
                    <a:pt x="338519" y="523113"/>
                  </a:lnTo>
                  <a:lnTo>
                    <a:pt x="253746" y="523113"/>
                  </a:lnTo>
                  <a:close/>
                  <a:moveTo>
                    <a:pt x="45911" y="95441"/>
                  </a:moveTo>
                  <a:cubicBezTo>
                    <a:pt x="53912" y="66675"/>
                    <a:pt x="63722" y="44768"/>
                    <a:pt x="75248" y="29718"/>
                  </a:cubicBezTo>
                  <a:cubicBezTo>
                    <a:pt x="86773" y="14669"/>
                    <a:pt x="103442" y="7144"/>
                    <a:pt x="125063" y="7144"/>
                  </a:cubicBezTo>
                  <a:cubicBezTo>
                    <a:pt x="134969" y="7144"/>
                    <a:pt x="144590" y="8668"/>
                    <a:pt x="154019" y="11716"/>
                  </a:cubicBezTo>
                  <a:cubicBezTo>
                    <a:pt x="163449" y="14764"/>
                    <a:pt x="172498" y="18098"/>
                    <a:pt x="181261" y="21622"/>
                  </a:cubicBezTo>
                  <a:cubicBezTo>
                    <a:pt x="189929" y="25146"/>
                    <a:pt x="198120" y="28385"/>
                    <a:pt x="205645" y="31147"/>
                  </a:cubicBezTo>
                  <a:cubicBezTo>
                    <a:pt x="213170" y="34004"/>
                    <a:pt x="220218" y="35338"/>
                    <a:pt x="226790" y="35338"/>
                  </a:cubicBezTo>
                  <a:cubicBezTo>
                    <a:pt x="237173" y="35338"/>
                    <a:pt x="244888" y="32480"/>
                    <a:pt x="250127" y="26861"/>
                  </a:cubicBezTo>
                  <a:cubicBezTo>
                    <a:pt x="255270" y="21241"/>
                    <a:pt x="260509" y="12287"/>
                    <a:pt x="265652" y="0"/>
                  </a:cubicBezTo>
                  <a:lnTo>
                    <a:pt x="312991" y="14859"/>
                  </a:lnTo>
                  <a:cubicBezTo>
                    <a:pt x="304991" y="43148"/>
                    <a:pt x="295180" y="64770"/>
                    <a:pt x="283655" y="79820"/>
                  </a:cubicBezTo>
                  <a:cubicBezTo>
                    <a:pt x="272129" y="94869"/>
                    <a:pt x="255461" y="102394"/>
                    <a:pt x="233839" y="102394"/>
                  </a:cubicBezTo>
                  <a:cubicBezTo>
                    <a:pt x="223933" y="102394"/>
                    <a:pt x="214313" y="100965"/>
                    <a:pt x="204883" y="98203"/>
                  </a:cubicBezTo>
                  <a:cubicBezTo>
                    <a:pt x="195453" y="95345"/>
                    <a:pt x="186404" y="92202"/>
                    <a:pt x="177641" y="88678"/>
                  </a:cubicBezTo>
                  <a:cubicBezTo>
                    <a:pt x="168878" y="85154"/>
                    <a:pt x="160687" y="81820"/>
                    <a:pt x="152876" y="78772"/>
                  </a:cubicBezTo>
                  <a:cubicBezTo>
                    <a:pt x="145066" y="75724"/>
                    <a:pt x="138113" y="74200"/>
                    <a:pt x="132017" y="74200"/>
                  </a:cubicBezTo>
                  <a:cubicBezTo>
                    <a:pt x="121634" y="74200"/>
                    <a:pt x="113919" y="77057"/>
                    <a:pt x="108680" y="82677"/>
                  </a:cubicBezTo>
                  <a:cubicBezTo>
                    <a:pt x="103537" y="88297"/>
                    <a:pt x="98298" y="97250"/>
                    <a:pt x="93154" y="109538"/>
                  </a:cubicBezTo>
                  <a:lnTo>
                    <a:pt x="45815" y="95441"/>
                  </a:lnTo>
                  <a:close/>
                  <a:moveTo>
                    <a:pt x="255842" y="366808"/>
                  </a:moveTo>
                  <a:cubicBezTo>
                    <a:pt x="244983" y="362522"/>
                    <a:pt x="232124" y="358997"/>
                    <a:pt x="217361" y="356235"/>
                  </a:cubicBezTo>
                  <a:cubicBezTo>
                    <a:pt x="202502" y="353378"/>
                    <a:pt x="186880" y="351949"/>
                    <a:pt x="170402" y="351949"/>
                  </a:cubicBezTo>
                  <a:cubicBezTo>
                    <a:pt x="143542" y="351949"/>
                    <a:pt x="122587" y="357092"/>
                    <a:pt x="107537" y="367475"/>
                  </a:cubicBezTo>
                  <a:cubicBezTo>
                    <a:pt x="92488" y="377857"/>
                    <a:pt x="84963" y="391954"/>
                    <a:pt x="84963" y="409861"/>
                  </a:cubicBezTo>
                  <a:lnTo>
                    <a:pt x="84963" y="411290"/>
                  </a:lnTo>
                  <a:cubicBezTo>
                    <a:pt x="84963" y="429197"/>
                    <a:pt x="91916" y="442817"/>
                    <a:pt x="105823" y="452247"/>
                  </a:cubicBezTo>
                  <a:cubicBezTo>
                    <a:pt x="119729" y="461677"/>
                    <a:pt x="136779" y="466344"/>
                    <a:pt x="157067" y="466344"/>
                  </a:cubicBezTo>
                  <a:cubicBezTo>
                    <a:pt x="171164" y="466344"/>
                    <a:pt x="184309" y="464439"/>
                    <a:pt x="196310" y="460724"/>
                  </a:cubicBezTo>
                  <a:cubicBezTo>
                    <a:pt x="208312" y="456914"/>
                    <a:pt x="218789" y="451676"/>
                    <a:pt x="227743" y="444818"/>
                  </a:cubicBezTo>
                  <a:cubicBezTo>
                    <a:pt x="236696" y="437960"/>
                    <a:pt x="243650" y="429768"/>
                    <a:pt x="248603" y="420053"/>
                  </a:cubicBezTo>
                  <a:cubicBezTo>
                    <a:pt x="253555" y="410432"/>
                    <a:pt x="256032" y="399669"/>
                    <a:pt x="256032" y="387858"/>
                  </a:cubicBezTo>
                  <a:lnTo>
                    <a:pt x="256032" y="366617"/>
                  </a:lnTo>
                  <a:close/>
                </a:path>
              </a:pathLst>
            </a:custGeom>
            <a:solidFill>
              <a:srgbClr val="44505E"/>
            </a:solidFill>
            <a:ln w="9525" cap="flat">
              <a:noFill/>
              <a:prstDash val="solid"/>
              <a:miter/>
            </a:ln>
          </p:spPr>
          <p:txBody>
            <a:bodyPr rtlCol="0" anchor="ctr"/>
            <a:lstStyle/>
            <a:p>
              <a:endParaRPr lang="pt-BR" noProof="0"/>
            </a:p>
          </p:txBody>
        </p:sp>
        <p:sp>
          <p:nvSpPr>
            <p:cNvPr id="31" name="Freeform: Shape 30">
              <a:extLst>
                <a:ext uri="{FF2B5EF4-FFF2-40B4-BE49-F238E27FC236}">
                  <a16:creationId xmlns:a16="http://schemas.microsoft.com/office/drawing/2014/main" id="{E50C0B5F-0B4B-2792-201F-B12052441550}"/>
                </a:ext>
              </a:extLst>
            </p:cNvPr>
            <p:cNvSpPr/>
            <p:nvPr/>
          </p:nvSpPr>
          <p:spPr>
            <a:xfrm>
              <a:off x="6506477" y="699959"/>
              <a:ext cx="100038" cy="97908"/>
            </a:xfrm>
            <a:custGeom>
              <a:avLst/>
              <a:gdLst>
                <a:gd name="connsiteX0" fmla="*/ 197834 w 397954"/>
                <a:gd name="connsiteY0" fmla="*/ 389477 h 389477"/>
                <a:gd name="connsiteX1" fmla="*/ 119063 w 397954"/>
                <a:gd name="connsiteY1" fmla="*/ 374237 h 389477"/>
                <a:gd name="connsiteX2" fmla="*/ 56198 w 397954"/>
                <a:gd name="connsiteY2" fmla="*/ 332899 h 389477"/>
                <a:gd name="connsiteX3" fmla="*/ 14859 w 397954"/>
                <a:gd name="connsiteY3" fmla="*/ 271463 h 389477"/>
                <a:gd name="connsiteX4" fmla="*/ 0 w 397954"/>
                <a:gd name="connsiteY4" fmla="*/ 196501 h 389477"/>
                <a:gd name="connsiteX5" fmla="*/ 0 w 397954"/>
                <a:gd name="connsiteY5" fmla="*/ 195072 h 389477"/>
                <a:gd name="connsiteX6" fmla="*/ 15240 w 397954"/>
                <a:gd name="connsiteY6" fmla="*/ 119444 h 389477"/>
                <a:gd name="connsiteX7" fmla="*/ 56960 w 397954"/>
                <a:gd name="connsiteY7" fmla="*/ 57626 h 389477"/>
                <a:gd name="connsiteX8" fmla="*/ 119825 w 397954"/>
                <a:gd name="connsiteY8" fmla="*/ 15526 h 389477"/>
                <a:gd name="connsiteX9" fmla="*/ 199358 w 397954"/>
                <a:gd name="connsiteY9" fmla="*/ 0 h 389477"/>
                <a:gd name="connsiteX10" fmla="*/ 278892 w 397954"/>
                <a:gd name="connsiteY10" fmla="*/ 15240 h 389477"/>
                <a:gd name="connsiteX11" fmla="*/ 341757 w 397954"/>
                <a:gd name="connsiteY11" fmla="*/ 56959 h 389477"/>
                <a:gd name="connsiteX12" fmla="*/ 383096 w 397954"/>
                <a:gd name="connsiteY12" fmla="*/ 118396 h 389477"/>
                <a:gd name="connsiteX13" fmla="*/ 397955 w 397954"/>
                <a:gd name="connsiteY13" fmla="*/ 193643 h 389477"/>
                <a:gd name="connsiteX14" fmla="*/ 397955 w 397954"/>
                <a:gd name="connsiteY14" fmla="*/ 195072 h 389477"/>
                <a:gd name="connsiteX15" fmla="*/ 382714 w 397954"/>
                <a:gd name="connsiteY15" fmla="*/ 270034 h 389477"/>
                <a:gd name="connsiteX16" fmla="*/ 340995 w 397954"/>
                <a:gd name="connsiteY16" fmla="*/ 331851 h 389477"/>
                <a:gd name="connsiteX17" fmla="*/ 277749 w 397954"/>
                <a:gd name="connsiteY17" fmla="*/ 373856 h 389477"/>
                <a:gd name="connsiteX18" fmla="*/ 197834 w 397954"/>
                <a:gd name="connsiteY18" fmla="*/ 389382 h 389477"/>
                <a:gd name="connsiteX19" fmla="*/ 199263 w 397954"/>
                <a:gd name="connsiteY19" fmla="*/ 315278 h 389477"/>
                <a:gd name="connsiteX20" fmla="*/ 245936 w 397954"/>
                <a:gd name="connsiteY20" fmla="*/ 305753 h 389477"/>
                <a:gd name="connsiteX21" fmla="*/ 281369 w 397954"/>
                <a:gd name="connsiteY21" fmla="*/ 279940 h 389477"/>
                <a:gd name="connsiteX22" fmla="*/ 303848 w 397954"/>
                <a:gd name="connsiteY22" fmla="*/ 242125 h 389477"/>
                <a:gd name="connsiteX23" fmla="*/ 311563 w 397954"/>
                <a:gd name="connsiteY23" fmla="*/ 196501 h 389477"/>
                <a:gd name="connsiteX24" fmla="*/ 311563 w 397954"/>
                <a:gd name="connsiteY24" fmla="*/ 195072 h 389477"/>
                <a:gd name="connsiteX25" fmla="*/ 303181 w 397954"/>
                <a:gd name="connsiteY25" fmla="*/ 148400 h 389477"/>
                <a:gd name="connsiteX26" fmla="*/ 279654 w 397954"/>
                <a:gd name="connsiteY26" fmla="*/ 110204 h 389477"/>
                <a:gd name="connsiteX27" fmla="*/ 243840 w 397954"/>
                <a:gd name="connsiteY27" fmla="*/ 84392 h 389477"/>
                <a:gd name="connsiteX28" fmla="*/ 197834 w 397954"/>
                <a:gd name="connsiteY28" fmla="*/ 74867 h 389477"/>
                <a:gd name="connsiteX29" fmla="*/ 151829 w 397954"/>
                <a:gd name="connsiteY29" fmla="*/ 84392 h 389477"/>
                <a:gd name="connsiteX30" fmla="*/ 116396 w 397954"/>
                <a:gd name="connsiteY30" fmla="*/ 109823 h 389477"/>
                <a:gd name="connsiteX31" fmla="*/ 93916 w 397954"/>
                <a:gd name="connsiteY31" fmla="*/ 147638 h 389477"/>
                <a:gd name="connsiteX32" fmla="*/ 86201 w 397954"/>
                <a:gd name="connsiteY32" fmla="*/ 193548 h 389477"/>
                <a:gd name="connsiteX33" fmla="*/ 86201 w 397954"/>
                <a:gd name="connsiteY33" fmla="*/ 194977 h 389477"/>
                <a:gd name="connsiteX34" fmla="*/ 94583 w 397954"/>
                <a:gd name="connsiteY34" fmla="*/ 241268 h 389477"/>
                <a:gd name="connsiteX35" fmla="*/ 118110 w 397954"/>
                <a:gd name="connsiteY35" fmla="*/ 279463 h 389477"/>
                <a:gd name="connsiteX36" fmla="*/ 153924 w 397954"/>
                <a:gd name="connsiteY36" fmla="*/ 305562 h 389477"/>
                <a:gd name="connsiteX37" fmla="*/ 199263 w 397954"/>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954" h="389477">
                  <a:moveTo>
                    <a:pt x="197834" y="389477"/>
                  </a:moveTo>
                  <a:cubicBezTo>
                    <a:pt x="169545" y="389477"/>
                    <a:pt x="143351" y="384429"/>
                    <a:pt x="119063" y="374237"/>
                  </a:cubicBezTo>
                  <a:cubicBezTo>
                    <a:pt x="94774" y="364141"/>
                    <a:pt x="73819" y="350330"/>
                    <a:pt x="56198" y="332899"/>
                  </a:cubicBezTo>
                  <a:cubicBezTo>
                    <a:pt x="38576" y="315468"/>
                    <a:pt x="24765" y="294989"/>
                    <a:pt x="14859" y="271463"/>
                  </a:cubicBezTo>
                  <a:cubicBezTo>
                    <a:pt x="4953" y="247936"/>
                    <a:pt x="0" y="222980"/>
                    <a:pt x="0" y="196501"/>
                  </a:cubicBezTo>
                  <a:lnTo>
                    <a:pt x="0" y="195072"/>
                  </a:lnTo>
                  <a:cubicBezTo>
                    <a:pt x="0" y="168212"/>
                    <a:pt x="5049" y="143066"/>
                    <a:pt x="15240" y="119444"/>
                  </a:cubicBezTo>
                  <a:cubicBezTo>
                    <a:pt x="25337" y="95917"/>
                    <a:pt x="39243" y="75248"/>
                    <a:pt x="56960" y="57626"/>
                  </a:cubicBezTo>
                  <a:cubicBezTo>
                    <a:pt x="74676" y="39910"/>
                    <a:pt x="95631" y="25908"/>
                    <a:pt x="119825" y="15526"/>
                  </a:cubicBezTo>
                  <a:cubicBezTo>
                    <a:pt x="144113" y="5144"/>
                    <a:pt x="170593" y="0"/>
                    <a:pt x="199358" y="0"/>
                  </a:cubicBezTo>
                  <a:cubicBezTo>
                    <a:pt x="228124" y="0"/>
                    <a:pt x="254604" y="5048"/>
                    <a:pt x="278892" y="15240"/>
                  </a:cubicBezTo>
                  <a:cubicBezTo>
                    <a:pt x="303181" y="25337"/>
                    <a:pt x="324136" y="39243"/>
                    <a:pt x="341757" y="56959"/>
                  </a:cubicBezTo>
                  <a:cubicBezTo>
                    <a:pt x="359379" y="74676"/>
                    <a:pt x="373189" y="95155"/>
                    <a:pt x="383096" y="118396"/>
                  </a:cubicBezTo>
                  <a:cubicBezTo>
                    <a:pt x="393002" y="141732"/>
                    <a:pt x="397955" y="166783"/>
                    <a:pt x="397955" y="193643"/>
                  </a:cubicBezTo>
                  <a:lnTo>
                    <a:pt x="397955" y="195072"/>
                  </a:lnTo>
                  <a:cubicBezTo>
                    <a:pt x="397955" y="221456"/>
                    <a:pt x="392906" y="246412"/>
                    <a:pt x="382714" y="270034"/>
                  </a:cubicBezTo>
                  <a:cubicBezTo>
                    <a:pt x="372618" y="293561"/>
                    <a:pt x="358712" y="314230"/>
                    <a:pt x="340995" y="331851"/>
                  </a:cubicBezTo>
                  <a:cubicBezTo>
                    <a:pt x="323279" y="349472"/>
                    <a:pt x="302229" y="363569"/>
                    <a:pt x="277749" y="373856"/>
                  </a:cubicBezTo>
                  <a:cubicBezTo>
                    <a:pt x="253270" y="384238"/>
                    <a:pt x="226600" y="389382"/>
                    <a:pt x="197834" y="389382"/>
                  </a:cubicBezTo>
                  <a:close/>
                  <a:moveTo>
                    <a:pt x="199263" y="315278"/>
                  </a:moveTo>
                  <a:cubicBezTo>
                    <a:pt x="216598" y="315278"/>
                    <a:pt x="232124" y="312039"/>
                    <a:pt x="245936" y="305753"/>
                  </a:cubicBezTo>
                  <a:cubicBezTo>
                    <a:pt x="259747" y="299371"/>
                    <a:pt x="271558" y="290798"/>
                    <a:pt x="281369" y="279940"/>
                  </a:cubicBezTo>
                  <a:cubicBezTo>
                    <a:pt x="291179" y="269081"/>
                    <a:pt x="298704" y="256508"/>
                    <a:pt x="303848" y="242125"/>
                  </a:cubicBezTo>
                  <a:cubicBezTo>
                    <a:pt x="308991" y="227743"/>
                    <a:pt x="311563" y="212598"/>
                    <a:pt x="311563" y="196501"/>
                  </a:cubicBezTo>
                  <a:lnTo>
                    <a:pt x="311563" y="195072"/>
                  </a:lnTo>
                  <a:cubicBezTo>
                    <a:pt x="311563" y="178594"/>
                    <a:pt x="308706" y="163068"/>
                    <a:pt x="303181" y="148400"/>
                  </a:cubicBezTo>
                  <a:cubicBezTo>
                    <a:pt x="297561" y="133826"/>
                    <a:pt x="289750" y="121063"/>
                    <a:pt x="279654" y="110204"/>
                  </a:cubicBezTo>
                  <a:cubicBezTo>
                    <a:pt x="269557" y="99346"/>
                    <a:pt x="257651" y="90773"/>
                    <a:pt x="243840" y="84392"/>
                  </a:cubicBezTo>
                  <a:cubicBezTo>
                    <a:pt x="230029" y="78010"/>
                    <a:pt x="214694" y="74867"/>
                    <a:pt x="197834" y="74867"/>
                  </a:cubicBezTo>
                  <a:cubicBezTo>
                    <a:pt x="180975" y="74867"/>
                    <a:pt x="165640" y="78010"/>
                    <a:pt x="151829" y="84392"/>
                  </a:cubicBezTo>
                  <a:cubicBezTo>
                    <a:pt x="138017" y="90773"/>
                    <a:pt x="126206" y="99250"/>
                    <a:pt x="116396" y="109823"/>
                  </a:cubicBezTo>
                  <a:cubicBezTo>
                    <a:pt x="106585" y="120396"/>
                    <a:pt x="99060" y="133064"/>
                    <a:pt x="93916" y="147638"/>
                  </a:cubicBezTo>
                  <a:cubicBezTo>
                    <a:pt x="88773" y="162211"/>
                    <a:pt x="86201" y="177546"/>
                    <a:pt x="86201" y="193548"/>
                  </a:cubicBezTo>
                  <a:lnTo>
                    <a:pt x="86201" y="194977"/>
                  </a:lnTo>
                  <a:cubicBezTo>
                    <a:pt x="86201" y="211455"/>
                    <a:pt x="89059" y="226886"/>
                    <a:pt x="94583" y="241268"/>
                  </a:cubicBezTo>
                  <a:cubicBezTo>
                    <a:pt x="100203" y="255651"/>
                    <a:pt x="108014" y="268319"/>
                    <a:pt x="118110" y="279463"/>
                  </a:cubicBezTo>
                  <a:cubicBezTo>
                    <a:pt x="128207" y="290608"/>
                    <a:pt x="140113" y="299275"/>
                    <a:pt x="153924" y="305562"/>
                  </a:cubicBezTo>
                  <a:cubicBezTo>
                    <a:pt x="167735" y="311944"/>
                    <a:pt x="182785"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32" name="Freeform: Shape 31">
              <a:extLst>
                <a:ext uri="{FF2B5EF4-FFF2-40B4-BE49-F238E27FC236}">
                  <a16:creationId xmlns:a16="http://schemas.microsoft.com/office/drawing/2014/main" id="{CB4DB540-D8E2-1FBE-0FDB-C26254ECC39F}"/>
                </a:ext>
              </a:extLst>
            </p:cNvPr>
            <p:cNvSpPr/>
            <p:nvPr/>
          </p:nvSpPr>
          <p:spPr>
            <a:xfrm>
              <a:off x="662071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1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7 w 296894"/>
                <a:gd name="connsiteY23" fmla="*/ 42863 h 386714"/>
                <a:gd name="connsiteX24" fmla="*/ 254318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7 w 296894"/>
                <a:gd name="connsiteY30" fmla="*/ 124587 h 386714"/>
                <a:gd name="connsiteX31" fmla="*/ 122682 w 296894"/>
                <a:gd name="connsiteY31" fmla="*/ 138017 h 386714"/>
                <a:gd name="connsiteX32" fmla="*/ 149543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6" y="348901"/>
                    <a:pt x="0" y="330327"/>
                  </a:cubicBezTo>
                  <a:lnTo>
                    <a:pt x="38195" y="272224"/>
                  </a:lnTo>
                  <a:cubicBezTo>
                    <a:pt x="58484" y="287274"/>
                    <a:pt x="79057" y="298704"/>
                    <a:pt x="100013" y="306514"/>
                  </a:cubicBezTo>
                  <a:cubicBezTo>
                    <a:pt x="120968" y="314325"/>
                    <a:pt x="141161" y="318135"/>
                    <a:pt x="160401" y="318135"/>
                  </a:cubicBezTo>
                  <a:cubicBezTo>
                    <a:pt x="179641" y="318135"/>
                    <a:pt x="192977"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1" y="241078"/>
                    <a:pt x="176498" y="237553"/>
                    <a:pt x="166401"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2" y="40195"/>
                    <a:pt x="56864" y="30385"/>
                  </a:cubicBezTo>
                  <a:cubicBezTo>
                    <a:pt x="68866" y="20479"/>
                    <a:pt x="82962" y="12954"/>
                    <a:pt x="99250" y="7810"/>
                  </a:cubicBezTo>
                  <a:cubicBezTo>
                    <a:pt x="115538" y="2667"/>
                    <a:pt x="132779" y="0"/>
                    <a:pt x="151162" y="0"/>
                  </a:cubicBezTo>
                  <a:cubicBezTo>
                    <a:pt x="174688" y="0"/>
                    <a:pt x="198501" y="3810"/>
                    <a:pt x="222504" y="11430"/>
                  </a:cubicBezTo>
                  <a:cubicBezTo>
                    <a:pt x="246507" y="19050"/>
                    <a:pt x="268414" y="29527"/>
                    <a:pt x="288227" y="42863"/>
                  </a:cubicBezTo>
                  <a:lnTo>
                    <a:pt x="254318"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7" y="124587"/>
                  </a:cubicBezTo>
                  <a:cubicBezTo>
                    <a:pt x="108585" y="129540"/>
                    <a:pt x="114871" y="134017"/>
                    <a:pt x="122682" y="138017"/>
                  </a:cubicBezTo>
                  <a:cubicBezTo>
                    <a:pt x="130493" y="142018"/>
                    <a:pt x="139351" y="145732"/>
                    <a:pt x="149543"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696"/>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33" name="Freeform: Shape 32">
              <a:extLst>
                <a:ext uri="{FF2B5EF4-FFF2-40B4-BE49-F238E27FC236}">
                  <a16:creationId xmlns:a16="http://schemas.microsoft.com/office/drawing/2014/main" id="{0D265E1A-036E-715B-A7D5-FB641ED6472F}"/>
                </a:ext>
              </a:extLst>
            </p:cNvPr>
            <p:cNvSpPr/>
            <p:nvPr/>
          </p:nvSpPr>
          <p:spPr>
            <a:xfrm>
              <a:off x="526693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4 w 202977"/>
                <a:gd name="connsiteY17" fmla="*/ 19907 h 239267"/>
                <a:gd name="connsiteX18" fmla="*/ 59246 w 202977"/>
                <a:gd name="connsiteY18" fmla="*/ 5429 h 239267"/>
                <a:gd name="connsiteX19" fmla="*/ 104299 w 202977"/>
                <a:gd name="connsiteY19" fmla="*/ 0 h 239267"/>
                <a:gd name="connsiteX20" fmla="*/ 178880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5 w 202977"/>
                <a:gd name="connsiteY27" fmla="*/ 211169 h 239267"/>
                <a:gd name="connsiteX28" fmla="*/ 122968 w 202977"/>
                <a:gd name="connsiteY28" fmla="*/ 206788 h 239267"/>
                <a:gd name="connsiteX29" fmla="*/ 147257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9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9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3" y="99155"/>
                    <a:pt x="58674" y="95917"/>
                  </a:cubicBezTo>
                  <a:cubicBezTo>
                    <a:pt x="70771" y="92678"/>
                    <a:pt x="84011" y="90964"/>
                    <a:pt x="98584" y="90964"/>
                  </a:cubicBezTo>
                  <a:cubicBezTo>
                    <a:pt x="113157" y="90964"/>
                    <a:pt x="126301" y="91821"/>
                    <a:pt x="137160" y="93631"/>
                  </a:cubicBezTo>
                  <a:cubicBezTo>
                    <a:pt x="148019" y="95440"/>
                    <a:pt x="158687" y="97822"/>
                    <a:pt x="169069" y="100774"/>
                  </a:cubicBezTo>
                  <a:lnTo>
                    <a:pt x="169069" y="93726"/>
                  </a:lnTo>
                  <a:cubicBezTo>
                    <a:pt x="169069" y="73342"/>
                    <a:pt x="163068" y="57912"/>
                    <a:pt x="151162" y="47339"/>
                  </a:cubicBezTo>
                  <a:cubicBezTo>
                    <a:pt x="139256" y="36862"/>
                    <a:pt x="122492" y="31623"/>
                    <a:pt x="100679" y="31623"/>
                  </a:cubicBezTo>
                  <a:cubicBezTo>
                    <a:pt x="86963" y="31623"/>
                    <a:pt x="74581" y="33147"/>
                    <a:pt x="63437" y="36100"/>
                  </a:cubicBezTo>
                  <a:cubicBezTo>
                    <a:pt x="52292" y="39053"/>
                    <a:pt x="41339" y="43053"/>
                    <a:pt x="30671" y="48196"/>
                  </a:cubicBezTo>
                  <a:lnTo>
                    <a:pt x="20384" y="19907"/>
                  </a:lnTo>
                  <a:cubicBezTo>
                    <a:pt x="33147" y="13906"/>
                    <a:pt x="46101" y="9049"/>
                    <a:pt x="59246" y="5429"/>
                  </a:cubicBezTo>
                  <a:cubicBezTo>
                    <a:pt x="72295" y="1810"/>
                    <a:pt x="87344" y="0"/>
                    <a:pt x="104299" y="0"/>
                  </a:cubicBezTo>
                  <a:cubicBezTo>
                    <a:pt x="137065" y="0"/>
                    <a:pt x="161925" y="8477"/>
                    <a:pt x="178880"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99" y="239173"/>
                    <a:pt x="86011" y="239173"/>
                  </a:cubicBezTo>
                  <a:close/>
                  <a:moveTo>
                    <a:pt x="93155" y="211169"/>
                  </a:moveTo>
                  <a:cubicBezTo>
                    <a:pt x="103823" y="211169"/>
                    <a:pt x="113728" y="209740"/>
                    <a:pt x="122968" y="206788"/>
                  </a:cubicBezTo>
                  <a:cubicBezTo>
                    <a:pt x="132207" y="203835"/>
                    <a:pt x="140208" y="199644"/>
                    <a:pt x="147257"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9" y="121444"/>
                  </a:cubicBezTo>
                  <a:cubicBezTo>
                    <a:pt x="129445" y="119348"/>
                    <a:pt x="116776"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244" y="190500"/>
                    <a:pt x="47435" y="195358"/>
                    <a:pt x="52769" y="199263"/>
                  </a:cubicBezTo>
                  <a:cubicBezTo>
                    <a:pt x="58103" y="203073"/>
                    <a:pt x="64294" y="206026"/>
                    <a:pt x="71247" y="208121"/>
                  </a:cubicBezTo>
                  <a:cubicBezTo>
                    <a:pt x="78200" y="210217"/>
                    <a:pt x="85535"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34" name="Freeform: Shape 33">
              <a:extLst>
                <a:ext uri="{FF2B5EF4-FFF2-40B4-BE49-F238E27FC236}">
                  <a16:creationId xmlns:a16="http://schemas.microsoft.com/office/drawing/2014/main" id="{B3ECBDD9-B14A-6C9D-84E4-5027C75A4505}"/>
                </a:ext>
              </a:extLst>
            </p:cNvPr>
            <p:cNvSpPr/>
            <p:nvPr/>
          </p:nvSpPr>
          <p:spPr>
            <a:xfrm>
              <a:off x="5331227"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9" y="303276"/>
                    <a:pt x="71438" y="300895"/>
                  </a:cubicBezTo>
                  <a:cubicBezTo>
                    <a:pt x="63437"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2"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5" name="Freeform: Shape 34">
              <a:extLst>
                <a:ext uri="{FF2B5EF4-FFF2-40B4-BE49-F238E27FC236}">
                  <a16:creationId xmlns:a16="http://schemas.microsoft.com/office/drawing/2014/main" id="{546A67B9-938A-D4FE-B864-829B2CCBD8DB}"/>
                </a:ext>
              </a:extLst>
            </p:cNvPr>
            <p:cNvSpPr/>
            <p:nvPr/>
          </p:nvSpPr>
          <p:spPr>
            <a:xfrm>
              <a:off x="5381845"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191 w 39242"/>
                <a:gd name="connsiteY5" fmla="*/ 88392 h 319182"/>
                <a:gd name="connsiteX6" fmla="*/ 36576 w 39242"/>
                <a:gd name="connsiteY6" fmla="*/ 88392 h 319182"/>
                <a:gd name="connsiteX7" fmla="*/ 36576 w 39242"/>
                <a:gd name="connsiteY7" fmla="*/ 319183 h 319182"/>
                <a:gd name="connsiteX8" fmla="*/ 2191 w 39242"/>
                <a:gd name="connsiteY8" fmla="*/ 319183 h 319182"/>
                <a:gd name="connsiteX9" fmla="*/ 2191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191" y="88392"/>
                  </a:moveTo>
                  <a:lnTo>
                    <a:pt x="36576" y="88392"/>
                  </a:lnTo>
                  <a:lnTo>
                    <a:pt x="36576" y="319183"/>
                  </a:lnTo>
                  <a:lnTo>
                    <a:pt x="2191" y="319183"/>
                  </a:lnTo>
                  <a:lnTo>
                    <a:pt x="2191" y="88392"/>
                  </a:lnTo>
                  <a:close/>
                </a:path>
              </a:pathLst>
            </a:custGeom>
            <a:solidFill>
              <a:srgbClr val="44505E"/>
            </a:solidFill>
            <a:ln w="9525" cap="flat">
              <a:noFill/>
              <a:prstDash val="solid"/>
              <a:miter/>
            </a:ln>
          </p:spPr>
          <p:txBody>
            <a:bodyPr rtlCol="0" anchor="ctr"/>
            <a:lstStyle/>
            <a:p>
              <a:endParaRPr lang="pt-BR" noProof="0"/>
            </a:p>
          </p:txBody>
        </p:sp>
        <p:sp>
          <p:nvSpPr>
            <p:cNvPr id="36" name="Freeform: Shape 35">
              <a:extLst>
                <a:ext uri="{FF2B5EF4-FFF2-40B4-BE49-F238E27FC236}">
                  <a16:creationId xmlns:a16="http://schemas.microsoft.com/office/drawing/2014/main" id="{BB28F4FA-9B55-517F-1839-6BA503AE21DE}"/>
                </a:ext>
              </a:extLst>
            </p:cNvPr>
            <p:cNvSpPr/>
            <p:nvPr/>
          </p:nvSpPr>
          <p:spPr>
            <a:xfrm>
              <a:off x="5406076"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8" y="303276"/>
                    <a:pt x="71438" y="300895"/>
                  </a:cubicBezTo>
                  <a:cubicBezTo>
                    <a:pt x="63436"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1"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7" name="Freeform: Shape 36">
              <a:extLst>
                <a:ext uri="{FF2B5EF4-FFF2-40B4-BE49-F238E27FC236}">
                  <a16:creationId xmlns:a16="http://schemas.microsoft.com/office/drawing/2014/main" id="{223B2257-75CB-BEA9-E489-950201F34473}"/>
                </a:ext>
              </a:extLst>
            </p:cNvPr>
            <p:cNvSpPr/>
            <p:nvPr/>
          </p:nvSpPr>
          <p:spPr>
            <a:xfrm>
              <a:off x="5455545" y="925297"/>
              <a:ext cx="50594" cy="59238"/>
            </a:xfrm>
            <a:custGeom>
              <a:avLst/>
              <a:gdLst>
                <a:gd name="connsiteX0" fmla="*/ 88392 w 201263"/>
                <a:gd name="connsiteY0" fmla="*/ 235648 h 235648"/>
                <a:gd name="connsiteX1" fmla="*/ 51149 w 201263"/>
                <a:gd name="connsiteY1" fmla="*/ 228981 h 235648"/>
                <a:gd name="connsiteX2" fmla="*/ 23431 w 201263"/>
                <a:gd name="connsiteY2" fmla="*/ 210026 h 235648"/>
                <a:gd name="connsiteX3" fmla="*/ 6001 w 201263"/>
                <a:gd name="connsiteY3" fmla="*/ 180784 h 235648"/>
                <a:gd name="connsiteX4" fmla="*/ 0 w 201263"/>
                <a:gd name="connsiteY4" fmla="*/ 143256 h 235648"/>
                <a:gd name="connsiteX5" fmla="*/ 0 w 201263"/>
                <a:gd name="connsiteY5" fmla="*/ 0 h 235648"/>
                <a:gd name="connsiteX6" fmla="*/ 34385 w 201263"/>
                <a:gd name="connsiteY6" fmla="*/ 0 h 235648"/>
                <a:gd name="connsiteX7" fmla="*/ 34385 w 201263"/>
                <a:gd name="connsiteY7" fmla="*/ 134493 h 235648"/>
                <a:gd name="connsiteX8" fmla="*/ 50864 w 201263"/>
                <a:gd name="connsiteY8" fmla="*/ 185261 h 235648"/>
                <a:gd name="connsiteX9" fmla="*/ 98203 w 201263"/>
                <a:gd name="connsiteY9" fmla="*/ 203930 h 235648"/>
                <a:gd name="connsiteX10" fmla="*/ 125635 w 201263"/>
                <a:gd name="connsiteY10" fmla="*/ 198787 h 235648"/>
                <a:gd name="connsiteX11" fmla="*/ 147542 w 201263"/>
                <a:gd name="connsiteY11" fmla="*/ 184118 h 235648"/>
                <a:gd name="connsiteX12" fmla="*/ 162020 w 201263"/>
                <a:gd name="connsiteY12" fmla="*/ 161163 h 235648"/>
                <a:gd name="connsiteX13" fmla="*/ 167354 w 201263"/>
                <a:gd name="connsiteY13" fmla="*/ 131826 h 235648"/>
                <a:gd name="connsiteX14" fmla="*/ 167354 w 201263"/>
                <a:gd name="connsiteY14" fmla="*/ 0 h 235648"/>
                <a:gd name="connsiteX15" fmla="*/ 201263 w 201263"/>
                <a:gd name="connsiteY15" fmla="*/ 0 h 235648"/>
                <a:gd name="connsiteX16" fmla="*/ 201263 w 201263"/>
                <a:gd name="connsiteY16" fmla="*/ 230791 h 235648"/>
                <a:gd name="connsiteX17" fmla="*/ 167354 w 201263"/>
                <a:gd name="connsiteY17" fmla="*/ 230791 h 235648"/>
                <a:gd name="connsiteX18" fmla="*/ 167354 w 201263"/>
                <a:gd name="connsiteY18" fmla="*/ 190595 h 235648"/>
                <a:gd name="connsiteX19" fmla="*/ 136969 w 201263"/>
                <a:gd name="connsiteY19" fmla="*/ 222504 h 235648"/>
                <a:gd name="connsiteX20" fmla="*/ 88297 w 201263"/>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263" h="235648">
                  <a:moveTo>
                    <a:pt x="88392" y="235648"/>
                  </a:moveTo>
                  <a:cubicBezTo>
                    <a:pt x="74390" y="235648"/>
                    <a:pt x="62008" y="233363"/>
                    <a:pt x="51149" y="228981"/>
                  </a:cubicBezTo>
                  <a:cubicBezTo>
                    <a:pt x="40291" y="224504"/>
                    <a:pt x="31052" y="218218"/>
                    <a:pt x="23431"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864" y="185261"/>
                  </a:cubicBezTo>
                  <a:cubicBezTo>
                    <a:pt x="61913" y="197739"/>
                    <a:pt x="77629" y="203930"/>
                    <a:pt x="98203" y="203930"/>
                  </a:cubicBezTo>
                  <a:cubicBezTo>
                    <a:pt x="108014" y="203930"/>
                    <a:pt x="117158" y="202216"/>
                    <a:pt x="125635" y="198787"/>
                  </a:cubicBezTo>
                  <a:cubicBezTo>
                    <a:pt x="134112" y="195358"/>
                    <a:pt x="141351" y="190500"/>
                    <a:pt x="147542" y="184118"/>
                  </a:cubicBezTo>
                  <a:cubicBezTo>
                    <a:pt x="153638" y="177736"/>
                    <a:pt x="158496" y="170116"/>
                    <a:pt x="162020" y="161163"/>
                  </a:cubicBezTo>
                  <a:cubicBezTo>
                    <a:pt x="165640" y="152305"/>
                    <a:pt x="167354" y="142494"/>
                    <a:pt x="167354" y="131826"/>
                  </a:cubicBezTo>
                  <a:lnTo>
                    <a:pt x="167354" y="0"/>
                  </a:lnTo>
                  <a:lnTo>
                    <a:pt x="201263" y="0"/>
                  </a:lnTo>
                  <a:lnTo>
                    <a:pt x="201263" y="230791"/>
                  </a:lnTo>
                  <a:lnTo>
                    <a:pt x="167354" y="230791"/>
                  </a:lnTo>
                  <a:lnTo>
                    <a:pt x="167354" y="190595"/>
                  </a:lnTo>
                  <a:cubicBezTo>
                    <a:pt x="159639" y="203073"/>
                    <a:pt x="149447" y="213741"/>
                    <a:pt x="136969" y="222504"/>
                  </a:cubicBezTo>
                  <a:cubicBezTo>
                    <a:pt x="124492" y="231267"/>
                    <a:pt x="108299" y="235648"/>
                    <a:pt x="88297" y="235648"/>
                  </a:cubicBezTo>
                  <a:close/>
                </a:path>
              </a:pathLst>
            </a:custGeom>
            <a:solidFill>
              <a:srgbClr val="44505E"/>
            </a:solidFill>
            <a:ln w="9525" cap="flat">
              <a:noFill/>
              <a:prstDash val="solid"/>
              <a:miter/>
            </a:ln>
          </p:spPr>
          <p:txBody>
            <a:bodyPr rtlCol="0" anchor="ctr"/>
            <a:lstStyle/>
            <a:p>
              <a:endParaRPr lang="pt-BR" noProof="0"/>
            </a:p>
          </p:txBody>
        </p:sp>
        <p:sp>
          <p:nvSpPr>
            <p:cNvPr id="38" name="Freeform: Shape 37">
              <a:extLst>
                <a:ext uri="{FF2B5EF4-FFF2-40B4-BE49-F238E27FC236}">
                  <a16:creationId xmlns:a16="http://schemas.microsoft.com/office/drawing/2014/main" id="{90CEAC57-42D2-A073-1B30-D81095F0D8E7}"/>
                </a:ext>
              </a:extLst>
            </p:cNvPr>
            <p:cNvSpPr/>
            <p:nvPr/>
          </p:nvSpPr>
          <p:spPr>
            <a:xfrm>
              <a:off x="5522205" y="901353"/>
              <a:ext cx="58567" cy="83182"/>
            </a:xfrm>
            <a:custGeom>
              <a:avLst/>
              <a:gdLst>
                <a:gd name="connsiteX0" fmla="*/ 110204 w 232981"/>
                <a:gd name="connsiteY0" fmla="*/ 330898 h 330898"/>
                <a:gd name="connsiteX1" fmla="*/ 69628 w 232981"/>
                <a:gd name="connsiteY1" fmla="*/ 322897 h 330898"/>
                <a:gd name="connsiteX2" fmla="*/ 34385 w 232981"/>
                <a:gd name="connsiteY2" fmla="*/ 299466 h 330898"/>
                <a:gd name="connsiteX3" fmla="*/ 9334 w 232981"/>
                <a:gd name="connsiteY3" fmla="*/ 261938 h 330898"/>
                <a:gd name="connsiteX4" fmla="*/ 0 w 232981"/>
                <a:gd name="connsiteY4" fmla="*/ 211264 h 330898"/>
                <a:gd name="connsiteX5" fmla="*/ 0 w 232981"/>
                <a:gd name="connsiteY5" fmla="*/ 210407 h 330898"/>
                <a:gd name="connsiteX6" fmla="*/ 9334 w 232981"/>
                <a:gd name="connsiteY6" fmla="*/ 159925 h 330898"/>
                <a:gd name="connsiteX7" fmla="*/ 34385 w 232981"/>
                <a:gd name="connsiteY7" fmla="*/ 122206 h 330898"/>
                <a:gd name="connsiteX8" fmla="*/ 69628 w 232981"/>
                <a:gd name="connsiteY8" fmla="*/ 98488 h 330898"/>
                <a:gd name="connsiteX9" fmla="*/ 110204 w 232981"/>
                <a:gd name="connsiteY9" fmla="*/ 90202 h 330898"/>
                <a:gd name="connsiteX10" fmla="*/ 139636 w 232981"/>
                <a:gd name="connsiteY10" fmla="*/ 94202 h 330898"/>
                <a:gd name="connsiteX11" fmla="*/ 163735 w 232981"/>
                <a:gd name="connsiteY11" fmla="*/ 104870 h 330898"/>
                <a:gd name="connsiteX12" fmla="*/ 183166 w 232981"/>
                <a:gd name="connsiteY12" fmla="*/ 120491 h 330898"/>
                <a:gd name="connsiteX13" fmla="*/ 198596 w 232981"/>
                <a:gd name="connsiteY13" fmla="*/ 139255 h 330898"/>
                <a:gd name="connsiteX14" fmla="*/ 198596 w 232981"/>
                <a:gd name="connsiteY14" fmla="*/ 0 h 330898"/>
                <a:gd name="connsiteX15" fmla="*/ 232981 w 232981"/>
                <a:gd name="connsiteY15" fmla="*/ 0 h 330898"/>
                <a:gd name="connsiteX16" fmla="*/ 232981 w 232981"/>
                <a:gd name="connsiteY16" fmla="*/ 325850 h 330898"/>
                <a:gd name="connsiteX17" fmla="*/ 198596 w 232981"/>
                <a:gd name="connsiteY17" fmla="*/ 325850 h 330898"/>
                <a:gd name="connsiteX18" fmla="*/ 198596 w 232981"/>
                <a:gd name="connsiteY18" fmla="*/ 279463 h 330898"/>
                <a:gd name="connsiteX19" fmla="*/ 182785 w 232981"/>
                <a:gd name="connsiteY19" fmla="*/ 299085 h 330898"/>
                <a:gd name="connsiteX20" fmla="*/ 163354 w 232981"/>
                <a:gd name="connsiteY20" fmla="*/ 315658 h 330898"/>
                <a:gd name="connsiteX21" fmla="*/ 139446 w 232981"/>
                <a:gd name="connsiteY21" fmla="*/ 326803 h 330898"/>
                <a:gd name="connsiteX22" fmla="*/ 110204 w 232981"/>
                <a:gd name="connsiteY22" fmla="*/ 330803 h 330898"/>
                <a:gd name="connsiteX23" fmla="*/ 116491 w 232981"/>
                <a:gd name="connsiteY23" fmla="*/ 300133 h 330898"/>
                <a:gd name="connsiteX24" fmla="*/ 147542 w 232981"/>
                <a:gd name="connsiteY24" fmla="*/ 293656 h 330898"/>
                <a:gd name="connsiteX25" fmla="*/ 174307 w 232981"/>
                <a:gd name="connsiteY25" fmla="*/ 275368 h 330898"/>
                <a:gd name="connsiteX26" fmla="*/ 193072 w 232981"/>
                <a:gd name="connsiteY26" fmla="*/ 247269 h 330898"/>
                <a:gd name="connsiteX27" fmla="*/ 200025 w 232981"/>
                <a:gd name="connsiteY27" fmla="*/ 210883 h 330898"/>
                <a:gd name="connsiteX28" fmla="*/ 200025 w 232981"/>
                <a:gd name="connsiteY28" fmla="*/ 210026 h 330898"/>
                <a:gd name="connsiteX29" fmla="*/ 193072 w 232981"/>
                <a:gd name="connsiteY29" fmla="*/ 173641 h 330898"/>
                <a:gd name="connsiteX30" fmla="*/ 174307 w 232981"/>
                <a:gd name="connsiteY30" fmla="*/ 145732 h 330898"/>
                <a:gd name="connsiteX31" fmla="*/ 147542 w 232981"/>
                <a:gd name="connsiteY31" fmla="*/ 127635 h 330898"/>
                <a:gd name="connsiteX32" fmla="*/ 116491 w 232981"/>
                <a:gd name="connsiteY32" fmla="*/ 121158 h 330898"/>
                <a:gd name="connsiteX33" fmla="*/ 84772 w 232981"/>
                <a:gd name="connsiteY33" fmla="*/ 127159 h 330898"/>
                <a:gd name="connsiteX34" fmla="*/ 59150 w 232981"/>
                <a:gd name="connsiteY34" fmla="*/ 144589 h 330898"/>
                <a:gd name="connsiteX35" fmla="*/ 41719 w 232981"/>
                <a:gd name="connsiteY35" fmla="*/ 172498 h 330898"/>
                <a:gd name="connsiteX36" fmla="*/ 35242 w 232981"/>
                <a:gd name="connsiteY36" fmla="*/ 210026 h 330898"/>
                <a:gd name="connsiteX37" fmla="*/ 35242 w 232981"/>
                <a:gd name="connsiteY37" fmla="*/ 210883 h 330898"/>
                <a:gd name="connsiteX38" fmla="*/ 41719 w 232981"/>
                <a:gd name="connsiteY38" fmla="*/ 247936 h 330898"/>
                <a:gd name="connsiteX39" fmla="*/ 59341 w 232981"/>
                <a:gd name="connsiteY39" fmla="*/ 276034 h 330898"/>
                <a:gd name="connsiteX40" fmla="*/ 85249 w 232981"/>
                <a:gd name="connsiteY40" fmla="*/ 293941 h 330898"/>
                <a:gd name="connsiteX41" fmla="*/ 116491 w 23298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30898">
                  <a:moveTo>
                    <a:pt x="110204" y="330898"/>
                  </a:moveTo>
                  <a:cubicBezTo>
                    <a:pt x="96202" y="330898"/>
                    <a:pt x="82677" y="328231"/>
                    <a:pt x="69628" y="322897"/>
                  </a:cubicBezTo>
                  <a:cubicBezTo>
                    <a:pt x="56578" y="317563"/>
                    <a:pt x="44767" y="309753"/>
                    <a:pt x="34385" y="299466"/>
                  </a:cubicBezTo>
                  <a:cubicBezTo>
                    <a:pt x="24003" y="289179"/>
                    <a:pt x="15621" y="276701"/>
                    <a:pt x="9334" y="261938"/>
                  </a:cubicBezTo>
                  <a:cubicBezTo>
                    <a:pt x="3048" y="247174"/>
                    <a:pt x="0" y="230314"/>
                    <a:pt x="0" y="211264"/>
                  </a:cubicBezTo>
                  <a:lnTo>
                    <a:pt x="0" y="210407"/>
                  </a:lnTo>
                  <a:cubicBezTo>
                    <a:pt x="0" y="191643"/>
                    <a:pt x="3143" y="174879"/>
                    <a:pt x="9334" y="159925"/>
                  </a:cubicBezTo>
                  <a:cubicBezTo>
                    <a:pt x="15621" y="145066"/>
                    <a:pt x="23908" y="132493"/>
                    <a:pt x="34385" y="122206"/>
                  </a:cubicBezTo>
                  <a:cubicBezTo>
                    <a:pt x="44767" y="111919"/>
                    <a:pt x="56578" y="104013"/>
                    <a:pt x="69628" y="98488"/>
                  </a:cubicBezTo>
                  <a:cubicBezTo>
                    <a:pt x="82677" y="92964"/>
                    <a:pt x="96298" y="90202"/>
                    <a:pt x="110204" y="90202"/>
                  </a:cubicBezTo>
                  <a:cubicBezTo>
                    <a:pt x="120967" y="90202"/>
                    <a:pt x="130778" y="91535"/>
                    <a:pt x="139636" y="94202"/>
                  </a:cubicBezTo>
                  <a:cubicBezTo>
                    <a:pt x="148590" y="96869"/>
                    <a:pt x="156591" y="100489"/>
                    <a:pt x="163735" y="104870"/>
                  </a:cubicBezTo>
                  <a:cubicBezTo>
                    <a:pt x="170878" y="109347"/>
                    <a:pt x="177356" y="114586"/>
                    <a:pt x="183166" y="120491"/>
                  </a:cubicBezTo>
                  <a:cubicBezTo>
                    <a:pt x="188976" y="126492"/>
                    <a:pt x="194119" y="132683"/>
                    <a:pt x="198596" y="139255"/>
                  </a:cubicBezTo>
                  <a:lnTo>
                    <a:pt x="198596" y="0"/>
                  </a:lnTo>
                  <a:lnTo>
                    <a:pt x="232981" y="0"/>
                  </a:lnTo>
                  <a:lnTo>
                    <a:pt x="232981" y="325850"/>
                  </a:lnTo>
                  <a:lnTo>
                    <a:pt x="198596" y="325850"/>
                  </a:lnTo>
                  <a:lnTo>
                    <a:pt x="198596" y="279463"/>
                  </a:lnTo>
                  <a:cubicBezTo>
                    <a:pt x="193834" y="286321"/>
                    <a:pt x="188595" y="292894"/>
                    <a:pt x="182785" y="299085"/>
                  </a:cubicBezTo>
                  <a:cubicBezTo>
                    <a:pt x="176974" y="305371"/>
                    <a:pt x="170498" y="310896"/>
                    <a:pt x="163354" y="315658"/>
                  </a:cubicBezTo>
                  <a:cubicBezTo>
                    <a:pt x="156210" y="320421"/>
                    <a:pt x="148209" y="324136"/>
                    <a:pt x="139446" y="326803"/>
                  </a:cubicBezTo>
                  <a:cubicBezTo>
                    <a:pt x="130683" y="329470"/>
                    <a:pt x="120967" y="330803"/>
                    <a:pt x="110204" y="330803"/>
                  </a:cubicBezTo>
                  <a:close/>
                  <a:moveTo>
                    <a:pt x="116491" y="300133"/>
                  </a:moveTo>
                  <a:cubicBezTo>
                    <a:pt x="127159" y="300133"/>
                    <a:pt x="137541" y="297942"/>
                    <a:pt x="147542" y="293656"/>
                  </a:cubicBezTo>
                  <a:cubicBezTo>
                    <a:pt x="157544" y="289369"/>
                    <a:pt x="166402" y="283273"/>
                    <a:pt x="174307" y="275368"/>
                  </a:cubicBezTo>
                  <a:cubicBezTo>
                    <a:pt x="182213" y="267462"/>
                    <a:pt x="188404" y="258127"/>
                    <a:pt x="193072" y="247269"/>
                  </a:cubicBezTo>
                  <a:cubicBezTo>
                    <a:pt x="197644" y="236410"/>
                    <a:pt x="200025" y="224314"/>
                    <a:pt x="200025" y="210883"/>
                  </a:cubicBezTo>
                  <a:lnTo>
                    <a:pt x="200025" y="210026"/>
                  </a:lnTo>
                  <a:cubicBezTo>
                    <a:pt x="200025" y="196596"/>
                    <a:pt x="197739" y="184499"/>
                    <a:pt x="193072" y="173641"/>
                  </a:cubicBezTo>
                  <a:cubicBezTo>
                    <a:pt x="188500" y="162782"/>
                    <a:pt x="182213" y="153448"/>
                    <a:pt x="174307" y="145732"/>
                  </a:cubicBezTo>
                  <a:cubicBezTo>
                    <a:pt x="166402" y="138017"/>
                    <a:pt x="157448" y="132016"/>
                    <a:pt x="147542" y="127635"/>
                  </a:cubicBezTo>
                  <a:cubicBezTo>
                    <a:pt x="137541" y="123349"/>
                    <a:pt x="127254" y="121158"/>
                    <a:pt x="116491" y="121158"/>
                  </a:cubicBezTo>
                  <a:cubicBezTo>
                    <a:pt x="105156" y="121158"/>
                    <a:pt x="94583" y="123158"/>
                    <a:pt x="84772" y="127159"/>
                  </a:cubicBezTo>
                  <a:cubicBezTo>
                    <a:pt x="74962" y="131159"/>
                    <a:pt x="66389" y="136969"/>
                    <a:pt x="59150" y="144589"/>
                  </a:cubicBezTo>
                  <a:cubicBezTo>
                    <a:pt x="51816" y="152114"/>
                    <a:pt x="46101" y="161449"/>
                    <a:pt x="41719" y="172498"/>
                  </a:cubicBezTo>
                  <a:cubicBezTo>
                    <a:pt x="37433" y="183451"/>
                    <a:pt x="35242" y="196024"/>
                    <a:pt x="35242" y="210026"/>
                  </a:cubicBezTo>
                  <a:lnTo>
                    <a:pt x="35242" y="210883"/>
                  </a:lnTo>
                  <a:cubicBezTo>
                    <a:pt x="35242" y="224599"/>
                    <a:pt x="37433" y="236982"/>
                    <a:pt x="41719" y="247936"/>
                  </a:cubicBezTo>
                  <a:cubicBezTo>
                    <a:pt x="46006" y="258984"/>
                    <a:pt x="51911" y="268319"/>
                    <a:pt x="59341" y="276034"/>
                  </a:cubicBezTo>
                  <a:cubicBezTo>
                    <a:pt x="66770" y="283750"/>
                    <a:pt x="75438" y="289750"/>
                    <a:pt x="85249" y="293941"/>
                  </a:cubicBezTo>
                  <a:cubicBezTo>
                    <a:pt x="95059" y="298132"/>
                    <a:pt x="105442" y="300228"/>
                    <a:pt x="116491" y="300228"/>
                  </a:cubicBezTo>
                  <a:close/>
                </a:path>
              </a:pathLst>
            </a:custGeom>
            <a:solidFill>
              <a:srgbClr val="44505E"/>
            </a:solidFill>
            <a:ln w="9525" cap="flat">
              <a:noFill/>
              <a:prstDash val="solid"/>
              <a:miter/>
            </a:ln>
          </p:spPr>
          <p:txBody>
            <a:bodyPr rtlCol="0" anchor="ctr"/>
            <a:lstStyle/>
            <a:p>
              <a:endParaRPr lang="pt-BR" noProof="0"/>
            </a:p>
          </p:txBody>
        </p:sp>
        <p:sp>
          <p:nvSpPr>
            <p:cNvPr id="39" name="Freeform: Shape 38">
              <a:extLst>
                <a:ext uri="{FF2B5EF4-FFF2-40B4-BE49-F238E27FC236}">
                  <a16:creationId xmlns:a16="http://schemas.microsoft.com/office/drawing/2014/main" id="{C1836B89-43E2-6791-CA09-5D5FBF3C7547}"/>
                </a:ext>
              </a:extLst>
            </p:cNvPr>
            <p:cNvSpPr/>
            <p:nvPr/>
          </p:nvSpPr>
          <p:spPr>
            <a:xfrm>
              <a:off x="5596504"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6963 w 218217"/>
                <a:gd name="connsiteY3" fmla="*/ 206026 h 241077"/>
                <a:gd name="connsiteX4" fmla="*/ 116015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8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1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452 w 218217"/>
                <a:gd name="connsiteY25" fmla="*/ 106299 h 241077"/>
                <a:gd name="connsiteX26" fmla="*/ 176784 w 218217"/>
                <a:gd name="connsiteY26" fmla="*/ 76771 h 241077"/>
                <a:gd name="connsiteX27" fmla="*/ 162306 w 218217"/>
                <a:gd name="connsiteY27" fmla="*/ 52101 h 241077"/>
                <a:gd name="connsiteX28" fmla="*/ 140018 w 218217"/>
                <a:gd name="connsiteY28" fmla="*/ 35242 h 241077"/>
                <a:gd name="connsiteX29" fmla="*/ 109919 w 218217"/>
                <a:gd name="connsiteY29" fmla="*/ 29051 h 241077"/>
                <a:gd name="connsiteX30" fmla="*/ 82201 w 218217"/>
                <a:gd name="connsiteY30" fmla="*/ 34766 h 241077"/>
                <a:gd name="connsiteX31" fmla="*/ 59436 w 218217"/>
                <a:gd name="connsiteY31" fmla="*/ 50959 h 241077"/>
                <a:gd name="connsiteX32" fmla="*/ 43148 w 218217"/>
                <a:gd name="connsiteY32" fmla="*/ 75628 h 241077"/>
                <a:gd name="connsiteX33" fmla="*/ 34862 w 218217"/>
                <a:gd name="connsiteY33" fmla="*/ 106204 h 241077"/>
                <a:gd name="connsiteX34" fmla="*/ 183547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724" y="202597"/>
                    <a:pt x="86963" y="206026"/>
                  </a:cubicBezTo>
                  <a:cubicBezTo>
                    <a:pt x="96203" y="209455"/>
                    <a:pt x="105823" y="211169"/>
                    <a:pt x="116015" y="211169"/>
                  </a:cubicBezTo>
                  <a:cubicBezTo>
                    <a:pt x="132112" y="211169"/>
                    <a:pt x="145828" y="208216"/>
                    <a:pt x="157353" y="202216"/>
                  </a:cubicBezTo>
                  <a:cubicBezTo>
                    <a:pt x="168783" y="196310"/>
                    <a:pt x="179261" y="188404"/>
                    <a:pt x="188786" y="178594"/>
                  </a:cubicBezTo>
                  <a:lnTo>
                    <a:pt x="210217" y="197834"/>
                  </a:lnTo>
                  <a:cubicBezTo>
                    <a:pt x="198596" y="210979"/>
                    <a:pt x="185357" y="221361"/>
                    <a:pt x="170498" y="229267"/>
                  </a:cubicBezTo>
                  <a:cubicBezTo>
                    <a:pt x="155639"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679" y="0"/>
                    <a:pt x="110681"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452" y="106299"/>
                  </a:moveTo>
                  <a:cubicBezTo>
                    <a:pt x="182594" y="95917"/>
                    <a:pt x="180308" y="86106"/>
                    <a:pt x="176784" y="76771"/>
                  </a:cubicBezTo>
                  <a:cubicBezTo>
                    <a:pt x="173165" y="67437"/>
                    <a:pt x="168402" y="59245"/>
                    <a:pt x="162306" y="52101"/>
                  </a:cubicBezTo>
                  <a:cubicBezTo>
                    <a:pt x="156210" y="44958"/>
                    <a:pt x="148781" y="39338"/>
                    <a:pt x="140018" y="35242"/>
                  </a:cubicBezTo>
                  <a:cubicBezTo>
                    <a:pt x="131254" y="31147"/>
                    <a:pt x="121158" y="29051"/>
                    <a:pt x="109919" y="29051"/>
                  </a:cubicBezTo>
                  <a:cubicBezTo>
                    <a:pt x="100108" y="29051"/>
                    <a:pt x="90869" y="30956"/>
                    <a:pt x="82201" y="34766"/>
                  </a:cubicBezTo>
                  <a:cubicBezTo>
                    <a:pt x="73533" y="38671"/>
                    <a:pt x="66008" y="44005"/>
                    <a:pt x="59436" y="50959"/>
                  </a:cubicBezTo>
                  <a:cubicBezTo>
                    <a:pt x="52864" y="57912"/>
                    <a:pt x="47435" y="66103"/>
                    <a:pt x="43148" y="75628"/>
                  </a:cubicBezTo>
                  <a:cubicBezTo>
                    <a:pt x="38862" y="85058"/>
                    <a:pt x="36100" y="95345"/>
                    <a:pt x="34862" y="106204"/>
                  </a:cubicBezTo>
                  <a:lnTo>
                    <a:pt x="183547" y="106204"/>
                  </a:lnTo>
                  <a:close/>
                </a:path>
              </a:pathLst>
            </a:custGeom>
            <a:solidFill>
              <a:srgbClr val="44505E"/>
            </a:solidFill>
            <a:ln w="9525" cap="flat">
              <a:noFill/>
              <a:prstDash val="solid"/>
              <a:miter/>
            </a:ln>
          </p:spPr>
          <p:txBody>
            <a:bodyPr rtlCol="0" anchor="ctr"/>
            <a:lstStyle/>
            <a:p>
              <a:endParaRPr lang="pt-BR" noProof="0"/>
            </a:p>
          </p:txBody>
        </p:sp>
        <p:sp>
          <p:nvSpPr>
            <p:cNvPr id="40" name="Freeform: Shape 39">
              <a:extLst>
                <a:ext uri="{FF2B5EF4-FFF2-40B4-BE49-F238E27FC236}">
                  <a16:creationId xmlns:a16="http://schemas.microsoft.com/office/drawing/2014/main" id="{10FA4940-2FC9-E206-45C3-DA41E1A9C59D}"/>
                </a:ext>
              </a:extLst>
            </p:cNvPr>
            <p:cNvSpPr/>
            <p:nvPr/>
          </p:nvSpPr>
          <p:spPr>
            <a:xfrm>
              <a:off x="5661680" y="924268"/>
              <a:ext cx="44656" cy="60195"/>
            </a:xfrm>
            <a:custGeom>
              <a:avLst/>
              <a:gdLst>
                <a:gd name="connsiteX0" fmla="*/ 95536 w 177641"/>
                <a:gd name="connsiteY0" fmla="*/ 239268 h 239458"/>
                <a:gd name="connsiteX1" fmla="*/ 45053 w 177641"/>
                <a:gd name="connsiteY1" fmla="*/ 230124 h 239458"/>
                <a:gd name="connsiteX2" fmla="*/ 0 w 177641"/>
                <a:gd name="connsiteY2" fmla="*/ 205359 h 239458"/>
                <a:gd name="connsiteX3" fmla="*/ 17431 w 177641"/>
                <a:gd name="connsiteY3" fmla="*/ 180785 h 239458"/>
                <a:gd name="connsiteX4" fmla="*/ 56483 w 177641"/>
                <a:gd name="connsiteY4" fmla="*/ 202692 h 239458"/>
                <a:gd name="connsiteX5" fmla="*/ 97346 w 177641"/>
                <a:gd name="connsiteY5" fmla="*/ 210217 h 239458"/>
                <a:gd name="connsiteX6" fmla="*/ 131731 w 177641"/>
                <a:gd name="connsiteY6" fmla="*/ 200406 h 239458"/>
                <a:gd name="connsiteX7" fmla="*/ 145161 w 177641"/>
                <a:gd name="connsiteY7" fmla="*/ 173641 h 239458"/>
                <a:gd name="connsiteX8" fmla="*/ 145161 w 177641"/>
                <a:gd name="connsiteY8" fmla="*/ 172784 h 239458"/>
                <a:gd name="connsiteX9" fmla="*/ 140494 w 177641"/>
                <a:gd name="connsiteY9" fmla="*/ 158020 h 239458"/>
                <a:gd name="connsiteX10" fmla="*/ 127730 w 177641"/>
                <a:gd name="connsiteY10" fmla="*/ 147066 h 239458"/>
                <a:gd name="connsiteX11" fmla="*/ 109157 w 177641"/>
                <a:gd name="connsiteY11" fmla="*/ 138779 h 239458"/>
                <a:gd name="connsiteX12" fmla="*/ 87535 w 177641"/>
                <a:gd name="connsiteY12" fmla="*/ 132112 h 239458"/>
                <a:gd name="connsiteX13" fmla="*/ 60484 w 177641"/>
                <a:gd name="connsiteY13" fmla="*/ 123444 h 239458"/>
                <a:gd name="connsiteX14" fmla="*/ 35909 w 177641"/>
                <a:gd name="connsiteY14" fmla="*/ 111633 h 239458"/>
                <a:gd name="connsiteX15" fmla="*/ 18098 w 177641"/>
                <a:gd name="connsiteY15" fmla="*/ 93726 h 239458"/>
                <a:gd name="connsiteX16" fmla="*/ 11144 w 177641"/>
                <a:gd name="connsiteY16" fmla="*/ 66961 h 239458"/>
                <a:gd name="connsiteX17" fmla="*/ 11144 w 177641"/>
                <a:gd name="connsiteY17" fmla="*/ 66008 h 239458"/>
                <a:gd name="connsiteX18" fmla="*/ 16954 w 177641"/>
                <a:gd name="connsiteY18" fmla="*/ 39053 h 239458"/>
                <a:gd name="connsiteX19" fmla="*/ 33242 w 177641"/>
                <a:gd name="connsiteY19" fmla="*/ 18098 h 239458"/>
                <a:gd name="connsiteX20" fmla="*/ 58293 w 177641"/>
                <a:gd name="connsiteY20" fmla="*/ 4667 h 239458"/>
                <a:gd name="connsiteX21" fmla="*/ 89725 w 177641"/>
                <a:gd name="connsiteY21" fmla="*/ 0 h 239458"/>
                <a:gd name="connsiteX22" fmla="*/ 133064 w 177641"/>
                <a:gd name="connsiteY22" fmla="*/ 6953 h 239458"/>
                <a:gd name="connsiteX23" fmla="*/ 172784 w 177641"/>
                <a:gd name="connsiteY23" fmla="*/ 25527 h 239458"/>
                <a:gd name="connsiteX24" fmla="*/ 157163 w 177641"/>
                <a:gd name="connsiteY24" fmla="*/ 51435 h 239458"/>
                <a:gd name="connsiteX25" fmla="*/ 123444 w 177641"/>
                <a:gd name="connsiteY25" fmla="*/ 35147 h 239458"/>
                <a:gd name="connsiteX26" fmla="*/ 88868 w 177641"/>
                <a:gd name="connsiteY26" fmla="*/ 29146 h 239458"/>
                <a:gd name="connsiteX27" fmla="*/ 56293 w 177641"/>
                <a:gd name="connsiteY27" fmla="*/ 38767 h 239458"/>
                <a:gd name="connsiteX28" fmla="*/ 44196 w 177641"/>
                <a:gd name="connsiteY28" fmla="*/ 62675 h 239458"/>
                <a:gd name="connsiteX29" fmla="*/ 44196 w 177641"/>
                <a:gd name="connsiteY29" fmla="*/ 63627 h 239458"/>
                <a:gd name="connsiteX30" fmla="*/ 49149 w 177641"/>
                <a:gd name="connsiteY30" fmla="*/ 77724 h 239458"/>
                <a:gd name="connsiteX31" fmla="*/ 62294 w 177641"/>
                <a:gd name="connsiteY31" fmla="*/ 88202 h 239458"/>
                <a:gd name="connsiteX32" fmla="*/ 81248 w 177641"/>
                <a:gd name="connsiteY32" fmla="*/ 96203 h 239458"/>
                <a:gd name="connsiteX33" fmla="*/ 103537 w 177641"/>
                <a:gd name="connsiteY33" fmla="*/ 103346 h 239458"/>
                <a:gd name="connsiteX34" fmla="*/ 130112 w 177641"/>
                <a:gd name="connsiteY34" fmla="*/ 112300 h 239458"/>
                <a:gd name="connsiteX35" fmla="*/ 154019 w 177641"/>
                <a:gd name="connsiteY35" fmla="*/ 124778 h 239458"/>
                <a:gd name="connsiteX36" fmla="*/ 171164 w 177641"/>
                <a:gd name="connsiteY36" fmla="*/ 143066 h 239458"/>
                <a:gd name="connsiteX37" fmla="*/ 177641 w 177641"/>
                <a:gd name="connsiteY37" fmla="*/ 169450 h 239458"/>
                <a:gd name="connsiteX38" fmla="*/ 177641 w 177641"/>
                <a:gd name="connsiteY38" fmla="*/ 170307 h 239458"/>
                <a:gd name="connsiteX39" fmla="*/ 171164 w 177641"/>
                <a:gd name="connsiteY39" fmla="*/ 199549 h 239458"/>
                <a:gd name="connsiteX40" fmla="*/ 153734 w 177641"/>
                <a:gd name="connsiteY40" fmla="*/ 221171 h 239458"/>
                <a:gd name="connsiteX41" fmla="*/ 127825 w 177641"/>
                <a:gd name="connsiteY41" fmla="*/ 234791 h 239458"/>
                <a:gd name="connsiteX42" fmla="*/ 95441 w 177641"/>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641" h="239458">
                  <a:moveTo>
                    <a:pt x="95536" y="239268"/>
                  </a:moveTo>
                  <a:cubicBezTo>
                    <a:pt x="78867" y="239268"/>
                    <a:pt x="62008" y="236220"/>
                    <a:pt x="45053" y="230124"/>
                  </a:cubicBezTo>
                  <a:cubicBezTo>
                    <a:pt x="28099" y="224028"/>
                    <a:pt x="13049" y="215741"/>
                    <a:pt x="0" y="205359"/>
                  </a:cubicBezTo>
                  <a:lnTo>
                    <a:pt x="17431" y="180785"/>
                  </a:lnTo>
                  <a:cubicBezTo>
                    <a:pt x="29908"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542" y="162211"/>
                    <a:pt x="140494" y="158020"/>
                  </a:cubicBezTo>
                  <a:cubicBezTo>
                    <a:pt x="137350" y="153829"/>
                    <a:pt x="133160" y="150209"/>
                    <a:pt x="127730" y="147066"/>
                  </a:cubicBezTo>
                  <a:cubicBezTo>
                    <a:pt x="122396" y="143923"/>
                    <a:pt x="116205" y="141161"/>
                    <a:pt x="109157" y="138779"/>
                  </a:cubicBezTo>
                  <a:cubicBezTo>
                    <a:pt x="102203" y="136398"/>
                    <a:pt x="94964" y="134207"/>
                    <a:pt x="87535" y="132112"/>
                  </a:cubicBezTo>
                  <a:cubicBezTo>
                    <a:pt x="78581" y="129445"/>
                    <a:pt x="69628" y="126492"/>
                    <a:pt x="60484" y="123444"/>
                  </a:cubicBezTo>
                  <a:cubicBezTo>
                    <a:pt x="51435" y="120301"/>
                    <a:pt x="43244" y="116396"/>
                    <a:pt x="35909" y="111633"/>
                  </a:cubicBezTo>
                  <a:cubicBezTo>
                    <a:pt x="28575" y="106871"/>
                    <a:pt x="22670" y="100870"/>
                    <a:pt x="18098" y="93726"/>
                  </a:cubicBezTo>
                  <a:cubicBezTo>
                    <a:pt x="13525" y="86582"/>
                    <a:pt x="11144" y="77629"/>
                    <a:pt x="11144" y="66961"/>
                  </a:cubicBezTo>
                  <a:lnTo>
                    <a:pt x="11144" y="66008"/>
                  </a:lnTo>
                  <a:cubicBezTo>
                    <a:pt x="11144" y="56198"/>
                    <a:pt x="13049" y="47149"/>
                    <a:pt x="16954" y="39053"/>
                  </a:cubicBezTo>
                  <a:cubicBezTo>
                    <a:pt x="20860" y="30861"/>
                    <a:pt x="26289" y="23908"/>
                    <a:pt x="33242" y="18098"/>
                  </a:cubicBezTo>
                  <a:cubicBezTo>
                    <a:pt x="40196" y="12287"/>
                    <a:pt x="48578" y="7811"/>
                    <a:pt x="58293" y="4667"/>
                  </a:cubicBezTo>
                  <a:cubicBezTo>
                    <a:pt x="67913" y="1524"/>
                    <a:pt x="78486" y="0"/>
                    <a:pt x="89725" y="0"/>
                  </a:cubicBezTo>
                  <a:cubicBezTo>
                    <a:pt x="104013" y="0"/>
                    <a:pt x="118396" y="2286"/>
                    <a:pt x="133064" y="6953"/>
                  </a:cubicBezTo>
                  <a:cubicBezTo>
                    <a:pt x="147638" y="11621"/>
                    <a:pt x="160877" y="17717"/>
                    <a:pt x="172784" y="25527"/>
                  </a:cubicBezTo>
                  <a:lnTo>
                    <a:pt x="157163" y="51435"/>
                  </a:lnTo>
                  <a:cubicBezTo>
                    <a:pt x="146399" y="44577"/>
                    <a:pt x="135255" y="39148"/>
                    <a:pt x="123444" y="35147"/>
                  </a:cubicBezTo>
                  <a:cubicBezTo>
                    <a:pt x="111728" y="31147"/>
                    <a:pt x="100203" y="29146"/>
                    <a:pt x="88868" y="29146"/>
                  </a:cubicBezTo>
                  <a:cubicBezTo>
                    <a:pt x="75152" y="29146"/>
                    <a:pt x="64294" y="32385"/>
                    <a:pt x="56293" y="38767"/>
                  </a:cubicBezTo>
                  <a:cubicBezTo>
                    <a:pt x="48292" y="45149"/>
                    <a:pt x="44196" y="53150"/>
                    <a:pt x="44196" y="62675"/>
                  </a:cubicBezTo>
                  <a:lnTo>
                    <a:pt x="44196" y="63627"/>
                  </a:lnTo>
                  <a:cubicBezTo>
                    <a:pt x="44196" y="68961"/>
                    <a:pt x="45815" y="73628"/>
                    <a:pt x="49149" y="77724"/>
                  </a:cubicBezTo>
                  <a:cubicBezTo>
                    <a:pt x="52388" y="81725"/>
                    <a:pt x="56769" y="85249"/>
                    <a:pt x="62294" y="88202"/>
                  </a:cubicBezTo>
                  <a:cubicBezTo>
                    <a:pt x="67818" y="91154"/>
                    <a:pt x="74104" y="93821"/>
                    <a:pt x="81248" y="96203"/>
                  </a:cubicBezTo>
                  <a:cubicBezTo>
                    <a:pt x="88392" y="98584"/>
                    <a:pt x="95821" y="100965"/>
                    <a:pt x="103537" y="103346"/>
                  </a:cubicBezTo>
                  <a:cubicBezTo>
                    <a:pt x="112490" y="106013"/>
                    <a:pt x="121349" y="108966"/>
                    <a:pt x="130112" y="112300"/>
                  </a:cubicBezTo>
                  <a:cubicBezTo>
                    <a:pt x="138875" y="115538"/>
                    <a:pt x="146875" y="119729"/>
                    <a:pt x="154019" y="124778"/>
                  </a:cubicBezTo>
                  <a:cubicBezTo>
                    <a:pt x="161163" y="129826"/>
                    <a:pt x="166878" y="135922"/>
                    <a:pt x="171164" y="143066"/>
                  </a:cubicBezTo>
                  <a:cubicBezTo>
                    <a:pt x="175450" y="150209"/>
                    <a:pt x="177641" y="158972"/>
                    <a:pt x="177641" y="169450"/>
                  </a:cubicBezTo>
                  <a:lnTo>
                    <a:pt x="177641" y="170307"/>
                  </a:lnTo>
                  <a:cubicBezTo>
                    <a:pt x="177641" y="181356"/>
                    <a:pt x="175450" y="191071"/>
                    <a:pt x="171164" y="199549"/>
                  </a:cubicBezTo>
                  <a:cubicBezTo>
                    <a:pt x="166878" y="208026"/>
                    <a:pt x="161068" y="215265"/>
                    <a:pt x="153734" y="221171"/>
                  </a:cubicBezTo>
                  <a:cubicBezTo>
                    <a:pt x="146495" y="227171"/>
                    <a:pt x="137827" y="231648"/>
                    <a:pt x="127825" y="234791"/>
                  </a:cubicBezTo>
                  <a:cubicBezTo>
                    <a:pt x="117824" y="237935"/>
                    <a:pt x="107061" y="239459"/>
                    <a:pt x="95441" y="239459"/>
                  </a:cubicBezTo>
                  <a:close/>
                </a:path>
              </a:pathLst>
            </a:custGeom>
            <a:solidFill>
              <a:srgbClr val="44505E"/>
            </a:solidFill>
            <a:ln w="9525" cap="flat">
              <a:noFill/>
              <a:prstDash val="solid"/>
              <a:miter/>
            </a:ln>
          </p:spPr>
          <p:txBody>
            <a:bodyPr rtlCol="0" anchor="ctr"/>
            <a:lstStyle/>
            <a:p>
              <a:endParaRPr lang="pt-BR" noProof="0"/>
            </a:p>
          </p:txBody>
        </p:sp>
        <p:sp>
          <p:nvSpPr>
            <p:cNvPr id="41" name="Freeform: Shape 40">
              <a:extLst>
                <a:ext uri="{FF2B5EF4-FFF2-40B4-BE49-F238E27FC236}">
                  <a16:creationId xmlns:a16="http://schemas.microsoft.com/office/drawing/2014/main" id="{FEF797D5-3BC3-38F3-6032-9F169E4B94EE}"/>
                </a:ext>
              </a:extLst>
            </p:cNvPr>
            <p:cNvSpPr/>
            <p:nvPr/>
          </p:nvSpPr>
          <p:spPr>
            <a:xfrm>
              <a:off x="5752668" y="924028"/>
              <a:ext cx="58567" cy="77196"/>
            </a:xfrm>
            <a:custGeom>
              <a:avLst/>
              <a:gdLst>
                <a:gd name="connsiteX0" fmla="*/ 198596 w 232981"/>
                <a:gd name="connsiteY0" fmla="*/ 189357 h 307085"/>
                <a:gd name="connsiteX1" fmla="*/ 182785 w 232981"/>
                <a:gd name="connsiteY1" fmla="*/ 208978 h 307085"/>
                <a:gd name="connsiteX2" fmla="*/ 163354 w 232981"/>
                <a:gd name="connsiteY2" fmla="*/ 225552 h 307085"/>
                <a:gd name="connsiteX3" fmla="*/ 139446 w 232981"/>
                <a:gd name="connsiteY3" fmla="*/ 236696 h 307085"/>
                <a:gd name="connsiteX4" fmla="*/ 110204 w 232981"/>
                <a:gd name="connsiteY4" fmla="*/ 240697 h 307085"/>
                <a:gd name="connsiteX5" fmla="*/ 69628 w 232981"/>
                <a:gd name="connsiteY5" fmla="*/ 232696 h 307085"/>
                <a:gd name="connsiteX6" fmla="*/ 34385 w 232981"/>
                <a:gd name="connsiteY6" fmla="*/ 209264 h 307085"/>
                <a:gd name="connsiteX7" fmla="*/ 9335 w 232981"/>
                <a:gd name="connsiteY7" fmla="*/ 171736 h 307085"/>
                <a:gd name="connsiteX8" fmla="*/ 0 w 232981"/>
                <a:gd name="connsiteY8" fmla="*/ 121063 h 307085"/>
                <a:gd name="connsiteX9" fmla="*/ 0 w 232981"/>
                <a:gd name="connsiteY9" fmla="*/ 120205 h 307085"/>
                <a:gd name="connsiteX10" fmla="*/ 9335 w 232981"/>
                <a:gd name="connsiteY10" fmla="*/ 69723 h 307085"/>
                <a:gd name="connsiteX11" fmla="*/ 34385 w 232981"/>
                <a:gd name="connsiteY11" fmla="*/ 32004 h 307085"/>
                <a:gd name="connsiteX12" fmla="*/ 69628 w 232981"/>
                <a:gd name="connsiteY12" fmla="*/ 8287 h 307085"/>
                <a:gd name="connsiteX13" fmla="*/ 110204 w 232981"/>
                <a:gd name="connsiteY13" fmla="*/ 0 h 307085"/>
                <a:gd name="connsiteX14" fmla="*/ 139637 w 232981"/>
                <a:gd name="connsiteY14" fmla="*/ 4000 h 307085"/>
                <a:gd name="connsiteX15" fmla="*/ 163735 w 232981"/>
                <a:gd name="connsiteY15" fmla="*/ 14668 h 307085"/>
                <a:gd name="connsiteX16" fmla="*/ 183166 w 232981"/>
                <a:gd name="connsiteY16" fmla="*/ 30289 h 307085"/>
                <a:gd name="connsiteX17" fmla="*/ 198596 w 232981"/>
                <a:gd name="connsiteY17" fmla="*/ 49054 h 307085"/>
                <a:gd name="connsiteX18" fmla="*/ 198596 w 232981"/>
                <a:gd name="connsiteY18" fmla="*/ 4858 h 307085"/>
                <a:gd name="connsiteX19" fmla="*/ 232982 w 232981"/>
                <a:gd name="connsiteY19" fmla="*/ 4858 h 307085"/>
                <a:gd name="connsiteX20" fmla="*/ 232982 w 232981"/>
                <a:gd name="connsiteY20" fmla="*/ 307086 h 307085"/>
                <a:gd name="connsiteX21" fmla="*/ 198596 w 232981"/>
                <a:gd name="connsiteY21" fmla="*/ 307086 h 307085"/>
                <a:gd name="connsiteX22" fmla="*/ 198596 w 232981"/>
                <a:gd name="connsiteY22" fmla="*/ 189262 h 307085"/>
                <a:gd name="connsiteX23" fmla="*/ 116491 w 232981"/>
                <a:gd name="connsiteY23" fmla="*/ 209931 h 307085"/>
                <a:gd name="connsiteX24" fmla="*/ 147542 w 232981"/>
                <a:gd name="connsiteY24" fmla="*/ 203454 h 307085"/>
                <a:gd name="connsiteX25" fmla="*/ 174308 w 232981"/>
                <a:gd name="connsiteY25" fmla="*/ 185166 h 307085"/>
                <a:gd name="connsiteX26" fmla="*/ 193072 w 232981"/>
                <a:gd name="connsiteY26" fmla="*/ 157067 h 307085"/>
                <a:gd name="connsiteX27" fmla="*/ 200025 w 232981"/>
                <a:gd name="connsiteY27" fmla="*/ 120682 h 307085"/>
                <a:gd name="connsiteX28" fmla="*/ 200025 w 232981"/>
                <a:gd name="connsiteY28" fmla="*/ 119824 h 307085"/>
                <a:gd name="connsiteX29" fmla="*/ 193072 w 232981"/>
                <a:gd name="connsiteY29" fmla="*/ 83439 h 307085"/>
                <a:gd name="connsiteX30" fmla="*/ 174308 w 232981"/>
                <a:gd name="connsiteY30" fmla="*/ 55531 h 307085"/>
                <a:gd name="connsiteX31" fmla="*/ 147542 w 232981"/>
                <a:gd name="connsiteY31" fmla="*/ 37433 h 307085"/>
                <a:gd name="connsiteX32" fmla="*/ 116491 w 232981"/>
                <a:gd name="connsiteY32" fmla="*/ 30956 h 307085"/>
                <a:gd name="connsiteX33" fmla="*/ 84773 w 232981"/>
                <a:gd name="connsiteY33" fmla="*/ 36957 h 307085"/>
                <a:gd name="connsiteX34" fmla="*/ 59150 w 232981"/>
                <a:gd name="connsiteY34" fmla="*/ 54388 h 307085"/>
                <a:gd name="connsiteX35" fmla="*/ 41720 w 232981"/>
                <a:gd name="connsiteY35" fmla="*/ 82296 h 307085"/>
                <a:gd name="connsiteX36" fmla="*/ 35242 w 232981"/>
                <a:gd name="connsiteY36" fmla="*/ 119824 h 307085"/>
                <a:gd name="connsiteX37" fmla="*/ 35242 w 232981"/>
                <a:gd name="connsiteY37" fmla="*/ 120682 h 307085"/>
                <a:gd name="connsiteX38" fmla="*/ 41720 w 232981"/>
                <a:gd name="connsiteY38" fmla="*/ 157734 h 307085"/>
                <a:gd name="connsiteX39" fmla="*/ 59341 w 232981"/>
                <a:gd name="connsiteY39" fmla="*/ 185833 h 307085"/>
                <a:gd name="connsiteX40" fmla="*/ 85249 w 232981"/>
                <a:gd name="connsiteY40" fmla="*/ 203740 h 307085"/>
                <a:gd name="connsiteX41" fmla="*/ 116491 w 232981"/>
                <a:gd name="connsiteY41" fmla="*/ 210026 h 30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07085">
                  <a:moveTo>
                    <a:pt x="198596" y="189357"/>
                  </a:moveTo>
                  <a:cubicBezTo>
                    <a:pt x="193834" y="196215"/>
                    <a:pt x="188595" y="202787"/>
                    <a:pt x="182785" y="208978"/>
                  </a:cubicBezTo>
                  <a:cubicBezTo>
                    <a:pt x="176975" y="215265"/>
                    <a:pt x="170498" y="220789"/>
                    <a:pt x="163354" y="225552"/>
                  </a:cubicBezTo>
                  <a:cubicBezTo>
                    <a:pt x="156210" y="230314"/>
                    <a:pt x="148209" y="234029"/>
                    <a:pt x="139446" y="236696"/>
                  </a:cubicBezTo>
                  <a:cubicBezTo>
                    <a:pt x="130683" y="239363"/>
                    <a:pt x="120967" y="240697"/>
                    <a:pt x="110204" y="240697"/>
                  </a:cubicBezTo>
                  <a:cubicBezTo>
                    <a:pt x="96203" y="240697"/>
                    <a:pt x="82677" y="238030"/>
                    <a:pt x="69628" y="232696"/>
                  </a:cubicBezTo>
                  <a:cubicBezTo>
                    <a:pt x="56579" y="227362"/>
                    <a:pt x="44767" y="219551"/>
                    <a:pt x="34385" y="209264"/>
                  </a:cubicBezTo>
                  <a:cubicBezTo>
                    <a:pt x="24003" y="198977"/>
                    <a:pt x="15621" y="186499"/>
                    <a:pt x="9335" y="171736"/>
                  </a:cubicBezTo>
                  <a:cubicBezTo>
                    <a:pt x="3048" y="156972"/>
                    <a:pt x="0" y="140113"/>
                    <a:pt x="0" y="121063"/>
                  </a:cubicBezTo>
                  <a:lnTo>
                    <a:pt x="0" y="120205"/>
                  </a:lnTo>
                  <a:cubicBezTo>
                    <a:pt x="0" y="101441"/>
                    <a:pt x="3143" y="84677"/>
                    <a:pt x="9335" y="69723"/>
                  </a:cubicBezTo>
                  <a:cubicBezTo>
                    <a:pt x="15621" y="54864"/>
                    <a:pt x="23908" y="42291"/>
                    <a:pt x="34385" y="32004"/>
                  </a:cubicBezTo>
                  <a:cubicBezTo>
                    <a:pt x="44767" y="21717"/>
                    <a:pt x="56579" y="13811"/>
                    <a:pt x="69628" y="8287"/>
                  </a:cubicBezTo>
                  <a:cubicBezTo>
                    <a:pt x="82677" y="2762"/>
                    <a:pt x="96298" y="0"/>
                    <a:pt x="110204" y="0"/>
                  </a:cubicBezTo>
                  <a:cubicBezTo>
                    <a:pt x="120967" y="0"/>
                    <a:pt x="130778" y="1333"/>
                    <a:pt x="139637" y="4000"/>
                  </a:cubicBezTo>
                  <a:cubicBezTo>
                    <a:pt x="148590" y="6667"/>
                    <a:pt x="156591" y="10287"/>
                    <a:pt x="163735" y="14668"/>
                  </a:cubicBezTo>
                  <a:cubicBezTo>
                    <a:pt x="170879" y="19145"/>
                    <a:pt x="177356" y="24384"/>
                    <a:pt x="183166" y="30289"/>
                  </a:cubicBezTo>
                  <a:cubicBezTo>
                    <a:pt x="188976" y="36290"/>
                    <a:pt x="194120" y="42481"/>
                    <a:pt x="198596" y="49054"/>
                  </a:cubicBezTo>
                  <a:lnTo>
                    <a:pt x="198596" y="4858"/>
                  </a:lnTo>
                  <a:lnTo>
                    <a:pt x="232982" y="4858"/>
                  </a:lnTo>
                  <a:lnTo>
                    <a:pt x="232982" y="307086"/>
                  </a:lnTo>
                  <a:lnTo>
                    <a:pt x="198596" y="307086"/>
                  </a:lnTo>
                  <a:lnTo>
                    <a:pt x="198596" y="189262"/>
                  </a:lnTo>
                  <a:close/>
                  <a:moveTo>
                    <a:pt x="116491" y="209931"/>
                  </a:moveTo>
                  <a:cubicBezTo>
                    <a:pt x="127159" y="209931"/>
                    <a:pt x="137541" y="207740"/>
                    <a:pt x="147542" y="203454"/>
                  </a:cubicBezTo>
                  <a:cubicBezTo>
                    <a:pt x="157544" y="199168"/>
                    <a:pt x="166402" y="193072"/>
                    <a:pt x="174308" y="185166"/>
                  </a:cubicBezTo>
                  <a:cubicBezTo>
                    <a:pt x="182213" y="177260"/>
                    <a:pt x="188404" y="167926"/>
                    <a:pt x="193072" y="157067"/>
                  </a:cubicBezTo>
                  <a:cubicBezTo>
                    <a:pt x="197739" y="146209"/>
                    <a:pt x="200025" y="134112"/>
                    <a:pt x="200025" y="120682"/>
                  </a:cubicBezTo>
                  <a:lnTo>
                    <a:pt x="200025" y="119824"/>
                  </a:lnTo>
                  <a:cubicBezTo>
                    <a:pt x="200025" y="106394"/>
                    <a:pt x="197739" y="94297"/>
                    <a:pt x="193072" y="83439"/>
                  </a:cubicBezTo>
                  <a:cubicBezTo>
                    <a:pt x="188500" y="72580"/>
                    <a:pt x="182213" y="63246"/>
                    <a:pt x="174308" y="55531"/>
                  </a:cubicBezTo>
                  <a:cubicBezTo>
                    <a:pt x="166402" y="47815"/>
                    <a:pt x="157544" y="41815"/>
                    <a:pt x="147542" y="37433"/>
                  </a:cubicBezTo>
                  <a:cubicBezTo>
                    <a:pt x="137541" y="33147"/>
                    <a:pt x="127254" y="30956"/>
                    <a:pt x="116491" y="30956"/>
                  </a:cubicBezTo>
                  <a:cubicBezTo>
                    <a:pt x="105156" y="30956"/>
                    <a:pt x="94583" y="32956"/>
                    <a:pt x="84773" y="36957"/>
                  </a:cubicBezTo>
                  <a:cubicBezTo>
                    <a:pt x="74962" y="40957"/>
                    <a:pt x="66389" y="46767"/>
                    <a:pt x="59150" y="54388"/>
                  </a:cubicBezTo>
                  <a:cubicBezTo>
                    <a:pt x="51816" y="61913"/>
                    <a:pt x="46101" y="71247"/>
                    <a:pt x="41720" y="82296"/>
                  </a:cubicBezTo>
                  <a:cubicBezTo>
                    <a:pt x="37433" y="93250"/>
                    <a:pt x="35242" y="105823"/>
                    <a:pt x="35242" y="119824"/>
                  </a:cubicBezTo>
                  <a:lnTo>
                    <a:pt x="35242" y="120682"/>
                  </a:lnTo>
                  <a:cubicBezTo>
                    <a:pt x="35242" y="134398"/>
                    <a:pt x="37433" y="146780"/>
                    <a:pt x="41720" y="157734"/>
                  </a:cubicBezTo>
                  <a:cubicBezTo>
                    <a:pt x="46006" y="168783"/>
                    <a:pt x="51911" y="178117"/>
                    <a:pt x="59341" y="185833"/>
                  </a:cubicBezTo>
                  <a:cubicBezTo>
                    <a:pt x="66770" y="193548"/>
                    <a:pt x="75438" y="199549"/>
                    <a:pt x="85249" y="203740"/>
                  </a:cubicBezTo>
                  <a:cubicBezTo>
                    <a:pt x="95060" y="207931"/>
                    <a:pt x="105442" y="210026"/>
                    <a:pt x="116491" y="210026"/>
                  </a:cubicBezTo>
                  <a:close/>
                </a:path>
              </a:pathLst>
            </a:custGeom>
            <a:solidFill>
              <a:srgbClr val="44505E"/>
            </a:solidFill>
            <a:ln w="9525" cap="flat">
              <a:noFill/>
              <a:prstDash val="solid"/>
              <a:miter/>
            </a:ln>
          </p:spPr>
          <p:txBody>
            <a:bodyPr rtlCol="0" anchor="ctr"/>
            <a:lstStyle/>
            <a:p>
              <a:endParaRPr lang="pt-BR" noProof="0"/>
            </a:p>
          </p:txBody>
        </p:sp>
        <p:sp>
          <p:nvSpPr>
            <p:cNvPr id="42" name="Freeform: Shape 41">
              <a:extLst>
                <a:ext uri="{FF2B5EF4-FFF2-40B4-BE49-F238E27FC236}">
                  <a16:creationId xmlns:a16="http://schemas.microsoft.com/office/drawing/2014/main" id="{F17971D5-F12B-8CDF-A214-41AC126AB55E}"/>
                </a:ext>
              </a:extLst>
            </p:cNvPr>
            <p:cNvSpPr/>
            <p:nvPr/>
          </p:nvSpPr>
          <p:spPr>
            <a:xfrm>
              <a:off x="5829624" y="925297"/>
              <a:ext cx="50618" cy="59238"/>
            </a:xfrm>
            <a:custGeom>
              <a:avLst/>
              <a:gdLst>
                <a:gd name="connsiteX0" fmla="*/ 88392 w 201358"/>
                <a:gd name="connsiteY0" fmla="*/ 235648 h 235648"/>
                <a:gd name="connsiteX1" fmla="*/ 51149 w 201358"/>
                <a:gd name="connsiteY1" fmla="*/ 228981 h 235648"/>
                <a:gd name="connsiteX2" fmla="*/ 23432 w 201358"/>
                <a:gd name="connsiteY2" fmla="*/ 210026 h 235648"/>
                <a:gd name="connsiteX3" fmla="*/ 6001 w 201358"/>
                <a:gd name="connsiteY3" fmla="*/ 180784 h 235648"/>
                <a:gd name="connsiteX4" fmla="*/ 0 w 201358"/>
                <a:gd name="connsiteY4" fmla="*/ 143256 h 235648"/>
                <a:gd name="connsiteX5" fmla="*/ 0 w 201358"/>
                <a:gd name="connsiteY5" fmla="*/ 0 h 235648"/>
                <a:gd name="connsiteX6" fmla="*/ 34385 w 201358"/>
                <a:gd name="connsiteY6" fmla="*/ 0 h 235648"/>
                <a:gd name="connsiteX7" fmla="*/ 34385 w 201358"/>
                <a:gd name="connsiteY7" fmla="*/ 134493 h 235648"/>
                <a:gd name="connsiteX8" fmla="*/ 50959 w 201358"/>
                <a:gd name="connsiteY8" fmla="*/ 185261 h 235648"/>
                <a:gd name="connsiteX9" fmla="*/ 98298 w 201358"/>
                <a:gd name="connsiteY9" fmla="*/ 203930 h 235648"/>
                <a:gd name="connsiteX10" fmla="*/ 125730 w 201358"/>
                <a:gd name="connsiteY10" fmla="*/ 198787 h 235648"/>
                <a:gd name="connsiteX11" fmla="*/ 147638 w 201358"/>
                <a:gd name="connsiteY11" fmla="*/ 184118 h 235648"/>
                <a:gd name="connsiteX12" fmla="*/ 162116 w 201358"/>
                <a:gd name="connsiteY12" fmla="*/ 161163 h 235648"/>
                <a:gd name="connsiteX13" fmla="*/ 167450 w 201358"/>
                <a:gd name="connsiteY13" fmla="*/ 131826 h 235648"/>
                <a:gd name="connsiteX14" fmla="*/ 167450 w 201358"/>
                <a:gd name="connsiteY14" fmla="*/ 0 h 235648"/>
                <a:gd name="connsiteX15" fmla="*/ 201359 w 201358"/>
                <a:gd name="connsiteY15" fmla="*/ 0 h 235648"/>
                <a:gd name="connsiteX16" fmla="*/ 201359 w 201358"/>
                <a:gd name="connsiteY16" fmla="*/ 230791 h 235648"/>
                <a:gd name="connsiteX17" fmla="*/ 167450 w 201358"/>
                <a:gd name="connsiteY17" fmla="*/ 230791 h 235648"/>
                <a:gd name="connsiteX18" fmla="*/ 167450 w 201358"/>
                <a:gd name="connsiteY18" fmla="*/ 190595 h 235648"/>
                <a:gd name="connsiteX19" fmla="*/ 137065 w 201358"/>
                <a:gd name="connsiteY19" fmla="*/ 222504 h 235648"/>
                <a:gd name="connsiteX20" fmla="*/ 88392 w 201358"/>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358" h="235648">
                  <a:moveTo>
                    <a:pt x="88392" y="235648"/>
                  </a:moveTo>
                  <a:cubicBezTo>
                    <a:pt x="74390" y="235648"/>
                    <a:pt x="62008" y="233363"/>
                    <a:pt x="51149" y="228981"/>
                  </a:cubicBezTo>
                  <a:cubicBezTo>
                    <a:pt x="40291" y="224504"/>
                    <a:pt x="31052" y="218218"/>
                    <a:pt x="23432"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959" y="185261"/>
                  </a:cubicBezTo>
                  <a:cubicBezTo>
                    <a:pt x="61913" y="197739"/>
                    <a:pt x="77724" y="203930"/>
                    <a:pt x="98298" y="203930"/>
                  </a:cubicBezTo>
                  <a:cubicBezTo>
                    <a:pt x="108109" y="203930"/>
                    <a:pt x="117253" y="202216"/>
                    <a:pt x="125730" y="198787"/>
                  </a:cubicBezTo>
                  <a:cubicBezTo>
                    <a:pt x="134207" y="195358"/>
                    <a:pt x="141446" y="190500"/>
                    <a:pt x="147638" y="184118"/>
                  </a:cubicBezTo>
                  <a:cubicBezTo>
                    <a:pt x="153734" y="177736"/>
                    <a:pt x="158591" y="170116"/>
                    <a:pt x="162116" y="161163"/>
                  </a:cubicBezTo>
                  <a:cubicBezTo>
                    <a:pt x="165735" y="152305"/>
                    <a:pt x="167450" y="142494"/>
                    <a:pt x="167450" y="131826"/>
                  </a:cubicBezTo>
                  <a:lnTo>
                    <a:pt x="167450" y="0"/>
                  </a:lnTo>
                  <a:lnTo>
                    <a:pt x="201359" y="0"/>
                  </a:lnTo>
                  <a:lnTo>
                    <a:pt x="201359" y="230791"/>
                  </a:lnTo>
                  <a:lnTo>
                    <a:pt x="167450" y="230791"/>
                  </a:lnTo>
                  <a:lnTo>
                    <a:pt x="167450" y="190595"/>
                  </a:lnTo>
                  <a:cubicBezTo>
                    <a:pt x="159734" y="203073"/>
                    <a:pt x="149543" y="213741"/>
                    <a:pt x="137065" y="222504"/>
                  </a:cubicBezTo>
                  <a:cubicBezTo>
                    <a:pt x="124587" y="231267"/>
                    <a:pt x="108395" y="235648"/>
                    <a:pt x="88392" y="235648"/>
                  </a:cubicBezTo>
                  <a:close/>
                </a:path>
              </a:pathLst>
            </a:custGeom>
            <a:solidFill>
              <a:srgbClr val="44505E"/>
            </a:solidFill>
            <a:ln w="9525" cap="flat">
              <a:noFill/>
              <a:prstDash val="solid"/>
              <a:miter/>
            </a:ln>
          </p:spPr>
          <p:txBody>
            <a:bodyPr rtlCol="0" anchor="ctr"/>
            <a:lstStyle/>
            <a:p>
              <a:endParaRPr lang="pt-BR" noProof="0"/>
            </a:p>
          </p:txBody>
        </p:sp>
        <p:sp>
          <p:nvSpPr>
            <p:cNvPr id="43" name="Freeform: Shape 42">
              <a:extLst>
                <a:ext uri="{FF2B5EF4-FFF2-40B4-BE49-F238E27FC236}">
                  <a16:creationId xmlns:a16="http://schemas.microsoft.com/office/drawing/2014/main" id="{8BC2F800-26CF-9439-3BA7-6A48EC1F9D0B}"/>
                </a:ext>
              </a:extLst>
            </p:cNvPr>
            <p:cNvSpPr/>
            <p:nvPr/>
          </p:nvSpPr>
          <p:spPr>
            <a:xfrm>
              <a:off x="5896069"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7059 w 218217"/>
                <a:gd name="connsiteY3" fmla="*/ 206026 h 241077"/>
                <a:gd name="connsiteX4" fmla="*/ 116110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7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0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356 w 218217"/>
                <a:gd name="connsiteY25" fmla="*/ 106299 h 241077"/>
                <a:gd name="connsiteX26" fmla="*/ 176689 w 218217"/>
                <a:gd name="connsiteY26" fmla="*/ 76771 h 241077"/>
                <a:gd name="connsiteX27" fmla="*/ 162211 w 218217"/>
                <a:gd name="connsiteY27" fmla="*/ 52101 h 241077"/>
                <a:gd name="connsiteX28" fmla="*/ 139922 w 218217"/>
                <a:gd name="connsiteY28" fmla="*/ 35242 h 241077"/>
                <a:gd name="connsiteX29" fmla="*/ 109823 w 218217"/>
                <a:gd name="connsiteY29" fmla="*/ 29051 h 241077"/>
                <a:gd name="connsiteX30" fmla="*/ 82105 w 218217"/>
                <a:gd name="connsiteY30" fmla="*/ 34766 h 241077"/>
                <a:gd name="connsiteX31" fmla="*/ 59341 w 218217"/>
                <a:gd name="connsiteY31" fmla="*/ 50959 h 241077"/>
                <a:gd name="connsiteX32" fmla="*/ 43053 w 218217"/>
                <a:gd name="connsiteY32" fmla="*/ 75628 h 241077"/>
                <a:gd name="connsiteX33" fmla="*/ 34766 w 218217"/>
                <a:gd name="connsiteY33" fmla="*/ 106204 h 241077"/>
                <a:gd name="connsiteX34" fmla="*/ 183356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819" y="202597"/>
                    <a:pt x="87059" y="206026"/>
                  </a:cubicBezTo>
                  <a:cubicBezTo>
                    <a:pt x="96298" y="209455"/>
                    <a:pt x="105918" y="211169"/>
                    <a:pt x="116110" y="211169"/>
                  </a:cubicBezTo>
                  <a:cubicBezTo>
                    <a:pt x="132207" y="211169"/>
                    <a:pt x="145923" y="208216"/>
                    <a:pt x="157353" y="202216"/>
                  </a:cubicBezTo>
                  <a:cubicBezTo>
                    <a:pt x="168783" y="196310"/>
                    <a:pt x="179261" y="188404"/>
                    <a:pt x="188786" y="178594"/>
                  </a:cubicBezTo>
                  <a:lnTo>
                    <a:pt x="210217" y="197834"/>
                  </a:lnTo>
                  <a:cubicBezTo>
                    <a:pt x="198596" y="210979"/>
                    <a:pt x="185356" y="221361"/>
                    <a:pt x="170497" y="229267"/>
                  </a:cubicBezTo>
                  <a:cubicBezTo>
                    <a:pt x="155638"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583" y="0"/>
                    <a:pt x="110680"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356" y="106299"/>
                  </a:moveTo>
                  <a:cubicBezTo>
                    <a:pt x="182499" y="95917"/>
                    <a:pt x="180213" y="86106"/>
                    <a:pt x="176689" y="76771"/>
                  </a:cubicBezTo>
                  <a:cubicBezTo>
                    <a:pt x="173069" y="67437"/>
                    <a:pt x="168307" y="59245"/>
                    <a:pt x="162211" y="52101"/>
                  </a:cubicBezTo>
                  <a:cubicBezTo>
                    <a:pt x="156115" y="44958"/>
                    <a:pt x="148685" y="39338"/>
                    <a:pt x="139922" y="35242"/>
                  </a:cubicBezTo>
                  <a:cubicBezTo>
                    <a:pt x="131159" y="31147"/>
                    <a:pt x="121063" y="29051"/>
                    <a:pt x="109823" y="29051"/>
                  </a:cubicBezTo>
                  <a:cubicBezTo>
                    <a:pt x="100013" y="29051"/>
                    <a:pt x="90773" y="30956"/>
                    <a:pt x="82105" y="34766"/>
                  </a:cubicBezTo>
                  <a:cubicBezTo>
                    <a:pt x="73438" y="38671"/>
                    <a:pt x="65913" y="44005"/>
                    <a:pt x="59341" y="50959"/>
                  </a:cubicBezTo>
                  <a:cubicBezTo>
                    <a:pt x="52769" y="57912"/>
                    <a:pt x="47339" y="66103"/>
                    <a:pt x="43053" y="75628"/>
                  </a:cubicBezTo>
                  <a:cubicBezTo>
                    <a:pt x="38767" y="85058"/>
                    <a:pt x="36004" y="95345"/>
                    <a:pt x="34766" y="106204"/>
                  </a:cubicBezTo>
                  <a:lnTo>
                    <a:pt x="183356" y="106204"/>
                  </a:lnTo>
                  <a:close/>
                </a:path>
              </a:pathLst>
            </a:custGeom>
            <a:solidFill>
              <a:srgbClr val="44505E"/>
            </a:solidFill>
            <a:ln w="9525" cap="flat">
              <a:noFill/>
              <a:prstDash val="solid"/>
              <a:miter/>
            </a:ln>
          </p:spPr>
          <p:txBody>
            <a:bodyPr rtlCol="0" anchor="ctr"/>
            <a:lstStyle/>
            <a:p>
              <a:endParaRPr lang="pt-BR" noProof="0"/>
            </a:p>
          </p:txBody>
        </p:sp>
        <p:sp>
          <p:nvSpPr>
            <p:cNvPr id="44" name="Freeform: Shape 43">
              <a:extLst>
                <a:ext uri="{FF2B5EF4-FFF2-40B4-BE49-F238E27FC236}">
                  <a16:creationId xmlns:a16="http://schemas.microsoft.com/office/drawing/2014/main" id="{AEE11CB7-7D59-E8B4-B17A-A3245D8C05A9}"/>
                </a:ext>
              </a:extLst>
            </p:cNvPr>
            <p:cNvSpPr/>
            <p:nvPr/>
          </p:nvSpPr>
          <p:spPr>
            <a:xfrm>
              <a:off x="5994910" y="924268"/>
              <a:ext cx="44680" cy="60195"/>
            </a:xfrm>
            <a:custGeom>
              <a:avLst/>
              <a:gdLst>
                <a:gd name="connsiteX0" fmla="*/ 95536 w 177736"/>
                <a:gd name="connsiteY0" fmla="*/ 239268 h 239458"/>
                <a:gd name="connsiteX1" fmla="*/ 45053 w 177736"/>
                <a:gd name="connsiteY1" fmla="*/ 230124 h 239458"/>
                <a:gd name="connsiteX2" fmla="*/ 0 w 177736"/>
                <a:gd name="connsiteY2" fmla="*/ 205359 h 239458"/>
                <a:gd name="connsiteX3" fmla="*/ 17431 w 177736"/>
                <a:gd name="connsiteY3" fmla="*/ 180785 h 239458"/>
                <a:gd name="connsiteX4" fmla="*/ 56483 w 177736"/>
                <a:gd name="connsiteY4" fmla="*/ 202692 h 239458"/>
                <a:gd name="connsiteX5" fmla="*/ 97346 w 177736"/>
                <a:gd name="connsiteY5" fmla="*/ 210217 h 239458"/>
                <a:gd name="connsiteX6" fmla="*/ 131731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730 w 177736"/>
                <a:gd name="connsiteY10" fmla="*/ 147066 h 239458"/>
                <a:gd name="connsiteX11" fmla="*/ 109252 w 177736"/>
                <a:gd name="connsiteY11" fmla="*/ 138779 h 239458"/>
                <a:gd name="connsiteX12" fmla="*/ 87630 w 177736"/>
                <a:gd name="connsiteY12" fmla="*/ 132112 h 239458"/>
                <a:gd name="connsiteX13" fmla="*/ 60674 w 177736"/>
                <a:gd name="connsiteY13" fmla="*/ 123444 h 239458"/>
                <a:gd name="connsiteX14" fmla="*/ 36100 w 177736"/>
                <a:gd name="connsiteY14" fmla="*/ 111633 h 239458"/>
                <a:gd name="connsiteX15" fmla="*/ 18193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60 w 177736"/>
                <a:gd name="connsiteY22" fmla="*/ 6953 h 239458"/>
                <a:gd name="connsiteX23" fmla="*/ 172879 w 177736"/>
                <a:gd name="connsiteY23" fmla="*/ 25527 h 239458"/>
                <a:gd name="connsiteX24" fmla="*/ 157258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4 w 177736"/>
                <a:gd name="connsiteY32" fmla="*/ 96203 h 239458"/>
                <a:gd name="connsiteX33" fmla="*/ 103632 w 177736"/>
                <a:gd name="connsiteY33" fmla="*/ 103346 h 239458"/>
                <a:gd name="connsiteX34" fmla="*/ 130207 w 177736"/>
                <a:gd name="connsiteY34" fmla="*/ 112300 h 239458"/>
                <a:gd name="connsiteX35" fmla="*/ 154114 w 177736"/>
                <a:gd name="connsiteY35" fmla="*/ 124778 h 239458"/>
                <a:gd name="connsiteX36" fmla="*/ 171260 w 177736"/>
                <a:gd name="connsiteY36" fmla="*/ 143066 h 239458"/>
                <a:gd name="connsiteX37" fmla="*/ 177737 w 177736"/>
                <a:gd name="connsiteY37" fmla="*/ 169450 h 239458"/>
                <a:gd name="connsiteX38" fmla="*/ 177737 w 177736"/>
                <a:gd name="connsiteY38" fmla="*/ 170307 h 239458"/>
                <a:gd name="connsiteX39" fmla="*/ 171260 w 177736"/>
                <a:gd name="connsiteY39" fmla="*/ 199549 h 239458"/>
                <a:gd name="connsiteX40" fmla="*/ 153829 w 177736"/>
                <a:gd name="connsiteY40" fmla="*/ 221171 h 239458"/>
                <a:gd name="connsiteX41" fmla="*/ 127921 w 177736"/>
                <a:gd name="connsiteY41" fmla="*/ 234791 h 239458"/>
                <a:gd name="connsiteX42" fmla="*/ 95536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6" y="239268"/>
                  </a:moveTo>
                  <a:cubicBezTo>
                    <a:pt x="78867" y="239268"/>
                    <a:pt x="62008" y="236220"/>
                    <a:pt x="45053" y="230124"/>
                  </a:cubicBezTo>
                  <a:cubicBezTo>
                    <a:pt x="28099" y="224028"/>
                    <a:pt x="13049" y="215741"/>
                    <a:pt x="0" y="205359"/>
                  </a:cubicBezTo>
                  <a:lnTo>
                    <a:pt x="17431" y="180785"/>
                  </a:lnTo>
                  <a:cubicBezTo>
                    <a:pt x="29909"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637" y="162211"/>
                    <a:pt x="140494" y="158020"/>
                  </a:cubicBezTo>
                  <a:cubicBezTo>
                    <a:pt x="137351" y="153829"/>
                    <a:pt x="133160" y="150209"/>
                    <a:pt x="127730" y="147066"/>
                  </a:cubicBezTo>
                  <a:cubicBezTo>
                    <a:pt x="122396" y="143923"/>
                    <a:pt x="116205" y="141161"/>
                    <a:pt x="109252" y="138779"/>
                  </a:cubicBezTo>
                  <a:cubicBezTo>
                    <a:pt x="102299" y="136398"/>
                    <a:pt x="95060" y="134207"/>
                    <a:pt x="87630" y="132112"/>
                  </a:cubicBezTo>
                  <a:cubicBezTo>
                    <a:pt x="78677" y="129445"/>
                    <a:pt x="69723" y="126492"/>
                    <a:pt x="60674" y="123444"/>
                  </a:cubicBezTo>
                  <a:cubicBezTo>
                    <a:pt x="51626" y="120301"/>
                    <a:pt x="43434" y="116396"/>
                    <a:pt x="36100" y="111633"/>
                  </a:cubicBezTo>
                  <a:cubicBezTo>
                    <a:pt x="28766" y="106871"/>
                    <a:pt x="22860" y="100870"/>
                    <a:pt x="18193" y="93726"/>
                  </a:cubicBezTo>
                  <a:cubicBezTo>
                    <a:pt x="13621" y="86582"/>
                    <a:pt x="11239" y="77629"/>
                    <a:pt x="11239" y="66961"/>
                  </a:cubicBezTo>
                  <a:lnTo>
                    <a:pt x="11239" y="66008"/>
                  </a:lnTo>
                  <a:cubicBezTo>
                    <a:pt x="11239" y="56198"/>
                    <a:pt x="13145" y="47149"/>
                    <a:pt x="17050" y="39053"/>
                  </a:cubicBezTo>
                  <a:cubicBezTo>
                    <a:pt x="20860" y="30861"/>
                    <a:pt x="26289" y="23908"/>
                    <a:pt x="33338" y="18098"/>
                  </a:cubicBezTo>
                  <a:cubicBezTo>
                    <a:pt x="40291" y="12287"/>
                    <a:pt x="48673" y="7811"/>
                    <a:pt x="58388" y="4667"/>
                  </a:cubicBezTo>
                  <a:cubicBezTo>
                    <a:pt x="68009" y="1524"/>
                    <a:pt x="78581" y="0"/>
                    <a:pt x="89821" y="0"/>
                  </a:cubicBezTo>
                  <a:cubicBezTo>
                    <a:pt x="104108" y="0"/>
                    <a:pt x="118491" y="2286"/>
                    <a:pt x="133160" y="6953"/>
                  </a:cubicBezTo>
                  <a:cubicBezTo>
                    <a:pt x="147733" y="11621"/>
                    <a:pt x="160972" y="17717"/>
                    <a:pt x="172879" y="25527"/>
                  </a:cubicBezTo>
                  <a:lnTo>
                    <a:pt x="157258" y="51435"/>
                  </a:lnTo>
                  <a:cubicBezTo>
                    <a:pt x="146495" y="44577"/>
                    <a:pt x="135350" y="39148"/>
                    <a:pt x="123539" y="35147"/>
                  </a:cubicBezTo>
                  <a:cubicBezTo>
                    <a:pt x="111824" y="31147"/>
                    <a:pt x="100298" y="29146"/>
                    <a:pt x="88963" y="29146"/>
                  </a:cubicBezTo>
                  <a:cubicBezTo>
                    <a:pt x="75247" y="29146"/>
                    <a:pt x="64389" y="32385"/>
                    <a:pt x="56388" y="38767"/>
                  </a:cubicBezTo>
                  <a:cubicBezTo>
                    <a:pt x="48387" y="45149"/>
                    <a:pt x="44291" y="53150"/>
                    <a:pt x="44291" y="62675"/>
                  </a:cubicBezTo>
                  <a:lnTo>
                    <a:pt x="44291" y="63627"/>
                  </a:lnTo>
                  <a:cubicBezTo>
                    <a:pt x="44291" y="68961"/>
                    <a:pt x="45911" y="73628"/>
                    <a:pt x="49244" y="77724"/>
                  </a:cubicBezTo>
                  <a:cubicBezTo>
                    <a:pt x="52483" y="81725"/>
                    <a:pt x="56960" y="85249"/>
                    <a:pt x="62389" y="88202"/>
                  </a:cubicBezTo>
                  <a:cubicBezTo>
                    <a:pt x="67913" y="91154"/>
                    <a:pt x="74200" y="93821"/>
                    <a:pt x="81344" y="96203"/>
                  </a:cubicBezTo>
                  <a:cubicBezTo>
                    <a:pt x="88487" y="98584"/>
                    <a:pt x="95917" y="100965"/>
                    <a:pt x="103632" y="103346"/>
                  </a:cubicBezTo>
                  <a:cubicBezTo>
                    <a:pt x="112586" y="106013"/>
                    <a:pt x="121444" y="108966"/>
                    <a:pt x="130207" y="112300"/>
                  </a:cubicBezTo>
                  <a:cubicBezTo>
                    <a:pt x="138970" y="115538"/>
                    <a:pt x="146971" y="119729"/>
                    <a:pt x="154114" y="124778"/>
                  </a:cubicBezTo>
                  <a:cubicBezTo>
                    <a:pt x="161258" y="129826"/>
                    <a:pt x="166973" y="135922"/>
                    <a:pt x="171260" y="143066"/>
                  </a:cubicBezTo>
                  <a:cubicBezTo>
                    <a:pt x="175546" y="150209"/>
                    <a:pt x="177737" y="158972"/>
                    <a:pt x="177737" y="169450"/>
                  </a:cubicBezTo>
                  <a:lnTo>
                    <a:pt x="177737" y="170307"/>
                  </a:lnTo>
                  <a:cubicBezTo>
                    <a:pt x="177737" y="181356"/>
                    <a:pt x="175546" y="191071"/>
                    <a:pt x="171260" y="199549"/>
                  </a:cubicBezTo>
                  <a:cubicBezTo>
                    <a:pt x="166973" y="208026"/>
                    <a:pt x="161163" y="215265"/>
                    <a:pt x="153829" y="221171"/>
                  </a:cubicBezTo>
                  <a:cubicBezTo>
                    <a:pt x="146495" y="227171"/>
                    <a:pt x="137922" y="231648"/>
                    <a:pt x="127921" y="234791"/>
                  </a:cubicBezTo>
                  <a:cubicBezTo>
                    <a:pt x="117920" y="237935"/>
                    <a:pt x="107156" y="239459"/>
                    <a:pt x="95536" y="239459"/>
                  </a:cubicBezTo>
                  <a:close/>
                </a:path>
              </a:pathLst>
            </a:custGeom>
            <a:solidFill>
              <a:srgbClr val="44505E"/>
            </a:solidFill>
            <a:ln w="9525" cap="flat">
              <a:noFill/>
              <a:prstDash val="solid"/>
              <a:miter/>
            </a:ln>
          </p:spPr>
          <p:txBody>
            <a:bodyPr rtlCol="0" anchor="ctr"/>
            <a:lstStyle/>
            <a:p>
              <a:endParaRPr lang="pt-BR" noProof="0"/>
            </a:p>
          </p:txBody>
        </p:sp>
        <p:sp>
          <p:nvSpPr>
            <p:cNvPr id="45" name="Freeform: Shape 44">
              <a:extLst>
                <a:ext uri="{FF2B5EF4-FFF2-40B4-BE49-F238E27FC236}">
                  <a16:creationId xmlns:a16="http://schemas.microsoft.com/office/drawing/2014/main" id="{900B026A-EF04-2FC7-1EC3-98775A929D2B}"/>
                </a:ext>
              </a:extLst>
            </p:cNvPr>
            <p:cNvSpPr/>
            <p:nvPr/>
          </p:nvSpPr>
          <p:spPr>
            <a:xfrm>
              <a:off x="605122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4 w 202977"/>
                <a:gd name="connsiteY30" fmla="*/ 174593 h 239267"/>
                <a:gd name="connsiteX31" fmla="*/ 169735 w 202977"/>
                <a:gd name="connsiteY31" fmla="*/ 149447 h 239267"/>
                <a:gd name="connsiteX32" fmla="*/ 169735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0" y="90964"/>
                    <a:pt x="98584" y="90964"/>
                  </a:cubicBezTo>
                  <a:cubicBezTo>
                    <a:pt x="113157" y="90964"/>
                    <a:pt x="126301"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1" y="33147"/>
                    <a:pt x="63436" y="36100"/>
                  </a:cubicBezTo>
                  <a:cubicBezTo>
                    <a:pt x="52292" y="39053"/>
                    <a:pt x="41338" y="43053"/>
                    <a:pt x="30671" y="48196"/>
                  </a:cubicBezTo>
                  <a:lnTo>
                    <a:pt x="20383" y="19907"/>
                  </a:lnTo>
                  <a:cubicBezTo>
                    <a:pt x="33147" y="13906"/>
                    <a:pt x="46101" y="9049"/>
                    <a:pt x="59246" y="5429"/>
                  </a:cubicBezTo>
                  <a:cubicBezTo>
                    <a:pt x="72295"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1" y="239173"/>
                  </a:cubicBezTo>
                  <a:close/>
                  <a:moveTo>
                    <a:pt x="93154" y="211169"/>
                  </a:moveTo>
                  <a:cubicBezTo>
                    <a:pt x="103822" y="211169"/>
                    <a:pt x="113728" y="209740"/>
                    <a:pt x="122967" y="206788"/>
                  </a:cubicBezTo>
                  <a:cubicBezTo>
                    <a:pt x="132207" y="203835"/>
                    <a:pt x="140208" y="199644"/>
                    <a:pt x="147256" y="194120"/>
                  </a:cubicBezTo>
                  <a:cubicBezTo>
                    <a:pt x="154209" y="188595"/>
                    <a:pt x="159734" y="182118"/>
                    <a:pt x="163734" y="174593"/>
                  </a:cubicBezTo>
                  <a:cubicBezTo>
                    <a:pt x="167735" y="167068"/>
                    <a:pt x="169735" y="158687"/>
                    <a:pt x="169735" y="149447"/>
                  </a:cubicBezTo>
                  <a:lnTo>
                    <a:pt x="169735" y="128111"/>
                  </a:lnTo>
                  <a:cubicBezTo>
                    <a:pt x="161163" y="125730"/>
                    <a:pt x="151352" y="123539"/>
                    <a:pt x="140398" y="121444"/>
                  </a:cubicBezTo>
                  <a:cubicBezTo>
                    <a:pt x="129445" y="119348"/>
                    <a:pt x="116872"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46" name="Freeform: Shape 45">
              <a:extLst>
                <a:ext uri="{FF2B5EF4-FFF2-40B4-BE49-F238E27FC236}">
                  <a16:creationId xmlns:a16="http://schemas.microsoft.com/office/drawing/2014/main" id="{900B4BC6-8977-A413-D87B-E5F949E387CD}"/>
                </a:ext>
              </a:extLst>
            </p:cNvPr>
            <p:cNvSpPr/>
            <p:nvPr/>
          </p:nvSpPr>
          <p:spPr>
            <a:xfrm>
              <a:off x="6121359" y="901377"/>
              <a:ext cx="8644" cy="81913"/>
            </a:xfrm>
            <a:custGeom>
              <a:avLst/>
              <a:gdLst>
                <a:gd name="connsiteX0" fmla="*/ 0 w 34385"/>
                <a:gd name="connsiteY0" fmla="*/ 0 h 325850"/>
                <a:gd name="connsiteX1" fmla="*/ 34385 w 34385"/>
                <a:gd name="connsiteY1" fmla="*/ 0 h 325850"/>
                <a:gd name="connsiteX2" fmla="*/ 34385 w 34385"/>
                <a:gd name="connsiteY2" fmla="*/ 325850 h 325850"/>
                <a:gd name="connsiteX3" fmla="*/ 0 w 34385"/>
                <a:gd name="connsiteY3" fmla="*/ 325850 h 325850"/>
                <a:gd name="connsiteX4" fmla="*/ 0 w 34385"/>
                <a:gd name="connsiteY4" fmla="*/ 0 h 32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 h="325850">
                  <a:moveTo>
                    <a:pt x="0" y="0"/>
                  </a:moveTo>
                  <a:lnTo>
                    <a:pt x="34385" y="0"/>
                  </a:lnTo>
                  <a:lnTo>
                    <a:pt x="34385" y="325850"/>
                  </a:lnTo>
                  <a:lnTo>
                    <a:pt x="0" y="325850"/>
                  </a:lnTo>
                  <a:lnTo>
                    <a:pt x="0" y="0"/>
                  </a:lnTo>
                  <a:close/>
                </a:path>
              </a:pathLst>
            </a:custGeom>
            <a:solidFill>
              <a:srgbClr val="44505E"/>
            </a:solidFill>
            <a:ln w="9525" cap="flat">
              <a:noFill/>
              <a:prstDash val="solid"/>
              <a:miter/>
            </a:ln>
          </p:spPr>
          <p:txBody>
            <a:bodyPr rtlCol="0" anchor="ctr"/>
            <a:lstStyle/>
            <a:p>
              <a:endParaRPr lang="pt-BR" noProof="0"/>
            </a:p>
          </p:txBody>
        </p:sp>
        <p:sp>
          <p:nvSpPr>
            <p:cNvPr id="47" name="Freeform: Shape 46">
              <a:extLst>
                <a:ext uri="{FF2B5EF4-FFF2-40B4-BE49-F238E27FC236}">
                  <a16:creationId xmlns:a16="http://schemas.microsoft.com/office/drawing/2014/main" id="{9C3AA59D-E09D-5CFC-F82D-7DB0D6C53001}"/>
                </a:ext>
              </a:extLst>
            </p:cNvPr>
            <p:cNvSpPr/>
            <p:nvPr/>
          </p:nvSpPr>
          <p:spPr>
            <a:xfrm>
              <a:off x="6144346" y="925273"/>
              <a:ext cx="58016" cy="58448"/>
            </a:xfrm>
            <a:custGeom>
              <a:avLst/>
              <a:gdLst>
                <a:gd name="connsiteX0" fmla="*/ 95 w 230790"/>
                <a:gd name="connsiteY0" fmla="*/ 0 h 232505"/>
                <a:gd name="connsiteX1" fmla="*/ 38005 w 230790"/>
                <a:gd name="connsiteY1" fmla="*/ 0 h 232505"/>
                <a:gd name="connsiteX2" fmla="*/ 115634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4"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48" name="Freeform: Shape 47">
              <a:extLst>
                <a:ext uri="{FF2B5EF4-FFF2-40B4-BE49-F238E27FC236}">
                  <a16:creationId xmlns:a16="http://schemas.microsoft.com/office/drawing/2014/main" id="{5FE2373B-3911-D7DE-508D-C0535A7E9AF7}"/>
                </a:ext>
              </a:extLst>
            </p:cNvPr>
            <p:cNvSpPr/>
            <p:nvPr/>
          </p:nvSpPr>
          <p:spPr>
            <a:xfrm>
              <a:off x="621155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8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338 w 202977"/>
                <a:gd name="connsiteY36" fmla="*/ 164497 h 239267"/>
                <a:gd name="connsiteX37" fmla="*/ 35338 w 202977"/>
                <a:gd name="connsiteY37" fmla="*/ 165449 h 239267"/>
                <a:gd name="connsiteX38" fmla="*/ 40005 w 202977"/>
                <a:gd name="connsiteY38" fmla="*/ 184785 h 239267"/>
                <a:gd name="connsiteX39" fmla="*/ 52673 w 202977"/>
                <a:gd name="connsiteY39" fmla="*/ 199263 h 239267"/>
                <a:gd name="connsiteX40" fmla="*/ 71152 w 202977"/>
                <a:gd name="connsiteY40" fmla="*/ 208121 h 239267"/>
                <a:gd name="connsiteX41" fmla="*/ 93154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438" y="239268"/>
                    <a:pt x="64961"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1" y="90964"/>
                    <a:pt x="98584" y="90964"/>
                  </a:cubicBezTo>
                  <a:cubicBezTo>
                    <a:pt x="113157" y="90964"/>
                    <a:pt x="126302" y="91821"/>
                    <a:pt x="137160" y="93631"/>
                  </a:cubicBezTo>
                  <a:cubicBezTo>
                    <a:pt x="148019" y="95440"/>
                    <a:pt x="158687" y="97822"/>
                    <a:pt x="169069" y="100774"/>
                  </a:cubicBezTo>
                  <a:lnTo>
                    <a:pt x="169069" y="93726"/>
                  </a:lnTo>
                  <a:cubicBezTo>
                    <a:pt x="169069" y="73342"/>
                    <a:pt x="163068" y="57912"/>
                    <a:pt x="151162" y="47339"/>
                  </a:cubicBezTo>
                  <a:cubicBezTo>
                    <a:pt x="139255" y="36862"/>
                    <a:pt x="122491" y="31623"/>
                    <a:pt x="100679" y="31623"/>
                  </a:cubicBezTo>
                  <a:cubicBezTo>
                    <a:pt x="86963" y="31623"/>
                    <a:pt x="74581" y="33147"/>
                    <a:pt x="63437" y="36100"/>
                  </a:cubicBezTo>
                  <a:cubicBezTo>
                    <a:pt x="52292" y="39053"/>
                    <a:pt x="41338" y="43053"/>
                    <a:pt x="30671" y="48196"/>
                  </a:cubicBezTo>
                  <a:lnTo>
                    <a:pt x="20383" y="19907"/>
                  </a:lnTo>
                  <a:cubicBezTo>
                    <a:pt x="33147" y="13906"/>
                    <a:pt x="46101" y="9049"/>
                    <a:pt x="59246" y="5429"/>
                  </a:cubicBezTo>
                  <a:cubicBezTo>
                    <a:pt x="72390"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04" y="239173"/>
                    <a:pt x="86011" y="239173"/>
                  </a:cubicBezTo>
                  <a:close/>
                  <a:moveTo>
                    <a:pt x="93154" y="211169"/>
                  </a:moveTo>
                  <a:cubicBezTo>
                    <a:pt x="103822" y="211169"/>
                    <a:pt x="113824" y="209740"/>
                    <a:pt x="122968" y="206788"/>
                  </a:cubicBezTo>
                  <a:cubicBezTo>
                    <a:pt x="132112"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5" y="119348"/>
                    <a:pt x="116777" y="118300"/>
                    <a:pt x="102584" y="118300"/>
                  </a:cubicBezTo>
                  <a:cubicBezTo>
                    <a:pt x="81248" y="118300"/>
                    <a:pt x="64675" y="122491"/>
                    <a:pt x="52959" y="130969"/>
                  </a:cubicBezTo>
                  <a:cubicBezTo>
                    <a:pt x="41243" y="139446"/>
                    <a:pt x="35338" y="150590"/>
                    <a:pt x="35338" y="164497"/>
                  </a:cubicBezTo>
                  <a:lnTo>
                    <a:pt x="35338" y="165449"/>
                  </a:lnTo>
                  <a:cubicBezTo>
                    <a:pt x="35338" y="172498"/>
                    <a:pt x="36862" y="178975"/>
                    <a:pt x="40005" y="184785"/>
                  </a:cubicBezTo>
                  <a:cubicBezTo>
                    <a:pt x="43148" y="190500"/>
                    <a:pt x="47339" y="195358"/>
                    <a:pt x="52673" y="199263"/>
                  </a:cubicBezTo>
                  <a:cubicBezTo>
                    <a:pt x="58007" y="203073"/>
                    <a:pt x="64198" y="206026"/>
                    <a:pt x="71152" y="208121"/>
                  </a:cubicBezTo>
                  <a:cubicBezTo>
                    <a:pt x="78105" y="210217"/>
                    <a:pt x="85439" y="211169"/>
                    <a:pt x="93154" y="211169"/>
                  </a:cubicBezTo>
                  <a:close/>
                </a:path>
              </a:pathLst>
            </a:custGeom>
            <a:solidFill>
              <a:srgbClr val="44505E"/>
            </a:solidFill>
            <a:ln w="9525" cap="flat">
              <a:noFill/>
              <a:prstDash val="solid"/>
              <a:miter/>
            </a:ln>
          </p:spPr>
          <p:txBody>
            <a:bodyPr rtlCol="0" anchor="ctr"/>
            <a:lstStyle/>
            <a:p>
              <a:endParaRPr lang="pt-BR" noProof="0"/>
            </a:p>
          </p:txBody>
        </p:sp>
        <p:sp>
          <p:nvSpPr>
            <p:cNvPr id="49" name="Freeform: Shape 48">
              <a:extLst>
                <a:ext uri="{FF2B5EF4-FFF2-40B4-BE49-F238E27FC236}">
                  <a16:creationId xmlns:a16="http://schemas.microsoft.com/office/drawing/2014/main" id="{79E7687F-CFB6-E39C-BF7F-E5A40EC0CF8D}"/>
                </a:ext>
              </a:extLst>
            </p:cNvPr>
            <p:cNvSpPr/>
            <p:nvPr/>
          </p:nvSpPr>
          <p:spPr>
            <a:xfrm>
              <a:off x="6280899" y="923980"/>
              <a:ext cx="87995" cy="59238"/>
            </a:xfrm>
            <a:custGeom>
              <a:avLst/>
              <a:gdLst>
                <a:gd name="connsiteX0" fmla="*/ 0 w 350043"/>
                <a:gd name="connsiteY0" fmla="*/ 5144 h 235648"/>
                <a:gd name="connsiteX1" fmla="*/ 34385 w 350043"/>
                <a:gd name="connsiteY1" fmla="*/ 5144 h 235648"/>
                <a:gd name="connsiteX2" fmla="*/ 34385 w 350043"/>
                <a:gd name="connsiteY2" fmla="*/ 44005 h 235648"/>
                <a:gd name="connsiteX3" fmla="*/ 47149 w 350043"/>
                <a:gd name="connsiteY3" fmla="*/ 27432 h 235648"/>
                <a:gd name="connsiteX4" fmla="*/ 62960 w 350043"/>
                <a:gd name="connsiteY4" fmla="*/ 13335 h 235648"/>
                <a:gd name="connsiteX5" fmla="*/ 83058 w 350043"/>
                <a:gd name="connsiteY5" fmla="*/ 3715 h 235648"/>
                <a:gd name="connsiteX6" fmla="*/ 108966 w 350043"/>
                <a:gd name="connsiteY6" fmla="*/ 95 h 235648"/>
                <a:gd name="connsiteX7" fmla="*/ 155448 w 350043"/>
                <a:gd name="connsiteY7" fmla="*/ 13240 h 235648"/>
                <a:gd name="connsiteX8" fmla="*/ 183166 w 350043"/>
                <a:gd name="connsiteY8" fmla="*/ 46006 h 235648"/>
                <a:gd name="connsiteX9" fmla="*/ 197168 w 350043"/>
                <a:gd name="connsiteY9" fmla="*/ 28194 h 235648"/>
                <a:gd name="connsiteX10" fmla="*/ 214789 w 350043"/>
                <a:gd name="connsiteY10" fmla="*/ 13430 h 235648"/>
                <a:gd name="connsiteX11" fmla="*/ 236887 w 350043"/>
                <a:gd name="connsiteY11" fmla="*/ 3620 h 235648"/>
                <a:gd name="connsiteX12" fmla="*/ 264319 w 350043"/>
                <a:gd name="connsiteY12" fmla="*/ 0 h 235648"/>
                <a:gd name="connsiteX13" fmla="*/ 327279 w 350043"/>
                <a:gd name="connsiteY13" fmla="*/ 24765 h 235648"/>
                <a:gd name="connsiteX14" fmla="*/ 350044 w 350043"/>
                <a:gd name="connsiteY14" fmla="*/ 92773 h 235648"/>
                <a:gd name="connsiteX15" fmla="*/ 350044 w 350043"/>
                <a:gd name="connsiteY15" fmla="*/ 235648 h 235648"/>
                <a:gd name="connsiteX16" fmla="*/ 315659 w 350043"/>
                <a:gd name="connsiteY16" fmla="*/ 235648 h 235648"/>
                <a:gd name="connsiteX17" fmla="*/ 315659 w 350043"/>
                <a:gd name="connsiteY17" fmla="*/ 101155 h 235648"/>
                <a:gd name="connsiteX18" fmla="*/ 299847 w 350043"/>
                <a:gd name="connsiteY18" fmla="*/ 49721 h 235648"/>
                <a:gd name="connsiteX19" fmla="*/ 255937 w 350043"/>
                <a:gd name="connsiteY19" fmla="*/ 31718 h 235648"/>
                <a:gd name="connsiteX20" fmla="*/ 231362 w 350043"/>
                <a:gd name="connsiteY20" fmla="*/ 36386 h 235648"/>
                <a:gd name="connsiteX21" fmla="*/ 211074 w 350043"/>
                <a:gd name="connsiteY21" fmla="*/ 50197 h 235648"/>
                <a:gd name="connsiteX22" fmla="*/ 197263 w 350043"/>
                <a:gd name="connsiteY22" fmla="*/ 72676 h 235648"/>
                <a:gd name="connsiteX23" fmla="*/ 192119 w 350043"/>
                <a:gd name="connsiteY23" fmla="*/ 102965 h 235648"/>
                <a:gd name="connsiteX24" fmla="*/ 192119 w 350043"/>
                <a:gd name="connsiteY24" fmla="*/ 235648 h 235648"/>
                <a:gd name="connsiteX25" fmla="*/ 158210 w 350043"/>
                <a:gd name="connsiteY25" fmla="*/ 235648 h 235648"/>
                <a:gd name="connsiteX26" fmla="*/ 158210 w 350043"/>
                <a:gd name="connsiteY26" fmla="*/ 100298 h 235648"/>
                <a:gd name="connsiteX27" fmla="*/ 142399 w 350043"/>
                <a:gd name="connsiteY27" fmla="*/ 49721 h 235648"/>
                <a:gd name="connsiteX28" fmla="*/ 98870 w 350043"/>
                <a:gd name="connsiteY28" fmla="*/ 31718 h 235648"/>
                <a:gd name="connsiteX29" fmla="*/ 73438 w 350043"/>
                <a:gd name="connsiteY29" fmla="*/ 37052 h 235648"/>
                <a:gd name="connsiteX30" fmla="*/ 53150 w 350043"/>
                <a:gd name="connsiteY30" fmla="*/ 52197 h 235648"/>
                <a:gd name="connsiteX31" fmla="*/ 39529 w 350043"/>
                <a:gd name="connsiteY31" fmla="*/ 75152 h 235648"/>
                <a:gd name="connsiteX32" fmla="*/ 34576 w 350043"/>
                <a:gd name="connsiteY32" fmla="*/ 104299 h 235648"/>
                <a:gd name="connsiteX33" fmla="*/ 34576 w 350043"/>
                <a:gd name="connsiteY33" fmla="*/ 235648 h 235648"/>
                <a:gd name="connsiteX34" fmla="*/ 190 w 350043"/>
                <a:gd name="connsiteY34" fmla="*/ 235648 h 235648"/>
                <a:gd name="connsiteX35" fmla="*/ 190 w 350043"/>
                <a:gd name="connsiteY35" fmla="*/ 485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0043" h="235648">
                  <a:moveTo>
                    <a:pt x="0" y="5144"/>
                  </a:moveTo>
                  <a:lnTo>
                    <a:pt x="34385" y="5144"/>
                  </a:lnTo>
                  <a:lnTo>
                    <a:pt x="34385" y="44005"/>
                  </a:lnTo>
                  <a:cubicBezTo>
                    <a:pt x="38290" y="38386"/>
                    <a:pt x="42481" y="32861"/>
                    <a:pt x="47149" y="27432"/>
                  </a:cubicBezTo>
                  <a:cubicBezTo>
                    <a:pt x="51721" y="22098"/>
                    <a:pt x="57055" y="17431"/>
                    <a:pt x="62960" y="13335"/>
                  </a:cubicBezTo>
                  <a:cubicBezTo>
                    <a:pt x="68866" y="9335"/>
                    <a:pt x="75629" y="6096"/>
                    <a:pt x="83058" y="3715"/>
                  </a:cubicBezTo>
                  <a:cubicBezTo>
                    <a:pt x="90488" y="1334"/>
                    <a:pt x="99155" y="95"/>
                    <a:pt x="108966" y="95"/>
                  </a:cubicBezTo>
                  <a:cubicBezTo>
                    <a:pt x="127730" y="95"/>
                    <a:pt x="143161" y="4477"/>
                    <a:pt x="155448" y="13240"/>
                  </a:cubicBezTo>
                  <a:cubicBezTo>
                    <a:pt x="167640" y="22003"/>
                    <a:pt x="176879" y="32956"/>
                    <a:pt x="183166" y="46006"/>
                  </a:cubicBezTo>
                  <a:cubicBezTo>
                    <a:pt x="187357" y="39719"/>
                    <a:pt x="192024" y="33814"/>
                    <a:pt x="197168" y="28194"/>
                  </a:cubicBezTo>
                  <a:cubicBezTo>
                    <a:pt x="202406" y="22574"/>
                    <a:pt x="208217" y="17621"/>
                    <a:pt x="214789" y="13430"/>
                  </a:cubicBezTo>
                  <a:cubicBezTo>
                    <a:pt x="221361" y="9239"/>
                    <a:pt x="228695" y="6001"/>
                    <a:pt x="236887" y="3620"/>
                  </a:cubicBezTo>
                  <a:cubicBezTo>
                    <a:pt x="245078" y="1238"/>
                    <a:pt x="254222" y="0"/>
                    <a:pt x="264319" y="0"/>
                  </a:cubicBezTo>
                  <a:cubicBezTo>
                    <a:pt x="291084" y="0"/>
                    <a:pt x="312039" y="8287"/>
                    <a:pt x="327279" y="24765"/>
                  </a:cubicBezTo>
                  <a:cubicBezTo>
                    <a:pt x="342519" y="41243"/>
                    <a:pt x="350044" y="63913"/>
                    <a:pt x="350044" y="92773"/>
                  </a:cubicBezTo>
                  <a:lnTo>
                    <a:pt x="350044" y="235648"/>
                  </a:lnTo>
                  <a:lnTo>
                    <a:pt x="315659" y="235648"/>
                  </a:lnTo>
                  <a:lnTo>
                    <a:pt x="315659" y="101155"/>
                  </a:lnTo>
                  <a:cubicBezTo>
                    <a:pt x="315659" y="78867"/>
                    <a:pt x="310420" y="61722"/>
                    <a:pt x="299847" y="49721"/>
                  </a:cubicBezTo>
                  <a:cubicBezTo>
                    <a:pt x="289274" y="37719"/>
                    <a:pt x="274606" y="31718"/>
                    <a:pt x="255937" y="31718"/>
                  </a:cubicBezTo>
                  <a:cubicBezTo>
                    <a:pt x="247269" y="31718"/>
                    <a:pt x="239078" y="33242"/>
                    <a:pt x="231362" y="36386"/>
                  </a:cubicBezTo>
                  <a:cubicBezTo>
                    <a:pt x="223647" y="39529"/>
                    <a:pt x="216884" y="44101"/>
                    <a:pt x="211074" y="50197"/>
                  </a:cubicBezTo>
                  <a:cubicBezTo>
                    <a:pt x="205264" y="56293"/>
                    <a:pt x="200692" y="63818"/>
                    <a:pt x="197263" y="72676"/>
                  </a:cubicBezTo>
                  <a:cubicBezTo>
                    <a:pt x="193834" y="81629"/>
                    <a:pt x="192119" y="91726"/>
                    <a:pt x="192119" y="102965"/>
                  </a:cubicBezTo>
                  <a:lnTo>
                    <a:pt x="192119" y="235648"/>
                  </a:lnTo>
                  <a:lnTo>
                    <a:pt x="158210" y="235648"/>
                  </a:lnTo>
                  <a:lnTo>
                    <a:pt x="158210" y="100298"/>
                  </a:lnTo>
                  <a:cubicBezTo>
                    <a:pt x="158210" y="78677"/>
                    <a:pt x="152971" y="61817"/>
                    <a:pt x="142399" y="49721"/>
                  </a:cubicBezTo>
                  <a:cubicBezTo>
                    <a:pt x="131826" y="37719"/>
                    <a:pt x="117348" y="31718"/>
                    <a:pt x="98870" y="31718"/>
                  </a:cubicBezTo>
                  <a:cubicBezTo>
                    <a:pt x="89630" y="31718"/>
                    <a:pt x="81153" y="33528"/>
                    <a:pt x="73438" y="37052"/>
                  </a:cubicBezTo>
                  <a:cubicBezTo>
                    <a:pt x="65722" y="40672"/>
                    <a:pt x="58960" y="45720"/>
                    <a:pt x="53150" y="52197"/>
                  </a:cubicBezTo>
                  <a:cubicBezTo>
                    <a:pt x="47339" y="58769"/>
                    <a:pt x="42767" y="66389"/>
                    <a:pt x="39529" y="75152"/>
                  </a:cubicBezTo>
                  <a:cubicBezTo>
                    <a:pt x="36290" y="83915"/>
                    <a:pt x="34576" y="93631"/>
                    <a:pt x="34576" y="104299"/>
                  </a:cubicBezTo>
                  <a:lnTo>
                    <a:pt x="34576" y="235648"/>
                  </a:lnTo>
                  <a:lnTo>
                    <a:pt x="190" y="235648"/>
                  </a:lnTo>
                  <a:lnTo>
                    <a:pt x="190" y="4858"/>
                  </a:lnTo>
                  <a:close/>
                </a:path>
              </a:pathLst>
            </a:custGeom>
            <a:solidFill>
              <a:srgbClr val="44505E"/>
            </a:solidFill>
            <a:ln w="9525" cap="flat">
              <a:noFill/>
              <a:prstDash val="solid"/>
              <a:miter/>
            </a:ln>
          </p:spPr>
          <p:txBody>
            <a:bodyPr rtlCol="0" anchor="ctr"/>
            <a:lstStyle/>
            <a:p>
              <a:endParaRPr lang="pt-BR" noProof="0"/>
            </a:p>
          </p:txBody>
        </p:sp>
        <p:sp>
          <p:nvSpPr>
            <p:cNvPr id="50" name="Freeform: Shape 49">
              <a:extLst>
                <a:ext uri="{FF2B5EF4-FFF2-40B4-BE49-F238E27FC236}">
                  <a16:creationId xmlns:a16="http://schemas.microsoft.com/office/drawing/2014/main" id="{F1E8ED3A-0933-EF65-5112-AF9E7D8A5879}"/>
                </a:ext>
              </a:extLst>
            </p:cNvPr>
            <p:cNvSpPr/>
            <p:nvPr/>
          </p:nvSpPr>
          <p:spPr>
            <a:xfrm>
              <a:off x="6415537" y="925273"/>
              <a:ext cx="58016" cy="58448"/>
            </a:xfrm>
            <a:custGeom>
              <a:avLst/>
              <a:gdLst>
                <a:gd name="connsiteX0" fmla="*/ 95 w 230790"/>
                <a:gd name="connsiteY0" fmla="*/ 0 h 232505"/>
                <a:gd name="connsiteX1" fmla="*/ 38005 w 230790"/>
                <a:gd name="connsiteY1" fmla="*/ 0 h 232505"/>
                <a:gd name="connsiteX2" fmla="*/ 115633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3"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51" name="Freeform: Shape 50">
              <a:extLst>
                <a:ext uri="{FF2B5EF4-FFF2-40B4-BE49-F238E27FC236}">
                  <a16:creationId xmlns:a16="http://schemas.microsoft.com/office/drawing/2014/main" id="{C084329B-F2BB-B4AD-97DF-678D3DE7DCCA}"/>
                </a:ext>
              </a:extLst>
            </p:cNvPr>
            <p:cNvSpPr/>
            <p:nvPr/>
          </p:nvSpPr>
          <p:spPr>
            <a:xfrm>
              <a:off x="6487369"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286 w 39242"/>
                <a:gd name="connsiteY5" fmla="*/ 88392 h 319182"/>
                <a:gd name="connsiteX6" fmla="*/ 36671 w 39242"/>
                <a:gd name="connsiteY6" fmla="*/ 88392 h 319182"/>
                <a:gd name="connsiteX7" fmla="*/ 36671 w 39242"/>
                <a:gd name="connsiteY7" fmla="*/ 319183 h 319182"/>
                <a:gd name="connsiteX8" fmla="*/ 2286 w 39242"/>
                <a:gd name="connsiteY8" fmla="*/ 319183 h 319182"/>
                <a:gd name="connsiteX9" fmla="*/ 2286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286" y="88392"/>
                  </a:moveTo>
                  <a:lnTo>
                    <a:pt x="36671" y="88392"/>
                  </a:lnTo>
                  <a:lnTo>
                    <a:pt x="36671" y="319183"/>
                  </a:lnTo>
                  <a:lnTo>
                    <a:pt x="2286" y="319183"/>
                  </a:lnTo>
                  <a:lnTo>
                    <a:pt x="2286" y="88392"/>
                  </a:lnTo>
                  <a:close/>
                </a:path>
              </a:pathLst>
            </a:custGeom>
            <a:solidFill>
              <a:srgbClr val="44505E"/>
            </a:solidFill>
            <a:ln w="9525" cap="flat">
              <a:noFill/>
              <a:prstDash val="solid"/>
              <a:miter/>
            </a:ln>
          </p:spPr>
          <p:txBody>
            <a:bodyPr rtlCol="0" anchor="ctr"/>
            <a:lstStyle/>
            <a:p>
              <a:endParaRPr lang="pt-BR" noProof="0"/>
            </a:p>
          </p:txBody>
        </p:sp>
        <p:sp>
          <p:nvSpPr>
            <p:cNvPr id="52" name="Freeform: Shape 51">
              <a:extLst>
                <a:ext uri="{FF2B5EF4-FFF2-40B4-BE49-F238E27FC236}">
                  <a16:creationId xmlns:a16="http://schemas.microsoft.com/office/drawing/2014/main" id="{44D9900D-A20F-74B9-6D33-C5AC9246AB67}"/>
                </a:ext>
              </a:extLst>
            </p:cNvPr>
            <p:cNvSpPr/>
            <p:nvPr/>
          </p:nvSpPr>
          <p:spPr>
            <a:xfrm>
              <a:off x="6513253" y="901353"/>
              <a:ext cx="58615" cy="83182"/>
            </a:xfrm>
            <a:custGeom>
              <a:avLst/>
              <a:gdLst>
                <a:gd name="connsiteX0" fmla="*/ 110394 w 233171"/>
                <a:gd name="connsiteY0" fmla="*/ 330898 h 330898"/>
                <a:gd name="connsiteX1" fmla="*/ 69723 w 233171"/>
                <a:gd name="connsiteY1" fmla="*/ 322897 h 330898"/>
                <a:gd name="connsiteX2" fmla="*/ 34480 w 233171"/>
                <a:gd name="connsiteY2" fmla="*/ 299466 h 330898"/>
                <a:gd name="connsiteX3" fmla="*/ 9430 w 233171"/>
                <a:gd name="connsiteY3" fmla="*/ 261938 h 330898"/>
                <a:gd name="connsiteX4" fmla="*/ 0 w 233171"/>
                <a:gd name="connsiteY4" fmla="*/ 211264 h 330898"/>
                <a:gd name="connsiteX5" fmla="*/ 0 w 233171"/>
                <a:gd name="connsiteY5" fmla="*/ 210407 h 330898"/>
                <a:gd name="connsiteX6" fmla="*/ 9430 w 233171"/>
                <a:gd name="connsiteY6" fmla="*/ 159925 h 330898"/>
                <a:gd name="connsiteX7" fmla="*/ 34480 w 233171"/>
                <a:gd name="connsiteY7" fmla="*/ 122206 h 330898"/>
                <a:gd name="connsiteX8" fmla="*/ 69723 w 233171"/>
                <a:gd name="connsiteY8" fmla="*/ 98488 h 330898"/>
                <a:gd name="connsiteX9" fmla="*/ 110394 w 233171"/>
                <a:gd name="connsiteY9" fmla="*/ 90202 h 330898"/>
                <a:gd name="connsiteX10" fmla="*/ 139827 w 233171"/>
                <a:gd name="connsiteY10" fmla="*/ 94202 h 330898"/>
                <a:gd name="connsiteX11" fmla="*/ 163925 w 233171"/>
                <a:gd name="connsiteY11" fmla="*/ 104870 h 330898"/>
                <a:gd name="connsiteX12" fmla="*/ 183356 w 233171"/>
                <a:gd name="connsiteY12" fmla="*/ 120491 h 330898"/>
                <a:gd name="connsiteX13" fmla="*/ 198787 w 233171"/>
                <a:gd name="connsiteY13" fmla="*/ 139255 h 330898"/>
                <a:gd name="connsiteX14" fmla="*/ 198787 w 233171"/>
                <a:gd name="connsiteY14" fmla="*/ 0 h 330898"/>
                <a:gd name="connsiteX15" fmla="*/ 233172 w 233171"/>
                <a:gd name="connsiteY15" fmla="*/ 0 h 330898"/>
                <a:gd name="connsiteX16" fmla="*/ 233172 w 233171"/>
                <a:gd name="connsiteY16" fmla="*/ 325850 h 330898"/>
                <a:gd name="connsiteX17" fmla="*/ 198787 w 233171"/>
                <a:gd name="connsiteY17" fmla="*/ 325850 h 330898"/>
                <a:gd name="connsiteX18" fmla="*/ 198787 w 233171"/>
                <a:gd name="connsiteY18" fmla="*/ 279463 h 330898"/>
                <a:gd name="connsiteX19" fmla="*/ 182975 w 233171"/>
                <a:gd name="connsiteY19" fmla="*/ 299085 h 330898"/>
                <a:gd name="connsiteX20" fmla="*/ 163544 w 233171"/>
                <a:gd name="connsiteY20" fmla="*/ 315658 h 330898"/>
                <a:gd name="connsiteX21" fmla="*/ 139636 w 233171"/>
                <a:gd name="connsiteY21" fmla="*/ 326803 h 330898"/>
                <a:gd name="connsiteX22" fmla="*/ 110394 w 233171"/>
                <a:gd name="connsiteY22" fmla="*/ 330803 h 330898"/>
                <a:gd name="connsiteX23" fmla="*/ 116681 w 233171"/>
                <a:gd name="connsiteY23" fmla="*/ 300133 h 330898"/>
                <a:gd name="connsiteX24" fmla="*/ 147733 w 233171"/>
                <a:gd name="connsiteY24" fmla="*/ 293656 h 330898"/>
                <a:gd name="connsiteX25" fmla="*/ 174498 w 233171"/>
                <a:gd name="connsiteY25" fmla="*/ 275368 h 330898"/>
                <a:gd name="connsiteX26" fmla="*/ 193262 w 233171"/>
                <a:gd name="connsiteY26" fmla="*/ 247269 h 330898"/>
                <a:gd name="connsiteX27" fmla="*/ 200216 w 233171"/>
                <a:gd name="connsiteY27" fmla="*/ 210883 h 330898"/>
                <a:gd name="connsiteX28" fmla="*/ 200216 w 233171"/>
                <a:gd name="connsiteY28" fmla="*/ 210026 h 330898"/>
                <a:gd name="connsiteX29" fmla="*/ 193262 w 233171"/>
                <a:gd name="connsiteY29" fmla="*/ 173641 h 330898"/>
                <a:gd name="connsiteX30" fmla="*/ 174498 w 233171"/>
                <a:gd name="connsiteY30" fmla="*/ 145732 h 330898"/>
                <a:gd name="connsiteX31" fmla="*/ 147733 w 233171"/>
                <a:gd name="connsiteY31" fmla="*/ 127635 h 330898"/>
                <a:gd name="connsiteX32" fmla="*/ 116681 w 233171"/>
                <a:gd name="connsiteY32" fmla="*/ 121158 h 330898"/>
                <a:gd name="connsiteX33" fmla="*/ 84963 w 233171"/>
                <a:gd name="connsiteY33" fmla="*/ 127159 h 330898"/>
                <a:gd name="connsiteX34" fmla="*/ 59341 w 233171"/>
                <a:gd name="connsiteY34" fmla="*/ 144589 h 330898"/>
                <a:gd name="connsiteX35" fmla="*/ 41910 w 233171"/>
                <a:gd name="connsiteY35" fmla="*/ 172498 h 330898"/>
                <a:gd name="connsiteX36" fmla="*/ 35433 w 233171"/>
                <a:gd name="connsiteY36" fmla="*/ 210026 h 330898"/>
                <a:gd name="connsiteX37" fmla="*/ 35433 w 233171"/>
                <a:gd name="connsiteY37" fmla="*/ 210883 h 330898"/>
                <a:gd name="connsiteX38" fmla="*/ 41910 w 233171"/>
                <a:gd name="connsiteY38" fmla="*/ 247936 h 330898"/>
                <a:gd name="connsiteX39" fmla="*/ 59531 w 233171"/>
                <a:gd name="connsiteY39" fmla="*/ 276034 h 330898"/>
                <a:gd name="connsiteX40" fmla="*/ 85439 w 233171"/>
                <a:gd name="connsiteY40" fmla="*/ 293941 h 330898"/>
                <a:gd name="connsiteX41" fmla="*/ 116681 w 23317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3171" h="330898">
                  <a:moveTo>
                    <a:pt x="110394" y="330898"/>
                  </a:moveTo>
                  <a:cubicBezTo>
                    <a:pt x="96393" y="330898"/>
                    <a:pt x="82868" y="328231"/>
                    <a:pt x="69723" y="322897"/>
                  </a:cubicBezTo>
                  <a:cubicBezTo>
                    <a:pt x="56674" y="317563"/>
                    <a:pt x="44863" y="309753"/>
                    <a:pt x="34480" y="299466"/>
                  </a:cubicBezTo>
                  <a:cubicBezTo>
                    <a:pt x="24003" y="289179"/>
                    <a:pt x="15716" y="276701"/>
                    <a:pt x="9430" y="261938"/>
                  </a:cubicBezTo>
                  <a:cubicBezTo>
                    <a:pt x="3143" y="247174"/>
                    <a:pt x="0" y="230314"/>
                    <a:pt x="0" y="211264"/>
                  </a:cubicBezTo>
                  <a:lnTo>
                    <a:pt x="0" y="210407"/>
                  </a:lnTo>
                  <a:cubicBezTo>
                    <a:pt x="0" y="191643"/>
                    <a:pt x="3143" y="174879"/>
                    <a:pt x="9430" y="159925"/>
                  </a:cubicBezTo>
                  <a:cubicBezTo>
                    <a:pt x="15716" y="145066"/>
                    <a:pt x="24003" y="132493"/>
                    <a:pt x="34480" y="122206"/>
                  </a:cubicBezTo>
                  <a:cubicBezTo>
                    <a:pt x="44863" y="111919"/>
                    <a:pt x="56674" y="104013"/>
                    <a:pt x="69723" y="98488"/>
                  </a:cubicBezTo>
                  <a:cubicBezTo>
                    <a:pt x="82868" y="92964"/>
                    <a:pt x="96393" y="90202"/>
                    <a:pt x="110394" y="90202"/>
                  </a:cubicBezTo>
                  <a:cubicBezTo>
                    <a:pt x="121158" y="90202"/>
                    <a:pt x="130969" y="91535"/>
                    <a:pt x="139827" y="94202"/>
                  </a:cubicBezTo>
                  <a:cubicBezTo>
                    <a:pt x="148780" y="96869"/>
                    <a:pt x="156782" y="100489"/>
                    <a:pt x="163925" y="104870"/>
                  </a:cubicBezTo>
                  <a:cubicBezTo>
                    <a:pt x="171069" y="109347"/>
                    <a:pt x="177546" y="114586"/>
                    <a:pt x="183356" y="120491"/>
                  </a:cubicBezTo>
                  <a:cubicBezTo>
                    <a:pt x="189166" y="126492"/>
                    <a:pt x="194310" y="132683"/>
                    <a:pt x="198787" y="139255"/>
                  </a:cubicBezTo>
                  <a:lnTo>
                    <a:pt x="198787" y="0"/>
                  </a:lnTo>
                  <a:lnTo>
                    <a:pt x="233172" y="0"/>
                  </a:lnTo>
                  <a:lnTo>
                    <a:pt x="233172" y="325850"/>
                  </a:lnTo>
                  <a:lnTo>
                    <a:pt x="198787" y="325850"/>
                  </a:lnTo>
                  <a:lnTo>
                    <a:pt x="198787" y="279463"/>
                  </a:lnTo>
                  <a:cubicBezTo>
                    <a:pt x="194024" y="286321"/>
                    <a:pt x="188786" y="292894"/>
                    <a:pt x="182975" y="299085"/>
                  </a:cubicBezTo>
                  <a:cubicBezTo>
                    <a:pt x="177165" y="305371"/>
                    <a:pt x="170688" y="310896"/>
                    <a:pt x="163544" y="315658"/>
                  </a:cubicBezTo>
                  <a:cubicBezTo>
                    <a:pt x="156400" y="320421"/>
                    <a:pt x="148494" y="324136"/>
                    <a:pt x="139636" y="326803"/>
                  </a:cubicBezTo>
                  <a:cubicBezTo>
                    <a:pt x="130873" y="329470"/>
                    <a:pt x="121158" y="330803"/>
                    <a:pt x="110394" y="330803"/>
                  </a:cubicBezTo>
                  <a:close/>
                  <a:moveTo>
                    <a:pt x="116681" y="300133"/>
                  </a:moveTo>
                  <a:cubicBezTo>
                    <a:pt x="127445" y="300133"/>
                    <a:pt x="137732" y="297942"/>
                    <a:pt x="147733" y="293656"/>
                  </a:cubicBezTo>
                  <a:cubicBezTo>
                    <a:pt x="157734" y="289369"/>
                    <a:pt x="166592" y="283273"/>
                    <a:pt x="174498" y="275368"/>
                  </a:cubicBezTo>
                  <a:cubicBezTo>
                    <a:pt x="182404" y="267462"/>
                    <a:pt x="188595" y="258127"/>
                    <a:pt x="193262" y="247269"/>
                  </a:cubicBezTo>
                  <a:cubicBezTo>
                    <a:pt x="197834" y="236410"/>
                    <a:pt x="200216" y="224314"/>
                    <a:pt x="200216" y="210883"/>
                  </a:cubicBezTo>
                  <a:lnTo>
                    <a:pt x="200216" y="210026"/>
                  </a:lnTo>
                  <a:cubicBezTo>
                    <a:pt x="200216" y="196596"/>
                    <a:pt x="197929" y="184499"/>
                    <a:pt x="193262" y="173641"/>
                  </a:cubicBezTo>
                  <a:cubicBezTo>
                    <a:pt x="188595" y="162782"/>
                    <a:pt x="182404" y="153448"/>
                    <a:pt x="174498" y="145732"/>
                  </a:cubicBezTo>
                  <a:cubicBezTo>
                    <a:pt x="166592" y="138017"/>
                    <a:pt x="157639" y="132016"/>
                    <a:pt x="147733" y="127635"/>
                  </a:cubicBezTo>
                  <a:cubicBezTo>
                    <a:pt x="137732" y="123349"/>
                    <a:pt x="127445" y="121158"/>
                    <a:pt x="116681" y="121158"/>
                  </a:cubicBezTo>
                  <a:cubicBezTo>
                    <a:pt x="105346" y="121158"/>
                    <a:pt x="94774" y="123158"/>
                    <a:pt x="84963" y="127159"/>
                  </a:cubicBezTo>
                  <a:cubicBezTo>
                    <a:pt x="75152" y="131159"/>
                    <a:pt x="66580" y="136969"/>
                    <a:pt x="59341" y="144589"/>
                  </a:cubicBezTo>
                  <a:cubicBezTo>
                    <a:pt x="52007" y="152114"/>
                    <a:pt x="46291" y="161449"/>
                    <a:pt x="41910" y="172498"/>
                  </a:cubicBezTo>
                  <a:cubicBezTo>
                    <a:pt x="37624" y="183451"/>
                    <a:pt x="35433" y="196024"/>
                    <a:pt x="35433" y="210026"/>
                  </a:cubicBezTo>
                  <a:lnTo>
                    <a:pt x="35433" y="210883"/>
                  </a:lnTo>
                  <a:cubicBezTo>
                    <a:pt x="35433" y="224599"/>
                    <a:pt x="37624" y="236982"/>
                    <a:pt x="41910" y="247936"/>
                  </a:cubicBezTo>
                  <a:cubicBezTo>
                    <a:pt x="46196" y="258984"/>
                    <a:pt x="52101" y="268319"/>
                    <a:pt x="59531" y="276034"/>
                  </a:cubicBezTo>
                  <a:cubicBezTo>
                    <a:pt x="66960" y="283750"/>
                    <a:pt x="75629" y="289750"/>
                    <a:pt x="85439" y="293941"/>
                  </a:cubicBezTo>
                  <a:cubicBezTo>
                    <a:pt x="95250" y="298132"/>
                    <a:pt x="105632" y="300228"/>
                    <a:pt x="116681" y="300228"/>
                  </a:cubicBezTo>
                  <a:close/>
                </a:path>
              </a:pathLst>
            </a:custGeom>
            <a:solidFill>
              <a:srgbClr val="44505E"/>
            </a:solidFill>
            <a:ln w="9525" cap="flat">
              <a:noFill/>
              <a:prstDash val="solid"/>
              <a:miter/>
            </a:ln>
          </p:spPr>
          <p:txBody>
            <a:bodyPr rtlCol="0" anchor="ctr"/>
            <a:lstStyle/>
            <a:p>
              <a:endParaRPr lang="pt-BR" noProof="0"/>
            </a:p>
          </p:txBody>
        </p:sp>
        <p:sp>
          <p:nvSpPr>
            <p:cNvPr id="53" name="Freeform: Shape 52">
              <a:extLst>
                <a:ext uri="{FF2B5EF4-FFF2-40B4-BE49-F238E27FC236}">
                  <a16:creationId xmlns:a16="http://schemas.microsoft.com/office/drawing/2014/main" id="{A4B44985-53C4-6622-DA10-361981D11E04}"/>
                </a:ext>
              </a:extLst>
            </p:cNvPr>
            <p:cNvSpPr/>
            <p:nvPr/>
          </p:nvSpPr>
          <p:spPr>
            <a:xfrm>
              <a:off x="6586762"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0 w 202977"/>
                <a:gd name="connsiteY16" fmla="*/ 48196 h 239267"/>
                <a:gd name="connsiteX17" fmla="*/ 20383 w 202977"/>
                <a:gd name="connsiteY17" fmla="*/ 19907 h 239267"/>
                <a:gd name="connsiteX18" fmla="*/ 59245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0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1"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675" y="92678"/>
                    <a:pt x="84011" y="90964"/>
                    <a:pt x="98584" y="90964"/>
                  </a:cubicBezTo>
                  <a:cubicBezTo>
                    <a:pt x="113157" y="90964"/>
                    <a:pt x="126302"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0" y="33147"/>
                    <a:pt x="63436" y="36100"/>
                  </a:cubicBezTo>
                  <a:cubicBezTo>
                    <a:pt x="52292" y="39053"/>
                    <a:pt x="41338" y="43053"/>
                    <a:pt x="30670" y="48196"/>
                  </a:cubicBezTo>
                  <a:lnTo>
                    <a:pt x="20383" y="19907"/>
                  </a:lnTo>
                  <a:cubicBezTo>
                    <a:pt x="33147" y="13906"/>
                    <a:pt x="46101" y="9049"/>
                    <a:pt x="59245" y="5429"/>
                  </a:cubicBezTo>
                  <a:cubicBezTo>
                    <a:pt x="72294" y="1810"/>
                    <a:pt x="87344" y="0"/>
                    <a:pt x="104299" y="0"/>
                  </a:cubicBezTo>
                  <a:cubicBezTo>
                    <a:pt x="137064" y="0"/>
                    <a:pt x="161925" y="8477"/>
                    <a:pt x="178879" y="25432"/>
                  </a:cubicBezTo>
                  <a:cubicBezTo>
                    <a:pt x="194976"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0" y="239173"/>
                  </a:cubicBezTo>
                  <a:close/>
                  <a:moveTo>
                    <a:pt x="93154" y="211169"/>
                  </a:moveTo>
                  <a:cubicBezTo>
                    <a:pt x="103822" y="211169"/>
                    <a:pt x="113729" y="209740"/>
                    <a:pt x="122967" y="206788"/>
                  </a:cubicBezTo>
                  <a:cubicBezTo>
                    <a:pt x="132207"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4" y="119348"/>
                    <a:pt x="116871"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54" name="Freeform: Shape 53">
              <a:extLst>
                <a:ext uri="{FF2B5EF4-FFF2-40B4-BE49-F238E27FC236}">
                  <a16:creationId xmlns:a16="http://schemas.microsoft.com/office/drawing/2014/main" id="{22A2753D-8819-83BB-22EE-567B00C856E9}"/>
                </a:ext>
              </a:extLst>
            </p:cNvPr>
            <p:cNvSpPr/>
            <p:nvPr/>
          </p:nvSpPr>
          <p:spPr>
            <a:xfrm>
              <a:off x="6651291" y="924268"/>
              <a:ext cx="44680" cy="60195"/>
            </a:xfrm>
            <a:custGeom>
              <a:avLst/>
              <a:gdLst>
                <a:gd name="connsiteX0" fmla="*/ 95535 w 177736"/>
                <a:gd name="connsiteY0" fmla="*/ 239268 h 239458"/>
                <a:gd name="connsiteX1" fmla="*/ 45053 w 177736"/>
                <a:gd name="connsiteY1" fmla="*/ 230124 h 239458"/>
                <a:gd name="connsiteX2" fmla="*/ 0 w 177736"/>
                <a:gd name="connsiteY2" fmla="*/ 205359 h 239458"/>
                <a:gd name="connsiteX3" fmla="*/ 17430 w 177736"/>
                <a:gd name="connsiteY3" fmla="*/ 180785 h 239458"/>
                <a:gd name="connsiteX4" fmla="*/ 56483 w 177736"/>
                <a:gd name="connsiteY4" fmla="*/ 202692 h 239458"/>
                <a:gd name="connsiteX5" fmla="*/ 97345 w 177736"/>
                <a:gd name="connsiteY5" fmla="*/ 210217 h 239458"/>
                <a:gd name="connsiteX6" fmla="*/ 131730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825 w 177736"/>
                <a:gd name="connsiteY10" fmla="*/ 147066 h 239458"/>
                <a:gd name="connsiteX11" fmla="*/ 109251 w 177736"/>
                <a:gd name="connsiteY11" fmla="*/ 138779 h 239458"/>
                <a:gd name="connsiteX12" fmla="*/ 87630 w 177736"/>
                <a:gd name="connsiteY12" fmla="*/ 132112 h 239458"/>
                <a:gd name="connsiteX13" fmla="*/ 60579 w 177736"/>
                <a:gd name="connsiteY13" fmla="*/ 123444 h 239458"/>
                <a:gd name="connsiteX14" fmla="*/ 36004 w 177736"/>
                <a:gd name="connsiteY14" fmla="*/ 111633 h 239458"/>
                <a:gd name="connsiteX15" fmla="*/ 18192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59 w 177736"/>
                <a:gd name="connsiteY22" fmla="*/ 6953 h 239458"/>
                <a:gd name="connsiteX23" fmla="*/ 172878 w 177736"/>
                <a:gd name="connsiteY23" fmla="*/ 25527 h 239458"/>
                <a:gd name="connsiteX24" fmla="*/ 157257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3 w 177736"/>
                <a:gd name="connsiteY32" fmla="*/ 96203 h 239458"/>
                <a:gd name="connsiteX33" fmla="*/ 103631 w 177736"/>
                <a:gd name="connsiteY33" fmla="*/ 103346 h 239458"/>
                <a:gd name="connsiteX34" fmla="*/ 130207 w 177736"/>
                <a:gd name="connsiteY34" fmla="*/ 112300 h 239458"/>
                <a:gd name="connsiteX35" fmla="*/ 154114 w 177736"/>
                <a:gd name="connsiteY35" fmla="*/ 124778 h 239458"/>
                <a:gd name="connsiteX36" fmla="*/ 171259 w 177736"/>
                <a:gd name="connsiteY36" fmla="*/ 143066 h 239458"/>
                <a:gd name="connsiteX37" fmla="*/ 177736 w 177736"/>
                <a:gd name="connsiteY37" fmla="*/ 169450 h 239458"/>
                <a:gd name="connsiteX38" fmla="*/ 177736 w 177736"/>
                <a:gd name="connsiteY38" fmla="*/ 170307 h 239458"/>
                <a:gd name="connsiteX39" fmla="*/ 171259 w 177736"/>
                <a:gd name="connsiteY39" fmla="*/ 199549 h 239458"/>
                <a:gd name="connsiteX40" fmla="*/ 153828 w 177736"/>
                <a:gd name="connsiteY40" fmla="*/ 221171 h 239458"/>
                <a:gd name="connsiteX41" fmla="*/ 127921 w 177736"/>
                <a:gd name="connsiteY41" fmla="*/ 234791 h 239458"/>
                <a:gd name="connsiteX42" fmla="*/ 95535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5" y="239268"/>
                  </a:moveTo>
                  <a:cubicBezTo>
                    <a:pt x="78867" y="239268"/>
                    <a:pt x="62007" y="236220"/>
                    <a:pt x="45053" y="230124"/>
                  </a:cubicBezTo>
                  <a:cubicBezTo>
                    <a:pt x="28098" y="224028"/>
                    <a:pt x="13049" y="215741"/>
                    <a:pt x="0" y="205359"/>
                  </a:cubicBezTo>
                  <a:lnTo>
                    <a:pt x="17430" y="180785"/>
                  </a:lnTo>
                  <a:cubicBezTo>
                    <a:pt x="29908" y="190310"/>
                    <a:pt x="42957" y="197644"/>
                    <a:pt x="56483" y="202692"/>
                  </a:cubicBezTo>
                  <a:cubicBezTo>
                    <a:pt x="70009" y="207740"/>
                    <a:pt x="83629" y="210217"/>
                    <a:pt x="97345" y="210217"/>
                  </a:cubicBezTo>
                  <a:cubicBezTo>
                    <a:pt x="111061" y="210217"/>
                    <a:pt x="122777" y="206978"/>
                    <a:pt x="131730" y="200406"/>
                  </a:cubicBezTo>
                  <a:cubicBezTo>
                    <a:pt x="140684" y="193834"/>
                    <a:pt x="145161" y="184976"/>
                    <a:pt x="145161" y="173641"/>
                  </a:cubicBezTo>
                  <a:lnTo>
                    <a:pt x="145161" y="172784"/>
                  </a:lnTo>
                  <a:cubicBezTo>
                    <a:pt x="145161" y="167164"/>
                    <a:pt x="143541" y="162211"/>
                    <a:pt x="140494" y="158020"/>
                  </a:cubicBezTo>
                  <a:cubicBezTo>
                    <a:pt x="137350" y="153829"/>
                    <a:pt x="133159" y="150209"/>
                    <a:pt x="127825" y="147066"/>
                  </a:cubicBezTo>
                  <a:cubicBezTo>
                    <a:pt x="122491" y="143923"/>
                    <a:pt x="116300" y="141161"/>
                    <a:pt x="109251" y="138779"/>
                  </a:cubicBezTo>
                  <a:cubicBezTo>
                    <a:pt x="102298" y="136398"/>
                    <a:pt x="95059" y="134207"/>
                    <a:pt x="87630" y="132112"/>
                  </a:cubicBezTo>
                  <a:cubicBezTo>
                    <a:pt x="78676" y="129445"/>
                    <a:pt x="69722" y="126492"/>
                    <a:pt x="60579" y="123444"/>
                  </a:cubicBezTo>
                  <a:cubicBezTo>
                    <a:pt x="51530" y="120301"/>
                    <a:pt x="43339" y="116396"/>
                    <a:pt x="36004" y="111633"/>
                  </a:cubicBezTo>
                  <a:cubicBezTo>
                    <a:pt x="28670" y="106871"/>
                    <a:pt x="22764" y="100870"/>
                    <a:pt x="18192" y="93726"/>
                  </a:cubicBezTo>
                  <a:cubicBezTo>
                    <a:pt x="13525" y="86582"/>
                    <a:pt x="11239" y="77629"/>
                    <a:pt x="11239" y="66961"/>
                  </a:cubicBezTo>
                  <a:lnTo>
                    <a:pt x="11239" y="66008"/>
                  </a:lnTo>
                  <a:cubicBezTo>
                    <a:pt x="11239" y="56198"/>
                    <a:pt x="13144" y="47149"/>
                    <a:pt x="17050" y="39053"/>
                  </a:cubicBezTo>
                  <a:cubicBezTo>
                    <a:pt x="20955" y="30861"/>
                    <a:pt x="26384" y="23908"/>
                    <a:pt x="33338" y="18098"/>
                  </a:cubicBezTo>
                  <a:cubicBezTo>
                    <a:pt x="40291" y="12287"/>
                    <a:pt x="48673" y="7811"/>
                    <a:pt x="58388" y="4667"/>
                  </a:cubicBezTo>
                  <a:cubicBezTo>
                    <a:pt x="68008" y="1524"/>
                    <a:pt x="78581" y="0"/>
                    <a:pt x="89821" y="0"/>
                  </a:cubicBezTo>
                  <a:cubicBezTo>
                    <a:pt x="104108" y="0"/>
                    <a:pt x="118586" y="2286"/>
                    <a:pt x="133159" y="6953"/>
                  </a:cubicBezTo>
                  <a:cubicBezTo>
                    <a:pt x="147732" y="11621"/>
                    <a:pt x="160972" y="17717"/>
                    <a:pt x="172878" y="25527"/>
                  </a:cubicBezTo>
                  <a:lnTo>
                    <a:pt x="157257" y="51435"/>
                  </a:lnTo>
                  <a:cubicBezTo>
                    <a:pt x="146494" y="44577"/>
                    <a:pt x="135255" y="39148"/>
                    <a:pt x="123539" y="35147"/>
                  </a:cubicBezTo>
                  <a:cubicBezTo>
                    <a:pt x="111823" y="31147"/>
                    <a:pt x="100203" y="29146"/>
                    <a:pt x="88963" y="29146"/>
                  </a:cubicBezTo>
                  <a:cubicBezTo>
                    <a:pt x="75247" y="29146"/>
                    <a:pt x="64389" y="32385"/>
                    <a:pt x="56388" y="38767"/>
                  </a:cubicBezTo>
                  <a:cubicBezTo>
                    <a:pt x="48291" y="45149"/>
                    <a:pt x="44291" y="53150"/>
                    <a:pt x="44291" y="62675"/>
                  </a:cubicBezTo>
                  <a:lnTo>
                    <a:pt x="44291" y="63627"/>
                  </a:lnTo>
                  <a:cubicBezTo>
                    <a:pt x="44291" y="68961"/>
                    <a:pt x="45910" y="73628"/>
                    <a:pt x="49244" y="77724"/>
                  </a:cubicBezTo>
                  <a:cubicBezTo>
                    <a:pt x="52482" y="81725"/>
                    <a:pt x="56864" y="85249"/>
                    <a:pt x="62389" y="88202"/>
                  </a:cubicBezTo>
                  <a:cubicBezTo>
                    <a:pt x="67913" y="91154"/>
                    <a:pt x="74200" y="93821"/>
                    <a:pt x="81343" y="96203"/>
                  </a:cubicBezTo>
                  <a:cubicBezTo>
                    <a:pt x="88487" y="98584"/>
                    <a:pt x="95916" y="100965"/>
                    <a:pt x="103631" y="103346"/>
                  </a:cubicBezTo>
                  <a:cubicBezTo>
                    <a:pt x="112585" y="106013"/>
                    <a:pt x="121444" y="108966"/>
                    <a:pt x="130207" y="112300"/>
                  </a:cubicBezTo>
                  <a:cubicBezTo>
                    <a:pt x="138969" y="115538"/>
                    <a:pt x="146971" y="119729"/>
                    <a:pt x="154114" y="124778"/>
                  </a:cubicBezTo>
                  <a:cubicBezTo>
                    <a:pt x="161258" y="129826"/>
                    <a:pt x="166973" y="135922"/>
                    <a:pt x="171259" y="143066"/>
                  </a:cubicBezTo>
                  <a:cubicBezTo>
                    <a:pt x="175546" y="150209"/>
                    <a:pt x="177736" y="158972"/>
                    <a:pt x="177736" y="169450"/>
                  </a:cubicBezTo>
                  <a:lnTo>
                    <a:pt x="177736" y="170307"/>
                  </a:lnTo>
                  <a:cubicBezTo>
                    <a:pt x="177736" y="181356"/>
                    <a:pt x="175546" y="191071"/>
                    <a:pt x="171259" y="199549"/>
                  </a:cubicBezTo>
                  <a:cubicBezTo>
                    <a:pt x="166973" y="208026"/>
                    <a:pt x="161163" y="215265"/>
                    <a:pt x="153828" y="221171"/>
                  </a:cubicBezTo>
                  <a:cubicBezTo>
                    <a:pt x="146589" y="227171"/>
                    <a:pt x="137922" y="231648"/>
                    <a:pt x="127921" y="234791"/>
                  </a:cubicBezTo>
                  <a:cubicBezTo>
                    <a:pt x="117919" y="237935"/>
                    <a:pt x="107156" y="239459"/>
                    <a:pt x="95535" y="239459"/>
                  </a:cubicBezTo>
                  <a:close/>
                </a:path>
              </a:pathLst>
            </a:custGeom>
            <a:solidFill>
              <a:srgbClr val="44505E"/>
            </a:solidFill>
            <a:ln w="9525" cap="flat">
              <a:noFill/>
              <a:prstDash val="solid"/>
              <a:miter/>
            </a:ln>
          </p:spPr>
          <p:txBody>
            <a:bodyPr rtlCol="0" anchor="ctr"/>
            <a:lstStyle/>
            <a:p>
              <a:endParaRPr lang="pt-BR" noProof="0"/>
            </a:p>
          </p:txBody>
        </p:sp>
        <p:sp>
          <p:nvSpPr>
            <p:cNvPr id="55" name="Freeform: Shape 54">
              <a:extLst>
                <a:ext uri="{FF2B5EF4-FFF2-40B4-BE49-F238E27FC236}">
                  <a16:creationId xmlns:a16="http://schemas.microsoft.com/office/drawing/2014/main" id="{0AF598C4-52A2-D2D9-8D62-0A69622961D2}"/>
                </a:ext>
              </a:extLst>
            </p:cNvPr>
            <p:cNvSpPr/>
            <p:nvPr/>
          </p:nvSpPr>
          <p:spPr>
            <a:xfrm>
              <a:off x="5250320" y="846952"/>
              <a:ext cx="1459036" cy="16186"/>
            </a:xfrm>
            <a:custGeom>
              <a:avLst/>
              <a:gdLst>
                <a:gd name="connsiteX0" fmla="*/ 0 w 5804058"/>
                <a:gd name="connsiteY0" fmla="*/ 0 h 64388"/>
                <a:gd name="connsiteX1" fmla="*/ 5804059 w 5804058"/>
                <a:gd name="connsiteY1" fmla="*/ 0 h 64388"/>
                <a:gd name="connsiteX2" fmla="*/ 5804059 w 5804058"/>
                <a:gd name="connsiteY2" fmla="*/ 64389 h 64388"/>
                <a:gd name="connsiteX3" fmla="*/ 0 w 5804058"/>
                <a:gd name="connsiteY3" fmla="*/ 64389 h 64388"/>
              </a:gdLst>
              <a:ahLst/>
              <a:cxnLst>
                <a:cxn ang="0">
                  <a:pos x="connsiteX0" y="connsiteY0"/>
                </a:cxn>
                <a:cxn ang="0">
                  <a:pos x="connsiteX1" y="connsiteY1"/>
                </a:cxn>
                <a:cxn ang="0">
                  <a:pos x="connsiteX2" y="connsiteY2"/>
                </a:cxn>
                <a:cxn ang="0">
                  <a:pos x="connsiteX3" y="connsiteY3"/>
                </a:cxn>
              </a:cxnLst>
              <a:rect l="l" t="t" r="r" b="b"/>
              <a:pathLst>
                <a:path w="5804058" h="64388">
                  <a:moveTo>
                    <a:pt x="0" y="0"/>
                  </a:moveTo>
                  <a:lnTo>
                    <a:pt x="5804059" y="0"/>
                  </a:lnTo>
                  <a:lnTo>
                    <a:pt x="5804059" y="64389"/>
                  </a:lnTo>
                  <a:lnTo>
                    <a:pt x="0" y="64389"/>
                  </a:lnTo>
                  <a:close/>
                </a:path>
              </a:pathLst>
            </a:custGeom>
            <a:solidFill>
              <a:srgbClr val="44505E"/>
            </a:solidFill>
            <a:ln w="9525" cap="flat">
              <a:noFill/>
              <a:prstDash val="solid"/>
              <a:miter/>
            </a:ln>
          </p:spPr>
          <p:txBody>
            <a:bodyPr rtlCol="0" anchor="ctr"/>
            <a:lstStyle/>
            <a:p>
              <a:endParaRPr lang="pt-BR" noProof="0"/>
            </a:p>
          </p:txBody>
        </p:sp>
        <p:sp>
          <p:nvSpPr>
            <p:cNvPr id="56" name="Freeform: Shape 55">
              <a:extLst>
                <a:ext uri="{FF2B5EF4-FFF2-40B4-BE49-F238E27FC236}">
                  <a16:creationId xmlns:a16="http://schemas.microsoft.com/office/drawing/2014/main" id="{A476678E-D4C4-945B-1AD9-EB7C5004B440}"/>
                </a:ext>
              </a:extLst>
            </p:cNvPr>
            <p:cNvSpPr/>
            <p:nvPr/>
          </p:nvSpPr>
          <p:spPr>
            <a:xfrm>
              <a:off x="6902633" y="268821"/>
              <a:ext cx="273418" cy="601046"/>
            </a:xfrm>
            <a:custGeom>
              <a:avLst/>
              <a:gdLst>
                <a:gd name="connsiteX0" fmla="*/ 0 w 1087659"/>
                <a:gd name="connsiteY0" fmla="*/ 210979 h 2390965"/>
                <a:gd name="connsiteX1" fmla="*/ 125063 w 1087659"/>
                <a:gd name="connsiteY1" fmla="*/ 103442 h 2390965"/>
                <a:gd name="connsiteX2" fmla="*/ 250031 w 1087659"/>
                <a:gd name="connsiteY2" fmla="*/ 210979 h 2390965"/>
                <a:gd name="connsiteX3" fmla="*/ 250031 w 1087659"/>
                <a:gd name="connsiteY3" fmla="*/ 1922717 h 2390965"/>
                <a:gd name="connsiteX4" fmla="*/ 249841 w 1087659"/>
                <a:gd name="connsiteY4" fmla="*/ 1922717 h 2390965"/>
                <a:gd name="connsiteX5" fmla="*/ 249841 w 1087659"/>
                <a:gd name="connsiteY5" fmla="*/ 1925955 h 2390965"/>
                <a:gd name="connsiteX6" fmla="*/ 333756 w 1087659"/>
                <a:gd name="connsiteY6" fmla="*/ 2100263 h 2390965"/>
                <a:gd name="connsiteX7" fmla="*/ 335566 w 1087659"/>
                <a:gd name="connsiteY7" fmla="*/ 2101787 h 2390965"/>
                <a:gd name="connsiteX8" fmla="*/ 336042 w 1087659"/>
                <a:gd name="connsiteY8" fmla="*/ 2102168 h 2390965"/>
                <a:gd name="connsiteX9" fmla="*/ 543877 w 1087659"/>
                <a:gd name="connsiteY9" fmla="*/ 2175891 h 2390965"/>
                <a:gd name="connsiteX10" fmla="*/ 749998 w 1087659"/>
                <a:gd name="connsiteY10" fmla="*/ 2103692 h 2390965"/>
                <a:gd name="connsiteX11" fmla="*/ 751713 w 1087659"/>
                <a:gd name="connsiteY11" fmla="*/ 2102168 h 2390965"/>
                <a:gd name="connsiteX12" fmla="*/ 752189 w 1087659"/>
                <a:gd name="connsiteY12" fmla="*/ 2101787 h 2390965"/>
                <a:gd name="connsiteX13" fmla="*/ 837819 w 1087659"/>
                <a:gd name="connsiteY13" fmla="*/ 1922812 h 2390965"/>
                <a:gd name="connsiteX14" fmla="*/ 837819 w 1087659"/>
                <a:gd name="connsiteY14" fmla="*/ 107537 h 2390965"/>
                <a:gd name="connsiteX15" fmla="*/ 962787 w 1087659"/>
                <a:gd name="connsiteY15" fmla="*/ 0 h 2390965"/>
                <a:gd name="connsiteX16" fmla="*/ 1087660 w 1087659"/>
                <a:gd name="connsiteY16" fmla="*/ 107537 h 2390965"/>
                <a:gd name="connsiteX17" fmla="*/ 1087660 w 1087659"/>
                <a:gd name="connsiteY17" fmla="*/ 1922621 h 2390965"/>
                <a:gd name="connsiteX18" fmla="*/ 928307 w 1087659"/>
                <a:gd name="connsiteY18" fmla="*/ 2253234 h 2390965"/>
                <a:gd name="connsiteX19" fmla="*/ 928116 w 1087659"/>
                <a:gd name="connsiteY19" fmla="*/ 2253424 h 2390965"/>
                <a:gd name="connsiteX20" fmla="*/ 927830 w 1087659"/>
                <a:gd name="connsiteY20" fmla="*/ 2253710 h 2390965"/>
                <a:gd name="connsiteX21" fmla="*/ 927354 w 1087659"/>
                <a:gd name="connsiteY21" fmla="*/ 2254187 h 2390965"/>
                <a:gd name="connsiteX22" fmla="*/ 543783 w 1087659"/>
                <a:gd name="connsiteY22" fmla="*/ 2390966 h 2390965"/>
                <a:gd name="connsiteX23" fmla="*/ 159734 w 1087659"/>
                <a:gd name="connsiteY23" fmla="*/ 2253710 h 2390965"/>
                <a:gd name="connsiteX24" fmla="*/ 159734 w 1087659"/>
                <a:gd name="connsiteY24" fmla="*/ 2253424 h 2390965"/>
                <a:gd name="connsiteX25" fmla="*/ 159353 w 1087659"/>
                <a:gd name="connsiteY25" fmla="*/ 2253234 h 2390965"/>
                <a:gd name="connsiteX26" fmla="*/ 158877 w 1087659"/>
                <a:gd name="connsiteY26" fmla="*/ 2252948 h 2390965"/>
                <a:gd name="connsiteX27" fmla="*/ 0 w 1087659"/>
                <a:gd name="connsiteY27" fmla="*/ 1922621 h 2390965"/>
                <a:gd name="connsiteX28" fmla="*/ 0 w 1087659"/>
                <a:gd name="connsiteY28" fmla="*/ 1922621 h 2390965"/>
                <a:gd name="connsiteX29" fmla="*/ 0 w 1087659"/>
                <a:gd name="connsiteY29" fmla="*/ 210979 h 239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87659" h="2390965">
                  <a:moveTo>
                    <a:pt x="0" y="210979"/>
                  </a:moveTo>
                  <a:cubicBezTo>
                    <a:pt x="0" y="151638"/>
                    <a:pt x="56007" y="103442"/>
                    <a:pt x="125063" y="103442"/>
                  </a:cubicBezTo>
                  <a:cubicBezTo>
                    <a:pt x="194120" y="103442"/>
                    <a:pt x="250031" y="151638"/>
                    <a:pt x="250031" y="210979"/>
                  </a:cubicBezTo>
                  <a:lnTo>
                    <a:pt x="250031" y="1922717"/>
                  </a:lnTo>
                  <a:lnTo>
                    <a:pt x="249841" y="1922717"/>
                  </a:lnTo>
                  <a:lnTo>
                    <a:pt x="249841" y="1925955"/>
                  </a:lnTo>
                  <a:cubicBezTo>
                    <a:pt x="250793" y="1994059"/>
                    <a:pt x="282797" y="2055495"/>
                    <a:pt x="333756" y="2100263"/>
                  </a:cubicBezTo>
                  <a:lnTo>
                    <a:pt x="335566" y="2101787"/>
                  </a:lnTo>
                  <a:lnTo>
                    <a:pt x="336042" y="2102168"/>
                  </a:lnTo>
                  <a:cubicBezTo>
                    <a:pt x="388906" y="2147697"/>
                    <a:pt x="462343" y="2175891"/>
                    <a:pt x="543877" y="2175891"/>
                  </a:cubicBezTo>
                  <a:cubicBezTo>
                    <a:pt x="625411" y="2175891"/>
                    <a:pt x="697420" y="2148364"/>
                    <a:pt x="749998" y="2103692"/>
                  </a:cubicBezTo>
                  <a:lnTo>
                    <a:pt x="751713" y="2102168"/>
                  </a:lnTo>
                  <a:lnTo>
                    <a:pt x="752189" y="2101787"/>
                  </a:lnTo>
                  <a:cubicBezTo>
                    <a:pt x="805053" y="2056352"/>
                    <a:pt x="837819" y="1993011"/>
                    <a:pt x="837819" y="1922812"/>
                  </a:cubicBezTo>
                  <a:lnTo>
                    <a:pt x="837819" y="107537"/>
                  </a:lnTo>
                  <a:cubicBezTo>
                    <a:pt x="837819" y="48196"/>
                    <a:pt x="893731" y="0"/>
                    <a:pt x="962787" y="0"/>
                  </a:cubicBezTo>
                  <a:cubicBezTo>
                    <a:pt x="1031843" y="0"/>
                    <a:pt x="1087660" y="48196"/>
                    <a:pt x="1087660" y="107537"/>
                  </a:cubicBezTo>
                  <a:lnTo>
                    <a:pt x="1087660" y="1922621"/>
                  </a:lnTo>
                  <a:cubicBezTo>
                    <a:pt x="1087660" y="2051399"/>
                    <a:pt x="1026795" y="2168366"/>
                    <a:pt x="928307" y="2253234"/>
                  </a:cubicBezTo>
                  <a:lnTo>
                    <a:pt x="928116" y="2253424"/>
                  </a:lnTo>
                  <a:lnTo>
                    <a:pt x="927830" y="2253710"/>
                  </a:lnTo>
                  <a:lnTo>
                    <a:pt x="927354" y="2254187"/>
                  </a:lnTo>
                  <a:cubicBezTo>
                    <a:pt x="828770" y="2338673"/>
                    <a:pt x="693134" y="2390966"/>
                    <a:pt x="543783" y="2390966"/>
                  </a:cubicBezTo>
                  <a:cubicBezTo>
                    <a:pt x="394430" y="2390966"/>
                    <a:pt x="258413" y="2338483"/>
                    <a:pt x="159734" y="2253710"/>
                  </a:cubicBezTo>
                  <a:lnTo>
                    <a:pt x="159734" y="2253424"/>
                  </a:lnTo>
                  <a:cubicBezTo>
                    <a:pt x="159734" y="2253424"/>
                    <a:pt x="159353" y="2253234"/>
                    <a:pt x="159353" y="2253234"/>
                  </a:cubicBezTo>
                  <a:lnTo>
                    <a:pt x="158877" y="2252948"/>
                  </a:lnTo>
                  <a:cubicBezTo>
                    <a:pt x="60770" y="2167985"/>
                    <a:pt x="0" y="2051304"/>
                    <a:pt x="0" y="1922621"/>
                  </a:cubicBezTo>
                  <a:lnTo>
                    <a:pt x="0" y="1922621"/>
                  </a:lnTo>
                  <a:lnTo>
                    <a:pt x="0" y="210979"/>
                  </a:lnTo>
                  <a:close/>
                </a:path>
              </a:pathLst>
            </a:custGeom>
            <a:solidFill>
              <a:srgbClr val="8FC640"/>
            </a:solidFill>
            <a:ln w="9525" cap="flat">
              <a:noFill/>
              <a:prstDash val="solid"/>
              <a:miter/>
            </a:ln>
          </p:spPr>
          <p:txBody>
            <a:bodyPr rtlCol="0" anchor="ctr"/>
            <a:lstStyle/>
            <a:p>
              <a:endParaRPr lang="pt-BR" noProof="0"/>
            </a:p>
          </p:txBody>
        </p:sp>
        <p:sp>
          <p:nvSpPr>
            <p:cNvPr id="57" name="Freeform: Shape 56">
              <a:extLst>
                <a:ext uri="{FF2B5EF4-FFF2-40B4-BE49-F238E27FC236}">
                  <a16:creationId xmlns:a16="http://schemas.microsoft.com/office/drawing/2014/main" id="{1676F03F-6FC3-FAC8-42AA-E1FB26C7D9C4}"/>
                </a:ext>
              </a:extLst>
            </p:cNvPr>
            <p:cNvSpPr/>
            <p:nvPr/>
          </p:nvSpPr>
          <p:spPr>
            <a:xfrm>
              <a:off x="7013590" y="213965"/>
              <a:ext cx="54018" cy="562280"/>
            </a:xfrm>
            <a:custGeom>
              <a:avLst/>
              <a:gdLst>
                <a:gd name="connsiteX0" fmla="*/ 0 w 214883"/>
                <a:gd name="connsiteY0" fmla="*/ 107537 h 2236755"/>
                <a:gd name="connsiteX1" fmla="*/ 107537 w 214883"/>
                <a:gd name="connsiteY1" fmla="*/ 0 h 2236755"/>
                <a:gd name="connsiteX2" fmla="*/ 214884 w 214883"/>
                <a:gd name="connsiteY2" fmla="*/ 107537 h 2236755"/>
                <a:gd name="connsiteX3" fmla="*/ 214884 w 214883"/>
                <a:gd name="connsiteY3" fmla="*/ 2129219 h 2236755"/>
                <a:gd name="connsiteX4" fmla="*/ 107537 w 214883"/>
                <a:gd name="connsiteY4" fmla="*/ 2236756 h 2236755"/>
                <a:gd name="connsiteX5" fmla="*/ 0 w 214883"/>
                <a:gd name="connsiteY5" fmla="*/ 2129219 h 2236755"/>
                <a:gd name="connsiteX6" fmla="*/ 0 w 214883"/>
                <a:gd name="connsiteY6" fmla="*/ 107537 h 223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 h="2236755">
                  <a:moveTo>
                    <a:pt x="0" y="107537"/>
                  </a:moveTo>
                  <a:cubicBezTo>
                    <a:pt x="0" y="48197"/>
                    <a:pt x="48101" y="0"/>
                    <a:pt x="107537" y="0"/>
                  </a:cubicBezTo>
                  <a:cubicBezTo>
                    <a:pt x="166973" y="0"/>
                    <a:pt x="214884" y="48197"/>
                    <a:pt x="214884" y="107537"/>
                  </a:cubicBezTo>
                  <a:lnTo>
                    <a:pt x="214884" y="2129219"/>
                  </a:lnTo>
                  <a:cubicBezTo>
                    <a:pt x="214884" y="2188559"/>
                    <a:pt x="166782" y="2236756"/>
                    <a:pt x="107537" y="2236756"/>
                  </a:cubicBezTo>
                  <a:cubicBezTo>
                    <a:pt x="48291" y="2236756"/>
                    <a:pt x="0" y="2188559"/>
                    <a:pt x="0" y="2129219"/>
                  </a:cubicBezTo>
                  <a:lnTo>
                    <a:pt x="0" y="107537"/>
                  </a:lnTo>
                  <a:close/>
                </a:path>
              </a:pathLst>
            </a:custGeom>
            <a:solidFill>
              <a:srgbClr val="3698B0"/>
            </a:solidFill>
            <a:ln w="9525" cap="flat">
              <a:noFill/>
              <a:prstDash val="solid"/>
              <a:miter/>
            </a:ln>
          </p:spPr>
          <p:txBody>
            <a:bodyPr rtlCol="0" anchor="ctr"/>
            <a:lstStyle/>
            <a:p>
              <a:endParaRPr lang="pt-BR" noProof="0"/>
            </a:p>
          </p:txBody>
        </p:sp>
        <p:sp>
          <p:nvSpPr>
            <p:cNvPr id="58" name="Freeform: Shape 57">
              <a:extLst>
                <a:ext uri="{FF2B5EF4-FFF2-40B4-BE49-F238E27FC236}">
                  <a16:creationId xmlns:a16="http://schemas.microsoft.com/office/drawing/2014/main" id="{DE19AC22-FE68-5F19-03B8-5EF99DD35C0C}"/>
                </a:ext>
              </a:extLst>
            </p:cNvPr>
            <p:cNvSpPr/>
            <p:nvPr/>
          </p:nvSpPr>
          <p:spPr>
            <a:xfrm>
              <a:off x="6795770" y="332991"/>
              <a:ext cx="485994" cy="649437"/>
            </a:xfrm>
            <a:custGeom>
              <a:avLst/>
              <a:gdLst>
                <a:gd name="connsiteX0" fmla="*/ 1933290 w 1933289"/>
                <a:gd name="connsiteY0" fmla="*/ 138017 h 2583465"/>
                <a:gd name="connsiteX1" fmla="*/ 1933290 w 1933289"/>
                <a:gd name="connsiteY1" fmla="*/ 1734122 h 2583465"/>
                <a:gd name="connsiteX2" fmla="*/ 1796606 w 1933289"/>
                <a:gd name="connsiteY2" fmla="*/ 2229136 h 2583465"/>
                <a:gd name="connsiteX3" fmla="*/ 977742 w 1933289"/>
                <a:gd name="connsiteY3" fmla="*/ 2583466 h 2583465"/>
                <a:gd name="connsiteX4" fmla="*/ 955357 w 1933289"/>
                <a:gd name="connsiteY4" fmla="*/ 2583466 h 2583465"/>
                <a:gd name="connsiteX5" fmla="*/ 136589 w 1933289"/>
                <a:gd name="connsiteY5" fmla="*/ 2229136 h 2583465"/>
                <a:gd name="connsiteX6" fmla="*/ 0 w 1933289"/>
                <a:gd name="connsiteY6" fmla="*/ 1734122 h 2583465"/>
                <a:gd name="connsiteX7" fmla="*/ 0 w 1933289"/>
                <a:gd name="connsiteY7" fmla="*/ 794194 h 2583465"/>
                <a:gd name="connsiteX8" fmla="*/ 137827 w 1933289"/>
                <a:gd name="connsiteY8" fmla="*/ 656273 h 2583465"/>
                <a:gd name="connsiteX9" fmla="*/ 275463 w 1933289"/>
                <a:gd name="connsiteY9" fmla="*/ 794194 h 2583465"/>
                <a:gd name="connsiteX10" fmla="*/ 275463 w 1933289"/>
                <a:gd name="connsiteY10" fmla="*/ 1734122 h 2583465"/>
                <a:gd name="connsiteX11" fmla="*/ 354235 w 1933289"/>
                <a:gd name="connsiteY11" fmla="*/ 2059686 h 2583465"/>
                <a:gd name="connsiteX12" fmla="*/ 958215 w 1933289"/>
                <a:gd name="connsiteY12" fmla="*/ 2307527 h 2583465"/>
                <a:gd name="connsiteX13" fmla="*/ 974789 w 1933289"/>
                <a:gd name="connsiteY13" fmla="*/ 2307527 h 2583465"/>
                <a:gd name="connsiteX14" fmla="*/ 1578959 w 1933289"/>
                <a:gd name="connsiteY14" fmla="*/ 2059686 h 2583465"/>
                <a:gd name="connsiteX15" fmla="*/ 1657636 w 1933289"/>
                <a:gd name="connsiteY15" fmla="*/ 1734122 h 2583465"/>
                <a:gd name="connsiteX16" fmla="*/ 1657636 w 1933289"/>
                <a:gd name="connsiteY16" fmla="*/ 138017 h 2583465"/>
                <a:gd name="connsiteX17" fmla="*/ 1795463 w 1933289"/>
                <a:gd name="connsiteY17" fmla="*/ 0 h 2583465"/>
                <a:gd name="connsiteX18" fmla="*/ 1933290 w 1933289"/>
                <a:gd name="connsiteY18" fmla="*/ 138017 h 25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3289" h="2583465">
                  <a:moveTo>
                    <a:pt x="1933290" y="138017"/>
                  </a:moveTo>
                  <a:lnTo>
                    <a:pt x="1933290" y="1734122"/>
                  </a:lnTo>
                  <a:cubicBezTo>
                    <a:pt x="1933290" y="1870996"/>
                    <a:pt x="1919002" y="2071211"/>
                    <a:pt x="1796606" y="2229136"/>
                  </a:cubicBezTo>
                  <a:cubicBezTo>
                    <a:pt x="1634395" y="2438305"/>
                    <a:pt x="1432084" y="2578703"/>
                    <a:pt x="977742" y="2583466"/>
                  </a:cubicBezTo>
                  <a:lnTo>
                    <a:pt x="955357" y="2583466"/>
                  </a:lnTo>
                  <a:cubicBezTo>
                    <a:pt x="501015" y="2578703"/>
                    <a:pt x="298704" y="2438400"/>
                    <a:pt x="136589" y="2229136"/>
                  </a:cubicBezTo>
                  <a:cubicBezTo>
                    <a:pt x="14192" y="2071211"/>
                    <a:pt x="0" y="1870996"/>
                    <a:pt x="0" y="1734122"/>
                  </a:cubicBezTo>
                  <a:lnTo>
                    <a:pt x="0" y="794194"/>
                  </a:lnTo>
                  <a:cubicBezTo>
                    <a:pt x="0" y="718185"/>
                    <a:pt x="61436" y="656273"/>
                    <a:pt x="137827" y="656273"/>
                  </a:cubicBezTo>
                  <a:cubicBezTo>
                    <a:pt x="214217" y="656273"/>
                    <a:pt x="275463" y="718185"/>
                    <a:pt x="275463" y="794194"/>
                  </a:cubicBezTo>
                  <a:lnTo>
                    <a:pt x="275463" y="1734122"/>
                  </a:lnTo>
                  <a:cubicBezTo>
                    <a:pt x="275463" y="1887188"/>
                    <a:pt x="300324" y="1990630"/>
                    <a:pt x="354235" y="2059686"/>
                  </a:cubicBezTo>
                  <a:cubicBezTo>
                    <a:pt x="476250" y="2217611"/>
                    <a:pt x="609791" y="2304479"/>
                    <a:pt x="958215" y="2307527"/>
                  </a:cubicBezTo>
                  <a:lnTo>
                    <a:pt x="974789" y="2307527"/>
                  </a:lnTo>
                  <a:cubicBezTo>
                    <a:pt x="1323499" y="2304479"/>
                    <a:pt x="1456563" y="2217611"/>
                    <a:pt x="1578959" y="2059686"/>
                  </a:cubicBezTo>
                  <a:cubicBezTo>
                    <a:pt x="1632490" y="1990630"/>
                    <a:pt x="1657636" y="1887093"/>
                    <a:pt x="1657636" y="1734122"/>
                  </a:cubicBezTo>
                  <a:lnTo>
                    <a:pt x="1657636" y="138017"/>
                  </a:lnTo>
                  <a:cubicBezTo>
                    <a:pt x="1657636" y="61531"/>
                    <a:pt x="1719453" y="0"/>
                    <a:pt x="1795463" y="0"/>
                  </a:cubicBezTo>
                  <a:cubicBezTo>
                    <a:pt x="1871472" y="0"/>
                    <a:pt x="1933290" y="61531"/>
                    <a:pt x="1933290" y="138017"/>
                  </a:cubicBezTo>
                </a:path>
              </a:pathLst>
            </a:custGeom>
            <a:solidFill>
              <a:srgbClr val="49306E"/>
            </a:solidFill>
            <a:ln w="9525" cap="flat">
              <a:noFill/>
              <a:prstDash val="solid"/>
              <a:miter/>
            </a:ln>
          </p:spPr>
          <p:txBody>
            <a:bodyPr rtlCol="0" anchor="ctr"/>
            <a:lstStyle/>
            <a:p>
              <a:endParaRPr lang="pt-BR" noProof="0"/>
            </a:p>
          </p:txBody>
        </p:sp>
      </p:grpSp>
      <p:sp>
        <p:nvSpPr>
          <p:cNvPr id="5" name="Rectangle 3">
            <a:extLst>
              <a:ext uri="{FF2B5EF4-FFF2-40B4-BE49-F238E27FC236}">
                <a16:creationId xmlns:a16="http://schemas.microsoft.com/office/drawing/2014/main" id="{D09BC5E5-9058-D846-0F95-065C3CFF9DE6}"/>
              </a:ext>
            </a:extLst>
          </p:cNvPr>
          <p:cNvSpPr>
            <a:spLocks noChangeArrowheads="1"/>
          </p:cNvSpPr>
          <p:nvPr/>
        </p:nvSpPr>
        <p:spPr bwMode="auto">
          <a:xfrm>
            <a:off x="428153" y="692497"/>
            <a:ext cx="264816" cy="2862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p:txBody>
      </p:sp>
      <p:sp>
        <p:nvSpPr>
          <p:cNvPr id="8" name="CaixaDeTexto 7">
            <a:extLst>
              <a:ext uri="{FF2B5EF4-FFF2-40B4-BE49-F238E27FC236}">
                <a16:creationId xmlns:a16="http://schemas.microsoft.com/office/drawing/2014/main" id="{FC8901B0-6348-DB40-2C67-4CFE0A908284}"/>
              </a:ext>
            </a:extLst>
          </p:cNvPr>
          <p:cNvSpPr txBox="1"/>
          <p:nvPr/>
        </p:nvSpPr>
        <p:spPr>
          <a:xfrm>
            <a:off x="5324345" y="1486660"/>
            <a:ext cx="1741715" cy="461665"/>
          </a:xfrm>
          <a:prstGeom prst="rect">
            <a:avLst/>
          </a:prstGeom>
          <a:noFill/>
        </p:spPr>
        <p:txBody>
          <a:bodyPr wrap="square" rtlCol="0">
            <a:spAutoFit/>
          </a:bodyPr>
          <a:lstStyle/>
          <a:p>
            <a:r>
              <a:rPr lang="pt-BR" sz="2400" b="1" noProof="0">
                <a:solidFill>
                  <a:schemeClr val="bg1"/>
                </a:solidFill>
              </a:rPr>
              <a:t>Envelope 2</a:t>
            </a:r>
            <a:endParaRPr lang="pt-BR" sz="2400" b="1" noProof="0"/>
          </a:p>
        </p:txBody>
      </p:sp>
    </p:spTree>
    <p:extLst>
      <p:ext uri="{BB962C8B-B14F-4D97-AF65-F5344CB8AC3E}">
        <p14:creationId xmlns:p14="http://schemas.microsoft.com/office/powerpoint/2010/main" val="18177585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0B23DF-8DB2-6AB6-CB50-3D37709D7782}"/>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5EB72946-56D7-B4DE-A7DC-9C2961A415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8" progId="TCLayout.ActiveDocument.1">
                  <p:embed/>
                </p:oleObj>
              </mc:Choice>
              <mc:Fallback>
                <p:oleObj name="think-cell Slide" r:id="rId4" imgW="306" imgH="308" progId="TCLayout.ActiveDocument.1">
                  <p:embed/>
                  <p:pic>
                    <p:nvPicPr>
                      <p:cNvPr id="12" name="think-cell data - do not delete" hidden="1">
                        <a:extLst>
                          <a:ext uri="{FF2B5EF4-FFF2-40B4-BE49-F238E27FC236}">
                            <a16:creationId xmlns:a16="http://schemas.microsoft.com/office/drawing/2014/main" id="{5EB72946-56D7-B4DE-A7DC-9C2961A4154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3" name="Group 12">
            <a:extLst>
              <a:ext uri="{FF2B5EF4-FFF2-40B4-BE49-F238E27FC236}">
                <a16:creationId xmlns:a16="http://schemas.microsoft.com/office/drawing/2014/main" id="{1851A488-126D-E355-3F41-D8696294E72A}"/>
              </a:ext>
            </a:extLst>
          </p:cNvPr>
          <p:cNvGrpSpPr/>
          <p:nvPr/>
        </p:nvGrpSpPr>
        <p:grpSpPr>
          <a:xfrm>
            <a:off x="304800" y="249455"/>
            <a:ext cx="1193800" cy="462985"/>
            <a:chOff x="5245100" y="211355"/>
            <a:chExt cx="2036664" cy="789869"/>
          </a:xfrm>
        </p:grpSpPr>
        <p:sp>
          <p:nvSpPr>
            <p:cNvPr id="14" name="Freeform: Shape 13">
              <a:extLst>
                <a:ext uri="{FF2B5EF4-FFF2-40B4-BE49-F238E27FC236}">
                  <a16:creationId xmlns:a16="http://schemas.microsoft.com/office/drawing/2014/main" id="{D3392AA9-8213-410B-66F9-D1704C2BDB11}"/>
                </a:ext>
              </a:extLst>
            </p:cNvPr>
            <p:cNvSpPr/>
            <p:nvPr/>
          </p:nvSpPr>
          <p:spPr>
            <a:xfrm>
              <a:off x="5245100" y="308520"/>
              <a:ext cx="247894" cy="322815"/>
            </a:xfrm>
            <a:custGeom>
              <a:avLst/>
              <a:gdLst>
                <a:gd name="connsiteX0" fmla="*/ 529590 w 986123"/>
                <a:gd name="connsiteY0" fmla="*/ 1284160 h 1284160"/>
                <a:gd name="connsiteX1" fmla="*/ 249650 w 986123"/>
                <a:gd name="connsiteY1" fmla="*/ 1235107 h 1284160"/>
                <a:gd name="connsiteX2" fmla="*/ 0 w 986123"/>
                <a:gd name="connsiteY2" fmla="*/ 1084421 h 1284160"/>
                <a:gd name="connsiteX3" fmla="*/ 162306 w 986123"/>
                <a:gd name="connsiteY3" fmla="*/ 890016 h 1284160"/>
                <a:gd name="connsiteX4" fmla="*/ 337947 w 986123"/>
                <a:gd name="connsiteY4" fmla="*/ 1000601 h 1284160"/>
                <a:gd name="connsiteX5" fmla="*/ 535019 w 986123"/>
                <a:gd name="connsiteY5" fmla="*/ 1041654 h 1284160"/>
                <a:gd name="connsiteX6" fmla="*/ 667893 w 986123"/>
                <a:gd name="connsiteY6" fmla="*/ 1010412 h 1284160"/>
                <a:gd name="connsiteX7" fmla="*/ 715137 w 986123"/>
                <a:gd name="connsiteY7" fmla="*/ 923925 h 1284160"/>
                <a:gd name="connsiteX8" fmla="*/ 715137 w 986123"/>
                <a:gd name="connsiteY8" fmla="*/ 920305 h 1284160"/>
                <a:gd name="connsiteX9" fmla="*/ 705326 w 986123"/>
                <a:gd name="connsiteY9" fmla="*/ 873062 h 1284160"/>
                <a:gd name="connsiteX10" fmla="*/ 667798 w 986123"/>
                <a:gd name="connsiteY10" fmla="*/ 834676 h 1284160"/>
                <a:gd name="connsiteX11" fmla="*/ 590931 w 986123"/>
                <a:gd name="connsiteY11" fmla="*/ 798957 h 1284160"/>
                <a:gd name="connsiteX12" fmla="*/ 463106 w 986123"/>
                <a:gd name="connsiteY12" fmla="*/ 761524 h 1284160"/>
                <a:gd name="connsiteX13" fmla="*/ 291465 w 986123"/>
                <a:gd name="connsiteY13" fmla="*/ 709803 h 1284160"/>
                <a:gd name="connsiteX14" fmla="*/ 160973 w 986123"/>
                <a:gd name="connsiteY14" fmla="*/ 639318 h 1284160"/>
                <a:gd name="connsiteX15" fmla="*/ 77819 w 986123"/>
                <a:gd name="connsiteY15" fmla="*/ 535019 h 1284160"/>
                <a:gd name="connsiteX16" fmla="*/ 48292 w 986123"/>
                <a:gd name="connsiteY16" fmla="*/ 379857 h 1284160"/>
                <a:gd name="connsiteX17" fmla="*/ 48292 w 986123"/>
                <a:gd name="connsiteY17" fmla="*/ 376238 h 1284160"/>
                <a:gd name="connsiteX18" fmla="*/ 80201 w 986123"/>
                <a:gd name="connsiteY18" fmla="*/ 222028 h 1284160"/>
                <a:gd name="connsiteX19" fmla="*/ 169640 w 986123"/>
                <a:gd name="connsiteY19" fmla="*/ 103441 h 1284160"/>
                <a:gd name="connsiteX20" fmla="*/ 307181 w 986123"/>
                <a:gd name="connsiteY20" fmla="*/ 26765 h 1284160"/>
                <a:gd name="connsiteX21" fmla="*/ 483394 w 986123"/>
                <a:gd name="connsiteY21" fmla="*/ 0 h 1284160"/>
                <a:gd name="connsiteX22" fmla="*/ 735711 w 986123"/>
                <a:gd name="connsiteY22" fmla="*/ 41053 h 1284160"/>
                <a:gd name="connsiteX23" fmla="*/ 946976 w 986123"/>
                <a:gd name="connsiteY23" fmla="*/ 158687 h 1284160"/>
                <a:gd name="connsiteX24" fmla="*/ 804291 w 986123"/>
                <a:gd name="connsiteY24" fmla="*/ 365569 h 1284160"/>
                <a:gd name="connsiteX25" fmla="*/ 640271 w 986123"/>
                <a:gd name="connsiteY25" fmla="*/ 275558 h 1284160"/>
                <a:gd name="connsiteX26" fmla="*/ 479774 w 986123"/>
                <a:gd name="connsiteY26" fmla="*/ 242602 h 1284160"/>
                <a:gd name="connsiteX27" fmla="*/ 359378 w 986123"/>
                <a:gd name="connsiteY27" fmla="*/ 273844 h 1284160"/>
                <a:gd name="connsiteX28" fmla="*/ 319278 w 986123"/>
                <a:gd name="connsiteY28" fmla="*/ 351377 h 1284160"/>
                <a:gd name="connsiteX29" fmla="*/ 319278 w 986123"/>
                <a:gd name="connsiteY29" fmla="*/ 354997 h 1284160"/>
                <a:gd name="connsiteX30" fmla="*/ 330899 w 986123"/>
                <a:gd name="connsiteY30" fmla="*/ 407575 h 1284160"/>
                <a:gd name="connsiteX31" fmla="*/ 372904 w 986123"/>
                <a:gd name="connsiteY31" fmla="*/ 447675 h 1284160"/>
                <a:gd name="connsiteX32" fmla="*/ 456057 w 986123"/>
                <a:gd name="connsiteY32" fmla="*/ 481489 h 1284160"/>
                <a:gd name="connsiteX33" fmla="*/ 589217 w 986123"/>
                <a:gd name="connsiteY33" fmla="*/ 518922 h 1284160"/>
                <a:gd name="connsiteX34" fmla="*/ 758190 w 986123"/>
                <a:gd name="connsiteY34" fmla="*/ 575120 h 1284160"/>
                <a:gd name="connsiteX35" fmla="*/ 883349 w 986123"/>
                <a:gd name="connsiteY35" fmla="*/ 649986 h 1284160"/>
                <a:gd name="connsiteX36" fmla="*/ 960215 w 986123"/>
                <a:gd name="connsiteY36" fmla="*/ 752570 h 1284160"/>
                <a:gd name="connsiteX37" fmla="*/ 986123 w 986123"/>
                <a:gd name="connsiteY37" fmla="*/ 893445 h 1284160"/>
                <a:gd name="connsiteX38" fmla="*/ 986123 w 986123"/>
                <a:gd name="connsiteY38" fmla="*/ 897064 h 1284160"/>
                <a:gd name="connsiteX39" fmla="*/ 952500 w 986123"/>
                <a:gd name="connsiteY39" fmla="*/ 1062038 h 1284160"/>
                <a:gd name="connsiteX40" fmla="*/ 858584 w 986123"/>
                <a:gd name="connsiteY40" fmla="*/ 1183291 h 1284160"/>
                <a:gd name="connsiteX41" fmla="*/ 714851 w 986123"/>
                <a:gd name="connsiteY41" fmla="*/ 1258157 h 1284160"/>
                <a:gd name="connsiteX42" fmla="*/ 529685 w 986123"/>
                <a:gd name="connsiteY42" fmla="*/ 1284065 h 128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6123" h="1284160">
                  <a:moveTo>
                    <a:pt x="529590" y="1284160"/>
                  </a:moveTo>
                  <a:cubicBezTo>
                    <a:pt x="434435" y="1284160"/>
                    <a:pt x="341186" y="1267777"/>
                    <a:pt x="249650" y="1235107"/>
                  </a:cubicBezTo>
                  <a:cubicBezTo>
                    <a:pt x="158115" y="1202436"/>
                    <a:pt x="74867" y="1152239"/>
                    <a:pt x="0" y="1084421"/>
                  </a:cubicBezTo>
                  <a:lnTo>
                    <a:pt x="162306" y="890016"/>
                  </a:lnTo>
                  <a:cubicBezTo>
                    <a:pt x="219361" y="936403"/>
                    <a:pt x="277844" y="973264"/>
                    <a:pt x="337947" y="1000601"/>
                  </a:cubicBezTo>
                  <a:cubicBezTo>
                    <a:pt x="397955" y="1027938"/>
                    <a:pt x="463677" y="1041654"/>
                    <a:pt x="535019" y="1041654"/>
                  </a:cubicBezTo>
                  <a:cubicBezTo>
                    <a:pt x="592074" y="1041654"/>
                    <a:pt x="636365" y="1031272"/>
                    <a:pt x="667893" y="1010412"/>
                  </a:cubicBezTo>
                  <a:cubicBezTo>
                    <a:pt x="699421" y="989647"/>
                    <a:pt x="715137" y="960787"/>
                    <a:pt x="715137" y="923925"/>
                  </a:cubicBezTo>
                  <a:lnTo>
                    <a:pt x="715137" y="920305"/>
                  </a:lnTo>
                  <a:cubicBezTo>
                    <a:pt x="715137" y="902494"/>
                    <a:pt x="711803" y="886777"/>
                    <a:pt x="705326" y="873062"/>
                  </a:cubicBezTo>
                  <a:cubicBezTo>
                    <a:pt x="698754" y="859441"/>
                    <a:pt x="686276" y="846582"/>
                    <a:pt x="667798" y="834676"/>
                  </a:cubicBezTo>
                  <a:cubicBezTo>
                    <a:pt x="649319" y="822770"/>
                    <a:pt x="623697" y="810863"/>
                    <a:pt x="590931" y="798957"/>
                  </a:cubicBezTo>
                  <a:cubicBezTo>
                    <a:pt x="558165" y="787146"/>
                    <a:pt x="515493" y="774573"/>
                    <a:pt x="463106" y="761524"/>
                  </a:cubicBezTo>
                  <a:cubicBezTo>
                    <a:pt x="399955" y="746093"/>
                    <a:pt x="342710" y="728853"/>
                    <a:pt x="291465" y="709803"/>
                  </a:cubicBezTo>
                  <a:cubicBezTo>
                    <a:pt x="240221" y="690753"/>
                    <a:pt x="196691" y="667322"/>
                    <a:pt x="160973" y="639318"/>
                  </a:cubicBezTo>
                  <a:cubicBezTo>
                    <a:pt x="125159" y="611410"/>
                    <a:pt x="97536" y="576644"/>
                    <a:pt x="77819" y="535019"/>
                  </a:cubicBezTo>
                  <a:cubicBezTo>
                    <a:pt x="58103" y="493395"/>
                    <a:pt x="48292" y="441674"/>
                    <a:pt x="48292" y="379857"/>
                  </a:cubicBezTo>
                  <a:lnTo>
                    <a:pt x="48292" y="376238"/>
                  </a:lnTo>
                  <a:cubicBezTo>
                    <a:pt x="48292" y="319183"/>
                    <a:pt x="58865" y="267748"/>
                    <a:pt x="80201" y="222028"/>
                  </a:cubicBezTo>
                  <a:cubicBezTo>
                    <a:pt x="101441" y="176308"/>
                    <a:pt x="131255" y="136779"/>
                    <a:pt x="169640" y="103441"/>
                  </a:cubicBezTo>
                  <a:cubicBezTo>
                    <a:pt x="208026" y="70199"/>
                    <a:pt x="253841" y="44577"/>
                    <a:pt x="307181" y="26765"/>
                  </a:cubicBezTo>
                  <a:cubicBezTo>
                    <a:pt x="360426" y="8953"/>
                    <a:pt x="419195" y="0"/>
                    <a:pt x="483394" y="0"/>
                  </a:cubicBezTo>
                  <a:cubicBezTo>
                    <a:pt x="574929" y="0"/>
                    <a:pt x="659035" y="13716"/>
                    <a:pt x="735711" y="41053"/>
                  </a:cubicBezTo>
                  <a:cubicBezTo>
                    <a:pt x="812387" y="68389"/>
                    <a:pt x="882777" y="107632"/>
                    <a:pt x="946976" y="158687"/>
                  </a:cubicBezTo>
                  <a:lnTo>
                    <a:pt x="804291" y="365569"/>
                  </a:lnTo>
                  <a:cubicBezTo>
                    <a:pt x="748379" y="327565"/>
                    <a:pt x="693706" y="297561"/>
                    <a:pt x="640271" y="275558"/>
                  </a:cubicBezTo>
                  <a:cubicBezTo>
                    <a:pt x="586740" y="253555"/>
                    <a:pt x="533305" y="242602"/>
                    <a:pt x="479774" y="242602"/>
                  </a:cubicBezTo>
                  <a:cubicBezTo>
                    <a:pt x="426244" y="242602"/>
                    <a:pt x="386144" y="252984"/>
                    <a:pt x="359378" y="273844"/>
                  </a:cubicBezTo>
                  <a:cubicBezTo>
                    <a:pt x="332613" y="294608"/>
                    <a:pt x="319278" y="320516"/>
                    <a:pt x="319278" y="351377"/>
                  </a:cubicBezTo>
                  <a:lnTo>
                    <a:pt x="319278" y="354997"/>
                  </a:lnTo>
                  <a:cubicBezTo>
                    <a:pt x="319278" y="375190"/>
                    <a:pt x="323183" y="392716"/>
                    <a:pt x="330899" y="407575"/>
                  </a:cubicBezTo>
                  <a:cubicBezTo>
                    <a:pt x="338614" y="422434"/>
                    <a:pt x="352616" y="435864"/>
                    <a:pt x="372904" y="447675"/>
                  </a:cubicBezTo>
                  <a:cubicBezTo>
                    <a:pt x="393192" y="459581"/>
                    <a:pt x="420910" y="470821"/>
                    <a:pt x="456057" y="481489"/>
                  </a:cubicBezTo>
                  <a:cubicBezTo>
                    <a:pt x="491204" y="492157"/>
                    <a:pt x="535591" y="504730"/>
                    <a:pt x="589217" y="518922"/>
                  </a:cubicBezTo>
                  <a:cubicBezTo>
                    <a:pt x="652367" y="535591"/>
                    <a:pt x="708660" y="554260"/>
                    <a:pt x="758190" y="575120"/>
                  </a:cubicBezTo>
                  <a:cubicBezTo>
                    <a:pt x="807625" y="595979"/>
                    <a:pt x="849344" y="620935"/>
                    <a:pt x="883349" y="649986"/>
                  </a:cubicBezTo>
                  <a:cubicBezTo>
                    <a:pt x="917353" y="679132"/>
                    <a:pt x="942975" y="713327"/>
                    <a:pt x="960215" y="752570"/>
                  </a:cubicBezTo>
                  <a:cubicBezTo>
                    <a:pt x="977456" y="791813"/>
                    <a:pt x="986123" y="838772"/>
                    <a:pt x="986123" y="893445"/>
                  </a:cubicBezTo>
                  <a:lnTo>
                    <a:pt x="986123" y="897064"/>
                  </a:lnTo>
                  <a:cubicBezTo>
                    <a:pt x="986123" y="958882"/>
                    <a:pt x="974884" y="1013841"/>
                    <a:pt x="952500" y="1062038"/>
                  </a:cubicBezTo>
                  <a:cubicBezTo>
                    <a:pt x="930021" y="1110139"/>
                    <a:pt x="898779" y="1150620"/>
                    <a:pt x="858584" y="1183291"/>
                  </a:cubicBezTo>
                  <a:cubicBezTo>
                    <a:pt x="818388" y="1216057"/>
                    <a:pt x="770477" y="1241012"/>
                    <a:pt x="714851" y="1258157"/>
                  </a:cubicBezTo>
                  <a:cubicBezTo>
                    <a:pt x="659130" y="1275398"/>
                    <a:pt x="597503" y="1284065"/>
                    <a:pt x="529685" y="1284065"/>
                  </a:cubicBezTo>
                  <a:close/>
                </a:path>
              </a:pathLst>
            </a:custGeom>
            <a:solidFill>
              <a:srgbClr val="44505E"/>
            </a:solidFill>
            <a:ln w="9525" cap="flat">
              <a:noFill/>
              <a:prstDash val="solid"/>
              <a:miter/>
            </a:ln>
          </p:spPr>
          <p:txBody>
            <a:bodyPr rtlCol="0" anchor="ctr"/>
            <a:lstStyle/>
            <a:p>
              <a:endParaRPr lang="pt-BR" noProof="0"/>
            </a:p>
          </p:txBody>
        </p:sp>
        <p:sp>
          <p:nvSpPr>
            <p:cNvPr id="17" name="Freeform: Shape 16">
              <a:extLst>
                <a:ext uri="{FF2B5EF4-FFF2-40B4-BE49-F238E27FC236}">
                  <a16:creationId xmlns:a16="http://schemas.microsoft.com/office/drawing/2014/main" id="{9674BE09-8715-7B8D-9CF1-5FF1ACD4C291}"/>
                </a:ext>
              </a:extLst>
            </p:cNvPr>
            <p:cNvSpPr/>
            <p:nvPr/>
          </p:nvSpPr>
          <p:spPr>
            <a:xfrm>
              <a:off x="5492084" y="310867"/>
              <a:ext cx="332584" cy="315991"/>
            </a:xfrm>
            <a:custGeom>
              <a:avLst/>
              <a:gdLst>
                <a:gd name="connsiteX0" fmla="*/ 534924 w 1323022"/>
                <a:gd name="connsiteY0" fmla="*/ 0 h 1257014"/>
                <a:gd name="connsiteX1" fmla="*/ 788099 w 1323022"/>
                <a:gd name="connsiteY1" fmla="*/ 0 h 1257014"/>
                <a:gd name="connsiteX2" fmla="*/ 1323023 w 1323022"/>
                <a:gd name="connsiteY2" fmla="*/ 1257014 h 1257014"/>
                <a:gd name="connsiteX3" fmla="*/ 1035939 w 1323022"/>
                <a:gd name="connsiteY3" fmla="*/ 1257014 h 1257014"/>
                <a:gd name="connsiteX4" fmla="*/ 921829 w 1323022"/>
                <a:gd name="connsiteY4" fmla="*/ 977075 h 1257014"/>
                <a:gd name="connsiteX5" fmla="*/ 394049 w 1323022"/>
                <a:gd name="connsiteY5" fmla="*/ 977075 h 1257014"/>
                <a:gd name="connsiteX6" fmla="*/ 279940 w 1323022"/>
                <a:gd name="connsiteY6" fmla="*/ 1257014 h 1257014"/>
                <a:gd name="connsiteX7" fmla="*/ 0 w 1323022"/>
                <a:gd name="connsiteY7" fmla="*/ 1257014 h 1257014"/>
                <a:gd name="connsiteX8" fmla="*/ 534924 w 1323022"/>
                <a:gd name="connsiteY8" fmla="*/ 0 h 1257014"/>
                <a:gd name="connsiteX9" fmla="*/ 823817 w 1323022"/>
                <a:gd name="connsiteY9" fmla="*/ 734568 h 1257014"/>
                <a:gd name="connsiteX10" fmla="*/ 657987 w 1323022"/>
                <a:gd name="connsiteY10" fmla="*/ 329851 h 1257014"/>
                <a:gd name="connsiteX11" fmla="*/ 492157 w 1323022"/>
                <a:gd name="connsiteY11" fmla="*/ 734568 h 1257014"/>
                <a:gd name="connsiteX12" fmla="*/ 823817 w 1323022"/>
                <a:gd name="connsiteY12" fmla="*/ 734568 h 125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022" h="1257014">
                  <a:moveTo>
                    <a:pt x="534924" y="0"/>
                  </a:moveTo>
                  <a:lnTo>
                    <a:pt x="788099" y="0"/>
                  </a:lnTo>
                  <a:lnTo>
                    <a:pt x="1323023" y="1257014"/>
                  </a:lnTo>
                  <a:lnTo>
                    <a:pt x="1035939" y="1257014"/>
                  </a:lnTo>
                  <a:lnTo>
                    <a:pt x="921829" y="977075"/>
                  </a:lnTo>
                  <a:lnTo>
                    <a:pt x="394049" y="977075"/>
                  </a:lnTo>
                  <a:lnTo>
                    <a:pt x="279940" y="1257014"/>
                  </a:lnTo>
                  <a:lnTo>
                    <a:pt x="0" y="1257014"/>
                  </a:lnTo>
                  <a:lnTo>
                    <a:pt x="534924" y="0"/>
                  </a:lnTo>
                  <a:close/>
                  <a:moveTo>
                    <a:pt x="823817" y="734568"/>
                  </a:moveTo>
                  <a:lnTo>
                    <a:pt x="657987" y="329851"/>
                  </a:lnTo>
                  <a:lnTo>
                    <a:pt x="492157" y="734568"/>
                  </a:lnTo>
                  <a:lnTo>
                    <a:pt x="823817" y="734568"/>
                  </a:lnTo>
                  <a:close/>
                </a:path>
              </a:pathLst>
            </a:custGeom>
            <a:solidFill>
              <a:srgbClr val="44505E"/>
            </a:solidFill>
            <a:ln w="9525" cap="flat">
              <a:noFill/>
              <a:prstDash val="solid"/>
              <a:miter/>
            </a:ln>
          </p:spPr>
          <p:txBody>
            <a:bodyPr rtlCol="0" anchor="ctr"/>
            <a:lstStyle/>
            <a:p>
              <a:endParaRPr lang="pt-BR" noProof="0"/>
            </a:p>
          </p:txBody>
        </p:sp>
        <p:sp>
          <p:nvSpPr>
            <p:cNvPr id="18" name="Freeform: Shape 17">
              <a:extLst>
                <a:ext uri="{FF2B5EF4-FFF2-40B4-BE49-F238E27FC236}">
                  <a16:creationId xmlns:a16="http://schemas.microsoft.com/office/drawing/2014/main" id="{158A453F-E622-6FF5-3A75-F695A04AD6FB}"/>
                </a:ext>
              </a:extLst>
            </p:cNvPr>
            <p:cNvSpPr/>
            <p:nvPr/>
          </p:nvSpPr>
          <p:spPr>
            <a:xfrm>
              <a:off x="5834078" y="211355"/>
              <a:ext cx="273442" cy="420435"/>
            </a:xfrm>
            <a:custGeom>
              <a:avLst/>
              <a:gdLst>
                <a:gd name="connsiteX0" fmla="*/ 540258 w 1087754"/>
                <a:gd name="connsiteY0" fmla="*/ 1672495 h 1672494"/>
                <a:gd name="connsiteX1" fmla="*/ 144399 w 1087754"/>
                <a:gd name="connsiteY1" fmla="*/ 1533430 h 1672494"/>
                <a:gd name="connsiteX2" fmla="*/ 0 w 1087754"/>
                <a:gd name="connsiteY2" fmla="*/ 1117949 h 1672494"/>
                <a:gd name="connsiteX3" fmla="*/ 0 w 1087754"/>
                <a:gd name="connsiteY3" fmla="*/ 404717 h 1672494"/>
                <a:gd name="connsiteX4" fmla="*/ 274606 w 1087754"/>
                <a:gd name="connsiteY4" fmla="*/ 404717 h 1672494"/>
                <a:gd name="connsiteX5" fmla="*/ 274606 w 1087754"/>
                <a:gd name="connsiteY5" fmla="*/ 1110806 h 1672494"/>
                <a:gd name="connsiteX6" fmla="*/ 345948 w 1087754"/>
                <a:gd name="connsiteY6" fmla="*/ 1341692 h 1672494"/>
                <a:gd name="connsiteX7" fmla="*/ 543877 w 1087754"/>
                <a:gd name="connsiteY7" fmla="*/ 1419225 h 1672494"/>
                <a:gd name="connsiteX8" fmla="*/ 741807 w 1087754"/>
                <a:gd name="connsiteY8" fmla="*/ 1344359 h 1672494"/>
                <a:gd name="connsiteX9" fmla="*/ 813149 w 1087754"/>
                <a:gd name="connsiteY9" fmla="*/ 1119664 h 1672494"/>
                <a:gd name="connsiteX10" fmla="*/ 813149 w 1087754"/>
                <a:gd name="connsiteY10" fmla="*/ 404717 h 1672494"/>
                <a:gd name="connsiteX11" fmla="*/ 1087755 w 1087754"/>
                <a:gd name="connsiteY11" fmla="*/ 404717 h 1672494"/>
                <a:gd name="connsiteX12" fmla="*/ 1087755 w 1087754"/>
                <a:gd name="connsiteY12" fmla="*/ 1108996 h 1672494"/>
                <a:gd name="connsiteX13" fmla="*/ 1049369 w 1087754"/>
                <a:gd name="connsiteY13" fmla="*/ 1356836 h 1672494"/>
                <a:gd name="connsiteX14" fmla="*/ 939737 w 1087754"/>
                <a:gd name="connsiteY14" fmla="*/ 1532477 h 1672494"/>
                <a:gd name="connsiteX15" fmla="*/ 766763 w 1087754"/>
                <a:gd name="connsiteY15" fmla="*/ 1637729 h 1672494"/>
                <a:gd name="connsiteX16" fmla="*/ 540353 w 1087754"/>
                <a:gd name="connsiteY16" fmla="*/ 1672495 h 1672494"/>
                <a:gd name="connsiteX17" fmla="*/ 622268 w 1087754"/>
                <a:gd name="connsiteY17" fmla="*/ 0 h 1672494"/>
                <a:gd name="connsiteX18" fmla="*/ 855821 w 1087754"/>
                <a:gd name="connsiteY18" fmla="*/ 101632 h 1672494"/>
                <a:gd name="connsiteX19" fmla="*/ 627602 w 1087754"/>
                <a:gd name="connsiteY19" fmla="*/ 315563 h 1672494"/>
                <a:gd name="connsiteX20" fmla="*/ 420719 w 1087754"/>
                <a:gd name="connsiteY20" fmla="*/ 315563 h 1672494"/>
                <a:gd name="connsiteX21" fmla="*/ 622268 w 1087754"/>
                <a:gd name="connsiteY21" fmla="*/ 0 h 16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754" h="1672494">
                  <a:moveTo>
                    <a:pt x="540258" y="1672495"/>
                  </a:moveTo>
                  <a:cubicBezTo>
                    <a:pt x="372618" y="1672495"/>
                    <a:pt x="240697" y="1626108"/>
                    <a:pt x="144399" y="1533430"/>
                  </a:cubicBezTo>
                  <a:cubicBezTo>
                    <a:pt x="48101" y="1440752"/>
                    <a:pt x="0" y="1302258"/>
                    <a:pt x="0" y="1117949"/>
                  </a:cubicBezTo>
                  <a:lnTo>
                    <a:pt x="0" y="404717"/>
                  </a:lnTo>
                  <a:lnTo>
                    <a:pt x="274606" y="404717"/>
                  </a:lnTo>
                  <a:lnTo>
                    <a:pt x="274606" y="1110806"/>
                  </a:lnTo>
                  <a:cubicBezTo>
                    <a:pt x="274606" y="1213009"/>
                    <a:pt x="298418" y="1289971"/>
                    <a:pt x="345948" y="1341692"/>
                  </a:cubicBezTo>
                  <a:cubicBezTo>
                    <a:pt x="393478" y="1393412"/>
                    <a:pt x="459486" y="1419225"/>
                    <a:pt x="543877" y="1419225"/>
                  </a:cubicBezTo>
                  <a:cubicBezTo>
                    <a:pt x="628269" y="1419225"/>
                    <a:pt x="694277" y="1394270"/>
                    <a:pt x="741807" y="1344359"/>
                  </a:cubicBezTo>
                  <a:cubicBezTo>
                    <a:pt x="789337" y="1294448"/>
                    <a:pt x="813149" y="1219581"/>
                    <a:pt x="813149" y="1119664"/>
                  </a:cubicBezTo>
                  <a:lnTo>
                    <a:pt x="813149" y="404717"/>
                  </a:lnTo>
                  <a:lnTo>
                    <a:pt x="1087755" y="404717"/>
                  </a:lnTo>
                  <a:lnTo>
                    <a:pt x="1087755" y="1108996"/>
                  </a:lnTo>
                  <a:cubicBezTo>
                    <a:pt x="1087755" y="1204151"/>
                    <a:pt x="1074992" y="1286732"/>
                    <a:pt x="1049369" y="1356836"/>
                  </a:cubicBezTo>
                  <a:cubicBezTo>
                    <a:pt x="1023747" y="1426940"/>
                    <a:pt x="987266" y="1485519"/>
                    <a:pt x="939737" y="1532477"/>
                  </a:cubicBezTo>
                  <a:cubicBezTo>
                    <a:pt x="892207" y="1579436"/>
                    <a:pt x="834485" y="1614488"/>
                    <a:pt x="766763" y="1637729"/>
                  </a:cubicBezTo>
                  <a:cubicBezTo>
                    <a:pt x="699040" y="1660874"/>
                    <a:pt x="623507" y="1672495"/>
                    <a:pt x="540353" y="1672495"/>
                  </a:cubicBezTo>
                  <a:close/>
                  <a:moveTo>
                    <a:pt x="622268" y="0"/>
                  </a:moveTo>
                  <a:lnTo>
                    <a:pt x="855821" y="101632"/>
                  </a:lnTo>
                  <a:lnTo>
                    <a:pt x="627602" y="315563"/>
                  </a:lnTo>
                  <a:lnTo>
                    <a:pt x="420719" y="315563"/>
                  </a:lnTo>
                  <a:lnTo>
                    <a:pt x="622268" y="0"/>
                  </a:lnTo>
                  <a:close/>
                </a:path>
              </a:pathLst>
            </a:custGeom>
            <a:solidFill>
              <a:srgbClr val="44505E"/>
            </a:solidFill>
            <a:ln w="9525" cap="flat">
              <a:noFill/>
              <a:prstDash val="solid"/>
              <a:miter/>
            </a:ln>
          </p:spPr>
          <p:txBody>
            <a:bodyPr rtlCol="0" anchor="ctr"/>
            <a:lstStyle/>
            <a:p>
              <a:endParaRPr lang="pt-BR" noProof="0"/>
            </a:p>
          </p:txBody>
        </p:sp>
        <p:sp>
          <p:nvSpPr>
            <p:cNvPr id="19" name="Freeform: Shape 18">
              <a:extLst>
                <a:ext uri="{FF2B5EF4-FFF2-40B4-BE49-F238E27FC236}">
                  <a16:creationId xmlns:a16="http://schemas.microsoft.com/office/drawing/2014/main" id="{C1A77EA7-C8C0-7F5B-B3E5-990873E0EDB6}"/>
                </a:ext>
              </a:extLst>
            </p:cNvPr>
            <p:cNvSpPr/>
            <p:nvPr/>
          </p:nvSpPr>
          <p:spPr>
            <a:xfrm>
              <a:off x="6143795" y="313094"/>
              <a:ext cx="289101" cy="313764"/>
            </a:xfrm>
            <a:custGeom>
              <a:avLst/>
              <a:gdLst>
                <a:gd name="connsiteX0" fmla="*/ 0 w 1150048"/>
                <a:gd name="connsiteY0" fmla="*/ 0 h 1248155"/>
                <a:gd name="connsiteX1" fmla="*/ 486728 w 1150048"/>
                <a:gd name="connsiteY1" fmla="*/ 0 h 1248155"/>
                <a:gd name="connsiteX2" fmla="*/ 755047 w 1150048"/>
                <a:gd name="connsiteY2" fmla="*/ 47244 h 1248155"/>
                <a:gd name="connsiteX3" fmla="*/ 965454 w 1150048"/>
                <a:gd name="connsiteY3" fmla="*/ 178308 h 1248155"/>
                <a:gd name="connsiteX4" fmla="*/ 1101852 w 1150048"/>
                <a:gd name="connsiteY4" fmla="*/ 375380 h 1248155"/>
                <a:gd name="connsiteX5" fmla="*/ 1150049 w 1150048"/>
                <a:gd name="connsiteY5" fmla="*/ 620554 h 1248155"/>
                <a:gd name="connsiteX6" fmla="*/ 1150049 w 1150048"/>
                <a:gd name="connsiteY6" fmla="*/ 624173 h 1248155"/>
                <a:gd name="connsiteX7" fmla="*/ 1101852 w 1150048"/>
                <a:gd name="connsiteY7" fmla="*/ 870204 h 1248155"/>
                <a:gd name="connsiteX8" fmla="*/ 965454 w 1150048"/>
                <a:gd name="connsiteY8" fmla="*/ 1068134 h 1248155"/>
                <a:gd name="connsiteX9" fmla="*/ 755047 w 1150048"/>
                <a:gd name="connsiteY9" fmla="*/ 1200055 h 1248155"/>
                <a:gd name="connsiteX10" fmla="*/ 486728 w 1150048"/>
                <a:gd name="connsiteY10" fmla="*/ 1248156 h 1248155"/>
                <a:gd name="connsiteX11" fmla="*/ 0 w 1150048"/>
                <a:gd name="connsiteY11" fmla="*/ 1248156 h 1248155"/>
                <a:gd name="connsiteX12" fmla="*/ 0 w 1150048"/>
                <a:gd name="connsiteY12" fmla="*/ 0 h 1248155"/>
                <a:gd name="connsiteX13" fmla="*/ 486728 w 1150048"/>
                <a:gd name="connsiteY13" fmla="*/ 1000315 h 1248155"/>
                <a:gd name="connsiteX14" fmla="*/ 640080 w 1150048"/>
                <a:gd name="connsiteY14" fmla="*/ 973550 h 1248155"/>
                <a:gd name="connsiteX15" fmla="*/ 758667 w 1150048"/>
                <a:gd name="connsiteY15" fmla="*/ 896874 h 1248155"/>
                <a:gd name="connsiteX16" fmla="*/ 835343 w 1150048"/>
                <a:gd name="connsiteY16" fmla="*/ 779240 h 1248155"/>
                <a:gd name="connsiteX17" fmla="*/ 862965 w 1150048"/>
                <a:gd name="connsiteY17" fmla="*/ 627698 h 1248155"/>
                <a:gd name="connsiteX18" fmla="*/ 862965 w 1150048"/>
                <a:gd name="connsiteY18" fmla="*/ 624078 h 1248155"/>
                <a:gd name="connsiteX19" fmla="*/ 835343 w 1150048"/>
                <a:gd name="connsiteY19" fmla="*/ 472535 h 1248155"/>
                <a:gd name="connsiteX20" fmla="*/ 758667 w 1150048"/>
                <a:gd name="connsiteY20" fmla="*/ 353092 h 1248155"/>
                <a:gd name="connsiteX21" fmla="*/ 640080 w 1150048"/>
                <a:gd name="connsiteY21" fmla="*/ 275558 h 1248155"/>
                <a:gd name="connsiteX22" fmla="*/ 486728 w 1150048"/>
                <a:gd name="connsiteY22" fmla="*/ 247936 h 1248155"/>
                <a:gd name="connsiteX23" fmla="*/ 274511 w 1150048"/>
                <a:gd name="connsiteY23" fmla="*/ 247936 h 1248155"/>
                <a:gd name="connsiteX24" fmla="*/ 274511 w 1150048"/>
                <a:gd name="connsiteY24" fmla="*/ 1000411 h 1248155"/>
                <a:gd name="connsiteX25" fmla="*/ 486728 w 1150048"/>
                <a:gd name="connsiteY25" fmla="*/ 1000411 h 124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50048" h="1248155">
                  <a:moveTo>
                    <a:pt x="0" y="0"/>
                  </a:moveTo>
                  <a:lnTo>
                    <a:pt x="486728" y="0"/>
                  </a:lnTo>
                  <a:cubicBezTo>
                    <a:pt x="584168" y="0"/>
                    <a:pt x="673608" y="15811"/>
                    <a:pt x="755047" y="47244"/>
                  </a:cubicBezTo>
                  <a:cubicBezTo>
                    <a:pt x="836486" y="78772"/>
                    <a:pt x="906590" y="122396"/>
                    <a:pt x="965454" y="178308"/>
                  </a:cubicBezTo>
                  <a:cubicBezTo>
                    <a:pt x="1024319" y="234220"/>
                    <a:pt x="1069753" y="299847"/>
                    <a:pt x="1101852" y="375380"/>
                  </a:cubicBezTo>
                  <a:cubicBezTo>
                    <a:pt x="1133951" y="450914"/>
                    <a:pt x="1150049" y="532543"/>
                    <a:pt x="1150049" y="620554"/>
                  </a:cubicBezTo>
                  <a:lnTo>
                    <a:pt x="1150049" y="624173"/>
                  </a:lnTo>
                  <a:cubicBezTo>
                    <a:pt x="1150049" y="712184"/>
                    <a:pt x="1133951" y="794195"/>
                    <a:pt x="1101852" y="870204"/>
                  </a:cubicBezTo>
                  <a:cubicBezTo>
                    <a:pt x="1069753" y="946309"/>
                    <a:pt x="1024319" y="1012222"/>
                    <a:pt x="965454" y="1068134"/>
                  </a:cubicBezTo>
                  <a:cubicBezTo>
                    <a:pt x="906590" y="1124045"/>
                    <a:pt x="836486" y="1167956"/>
                    <a:pt x="755047" y="1200055"/>
                  </a:cubicBezTo>
                  <a:cubicBezTo>
                    <a:pt x="673608" y="1232154"/>
                    <a:pt x="584168" y="1248156"/>
                    <a:pt x="486728" y="1248156"/>
                  </a:cubicBezTo>
                  <a:lnTo>
                    <a:pt x="0" y="1248156"/>
                  </a:lnTo>
                  <a:lnTo>
                    <a:pt x="0" y="0"/>
                  </a:lnTo>
                  <a:close/>
                  <a:moveTo>
                    <a:pt x="486728" y="1000315"/>
                  </a:moveTo>
                  <a:cubicBezTo>
                    <a:pt x="542639" y="1000315"/>
                    <a:pt x="593693" y="991457"/>
                    <a:pt x="640080" y="973550"/>
                  </a:cubicBezTo>
                  <a:cubicBezTo>
                    <a:pt x="686467" y="955739"/>
                    <a:pt x="725900" y="930211"/>
                    <a:pt x="758667" y="896874"/>
                  </a:cubicBezTo>
                  <a:cubicBezTo>
                    <a:pt x="791337" y="863632"/>
                    <a:pt x="816864" y="824389"/>
                    <a:pt x="835343" y="779240"/>
                  </a:cubicBezTo>
                  <a:cubicBezTo>
                    <a:pt x="853726" y="734092"/>
                    <a:pt x="862965" y="683609"/>
                    <a:pt x="862965" y="627698"/>
                  </a:cubicBezTo>
                  <a:lnTo>
                    <a:pt x="862965" y="624078"/>
                  </a:lnTo>
                  <a:cubicBezTo>
                    <a:pt x="862965" y="569404"/>
                    <a:pt x="853726" y="518827"/>
                    <a:pt x="835343" y="472535"/>
                  </a:cubicBezTo>
                  <a:cubicBezTo>
                    <a:pt x="816864" y="426149"/>
                    <a:pt x="791337" y="386334"/>
                    <a:pt x="758667" y="353092"/>
                  </a:cubicBezTo>
                  <a:cubicBezTo>
                    <a:pt x="725996" y="319849"/>
                    <a:pt x="686467" y="293941"/>
                    <a:pt x="640080" y="275558"/>
                  </a:cubicBezTo>
                  <a:cubicBezTo>
                    <a:pt x="593693" y="257175"/>
                    <a:pt x="542639" y="247936"/>
                    <a:pt x="486728" y="247936"/>
                  </a:cubicBezTo>
                  <a:lnTo>
                    <a:pt x="274511" y="247936"/>
                  </a:lnTo>
                  <a:lnTo>
                    <a:pt x="274511" y="1000411"/>
                  </a:lnTo>
                  <a:lnTo>
                    <a:pt x="486728" y="1000411"/>
                  </a:lnTo>
                  <a:close/>
                </a:path>
              </a:pathLst>
            </a:custGeom>
            <a:solidFill>
              <a:srgbClr val="44505E"/>
            </a:solidFill>
            <a:ln w="9525" cap="flat">
              <a:noFill/>
              <a:prstDash val="solid"/>
              <a:miter/>
            </a:ln>
          </p:spPr>
          <p:txBody>
            <a:bodyPr rtlCol="0" anchor="ctr"/>
            <a:lstStyle/>
            <a:p>
              <a:endParaRPr lang="pt-BR" noProof="0"/>
            </a:p>
          </p:txBody>
        </p:sp>
        <p:sp>
          <p:nvSpPr>
            <p:cNvPr id="20" name="Freeform: Shape 19">
              <a:extLst>
                <a:ext uri="{FF2B5EF4-FFF2-40B4-BE49-F238E27FC236}">
                  <a16:creationId xmlns:a16="http://schemas.microsoft.com/office/drawing/2014/main" id="{F9835415-F294-506A-09C6-7B94EE147430}"/>
                </a:ext>
              </a:extLst>
            </p:cNvPr>
            <p:cNvSpPr/>
            <p:nvPr/>
          </p:nvSpPr>
          <p:spPr>
            <a:xfrm>
              <a:off x="6460217" y="313094"/>
              <a:ext cx="238459" cy="313788"/>
            </a:xfrm>
            <a:custGeom>
              <a:avLst/>
              <a:gdLst>
                <a:gd name="connsiteX0" fmla="*/ 95 w 948594"/>
                <a:gd name="connsiteY0" fmla="*/ 0 h 1248251"/>
                <a:gd name="connsiteX1" fmla="*/ 939737 w 948594"/>
                <a:gd name="connsiteY1" fmla="*/ 0 h 1248251"/>
                <a:gd name="connsiteX2" fmla="*/ 939737 w 948594"/>
                <a:gd name="connsiteY2" fmla="*/ 244316 h 1248251"/>
                <a:gd name="connsiteX3" fmla="*/ 271081 w 948594"/>
                <a:gd name="connsiteY3" fmla="*/ 244316 h 1248251"/>
                <a:gd name="connsiteX4" fmla="*/ 271081 w 948594"/>
                <a:gd name="connsiteY4" fmla="*/ 497491 h 1248251"/>
                <a:gd name="connsiteX5" fmla="*/ 859441 w 948594"/>
                <a:gd name="connsiteY5" fmla="*/ 497491 h 1248251"/>
                <a:gd name="connsiteX6" fmla="*/ 859441 w 948594"/>
                <a:gd name="connsiteY6" fmla="*/ 741807 h 1248251"/>
                <a:gd name="connsiteX7" fmla="*/ 271081 w 948594"/>
                <a:gd name="connsiteY7" fmla="*/ 741807 h 1248251"/>
                <a:gd name="connsiteX8" fmla="*/ 271081 w 948594"/>
                <a:gd name="connsiteY8" fmla="*/ 1003935 h 1248251"/>
                <a:gd name="connsiteX9" fmla="*/ 948595 w 948594"/>
                <a:gd name="connsiteY9" fmla="*/ 1003935 h 1248251"/>
                <a:gd name="connsiteX10" fmla="*/ 948595 w 948594"/>
                <a:gd name="connsiteY10" fmla="*/ 1248251 h 1248251"/>
                <a:gd name="connsiteX11" fmla="*/ 0 w 948594"/>
                <a:gd name="connsiteY11" fmla="*/ 1248251 h 1248251"/>
                <a:gd name="connsiteX12" fmla="*/ 0 w 948594"/>
                <a:gd name="connsiteY12" fmla="*/ 0 h 124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594" h="1248251">
                  <a:moveTo>
                    <a:pt x="95" y="0"/>
                  </a:moveTo>
                  <a:lnTo>
                    <a:pt x="939737" y="0"/>
                  </a:lnTo>
                  <a:lnTo>
                    <a:pt x="939737" y="244316"/>
                  </a:lnTo>
                  <a:lnTo>
                    <a:pt x="271081" y="244316"/>
                  </a:lnTo>
                  <a:lnTo>
                    <a:pt x="271081" y="497491"/>
                  </a:lnTo>
                  <a:lnTo>
                    <a:pt x="859441" y="497491"/>
                  </a:lnTo>
                  <a:lnTo>
                    <a:pt x="859441" y="741807"/>
                  </a:lnTo>
                  <a:lnTo>
                    <a:pt x="271081" y="741807"/>
                  </a:lnTo>
                  <a:lnTo>
                    <a:pt x="271081" y="1003935"/>
                  </a:lnTo>
                  <a:lnTo>
                    <a:pt x="948595" y="1003935"/>
                  </a:lnTo>
                  <a:lnTo>
                    <a:pt x="948595" y="1248251"/>
                  </a:lnTo>
                  <a:lnTo>
                    <a:pt x="0" y="1248251"/>
                  </a:lnTo>
                  <a:lnTo>
                    <a:pt x="0" y="0"/>
                  </a:lnTo>
                  <a:close/>
                </a:path>
              </a:pathLst>
            </a:custGeom>
            <a:solidFill>
              <a:srgbClr val="44505E"/>
            </a:solidFill>
            <a:ln w="9525" cap="flat">
              <a:noFill/>
              <a:prstDash val="solid"/>
              <a:miter/>
            </a:ln>
          </p:spPr>
          <p:txBody>
            <a:bodyPr rtlCol="0" anchor="ctr"/>
            <a:lstStyle/>
            <a:p>
              <a:endParaRPr lang="pt-BR" noProof="0"/>
            </a:p>
          </p:txBody>
        </p:sp>
        <p:sp>
          <p:nvSpPr>
            <p:cNvPr id="21" name="Freeform: Shape 20">
              <a:extLst>
                <a:ext uri="{FF2B5EF4-FFF2-40B4-BE49-F238E27FC236}">
                  <a16:creationId xmlns:a16="http://schemas.microsoft.com/office/drawing/2014/main" id="{1BBC0FA3-129C-441F-C5E9-D4ED2BFE1BF1}"/>
                </a:ext>
              </a:extLst>
            </p:cNvPr>
            <p:cNvSpPr/>
            <p:nvPr/>
          </p:nvSpPr>
          <p:spPr>
            <a:xfrm>
              <a:off x="5253193" y="699983"/>
              <a:ext cx="90796" cy="97883"/>
            </a:xfrm>
            <a:custGeom>
              <a:avLst/>
              <a:gdLst>
                <a:gd name="connsiteX0" fmla="*/ 191548 w 361187"/>
                <a:gd name="connsiteY0" fmla="*/ 389382 h 389381"/>
                <a:gd name="connsiteX1" fmla="*/ 116300 w 361187"/>
                <a:gd name="connsiteY1" fmla="*/ 375285 h 389381"/>
                <a:gd name="connsiteX2" fmla="*/ 55531 w 361187"/>
                <a:gd name="connsiteY2" fmla="*/ 335756 h 389381"/>
                <a:gd name="connsiteX3" fmla="*/ 14859 w 361187"/>
                <a:gd name="connsiteY3" fmla="*/ 274606 h 389381"/>
                <a:gd name="connsiteX4" fmla="*/ 0 w 361187"/>
                <a:gd name="connsiteY4" fmla="*/ 195834 h 389381"/>
                <a:gd name="connsiteX5" fmla="*/ 0 w 361187"/>
                <a:gd name="connsiteY5" fmla="*/ 194405 h 389381"/>
                <a:gd name="connsiteX6" fmla="*/ 13430 w 361187"/>
                <a:gd name="connsiteY6" fmla="*/ 118777 h 389381"/>
                <a:gd name="connsiteX7" fmla="*/ 51245 w 361187"/>
                <a:gd name="connsiteY7" fmla="*/ 56959 h 389381"/>
                <a:gd name="connsiteX8" fmla="*/ 108871 w 361187"/>
                <a:gd name="connsiteY8" fmla="*/ 15240 h 389381"/>
                <a:gd name="connsiteX9" fmla="*/ 182404 w 361187"/>
                <a:gd name="connsiteY9" fmla="*/ 0 h 389381"/>
                <a:gd name="connsiteX10" fmla="*/ 260509 w 361187"/>
                <a:gd name="connsiteY10" fmla="*/ 16288 h 389381"/>
                <a:gd name="connsiteX11" fmla="*/ 316325 w 361187"/>
                <a:gd name="connsiteY11" fmla="*/ 60103 h 389381"/>
                <a:gd name="connsiteX12" fmla="*/ 349853 w 361187"/>
                <a:gd name="connsiteY12" fmla="*/ 124015 h 389381"/>
                <a:gd name="connsiteX13" fmla="*/ 361188 w 361187"/>
                <a:gd name="connsiteY13" fmla="*/ 200692 h 389381"/>
                <a:gd name="connsiteX14" fmla="*/ 360807 w 361187"/>
                <a:gd name="connsiteY14" fmla="*/ 212312 h 389381"/>
                <a:gd name="connsiteX15" fmla="*/ 359759 w 361187"/>
                <a:gd name="connsiteY15" fmla="*/ 224695 h 389381"/>
                <a:gd name="connsiteX16" fmla="*/ 85534 w 361187"/>
                <a:gd name="connsiteY16" fmla="*/ 224695 h 389381"/>
                <a:gd name="connsiteX17" fmla="*/ 121920 w 361187"/>
                <a:gd name="connsiteY17" fmla="*/ 294989 h 389381"/>
                <a:gd name="connsiteX18" fmla="*/ 192977 w 361187"/>
                <a:gd name="connsiteY18" fmla="*/ 319373 h 389381"/>
                <a:gd name="connsiteX19" fmla="*/ 248126 w 361187"/>
                <a:gd name="connsiteY19" fmla="*/ 308038 h 389381"/>
                <a:gd name="connsiteX20" fmla="*/ 294037 w 361187"/>
                <a:gd name="connsiteY20" fmla="*/ 274796 h 389381"/>
                <a:gd name="connsiteX21" fmla="*/ 344234 w 361187"/>
                <a:gd name="connsiteY21" fmla="*/ 319278 h 389381"/>
                <a:gd name="connsiteX22" fmla="*/ 280226 w 361187"/>
                <a:gd name="connsiteY22" fmla="*/ 370141 h 389381"/>
                <a:gd name="connsiteX23" fmla="*/ 191548 w 361187"/>
                <a:gd name="connsiteY23" fmla="*/ 389191 h 389381"/>
                <a:gd name="connsiteX24" fmla="*/ 276320 w 361187"/>
                <a:gd name="connsiteY24" fmla="*/ 168211 h 389381"/>
                <a:gd name="connsiteX25" fmla="*/ 267176 w 361187"/>
                <a:gd name="connsiteY25" fmla="*/ 129730 h 389381"/>
                <a:gd name="connsiteX26" fmla="*/ 248126 w 361187"/>
                <a:gd name="connsiteY26" fmla="*/ 98679 h 389381"/>
                <a:gd name="connsiteX27" fmla="*/ 219551 w 361187"/>
                <a:gd name="connsiteY27" fmla="*/ 77819 h 389381"/>
                <a:gd name="connsiteX28" fmla="*/ 181737 w 361187"/>
                <a:gd name="connsiteY28" fmla="*/ 70009 h 389381"/>
                <a:gd name="connsiteX29" fmla="*/ 116396 w 361187"/>
                <a:gd name="connsiteY29" fmla="*/ 97250 h 389381"/>
                <a:gd name="connsiteX30" fmla="*/ 84963 w 361187"/>
                <a:gd name="connsiteY30" fmla="*/ 168307 h 389381"/>
                <a:gd name="connsiteX31" fmla="*/ 276511 w 361187"/>
                <a:gd name="connsiteY31" fmla="*/ 168307 h 38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187" h="389381">
                  <a:moveTo>
                    <a:pt x="191548" y="389382"/>
                  </a:moveTo>
                  <a:cubicBezTo>
                    <a:pt x="164687" y="389382"/>
                    <a:pt x="139637" y="384715"/>
                    <a:pt x="116300" y="375285"/>
                  </a:cubicBezTo>
                  <a:cubicBezTo>
                    <a:pt x="92964" y="365855"/>
                    <a:pt x="72771" y="352711"/>
                    <a:pt x="55531" y="335756"/>
                  </a:cubicBezTo>
                  <a:cubicBezTo>
                    <a:pt x="38291" y="318802"/>
                    <a:pt x="24765" y="298418"/>
                    <a:pt x="14859" y="274606"/>
                  </a:cubicBezTo>
                  <a:cubicBezTo>
                    <a:pt x="4953" y="250793"/>
                    <a:pt x="0" y="224599"/>
                    <a:pt x="0" y="195834"/>
                  </a:cubicBezTo>
                  <a:lnTo>
                    <a:pt x="0" y="194405"/>
                  </a:lnTo>
                  <a:cubicBezTo>
                    <a:pt x="0" y="167545"/>
                    <a:pt x="4477" y="142399"/>
                    <a:pt x="13430" y="118777"/>
                  </a:cubicBezTo>
                  <a:cubicBezTo>
                    <a:pt x="22384" y="95250"/>
                    <a:pt x="34957" y="74581"/>
                    <a:pt x="51245" y="56959"/>
                  </a:cubicBezTo>
                  <a:cubicBezTo>
                    <a:pt x="67532" y="39338"/>
                    <a:pt x="86677" y="25432"/>
                    <a:pt x="108871" y="15240"/>
                  </a:cubicBezTo>
                  <a:cubicBezTo>
                    <a:pt x="131064" y="5143"/>
                    <a:pt x="155543" y="0"/>
                    <a:pt x="182404" y="0"/>
                  </a:cubicBezTo>
                  <a:cubicBezTo>
                    <a:pt x="212122" y="0"/>
                    <a:pt x="238125" y="5429"/>
                    <a:pt x="260509" y="16288"/>
                  </a:cubicBezTo>
                  <a:cubicBezTo>
                    <a:pt x="282893" y="27146"/>
                    <a:pt x="301466" y="41719"/>
                    <a:pt x="316325" y="60103"/>
                  </a:cubicBezTo>
                  <a:cubicBezTo>
                    <a:pt x="331184" y="78486"/>
                    <a:pt x="342329" y="99822"/>
                    <a:pt x="349853" y="124015"/>
                  </a:cubicBezTo>
                  <a:cubicBezTo>
                    <a:pt x="357378" y="148304"/>
                    <a:pt x="361188" y="173831"/>
                    <a:pt x="361188" y="200692"/>
                  </a:cubicBezTo>
                  <a:cubicBezTo>
                    <a:pt x="361188" y="204502"/>
                    <a:pt x="361093" y="208312"/>
                    <a:pt x="360807" y="212312"/>
                  </a:cubicBezTo>
                  <a:cubicBezTo>
                    <a:pt x="360521" y="216313"/>
                    <a:pt x="360236" y="220409"/>
                    <a:pt x="359759" y="224695"/>
                  </a:cubicBezTo>
                  <a:lnTo>
                    <a:pt x="85534" y="224695"/>
                  </a:lnTo>
                  <a:cubicBezTo>
                    <a:pt x="90202" y="255365"/>
                    <a:pt x="102394" y="278797"/>
                    <a:pt x="121920" y="294989"/>
                  </a:cubicBezTo>
                  <a:cubicBezTo>
                    <a:pt x="141446" y="311277"/>
                    <a:pt x="165164" y="319373"/>
                    <a:pt x="192977" y="319373"/>
                  </a:cubicBezTo>
                  <a:cubicBezTo>
                    <a:pt x="214217" y="319373"/>
                    <a:pt x="232505" y="315563"/>
                    <a:pt x="248126" y="308038"/>
                  </a:cubicBezTo>
                  <a:cubicBezTo>
                    <a:pt x="263652" y="300514"/>
                    <a:pt x="278987" y="289465"/>
                    <a:pt x="294037" y="274796"/>
                  </a:cubicBezTo>
                  <a:lnTo>
                    <a:pt x="344234" y="319278"/>
                  </a:lnTo>
                  <a:cubicBezTo>
                    <a:pt x="326327" y="340519"/>
                    <a:pt x="304991" y="357473"/>
                    <a:pt x="280226" y="370141"/>
                  </a:cubicBezTo>
                  <a:cubicBezTo>
                    <a:pt x="255461" y="382810"/>
                    <a:pt x="225933" y="389191"/>
                    <a:pt x="191548" y="389191"/>
                  </a:cubicBezTo>
                  <a:close/>
                  <a:moveTo>
                    <a:pt x="276320" y="168211"/>
                  </a:moveTo>
                  <a:cubicBezTo>
                    <a:pt x="274892" y="154591"/>
                    <a:pt x="271844" y="141732"/>
                    <a:pt x="267176" y="129730"/>
                  </a:cubicBezTo>
                  <a:cubicBezTo>
                    <a:pt x="262414" y="117729"/>
                    <a:pt x="256127" y="107347"/>
                    <a:pt x="248126" y="98679"/>
                  </a:cubicBezTo>
                  <a:cubicBezTo>
                    <a:pt x="240125" y="89916"/>
                    <a:pt x="230600" y="82963"/>
                    <a:pt x="219551" y="77819"/>
                  </a:cubicBezTo>
                  <a:cubicBezTo>
                    <a:pt x="208502" y="72676"/>
                    <a:pt x="195834" y="70009"/>
                    <a:pt x="181737" y="70009"/>
                  </a:cubicBezTo>
                  <a:cubicBezTo>
                    <a:pt x="155353" y="70009"/>
                    <a:pt x="133541" y="79057"/>
                    <a:pt x="116396" y="97250"/>
                  </a:cubicBezTo>
                  <a:cubicBezTo>
                    <a:pt x="99155" y="115348"/>
                    <a:pt x="88678" y="139065"/>
                    <a:pt x="84963" y="168307"/>
                  </a:cubicBezTo>
                  <a:lnTo>
                    <a:pt x="276511" y="168307"/>
                  </a:lnTo>
                  <a:close/>
                </a:path>
              </a:pathLst>
            </a:custGeom>
            <a:solidFill>
              <a:srgbClr val="44505E"/>
            </a:solidFill>
            <a:ln w="9525" cap="flat">
              <a:noFill/>
              <a:prstDash val="solid"/>
              <a:miter/>
            </a:ln>
          </p:spPr>
          <p:txBody>
            <a:bodyPr rtlCol="0" anchor="ctr"/>
            <a:lstStyle/>
            <a:p>
              <a:endParaRPr lang="pt-BR" noProof="0"/>
            </a:p>
          </p:txBody>
        </p:sp>
        <p:sp>
          <p:nvSpPr>
            <p:cNvPr id="22" name="Freeform: Shape 21">
              <a:extLst>
                <a:ext uri="{FF2B5EF4-FFF2-40B4-BE49-F238E27FC236}">
                  <a16:creationId xmlns:a16="http://schemas.microsoft.com/office/drawing/2014/main" id="{E32CCF6C-7028-DFA7-6244-24F1C3106155}"/>
                </a:ext>
              </a:extLst>
            </p:cNvPr>
            <p:cNvSpPr/>
            <p:nvPr/>
          </p:nvSpPr>
          <p:spPr>
            <a:xfrm>
              <a:off x="5365659"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5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8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3 w 568166"/>
                <a:gd name="connsiteY21" fmla="*/ 381000 h 381000"/>
                <a:gd name="connsiteX22" fmla="*/ 240983 w 568166"/>
                <a:gd name="connsiteY22" fmla="*/ 168783 h 381000"/>
                <a:gd name="connsiteX23" fmla="*/ 221266 w 568166"/>
                <a:gd name="connsiteY23" fmla="*/ 101822 h 381000"/>
                <a:gd name="connsiteX24" fmla="*/ 165640 w 568166"/>
                <a:gd name="connsiteY24" fmla="*/ 78581 h 381000"/>
                <a:gd name="connsiteX25" fmla="*/ 108014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70" y="48196"/>
                    <a:pt x="105918" y="40576"/>
                  </a:cubicBezTo>
                  <a:cubicBezTo>
                    <a:pt x="112967" y="32956"/>
                    <a:pt x="121063" y="26099"/>
                    <a:pt x="130207" y="19907"/>
                  </a:cubicBezTo>
                  <a:cubicBezTo>
                    <a:pt x="139351" y="13716"/>
                    <a:pt x="149733" y="8858"/>
                    <a:pt x="161163" y="5334"/>
                  </a:cubicBezTo>
                  <a:cubicBezTo>
                    <a:pt x="172688" y="1714"/>
                    <a:pt x="185452" y="0"/>
                    <a:pt x="199549" y="0"/>
                  </a:cubicBezTo>
                  <a:cubicBezTo>
                    <a:pt x="226314" y="0"/>
                    <a:pt x="248984" y="6096"/>
                    <a:pt x="267557" y="18193"/>
                  </a:cubicBezTo>
                  <a:cubicBezTo>
                    <a:pt x="286131" y="30289"/>
                    <a:pt x="300323" y="46387"/>
                    <a:pt x="310134" y="66294"/>
                  </a:cubicBezTo>
                  <a:cubicBezTo>
                    <a:pt x="325279" y="46387"/>
                    <a:pt x="343091" y="30289"/>
                    <a:pt x="363665" y="18193"/>
                  </a:cubicBezTo>
                  <a:cubicBezTo>
                    <a:pt x="384239" y="6096"/>
                    <a:pt x="408718" y="0"/>
                    <a:pt x="437007" y="0"/>
                  </a:cubicBezTo>
                  <a:cubicBezTo>
                    <a:pt x="478060"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8" y="78486"/>
                  </a:cubicBezTo>
                  <a:cubicBezTo>
                    <a:pt x="382810" y="78486"/>
                    <a:pt x="364141" y="86392"/>
                    <a:pt x="349377" y="102108"/>
                  </a:cubicBezTo>
                  <a:cubicBezTo>
                    <a:pt x="334613" y="117824"/>
                    <a:pt x="327184" y="140779"/>
                    <a:pt x="327184" y="170879"/>
                  </a:cubicBezTo>
                  <a:lnTo>
                    <a:pt x="327184" y="381000"/>
                  </a:lnTo>
                  <a:lnTo>
                    <a:pt x="240983" y="381000"/>
                  </a:lnTo>
                  <a:lnTo>
                    <a:pt x="240983" y="168783"/>
                  </a:lnTo>
                  <a:cubicBezTo>
                    <a:pt x="240983" y="139637"/>
                    <a:pt x="234410" y="117348"/>
                    <a:pt x="221266" y="101822"/>
                  </a:cubicBezTo>
                  <a:cubicBezTo>
                    <a:pt x="208121" y="86296"/>
                    <a:pt x="189643" y="78581"/>
                    <a:pt x="165640" y="78581"/>
                  </a:cubicBezTo>
                  <a:cubicBezTo>
                    <a:pt x="141637" y="78581"/>
                    <a:pt x="122492" y="86773"/>
                    <a:pt x="108014"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23" name="Freeform: Shape 22">
              <a:extLst>
                <a:ext uri="{FF2B5EF4-FFF2-40B4-BE49-F238E27FC236}">
                  <a16:creationId xmlns:a16="http://schemas.microsoft.com/office/drawing/2014/main" id="{52FCF116-107C-0558-5A5F-1E3A6FF4D153}"/>
                </a:ext>
              </a:extLst>
            </p:cNvPr>
            <p:cNvSpPr/>
            <p:nvPr/>
          </p:nvSpPr>
          <p:spPr>
            <a:xfrm>
              <a:off x="5587693" y="700007"/>
              <a:ext cx="84211" cy="95752"/>
            </a:xfrm>
            <a:custGeom>
              <a:avLst/>
              <a:gdLst>
                <a:gd name="connsiteX0" fmla="*/ 95 w 334994"/>
                <a:gd name="connsiteY0" fmla="*/ 7715 h 380904"/>
                <a:gd name="connsiteX1" fmla="*/ 86296 w 334994"/>
                <a:gd name="connsiteY1" fmla="*/ 7715 h 380904"/>
                <a:gd name="connsiteX2" fmla="*/ 86296 w 334994"/>
                <a:gd name="connsiteY2" fmla="*/ 66294 h 380904"/>
                <a:gd name="connsiteX3" fmla="*/ 106394 w 334994"/>
                <a:gd name="connsiteY3" fmla="*/ 40958 h 380904"/>
                <a:gd name="connsiteX4" fmla="*/ 131731 w 334994"/>
                <a:gd name="connsiteY4" fmla="*/ 19907 h 380904"/>
                <a:gd name="connsiteX5" fmla="*/ 163449 w 334994"/>
                <a:gd name="connsiteY5" fmla="*/ 5334 h 380904"/>
                <a:gd name="connsiteX6" fmla="*/ 202597 w 334994"/>
                <a:gd name="connsiteY6" fmla="*/ 0 h 380904"/>
                <a:gd name="connsiteX7" fmla="*/ 300514 w 334994"/>
                <a:gd name="connsiteY7" fmla="*/ 38862 h 380904"/>
                <a:gd name="connsiteX8" fmla="*/ 334994 w 334994"/>
                <a:gd name="connsiteY8" fmla="*/ 143446 h 380904"/>
                <a:gd name="connsiteX9" fmla="*/ 334994 w 334994"/>
                <a:gd name="connsiteY9" fmla="*/ 380905 h 380904"/>
                <a:gd name="connsiteX10" fmla="*/ 248793 w 334994"/>
                <a:gd name="connsiteY10" fmla="*/ 380905 h 380904"/>
                <a:gd name="connsiteX11" fmla="*/ 248793 w 334994"/>
                <a:gd name="connsiteY11" fmla="*/ 169450 h 380904"/>
                <a:gd name="connsiteX12" fmla="*/ 228124 w 334994"/>
                <a:gd name="connsiteY12" fmla="*/ 102108 h 380904"/>
                <a:gd name="connsiteX13" fmla="*/ 169640 w 334994"/>
                <a:gd name="connsiteY13" fmla="*/ 78486 h 380904"/>
                <a:gd name="connsiteX14" fmla="*/ 109347 w 334994"/>
                <a:gd name="connsiteY14" fmla="*/ 102775 h 380904"/>
                <a:gd name="connsiteX15" fmla="*/ 86201 w 334994"/>
                <a:gd name="connsiteY15" fmla="*/ 170783 h 380904"/>
                <a:gd name="connsiteX16" fmla="*/ 86201 w 334994"/>
                <a:gd name="connsiteY16" fmla="*/ 380905 h 380904"/>
                <a:gd name="connsiteX17" fmla="*/ 0 w 334994"/>
                <a:gd name="connsiteY17" fmla="*/ 380905 h 380904"/>
                <a:gd name="connsiteX18" fmla="*/ 0 w 334994"/>
                <a:gd name="connsiteY18" fmla="*/ 7810 h 38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94" h="380904">
                  <a:moveTo>
                    <a:pt x="95" y="7715"/>
                  </a:moveTo>
                  <a:lnTo>
                    <a:pt x="86296" y="7715"/>
                  </a:lnTo>
                  <a:lnTo>
                    <a:pt x="86296" y="66294"/>
                  </a:lnTo>
                  <a:cubicBezTo>
                    <a:pt x="92392" y="57245"/>
                    <a:pt x="99060" y="48863"/>
                    <a:pt x="106394" y="40958"/>
                  </a:cubicBezTo>
                  <a:cubicBezTo>
                    <a:pt x="113633" y="33147"/>
                    <a:pt x="122110" y="26099"/>
                    <a:pt x="131731" y="19907"/>
                  </a:cubicBezTo>
                  <a:cubicBezTo>
                    <a:pt x="141351" y="13716"/>
                    <a:pt x="151924" y="8858"/>
                    <a:pt x="163449" y="5334"/>
                  </a:cubicBezTo>
                  <a:cubicBezTo>
                    <a:pt x="174974" y="1714"/>
                    <a:pt x="188024" y="0"/>
                    <a:pt x="202597" y="0"/>
                  </a:cubicBezTo>
                  <a:cubicBezTo>
                    <a:pt x="244888" y="0"/>
                    <a:pt x="277559" y="12954"/>
                    <a:pt x="300514" y="38862"/>
                  </a:cubicBezTo>
                  <a:cubicBezTo>
                    <a:pt x="323564" y="64770"/>
                    <a:pt x="334994" y="99631"/>
                    <a:pt x="334994" y="143446"/>
                  </a:cubicBezTo>
                  <a:lnTo>
                    <a:pt x="334994" y="380905"/>
                  </a:lnTo>
                  <a:lnTo>
                    <a:pt x="248793" y="380905"/>
                  </a:lnTo>
                  <a:lnTo>
                    <a:pt x="248793" y="169450"/>
                  </a:lnTo>
                  <a:cubicBezTo>
                    <a:pt x="248793" y="140303"/>
                    <a:pt x="241935" y="117824"/>
                    <a:pt x="228124" y="102108"/>
                  </a:cubicBezTo>
                  <a:cubicBezTo>
                    <a:pt x="214313" y="86392"/>
                    <a:pt x="194881" y="78486"/>
                    <a:pt x="169640" y="78486"/>
                  </a:cubicBezTo>
                  <a:cubicBezTo>
                    <a:pt x="144399" y="78486"/>
                    <a:pt x="124777" y="86582"/>
                    <a:pt x="109347" y="102775"/>
                  </a:cubicBezTo>
                  <a:cubicBezTo>
                    <a:pt x="93917" y="118967"/>
                    <a:pt x="86201" y="141637"/>
                    <a:pt x="86201" y="170783"/>
                  </a:cubicBezTo>
                  <a:lnTo>
                    <a:pt x="86201" y="380905"/>
                  </a:lnTo>
                  <a:lnTo>
                    <a:pt x="0" y="380905"/>
                  </a:lnTo>
                  <a:lnTo>
                    <a:pt x="0" y="7810"/>
                  </a:lnTo>
                  <a:close/>
                </a:path>
              </a:pathLst>
            </a:custGeom>
            <a:solidFill>
              <a:srgbClr val="44505E"/>
            </a:solidFill>
            <a:ln w="9525" cap="flat">
              <a:noFill/>
              <a:prstDash val="solid"/>
              <a:miter/>
            </a:ln>
          </p:spPr>
          <p:txBody>
            <a:bodyPr rtlCol="0" anchor="ctr"/>
            <a:lstStyle/>
            <a:p>
              <a:endParaRPr lang="pt-BR" noProof="0"/>
            </a:p>
          </p:txBody>
        </p:sp>
        <p:sp>
          <p:nvSpPr>
            <p:cNvPr id="24" name="Freeform: Shape 23">
              <a:extLst>
                <a:ext uri="{FF2B5EF4-FFF2-40B4-BE49-F238E27FC236}">
                  <a16:creationId xmlns:a16="http://schemas.microsoft.com/office/drawing/2014/main" id="{D9C0F2EF-8E87-635A-F1A0-3BC26087F9F0}"/>
                </a:ext>
              </a:extLst>
            </p:cNvPr>
            <p:cNvSpPr/>
            <p:nvPr/>
          </p:nvSpPr>
          <p:spPr>
            <a:xfrm>
              <a:off x="5692712" y="699959"/>
              <a:ext cx="100015" cy="97908"/>
            </a:xfrm>
            <a:custGeom>
              <a:avLst/>
              <a:gdLst>
                <a:gd name="connsiteX0" fmla="*/ 197834 w 397859"/>
                <a:gd name="connsiteY0" fmla="*/ 389477 h 389477"/>
                <a:gd name="connsiteX1" fmla="*/ 119063 w 397859"/>
                <a:gd name="connsiteY1" fmla="*/ 374237 h 389477"/>
                <a:gd name="connsiteX2" fmla="*/ 56197 w 397859"/>
                <a:gd name="connsiteY2" fmla="*/ 332899 h 389477"/>
                <a:gd name="connsiteX3" fmla="*/ 14859 w 397859"/>
                <a:gd name="connsiteY3" fmla="*/ 271463 h 389477"/>
                <a:gd name="connsiteX4" fmla="*/ 0 w 397859"/>
                <a:gd name="connsiteY4" fmla="*/ 196501 h 389477"/>
                <a:gd name="connsiteX5" fmla="*/ 0 w 397859"/>
                <a:gd name="connsiteY5" fmla="*/ 195072 h 389477"/>
                <a:gd name="connsiteX6" fmla="*/ 15145 w 397859"/>
                <a:gd name="connsiteY6" fmla="*/ 119444 h 389477"/>
                <a:gd name="connsiteX7" fmla="*/ 56864 w 397859"/>
                <a:gd name="connsiteY7" fmla="*/ 57626 h 389477"/>
                <a:gd name="connsiteX8" fmla="*/ 119729 w 397859"/>
                <a:gd name="connsiteY8" fmla="*/ 15526 h 389477"/>
                <a:gd name="connsiteX9" fmla="*/ 199263 w 397859"/>
                <a:gd name="connsiteY9" fmla="*/ 0 h 389477"/>
                <a:gd name="connsiteX10" fmla="*/ 278797 w 397859"/>
                <a:gd name="connsiteY10" fmla="*/ 15240 h 389477"/>
                <a:gd name="connsiteX11" fmla="*/ 341662 w 397859"/>
                <a:gd name="connsiteY11" fmla="*/ 56959 h 389477"/>
                <a:gd name="connsiteX12" fmla="*/ 383000 w 397859"/>
                <a:gd name="connsiteY12" fmla="*/ 118396 h 389477"/>
                <a:gd name="connsiteX13" fmla="*/ 397859 w 397859"/>
                <a:gd name="connsiteY13" fmla="*/ 193643 h 389477"/>
                <a:gd name="connsiteX14" fmla="*/ 397859 w 397859"/>
                <a:gd name="connsiteY14" fmla="*/ 195072 h 389477"/>
                <a:gd name="connsiteX15" fmla="*/ 382619 w 397859"/>
                <a:gd name="connsiteY15" fmla="*/ 270034 h 389477"/>
                <a:gd name="connsiteX16" fmla="*/ 340900 w 397859"/>
                <a:gd name="connsiteY16" fmla="*/ 331851 h 389477"/>
                <a:gd name="connsiteX17" fmla="*/ 277654 w 397859"/>
                <a:gd name="connsiteY17" fmla="*/ 373856 h 389477"/>
                <a:gd name="connsiteX18" fmla="*/ 197834 w 397859"/>
                <a:gd name="connsiteY18" fmla="*/ 389382 h 389477"/>
                <a:gd name="connsiteX19" fmla="*/ 199263 w 397859"/>
                <a:gd name="connsiteY19" fmla="*/ 315278 h 389477"/>
                <a:gd name="connsiteX20" fmla="*/ 245935 w 397859"/>
                <a:gd name="connsiteY20" fmla="*/ 305753 h 389477"/>
                <a:gd name="connsiteX21" fmla="*/ 281368 w 397859"/>
                <a:gd name="connsiteY21" fmla="*/ 279940 h 389477"/>
                <a:gd name="connsiteX22" fmla="*/ 303847 w 397859"/>
                <a:gd name="connsiteY22" fmla="*/ 242125 h 389477"/>
                <a:gd name="connsiteX23" fmla="*/ 311563 w 397859"/>
                <a:gd name="connsiteY23" fmla="*/ 196501 h 389477"/>
                <a:gd name="connsiteX24" fmla="*/ 311563 w 397859"/>
                <a:gd name="connsiteY24" fmla="*/ 195072 h 389477"/>
                <a:gd name="connsiteX25" fmla="*/ 303181 w 397859"/>
                <a:gd name="connsiteY25" fmla="*/ 148400 h 389477"/>
                <a:gd name="connsiteX26" fmla="*/ 279654 w 397859"/>
                <a:gd name="connsiteY26" fmla="*/ 110204 h 389477"/>
                <a:gd name="connsiteX27" fmla="*/ 243840 w 397859"/>
                <a:gd name="connsiteY27" fmla="*/ 84392 h 389477"/>
                <a:gd name="connsiteX28" fmla="*/ 197834 w 397859"/>
                <a:gd name="connsiteY28" fmla="*/ 74867 h 389477"/>
                <a:gd name="connsiteX29" fmla="*/ 151829 w 397859"/>
                <a:gd name="connsiteY29" fmla="*/ 84392 h 389477"/>
                <a:gd name="connsiteX30" fmla="*/ 116396 w 397859"/>
                <a:gd name="connsiteY30" fmla="*/ 109823 h 389477"/>
                <a:gd name="connsiteX31" fmla="*/ 93917 w 397859"/>
                <a:gd name="connsiteY31" fmla="*/ 147638 h 389477"/>
                <a:gd name="connsiteX32" fmla="*/ 86201 w 397859"/>
                <a:gd name="connsiteY32" fmla="*/ 193548 h 389477"/>
                <a:gd name="connsiteX33" fmla="*/ 86201 w 397859"/>
                <a:gd name="connsiteY33" fmla="*/ 194977 h 389477"/>
                <a:gd name="connsiteX34" fmla="*/ 94583 w 397859"/>
                <a:gd name="connsiteY34" fmla="*/ 241268 h 389477"/>
                <a:gd name="connsiteX35" fmla="*/ 118110 w 397859"/>
                <a:gd name="connsiteY35" fmla="*/ 279463 h 389477"/>
                <a:gd name="connsiteX36" fmla="*/ 153924 w 397859"/>
                <a:gd name="connsiteY36" fmla="*/ 305562 h 389477"/>
                <a:gd name="connsiteX37" fmla="*/ 199263 w 397859"/>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859" h="389477">
                  <a:moveTo>
                    <a:pt x="197834" y="389477"/>
                  </a:moveTo>
                  <a:cubicBezTo>
                    <a:pt x="169545" y="389477"/>
                    <a:pt x="143351" y="384429"/>
                    <a:pt x="119063" y="374237"/>
                  </a:cubicBezTo>
                  <a:cubicBezTo>
                    <a:pt x="94774" y="364141"/>
                    <a:pt x="73819" y="350330"/>
                    <a:pt x="56197" y="332899"/>
                  </a:cubicBezTo>
                  <a:cubicBezTo>
                    <a:pt x="38481" y="315468"/>
                    <a:pt x="24765" y="294989"/>
                    <a:pt x="14859" y="271463"/>
                  </a:cubicBezTo>
                  <a:cubicBezTo>
                    <a:pt x="4953" y="247936"/>
                    <a:pt x="0" y="222980"/>
                    <a:pt x="0" y="196501"/>
                  </a:cubicBezTo>
                  <a:lnTo>
                    <a:pt x="0" y="195072"/>
                  </a:lnTo>
                  <a:cubicBezTo>
                    <a:pt x="0" y="168212"/>
                    <a:pt x="5048" y="143066"/>
                    <a:pt x="15145" y="119444"/>
                  </a:cubicBezTo>
                  <a:cubicBezTo>
                    <a:pt x="25241" y="95917"/>
                    <a:pt x="39148" y="75248"/>
                    <a:pt x="56864" y="57626"/>
                  </a:cubicBezTo>
                  <a:cubicBezTo>
                    <a:pt x="74581" y="39910"/>
                    <a:pt x="95536" y="25908"/>
                    <a:pt x="119729" y="15526"/>
                  </a:cubicBezTo>
                  <a:cubicBezTo>
                    <a:pt x="144018" y="5144"/>
                    <a:pt x="170497" y="0"/>
                    <a:pt x="199263" y="0"/>
                  </a:cubicBezTo>
                  <a:cubicBezTo>
                    <a:pt x="228029" y="0"/>
                    <a:pt x="254508" y="5048"/>
                    <a:pt x="278797" y="15240"/>
                  </a:cubicBezTo>
                  <a:cubicBezTo>
                    <a:pt x="303085" y="25337"/>
                    <a:pt x="324041" y="39243"/>
                    <a:pt x="341662" y="56959"/>
                  </a:cubicBezTo>
                  <a:cubicBezTo>
                    <a:pt x="359378" y="74676"/>
                    <a:pt x="373094" y="95155"/>
                    <a:pt x="383000" y="118396"/>
                  </a:cubicBezTo>
                  <a:cubicBezTo>
                    <a:pt x="392906" y="141732"/>
                    <a:pt x="397859" y="166783"/>
                    <a:pt x="397859" y="193643"/>
                  </a:cubicBezTo>
                  <a:lnTo>
                    <a:pt x="397859" y="195072"/>
                  </a:lnTo>
                  <a:cubicBezTo>
                    <a:pt x="397859" y="221456"/>
                    <a:pt x="392811" y="246412"/>
                    <a:pt x="382619" y="270034"/>
                  </a:cubicBezTo>
                  <a:cubicBezTo>
                    <a:pt x="372523" y="293561"/>
                    <a:pt x="358616" y="314230"/>
                    <a:pt x="340900" y="331851"/>
                  </a:cubicBezTo>
                  <a:cubicBezTo>
                    <a:pt x="323183" y="349472"/>
                    <a:pt x="302133" y="363569"/>
                    <a:pt x="277654" y="373856"/>
                  </a:cubicBezTo>
                  <a:cubicBezTo>
                    <a:pt x="253175" y="384238"/>
                    <a:pt x="226504" y="389382"/>
                    <a:pt x="197834" y="389382"/>
                  </a:cubicBezTo>
                  <a:close/>
                  <a:moveTo>
                    <a:pt x="199263" y="315278"/>
                  </a:moveTo>
                  <a:cubicBezTo>
                    <a:pt x="216598" y="315278"/>
                    <a:pt x="232124" y="312039"/>
                    <a:pt x="245935" y="305753"/>
                  </a:cubicBezTo>
                  <a:cubicBezTo>
                    <a:pt x="259747" y="299371"/>
                    <a:pt x="271558" y="290798"/>
                    <a:pt x="281368" y="279940"/>
                  </a:cubicBezTo>
                  <a:cubicBezTo>
                    <a:pt x="291179" y="269081"/>
                    <a:pt x="298704" y="256508"/>
                    <a:pt x="303847" y="242125"/>
                  </a:cubicBezTo>
                  <a:cubicBezTo>
                    <a:pt x="308991" y="227743"/>
                    <a:pt x="311563" y="212598"/>
                    <a:pt x="311563" y="196501"/>
                  </a:cubicBezTo>
                  <a:lnTo>
                    <a:pt x="311563" y="195072"/>
                  </a:lnTo>
                  <a:cubicBezTo>
                    <a:pt x="311563" y="178594"/>
                    <a:pt x="308800" y="163068"/>
                    <a:pt x="303181" y="148400"/>
                  </a:cubicBezTo>
                  <a:cubicBezTo>
                    <a:pt x="297561" y="133826"/>
                    <a:pt x="289750" y="121063"/>
                    <a:pt x="279654" y="110204"/>
                  </a:cubicBezTo>
                  <a:cubicBezTo>
                    <a:pt x="269558" y="99346"/>
                    <a:pt x="257651" y="90773"/>
                    <a:pt x="243840" y="84392"/>
                  </a:cubicBezTo>
                  <a:cubicBezTo>
                    <a:pt x="230029" y="78010"/>
                    <a:pt x="214693" y="74867"/>
                    <a:pt x="197834" y="74867"/>
                  </a:cubicBezTo>
                  <a:cubicBezTo>
                    <a:pt x="180975" y="74867"/>
                    <a:pt x="165640" y="78010"/>
                    <a:pt x="151829" y="84392"/>
                  </a:cubicBezTo>
                  <a:cubicBezTo>
                    <a:pt x="138017" y="90773"/>
                    <a:pt x="126206" y="99250"/>
                    <a:pt x="116396" y="109823"/>
                  </a:cubicBezTo>
                  <a:cubicBezTo>
                    <a:pt x="106585" y="120396"/>
                    <a:pt x="99060" y="133064"/>
                    <a:pt x="93917" y="147638"/>
                  </a:cubicBezTo>
                  <a:cubicBezTo>
                    <a:pt x="88773" y="162211"/>
                    <a:pt x="86201" y="177546"/>
                    <a:pt x="86201" y="193548"/>
                  </a:cubicBezTo>
                  <a:lnTo>
                    <a:pt x="86201" y="194977"/>
                  </a:lnTo>
                  <a:cubicBezTo>
                    <a:pt x="86201" y="211455"/>
                    <a:pt x="88963" y="226886"/>
                    <a:pt x="94583" y="241268"/>
                  </a:cubicBezTo>
                  <a:cubicBezTo>
                    <a:pt x="100203" y="255651"/>
                    <a:pt x="108013" y="268319"/>
                    <a:pt x="118110" y="279463"/>
                  </a:cubicBezTo>
                  <a:cubicBezTo>
                    <a:pt x="128206" y="290513"/>
                    <a:pt x="140113" y="299275"/>
                    <a:pt x="153924" y="305562"/>
                  </a:cubicBezTo>
                  <a:cubicBezTo>
                    <a:pt x="167735" y="311944"/>
                    <a:pt x="182880"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25" name="Freeform: Shape 24">
              <a:extLst>
                <a:ext uri="{FF2B5EF4-FFF2-40B4-BE49-F238E27FC236}">
                  <a16:creationId xmlns:a16="http://schemas.microsoft.com/office/drawing/2014/main" id="{820FD385-1EC8-CA08-E649-2498A217A44A}"/>
                </a:ext>
              </a:extLst>
            </p:cNvPr>
            <p:cNvSpPr/>
            <p:nvPr/>
          </p:nvSpPr>
          <p:spPr>
            <a:xfrm>
              <a:off x="5806925"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2 w 296894"/>
                <a:gd name="connsiteY36" fmla="*/ 224980 h 386714"/>
                <a:gd name="connsiteX37" fmla="*/ 296894 w 296894"/>
                <a:gd name="connsiteY37" fmla="*/ 267938 h 386714"/>
                <a:gd name="connsiteX38" fmla="*/ 296894 w 296894"/>
                <a:gd name="connsiteY38" fmla="*/ 269367 h 386714"/>
                <a:gd name="connsiteX39" fmla="*/ 286322 w 296894"/>
                <a:gd name="connsiteY39" fmla="*/ 320897 h 386714"/>
                <a:gd name="connsiteX40" fmla="*/ 256984 w 296894"/>
                <a:gd name="connsiteY40" fmla="*/ 357188 h 386714"/>
                <a:gd name="connsiteX41" fmla="*/ 212789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8" y="298704"/>
                    <a:pt x="100013" y="306514"/>
                  </a:cubicBezTo>
                  <a:cubicBezTo>
                    <a:pt x="120967" y="314325"/>
                    <a:pt x="141161" y="318135"/>
                    <a:pt x="160401" y="318135"/>
                  </a:cubicBezTo>
                  <a:cubicBezTo>
                    <a:pt x="179642" y="318135"/>
                    <a:pt x="192976"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2" y="241078"/>
                    <a:pt x="176498" y="237553"/>
                    <a:pt x="166402" y="234220"/>
                  </a:cubicBezTo>
                  <a:cubicBezTo>
                    <a:pt x="156305" y="230886"/>
                    <a:pt x="145733" y="227647"/>
                    <a:pt x="134969" y="224314"/>
                  </a:cubicBezTo>
                  <a:cubicBezTo>
                    <a:pt x="121253" y="220599"/>
                    <a:pt x="107537" y="216122"/>
                    <a:pt x="93631" y="210884"/>
                  </a:cubicBezTo>
                  <a:cubicBezTo>
                    <a:pt x="79724" y="205740"/>
                    <a:pt x="67246" y="198977"/>
                    <a:pt x="56197" y="190786"/>
                  </a:cubicBezTo>
                  <a:cubicBezTo>
                    <a:pt x="45149" y="182594"/>
                    <a:pt x="36100" y="172307"/>
                    <a:pt x="28956" y="160115"/>
                  </a:cubicBezTo>
                  <a:cubicBezTo>
                    <a:pt x="21908"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5"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7" y="156210"/>
                    <a:pt x="180975" y="159448"/>
                  </a:cubicBezTo>
                  <a:cubicBezTo>
                    <a:pt x="194596" y="163639"/>
                    <a:pt x="208312" y="168592"/>
                    <a:pt x="222028" y="174212"/>
                  </a:cubicBezTo>
                  <a:cubicBezTo>
                    <a:pt x="235649" y="179832"/>
                    <a:pt x="248031" y="186785"/>
                    <a:pt x="259080" y="194977"/>
                  </a:cubicBezTo>
                  <a:cubicBezTo>
                    <a:pt x="270129" y="203168"/>
                    <a:pt x="279273" y="213169"/>
                    <a:pt x="286322" y="224980"/>
                  </a:cubicBezTo>
                  <a:cubicBezTo>
                    <a:pt x="293370" y="236696"/>
                    <a:pt x="296894" y="251079"/>
                    <a:pt x="296894" y="267938"/>
                  </a:cubicBezTo>
                  <a:lnTo>
                    <a:pt x="296894" y="269367"/>
                  </a:lnTo>
                  <a:cubicBezTo>
                    <a:pt x="296894" y="289084"/>
                    <a:pt x="293370" y="306229"/>
                    <a:pt x="286322" y="320897"/>
                  </a:cubicBezTo>
                  <a:cubicBezTo>
                    <a:pt x="279273" y="335470"/>
                    <a:pt x="269462" y="347567"/>
                    <a:pt x="256984" y="357188"/>
                  </a:cubicBezTo>
                  <a:cubicBezTo>
                    <a:pt x="244507" y="366808"/>
                    <a:pt x="229743" y="374142"/>
                    <a:pt x="212789"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6" name="Freeform: Shape 25">
              <a:extLst>
                <a:ext uri="{FF2B5EF4-FFF2-40B4-BE49-F238E27FC236}">
                  <a16:creationId xmlns:a16="http://schemas.microsoft.com/office/drawing/2014/main" id="{ECF6CA72-916D-23AF-676D-521F341E0A71}"/>
                </a:ext>
              </a:extLst>
            </p:cNvPr>
            <p:cNvSpPr/>
            <p:nvPr/>
          </p:nvSpPr>
          <p:spPr>
            <a:xfrm>
              <a:off x="589573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6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160" y="318135"/>
                    <a:pt x="160401" y="318135"/>
                  </a:cubicBezTo>
                  <a:cubicBezTo>
                    <a:pt x="179641" y="318135"/>
                    <a:pt x="192976"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4"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792"/>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7" name="Freeform: Shape 26">
              <a:extLst>
                <a:ext uri="{FF2B5EF4-FFF2-40B4-BE49-F238E27FC236}">
                  <a16:creationId xmlns:a16="http://schemas.microsoft.com/office/drawing/2014/main" id="{B954EEE7-431E-B03D-6B3F-D1316983CB21}"/>
                </a:ext>
              </a:extLst>
            </p:cNvPr>
            <p:cNvSpPr/>
            <p:nvPr/>
          </p:nvSpPr>
          <p:spPr>
            <a:xfrm>
              <a:off x="5985812" y="700558"/>
              <a:ext cx="85097" cy="97141"/>
            </a:xfrm>
            <a:custGeom>
              <a:avLst/>
              <a:gdLst>
                <a:gd name="connsiteX0" fmla="*/ 253651 w 338518"/>
                <a:gd name="connsiteY0" fmla="*/ 378619 h 386429"/>
                <a:gd name="connsiteX1" fmla="*/ 253651 w 338518"/>
                <a:gd name="connsiteY1" fmla="*/ 332708 h 386429"/>
                <a:gd name="connsiteX2" fmla="*/ 204883 w 338518"/>
                <a:gd name="connsiteY2" fmla="*/ 370904 h 386429"/>
                <a:gd name="connsiteX3" fmla="*/ 132779 w 338518"/>
                <a:gd name="connsiteY3" fmla="*/ 386429 h 386429"/>
                <a:gd name="connsiteX4" fmla="*/ 81915 w 338518"/>
                <a:gd name="connsiteY4" fmla="*/ 379000 h 386429"/>
                <a:gd name="connsiteX5" fmla="*/ 39910 w 338518"/>
                <a:gd name="connsiteY5" fmla="*/ 357092 h 386429"/>
                <a:gd name="connsiteX6" fmla="*/ 10954 w 338518"/>
                <a:gd name="connsiteY6" fmla="*/ 321088 h 386429"/>
                <a:gd name="connsiteX7" fmla="*/ 0 w 338518"/>
                <a:gd name="connsiteY7" fmla="*/ 271272 h 386429"/>
                <a:gd name="connsiteX8" fmla="*/ 0 w 338518"/>
                <a:gd name="connsiteY8" fmla="*/ 269843 h 386429"/>
                <a:gd name="connsiteX9" fmla="*/ 11335 w 338518"/>
                <a:gd name="connsiteY9" fmla="*/ 215741 h 386429"/>
                <a:gd name="connsiteX10" fmla="*/ 42767 w 338518"/>
                <a:gd name="connsiteY10" fmla="*/ 177546 h 386429"/>
                <a:gd name="connsiteX11" fmla="*/ 90773 w 338518"/>
                <a:gd name="connsiteY11" fmla="*/ 154972 h 386429"/>
                <a:gd name="connsiteX12" fmla="*/ 151162 w 338518"/>
                <a:gd name="connsiteY12" fmla="*/ 147542 h 386429"/>
                <a:gd name="connsiteX13" fmla="*/ 208788 w 338518"/>
                <a:gd name="connsiteY13" fmla="*/ 151829 h 386429"/>
                <a:gd name="connsiteX14" fmla="*/ 254413 w 338518"/>
                <a:gd name="connsiteY14" fmla="*/ 163163 h 386429"/>
                <a:gd name="connsiteX15" fmla="*/ 254413 w 338518"/>
                <a:gd name="connsiteY15" fmla="*/ 156115 h 386429"/>
                <a:gd name="connsiteX16" fmla="*/ 230696 w 338518"/>
                <a:gd name="connsiteY16" fmla="*/ 96774 h 386429"/>
                <a:gd name="connsiteX17" fmla="*/ 162496 w 338518"/>
                <a:gd name="connsiteY17" fmla="*/ 76295 h 386429"/>
                <a:gd name="connsiteX18" fmla="*/ 106013 w 338518"/>
                <a:gd name="connsiteY18" fmla="*/ 82677 h 386429"/>
                <a:gd name="connsiteX19" fmla="*/ 55816 w 338518"/>
                <a:gd name="connsiteY19" fmla="*/ 99632 h 386429"/>
                <a:gd name="connsiteX20" fmla="*/ 32480 w 338518"/>
                <a:gd name="connsiteY20" fmla="*/ 31052 h 386429"/>
                <a:gd name="connsiteX21" fmla="*/ 96107 w 338518"/>
                <a:gd name="connsiteY21" fmla="*/ 8477 h 386429"/>
                <a:gd name="connsiteX22" fmla="*/ 174593 w 338518"/>
                <a:gd name="connsiteY22" fmla="*/ 0 h 386429"/>
                <a:gd name="connsiteX23" fmla="*/ 298228 w 338518"/>
                <a:gd name="connsiteY23" fmla="*/ 41338 h 386429"/>
                <a:gd name="connsiteX24" fmla="*/ 338519 w 338518"/>
                <a:gd name="connsiteY24" fmla="*/ 157544 h 386429"/>
                <a:gd name="connsiteX25" fmla="*/ 338519 w 338518"/>
                <a:gd name="connsiteY25" fmla="*/ 378714 h 386429"/>
                <a:gd name="connsiteX26" fmla="*/ 253746 w 338518"/>
                <a:gd name="connsiteY26" fmla="*/ 378714 h 386429"/>
                <a:gd name="connsiteX27" fmla="*/ 255746 w 338518"/>
                <a:gd name="connsiteY27" fmla="*/ 222409 h 386429"/>
                <a:gd name="connsiteX28" fmla="*/ 217265 w 338518"/>
                <a:gd name="connsiteY28" fmla="*/ 211836 h 386429"/>
                <a:gd name="connsiteX29" fmla="*/ 170307 w 338518"/>
                <a:gd name="connsiteY29" fmla="*/ 207550 h 386429"/>
                <a:gd name="connsiteX30" fmla="*/ 107442 w 338518"/>
                <a:gd name="connsiteY30" fmla="*/ 223075 h 386429"/>
                <a:gd name="connsiteX31" fmla="*/ 84868 w 338518"/>
                <a:gd name="connsiteY31" fmla="*/ 265462 h 386429"/>
                <a:gd name="connsiteX32" fmla="*/ 84868 w 338518"/>
                <a:gd name="connsiteY32" fmla="*/ 266891 h 386429"/>
                <a:gd name="connsiteX33" fmla="*/ 105728 w 338518"/>
                <a:gd name="connsiteY33" fmla="*/ 307848 h 386429"/>
                <a:gd name="connsiteX34" fmla="*/ 156972 w 338518"/>
                <a:gd name="connsiteY34" fmla="*/ 321945 h 386429"/>
                <a:gd name="connsiteX35" fmla="*/ 196215 w 338518"/>
                <a:gd name="connsiteY35" fmla="*/ 316325 h 386429"/>
                <a:gd name="connsiteX36" fmla="*/ 227647 w 338518"/>
                <a:gd name="connsiteY36" fmla="*/ 300419 h 386429"/>
                <a:gd name="connsiteX37" fmla="*/ 248507 w 338518"/>
                <a:gd name="connsiteY37" fmla="*/ 275654 h 386429"/>
                <a:gd name="connsiteX38" fmla="*/ 255937 w 338518"/>
                <a:gd name="connsiteY38" fmla="*/ 243459 h 386429"/>
                <a:gd name="connsiteX39" fmla="*/ 255937 w 338518"/>
                <a:gd name="connsiteY39" fmla="*/ 222218 h 3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8518" h="386429">
                  <a:moveTo>
                    <a:pt x="253651" y="378619"/>
                  </a:moveTo>
                  <a:lnTo>
                    <a:pt x="253651" y="332708"/>
                  </a:lnTo>
                  <a:cubicBezTo>
                    <a:pt x="240887" y="347758"/>
                    <a:pt x="224695" y="360521"/>
                    <a:pt x="204883" y="370904"/>
                  </a:cubicBezTo>
                  <a:cubicBezTo>
                    <a:pt x="185071" y="381286"/>
                    <a:pt x="161068" y="386429"/>
                    <a:pt x="132779" y="386429"/>
                  </a:cubicBezTo>
                  <a:cubicBezTo>
                    <a:pt x="114871" y="386429"/>
                    <a:pt x="97917" y="383953"/>
                    <a:pt x="81915" y="379000"/>
                  </a:cubicBezTo>
                  <a:cubicBezTo>
                    <a:pt x="65913" y="374047"/>
                    <a:pt x="51911" y="366713"/>
                    <a:pt x="39910" y="357092"/>
                  </a:cubicBezTo>
                  <a:cubicBezTo>
                    <a:pt x="27908" y="347472"/>
                    <a:pt x="18193" y="335471"/>
                    <a:pt x="10954" y="321088"/>
                  </a:cubicBezTo>
                  <a:cubicBezTo>
                    <a:pt x="3620" y="306705"/>
                    <a:pt x="0" y="290132"/>
                    <a:pt x="0" y="271272"/>
                  </a:cubicBezTo>
                  <a:lnTo>
                    <a:pt x="0" y="269843"/>
                  </a:lnTo>
                  <a:cubicBezTo>
                    <a:pt x="0" y="249079"/>
                    <a:pt x="3810" y="231077"/>
                    <a:pt x="11335" y="215741"/>
                  </a:cubicBezTo>
                  <a:cubicBezTo>
                    <a:pt x="18859" y="200406"/>
                    <a:pt x="29337" y="187738"/>
                    <a:pt x="42767" y="177546"/>
                  </a:cubicBezTo>
                  <a:cubicBezTo>
                    <a:pt x="56197" y="167450"/>
                    <a:pt x="72199" y="159925"/>
                    <a:pt x="90773" y="154972"/>
                  </a:cubicBezTo>
                  <a:cubicBezTo>
                    <a:pt x="109347" y="150019"/>
                    <a:pt x="129540" y="147542"/>
                    <a:pt x="151162" y="147542"/>
                  </a:cubicBezTo>
                  <a:cubicBezTo>
                    <a:pt x="172783" y="147542"/>
                    <a:pt x="192976" y="148971"/>
                    <a:pt x="208788" y="151829"/>
                  </a:cubicBezTo>
                  <a:cubicBezTo>
                    <a:pt x="224599" y="154686"/>
                    <a:pt x="239744" y="158401"/>
                    <a:pt x="254413" y="163163"/>
                  </a:cubicBezTo>
                  <a:lnTo>
                    <a:pt x="254413" y="156115"/>
                  </a:lnTo>
                  <a:cubicBezTo>
                    <a:pt x="254413" y="130207"/>
                    <a:pt x="246507" y="110395"/>
                    <a:pt x="230696" y="96774"/>
                  </a:cubicBezTo>
                  <a:cubicBezTo>
                    <a:pt x="214884" y="83153"/>
                    <a:pt x="192214" y="76295"/>
                    <a:pt x="162496" y="76295"/>
                  </a:cubicBezTo>
                  <a:cubicBezTo>
                    <a:pt x="141351" y="76295"/>
                    <a:pt x="122491" y="78391"/>
                    <a:pt x="106013" y="82677"/>
                  </a:cubicBezTo>
                  <a:cubicBezTo>
                    <a:pt x="89535" y="86963"/>
                    <a:pt x="72771" y="92583"/>
                    <a:pt x="55816" y="99632"/>
                  </a:cubicBezTo>
                  <a:lnTo>
                    <a:pt x="32480" y="31052"/>
                  </a:lnTo>
                  <a:cubicBezTo>
                    <a:pt x="53149" y="21622"/>
                    <a:pt x="74390" y="14097"/>
                    <a:pt x="96107" y="8477"/>
                  </a:cubicBezTo>
                  <a:cubicBezTo>
                    <a:pt x="117729" y="2858"/>
                    <a:pt x="143923" y="0"/>
                    <a:pt x="174593" y="0"/>
                  </a:cubicBezTo>
                  <a:cubicBezTo>
                    <a:pt x="230124" y="0"/>
                    <a:pt x="271367" y="13811"/>
                    <a:pt x="298228" y="41338"/>
                  </a:cubicBezTo>
                  <a:cubicBezTo>
                    <a:pt x="325088" y="68866"/>
                    <a:pt x="338519" y="107633"/>
                    <a:pt x="338519" y="157544"/>
                  </a:cubicBezTo>
                  <a:lnTo>
                    <a:pt x="338519" y="378714"/>
                  </a:lnTo>
                  <a:lnTo>
                    <a:pt x="253746" y="378714"/>
                  </a:lnTo>
                  <a:close/>
                  <a:moveTo>
                    <a:pt x="255746" y="222409"/>
                  </a:moveTo>
                  <a:cubicBezTo>
                    <a:pt x="244888" y="218123"/>
                    <a:pt x="232029" y="214598"/>
                    <a:pt x="217265" y="211836"/>
                  </a:cubicBezTo>
                  <a:cubicBezTo>
                    <a:pt x="202406" y="208979"/>
                    <a:pt x="186785" y="207550"/>
                    <a:pt x="170307" y="207550"/>
                  </a:cubicBezTo>
                  <a:cubicBezTo>
                    <a:pt x="143446" y="207550"/>
                    <a:pt x="122491" y="212693"/>
                    <a:pt x="107442" y="223075"/>
                  </a:cubicBezTo>
                  <a:cubicBezTo>
                    <a:pt x="92392" y="233458"/>
                    <a:pt x="84868" y="247555"/>
                    <a:pt x="84868" y="265462"/>
                  </a:cubicBezTo>
                  <a:lnTo>
                    <a:pt x="84868" y="266891"/>
                  </a:lnTo>
                  <a:cubicBezTo>
                    <a:pt x="84868" y="284798"/>
                    <a:pt x="91821" y="298418"/>
                    <a:pt x="105728" y="307848"/>
                  </a:cubicBezTo>
                  <a:cubicBezTo>
                    <a:pt x="119634" y="317278"/>
                    <a:pt x="136684" y="321945"/>
                    <a:pt x="156972" y="321945"/>
                  </a:cubicBezTo>
                  <a:cubicBezTo>
                    <a:pt x="171069" y="321945"/>
                    <a:pt x="184213" y="320040"/>
                    <a:pt x="196215" y="316325"/>
                  </a:cubicBezTo>
                  <a:cubicBezTo>
                    <a:pt x="208216" y="312515"/>
                    <a:pt x="218694" y="307277"/>
                    <a:pt x="227647" y="300419"/>
                  </a:cubicBezTo>
                  <a:cubicBezTo>
                    <a:pt x="236601" y="293561"/>
                    <a:pt x="243554" y="285369"/>
                    <a:pt x="248507" y="275654"/>
                  </a:cubicBezTo>
                  <a:cubicBezTo>
                    <a:pt x="253460" y="266033"/>
                    <a:pt x="255937" y="255270"/>
                    <a:pt x="255937" y="243459"/>
                  </a:cubicBezTo>
                  <a:lnTo>
                    <a:pt x="255937" y="222218"/>
                  </a:lnTo>
                  <a:close/>
                </a:path>
              </a:pathLst>
            </a:custGeom>
            <a:solidFill>
              <a:srgbClr val="44505E"/>
            </a:solidFill>
            <a:ln w="9525" cap="flat">
              <a:noFill/>
              <a:prstDash val="solid"/>
              <a:miter/>
            </a:ln>
          </p:spPr>
          <p:txBody>
            <a:bodyPr rtlCol="0" anchor="ctr"/>
            <a:lstStyle/>
            <a:p>
              <a:endParaRPr lang="pt-BR" noProof="0"/>
            </a:p>
          </p:txBody>
        </p:sp>
        <p:sp>
          <p:nvSpPr>
            <p:cNvPr id="28" name="Freeform: Shape 27">
              <a:extLst>
                <a:ext uri="{FF2B5EF4-FFF2-40B4-BE49-F238E27FC236}">
                  <a16:creationId xmlns:a16="http://schemas.microsoft.com/office/drawing/2014/main" id="{20678E81-6A7F-8DD8-A755-C493149A528A}"/>
                </a:ext>
              </a:extLst>
            </p:cNvPr>
            <p:cNvSpPr/>
            <p:nvPr/>
          </p:nvSpPr>
          <p:spPr>
            <a:xfrm>
              <a:off x="6088843" y="700318"/>
              <a:ext cx="74610" cy="97213"/>
            </a:xfrm>
            <a:custGeom>
              <a:avLst/>
              <a:gdLst>
                <a:gd name="connsiteX0" fmla="*/ 158305 w 296799"/>
                <a:gd name="connsiteY0" fmla="*/ 386715 h 386714"/>
                <a:gd name="connsiteX1" fmla="*/ 76676 w 296799"/>
                <a:gd name="connsiteY1" fmla="*/ 372427 h 386714"/>
                <a:gd name="connsiteX2" fmla="*/ 0 w 296799"/>
                <a:gd name="connsiteY2" fmla="*/ 330327 h 386714"/>
                <a:gd name="connsiteX3" fmla="*/ 38195 w 296799"/>
                <a:gd name="connsiteY3" fmla="*/ 272224 h 386714"/>
                <a:gd name="connsiteX4" fmla="*/ 100013 w 296799"/>
                <a:gd name="connsiteY4" fmla="*/ 306514 h 386714"/>
                <a:gd name="connsiteX5" fmla="*/ 160401 w 296799"/>
                <a:gd name="connsiteY5" fmla="*/ 318135 h 386714"/>
                <a:gd name="connsiteX6" fmla="*/ 203168 w 296799"/>
                <a:gd name="connsiteY6" fmla="*/ 307181 h 386714"/>
                <a:gd name="connsiteX7" fmla="*/ 218408 w 296799"/>
                <a:gd name="connsiteY7" fmla="*/ 277939 h 386714"/>
                <a:gd name="connsiteX8" fmla="*/ 218408 w 296799"/>
                <a:gd name="connsiteY8" fmla="*/ 276511 h 386714"/>
                <a:gd name="connsiteX9" fmla="*/ 211646 w 296799"/>
                <a:gd name="connsiteY9" fmla="*/ 258223 h 386714"/>
                <a:gd name="connsiteX10" fmla="*/ 193262 w 296799"/>
                <a:gd name="connsiteY10" fmla="*/ 244792 h 386714"/>
                <a:gd name="connsiteX11" fmla="*/ 166402 w 296799"/>
                <a:gd name="connsiteY11" fmla="*/ 234220 h 386714"/>
                <a:gd name="connsiteX12" fmla="*/ 134969 w 296799"/>
                <a:gd name="connsiteY12" fmla="*/ 224314 h 386714"/>
                <a:gd name="connsiteX13" fmla="*/ 93631 w 296799"/>
                <a:gd name="connsiteY13" fmla="*/ 210884 h 386714"/>
                <a:gd name="connsiteX14" fmla="*/ 56197 w 296799"/>
                <a:gd name="connsiteY14" fmla="*/ 190786 h 386714"/>
                <a:gd name="connsiteX15" fmla="*/ 28956 w 296799"/>
                <a:gd name="connsiteY15" fmla="*/ 160115 h 386714"/>
                <a:gd name="connsiteX16" fmla="*/ 18383 w 296799"/>
                <a:gd name="connsiteY16" fmla="*/ 114967 h 386714"/>
                <a:gd name="connsiteX17" fmla="*/ 18383 w 296799"/>
                <a:gd name="connsiteY17" fmla="*/ 113538 h 386714"/>
                <a:gd name="connsiteX18" fmla="*/ 28575 w 296799"/>
                <a:gd name="connsiteY18" fmla="*/ 66294 h 386714"/>
                <a:gd name="connsiteX19" fmla="*/ 56864 w 296799"/>
                <a:gd name="connsiteY19" fmla="*/ 30385 h 386714"/>
                <a:gd name="connsiteX20" fmla="*/ 99250 w 296799"/>
                <a:gd name="connsiteY20" fmla="*/ 7810 h 386714"/>
                <a:gd name="connsiteX21" fmla="*/ 151162 w 296799"/>
                <a:gd name="connsiteY21" fmla="*/ 0 h 386714"/>
                <a:gd name="connsiteX22" fmla="*/ 222504 w 296799"/>
                <a:gd name="connsiteY22" fmla="*/ 11430 h 386714"/>
                <a:gd name="connsiteX23" fmla="*/ 288227 w 296799"/>
                <a:gd name="connsiteY23" fmla="*/ 42863 h 386714"/>
                <a:gd name="connsiteX24" fmla="*/ 254317 w 296799"/>
                <a:gd name="connsiteY24" fmla="*/ 103918 h 386714"/>
                <a:gd name="connsiteX25" fmla="*/ 199930 w 296799"/>
                <a:gd name="connsiteY25" fmla="*/ 78105 h 386714"/>
                <a:gd name="connsiteX26" fmla="*/ 149066 w 296799"/>
                <a:gd name="connsiteY26" fmla="*/ 68580 h 386714"/>
                <a:gd name="connsiteX27" fmla="*/ 110585 w 296799"/>
                <a:gd name="connsiteY27" fmla="*/ 79153 h 386714"/>
                <a:gd name="connsiteX28" fmla="*/ 96774 w 296799"/>
                <a:gd name="connsiteY28" fmla="*/ 105918 h 386714"/>
                <a:gd name="connsiteX29" fmla="*/ 96774 w 296799"/>
                <a:gd name="connsiteY29" fmla="*/ 107347 h 386714"/>
                <a:gd name="connsiteX30" fmla="*/ 103822 w 296799"/>
                <a:gd name="connsiteY30" fmla="*/ 124587 h 386714"/>
                <a:gd name="connsiteX31" fmla="*/ 122587 w 296799"/>
                <a:gd name="connsiteY31" fmla="*/ 138017 h 386714"/>
                <a:gd name="connsiteX32" fmla="*/ 149447 w 296799"/>
                <a:gd name="connsiteY32" fmla="*/ 149257 h 386714"/>
                <a:gd name="connsiteX33" fmla="*/ 180880 w 296799"/>
                <a:gd name="connsiteY33" fmla="*/ 159448 h 386714"/>
                <a:gd name="connsiteX34" fmla="*/ 221837 w 296799"/>
                <a:gd name="connsiteY34" fmla="*/ 174212 h 386714"/>
                <a:gd name="connsiteX35" fmla="*/ 258985 w 296799"/>
                <a:gd name="connsiteY35" fmla="*/ 194977 h 386714"/>
                <a:gd name="connsiteX36" fmla="*/ 286226 w 296799"/>
                <a:gd name="connsiteY36" fmla="*/ 224980 h 386714"/>
                <a:gd name="connsiteX37" fmla="*/ 296799 w 296799"/>
                <a:gd name="connsiteY37" fmla="*/ 267938 h 386714"/>
                <a:gd name="connsiteX38" fmla="*/ 296799 w 296799"/>
                <a:gd name="connsiteY38" fmla="*/ 269367 h 386714"/>
                <a:gd name="connsiteX39" fmla="*/ 286226 w 296799"/>
                <a:gd name="connsiteY39" fmla="*/ 320897 h 386714"/>
                <a:gd name="connsiteX40" fmla="*/ 256889 w 296799"/>
                <a:gd name="connsiteY40" fmla="*/ 357188 h 386714"/>
                <a:gd name="connsiteX41" fmla="*/ 212693 w 296799"/>
                <a:gd name="connsiteY41" fmla="*/ 379095 h 386714"/>
                <a:gd name="connsiteX42" fmla="*/ 158305 w 296799"/>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799"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065" y="318135"/>
                    <a:pt x="160401" y="318135"/>
                  </a:cubicBezTo>
                  <a:cubicBezTo>
                    <a:pt x="179737" y="318135"/>
                    <a:pt x="193072"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828" y="227647"/>
                    <a:pt x="134969" y="224314"/>
                  </a:cubicBezTo>
                  <a:cubicBezTo>
                    <a:pt x="121348" y="220599"/>
                    <a:pt x="107537" y="216122"/>
                    <a:pt x="93631" y="210884"/>
                  </a:cubicBezTo>
                  <a:cubicBezTo>
                    <a:pt x="79724" y="205740"/>
                    <a:pt x="67246" y="198977"/>
                    <a:pt x="56197" y="190786"/>
                  </a:cubicBezTo>
                  <a:cubicBezTo>
                    <a:pt x="45148" y="182594"/>
                    <a:pt x="36004"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874" y="0"/>
                    <a:pt x="151162" y="0"/>
                  </a:cubicBezTo>
                  <a:cubicBezTo>
                    <a:pt x="174688" y="0"/>
                    <a:pt x="198501" y="3810"/>
                    <a:pt x="222504" y="11430"/>
                  </a:cubicBezTo>
                  <a:cubicBezTo>
                    <a:pt x="246507" y="19050"/>
                    <a:pt x="268414" y="29527"/>
                    <a:pt x="288227" y="42863"/>
                  </a:cubicBezTo>
                  <a:lnTo>
                    <a:pt x="254317"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774" y="95155"/>
                    <a:pt x="96774" y="105918"/>
                  </a:cubicBezTo>
                  <a:lnTo>
                    <a:pt x="96774" y="107347"/>
                  </a:lnTo>
                  <a:cubicBezTo>
                    <a:pt x="96774" y="113919"/>
                    <a:pt x="99155" y="119634"/>
                    <a:pt x="103822" y="124587"/>
                  </a:cubicBezTo>
                  <a:cubicBezTo>
                    <a:pt x="108490" y="129540"/>
                    <a:pt x="114776" y="134017"/>
                    <a:pt x="122587" y="138017"/>
                  </a:cubicBezTo>
                  <a:cubicBezTo>
                    <a:pt x="130397" y="142018"/>
                    <a:pt x="139351" y="145732"/>
                    <a:pt x="149447" y="149257"/>
                  </a:cubicBezTo>
                  <a:cubicBezTo>
                    <a:pt x="159544" y="152781"/>
                    <a:pt x="170021" y="156210"/>
                    <a:pt x="180880" y="159448"/>
                  </a:cubicBezTo>
                  <a:cubicBezTo>
                    <a:pt x="194500" y="163639"/>
                    <a:pt x="208216" y="168592"/>
                    <a:pt x="221837" y="174212"/>
                  </a:cubicBezTo>
                  <a:cubicBezTo>
                    <a:pt x="235458" y="179832"/>
                    <a:pt x="247840" y="186785"/>
                    <a:pt x="258985" y="194977"/>
                  </a:cubicBezTo>
                  <a:cubicBezTo>
                    <a:pt x="270034" y="203168"/>
                    <a:pt x="279178" y="213169"/>
                    <a:pt x="286226" y="224980"/>
                  </a:cubicBezTo>
                  <a:cubicBezTo>
                    <a:pt x="293275" y="236696"/>
                    <a:pt x="296799" y="251079"/>
                    <a:pt x="296799" y="267938"/>
                  </a:cubicBezTo>
                  <a:lnTo>
                    <a:pt x="296799" y="269367"/>
                  </a:lnTo>
                  <a:cubicBezTo>
                    <a:pt x="296799" y="289084"/>
                    <a:pt x="293275" y="306229"/>
                    <a:pt x="286226" y="320897"/>
                  </a:cubicBezTo>
                  <a:cubicBezTo>
                    <a:pt x="279178" y="335470"/>
                    <a:pt x="269367" y="347567"/>
                    <a:pt x="256889" y="357188"/>
                  </a:cubicBezTo>
                  <a:cubicBezTo>
                    <a:pt x="244412" y="366808"/>
                    <a:pt x="229648" y="374142"/>
                    <a:pt x="212693" y="379095"/>
                  </a:cubicBezTo>
                  <a:cubicBezTo>
                    <a:pt x="195739" y="384048"/>
                    <a:pt x="177641" y="386524"/>
                    <a:pt x="158305" y="386524"/>
                  </a:cubicBezTo>
                  <a:close/>
                </a:path>
              </a:pathLst>
            </a:custGeom>
            <a:solidFill>
              <a:srgbClr val="44505E"/>
            </a:solidFill>
            <a:ln w="9525" cap="flat">
              <a:noFill/>
              <a:prstDash val="solid"/>
              <a:miter/>
            </a:ln>
          </p:spPr>
          <p:txBody>
            <a:bodyPr rtlCol="0" anchor="ctr"/>
            <a:lstStyle/>
            <a:p>
              <a:endParaRPr lang="pt-BR" noProof="0"/>
            </a:p>
          </p:txBody>
        </p:sp>
        <p:sp>
          <p:nvSpPr>
            <p:cNvPr id="29" name="Freeform: Shape 28">
              <a:extLst>
                <a:ext uri="{FF2B5EF4-FFF2-40B4-BE49-F238E27FC236}">
                  <a16:creationId xmlns:a16="http://schemas.microsoft.com/office/drawing/2014/main" id="{D101FBE7-1F87-80A2-A310-E6FBEF2322E6}"/>
                </a:ext>
              </a:extLst>
            </p:cNvPr>
            <p:cNvSpPr/>
            <p:nvPr/>
          </p:nvSpPr>
          <p:spPr>
            <a:xfrm>
              <a:off x="6238590"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4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7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2 w 568166"/>
                <a:gd name="connsiteY21" fmla="*/ 381000 h 381000"/>
                <a:gd name="connsiteX22" fmla="*/ 240982 w 568166"/>
                <a:gd name="connsiteY22" fmla="*/ 168783 h 381000"/>
                <a:gd name="connsiteX23" fmla="*/ 221266 w 568166"/>
                <a:gd name="connsiteY23" fmla="*/ 101822 h 381000"/>
                <a:gd name="connsiteX24" fmla="*/ 165640 w 568166"/>
                <a:gd name="connsiteY24" fmla="*/ 78581 h 381000"/>
                <a:gd name="connsiteX25" fmla="*/ 108013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69" y="48196"/>
                    <a:pt x="105918" y="40576"/>
                  </a:cubicBezTo>
                  <a:cubicBezTo>
                    <a:pt x="112966" y="32956"/>
                    <a:pt x="121063" y="26099"/>
                    <a:pt x="130207" y="19907"/>
                  </a:cubicBezTo>
                  <a:cubicBezTo>
                    <a:pt x="139351" y="13716"/>
                    <a:pt x="149638" y="8858"/>
                    <a:pt x="161163" y="5334"/>
                  </a:cubicBezTo>
                  <a:cubicBezTo>
                    <a:pt x="172688" y="1714"/>
                    <a:pt x="185452" y="0"/>
                    <a:pt x="199549" y="0"/>
                  </a:cubicBezTo>
                  <a:cubicBezTo>
                    <a:pt x="226314" y="0"/>
                    <a:pt x="248983" y="6096"/>
                    <a:pt x="267557" y="18193"/>
                  </a:cubicBezTo>
                  <a:cubicBezTo>
                    <a:pt x="286131" y="30289"/>
                    <a:pt x="300323" y="46387"/>
                    <a:pt x="310134" y="66294"/>
                  </a:cubicBezTo>
                  <a:cubicBezTo>
                    <a:pt x="325279" y="46387"/>
                    <a:pt x="343090" y="30289"/>
                    <a:pt x="363664" y="18193"/>
                  </a:cubicBezTo>
                  <a:cubicBezTo>
                    <a:pt x="384238" y="6096"/>
                    <a:pt x="408718" y="0"/>
                    <a:pt x="437007" y="0"/>
                  </a:cubicBezTo>
                  <a:cubicBezTo>
                    <a:pt x="478155"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7" y="78486"/>
                  </a:cubicBezTo>
                  <a:cubicBezTo>
                    <a:pt x="382809" y="78486"/>
                    <a:pt x="364141" y="86392"/>
                    <a:pt x="349377" y="102108"/>
                  </a:cubicBezTo>
                  <a:cubicBezTo>
                    <a:pt x="334613" y="117824"/>
                    <a:pt x="327184" y="140779"/>
                    <a:pt x="327184" y="170879"/>
                  </a:cubicBezTo>
                  <a:lnTo>
                    <a:pt x="327184" y="381000"/>
                  </a:lnTo>
                  <a:lnTo>
                    <a:pt x="240982" y="381000"/>
                  </a:lnTo>
                  <a:lnTo>
                    <a:pt x="240982" y="168783"/>
                  </a:lnTo>
                  <a:cubicBezTo>
                    <a:pt x="240982" y="139637"/>
                    <a:pt x="234410" y="117348"/>
                    <a:pt x="221266" y="101822"/>
                  </a:cubicBezTo>
                  <a:cubicBezTo>
                    <a:pt x="208121" y="86296"/>
                    <a:pt x="189547" y="78581"/>
                    <a:pt x="165640" y="78581"/>
                  </a:cubicBezTo>
                  <a:cubicBezTo>
                    <a:pt x="141732" y="78581"/>
                    <a:pt x="122491" y="86773"/>
                    <a:pt x="108013"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30" name="Freeform: Shape 29">
              <a:extLst>
                <a:ext uri="{FF2B5EF4-FFF2-40B4-BE49-F238E27FC236}">
                  <a16:creationId xmlns:a16="http://schemas.microsoft.com/office/drawing/2014/main" id="{F07B00B3-BE13-7DE7-05B2-7FBC8BA25BEB}"/>
                </a:ext>
              </a:extLst>
            </p:cNvPr>
            <p:cNvSpPr/>
            <p:nvPr/>
          </p:nvSpPr>
          <p:spPr>
            <a:xfrm>
              <a:off x="6400979" y="664258"/>
              <a:ext cx="85097" cy="133441"/>
            </a:xfrm>
            <a:custGeom>
              <a:avLst/>
              <a:gdLst>
                <a:gd name="connsiteX0" fmla="*/ 253651 w 338518"/>
                <a:gd name="connsiteY0" fmla="*/ 523018 h 530828"/>
                <a:gd name="connsiteX1" fmla="*/ 253651 w 338518"/>
                <a:gd name="connsiteY1" fmla="*/ 477107 h 530828"/>
                <a:gd name="connsiteX2" fmla="*/ 204883 w 338518"/>
                <a:gd name="connsiteY2" fmla="*/ 515303 h 530828"/>
                <a:gd name="connsiteX3" fmla="*/ 132779 w 338518"/>
                <a:gd name="connsiteY3" fmla="*/ 530828 h 530828"/>
                <a:gd name="connsiteX4" fmla="*/ 81915 w 338518"/>
                <a:gd name="connsiteY4" fmla="*/ 523399 h 530828"/>
                <a:gd name="connsiteX5" fmla="*/ 39910 w 338518"/>
                <a:gd name="connsiteY5" fmla="*/ 501491 h 530828"/>
                <a:gd name="connsiteX6" fmla="*/ 10954 w 338518"/>
                <a:gd name="connsiteY6" fmla="*/ 465487 h 530828"/>
                <a:gd name="connsiteX7" fmla="*/ 0 w 338518"/>
                <a:gd name="connsiteY7" fmla="*/ 415671 h 530828"/>
                <a:gd name="connsiteX8" fmla="*/ 0 w 338518"/>
                <a:gd name="connsiteY8" fmla="*/ 414242 h 530828"/>
                <a:gd name="connsiteX9" fmla="*/ 11335 w 338518"/>
                <a:gd name="connsiteY9" fmla="*/ 360140 h 530828"/>
                <a:gd name="connsiteX10" fmla="*/ 42767 w 338518"/>
                <a:gd name="connsiteY10" fmla="*/ 321945 h 530828"/>
                <a:gd name="connsiteX11" fmla="*/ 90773 w 338518"/>
                <a:gd name="connsiteY11" fmla="*/ 299371 h 530828"/>
                <a:gd name="connsiteX12" fmla="*/ 151162 w 338518"/>
                <a:gd name="connsiteY12" fmla="*/ 291941 h 530828"/>
                <a:gd name="connsiteX13" fmla="*/ 208788 w 338518"/>
                <a:gd name="connsiteY13" fmla="*/ 296228 h 530828"/>
                <a:gd name="connsiteX14" fmla="*/ 254413 w 338518"/>
                <a:gd name="connsiteY14" fmla="*/ 307562 h 530828"/>
                <a:gd name="connsiteX15" fmla="*/ 254413 w 338518"/>
                <a:gd name="connsiteY15" fmla="*/ 300514 h 530828"/>
                <a:gd name="connsiteX16" fmla="*/ 230696 w 338518"/>
                <a:gd name="connsiteY16" fmla="*/ 241173 h 530828"/>
                <a:gd name="connsiteX17" fmla="*/ 162496 w 338518"/>
                <a:gd name="connsiteY17" fmla="*/ 220694 h 530828"/>
                <a:gd name="connsiteX18" fmla="*/ 106013 w 338518"/>
                <a:gd name="connsiteY18" fmla="*/ 227076 h 530828"/>
                <a:gd name="connsiteX19" fmla="*/ 55817 w 338518"/>
                <a:gd name="connsiteY19" fmla="*/ 244031 h 530828"/>
                <a:gd name="connsiteX20" fmla="*/ 32480 w 338518"/>
                <a:gd name="connsiteY20" fmla="*/ 175451 h 530828"/>
                <a:gd name="connsiteX21" fmla="*/ 96107 w 338518"/>
                <a:gd name="connsiteY21" fmla="*/ 152876 h 530828"/>
                <a:gd name="connsiteX22" fmla="*/ 174593 w 338518"/>
                <a:gd name="connsiteY22" fmla="*/ 144399 h 530828"/>
                <a:gd name="connsiteX23" fmla="*/ 298228 w 338518"/>
                <a:gd name="connsiteY23" fmla="*/ 185738 h 530828"/>
                <a:gd name="connsiteX24" fmla="*/ 338519 w 338518"/>
                <a:gd name="connsiteY24" fmla="*/ 301943 h 530828"/>
                <a:gd name="connsiteX25" fmla="*/ 338519 w 338518"/>
                <a:gd name="connsiteY25" fmla="*/ 523113 h 530828"/>
                <a:gd name="connsiteX26" fmla="*/ 253746 w 338518"/>
                <a:gd name="connsiteY26" fmla="*/ 523113 h 530828"/>
                <a:gd name="connsiteX27" fmla="*/ 45911 w 338518"/>
                <a:gd name="connsiteY27" fmla="*/ 95441 h 530828"/>
                <a:gd name="connsiteX28" fmla="*/ 75248 w 338518"/>
                <a:gd name="connsiteY28" fmla="*/ 29718 h 530828"/>
                <a:gd name="connsiteX29" fmla="*/ 125063 w 338518"/>
                <a:gd name="connsiteY29" fmla="*/ 7144 h 530828"/>
                <a:gd name="connsiteX30" fmla="*/ 154019 w 338518"/>
                <a:gd name="connsiteY30" fmla="*/ 11716 h 530828"/>
                <a:gd name="connsiteX31" fmla="*/ 181261 w 338518"/>
                <a:gd name="connsiteY31" fmla="*/ 21622 h 530828"/>
                <a:gd name="connsiteX32" fmla="*/ 205645 w 338518"/>
                <a:gd name="connsiteY32" fmla="*/ 31147 h 530828"/>
                <a:gd name="connsiteX33" fmla="*/ 226790 w 338518"/>
                <a:gd name="connsiteY33" fmla="*/ 35338 h 530828"/>
                <a:gd name="connsiteX34" fmla="*/ 250127 w 338518"/>
                <a:gd name="connsiteY34" fmla="*/ 26861 h 530828"/>
                <a:gd name="connsiteX35" fmla="*/ 265652 w 338518"/>
                <a:gd name="connsiteY35" fmla="*/ 0 h 530828"/>
                <a:gd name="connsiteX36" fmla="*/ 312991 w 338518"/>
                <a:gd name="connsiteY36" fmla="*/ 14859 h 530828"/>
                <a:gd name="connsiteX37" fmla="*/ 283655 w 338518"/>
                <a:gd name="connsiteY37" fmla="*/ 79820 h 530828"/>
                <a:gd name="connsiteX38" fmla="*/ 233839 w 338518"/>
                <a:gd name="connsiteY38" fmla="*/ 102394 h 530828"/>
                <a:gd name="connsiteX39" fmla="*/ 204883 w 338518"/>
                <a:gd name="connsiteY39" fmla="*/ 98203 h 530828"/>
                <a:gd name="connsiteX40" fmla="*/ 177641 w 338518"/>
                <a:gd name="connsiteY40" fmla="*/ 88678 h 530828"/>
                <a:gd name="connsiteX41" fmla="*/ 152876 w 338518"/>
                <a:gd name="connsiteY41" fmla="*/ 78772 h 530828"/>
                <a:gd name="connsiteX42" fmla="*/ 132017 w 338518"/>
                <a:gd name="connsiteY42" fmla="*/ 74200 h 530828"/>
                <a:gd name="connsiteX43" fmla="*/ 108680 w 338518"/>
                <a:gd name="connsiteY43" fmla="*/ 82677 h 530828"/>
                <a:gd name="connsiteX44" fmla="*/ 93154 w 338518"/>
                <a:gd name="connsiteY44" fmla="*/ 109538 h 530828"/>
                <a:gd name="connsiteX45" fmla="*/ 45815 w 338518"/>
                <a:gd name="connsiteY45" fmla="*/ 95441 h 530828"/>
                <a:gd name="connsiteX46" fmla="*/ 255842 w 338518"/>
                <a:gd name="connsiteY46" fmla="*/ 366808 h 530828"/>
                <a:gd name="connsiteX47" fmla="*/ 217361 w 338518"/>
                <a:gd name="connsiteY47" fmla="*/ 356235 h 530828"/>
                <a:gd name="connsiteX48" fmla="*/ 170402 w 338518"/>
                <a:gd name="connsiteY48" fmla="*/ 351949 h 530828"/>
                <a:gd name="connsiteX49" fmla="*/ 107537 w 338518"/>
                <a:gd name="connsiteY49" fmla="*/ 367475 h 530828"/>
                <a:gd name="connsiteX50" fmla="*/ 84963 w 338518"/>
                <a:gd name="connsiteY50" fmla="*/ 409861 h 530828"/>
                <a:gd name="connsiteX51" fmla="*/ 84963 w 338518"/>
                <a:gd name="connsiteY51" fmla="*/ 411290 h 530828"/>
                <a:gd name="connsiteX52" fmla="*/ 105823 w 338518"/>
                <a:gd name="connsiteY52" fmla="*/ 452247 h 530828"/>
                <a:gd name="connsiteX53" fmla="*/ 157067 w 338518"/>
                <a:gd name="connsiteY53" fmla="*/ 466344 h 530828"/>
                <a:gd name="connsiteX54" fmla="*/ 196310 w 338518"/>
                <a:gd name="connsiteY54" fmla="*/ 460724 h 530828"/>
                <a:gd name="connsiteX55" fmla="*/ 227743 w 338518"/>
                <a:gd name="connsiteY55" fmla="*/ 444818 h 530828"/>
                <a:gd name="connsiteX56" fmla="*/ 248603 w 338518"/>
                <a:gd name="connsiteY56" fmla="*/ 420053 h 530828"/>
                <a:gd name="connsiteX57" fmla="*/ 256032 w 338518"/>
                <a:gd name="connsiteY57" fmla="*/ 387858 h 530828"/>
                <a:gd name="connsiteX58" fmla="*/ 256032 w 338518"/>
                <a:gd name="connsiteY58" fmla="*/ 366617 h 5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8518" h="530828">
                  <a:moveTo>
                    <a:pt x="253651" y="523018"/>
                  </a:moveTo>
                  <a:lnTo>
                    <a:pt x="253651" y="477107"/>
                  </a:lnTo>
                  <a:cubicBezTo>
                    <a:pt x="240887" y="492157"/>
                    <a:pt x="224695" y="504920"/>
                    <a:pt x="204883" y="515303"/>
                  </a:cubicBezTo>
                  <a:cubicBezTo>
                    <a:pt x="185071" y="525685"/>
                    <a:pt x="161068" y="530828"/>
                    <a:pt x="132779" y="530828"/>
                  </a:cubicBezTo>
                  <a:cubicBezTo>
                    <a:pt x="114871" y="530828"/>
                    <a:pt x="97917" y="528352"/>
                    <a:pt x="81915" y="523399"/>
                  </a:cubicBezTo>
                  <a:cubicBezTo>
                    <a:pt x="65913" y="518446"/>
                    <a:pt x="51911" y="511112"/>
                    <a:pt x="39910" y="501491"/>
                  </a:cubicBezTo>
                  <a:cubicBezTo>
                    <a:pt x="27908" y="491871"/>
                    <a:pt x="18193" y="479870"/>
                    <a:pt x="10954" y="465487"/>
                  </a:cubicBezTo>
                  <a:cubicBezTo>
                    <a:pt x="3620" y="451104"/>
                    <a:pt x="0" y="434531"/>
                    <a:pt x="0" y="415671"/>
                  </a:cubicBezTo>
                  <a:lnTo>
                    <a:pt x="0" y="414242"/>
                  </a:lnTo>
                  <a:cubicBezTo>
                    <a:pt x="0" y="393478"/>
                    <a:pt x="3810" y="375476"/>
                    <a:pt x="11335" y="360140"/>
                  </a:cubicBezTo>
                  <a:cubicBezTo>
                    <a:pt x="18860" y="344805"/>
                    <a:pt x="29337" y="332137"/>
                    <a:pt x="42767" y="321945"/>
                  </a:cubicBezTo>
                  <a:cubicBezTo>
                    <a:pt x="56198" y="311849"/>
                    <a:pt x="72200" y="304324"/>
                    <a:pt x="90773" y="299371"/>
                  </a:cubicBezTo>
                  <a:cubicBezTo>
                    <a:pt x="109347" y="294418"/>
                    <a:pt x="129540" y="291941"/>
                    <a:pt x="151162" y="291941"/>
                  </a:cubicBezTo>
                  <a:cubicBezTo>
                    <a:pt x="172784" y="291941"/>
                    <a:pt x="192977" y="293370"/>
                    <a:pt x="208788" y="296228"/>
                  </a:cubicBezTo>
                  <a:cubicBezTo>
                    <a:pt x="224600" y="299085"/>
                    <a:pt x="239744" y="302800"/>
                    <a:pt x="254413" y="307562"/>
                  </a:cubicBezTo>
                  <a:lnTo>
                    <a:pt x="254413" y="300514"/>
                  </a:lnTo>
                  <a:cubicBezTo>
                    <a:pt x="254413" y="274606"/>
                    <a:pt x="246507" y="254794"/>
                    <a:pt x="230696" y="241173"/>
                  </a:cubicBezTo>
                  <a:cubicBezTo>
                    <a:pt x="214884" y="227552"/>
                    <a:pt x="192215" y="220694"/>
                    <a:pt x="162496" y="220694"/>
                  </a:cubicBezTo>
                  <a:cubicBezTo>
                    <a:pt x="141351" y="220694"/>
                    <a:pt x="122492" y="222790"/>
                    <a:pt x="106013" y="227076"/>
                  </a:cubicBezTo>
                  <a:cubicBezTo>
                    <a:pt x="89535" y="231362"/>
                    <a:pt x="72771" y="236982"/>
                    <a:pt x="55817" y="244031"/>
                  </a:cubicBezTo>
                  <a:lnTo>
                    <a:pt x="32480" y="175451"/>
                  </a:lnTo>
                  <a:cubicBezTo>
                    <a:pt x="53150" y="166021"/>
                    <a:pt x="74390" y="158496"/>
                    <a:pt x="96107" y="152876"/>
                  </a:cubicBezTo>
                  <a:cubicBezTo>
                    <a:pt x="117729" y="147257"/>
                    <a:pt x="143923" y="144399"/>
                    <a:pt x="174593" y="144399"/>
                  </a:cubicBezTo>
                  <a:cubicBezTo>
                    <a:pt x="230124" y="144399"/>
                    <a:pt x="271367" y="158210"/>
                    <a:pt x="298228" y="185738"/>
                  </a:cubicBezTo>
                  <a:cubicBezTo>
                    <a:pt x="325088" y="213265"/>
                    <a:pt x="338519" y="252032"/>
                    <a:pt x="338519" y="301943"/>
                  </a:cubicBezTo>
                  <a:lnTo>
                    <a:pt x="338519" y="523113"/>
                  </a:lnTo>
                  <a:lnTo>
                    <a:pt x="253746" y="523113"/>
                  </a:lnTo>
                  <a:close/>
                  <a:moveTo>
                    <a:pt x="45911" y="95441"/>
                  </a:moveTo>
                  <a:cubicBezTo>
                    <a:pt x="53912" y="66675"/>
                    <a:pt x="63722" y="44768"/>
                    <a:pt x="75248" y="29718"/>
                  </a:cubicBezTo>
                  <a:cubicBezTo>
                    <a:pt x="86773" y="14669"/>
                    <a:pt x="103442" y="7144"/>
                    <a:pt x="125063" y="7144"/>
                  </a:cubicBezTo>
                  <a:cubicBezTo>
                    <a:pt x="134969" y="7144"/>
                    <a:pt x="144590" y="8668"/>
                    <a:pt x="154019" y="11716"/>
                  </a:cubicBezTo>
                  <a:cubicBezTo>
                    <a:pt x="163449" y="14764"/>
                    <a:pt x="172498" y="18098"/>
                    <a:pt x="181261" y="21622"/>
                  </a:cubicBezTo>
                  <a:cubicBezTo>
                    <a:pt x="189929" y="25146"/>
                    <a:pt x="198120" y="28385"/>
                    <a:pt x="205645" y="31147"/>
                  </a:cubicBezTo>
                  <a:cubicBezTo>
                    <a:pt x="213170" y="34004"/>
                    <a:pt x="220218" y="35338"/>
                    <a:pt x="226790" y="35338"/>
                  </a:cubicBezTo>
                  <a:cubicBezTo>
                    <a:pt x="237173" y="35338"/>
                    <a:pt x="244888" y="32480"/>
                    <a:pt x="250127" y="26861"/>
                  </a:cubicBezTo>
                  <a:cubicBezTo>
                    <a:pt x="255270" y="21241"/>
                    <a:pt x="260509" y="12287"/>
                    <a:pt x="265652" y="0"/>
                  </a:cubicBezTo>
                  <a:lnTo>
                    <a:pt x="312991" y="14859"/>
                  </a:lnTo>
                  <a:cubicBezTo>
                    <a:pt x="304991" y="43148"/>
                    <a:pt x="295180" y="64770"/>
                    <a:pt x="283655" y="79820"/>
                  </a:cubicBezTo>
                  <a:cubicBezTo>
                    <a:pt x="272129" y="94869"/>
                    <a:pt x="255461" y="102394"/>
                    <a:pt x="233839" y="102394"/>
                  </a:cubicBezTo>
                  <a:cubicBezTo>
                    <a:pt x="223933" y="102394"/>
                    <a:pt x="214313" y="100965"/>
                    <a:pt x="204883" y="98203"/>
                  </a:cubicBezTo>
                  <a:cubicBezTo>
                    <a:pt x="195453" y="95345"/>
                    <a:pt x="186404" y="92202"/>
                    <a:pt x="177641" y="88678"/>
                  </a:cubicBezTo>
                  <a:cubicBezTo>
                    <a:pt x="168878" y="85154"/>
                    <a:pt x="160687" y="81820"/>
                    <a:pt x="152876" y="78772"/>
                  </a:cubicBezTo>
                  <a:cubicBezTo>
                    <a:pt x="145066" y="75724"/>
                    <a:pt x="138113" y="74200"/>
                    <a:pt x="132017" y="74200"/>
                  </a:cubicBezTo>
                  <a:cubicBezTo>
                    <a:pt x="121634" y="74200"/>
                    <a:pt x="113919" y="77057"/>
                    <a:pt x="108680" y="82677"/>
                  </a:cubicBezTo>
                  <a:cubicBezTo>
                    <a:pt x="103537" y="88297"/>
                    <a:pt x="98298" y="97250"/>
                    <a:pt x="93154" y="109538"/>
                  </a:cubicBezTo>
                  <a:lnTo>
                    <a:pt x="45815" y="95441"/>
                  </a:lnTo>
                  <a:close/>
                  <a:moveTo>
                    <a:pt x="255842" y="366808"/>
                  </a:moveTo>
                  <a:cubicBezTo>
                    <a:pt x="244983" y="362522"/>
                    <a:pt x="232124" y="358997"/>
                    <a:pt x="217361" y="356235"/>
                  </a:cubicBezTo>
                  <a:cubicBezTo>
                    <a:pt x="202502" y="353378"/>
                    <a:pt x="186880" y="351949"/>
                    <a:pt x="170402" y="351949"/>
                  </a:cubicBezTo>
                  <a:cubicBezTo>
                    <a:pt x="143542" y="351949"/>
                    <a:pt x="122587" y="357092"/>
                    <a:pt x="107537" y="367475"/>
                  </a:cubicBezTo>
                  <a:cubicBezTo>
                    <a:pt x="92488" y="377857"/>
                    <a:pt x="84963" y="391954"/>
                    <a:pt x="84963" y="409861"/>
                  </a:cubicBezTo>
                  <a:lnTo>
                    <a:pt x="84963" y="411290"/>
                  </a:lnTo>
                  <a:cubicBezTo>
                    <a:pt x="84963" y="429197"/>
                    <a:pt x="91916" y="442817"/>
                    <a:pt x="105823" y="452247"/>
                  </a:cubicBezTo>
                  <a:cubicBezTo>
                    <a:pt x="119729" y="461677"/>
                    <a:pt x="136779" y="466344"/>
                    <a:pt x="157067" y="466344"/>
                  </a:cubicBezTo>
                  <a:cubicBezTo>
                    <a:pt x="171164" y="466344"/>
                    <a:pt x="184309" y="464439"/>
                    <a:pt x="196310" y="460724"/>
                  </a:cubicBezTo>
                  <a:cubicBezTo>
                    <a:pt x="208312" y="456914"/>
                    <a:pt x="218789" y="451676"/>
                    <a:pt x="227743" y="444818"/>
                  </a:cubicBezTo>
                  <a:cubicBezTo>
                    <a:pt x="236696" y="437960"/>
                    <a:pt x="243650" y="429768"/>
                    <a:pt x="248603" y="420053"/>
                  </a:cubicBezTo>
                  <a:cubicBezTo>
                    <a:pt x="253555" y="410432"/>
                    <a:pt x="256032" y="399669"/>
                    <a:pt x="256032" y="387858"/>
                  </a:cubicBezTo>
                  <a:lnTo>
                    <a:pt x="256032" y="366617"/>
                  </a:lnTo>
                  <a:close/>
                </a:path>
              </a:pathLst>
            </a:custGeom>
            <a:solidFill>
              <a:srgbClr val="44505E"/>
            </a:solidFill>
            <a:ln w="9525" cap="flat">
              <a:noFill/>
              <a:prstDash val="solid"/>
              <a:miter/>
            </a:ln>
          </p:spPr>
          <p:txBody>
            <a:bodyPr rtlCol="0" anchor="ctr"/>
            <a:lstStyle/>
            <a:p>
              <a:endParaRPr lang="pt-BR" noProof="0"/>
            </a:p>
          </p:txBody>
        </p:sp>
        <p:sp>
          <p:nvSpPr>
            <p:cNvPr id="31" name="Freeform: Shape 30">
              <a:extLst>
                <a:ext uri="{FF2B5EF4-FFF2-40B4-BE49-F238E27FC236}">
                  <a16:creationId xmlns:a16="http://schemas.microsoft.com/office/drawing/2014/main" id="{1E7B6C3D-C7FE-7E61-F919-2D3E05F35EB0}"/>
                </a:ext>
              </a:extLst>
            </p:cNvPr>
            <p:cNvSpPr/>
            <p:nvPr/>
          </p:nvSpPr>
          <p:spPr>
            <a:xfrm>
              <a:off x="6506477" y="699959"/>
              <a:ext cx="100038" cy="97908"/>
            </a:xfrm>
            <a:custGeom>
              <a:avLst/>
              <a:gdLst>
                <a:gd name="connsiteX0" fmla="*/ 197834 w 397954"/>
                <a:gd name="connsiteY0" fmla="*/ 389477 h 389477"/>
                <a:gd name="connsiteX1" fmla="*/ 119063 w 397954"/>
                <a:gd name="connsiteY1" fmla="*/ 374237 h 389477"/>
                <a:gd name="connsiteX2" fmla="*/ 56198 w 397954"/>
                <a:gd name="connsiteY2" fmla="*/ 332899 h 389477"/>
                <a:gd name="connsiteX3" fmla="*/ 14859 w 397954"/>
                <a:gd name="connsiteY3" fmla="*/ 271463 h 389477"/>
                <a:gd name="connsiteX4" fmla="*/ 0 w 397954"/>
                <a:gd name="connsiteY4" fmla="*/ 196501 h 389477"/>
                <a:gd name="connsiteX5" fmla="*/ 0 w 397954"/>
                <a:gd name="connsiteY5" fmla="*/ 195072 h 389477"/>
                <a:gd name="connsiteX6" fmla="*/ 15240 w 397954"/>
                <a:gd name="connsiteY6" fmla="*/ 119444 h 389477"/>
                <a:gd name="connsiteX7" fmla="*/ 56960 w 397954"/>
                <a:gd name="connsiteY7" fmla="*/ 57626 h 389477"/>
                <a:gd name="connsiteX8" fmla="*/ 119825 w 397954"/>
                <a:gd name="connsiteY8" fmla="*/ 15526 h 389477"/>
                <a:gd name="connsiteX9" fmla="*/ 199358 w 397954"/>
                <a:gd name="connsiteY9" fmla="*/ 0 h 389477"/>
                <a:gd name="connsiteX10" fmla="*/ 278892 w 397954"/>
                <a:gd name="connsiteY10" fmla="*/ 15240 h 389477"/>
                <a:gd name="connsiteX11" fmla="*/ 341757 w 397954"/>
                <a:gd name="connsiteY11" fmla="*/ 56959 h 389477"/>
                <a:gd name="connsiteX12" fmla="*/ 383096 w 397954"/>
                <a:gd name="connsiteY12" fmla="*/ 118396 h 389477"/>
                <a:gd name="connsiteX13" fmla="*/ 397955 w 397954"/>
                <a:gd name="connsiteY13" fmla="*/ 193643 h 389477"/>
                <a:gd name="connsiteX14" fmla="*/ 397955 w 397954"/>
                <a:gd name="connsiteY14" fmla="*/ 195072 h 389477"/>
                <a:gd name="connsiteX15" fmla="*/ 382714 w 397954"/>
                <a:gd name="connsiteY15" fmla="*/ 270034 h 389477"/>
                <a:gd name="connsiteX16" fmla="*/ 340995 w 397954"/>
                <a:gd name="connsiteY16" fmla="*/ 331851 h 389477"/>
                <a:gd name="connsiteX17" fmla="*/ 277749 w 397954"/>
                <a:gd name="connsiteY17" fmla="*/ 373856 h 389477"/>
                <a:gd name="connsiteX18" fmla="*/ 197834 w 397954"/>
                <a:gd name="connsiteY18" fmla="*/ 389382 h 389477"/>
                <a:gd name="connsiteX19" fmla="*/ 199263 w 397954"/>
                <a:gd name="connsiteY19" fmla="*/ 315278 h 389477"/>
                <a:gd name="connsiteX20" fmla="*/ 245936 w 397954"/>
                <a:gd name="connsiteY20" fmla="*/ 305753 h 389477"/>
                <a:gd name="connsiteX21" fmla="*/ 281369 w 397954"/>
                <a:gd name="connsiteY21" fmla="*/ 279940 h 389477"/>
                <a:gd name="connsiteX22" fmla="*/ 303848 w 397954"/>
                <a:gd name="connsiteY22" fmla="*/ 242125 h 389477"/>
                <a:gd name="connsiteX23" fmla="*/ 311563 w 397954"/>
                <a:gd name="connsiteY23" fmla="*/ 196501 h 389477"/>
                <a:gd name="connsiteX24" fmla="*/ 311563 w 397954"/>
                <a:gd name="connsiteY24" fmla="*/ 195072 h 389477"/>
                <a:gd name="connsiteX25" fmla="*/ 303181 w 397954"/>
                <a:gd name="connsiteY25" fmla="*/ 148400 h 389477"/>
                <a:gd name="connsiteX26" fmla="*/ 279654 w 397954"/>
                <a:gd name="connsiteY26" fmla="*/ 110204 h 389477"/>
                <a:gd name="connsiteX27" fmla="*/ 243840 w 397954"/>
                <a:gd name="connsiteY27" fmla="*/ 84392 h 389477"/>
                <a:gd name="connsiteX28" fmla="*/ 197834 w 397954"/>
                <a:gd name="connsiteY28" fmla="*/ 74867 h 389477"/>
                <a:gd name="connsiteX29" fmla="*/ 151829 w 397954"/>
                <a:gd name="connsiteY29" fmla="*/ 84392 h 389477"/>
                <a:gd name="connsiteX30" fmla="*/ 116396 w 397954"/>
                <a:gd name="connsiteY30" fmla="*/ 109823 h 389477"/>
                <a:gd name="connsiteX31" fmla="*/ 93916 w 397954"/>
                <a:gd name="connsiteY31" fmla="*/ 147638 h 389477"/>
                <a:gd name="connsiteX32" fmla="*/ 86201 w 397954"/>
                <a:gd name="connsiteY32" fmla="*/ 193548 h 389477"/>
                <a:gd name="connsiteX33" fmla="*/ 86201 w 397954"/>
                <a:gd name="connsiteY33" fmla="*/ 194977 h 389477"/>
                <a:gd name="connsiteX34" fmla="*/ 94583 w 397954"/>
                <a:gd name="connsiteY34" fmla="*/ 241268 h 389477"/>
                <a:gd name="connsiteX35" fmla="*/ 118110 w 397954"/>
                <a:gd name="connsiteY35" fmla="*/ 279463 h 389477"/>
                <a:gd name="connsiteX36" fmla="*/ 153924 w 397954"/>
                <a:gd name="connsiteY36" fmla="*/ 305562 h 389477"/>
                <a:gd name="connsiteX37" fmla="*/ 199263 w 397954"/>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954" h="389477">
                  <a:moveTo>
                    <a:pt x="197834" y="389477"/>
                  </a:moveTo>
                  <a:cubicBezTo>
                    <a:pt x="169545" y="389477"/>
                    <a:pt x="143351" y="384429"/>
                    <a:pt x="119063" y="374237"/>
                  </a:cubicBezTo>
                  <a:cubicBezTo>
                    <a:pt x="94774" y="364141"/>
                    <a:pt x="73819" y="350330"/>
                    <a:pt x="56198" y="332899"/>
                  </a:cubicBezTo>
                  <a:cubicBezTo>
                    <a:pt x="38576" y="315468"/>
                    <a:pt x="24765" y="294989"/>
                    <a:pt x="14859" y="271463"/>
                  </a:cubicBezTo>
                  <a:cubicBezTo>
                    <a:pt x="4953" y="247936"/>
                    <a:pt x="0" y="222980"/>
                    <a:pt x="0" y="196501"/>
                  </a:cubicBezTo>
                  <a:lnTo>
                    <a:pt x="0" y="195072"/>
                  </a:lnTo>
                  <a:cubicBezTo>
                    <a:pt x="0" y="168212"/>
                    <a:pt x="5049" y="143066"/>
                    <a:pt x="15240" y="119444"/>
                  </a:cubicBezTo>
                  <a:cubicBezTo>
                    <a:pt x="25337" y="95917"/>
                    <a:pt x="39243" y="75248"/>
                    <a:pt x="56960" y="57626"/>
                  </a:cubicBezTo>
                  <a:cubicBezTo>
                    <a:pt x="74676" y="39910"/>
                    <a:pt x="95631" y="25908"/>
                    <a:pt x="119825" y="15526"/>
                  </a:cubicBezTo>
                  <a:cubicBezTo>
                    <a:pt x="144113" y="5144"/>
                    <a:pt x="170593" y="0"/>
                    <a:pt x="199358" y="0"/>
                  </a:cubicBezTo>
                  <a:cubicBezTo>
                    <a:pt x="228124" y="0"/>
                    <a:pt x="254604" y="5048"/>
                    <a:pt x="278892" y="15240"/>
                  </a:cubicBezTo>
                  <a:cubicBezTo>
                    <a:pt x="303181" y="25337"/>
                    <a:pt x="324136" y="39243"/>
                    <a:pt x="341757" y="56959"/>
                  </a:cubicBezTo>
                  <a:cubicBezTo>
                    <a:pt x="359379" y="74676"/>
                    <a:pt x="373189" y="95155"/>
                    <a:pt x="383096" y="118396"/>
                  </a:cubicBezTo>
                  <a:cubicBezTo>
                    <a:pt x="393002" y="141732"/>
                    <a:pt x="397955" y="166783"/>
                    <a:pt x="397955" y="193643"/>
                  </a:cubicBezTo>
                  <a:lnTo>
                    <a:pt x="397955" y="195072"/>
                  </a:lnTo>
                  <a:cubicBezTo>
                    <a:pt x="397955" y="221456"/>
                    <a:pt x="392906" y="246412"/>
                    <a:pt x="382714" y="270034"/>
                  </a:cubicBezTo>
                  <a:cubicBezTo>
                    <a:pt x="372618" y="293561"/>
                    <a:pt x="358712" y="314230"/>
                    <a:pt x="340995" y="331851"/>
                  </a:cubicBezTo>
                  <a:cubicBezTo>
                    <a:pt x="323279" y="349472"/>
                    <a:pt x="302229" y="363569"/>
                    <a:pt x="277749" y="373856"/>
                  </a:cubicBezTo>
                  <a:cubicBezTo>
                    <a:pt x="253270" y="384238"/>
                    <a:pt x="226600" y="389382"/>
                    <a:pt x="197834" y="389382"/>
                  </a:cubicBezTo>
                  <a:close/>
                  <a:moveTo>
                    <a:pt x="199263" y="315278"/>
                  </a:moveTo>
                  <a:cubicBezTo>
                    <a:pt x="216598" y="315278"/>
                    <a:pt x="232124" y="312039"/>
                    <a:pt x="245936" y="305753"/>
                  </a:cubicBezTo>
                  <a:cubicBezTo>
                    <a:pt x="259747" y="299371"/>
                    <a:pt x="271558" y="290798"/>
                    <a:pt x="281369" y="279940"/>
                  </a:cubicBezTo>
                  <a:cubicBezTo>
                    <a:pt x="291179" y="269081"/>
                    <a:pt x="298704" y="256508"/>
                    <a:pt x="303848" y="242125"/>
                  </a:cubicBezTo>
                  <a:cubicBezTo>
                    <a:pt x="308991" y="227743"/>
                    <a:pt x="311563" y="212598"/>
                    <a:pt x="311563" y="196501"/>
                  </a:cubicBezTo>
                  <a:lnTo>
                    <a:pt x="311563" y="195072"/>
                  </a:lnTo>
                  <a:cubicBezTo>
                    <a:pt x="311563" y="178594"/>
                    <a:pt x="308706" y="163068"/>
                    <a:pt x="303181" y="148400"/>
                  </a:cubicBezTo>
                  <a:cubicBezTo>
                    <a:pt x="297561" y="133826"/>
                    <a:pt x="289750" y="121063"/>
                    <a:pt x="279654" y="110204"/>
                  </a:cubicBezTo>
                  <a:cubicBezTo>
                    <a:pt x="269557" y="99346"/>
                    <a:pt x="257651" y="90773"/>
                    <a:pt x="243840" y="84392"/>
                  </a:cubicBezTo>
                  <a:cubicBezTo>
                    <a:pt x="230029" y="78010"/>
                    <a:pt x="214694" y="74867"/>
                    <a:pt x="197834" y="74867"/>
                  </a:cubicBezTo>
                  <a:cubicBezTo>
                    <a:pt x="180975" y="74867"/>
                    <a:pt x="165640" y="78010"/>
                    <a:pt x="151829" y="84392"/>
                  </a:cubicBezTo>
                  <a:cubicBezTo>
                    <a:pt x="138017" y="90773"/>
                    <a:pt x="126206" y="99250"/>
                    <a:pt x="116396" y="109823"/>
                  </a:cubicBezTo>
                  <a:cubicBezTo>
                    <a:pt x="106585" y="120396"/>
                    <a:pt x="99060" y="133064"/>
                    <a:pt x="93916" y="147638"/>
                  </a:cubicBezTo>
                  <a:cubicBezTo>
                    <a:pt x="88773" y="162211"/>
                    <a:pt x="86201" y="177546"/>
                    <a:pt x="86201" y="193548"/>
                  </a:cubicBezTo>
                  <a:lnTo>
                    <a:pt x="86201" y="194977"/>
                  </a:lnTo>
                  <a:cubicBezTo>
                    <a:pt x="86201" y="211455"/>
                    <a:pt x="89059" y="226886"/>
                    <a:pt x="94583" y="241268"/>
                  </a:cubicBezTo>
                  <a:cubicBezTo>
                    <a:pt x="100203" y="255651"/>
                    <a:pt x="108014" y="268319"/>
                    <a:pt x="118110" y="279463"/>
                  </a:cubicBezTo>
                  <a:cubicBezTo>
                    <a:pt x="128207" y="290608"/>
                    <a:pt x="140113" y="299275"/>
                    <a:pt x="153924" y="305562"/>
                  </a:cubicBezTo>
                  <a:cubicBezTo>
                    <a:pt x="167735" y="311944"/>
                    <a:pt x="182785"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32" name="Freeform: Shape 31">
              <a:extLst>
                <a:ext uri="{FF2B5EF4-FFF2-40B4-BE49-F238E27FC236}">
                  <a16:creationId xmlns:a16="http://schemas.microsoft.com/office/drawing/2014/main" id="{58152E95-D1AD-4BEB-408C-C18E5C0F09C5}"/>
                </a:ext>
              </a:extLst>
            </p:cNvPr>
            <p:cNvSpPr/>
            <p:nvPr/>
          </p:nvSpPr>
          <p:spPr>
            <a:xfrm>
              <a:off x="662071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1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7 w 296894"/>
                <a:gd name="connsiteY23" fmla="*/ 42863 h 386714"/>
                <a:gd name="connsiteX24" fmla="*/ 254318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7 w 296894"/>
                <a:gd name="connsiteY30" fmla="*/ 124587 h 386714"/>
                <a:gd name="connsiteX31" fmla="*/ 122682 w 296894"/>
                <a:gd name="connsiteY31" fmla="*/ 138017 h 386714"/>
                <a:gd name="connsiteX32" fmla="*/ 149543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6" y="348901"/>
                    <a:pt x="0" y="330327"/>
                  </a:cubicBezTo>
                  <a:lnTo>
                    <a:pt x="38195" y="272224"/>
                  </a:lnTo>
                  <a:cubicBezTo>
                    <a:pt x="58484" y="287274"/>
                    <a:pt x="79057" y="298704"/>
                    <a:pt x="100013" y="306514"/>
                  </a:cubicBezTo>
                  <a:cubicBezTo>
                    <a:pt x="120968" y="314325"/>
                    <a:pt x="141161" y="318135"/>
                    <a:pt x="160401" y="318135"/>
                  </a:cubicBezTo>
                  <a:cubicBezTo>
                    <a:pt x="179641" y="318135"/>
                    <a:pt x="192977"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1" y="241078"/>
                    <a:pt x="176498" y="237553"/>
                    <a:pt x="166401"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2" y="40195"/>
                    <a:pt x="56864" y="30385"/>
                  </a:cubicBezTo>
                  <a:cubicBezTo>
                    <a:pt x="68866" y="20479"/>
                    <a:pt x="82962" y="12954"/>
                    <a:pt x="99250" y="7810"/>
                  </a:cubicBezTo>
                  <a:cubicBezTo>
                    <a:pt x="115538" y="2667"/>
                    <a:pt x="132779" y="0"/>
                    <a:pt x="151162" y="0"/>
                  </a:cubicBezTo>
                  <a:cubicBezTo>
                    <a:pt x="174688" y="0"/>
                    <a:pt x="198501" y="3810"/>
                    <a:pt x="222504" y="11430"/>
                  </a:cubicBezTo>
                  <a:cubicBezTo>
                    <a:pt x="246507" y="19050"/>
                    <a:pt x="268414" y="29527"/>
                    <a:pt x="288227" y="42863"/>
                  </a:cubicBezTo>
                  <a:lnTo>
                    <a:pt x="254318"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7" y="124587"/>
                  </a:cubicBezTo>
                  <a:cubicBezTo>
                    <a:pt x="108585" y="129540"/>
                    <a:pt x="114871" y="134017"/>
                    <a:pt x="122682" y="138017"/>
                  </a:cubicBezTo>
                  <a:cubicBezTo>
                    <a:pt x="130493" y="142018"/>
                    <a:pt x="139351" y="145732"/>
                    <a:pt x="149543"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696"/>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33" name="Freeform: Shape 32">
              <a:extLst>
                <a:ext uri="{FF2B5EF4-FFF2-40B4-BE49-F238E27FC236}">
                  <a16:creationId xmlns:a16="http://schemas.microsoft.com/office/drawing/2014/main" id="{94880C64-4DDB-C408-C29A-D78AAA357EE9}"/>
                </a:ext>
              </a:extLst>
            </p:cNvPr>
            <p:cNvSpPr/>
            <p:nvPr/>
          </p:nvSpPr>
          <p:spPr>
            <a:xfrm>
              <a:off x="526693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4 w 202977"/>
                <a:gd name="connsiteY17" fmla="*/ 19907 h 239267"/>
                <a:gd name="connsiteX18" fmla="*/ 59246 w 202977"/>
                <a:gd name="connsiteY18" fmla="*/ 5429 h 239267"/>
                <a:gd name="connsiteX19" fmla="*/ 104299 w 202977"/>
                <a:gd name="connsiteY19" fmla="*/ 0 h 239267"/>
                <a:gd name="connsiteX20" fmla="*/ 178880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5 w 202977"/>
                <a:gd name="connsiteY27" fmla="*/ 211169 h 239267"/>
                <a:gd name="connsiteX28" fmla="*/ 122968 w 202977"/>
                <a:gd name="connsiteY28" fmla="*/ 206788 h 239267"/>
                <a:gd name="connsiteX29" fmla="*/ 147257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9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9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3" y="99155"/>
                    <a:pt x="58674" y="95917"/>
                  </a:cubicBezTo>
                  <a:cubicBezTo>
                    <a:pt x="70771" y="92678"/>
                    <a:pt x="84011" y="90964"/>
                    <a:pt x="98584" y="90964"/>
                  </a:cubicBezTo>
                  <a:cubicBezTo>
                    <a:pt x="113157" y="90964"/>
                    <a:pt x="126301" y="91821"/>
                    <a:pt x="137160" y="93631"/>
                  </a:cubicBezTo>
                  <a:cubicBezTo>
                    <a:pt x="148019" y="95440"/>
                    <a:pt x="158687" y="97822"/>
                    <a:pt x="169069" y="100774"/>
                  </a:cubicBezTo>
                  <a:lnTo>
                    <a:pt x="169069" y="93726"/>
                  </a:lnTo>
                  <a:cubicBezTo>
                    <a:pt x="169069" y="73342"/>
                    <a:pt x="163068" y="57912"/>
                    <a:pt x="151162" y="47339"/>
                  </a:cubicBezTo>
                  <a:cubicBezTo>
                    <a:pt x="139256" y="36862"/>
                    <a:pt x="122492" y="31623"/>
                    <a:pt x="100679" y="31623"/>
                  </a:cubicBezTo>
                  <a:cubicBezTo>
                    <a:pt x="86963" y="31623"/>
                    <a:pt x="74581" y="33147"/>
                    <a:pt x="63437" y="36100"/>
                  </a:cubicBezTo>
                  <a:cubicBezTo>
                    <a:pt x="52292" y="39053"/>
                    <a:pt x="41339" y="43053"/>
                    <a:pt x="30671" y="48196"/>
                  </a:cubicBezTo>
                  <a:lnTo>
                    <a:pt x="20384" y="19907"/>
                  </a:lnTo>
                  <a:cubicBezTo>
                    <a:pt x="33147" y="13906"/>
                    <a:pt x="46101" y="9049"/>
                    <a:pt x="59246" y="5429"/>
                  </a:cubicBezTo>
                  <a:cubicBezTo>
                    <a:pt x="72295" y="1810"/>
                    <a:pt x="87344" y="0"/>
                    <a:pt x="104299" y="0"/>
                  </a:cubicBezTo>
                  <a:cubicBezTo>
                    <a:pt x="137065" y="0"/>
                    <a:pt x="161925" y="8477"/>
                    <a:pt x="178880"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99" y="239173"/>
                    <a:pt x="86011" y="239173"/>
                  </a:cubicBezTo>
                  <a:close/>
                  <a:moveTo>
                    <a:pt x="93155" y="211169"/>
                  </a:moveTo>
                  <a:cubicBezTo>
                    <a:pt x="103823" y="211169"/>
                    <a:pt x="113728" y="209740"/>
                    <a:pt x="122968" y="206788"/>
                  </a:cubicBezTo>
                  <a:cubicBezTo>
                    <a:pt x="132207" y="203835"/>
                    <a:pt x="140208" y="199644"/>
                    <a:pt x="147257"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9" y="121444"/>
                  </a:cubicBezTo>
                  <a:cubicBezTo>
                    <a:pt x="129445" y="119348"/>
                    <a:pt x="116776"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244" y="190500"/>
                    <a:pt x="47435" y="195358"/>
                    <a:pt x="52769" y="199263"/>
                  </a:cubicBezTo>
                  <a:cubicBezTo>
                    <a:pt x="58103" y="203073"/>
                    <a:pt x="64294" y="206026"/>
                    <a:pt x="71247" y="208121"/>
                  </a:cubicBezTo>
                  <a:cubicBezTo>
                    <a:pt x="78200" y="210217"/>
                    <a:pt x="85535"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34" name="Freeform: Shape 33">
              <a:extLst>
                <a:ext uri="{FF2B5EF4-FFF2-40B4-BE49-F238E27FC236}">
                  <a16:creationId xmlns:a16="http://schemas.microsoft.com/office/drawing/2014/main" id="{FFA9728D-1ED8-8737-7B81-4AB48892A3A4}"/>
                </a:ext>
              </a:extLst>
            </p:cNvPr>
            <p:cNvSpPr/>
            <p:nvPr/>
          </p:nvSpPr>
          <p:spPr>
            <a:xfrm>
              <a:off x="5331227"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9" y="303276"/>
                    <a:pt x="71438" y="300895"/>
                  </a:cubicBezTo>
                  <a:cubicBezTo>
                    <a:pt x="63437"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2"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5" name="Freeform: Shape 34">
              <a:extLst>
                <a:ext uri="{FF2B5EF4-FFF2-40B4-BE49-F238E27FC236}">
                  <a16:creationId xmlns:a16="http://schemas.microsoft.com/office/drawing/2014/main" id="{75A6076B-4B04-51C1-9A16-F6D8860E7C2D}"/>
                </a:ext>
              </a:extLst>
            </p:cNvPr>
            <p:cNvSpPr/>
            <p:nvPr/>
          </p:nvSpPr>
          <p:spPr>
            <a:xfrm>
              <a:off x="5381845"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191 w 39242"/>
                <a:gd name="connsiteY5" fmla="*/ 88392 h 319182"/>
                <a:gd name="connsiteX6" fmla="*/ 36576 w 39242"/>
                <a:gd name="connsiteY6" fmla="*/ 88392 h 319182"/>
                <a:gd name="connsiteX7" fmla="*/ 36576 w 39242"/>
                <a:gd name="connsiteY7" fmla="*/ 319183 h 319182"/>
                <a:gd name="connsiteX8" fmla="*/ 2191 w 39242"/>
                <a:gd name="connsiteY8" fmla="*/ 319183 h 319182"/>
                <a:gd name="connsiteX9" fmla="*/ 2191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191" y="88392"/>
                  </a:moveTo>
                  <a:lnTo>
                    <a:pt x="36576" y="88392"/>
                  </a:lnTo>
                  <a:lnTo>
                    <a:pt x="36576" y="319183"/>
                  </a:lnTo>
                  <a:lnTo>
                    <a:pt x="2191" y="319183"/>
                  </a:lnTo>
                  <a:lnTo>
                    <a:pt x="2191" y="88392"/>
                  </a:lnTo>
                  <a:close/>
                </a:path>
              </a:pathLst>
            </a:custGeom>
            <a:solidFill>
              <a:srgbClr val="44505E"/>
            </a:solidFill>
            <a:ln w="9525" cap="flat">
              <a:noFill/>
              <a:prstDash val="solid"/>
              <a:miter/>
            </a:ln>
          </p:spPr>
          <p:txBody>
            <a:bodyPr rtlCol="0" anchor="ctr"/>
            <a:lstStyle/>
            <a:p>
              <a:endParaRPr lang="pt-BR" noProof="0"/>
            </a:p>
          </p:txBody>
        </p:sp>
        <p:sp>
          <p:nvSpPr>
            <p:cNvPr id="36" name="Freeform: Shape 35">
              <a:extLst>
                <a:ext uri="{FF2B5EF4-FFF2-40B4-BE49-F238E27FC236}">
                  <a16:creationId xmlns:a16="http://schemas.microsoft.com/office/drawing/2014/main" id="{7DE4B128-60E6-36B9-B14F-1E1B25AA122B}"/>
                </a:ext>
              </a:extLst>
            </p:cNvPr>
            <p:cNvSpPr/>
            <p:nvPr/>
          </p:nvSpPr>
          <p:spPr>
            <a:xfrm>
              <a:off x="5406076"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8" y="303276"/>
                    <a:pt x="71438" y="300895"/>
                  </a:cubicBezTo>
                  <a:cubicBezTo>
                    <a:pt x="63436"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1"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7" name="Freeform: Shape 36">
              <a:extLst>
                <a:ext uri="{FF2B5EF4-FFF2-40B4-BE49-F238E27FC236}">
                  <a16:creationId xmlns:a16="http://schemas.microsoft.com/office/drawing/2014/main" id="{369A8CB3-4D94-49AE-D463-E3E454303266}"/>
                </a:ext>
              </a:extLst>
            </p:cNvPr>
            <p:cNvSpPr/>
            <p:nvPr/>
          </p:nvSpPr>
          <p:spPr>
            <a:xfrm>
              <a:off x="5455545" y="925297"/>
              <a:ext cx="50594" cy="59238"/>
            </a:xfrm>
            <a:custGeom>
              <a:avLst/>
              <a:gdLst>
                <a:gd name="connsiteX0" fmla="*/ 88392 w 201263"/>
                <a:gd name="connsiteY0" fmla="*/ 235648 h 235648"/>
                <a:gd name="connsiteX1" fmla="*/ 51149 w 201263"/>
                <a:gd name="connsiteY1" fmla="*/ 228981 h 235648"/>
                <a:gd name="connsiteX2" fmla="*/ 23431 w 201263"/>
                <a:gd name="connsiteY2" fmla="*/ 210026 h 235648"/>
                <a:gd name="connsiteX3" fmla="*/ 6001 w 201263"/>
                <a:gd name="connsiteY3" fmla="*/ 180784 h 235648"/>
                <a:gd name="connsiteX4" fmla="*/ 0 w 201263"/>
                <a:gd name="connsiteY4" fmla="*/ 143256 h 235648"/>
                <a:gd name="connsiteX5" fmla="*/ 0 w 201263"/>
                <a:gd name="connsiteY5" fmla="*/ 0 h 235648"/>
                <a:gd name="connsiteX6" fmla="*/ 34385 w 201263"/>
                <a:gd name="connsiteY6" fmla="*/ 0 h 235648"/>
                <a:gd name="connsiteX7" fmla="*/ 34385 w 201263"/>
                <a:gd name="connsiteY7" fmla="*/ 134493 h 235648"/>
                <a:gd name="connsiteX8" fmla="*/ 50864 w 201263"/>
                <a:gd name="connsiteY8" fmla="*/ 185261 h 235648"/>
                <a:gd name="connsiteX9" fmla="*/ 98203 w 201263"/>
                <a:gd name="connsiteY9" fmla="*/ 203930 h 235648"/>
                <a:gd name="connsiteX10" fmla="*/ 125635 w 201263"/>
                <a:gd name="connsiteY10" fmla="*/ 198787 h 235648"/>
                <a:gd name="connsiteX11" fmla="*/ 147542 w 201263"/>
                <a:gd name="connsiteY11" fmla="*/ 184118 h 235648"/>
                <a:gd name="connsiteX12" fmla="*/ 162020 w 201263"/>
                <a:gd name="connsiteY12" fmla="*/ 161163 h 235648"/>
                <a:gd name="connsiteX13" fmla="*/ 167354 w 201263"/>
                <a:gd name="connsiteY13" fmla="*/ 131826 h 235648"/>
                <a:gd name="connsiteX14" fmla="*/ 167354 w 201263"/>
                <a:gd name="connsiteY14" fmla="*/ 0 h 235648"/>
                <a:gd name="connsiteX15" fmla="*/ 201263 w 201263"/>
                <a:gd name="connsiteY15" fmla="*/ 0 h 235648"/>
                <a:gd name="connsiteX16" fmla="*/ 201263 w 201263"/>
                <a:gd name="connsiteY16" fmla="*/ 230791 h 235648"/>
                <a:gd name="connsiteX17" fmla="*/ 167354 w 201263"/>
                <a:gd name="connsiteY17" fmla="*/ 230791 h 235648"/>
                <a:gd name="connsiteX18" fmla="*/ 167354 w 201263"/>
                <a:gd name="connsiteY18" fmla="*/ 190595 h 235648"/>
                <a:gd name="connsiteX19" fmla="*/ 136969 w 201263"/>
                <a:gd name="connsiteY19" fmla="*/ 222504 h 235648"/>
                <a:gd name="connsiteX20" fmla="*/ 88297 w 201263"/>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263" h="235648">
                  <a:moveTo>
                    <a:pt x="88392" y="235648"/>
                  </a:moveTo>
                  <a:cubicBezTo>
                    <a:pt x="74390" y="235648"/>
                    <a:pt x="62008" y="233363"/>
                    <a:pt x="51149" y="228981"/>
                  </a:cubicBezTo>
                  <a:cubicBezTo>
                    <a:pt x="40291" y="224504"/>
                    <a:pt x="31052" y="218218"/>
                    <a:pt x="23431"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864" y="185261"/>
                  </a:cubicBezTo>
                  <a:cubicBezTo>
                    <a:pt x="61913" y="197739"/>
                    <a:pt x="77629" y="203930"/>
                    <a:pt x="98203" y="203930"/>
                  </a:cubicBezTo>
                  <a:cubicBezTo>
                    <a:pt x="108014" y="203930"/>
                    <a:pt x="117158" y="202216"/>
                    <a:pt x="125635" y="198787"/>
                  </a:cubicBezTo>
                  <a:cubicBezTo>
                    <a:pt x="134112" y="195358"/>
                    <a:pt x="141351" y="190500"/>
                    <a:pt x="147542" y="184118"/>
                  </a:cubicBezTo>
                  <a:cubicBezTo>
                    <a:pt x="153638" y="177736"/>
                    <a:pt x="158496" y="170116"/>
                    <a:pt x="162020" y="161163"/>
                  </a:cubicBezTo>
                  <a:cubicBezTo>
                    <a:pt x="165640" y="152305"/>
                    <a:pt x="167354" y="142494"/>
                    <a:pt x="167354" y="131826"/>
                  </a:cubicBezTo>
                  <a:lnTo>
                    <a:pt x="167354" y="0"/>
                  </a:lnTo>
                  <a:lnTo>
                    <a:pt x="201263" y="0"/>
                  </a:lnTo>
                  <a:lnTo>
                    <a:pt x="201263" y="230791"/>
                  </a:lnTo>
                  <a:lnTo>
                    <a:pt x="167354" y="230791"/>
                  </a:lnTo>
                  <a:lnTo>
                    <a:pt x="167354" y="190595"/>
                  </a:lnTo>
                  <a:cubicBezTo>
                    <a:pt x="159639" y="203073"/>
                    <a:pt x="149447" y="213741"/>
                    <a:pt x="136969" y="222504"/>
                  </a:cubicBezTo>
                  <a:cubicBezTo>
                    <a:pt x="124492" y="231267"/>
                    <a:pt x="108299" y="235648"/>
                    <a:pt x="88297" y="235648"/>
                  </a:cubicBezTo>
                  <a:close/>
                </a:path>
              </a:pathLst>
            </a:custGeom>
            <a:solidFill>
              <a:srgbClr val="44505E"/>
            </a:solidFill>
            <a:ln w="9525" cap="flat">
              <a:noFill/>
              <a:prstDash val="solid"/>
              <a:miter/>
            </a:ln>
          </p:spPr>
          <p:txBody>
            <a:bodyPr rtlCol="0" anchor="ctr"/>
            <a:lstStyle/>
            <a:p>
              <a:endParaRPr lang="pt-BR" noProof="0"/>
            </a:p>
          </p:txBody>
        </p:sp>
        <p:sp>
          <p:nvSpPr>
            <p:cNvPr id="38" name="Freeform: Shape 37">
              <a:extLst>
                <a:ext uri="{FF2B5EF4-FFF2-40B4-BE49-F238E27FC236}">
                  <a16:creationId xmlns:a16="http://schemas.microsoft.com/office/drawing/2014/main" id="{D967C561-C4E4-2D51-0573-5975DC066E61}"/>
                </a:ext>
              </a:extLst>
            </p:cNvPr>
            <p:cNvSpPr/>
            <p:nvPr/>
          </p:nvSpPr>
          <p:spPr>
            <a:xfrm>
              <a:off x="5522205" y="901353"/>
              <a:ext cx="58567" cy="83182"/>
            </a:xfrm>
            <a:custGeom>
              <a:avLst/>
              <a:gdLst>
                <a:gd name="connsiteX0" fmla="*/ 110204 w 232981"/>
                <a:gd name="connsiteY0" fmla="*/ 330898 h 330898"/>
                <a:gd name="connsiteX1" fmla="*/ 69628 w 232981"/>
                <a:gd name="connsiteY1" fmla="*/ 322897 h 330898"/>
                <a:gd name="connsiteX2" fmla="*/ 34385 w 232981"/>
                <a:gd name="connsiteY2" fmla="*/ 299466 h 330898"/>
                <a:gd name="connsiteX3" fmla="*/ 9334 w 232981"/>
                <a:gd name="connsiteY3" fmla="*/ 261938 h 330898"/>
                <a:gd name="connsiteX4" fmla="*/ 0 w 232981"/>
                <a:gd name="connsiteY4" fmla="*/ 211264 h 330898"/>
                <a:gd name="connsiteX5" fmla="*/ 0 w 232981"/>
                <a:gd name="connsiteY5" fmla="*/ 210407 h 330898"/>
                <a:gd name="connsiteX6" fmla="*/ 9334 w 232981"/>
                <a:gd name="connsiteY6" fmla="*/ 159925 h 330898"/>
                <a:gd name="connsiteX7" fmla="*/ 34385 w 232981"/>
                <a:gd name="connsiteY7" fmla="*/ 122206 h 330898"/>
                <a:gd name="connsiteX8" fmla="*/ 69628 w 232981"/>
                <a:gd name="connsiteY8" fmla="*/ 98488 h 330898"/>
                <a:gd name="connsiteX9" fmla="*/ 110204 w 232981"/>
                <a:gd name="connsiteY9" fmla="*/ 90202 h 330898"/>
                <a:gd name="connsiteX10" fmla="*/ 139636 w 232981"/>
                <a:gd name="connsiteY10" fmla="*/ 94202 h 330898"/>
                <a:gd name="connsiteX11" fmla="*/ 163735 w 232981"/>
                <a:gd name="connsiteY11" fmla="*/ 104870 h 330898"/>
                <a:gd name="connsiteX12" fmla="*/ 183166 w 232981"/>
                <a:gd name="connsiteY12" fmla="*/ 120491 h 330898"/>
                <a:gd name="connsiteX13" fmla="*/ 198596 w 232981"/>
                <a:gd name="connsiteY13" fmla="*/ 139255 h 330898"/>
                <a:gd name="connsiteX14" fmla="*/ 198596 w 232981"/>
                <a:gd name="connsiteY14" fmla="*/ 0 h 330898"/>
                <a:gd name="connsiteX15" fmla="*/ 232981 w 232981"/>
                <a:gd name="connsiteY15" fmla="*/ 0 h 330898"/>
                <a:gd name="connsiteX16" fmla="*/ 232981 w 232981"/>
                <a:gd name="connsiteY16" fmla="*/ 325850 h 330898"/>
                <a:gd name="connsiteX17" fmla="*/ 198596 w 232981"/>
                <a:gd name="connsiteY17" fmla="*/ 325850 h 330898"/>
                <a:gd name="connsiteX18" fmla="*/ 198596 w 232981"/>
                <a:gd name="connsiteY18" fmla="*/ 279463 h 330898"/>
                <a:gd name="connsiteX19" fmla="*/ 182785 w 232981"/>
                <a:gd name="connsiteY19" fmla="*/ 299085 h 330898"/>
                <a:gd name="connsiteX20" fmla="*/ 163354 w 232981"/>
                <a:gd name="connsiteY20" fmla="*/ 315658 h 330898"/>
                <a:gd name="connsiteX21" fmla="*/ 139446 w 232981"/>
                <a:gd name="connsiteY21" fmla="*/ 326803 h 330898"/>
                <a:gd name="connsiteX22" fmla="*/ 110204 w 232981"/>
                <a:gd name="connsiteY22" fmla="*/ 330803 h 330898"/>
                <a:gd name="connsiteX23" fmla="*/ 116491 w 232981"/>
                <a:gd name="connsiteY23" fmla="*/ 300133 h 330898"/>
                <a:gd name="connsiteX24" fmla="*/ 147542 w 232981"/>
                <a:gd name="connsiteY24" fmla="*/ 293656 h 330898"/>
                <a:gd name="connsiteX25" fmla="*/ 174307 w 232981"/>
                <a:gd name="connsiteY25" fmla="*/ 275368 h 330898"/>
                <a:gd name="connsiteX26" fmla="*/ 193072 w 232981"/>
                <a:gd name="connsiteY26" fmla="*/ 247269 h 330898"/>
                <a:gd name="connsiteX27" fmla="*/ 200025 w 232981"/>
                <a:gd name="connsiteY27" fmla="*/ 210883 h 330898"/>
                <a:gd name="connsiteX28" fmla="*/ 200025 w 232981"/>
                <a:gd name="connsiteY28" fmla="*/ 210026 h 330898"/>
                <a:gd name="connsiteX29" fmla="*/ 193072 w 232981"/>
                <a:gd name="connsiteY29" fmla="*/ 173641 h 330898"/>
                <a:gd name="connsiteX30" fmla="*/ 174307 w 232981"/>
                <a:gd name="connsiteY30" fmla="*/ 145732 h 330898"/>
                <a:gd name="connsiteX31" fmla="*/ 147542 w 232981"/>
                <a:gd name="connsiteY31" fmla="*/ 127635 h 330898"/>
                <a:gd name="connsiteX32" fmla="*/ 116491 w 232981"/>
                <a:gd name="connsiteY32" fmla="*/ 121158 h 330898"/>
                <a:gd name="connsiteX33" fmla="*/ 84772 w 232981"/>
                <a:gd name="connsiteY33" fmla="*/ 127159 h 330898"/>
                <a:gd name="connsiteX34" fmla="*/ 59150 w 232981"/>
                <a:gd name="connsiteY34" fmla="*/ 144589 h 330898"/>
                <a:gd name="connsiteX35" fmla="*/ 41719 w 232981"/>
                <a:gd name="connsiteY35" fmla="*/ 172498 h 330898"/>
                <a:gd name="connsiteX36" fmla="*/ 35242 w 232981"/>
                <a:gd name="connsiteY36" fmla="*/ 210026 h 330898"/>
                <a:gd name="connsiteX37" fmla="*/ 35242 w 232981"/>
                <a:gd name="connsiteY37" fmla="*/ 210883 h 330898"/>
                <a:gd name="connsiteX38" fmla="*/ 41719 w 232981"/>
                <a:gd name="connsiteY38" fmla="*/ 247936 h 330898"/>
                <a:gd name="connsiteX39" fmla="*/ 59341 w 232981"/>
                <a:gd name="connsiteY39" fmla="*/ 276034 h 330898"/>
                <a:gd name="connsiteX40" fmla="*/ 85249 w 232981"/>
                <a:gd name="connsiteY40" fmla="*/ 293941 h 330898"/>
                <a:gd name="connsiteX41" fmla="*/ 116491 w 23298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30898">
                  <a:moveTo>
                    <a:pt x="110204" y="330898"/>
                  </a:moveTo>
                  <a:cubicBezTo>
                    <a:pt x="96202" y="330898"/>
                    <a:pt x="82677" y="328231"/>
                    <a:pt x="69628" y="322897"/>
                  </a:cubicBezTo>
                  <a:cubicBezTo>
                    <a:pt x="56578" y="317563"/>
                    <a:pt x="44767" y="309753"/>
                    <a:pt x="34385" y="299466"/>
                  </a:cubicBezTo>
                  <a:cubicBezTo>
                    <a:pt x="24003" y="289179"/>
                    <a:pt x="15621" y="276701"/>
                    <a:pt x="9334" y="261938"/>
                  </a:cubicBezTo>
                  <a:cubicBezTo>
                    <a:pt x="3048" y="247174"/>
                    <a:pt x="0" y="230314"/>
                    <a:pt x="0" y="211264"/>
                  </a:cubicBezTo>
                  <a:lnTo>
                    <a:pt x="0" y="210407"/>
                  </a:lnTo>
                  <a:cubicBezTo>
                    <a:pt x="0" y="191643"/>
                    <a:pt x="3143" y="174879"/>
                    <a:pt x="9334" y="159925"/>
                  </a:cubicBezTo>
                  <a:cubicBezTo>
                    <a:pt x="15621" y="145066"/>
                    <a:pt x="23908" y="132493"/>
                    <a:pt x="34385" y="122206"/>
                  </a:cubicBezTo>
                  <a:cubicBezTo>
                    <a:pt x="44767" y="111919"/>
                    <a:pt x="56578" y="104013"/>
                    <a:pt x="69628" y="98488"/>
                  </a:cubicBezTo>
                  <a:cubicBezTo>
                    <a:pt x="82677" y="92964"/>
                    <a:pt x="96298" y="90202"/>
                    <a:pt x="110204" y="90202"/>
                  </a:cubicBezTo>
                  <a:cubicBezTo>
                    <a:pt x="120967" y="90202"/>
                    <a:pt x="130778" y="91535"/>
                    <a:pt x="139636" y="94202"/>
                  </a:cubicBezTo>
                  <a:cubicBezTo>
                    <a:pt x="148590" y="96869"/>
                    <a:pt x="156591" y="100489"/>
                    <a:pt x="163735" y="104870"/>
                  </a:cubicBezTo>
                  <a:cubicBezTo>
                    <a:pt x="170878" y="109347"/>
                    <a:pt x="177356" y="114586"/>
                    <a:pt x="183166" y="120491"/>
                  </a:cubicBezTo>
                  <a:cubicBezTo>
                    <a:pt x="188976" y="126492"/>
                    <a:pt x="194119" y="132683"/>
                    <a:pt x="198596" y="139255"/>
                  </a:cubicBezTo>
                  <a:lnTo>
                    <a:pt x="198596" y="0"/>
                  </a:lnTo>
                  <a:lnTo>
                    <a:pt x="232981" y="0"/>
                  </a:lnTo>
                  <a:lnTo>
                    <a:pt x="232981" y="325850"/>
                  </a:lnTo>
                  <a:lnTo>
                    <a:pt x="198596" y="325850"/>
                  </a:lnTo>
                  <a:lnTo>
                    <a:pt x="198596" y="279463"/>
                  </a:lnTo>
                  <a:cubicBezTo>
                    <a:pt x="193834" y="286321"/>
                    <a:pt x="188595" y="292894"/>
                    <a:pt x="182785" y="299085"/>
                  </a:cubicBezTo>
                  <a:cubicBezTo>
                    <a:pt x="176974" y="305371"/>
                    <a:pt x="170498" y="310896"/>
                    <a:pt x="163354" y="315658"/>
                  </a:cubicBezTo>
                  <a:cubicBezTo>
                    <a:pt x="156210" y="320421"/>
                    <a:pt x="148209" y="324136"/>
                    <a:pt x="139446" y="326803"/>
                  </a:cubicBezTo>
                  <a:cubicBezTo>
                    <a:pt x="130683" y="329470"/>
                    <a:pt x="120967" y="330803"/>
                    <a:pt x="110204" y="330803"/>
                  </a:cubicBezTo>
                  <a:close/>
                  <a:moveTo>
                    <a:pt x="116491" y="300133"/>
                  </a:moveTo>
                  <a:cubicBezTo>
                    <a:pt x="127159" y="300133"/>
                    <a:pt x="137541" y="297942"/>
                    <a:pt x="147542" y="293656"/>
                  </a:cubicBezTo>
                  <a:cubicBezTo>
                    <a:pt x="157544" y="289369"/>
                    <a:pt x="166402" y="283273"/>
                    <a:pt x="174307" y="275368"/>
                  </a:cubicBezTo>
                  <a:cubicBezTo>
                    <a:pt x="182213" y="267462"/>
                    <a:pt x="188404" y="258127"/>
                    <a:pt x="193072" y="247269"/>
                  </a:cubicBezTo>
                  <a:cubicBezTo>
                    <a:pt x="197644" y="236410"/>
                    <a:pt x="200025" y="224314"/>
                    <a:pt x="200025" y="210883"/>
                  </a:cubicBezTo>
                  <a:lnTo>
                    <a:pt x="200025" y="210026"/>
                  </a:lnTo>
                  <a:cubicBezTo>
                    <a:pt x="200025" y="196596"/>
                    <a:pt x="197739" y="184499"/>
                    <a:pt x="193072" y="173641"/>
                  </a:cubicBezTo>
                  <a:cubicBezTo>
                    <a:pt x="188500" y="162782"/>
                    <a:pt x="182213" y="153448"/>
                    <a:pt x="174307" y="145732"/>
                  </a:cubicBezTo>
                  <a:cubicBezTo>
                    <a:pt x="166402" y="138017"/>
                    <a:pt x="157448" y="132016"/>
                    <a:pt x="147542" y="127635"/>
                  </a:cubicBezTo>
                  <a:cubicBezTo>
                    <a:pt x="137541" y="123349"/>
                    <a:pt x="127254" y="121158"/>
                    <a:pt x="116491" y="121158"/>
                  </a:cubicBezTo>
                  <a:cubicBezTo>
                    <a:pt x="105156" y="121158"/>
                    <a:pt x="94583" y="123158"/>
                    <a:pt x="84772" y="127159"/>
                  </a:cubicBezTo>
                  <a:cubicBezTo>
                    <a:pt x="74962" y="131159"/>
                    <a:pt x="66389" y="136969"/>
                    <a:pt x="59150" y="144589"/>
                  </a:cubicBezTo>
                  <a:cubicBezTo>
                    <a:pt x="51816" y="152114"/>
                    <a:pt x="46101" y="161449"/>
                    <a:pt x="41719" y="172498"/>
                  </a:cubicBezTo>
                  <a:cubicBezTo>
                    <a:pt x="37433" y="183451"/>
                    <a:pt x="35242" y="196024"/>
                    <a:pt x="35242" y="210026"/>
                  </a:cubicBezTo>
                  <a:lnTo>
                    <a:pt x="35242" y="210883"/>
                  </a:lnTo>
                  <a:cubicBezTo>
                    <a:pt x="35242" y="224599"/>
                    <a:pt x="37433" y="236982"/>
                    <a:pt x="41719" y="247936"/>
                  </a:cubicBezTo>
                  <a:cubicBezTo>
                    <a:pt x="46006" y="258984"/>
                    <a:pt x="51911" y="268319"/>
                    <a:pt x="59341" y="276034"/>
                  </a:cubicBezTo>
                  <a:cubicBezTo>
                    <a:pt x="66770" y="283750"/>
                    <a:pt x="75438" y="289750"/>
                    <a:pt x="85249" y="293941"/>
                  </a:cubicBezTo>
                  <a:cubicBezTo>
                    <a:pt x="95059" y="298132"/>
                    <a:pt x="105442" y="300228"/>
                    <a:pt x="116491" y="300228"/>
                  </a:cubicBezTo>
                  <a:close/>
                </a:path>
              </a:pathLst>
            </a:custGeom>
            <a:solidFill>
              <a:srgbClr val="44505E"/>
            </a:solidFill>
            <a:ln w="9525" cap="flat">
              <a:noFill/>
              <a:prstDash val="solid"/>
              <a:miter/>
            </a:ln>
          </p:spPr>
          <p:txBody>
            <a:bodyPr rtlCol="0" anchor="ctr"/>
            <a:lstStyle/>
            <a:p>
              <a:endParaRPr lang="pt-BR" noProof="0"/>
            </a:p>
          </p:txBody>
        </p:sp>
        <p:sp>
          <p:nvSpPr>
            <p:cNvPr id="39" name="Freeform: Shape 38">
              <a:extLst>
                <a:ext uri="{FF2B5EF4-FFF2-40B4-BE49-F238E27FC236}">
                  <a16:creationId xmlns:a16="http://schemas.microsoft.com/office/drawing/2014/main" id="{CA99E0E9-5B77-C198-ACFD-143FE49A0435}"/>
                </a:ext>
              </a:extLst>
            </p:cNvPr>
            <p:cNvSpPr/>
            <p:nvPr/>
          </p:nvSpPr>
          <p:spPr>
            <a:xfrm>
              <a:off x="5596504"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6963 w 218217"/>
                <a:gd name="connsiteY3" fmla="*/ 206026 h 241077"/>
                <a:gd name="connsiteX4" fmla="*/ 116015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8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1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452 w 218217"/>
                <a:gd name="connsiteY25" fmla="*/ 106299 h 241077"/>
                <a:gd name="connsiteX26" fmla="*/ 176784 w 218217"/>
                <a:gd name="connsiteY26" fmla="*/ 76771 h 241077"/>
                <a:gd name="connsiteX27" fmla="*/ 162306 w 218217"/>
                <a:gd name="connsiteY27" fmla="*/ 52101 h 241077"/>
                <a:gd name="connsiteX28" fmla="*/ 140018 w 218217"/>
                <a:gd name="connsiteY28" fmla="*/ 35242 h 241077"/>
                <a:gd name="connsiteX29" fmla="*/ 109919 w 218217"/>
                <a:gd name="connsiteY29" fmla="*/ 29051 h 241077"/>
                <a:gd name="connsiteX30" fmla="*/ 82201 w 218217"/>
                <a:gd name="connsiteY30" fmla="*/ 34766 h 241077"/>
                <a:gd name="connsiteX31" fmla="*/ 59436 w 218217"/>
                <a:gd name="connsiteY31" fmla="*/ 50959 h 241077"/>
                <a:gd name="connsiteX32" fmla="*/ 43148 w 218217"/>
                <a:gd name="connsiteY32" fmla="*/ 75628 h 241077"/>
                <a:gd name="connsiteX33" fmla="*/ 34862 w 218217"/>
                <a:gd name="connsiteY33" fmla="*/ 106204 h 241077"/>
                <a:gd name="connsiteX34" fmla="*/ 183547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724" y="202597"/>
                    <a:pt x="86963" y="206026"/>
                  </a:cubicBezTo>
                  <a:cubicBezTo>
                    <a:pt x="96203" y="209455"/>
                    <a:pt x="105823" y="211169"/>
                    <a:pt x="116015" y="211169"/>
                  </a:cubicBezTo>
                  <a:cubicBezTo>
                    <a:pt x="132112" y="211169"/>
                    <a:pt x="145828" y="208216"/>
                    <a:pt x="157353" y="202216"/>
                  </a:cubicBezTo>
                  <a:cubicBezTo>
                    <a:pt x="168783" y="196310"/>
                    <a:pt x="179261" y="188404"/>
                    <a:pt x="188786" y="178594"/>
                  </a:cubicBezTo>
                  <a:lnTo>
                    <a:pt x="210217" y="197834"/>
                  </a:lnTo>
                  <a:cubicBezTo>
                    <a:pt x="198596" y="210979"/>
                    <a:pt x="185357" y="221361"/>
                    <a:pt x="170498" y="229267"/>
                  </a:cubicBezTo>
                  <a:cubicBezTo>
                    <a:pt x="155639"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679" y="0"/>
                    <a:pt x="110681"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452" y="106299"/>
                  </a:moveTo>
                  <a:cubicBezTo>
                    <a:pt x="182594" y="95917"/>
                    <a:pt x="180308" y="86106"/>
                    <a:pt x="176784" y="76771"/>
                  </a:cubicBezTo>
                  <a:cubicBezTo>
                    <a:pt x="173165" y="67437"/>
                    <a:pt x="168402" y="59245"/>
                    <a:pt x="162306" y="52101"/>
                  </a:cubicBezTo>
                  <a:cubicBezTo>
                    <a:pt x="156210" y="44958"/>
                    <a:pt x="148781" y="39338"/>
                    <a:pt x="140018" y="35242"/>
                  </a:cubicBezTo>
                  <a:cubicBezTo>
                    <a:pt x="131254" y="31147"/>
                    <a:pt x="121158" y="29051"/>
                    <a:pt x="109919" y="29051"/>
                  </a:cubicBezTo>
                  <a:cubicBezTo>
                    <a:pt x="100108" y="29051"/>
                    <a:pt x="90869" y="30956"/>
                    <a:pt x="82201" y="34766"/>
                  </a:cubicBezTo>
                  <a:cubicBezTo>
                    <a:pt x="73533" y="38671"/>
                    <a:pt x="66008" y="44005"/>
                    <a:pt x="59436" y="50959"/>
                  </a:cubicBezTo>
                  <a:cubicBezTo>
                    <a:pt x="52864" y="57912"/>
                    <a:pt x="47435" y="66103"/>
                    <a:pt x="43148" y="75628"/>
                  </a:cubicBezTo>
                  <a:cubicBezTo>
                    <a:pt x="38862" y="85058"/>
                    <a:pt x="36100" y="95345"/>
                    <a:pt x="34862" y="106204"/>
                  </a:cubicBezTo>
                  <a:lnTo>
                    <a:pt x="183547" y="106204"/>
                  </a:lnTo>
                  <a:close/>
                </a:path>
              </a:pathLst>
            </a:custGeom>
            <a:solidFill>
              <a:srgbClr val="44505E"/>
            </a:solidFill>
            <a:ln w="9525" cap="flat">
              <a:noFill/>
              <a:prstDash val="solid"/>
              <a:miter/>
            </a:ln>
          </p:spPr>
          <p:txBody>
            <a:bodyPr rtlCol="0" anchor="ctr"/>
            <a:lstStyle/>
            <a:p>
              <a:endParaRPr lang="pt-BR" noProof="0"/>
            </a:p>
          </p:txBody>
        </p:sp>
        <p:sp>
          <p:nvSpPr>
            <p:cNvPr id="40" name="Freeform: Shape 39">
              <a:extLst>
                <a:ext uri="{FF2B5EF4-FFF2-40B4-BE49-F238E27FC236}">
                  <a16:creationId xmlns:a16="http://schemas.microsoft.com/office/drawing/2014/main" id="{4EBA9BDF-22B4-844E-67DD-6D305133F7E7}"/>
                </a:ext>
              </a:extLst>
            </p:cNvPr>
            <p:cNvSpPr/>
            <p:nvPr/>
          </p:nvSpPr>
          <p:spPr>
            <a:xfrm>
              <a:off x="5661680" y="924268"/>
              <a:ext cx="44656" cy="60195"/>
            </a:xfrm>
            <a:custGeom>
              <a:avLst/>
              <a:gdLst>
                <a:gd name="connsiteX0" fmla="*/ 95536 w 177641"/>
                <a:gd name="connsiteY0" fmla="*/ 239268 h 239458"/>
                <a:gd name="connsiteX1" fmla="*/ 45053 w 177641"/>
                <a:gd name="connsiteY1" fmla="*/ 230124 h 239458"/>
                <a:gd name="connsiteX2" fmla="*/ 0 w 177641"/>
                <a:gd name="connsiteY2" fmla="*/ 205359 h 239458"/>
                <a:gd name="connsiteX3" fmla="*/ 17431 w 177641"/>
                <a:gd name="connsiteY3" fmla="*/ 180785 h 239458"/>
                <a:gd name="connsiteX4" fmla="*/ 56483 w 177641"/>
                <a:gd name="connsiteY4" fmla="*/ 202692 h 239458"/>
                <a:gd name="connsiteX5" fmla="*/ 97346 w 177641"/>
                <a:gd name="connsiteY5" fmla="*/ 210217 h 239458"/>
                <a:gd name="connsiteX6" fmla="*/ 131731 w 177641"/>
                <a:gd name="connsiteY6" fmla="*/ 200406 h 239458"/>
                <a:gd name="connsiteX7" fmla="*/ 145161 w 177641"/>
                <a:gd name="connsiteY7" fmla="*/ 173641 h 239458"/>
                <a:gd name="connsiteX8" fmla="*/ 145161 w 177641"/>
                <a:gd name="connsiteY8" fmla="*/ 172784 h 239458"/>
                <a:gd name="connsiteX9" fmla="*/ 140494 w 177641"/>
                <a:gd name="connsiteY9" fmla="*/ 158020 h 239458"/>
                <a:gd name="connsiteX10" fmla="*/ 127730 w 177641"/>
                <a:gd name="connsiteY10" fmla="*/ 147066 h 239458"/>
                <a:gd name="connsiteX11" fmla="*/ 109157 w 177641"/>
                <a:gd name="connsiteY11" fmla="*/ 138779 h 239458"/>
                <a:gd name="connsiteX12" fmla="*/ 87535 w 177641"/>
                <a:gd name="connsiteY12" fmla="*/ 132112 h 239458"/>
                <a:gd name="connsiteX13" fmla="*/ 60484 w 177641"/>
                <a:gd name="connsiteY13" fmla="*/ 123444 h 239458"/>
                <a:gd name="connsiteX14" fmla="*/ 35909 w 177641"/>
                <a:gd name="connsiteY14" fmla="*/ 111633 h 239458"/>
                <a:gd name="connsiteX15" fmla="*/ 18098 w 177641"/>
                <a:gd name="connsiteY15" fmla="*/ 93726 h 239458"/>
                <a:gd name="connsiteX16" fmla="*/ 11144 w 177641"/>
                <a:gd name="connsiteY16" fmla="*/ 66961 h 239458"/>
                <a:gd name="connsiteX17" fmla="*/ 11144 w 177641"/>
                <a:gd name="connsiteY17" fmla="*/ 66008 h 239458"/>
                <a:gd name="connsiteX18" fmla="*/ 16954 w 177641"/>
                <a:gd name="connsiteY18" fmla="*/ 39053 h 239458"/>
                <a:gd name="connsiteX19" fmla="*/ 33242 w 177641"/>
                <a:gd name="connsiteY19" fmla="*/ 18098 h 239458"/>
                <a:gd name="connsiteX20" fmla="*/ 58293 w 177641"/>
                <a:gd name="connsiteY20" fmla="*/ 4667 h 239458"/>
                <a:gd name="connsiteX21" fmla="*/ 89725 w 177641"/>
                <a:gd name="connsiteY21" fmla="*/ 0 h 239458"/>
                <a:gd name="connsiteX22" fmla="*/ 133064 w 177641"/>
                <a:gd name="connsiteY22" fmla="*/ 6953 h 239458"/>
                <a:gd name="connsiteX23" fmla="*/ 172784 w 177641"/>
                <a:gd name="connsiteY23" fmla="*/ 25527 h 239458"/>
                <a:gd name="connsiteX24" fmla="*/ 157163 w 177641"/>
                <a:gd name="connsiteY24" fmla="*/ 51435 h 239458"/>
                <a:gd name="connsiteX25" fmla="*/ 123444 w 177641"/>
                <a:gd name="connsiteY25" fmla="*/ 35147 h 239458"/>
                <a:gd name="connsiteX26" fmla="*/ 88868 w 177641"/>
                <a:gd name="connsiteY26" fmla="*/ 29146 h 239458"/>
                <a:gd name="connsiteX27" fmla="*/ 56293 w 177641"/>
                <a:gd name="connsiteY27" fmla="*/ 38767 h 239458"/>
                <a:gd name="connsiteX28" fmla="*/ 44196 w 177641"/>
                <a:gd name="connsiteY28" fmla="*/ 62675 h 239458"/>
                <a:gd name="connsiteX29" fmla="*/ 44196 w 177641"/>
                <a:gd name="connsiteY29" fmla="*/ 63627 h 239458"/>
                <a:gd name="connsiteX30" fmla="*/ 49149 w 177641"/>
                <a:gd name="connsiteY30" fmla="*/ 77724 h 239458"/>
                <a:gd name="connsiteX31" fmla="*/ 62294 w 177641"/>
                <a:gd name="connsiteY31" fmla="*/ 88202 h 239458"/>
                <a:gd name="connsiteX32" fmla="*/ 81248 w 177641"/>
                <a:gd name="connsiteY32" fmla="*/ 96203 h 239458"/>
                <a:gd name="connsiteX33" fmla="*/ 103537 w 177641"/>
                <a:gd name="connsiteY33" fmla="*/ 103346 h 239458"/>
                <a:gd name="connsiteX34" fmla="*/ 130112 w 177641"/>
                <a:gd name="connsiteY34" fmla="*/ 112300 h 239458"/>
                <a:gd name="connsiteX35" fmla="*/ 154019 w 177641"/>
                <a:gd name="connsiteY35" fmla="*/ 124778 h 239458"/>
                <a:gd name="connsiteX36" fmla="*/ 171164 w 177641"/>
                <a:gd name="connsiteY36" fmla="*/ 143066 h 239458"/>
                <a:gd name="connsiteX37" fmla="*/ 177641 w 177641"/>
                <a:gd name="connsiteY37" fmla="*/ 169450 h 239458"/>
                <a:gd name="connsiteX38" fmla="*/ 177641 w 177641"/>
                <a:gd name="connsiteY38" fmla="*/ 170307 h 239458"/>
                <a:gd name="connsiteX39" fmla="*/ 171164 w 177641"/>
                <a:gd name="connsiteY39" fmla="*/ 199549 h 239458"/>
                <a:gd name="connsiteX40" fmla="*/ 153734 w 177641"/>
                <a:gd name="connsiteY40" fmla="*/ 221171 h 239458"/>
                <a:gd name="connsiteX41" fmla="*/ 127825 w 177641"/>
                <a:gd name="connsiteY41" fmla="*/ 234791 h 239458"/>
                <a:gd name="connsiteX42" fmla="*/ 95441 w 177641"/>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641" h="239458">
                  <a:moveTo>
                    <a:pt x="95536" y="239268"/>
                  </a:moveTo>
                  <a:cubicBezTo>
                    <a:pt x="78867" y="239268"/>
                    <a:pt x="62008" y="236220"/>
                    <a:pt x="45053" y="230124"/>
                  </a:cubicBezTo>
                  <a:cubicBezTo>
                    <a:pt x="28099" y="224028"/>
                    <a:pt x="13049" y="215741"/>
                    <a:pt x="0" y="205359"/>
                  </a:cubicBezTo>
                  <a:lnTo>
                    <a:pt x="17431" y="180785"/>
                  </a:lnTo>
                  <a:cubicBezTo>
                    <a:pt x="29908"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542" y="162211"/>
                    <a:pt x="140494" y="158020"/>
                  </a:cubicBezTo>
                  <a:cubicBezTo>
                    <a:pt x="137350" y="153829"/>
                    <a:pt x="133160" y="150209"/>
                    <a:pt x="127730" y="147066"/>
                  </a:cubicBezTo>
                  <a:cubicBezTo>
                    <a:pt x="122396" y="143923"/>
                    <a:pt x="116205" y="141161"/>
                    <a:pt x="109157" y="138779"/>
                  </a:cubicBezTo>
                  <a:cubicBezTo>
                    <a:pt x="102203" y="136398"/>
                    <a:pt x="94964" y="134207"/>
                    <a:pt x="87535" y="132112"/>
                  </a:cubicBezTo>
                  <a:cubicBezTo>
                    <a:pt x="78581" y="129445"/>
                    <a:pt x="69628" y="126492"/>
                    <a:pt x="60484" y="123444"/>
                  </a:cubicBezTo>
                  <a:cubicBezTo>
                    <a:pt x="51435" y="120301"/>
                    <a:pt x="43244" y="116396"/>
                    <a:pt x="35909" y="111633"/>
                  </a:cubicBezTo>
                  <a:cubicBezTo>
                    <a:pt x="28575" y="106871"/>
                    <a:pt x="22670" y="100870"/>
                    <a:pt x="18098" y="93726"/>
                  </a:cubicBezTo>
                  <a:cubicBezTo>
                    <a:pt x="13525" y="86582"/>
                    <a:pt x="11144" y="77629"/>
                    <a:pt x="11144" y="66961"/>
                  </a:cubicBezTo>
                  <a:lnTo>
                    <a:pt x="11144" y="66008"/>
                  </a:lnTo>
                  <a:cubicBezTo>
                    <a:pt x="11144" y="56198"/>
                    <a:pt x="13049" y="47149"/>
                    <a:pt x="16954" y="39053"/>
                  </a:cubicBezTo>
                  <a:cubicBezTo>
                    <a:pt x="20860" y="30861"/>
                    <a:pt x="26289" y="23908"/>
                    <a:pt x="33242" y="18098"/>
                  </a:cubicBezTo>
                  <a:cubicBezTo>
                    <a:pt x="40196" y="12287"/>
                    <a:pt x="48578" y="7811"/>
                    <a:pt x="58293" y="4667"/>
                  </a:cubicBezTo>
                  <a:cubicBezTo>
                    <a:pt x="67913" y="1524"/>
                    <a:pt x="78486" y="0"/>
                    <a:pt x="89725" y="0"/>
                  </a:cubicBezTo>
                  <a:cubicBezTo>
                    <a:pt x="104013" y="0"/>
                    <a:pt x="118396" y="2286"/>
                    <a:pt x="133064" y="6953"/>
                  </a:cubicBezTo>
                  <a:cubicBezTo>
                    <a:pt x="147638" y="11621"/>
                    <a:pt x="160877" y="17717"/>
                    <a:pt x="172784" y="25527"/>
                  </a:cubicBezTo>
                  <a:lnTo>
                    <a:pt x="157163" y="51435"/>
                  </a:lnTo>
                  <a:cubicBezTo>
                    <a:pt x="146399" y="44577"/>
                    <a:pt x="135255" y="39148"/>
                    <a:pt x="123444" y="35147"/>
                  </a:cubicBezTo>
                  <a:cubicBezTo>
                    <a:pt x="111728" y="31147"/>
                    <a:pt x="100203" y="29146"/>
                    <a:pt x="88868" y="29146"/>
                  </a:cubicBezTo>
                  <a:cubicBezTo>
                    <a:pt x="75152" y="29146"/>
                    <a:pt x="64294" y="32385"/>
                    <a:pt x="56293" y="38767"/>
                  </a:cubicBezTo>
                  <a:cubicBezTo>
                    <a:pt x="48292" y="45149"/>
                    <a:pt x="44196" y="53150"/>
                    <a:pt x="44196" y="62675"/>
                  </a:cubicBezTo>
                  <a:lnTo>
                    <a:pt x="44196" y="63627"/>
                  </a:lnTo>
                  <a:cubicBezTo>
                    <a:pt x="44196" y="68961"/>
                    <a:pt x="45815" y="73628"/>
                    <a:pt x="49149" y="77724"/>
                  </a:cubicBezTo>
                  <a:cubicBezTo>
                    <a:pt x="52388" y="81725"/>
                    <a:pt x="56769" y="85249"/>
                    <a:pt x="62294" y="88202"/>
                  </a:cubicBezTo>
                  <a:cubicBezTo>
                    <a:pt x="67818" y="91154"/>
                    <a:pt x="74104" y="93821"/>
                    <a:pt x="81248" y="96203"/>
                  </a:cubicBezTo>
                  <a:cubicBezTo>
                    <a:pt x="88392" y="98584"/>
                    <a:pt x="95821" y="100965"/>
                    <a:pt x="103537" y="103346"/>
                  </a:cubicBezTo>
                  <a:cubicBezTo>
                    <a:pt x="112490" y="106013"/>
                    <a:pt x="121349" y="108966"/>
                    <a:pt x="130112" y="112300"/>
                  </a:cubicBezTo>
                  <a:cubicBezTo>
                    <a:pt x="138875" y="115538"/>
                    <a:pt x="146875" y="119729"/>
                    <a:pt x="154019" y="124778"/>
                  </a:cubicBezTo>
                  <a:cubicBezTo>
                    <a:pt x="161163" y="129826"/>
                    <a:pt x="166878" y="135922"/>
                    <a:pt x="171164" y="143066"/>
                  </a:cubicBezTo>
                  <a:cubicBezTo>
                    <a:pt x="175450" y="150209"/>
                    <a:pt x="177641" y="158972"/>
                    <a:pt x="177641" y="169450"/>
                  </a:cubicBezTo>
                  <a:lnTo>
                    <a:pt x="177641" y="170307"/>
                  </a:lnTo>
                  <a:cubicBezTo>
                    <a:pt x="177641" y="181356"/>
                    <a:pt x="175450" y="191071"/>
                    <a:pt x="171164" y="199549"/>
                  </a:cubicBezTo>
                  <a:cubicBezTo>
                    <a:pt x="166878" y="208026"/>
                    <a:pt x="161068" y="215265"/>
                    <a:pt x="153734" y="221171"/>
                  </a:cubicBezTo>
                  <a:cubicBezTo>
                    <a:pt x="146495" y="227171"/>
                    <a:pt x="137827" y="231648"/>
                    <a:pt x="127825" y="234791"/>
                  </a:cubicBezTo>
                  <a:cubicBezTo>
                    <a:pt x="117824" y="237935"/>
                    <a:pt x="107061" y="239459"/>
                    <a:pt x="95441" y="239459"/>
                  </a:cubicBezTo>
                  <a:close/>
                </a:path>
              </a:pathLst>
            </a:custGeom>
            <a:solidFill>
              <a:srgbClr val="44505E"/>
            </a:solidFill>
            <a:ln w="9525" cap="flat">
              <a:noFill/>
              <a:prstDash val="solid"/>
              <a:miter/>
            </a:ln>
          </p:spPr>
          <p:txBody>
            <a:bodyPr rtlCol="0" anchor="ctr"/>
            <a:lstStyle/>
            <a:p>
              <a:endParaRPr lang="pt-BR" noProof="0"/>
            </a:p>
          </p:txBody>
        </p:sp>
        <p:sp>
          <p:nvSpPr>
            <p:cNvPr id="41" name="Freeform: Shape 40">
              <a:extLst>
                <a:ext uri="{FF2B5EF4-FFF2-40B4-BE49-F238E27FC236}">
                  <a16:creationId xmlns:a16="http://schemas.microsoft.com/office/drawing/2014/main" id="{0CAB84DA-A398-6FDA-2E63-64F31BF479C0}"/>
                </a:ext>
              </a:extLst>
            </p:cNvPr>
            <p:cNvSpPr/>
            <p:nvPr/>
          </p:nvSpPr>
          <p:spPr>
            <a:xfrm>
              <a:off x="5752668" y="924028"/>
              <a:ext cx="58567" cy="77196"/>
            </a:xfrm>
            <a:custGeom>
              <a:avLst/>
              <a:gdLst>
                <a:gd name="connsiteX0" fmla="*/ 198596 w 232981"/>
                <a:gd name="connsiteY0" fmla="*/ 189357 h 307085"/>
                <a:gd name="connsiteX1" fmla="*/ 182785 w 232981"/>
                <a:gd name="connsiteY1" fmla="*/ 208978 h 307085"/>
                <a:gd name="connsiteX2" fmla="*/ 163354 w 232981"/>
                <a:gd name="connsiteY2" fmla="*/ 225552 h 307085"/>
                <a:gd name="connsiteX3" fmla="*/ 139446 w 232981"/>
                <a:gd name="connsiteY3" fmla="*/ 236696 h 307085"/>
                <a:gd name="connsiteX4" fmla="*/ 110204 w 232981"/>
                <a:gd name="connsiteY4" fmla="*/ 240697 h 307085"/>
                <a:gd name="connsiteX5" fmla="*/ 69628 w 232981"/>
                <a:gd name="connsiteY5" fmla="*/ 232696 h 307085"/>
                <a:gd name="connsiteX6" fmla="*/ 34385 w 232981"/>
                <a:gd name="connsiteY6" fmla="*/ 209264 h 307085"/>
                <a:gd name="connsiteX7" fmla="*/ 9335 w 232981"/>
                <a:gd name="connsiteY7" fmla="*/ 171736 h 307085"/>
                <a:gd name="connsiteX8" fmla="*/ 0 w 232981"/>
                <a:gd name="connsiteY8" fmla="*/ 121063 h 307085"/>
                <a:gd name="connsiteX9" fmla="*/ 0 w 232981"/>
                <a:gd name="connsiteY9" fmla="*/ 120205 h 307085"/>
                <a:gd name="connsiteX10" fmla="*/ 9335 w 232981"/>
                <a:gd name="connsiteY10" fmla="*/ 69723 h 307085"/>
                <a:gd name="connsiteX11" fmla="*/ 34385 w 232981"/>
                <a:gd name="connsiteY11" fmla="*/ 32004 h 307085"/>
                <a:gd name="connsiteX12" fmla="*/ 69628 w 232981"/>
                <a:gd name="connsiteY12" fmla="*/ 8287 h 307085"/>
                <a:gd name="connsiteX13" fmla="*/ 110204 w 232981"/>
                <a:gd name="connsiteY13" fmla="*/ 0 h 307085"/>
                <a:gd name="connsiteX14" fmla="*/ 139637 w 232981"/>
                <a:gd name="connsiteY14" fmla="*/ 4000 h 307085"/>
                <a:gd name="connsiteX15" fmla="*/ 163735 w 232981"/>
                <a:gd name="connsiteY15" fmla="*/ 14668 h 307085"/>
                <a:gd name="connsiteX16" fmla="*/ 183166 w 232981"/>
                <a:gd name="connsiteY16" fmla="*/ 30289 h 307085"/>
                <a:gd name="connsiteX17" fmla="*/ 198596 w 232981"/>
                <a:gd name="connsiteY17" fmla="*/ 49054 h 307085"/>
                <a:gd name="connsiteX18" fmla="*/ 198596 w 232981"/>
                <a:gd name="connsiteY18" fmla="*/ 4858 h 307085"/>
                <a:gd name="connsiteX19" fmla="*/ 232982 w 232981"/>
                <a:gd name="connsiteY19" fmla="*/ 4858 h 307085"/>
                <a:gd name="connsiteX20" fmla="*/ 232982 w 232981"/>
                <a:gd name="connsiteY20" fmla="*/ 307086 h 307085"/>
                <a:gd name="connsiteX21" fmla="*/ 198596 w 232981"/>
                <a:gd name="connsiteY21" fmla="*/ 307086 h 307085"/>
                <a:gd name="connsiteX22" fmla="*/ 198596 w 232981"/>
                <a:gd name="connsiteY22" fmla="*/ 189262 h 307085"/>
                <a:gd name="connsiteX23" fmla="*/ 116491 w 232981"/>
                <a:gd name="connsiteY23" fmla="*/ 209931 h 307085"/>
                <a:gd name="connsiteX24" fmla="*/ 147542 w 232981"/>
                <a:gd name="connsiteY24" fmla="*/ 203454 h 307085"/>
                <a:gd name="connsiteX25" fmla="*/ 174308 w 232981"/>
                <a:gd name="connsiteY25" fmla="*/ 185166 h 307085"/>
                <a:gd name="connsiteX26" fmla="*/ 193072 w 232981"/>
                <a:gd name="connsiteY26" fmla="*/ 157067 h 307085"/>
                <a:gd name="connsiteX27" fmla="*/ 200025 w 232981"/>
                <a:gd name="connsiteY27" fmla="*/ 120682 h 307085"/>
                <a:gd name="connsiteX28" fmla="*/ 200025 w 232981"/>
                <a:gd name="connsiteY28" fmla="*/ 119824 h 307085"/>
                <a:gd name="connsiteX29" fmla="*/ 193072 w 232981"/>
                <a:gd name="connsiteY29" fmla="*/ 83439 h 307085"/>
                <a:gd name="connsiteX30" fmla="*/ 174308 w 232981"/>
                <a:gd name="connsiteY30" fmla="*/ 55531 h 307085"/>
                <a:gd name="connsiteX31" fmla="*/ 147542 w 232981"/>
                <a:gd name="connsiteY31" fmla="*/ 37433 h 307085"/>
                <a:gd name="connsiteX32" fmla="*/ 116491 w 232981"/>
                <a:gd name="connsiteY32" fmla="*/ 30956 h 307085"/>
                <a:gd name="connsiteX33" fmla="*/ 84773 w 232981"/>
                <a:gd name="connsiteY33" fmla="*/ 36957 h 307085"/>
                <a:gd name="connsiteX34" fmla="*/ 59150 w 232981"/>
                <a:gd name="connsiteY34" fmla="*/ 54388 h 307085"/>
                <a:gd name="connsiteX35" fmla="*/ 41720 w 232981"/>
                <a:gd name="connsiteY35" fmla="*/ 82296 h 307085"/>
                <a:gd name="connsiteX36" fmla="*/ 35242 w 232981"/>
                <a:gd name="connsiteY36" fmla="*/ 119824 h 307085"/>
                <a:gd name="connsiteX37" fmla="*/ 35242 w 232981"/>
                <a:gd name="connsiteY37" fmla="*/ 120682 h 307085"/>
                <a:gd name="connsiteX38" fmla="*/ 41720 w 232981"/>
                <a:gd name="connsiteY38" fmla="*/ 157734 h 307085"/>
                <a:gd name="connsiteX39" fmla="*/ 59341 w 232981"/>
                <a:gd name="connsiteY39" fmla="*/ 185833 h 307085"/>
                <a:gd name="connsiteX40" fmla="*/ 85249 w 232981"/>
                <a:gd name="connsiteY40" fmla="*/ 203740 h 307085"/>
                <a:gd name="connsiteX41" fmla="*/ 116491 w 232981"/>
                <a:gd name="connsiteY41" fmla="*/ 210026 h 30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07085">
                  <a:moveTo>
                    <a:pt x="198596" y="189357"/>
                  </a:moveTo>
                  <a:cubicBezTo>
                    <a:pt x="193834" y="196215"/>
                    <a:pt x="188595" y="202787"/>
                    <a:pt x="182785" y="208978"/>
                  </a:cubicBezTo>
                  <a:cubicBezTo>
                    <a:pt x="176975" y="215265"/>
                    <a:pt x="170498" y="220789"/>
                    <a:pt x="163354" y="225552"/>
                  </a:cubicBezTo>
                  <a:cubicBezTo>
                    <a:pt x="156210" y="230314"/>
                    <a:pt x="148209" y="234029"/>
                    <a:pt x="139446" y="236696"/>
                  </a:cubicBezTo>
                  <a:cubicBezTo>
                    <a:pt x="130683" y="239363"/>
                    <a:pt x="120967" y="240697"/>
                    <a:pt x="110204" y="240697"/>
                  </a:cubicBezTo>
                  <a:cubicBezTo>
                    <a:pt x="96203" y="240697"/>
                    <a:pt x="82677" y="238030"/>
                    <a:pt x="69628" y="232696"/>
                  </a:cubicBezTo>
                  <a:cubicBezTo>
                    <a:pt x="56579" y="227362"/>
                    <a:pt x="44767" y="219551"/>
                    <a:pt x="34385" y="209264"/>
                  </a:cubicBezTo>
                  <a:cubicBezTo>
                    <a:pt x="24003" y="198977"/>
                    <a:pt x="15621" y="186499"/>
                    <a:pt x="9335" y="171736"/>
                  </a:cubicBezTo>
                  <a:cubicBezTo>
                    <a:pt x="3048" y="156972"/>
                    <a:pt x="0" y="140113"/>
                    <a:pt x="0" y="121063"/>
                  </a:cubicBezTo>
                  <a:lnTo>
                    <a:pt x="0" y="120205"/>
                  </a:lnTo>
                  <a:cubicBezTo>
                    <a:pt x="0" y="101441"/>
                    <a:pt x="3143" y="84677"/>
                    <a:pt x="9335" y="69723"/>
                  </a:cubicBezTo>
                  <a:cubicBezTo>
                    <a:pt x="15621" y="54864"/>
                    <a:pt x="23908" y="42291"/>
                    <a:pt x="34385" y="32004"/>
                  </a:cubicBezTo>
                  <a:cubicBezTo>
                    <a:pt x="44767" y="21717"/>
                    <a:pt x="56579" y="13811"/>
                    <a:pt x="69628" y="8287"/>
                  </a:cubicBezTo>
                  <a:cubicBezTo>
                    <a:pt x="82677" y="2762"/>
                    <a:pt x="96298" y="0"/>
                    <a:pt x="110204" y="0"/>
                  </a:cubicBezTo>
                  <a:cubicBezTo>
                    <a:pt x="120967" y="0"/>
                    <a:pt x="130778" y="1333"/>
                    <a:pt x="139637" y="4000"/>
                  </a:cubicBezTo>
                  <a:cubicBezTo>
                    <a:pt x="148590" y="6667"/>
                    <a:pt x="156591" y="10287"/>
                    <a:pt x="163735" y="14668"/>
                  </a:cubicBezTo>
                  <a:cubicBezTo>
                    <a:pt x="170879" y="19145"/>
                    <a:pt x="177356" y="24384"/>
                    <a:pt x="183166" y="30289"/>
                  </a:cubicBezTo>
                  <a:cubicBezTo>
                    <a:pt x="188976" y="36290"/>
                    <a:pt x="194120" y="42481"/>
                    <a:pt x="198596" y="49054"/>
                  </a:cubicBezTo>
                  <a:lnTo>
                    <a:pt x="198596" y="4858"/>
                  </a:lnTo>
                  <a:lnTo>
                    <a:pt x="232982" y="4858"/>
                  </a:lnTo>
                  <a:lnTo>
                    <a:pt x="232982" y="307086"/>
                  </a:lnTo>
                  <a:lnTo>
                    <a:pt x="198596" y="307086"/>
                  </a:lnTo>
                  <a:lnTo>
                    <a:pt x="198596" y="189262"/>
                  </a:lnTo>
                  <a:close/>
                  <a:moveTo>
                    <a:pt x="116491" y="209931"/>
                  </a:moveTo>
                  <a:cubicBezTo>
                    <a:pt x="127159" y="209931"/>
                    <a:pt x="137541" y="207740"/>
                    <a:pt x="147542" y="203454"/>
                  </a:cubicBezTo>
                  <a:cubicBezTo>
                    <a:pt x="157544" y="199168"/>
                    <a:pt x="166402" y="193072"/>
                    <a:pt x="174308" y="185166"/>
                  </a:cubicBezTo>
                  <a:cubicBezTo>
                    <a:pt x="182213" y="177260"/>
                    <a:pt x="188404" y="167926"/>
                    <a:pt x="193072" y="157067"/>
                  </a:cubicBezTo>
                  <a:cubicBezTo>
                    <a:pt x="197739" y="146209"/>
                    <a:pt x="200025" y="134112"/>
                    <a:pt x="200025" y="120682"/>
                  </a:cubicBezTo>
                  <a:lnTo>
                    <a:pt x="200025" y="119824"/>
                  </a:lnTo>
                  <a:cubicBezTo>
                    <a:pt x="200025" y="106394"/>
                    <a:pt x="197739" y="94297"/>
                    <a:pt x="193072" y="83439"/>
                  </a:cubicBezTo>
                  <a:cubicBezTo>
                    <a:pt x="188500" y="72580"/>
                    <a:pt x="182213" y="63246"/>
                    <a:pt x="174308" y="55531"/>
                  </a:cubicBezTo>
                  <a:cubicBezTo>
                    <a:pt x="166402" y="47815"/>
                    <a:pt x="157544" y="41815"/>
                    <a:pt x="147542" y="37433"/>
                  </a:cubicBezTo>
                  <a:cubicBezTo>
                    <a:pt x="137541" y="33147"/>
                    <a:pt x="127254" y="30956"/>
                    <a:pt x="116491" y="30956"/>
                  </a:cubicBezTo>
                  <a:cubicBezTo>
                    <a:pt x="105156" y="30956"/>
                    <a:pt x="94583" y="32956"/>
                    <a:pt x="84773" y="36957"/>
                  </a:cubicBezTo>
                  <a:cubicBezTo>
                    <a:pt x="74962" y="40957"/>
                    <a:pt x="66389" y="46767"/>
                    <a:pt x="59150" y="54388"/>
                  </a:cubicBezTo>
                  <a:cubicBezTo>
                    <a:pt x="51816" y="61913"/>
                    <a:pt x="46101" y="71247"/>
                    <a:pt x="41720" y="82296"/>
                  </a:cubicBezTo>
                  <a:cubicBezTo>
                    <a:pt x="37433" y="93250"/>
                    <a:pt x="35242" y="105823"/>
                    <a:pt x="35242" y="119824"/>
                  </a:cubicBezTo>
                  <a:lnTo>
                    <a:pt x="35242" y="120682"/>
                  </a:lnTo>
                  <a:cubicBezTo>
                    <a:pt x="35242" y="134398"/>
                    <a:pt x="37433" y="146780"/>
                    <a:pt x="41720" y="157734"/>
                  </a:cubicBezTo>
                  <a:cubicBezTo>
                    <a:pt x="46006" y="168783"/>
                    <a:pt x="51911" y="178117"/>
                    <a:pt x="59341" y="185833"/>
                  </a:cubicBezTo>
                  <a:cubicBezTo>
                    <a:pt x="66770" y="193548"/>
                    <a:pt x="75438" y="199549"/>
                    <a:pt x="85249" y="203740"/>
                  </a:cubicBezTo>
                  <a:cubicBezTo>
                    <a:pt x="95060" y="207931"/>
                    <a:pt x="105442" y="210026"/>
                    <a:pt x="116491" y="210026"/>
                  </a:cubicBezTo>
                  <a:close/>
                </a:path>
              </a:pathLst>
            </a:custGeom>
            <a:solidFill>
              <a:srgbClr val="44505E"/>
            </a:solidFill>
            <a:ln w="9525" cap="flat">
              <a:noFill/>
              <a:prstDash val="solid"/>
              <a:miter/>
            </a:ln>
          </p:spPr>
          <p:txBody>
            <a:bodyPr rtlCol="0" anchor="ctr"/>
            <a:lstStyle/>
            <a:p>
              <a:endParaRPr lang="pt-BR" noProof="0"/>
            </a:p>
          </p:txBody>
        </p:sp>
        <p:sp>
          <p:nvSpPr>
            <p:cNvPr id="42" name="Freeform: Shape 41">
              <a:extLst>
                <a:ext uri="{FF2B5EF4-FFF2-40B4-BE49-F238E27FC236}">
                  <a16:creationId xmlns:a16="http://schemas.microsoft.com/office/drawing/2014/main" id="{3D01E32C-B4EE-F485-891D-1E2F09AF239B}"/>
                </a:ext>
              </a:extLst>
            </p:cNvPr>
            <p:cNvSpPr/>
            <p:nvPr/>
          </p:nvSpPr>
          <p:spPr>
            <a:xfrm>
              <a:off x="5829624" y="925297"/>
              <a:ext cx="50618" cy="59238"/>
            </a:xfrm>
            <a:custGeom>
              <a:avLst/>
              <a:gdLst>
                <a:gd name="connsiteX0" fmla="*/ 88392 w 201358"/>
                <a:gd name="connsiteY0" fmla="*/ 235648 h 235648"/>
                <a:gd name="connsiteX1" fmla="*/ 51149 w 201358"/>
                <a:gd name="connsiteY1" fmla="*/ 228981 h 235648"/>
                <a:gd name="connsiteX2" fmla="*/ 23432 w 201358"/>
                <a:gd name="connsiteY2" fmla="*/ 210026 h 235648"/>
                <a:gd name="connsiteX3" fmla="*/ 6001 w 201358"/>
                <a:gd name="connsiteY3" fmla="*/ 180784 h 235648"/>
                <a:gd name="connsiteX4" fmla="*/ 0 w 201358"/>
                <a:gd name="connsiteY4" fmla="*/ 143256 h 235648"/>
                <a:gd name="connsiteX5" fmla="*/ 0 w 201358"/>
                <a:gd name="connsiteY5" fmla="*/ 0 h 235648"/>
                <a:gd name="connsiteX6" fmla="*/ 34385 w 201358"/>
                <a:gd name="connsiteY6" fmla="*/ 0 h 235648"/>
                <a:gd name="connsiteX7" fmla="*/ 34385 w 201358"/>
                <a:gd name="connsiteY7" fmla="*/ 134493 h 235648"/>
                <a:gd name="connsiteX8" fmla="*/ 50959 w 201358"/>
                <a:gd name="connsiteY8" fmla="*/ 185261 h 235648"/>
                <a:gd name="connsiteX9" fmla="*/ 98298 w 201358"/>
                <a:gd name="connsiteY9" fmla="*/ 203930 h 235648"/>
                <a:gd name="connsiteX10" fmla="*/ 125730 w 201358"/>
                <a:gd name="connsiteY10" fmla="*/ 198787 h 235648"/>
                <a:gd name="connsiteX11" fmla="*/ 147638 w 201358"/>
                <a:gd name="connsiteY11" fmla="*/ 184118 h 235648"/>
                <a:gd name="connsiteX12" fmla="*/ 162116 w 201358"/>
                <a:gd name="connsiteY12" fmla="*/ 161163 h 235648"/>
                <a:gd name="connsiteX13" fmla="*/ 167450 w 201358"/>
                <a:gd name="connsiteY13" fmla="*/ 131826 h 235648"/>
                <a:gd name="connsiteX14" fmla="*/ 167450 w 201358"/>
                <a:gd name="connsiteY14" fmla="*/ 0 h 235648"/>
                <a:gd name="connsiteX15" fmla="*/ 201359 w 201358"/>
                <a:gd name="connsiteY15" fmla="*/ 0 h 235648"/>
                <a:gd name="connsiteX16" fmla="*/ 201359 w 201358"/>
                <a:gd name="connsiteY16" fmla="*/ 230791 h 235648"/>
                <a:gd name="connsiteX17" fmla="*/ 167450 w 201358"/>
                <a:gd name="connsiteY17" fmla="*/ 230791 h 235648"/>
                <a:gd name="connsiteX18" fmla="*/ 167450 w 201358"/>
                <a:gd name="connsiteY18" fmla="*/ 190595 h 235648"/>
                <a:gd name="connsiteX19" fmla="*/ 137065 w 201358"/>
                <a:gd name="connsiteY19" fmla="*/ 222504 h 235648"/>
                <a:gd name="connsiteX20" fmla="*/ 88392 w 201358"/>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358" h="235648">
                  <a:moveTo>
                    <a:pt x="88392" y="235648"/>
                  </a:moveTo>
                  <a:cubicBezTo>
                    <a:pt x="74390" y="235648"/>
                    <a:pt x="62008" y="233363"/>
                    <a:pt x="51149" y="228981"/>
                  </a:cubicBezTo>
                  <a:cubicBezTo>
                    <a:pt x="40291" y="224504"/>
                    <a:pt x="31052" y="218218"/>
                    <a:pt x="23432"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959" y="185261"/>
                  </a:cubicBezTo>
                  <a:cubicBezTo>
                    <a:pt x="61913" y="197739"/>
                    <a:pt x="77724" y="203930"/>
                    <a:pt x="98298" y="203930"/>
                  </a:cubicBezTo>
                  <a:cubicBezTo>
                    <a:pt x="108109" y="203930"/>
                    <a:pt x="117253" y="202216"/>
                    <a:pt x="125730" y="198787"/>
                  </a:cubicBezTo>
                  <a:cubicBezTo>
                    <a:pt x="134207" y="195358"/>
                    <a:pt x="141446" y="190500"/>
                    <a:pt x="147638" y="184118"/>
                  </a:cubicBezTo>
                  <a:cubicBezTo>
                    <a:pt x="153734" y="177736"/>
                    <a:pt x="158591" y="170116"/>
                    <a:pt x="162116" y="161163"/>
                  </a:cubicBezTo>
                  <a:cubicBezTo>
                    <a:pt x="165735" y="152305"/>
                    <a:pt x="167450" y="142494"/>
                    <a:pt x="167450" y="131826"/>
                  </a:cubicBezTo>
                  <a:lnTo>
                    <a:pt x="167450" y="0"/>
                  </a:lnTo>
                  <a:lnTo>
                    <a:pt x="201359" y="0"/>
                  </a:lnTo>
                  <a:lnTo>
                    <a:pt x="201359" y="230791"/>
                  </a:lnTo>
                  <a:lnTo>
                    <a:pt x="167450" y="230791"/>
                  </a:lnTo>
                  <a:lnTo>
                    <a:pt x="167450" y="190595"/>
                  </a:lnTo>
                  <a:cubicBezTo>
                    <a:pt x="159734" y="203073"/>
                    <a:pt x="149543" y="213741"/>
                    <a:pt x="137065" y="222504"/>
                  </a:cubicBezTo>
                  <a:cubicBezTo>
                    <a:pt x="124587" y="231267"/>
                    <a:pt x="108395" y="235648"/>
                    <a:pt x="88392" y="235648"/>
                  </a:cubicBezTo>
                  <a:close/>
                </a:path>
              </a:pathLst>
            </a:custGeom>
            <a:solidFill>
              <a:srgbClr val="44505E"/>
            </a:solidFill>
            <a:ln w="9525" cap="flat">
              <a:noFill/>
              <a:prstDash val="solid"/>
              <a:miter/>
            </a:ln>
          </p:spPr>
          <p:txBody>
            <a:bodyPr rtlCol="0" anchor="ctr"/>
            <a:lstStyle/>
            <a:p>
              <a:endParaRPr lang="pt-BR" noProof="0"/>
            </a:p>
          </p:txBody>
        </p:sp>
        <p:sp>
          <p:nvSpPr>
            <p:cNvPr id="43" name="Freeform: Shape 42">
              <a:extLst>
                <a:ext uri="{FF2B5EF4-FFF2-40B4-BE49-F238E27FC236}">
                  <a16:creationId xmlns:a16="http://schemas.microsoft.com/office/drawing/2014/main" id="{3A545A1E-3F6C-0BB0-0CB4-EA0B6F888267}"/>
                </a:ext>
              </a:extLst>
            </p:cNvPr>
            <p:cNvSpPr/>
            <p:nvPr/>
          </p:nvSpPr>
          <p:spPr>
            <a:xfrm>
              <a:off x="5896069"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7059 w 218217"/>
                <a:gd name="connsiteY3" fmla="*/ 206026 h 241077"/>
                <a:gd name="connsiteX4" fmla="*/ 116110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7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0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356 w 218217"/>
                <a:gd name="connsiteY25" fmla="*/ 106299 h 241077"/>
                <a:gd name="connsiteX26" fmla="*/ 176689 w 218217"/>
                <a:gd name="connsiteY26" fmla="*/ 76771 h 241077"/>
                <a:gd name="connsiteX27" fmla="*/ 162211 w 218217"/>
                <a:gd name="connsiteY27" fmla="*/ 52101 h 241077"/>
                <a:gd name="connsiteX28" fmla="*/ 139922 w 218217"/>
                <a:gd name="connsiteY28" fmla="*/ 35242 h 241077"/>
                <a:gd name="connsiteX29" fmla="*/ 109823 w 218217"/>
                <a:gd name="connsiteY29" fmla="*/ 29051 h 241077"/>
                <a:gd name="connsiteX30" fmla="*/ 82105 w 218217"/>
                <a:gd name="connsiteY30" fmla="*/ 34766 h 241077"/>
                <a:gd name="connsiteX31" fmla="*/ 59341 w 218217"/>
                <a:gd name="connsiteY31" fmla="*/ 50959 h 241077"/>
                <a:gd name="connsiteX32" fmla="*/ 43053 w 218217"/>
                <a:gd name="connsiteY32" fmla="*/ 75628 h 241077"/>
                <a:gd name="connsiteX33" fmla="*/ 34766 w 218217"/>
                <a:gd name="connsiteY33" fmla="*/ 106204 h 241077"/>
                <a:gd name="connsiteX34" fmla="*/ 183356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819" y="202597"/>
                    <a:pt x="87059" y="206026"/>
                  </a:cubicBezTo>
                  <a:cubicBezTo>
                    <a:pt x="96298" y="209455"/>
                    <a:pt x="105918" y="211169"/>
                    <a:pt x="116110" y="211169"/>
                  </a:cubicBezTo>
                  <a:cubicBezTo>
                    <a:pt x="132207" y="211169"/>
                    <a:pt x="145923" y="208216"/>
                    <a:pt x="157353" y="202216"/>
                  </a:cubicBezTo>
                  <a:cubicBezTo>
                    <a:pt x="168783" y="196310"/>
                    <a:pt x="179261" y="188404"/>
                    <a:pt x="188786" y="178594"/>
                  </a:cubicBezTo>
                  <a:lnTo>
                    <a:pt x="210217" y="197834"/>
                  </a:lnTo>
                  <a:cubicBezTo>
                    <a:pt x="198596" y="210979"/>
                    <a:pt x="185356" y="221361"/>
                    <a:pt x="170497" y="229267"/>
                  </a:cubicBezTo>
                  <a:cubicBezTo>
                    <a:pt x="155638"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583" y="0"/>
                    <a:pt x="110680"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356" y="106299"/>
                  </a:moveTo>
                  <a:cubicBezTo>
                    <a:pt x="182499" y="95917"/>
                    <a:pt x="180213" y="86106"/>
                    <a:pt x="176689" y="76771"/>
                  </a:cubicBezTo>
                  <a:cubicBezTo>
                    <a:pt x="173069" y="67437"/>
                    <a:pt x="168307" y="59245"/>
                    <a:pt x="162211" y="52101"/>
                  </a:cubicBezTo>
                  <a:cubicBezTo>
                    <a:pt x="156115" y="44958"/>
                    <a:pt x="148685" y="39338"/>
                    <a:pt x="139922" y="35242"/>
                  </a:cubicBezTo>
                  <a:cubicBezTo>
                    <a:pt x="131159" y="31147"/>
                    <a:pt x="121063" y="29051"/>
                    <a:pt x="109823" y="29051"/>
                  </a:cubicBezTo>
                  <a:cubicBezTo>
                    <a:pt x="100013" y="29051"/>
                    <a:pt x="90773" y="30956"/>
                    <a:pt x="82105" y="34766"/>
                  </a:cubicBezTo>
                  <a:cubicBezTo>
                    <a:pt x="73438" y="38671"/>
                    <a:pt x="65913" y="44005"/>
                    <a:pt x="59341" y="50959"/>
                  </a:cubicBezTo>
                  <a:cubicBezTo>
                    <a:pt x="52769" y="57912"/>
                    <a:pt x="47339" y="66103"/>
                    <a:pt x="43053" y="75628"/>
                  </a:cubicBezTo>
                  <a:cubicBezTo>
                    <a:pt x="38767" y="85058"/>
                    <a:pt x="36004" y="95345"/>
                    <a:pt x="34766" y="106204"/>
                  </a:cubicBezTo>
                  <a:lnTo>
                    <a:pt x="183356" y="106204"/>
                  </a:lnTo>
                  <a:close/>
                </a:path>
              </a:pathLst>
            </a:custGeom>
            <a:solidFill>
              <a:srgbClr val="44505E"/>
            </a:solidFill>
            <a:ln w="9525" cap="flat">
              <a:noFill/>
              <a:prstDash val="solid"/>
              <a:miter/>
            </a:ln>
          </p:spPr>
          <p:txBody>
            <a:bodyPr rtlCol="0" anchor="ctr"/>
            <a:lstStyle/>
            <a:p>
              <a:endParaRPr lang="pt-BR" noProof="0"/>
            </a:p>
          </p:txBody>
        </p:sp>
        <p:sp>
          <p:nvSpPr>
            <p:cNvPr id="44" name="Freeform: Shape 43">
              <a:extLst>
                <a:ext uri="{FF2B5EF4-FFF2-40B4-BE49-F238E27FC236}">
                  <a16:creationId xmlns:a16="http://schemas.microsoft.com/office/drawing/2014/main" id="{38A27C6E-B201-46D7-78B9-E8A06FA3EFA2}"/>
                </a:ext>
              </a:extLst>
            </p:cNvPr>
            <p:cNvSpPr/>
            <p:nvPr/>
          </p:nvSpPr>
          <p:spPr>
            <a:xfrm>
              <a:off x="5994910" y="924268"/>
              <a:ext cx="44680" cy="60195"/>
            </a:xfrm>
            <a:custGeom>
              <a:avLst/>
              <a:gdLst>
                <a:gd name="connsiteX0" fmla="*/ 95536 w 177736"/>
                <a:gd name="connsiteY0" fmla="*/ 239268 h 239458"/>
                <a:gd name="connsiteX1" fmla="*/ 45053 w 177736"/>
                <a:gd name="connsiteY1" fmla="*/ 230124 h 239458"/>
                <a:gd name="connsiteX2" fmla="*/ 0 w 177736"/>
                <a:gd name="connsiteY2" fmla="*/ 205359 h 239458"/>
                <a:gd name="connsiteX3" fmla="*/ 17431 w 177736"/>
                <a:gd name="connsiteY3" fmla="*/ 180785 h 239458"/>
                <a:gd name="connsiteX4" fmla="*/ 56483 w 177736"/>
                <a:gd name="connsiteY4" fmla="*/ 202692 h 239458"/>
                <a:gd name="connsiteX5" fmla="*/ 97346 w 177736"/>
                <a:gd name="connsiteY5" fmla="*/ 210217 h 239458"/>
                <a:gd name="connsiteX6" fmla="*/ 131731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730 w 177736"/>
                <a:gd name="connsiteY10" fmla="*/ 147066 h 239458"/>
                <a:gd name="connsiteX11" fmla="*/ 109252 w 177736"/>
                <a:gd name="connsiteY11" fmla="*/ 138779 h 239458"/>
                <a:gd name="connsiteX12" fmla="*/ 87630 w 177736"/>
                <a:gd name="connsiteY12" fmla="*/ 132112 h 239458"/>
                <a:gd name="connsiteX13" fmla="*/ 60674 w 177736"/>
                <a:gd name="connsiteY13" fmla="*/ 123444 h 239458"/>
                <a:gd name="connsiteX14" fmla="*/ 36100 w 177736"/>
                <a:gd name="connsiteY14" fmla="*/ 111633 h 239458"/>
                <a:gd name="connsiteX15" fmla="*/ 18193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60 w 177736"/>
                <a:gd name="connsiteY22" fmla="*/ 6953 h 239458"/>
                <a:gd name="connsiteX23" fmla="*/ 172879 w 177736"/>
                <a:gd name="connsiteY23" fmla="*/ 25527 h 239458"/>
                <a:gd name="connsiteX24" fmla="*/ 157258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4 w 177736"/>
                <a:gd name="connsiteY32" fmla="*/ 96203 h 239458"/>
                <a:gd name="connsiteX33" fmla="*/ 103632 w 177736"/>
                <a:gd name="connsiteY33" fmla="*/ 103346 h 239458"/>
                <a:gd name="connsiteX34" fmla="*/ 130207 w 177736"/>
                <a:gd name="connsiteY34" fmla="*/ 112300 h 239458"/>
                <a:gd name="connsiteX35" fmla="*/ 154114 w 177736"/>
                <a:gd name="connsiteY35" fmla="*/ 124778 h 239458"/>
                <a:gd name="connsiteX36" fmla="*/ 171260 w 177736"/>
                <a:gd name="connsiteY36" fmla="*/ 143066 h 239458"/>
                <a:gd name="connsiteX37" fmla="*/ 177737 w 177736"/>
                <a:gd name="connsiteY37" fmla="*/ 169450 h 239458"/>
                <a:gd name="connsiteX38" fmla="*/ 177737 w 177736"/>
                <a:gd name="connsiteY38" fmla="*/ 170307 h 239458"/>
                <a:gd name="connsiteX39" fmla="*/ 171260 w 177736"/>
                <a:gd name="connsiteY39" fmla="*/ 199549 h 239458"/>
                <a:gd name="connsiteX40" fmla="*/ 153829 w 177736"/>
                <a:gd name="connsiteY40" fmla="*/ 221171 h 239458"/>
                <a:gd name="connsiteX41" fmla="*/ 127921 w 177736"/>
                <a:gd name="connsiteY41" fmla="*/ 234791 h 239458"/>
                <a:gd name="connsiteX42" fmla="*/ 95536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6" y="239268"/>
                  </a:moveTo>
                  <a:cubicBezTo>
                    <a:pt x="78867" y="239268"/>
                    <a:pt x="62008" y="236220"/>
                    <a:pt x="45053" y="230124"/>
                  </a:cubicBezTo>
                  <a:cubicBezTo>
                    <a:pt x="28099" y="224028"/>
                    <a:pt x="13049" y="215741"/>
                    <a:pt x="0" y="205359"/>
                  </a:cubicBezTo>
                  <a:lnTo>
                    <a:pt x="17431" y="180785"/>
                  </a:lnTo>
                  <a:cubicBezTo>
                    <a:pt x="29909"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637" y="162211"/>
                    <a:pt x="140494" y="158020"/>
                  </a:cubicBezTo>
                  <a:cubicBezTo>
                    <a:pt x="137351" y="153829"/>
                    <a:pt x="133160" y="150209"/>
                    <a:pt x="127730" y="147066"/>
                  </a:cubicBezTo>
                  <a:cubicBezTo>
                    <a:pt x="122396" y="143923"/>
                    <a:pt x="116205" y="141161"/>
                    <a:pt x="109252" y="138779"/>
                  </a:cubicBezTo>
                  <a:cubicBezTo>
                    <a:pt x="102299" y="136398"/>
                    <a:pt x="95060" y="134207"/>
                    <a:pt x="87630" y="132112"/>
                  </a:cubicBezTo>
                  <a:cubicBezTo>
                    <a:pt x="78677" y="129445"/>
                    <a:pt x="69723" y="126492"/>
                    <a:pt x="60674" y="123444"/>
                  </a:cubicBezTo>
                  <a:cubicBezTo>
                    <a:pt x="51626" y="120301"/>
                    <a:pt x="43434" y="116396"/>
                    <a:pt x="36100" y="111633"/>
                  </a:cubicBezTo>
                  <a:cubicBezTo>
                    <a:pt x="28766" y="106871"/>
                    <a:pt x="22860" y="100870"/>
                    <a:pt x="18193" y="93726"/>
                  </a:cubicBezTo>
                  <a:cubicBezTo>
                    <a:pt x="13621" y="86582"/>
                    <a:pt x="11239" y="77629"/>
                    <a:pt x="11239" y="66961"/>
                  </a:cubicBezTo>
                  <a:lnTo>
                    <a:pt x="11239" y="66008"/>
                  </a:lnTo>
                  <a:cubicBezTo>
                    <a:pt x="11239" y="56198"/>
                    <a:pt x="13145" y="47149"/>
                    <a:pt x="17050" y="39053"/>
                  </a:cubicBezTo>
                  <a:cubicBezTo>
                    <a:pt x="20860" y="30861"/>
                    <a:pt x="26289" y="23908"/>
                    <a:pt x="33338" y="18098"/>
                  </a:cubicBezTo>
                  <a:cubicBezTo>
                    <a:pt x="40291" y="12287"/>
                    <a:pt x="48673" y="7811"/>
                    <a:pt x="58388" y="4667"/>
                  </a:cubicBezTo>
                  <a:cubicBezTo>
                    <a:pt x="68009" y="1524"/>
                    <a:pt x="78581" y="0"/>
                    <a:pt x="89821" y="0"/>
                  </a:cubicBezTo>
                  <a:cubicBezTo>
                    <a:pt x="104108" y="0"/>
                    <a:pt x="118491" y="2286"/>
                    <a:pt x="133160" y="6953"/>
                  </a:cubicBezTo>
                  <a:cubicBezTo>
                    <a:pt x="147733" y="11621"/>
                    <a:pt x="160972" y="17717"/>
                    <a:pt x="172879" y="25527"/>
                  </a:cubicBezTo>
                  <a:lnTo>
                    <a:pt x="157258" y="51435"/>
                  </a:lnTo>
                  <a:cubicBezTo>
                    <a:pt x="146495" y="44577"/>
                    <a:pt x="135350" y="39148"/>
                    <a:pt x="123539" y="35147"/>
                  </a:cubicBezTo>
                  <a:cubicBezTo>
                    <a:pt x="111824" y="31147"/>
                    <a:pt x="100298" y="29146"/>
                    <a:pt x="88963" y="29146"/>
                  </a:cubicBezTo>
                  <a:cubicBezTo>
                    <a:pt x="75247" y="29146"/>
                    <a:pt x="64389" y="32385"/>
                    <a:pt x="56388" y="38767"/>
                  </a:cubicBezTo>
                  <a:cubicBezTo>
                    <a:pt x="48387" y="45149"/>
                    <a:pt x="44291" y="53150"/>
                    <a:pt x="44291" y="62675"/>
                  </a:cubicBezTo>
                  <a:lnTo>
                    <a:pt x="44291" y="63627"/>
                  </a:lnTo>
                  <a:cubicBezTo>
                    <a:pt x="44291" y="68961"/>
                    <a:pt x="45911" y="73628"/>
                    <a:pt x="49244" y="77724"/>
                  </a:cubicBezTo>
                  <a:cubicBezTo>
                    <a:pt x="52483" y="81725"/>
                    <a:pt x="56960" y="85249"/>
                    <a:pt x="62389" y="88202"/>
                  </a:cubicBezTo>
                  <a:cubicBezTo>
                    <a:pt x="67913" y="91154"/>
                    <a:pt x="74200" y="93821"/>
                    <a:pt x="81344" y="96203"/>
                  </a:cubicBezTo>
                  <a:cubicBezTo>
                    <a:pt x="88487" y="98584"/>
                    <a:pt x="95917" y="100965"/>
                    <a:pt x="103632" y="103346"/>
                  </a:cubicBezTo>
                  <a:cubicBezTo>
                    <a:pt x="112586" y="106013"/>
                    <a:pt x="121444" y="108966"/>
                    <a:pt x="130207" y="112300"/>
                  </a:cubicBezTo>
                  <a:cubicBezTo>
                    <a:pt x="138970" y="115538"/>
                    <a:pt x="146971" y="119729"/>
                    <a:pt x="154114" y="124778"/>
                  </a:cubicBezTo>
                  <a:cubicBezTo>
                    <a:pt x="161258" y="129826"/>
                    <a:pt x="166973" y="135922"/>
                    <a:pt x="171260" y="143066"/>
                  </a:cubicBezTo>
                  <a:cubicBezTo>
                    <a:pt x="175546" y="150209"/>
                    <a:pt x="177737" y="158972"/>
                    <a:pt x="177737" y="169450"/>
                  </a:cubicBezTo>
                  <a:lnTo>
                    <a:pt x="177737" y="170307"/>
                  </a:lnTo>
                  <a:cubicBezTo>
                    <a:pt x="177737" y="181356"/>
                    <a:pt x="175546" y="191071"/>
                    <a:pt x="171260" y="199549"/>
                  </a:cubicBezTo>
                  <a:cubicBezTo>
                    <a:pt x="166973" y="208026"/>
                    <a:pt x="161163" y="215265"/>
                    <a:pt x="153829" y="221171"/>
                  </a:cubicBezTo>
                  <a:cubicBezTo>
                    <a:pt x="146495" y="227171"/>
                    <a:pt x="137922" y="231648"/>
                    <a:pt x="127921" y="234791"/>
                  </a:cubicBezTo>
                  <a:cubicBezTo>
                    <a:pt x="117920" y="237935"/>
                    <a:pt x="107156" y="239459"/>
                    <a:pt x="95536" y="239459"/>
                  </a:cubicBezTo>
                  <a:close/>
                </a:path>
              </a:pathLst>
            </a:custGeom>
            <a:solidFill>
              <a:srgbClr val="44505E"/>
            </a:solidFill>
            <a:ln w="9525" cap="flat">
              <a:noFill/>
              <a:prstDash val="solid"/>
              <a:miter/>
            </a:ln>
          </p:spPr>
          <p:txBody>
            <a:bodyPr rtlCol="0" anchor="ctr"/>
            <a:lstStyle/>
            <a:p>
              <a:endParaRPr lang="pt-BR" noProof="0"/>
            </a:p>
          </p:txBody>
        </p:sp>
        <p:sp>
          <p:nvSpPr>
            <p:cNvPr id="45" name="Freeform: Shape 44">
              <a:extLst>
                <a:ext uri="{FF2B5EF4-FFF2-40B4-BE49-F238E27FC236}">
                  <a16:creationId xmlns:a16="http://schemas.microsoft.com/office/drawing/2014/main" id="{0521D227-02EC-79DA-B0F2-183D791944B4}"/>
                </a:ext>
              </a:extLst>
            </p:cNvPr>
            <p:cNvSpPr/>
            <p:nvPr/>
          </p:nvSpPr>
          <p:spPr>
            <a:xfrm>
              <a:off x="605122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4 w 202977"/>
                <a:gd name="connsiteY30" fmla="*/ 174593 h 239267"/>
                <a:gd name="connsiteX31" fmla="*/ 169735 w 202977"/>
                <a:gd name="connsiteY31" fmla="*/ 149447 h 239267"/>
                <a:gd name="connsiteX32" fmla="*/ 169735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0" y="90964"/>
                    <a:pt x="98584" y="90964"/>
                  </a:cubicBezTo>
                  <a:cubicBezTo>
                    <a:pt x="113157" y="90964"/>
                    <a:pt x="126301"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1" y="33147"/>
                    <a:pt x="63436" y="36100"/>
                  </a:cubicBezTo>
                  <a:cubicBezTo>
                    <a:pt x="52292" y="39053"/>
                    <a:pt x="41338" y="43053"/>
                    <a:pt x="30671" y="48196"/>
                  </a:cubicBezTo>
                  <a:lnTo>
                    <a:pt x="20383" y="19907"/>
                  </a:lnTo>
                  <a:cubicBezTo>
                    <a:pt x="33147" y="13906"/>
                    <a:pt x="46101" y="9049"/>
                    <a:pt x="59246" y="5429"/>
                  </a:cubicBezTo>
                  <a:cubicBezTo>
                    <a:pt x="72295"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1" y="239173"/>
                  </a:cubicBezTo>
                  <a:close/>
                  <a:moveTo>
                    <a:pt x="93154" y="211169"/>
                  </a:moveTo>
                  <a:cubicBezTo>
                    <a:pt x="103822" y="211169"/>
                    <a:pt x="113728" y="209740"/>
                    <a:pt x="122967" y="206788"/>
                  </a:cubicBezTo>
                  <a:cubicBezTo>
                    <a:pt x="132207" y="203835"/>
                    <a:pt x="140208" y="199644"/>
                    <a:pt x="147256" y="194120"/>
                  </a:cubicBezTo>
                  <a:cubicBezTo>
                    <a:pt x="154209" y="188595"/>
                    <a:pt x="159734" y="182118"/>
                    <a:pt x="163734" y="174593"/>
                  </a:cubicBezTo>
                  <a:cubicBezTo>
                    <a:pt x="167735" y="167068"/>
                    <a:pt x="169735" y="158687"/>
                    <a:pt x="169735" y="149447"/>
                  </a:cubicBezTo>
                  <a:lnTo>
                    <a:pt x="169735" y="128111"/>
                  </a:lnTo>
                  <a:cubicBezTo>
                    <a:pt x="161163" y="125730"/>
                    <a:pt x="151352" y="123539"/>
                    <a:pt x="140398" y="121444"/>
                  </a:cubicBezTo>
                  <a:cubicBezTo>
                    <a:pt x="129445" y="119348"/>
                    <a:pt x="116872"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46" name="Freeform: Shape 45">
              <a:extLst>
                <a:ext uri="{FF2B5EF4-FFF2-40B4-BE49-F238E27FC236}">
                  <a16:creationId xmlns:a16="http://schemas.microsoft.com/office/drawing/2014/main" id="{1B7FF453-B340-75B2-F2E5-89A1221DCADE}"/>
                </a:ext>
              </a:extLst>
            </p:cNvPr>
            <p:cNvSpPr/>
            <p:nvPr/>
          </p:nvSpPr>
          <p:spPr>
            <a:xfrm>
              <a:off x="6121359" y="901377"/>
              <a:ext cx="8644" cy="81913"/>
            </a:xfrm>
            <a:custGeom>
              <a:avLst/>
              <a:gdLst>
                <a:gd name="connsiteX0" fmla="*/ 0 w 34385"/>
                <a:gd name="connsiteY0" fmla="*/ 0 h 325850"/>
                <a:gd name="connsiteX1" fmla="*/ 34385 w 34385"/>
                <a:gd name="connsiteY1" fmla="*/ 0 h 325850"/>
                <a:gd name="connsiteX2" fmla="*/ 34385 w 34385"/>
                <a:gd name="connsiteY2" fmla="*/ 325850 h 325850"/>
                <a:gd name="connsiteX3" fmla="*/ 0 w 34385"/>
                <a:gd name="connsiteY3" fmla="*/ 325850 h 325850"/>
                <a:gd name="connsiteX4" fmla="*/ 0 w 34385"/>
                <a:gd name="connsiteY4" fmla="*/ 0 h 32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 h="325850">
                  <a:moveTo>
                    <a:pt x="0" y="0"/>
                  </a:moveTo>
                  <a:lnTo>
                    <a:pt x="34385" y="0"/>
                  </a:lnTo>
                  <a:lnTo>
                    <a:pt x="34385" y="325850"/>
                  </a:lnTo>
                  <a:lnTo>
                    <a:pt x="0" y="325850"/>
                  </a:lnTo>
                  <a:lnTo>
                    <a:pt x="0" y="0"/>
                  </a:lnTo>
                  <a:close/>
                </a:path>
              </a:pathLst>
            </a:custGeom>
            <a:solidFill>
              <a:srgbClr val="44505E"/>
            </a:solidFill>
            <a:ln w="9525" cap="flat">
              <a:noFill/>
              <a:prstDash val="solid"/>
              <a:miter/>
            </a:ln>
          </p:spPr>
          <p:txBody>
            <a:bodyPr rtlCol="0" anchor="ctr"/>
            <a:lstStyle/>
            <a:p>
              <a:endParaRPr lang="pt-BR" noProof="0"/>
            </a:p>
          </p:txBody>
        </p:sp>
        <p:sp>
          <p:nvSpPr>
            <p:cNvPr id="47" name="Freeform: Shape 46">
              <a:extLst>
                <a:ext uri="{FF2B5EF4-FFF2-40B4-BE49-F238E27FC236}">
                  <a16:creationId xmlns:a16="http://schemas.microsoft.com/office/drawing/2014/main" id="{FA3879C5-5256-CDA3-9854-4CC40D8A2775}"/>
                </a:ext>
              </a:extLst>
            </p:cNvPr>
            <p:cNvSpPr/>
            <p:nvPr/>
          </p:nvSpPr>
          <p:spPr>
            <a:xfrm>
              <a:off x="6144346" y="925273"/>
              <a:ext cx="58016" cy="58448"/>
            </a:xfrm>
            <a:custGeom>
              <a:avLst/>
              <a:gdLst>
                <a:gd name="connsiteX0" fmla="*/ 95 w 230790"/>
                <a:gd name="connsiteY0" fmla="*/ 0 h 232505"/>
                <a:gd name="connsiteX1" fmla="*/ 38005 w 230790"/>
                <a:gd name="connsiteY1" fmla="*/ 0 h 232505"/>
                <a:gd name="connsiteX2" fmla="*/ 115634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4"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48" name="Freeform: Shape 47">
              <a:extLst>
                <a:ext uri="{FF2B5EF4-FFF2-40B4-BE49-F238E27FC236}">
                  <a16:creationId xmlns:a16="http://schemas.microsoft.com/office/drawing/2014/main" id="{BE917228-0C00-54F2-7BF4-72A9AEE3D710}"/>
                </a:ext>
              </a:extLst>
            </p:cNvPr>
            <p:cNvSpPr/>
            <p:nvPr/>
          </p:nvSpPr>
          <p:spPr>
            <a:xfrm>
              <a:off x="621155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8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338 w 202977"/>
                <a:gd name="connsiteY36" fmla="*/ 164497 h 239267"/>
                <a:gd name="connsiteX37" fmla="*/ 35338 w 202977"/>
                <a:gd name="connsiteY37" fmla="*/ 165449 h 239267"/>
                <a:gd name="connsiteX38" fmla="*/ 40005 w 202977"/>
                <a:gd name="connsiteY38" fmla="*/ 184785 h 239267"/>
                <a:gd name="connsiteX39" fmla="*/ 52673 w 202977"/>
                <a:gd name="connsiteY39" fmla="*/ 199263 h 239267"/>
                <a:gd name="connsiteX40" fmla="*/ 71152 w 202977"/>
                <a:gd name="connsiteY40" fmla="*/ 208121 h 239267"/>
                <a:gd name="connsiteX41" fmla="*/ 93154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438" y="239268"/>
                    <a:pt x="64961"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1" y="90964"/>
                    <a:pt x="98584" y="90964"/>
                  </a:cubicBezTo>
                  <a:cubicBezTo>
                    <a:pt x="113157" y="90964"/>
                    <a:pt x="126302" y="91821"/>
                    <a:pt x="137160" y="93631"/>
                  </a:cubicBezTo>
                  <a:cubicBezTo>
                    <a:pt x="148019" y="95440"/>
                    <a:pt x="158687" y="97822"/>
                    <a:pt x="169069" y="100774"/>
                  </a:cubicBezTo>
                  <a:lnTo>
                    <a:pt x="169069" y="93726"/>
                  </a:lnTo>
                  <a:cubicBezTo>
                    <a:pt x="169069" y="73342"/>
                    <a:pt x="163068" y="57912"/>
                    <a:pt x="151162" y="47339"/>
                  </a:cubicBezTo>
                  <a:cubicBezTo>
                    <a:pt x="139255" y="36862"/>
                    <a:pt x="122491" y="31623"/>
                    <a:pt x="100679" y="31623"/>
                  </a:cubicBezTo>
                  <a:cubicBezTo>
                    <a:pt x="86963" y="31623"/>
                    <a:pt x="74581" y="33147"/>
                    <a:pt x="63437" y="36100"/>
                  </a:cubicBezTo>
                  <a:cubicBezTo>
                    <a:pt x="52292" y="39053"/>
                    <a:pt x="41338" y="43053"/>
                    <a:pt x="30671" y="48196"/>
                  </a:cubicBezTo>
                  <a:lnTo>
                    <a:pt x="20383" y="19907"/>
                  </a:lnTo>
                  <a:cubicBezTo>
                    <a:pt x="33147" y="13906"/>
                    <a:pt x="46101" y="9049"/>
                    <a:pt x="59246" y="5429"/>
                  </a:cubicBezTo>
                  <a:cubicBezTo>
                    <a:pt x="72390"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04" y="239173"/>
                    <a:pt x="86011" y="239173"/>
                  </a:cubicBezTo>
                  <a:close/>
                  <a:moveTo>
                    <a:pt x="93154" y="211169"/>
                  </a:moveTo>
                  <a:cubicBezTo>
                    <a:pt x="103822" y="211169"/>
                    <a:pt x="113824" y="209740"/>
                    <a:pt x="122968" y="206788"/>
                  </a:cubicBezTo>
                  <a:cubicBezTo>
                    <a:pt x="132112"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5" y="119348"/>
                    <a:pt x="116777" y="118300"/>
                    <a:pt x="102584" y="118300"/>
                  </a:cubicBezTo>
                  <a:cubicBezTo>
                    <a:pt x="81248" y="118300"/>
                    <a:pt x="64675" y="122491"/>
                    <a:pt x="52959" y="130969"/>
                  </a:cubicBezTo>
                  <a:cubicBezTo>
                    <a:pt x="41243" y="139446"/>
                    <a:pt x="35338" y="150590"/>
                    <a:pt x="35338" y="164497"/>
                  </a:cubicBezTo>
                  <a:lnTo>
                    <a:pt x="35338" y="165449"/>
                  </a:lnTo>
                  <a:cubicBezTo>
                    <a:pt x="35338" y="172498"/>
                    <a:pt x="36862" y="178975"/>
                    <a:pt x="40005" y="184785"/>
                  </a:cubicBezTo>
                  <a:cubicBezTo>
                    <a:pt x="43148" y="190500"/>
                    <a:pt x="47339" y="195358"/>
                    <a:pt x="52673" y="199263"/>
                  </a:cubicBezTo>
                  <a:cubicBezTo>
                    <a:pt x="58007" y="203073"/>
                    <a:pt x="64198" y="206026"/>
                    <a:pt x="71152" y="208121"/>
                  </a:cubicBezTo>
                  <a:cubicBezTo>
                    <a:pt x="78105" y="210217"/>
                    <a:pt x="85439" y="211169"/>
                    <a:pt x="93154" y="211169"/>
                  </a:cubicBezTo>
                  <a:close/>
                </a:path>
              </a:pathLst>
            </a:custGeom>
            <a:solidFill>
              <a:srgbClr val="44505E"/>
            </a:solidFill>
            <a:ln w="9525" cap="flat">
              <a:noFill/>
              <a:prstDash val="solid"/>
              <a:miter/>
            </a:ln>
          </p:spPr>
          <p:txBody>
            <a:bodyPr rtlCol="0" anchor="ctr"/>
            <a:lstStyle/>
            <a:p>
              <a:endParaRPr lang="pt-BR" noProof="0"/>
            </a:p>
          </p:txBody>
        </p:sp>
        <p:sp>
          <p:nvSpPr>
            <p:cNvPr id="49" name="Freeform: Shape 48">
              <a:extLst>
                <a:ext uri="{FF2B5EF4-FFF2-40B4-BE49-F238E27FC236}">
                  <a16:creationId xmlns:a16="http://schemas.microsoft.com/office/drawing/2014/main" id="{84FD2561-2CCA-F079-45FA-216BE23263C7}"/>
                </a:ext>
              </a:extLst>
            </p:cNvPr>
            <p:cNvSpPr/>
            <p:nvPr/>
          </p:nvSpPr>
          <p:spPr>
            <a:xfrm>
              <a:off x="6280899" y="923980"/>
              <a:ext cx="87995" cy="59238"/>
            </a:xfrm>
            <a:custGeom>
              <a:avLst/>
              <a:gdLst>
                <a:gd name="connsiteX0" fmla="*/ 0 w 350043"/>
                <a:gd name="connsiteY0" fmla="*/ 5144 h 235648"/>
                <a:gd name="connsiteX1" fmla="*/ 34385 w 350043"/>
                <a:gd name="connsiteY1" fmla="*/ 5144 h 235648"/>
                <a:gd name="connsiteX2" fmla="*/ 34385 w 350043"/>
                <a:gd name="connsiteY2" fmla="*/ 44005 h 235648"/>
                <a:gd name="connsiteX3" fmla="*/ 47149 w 350043"/>
                <a:gd name="connsiteY3" fmla="*/ 27432 h 235648"/>
                <a:gd name="connsiteX4" fmla="*/ 62960 w 350043"/>
                <a:gd name="connsiteY4" fmla="*/ 13335 h 235648"/>
                <a:gd name="connsiteX5" fmla="*/ 83058 w 350043"/>
                <a:gd name="connsiteY5" fmla="*/ 3715 h 235648"/>
                <a:gd name="connsiteX6" fmla="*/ 108966 w 350043"/>
                <a:gd name="connsiteY6" fmla="*/ 95 h 235648"/>
                <a:gd name="connsiteX7" fmla="*/ 155448 w 350043"/>
                <a:gd name="connsiteY7" fmla="*/ 13240 h 235648"/>
                <a:gd name="connsiteX8" fmla="*/ 183166 w 350043"/>
                <a:gd name="connsiteY8" fmla="*/ 46006 h 235648"/>
                <a:gd name="connsiteX9" fmla="*/ 197168 w 350043"/>
                <a:gd name="connsiteY9" fmla="*/ 28194 h 235648"/>
                <a:gd name="connsiteX10" fmla="*/ 214789 w 350043"/>
                <a:gd name="connsiteY10" fmla="*/ 13430 h 235648"/>
                <a:gd name="connsiteX11" fmla="*/ 236887 w 350043"/>
                <a:gd name="connsiteY11" fmla="*/ 3620 h 235648"/>
                <a:gd name="connsiteX12" fmla="*/ 264319 w 350043"/>
                <a:gd name="connsiteY12" fmla="*/ 0 h 235648"/>
                <a:gd name="connsiteX13" fmla="*/ 327279 w 350043"/>
                <a:gd name="connsiteY13" fmla="*/ 24765 h 235648"/>
                <a:gd name="connsiteX14" fmla="*/ 350044 w 350043"/>
                <a:gd name="connsiteY14" fmla="*/ 92773 h 235648"/>
                <a:gd name="connsiteX15" fmla="*/ 350044 w 350043"/>
                <a:gd name="connsiteY15" fmla="*/ 235648 h 235648"/>
                <a:gd name="connsiteX16" fmla="*/ 315659 w 350043"/>
                <a:gd name="connsiteY16" fmla="*/ 235648 h 235648"/>
                <a:gd name="connsiteX17" fmla="*/ 315659 w 350043"/>
                <a:gd name="connsiteY17" fmla="*/ 101155 h 235648"/>
                <a:gd name="connsiteX18" fmla="*/ 299847 w 350043"/>
                <a:gd name="connsiteY18" fmla="*/ 49721 h 235648"/>
                <a:gd name="connsiteX19" fmla="*/ 255937 w 350043"/>
                <a:gd name="connsiteY19" fmla="*/ 31718 h 235648"/>
                <a:gd name="connsiteX20" fmla="*/ 231362 w 350043"/>
                <a:gd name="connsiteY20" fmla="*/ 36386 h 235648"/>
                <a:gd name="connsiteX21" fmla="*/ 211074 w 350043"/>
                <a:gd name="connsiteY21" fmla="*/ 50197 h 235648"/>
                <a:gd name="connsiteX22" fmla="*/ 197263 w 350043"/>
                <a:gd name="connsiteY22" fmla="*/ 72676 h 235648"/>
                <a:gd name="connsiteX23" fmla="*/ 192119 w 350043"/>
                <a:gd name="connsiteY23" fmla="*/ 102965 h 235648"/>
                <a:gd name="connsiteX24" fmla="*/ 192119 w 350043"/>
                <a:gd name="connsiteY24" fmla="*/ 235648 h 235648"/>
                <a:gd name="connsiteX25" fmla="*/ 158210 w 350043"/>
                <a:gd name="connsiteY25" fmla="*/ 235648 h 235648"/>
                <a:gd name="connsiteX26" fmla="*/ 158210 w 350043"/>
                <a:gd name="connsiteY26" fmla="*/ 100298 h 235648"/>
                <a:gd name="connsiteX27" fmla="*/ 142399 w 350043"/>
                <a:gd name="connsiteY27" fmla="*/ 49721 h 235648"/>
                <a:gd name="connsiteX28" fmla="*/ 98870 w 350043"/>
                <a:gd name="connsiteY28" fmla="*/ 31718 h 235648"/>
                <a:gd name="connsiteX29" fmla="*/ 73438 w 350043"/>
                <a:gd name="connsiteY29" fmla="*/ 37052 h 235648"/>
                <a:gd name="connsiteX30" fmla="*/ 53150 w 350043"/>
                <a:gd name="connsiteY30" fmla="*/ 52197 h 235648"/>
                <a:gd name="connsiteX31" fmla="*/ 39529 w 350043"/>
                <a:gd name="connsiteY31" fmla="*/ 75152 h 235648"/>
                <a:gd name="connsiteX32" fmla="*/ 34576 w 350043"/>
                <a:gd name="connsiteY32" fmla="*/ 104299 h 235648"/>
                <a:gd name="connsiteX33" fmla="*/ 34576 w 350043"/>
                <a:gd name="connsiteY33" fmla="*/ 235648 h 235648"/>
                <a:gd name="connsiteX34" fmla="*/ 190 w 350043"/>
                <a:gd name="connsiteY34" fmla="*/ 235648 h 235648"/>
                <a:gd name="connsiteX35" fmla="*/ 190 w 350043"/>
                <a:gd name="connsiteY35" fmla="*/ 485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0043" h="235648">
                  <a:moveTo>
                    <a:pt x="0" y="5144"/>
                  </a:moveTo>
                  <a:lnTo>
                    <a:pt x="34385" y="5144"/>
                  </a:lnTo>
                  <a:lnTo>
                    <a:pt x="34385" y="44005"/>
                  </a:lnTo>
                  <a:cubicBezTo>
                    <a:pt x="38290" y="38386"/>
                    <a:pt x="42481" y="32861"/>
                    <a:pt x="47149" y="27432"/>
                  </a:cubicBezTo>
                  <a:cubicBezTo>
                    <a:pt x="51721" y="22098"/>
                    <a:pt x="57055" y="17431"/>
                    <a:pt x="62960" y="13335"/>
                  </a:cubicBezTo>
                  <a:cubicBezTo>
                    <a:pt x="68866" y="9335"/>
                    <a:pt x="75629" y="6096"/>
                    <a:pt x="83058" y="3715"/>
                  </a:cubicBezTo>
                  <a:cubicBezTo>
                    <a:pt x="90488" y="1334"/>
                    <a:pt x="99155" y="95"/>
                    <a:pt x="108966" y="95"/>
                  </a:cubicBezTo>
                  <a:cubicBezTo>
                    <a:pt x="127730" y="95"/>
                    <a:pt x="143161" y="4477"/>
                    <a:pt x="155448" y="13240"/>
                  </a:cubicBezTo>
                  <a:cubicBezTo>
                    <a:pt x="167640" y="22003"/>
                    <a:pt x="176879" y="32956"/>
                    <a:pt x="183166" y="46006"/>
                  </a:cubicBezTo>
                  <a:cubicBezTo>
                    <a:pt x="187357" y="39719"/>
                    <a:pt x="192024" y="33814"/>
                    <a:pt x="197168" y="28194"/>
                  </a:cubicBezTo>
                  <a:cubicBezTo>
                    <a:pt x="202406" y="22574"/>
                    <a:pt x="208217" y="17621"/>
                    <a:pt x="214789" y="13430"/>
                  </a:cubicBezTo>
                  <a:cubicBezTo>
                    <a:pt x="221361" y="9239"/>
                    <a:pt x="228695" y="6001"/>
                    <a:pt x="236887" y="3620"/>
                  </a:cubicBezTo>
                  <a:cubicBezTo>
                    <a:pt x="245078" y="1238"/>
                    <a:pt x="254222" y="0"/>
                    <a:pt x="264319" y="0"/>
                  </a:cubicBezTo>
                  <a:cubicBezTo>
                    <a:pt x="291084" y="0"/>
                    <a:pt x="312039" y="8287"/>
                    <a:pt x="327279" y="24765"/>
                  </a:cubicBezTo>
                  <a:cubicBezTo>
                    <a:pt x="342519" y="41243"/>
                    <a:pt x="350044" y="63913"/>
                    <a:pt x="350044" y="92773"/>
                  </a:cubicBezTo>
                  <a:lnTo>
                    <a:pt x="350044" y="235648"/>
                  </a:lnTo>
                  <a:lnTo>
                    <a:pt x="315659" y="235648"/>
                  </a:lnTo>
                  <a:lnTo>
                    <a:pt x="315659" y="101155"/>
                  </a:lnTo>
                  <a:cubicBezTo>
                    <a:pt x="315659" y="78867"/>
                    <a:pt x="310420" y="61722"/>
                    <a:pt x="299847" y="49721"/>
                  </a:cubicBezTo>
                  <a:cubicBezTo>
                    <a:pt x="289274" y="37719"/>
                    <a:pt x="274606" y="31718"/>
                    <a:pt x="255937" y="31718"/>
                  </a:cubicBezTo>
                  <a:cubicBezTo>
                    <a:pt x="247269" y="31718"/>
                    <a:pt x="239078" y="33242"/>
                    <a:pt x="231362" y="36386"/>
                  </a:cubicBezTo>
                  <a:cubicBezTo>
                    <a:pt x="223647" y="39529"/>
                    <a:pt x="216884" y="44101"/>
                    <a:pt x="211074" y="50197"/>
                  </a:cubicBezTo>
                  <a:cubicBezTo>
                    <a:pt x="205264" y="56293"/>
                    <a:pt x="200692" y="63818"/>
                    <a:pt x="197263" y="72676"/>
                  </a:cubicBezTo>
                  <a:cubicBezTo>
                    <a:pt x="193834" y="81629"/>
                    <a:pt x="192119" y="91726"/>
                    <a:pt x="192119" y="102965"/>
                  </a:cubicBezTo>
                  <a:lnTo>
                    <a:pt x="192119" y="235648"/>
                  </a:lnTo>
                  <a:lnTo>
                    <a:pt x="158210" y="235648"/>
                  </a:lnTo>
                  <a:lnTo>
                    <a:pt x="158210" y="100298"/>
                  </a:lnTo>
                  <a:cubicBezTo>
                    <a:pt x="158210" y="78677"/>
                    <a:pt x="152971" y="61817"/>
                    <a:pt x="142399" y="49721"/>
                  </a:cubicBezTo>
                  <a:cubicBezTo>
                    <a:pt x="131826" y="37719"/>
                    <a:pt x="117348" y="31718"/>
                    <a:pt x="98870" y="31718"/>
                  </a:cubicBezTo>
                  <a:cubicBezTo>
                    <a:pt x="89630" y="31718"/>
                    <a:pt x="81153" y="33528"/>
                    <a:pt x="73438" y="37052"/>
                  </a:cubicBezTo>
                  <a:cubicBezTo>
                    <a:pt x="65722" y="40672"/>
                    <a:pt x="58960" y="45720"/>
                    <a:pt x="53150" y="52197"/>
                  </a:cubicBezTo>
                  <a:cubicBezTo>
                    <a:pt x="47339" y="58769"/>
                    <a:pt x="42767" y="66389"/>
                    <a:pt x="39529" y="75152"/>
                  </a:cubicBezTo>
                  <a:cubicBezTo>
                    <a:pt x="36290" y="83915"/>
                    <a:pt x="34576" y="93631"/>
                    <a:pt x="34576" y="104299"/>
                  </a:cubicBezTo>
                  <a:lnTo>
                    <a:pt x="34576" y="235648"/>
                  </a:lnTo>
                  <a:lnTo>
                    <a:pt x="190" y="235648"/>
                  </a:lnTo>
                  <a:lnTo>
                    <a:pt x="190" y="4858"/>
                  </a:lnTo>
                  <a:close/>
                </a:path>
              </a:pathLst>
            </a:custGeom>
            <a:solidFill>
              <a:srgbClr val="44505E"/>
            </a:solidFill>
            <a:ln w="9525" cap="flat">
              <a:noFill/>
              <a:prstDash val="solid"/>
              <a:miter/>
            </a:ln>
          </p:spPr>
          <p:txBody>
            <a:bodyPr rtlCol="0" anchor="ctr"/>
            <a:lstStyle/>
            <a:p>
              <a:endParaRPr lang="pt-BR" noProof="0"/>
            </a:p>
          </p:txBody>
        </p:sp>
        <p:sp>
          <p:nvSpPr>
            <p:cNvPr id="50" name="Freeform: Shape 49">
              <a:extLst>
                <a:ext uri="{FF2B5EF4-FFF2-40B4-BE49-F238E27FC236}">
                  <a16:creationId xmlns:a16="http://schemas.microsoft.com/office/drawing/2014/main" id="{AAD8D696-C2C4-99A1-CCC1-079A2E2CED5F}"/>
                </a:ext>
              </a:extLst>
            </p:cNvPr>
            <p:cNvSpPr/>
            <p:nvPr/>
          </p:nvSpPr>
          <p:spPr>
            <a:xfrm>
              <a:off x="6415537" y="925273"/>
              <a:ext cx="58016" cy="58448"/>
            </a:xfrm>
            <a:custGeom>
              <a:avLst/>
              <a:gdLst>
                <a:gd name="connsiteX0" fmla="*/ 95 w 230790"/>
                <a:gd name="connsiteY0" fmla="*/ 0 h 232505"/>
                <a:gd name="connsiteX1" fmla="*/ 38005 w 230790"/>
                <a:gd name="connsiteY1" fmla="*/ 0 h 232505"/>
                <a:gd name="connsiteX2" fmla="*/ 115633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3"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51" name="Freeform: Shape 50">
              <a:extLst>
                <a:ext uri="{FF2B5EF4-FFF2-40B4-BE49-F238E27FC236}">
                  <a16:creationId xmlns:a16="http://schemas.microsoft.com/office/drawing/2014/main" id="{B2C961DA-7595-F846-45B8-0884593DCD8A}"/>
                </a:ext>
              </a:extLst>
            </p:cNvPr>
            <p:cNvSpPr/>
            <p:nvPr/>
          </p:nvSpPr>
          <p:spPr>
            <a:xfrm>
              <a:off x="6487369"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286 w 39242"/>
                <a:gd name="connsiteY5" fmla="*/ 88392 h 319182"/>
                <a:gd name="connsiteX6" fmla="*/ 36671 w 39242"/>
                <a:gd name="connsiteY6" fmla="*/ 88392 h 319182"/>
                <a:gd name="connsiteX7" fmla="*/ 36671 w 39242"/>
                <a:gd name="connsiteY7" fmla="*/ 319183 h 319182"/>
                <a:gd name="connsiteX8" fmla="*/ 2286 w 39242"/>
                <a:gd name="connsiteY8" fmla="*/ 319183 h 319182"/>
                <a:gd name="connsiteX9" fmla="*/ 2286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286" y="88392"/>
                  </a:moveTo>
                  <a:lnTo>
                    <a:pt x="36671" y="88392"/>
                  </a:lnTo>
                  <a:lnTo>
                    <a:pt x="36671" y="319183"/>
                  </a:lnTo>
                  <a:lnTo>
                    <a:pt x="2286" y="319183"/>
                  </a:lnTo>
                  <a:lnTo>
                    <a:pt x="2286" y="88392"/>
                  </a:lnTo>
                  <a:close/>
                </a:path>
              </a:pathLst>
            </a:custGeom>
            <a:solidFill>
              <a:srgbClr val="44505E"/>
            </a:solidFill>
            <a:ln w="9525" cap="flat">
              <a:noFill/>
              <a:prstDash val="solid"/>
              <a:miter/>
            </a:ln>
          </p:spPr>
          <p:txBody>
            <a:bodyPr rtlCol="0" anchor="ctr"/>
            <a:lstStyle/>
            <a:p>
              <a:endParaRPr lang="pt-BR" noProof="0"/>
            </a:p>
          </p:txBody>
        </p:sp>
        <p:sp>
          <p:nvSpPr>
            <p:cNvPr id="52" name="Freeform: Shape 51">
              <a:extLst>
                <a:ext uri="{FF2B5EF4-FFF2-40B4-BE49-F238E27FC236}">
                  <a16:creationId xmlns:a16="http://schemas.microsoft.com/office/drawing/2014/main" id="{C87FF860-B4D9-8347-8A38-834322952908}"/>
                </a:ext>
              </a:extLst>
            </p:cNvPr>
            <p:cNvSpPr/>
            <p:nvPr/>
          </p:nvSpPr>
          <p:spPr>
            <a:xfrm>
              <a:off x="6513253" y="901353"/>
              <a:ext cx="58615" cy="83182"/>
            </a:xfrm>
            <a:custGeom>
              <a:avLst/>
              <a:gdLst>
                <a:gd name="connsiteX0" fmla="*/ 110394 w 233171"/>
                <a:gd name="connsiteY0" fmla="*/ 330898 h 330898"/>
                <a:gd name="connsiteX1" fmla="*/ 69723 w 233171"/>
                <a:gd name="connsiteY1" fmla="*/ 322897 h 330898"/>
                <a:gd name="connsiteX2" fmla="*/ 34480 w 233171"/>
                <a:gd name="connsiteY2" fmla="*/ 299466 h 330898"/>
                <a:gd name="connsiteX3" fmla="*/ 9430 w 233171"/>
                <a:gd name="connsiteY3" fmla="*/ 261938 h 330898"/>
                <a:gd name="connsiteX4" fmla="*/ 0 w 233171"/>
                <a:gd name="connsiteY4" fmla="*/ 211264 h 330898"/>
                <a:gd name="connsiteX5" fmla="*/ 0 w 233171"/>
                <a:gd name="connsiteY5" fmla="*/ 210407 h 330898"/>
                <a:gd name="connsiteX6" fmla="*/ 9430 w 233171"/>
                <a:gd name="connsiteY6" fmla="*/ 159925 h 330898"/>
                <a:gd name="connsiteX7" fmla="*/ 34480 w 233171"/>
                <a:gd name="connsiteY7" fmla="*/ 122206 h 330898"/>
                <a:gd name="connsiteX8" fmla="*/ 69723 w 233171"/>
                <a:gd name="connsiteY8" fmla="*/ 98488 h 330898"/>
                <a:gd name="connsiteX9" fmla="*/ 110394 w 233171"/>
                <a:gd name="connsiteY9" fmla="*/ 90202 h 330898"/>
                <a:gd name="connsiteX10" fmla="*/ 139827 w 233171"/>
                <a:gd name="connsiteY10" fmla="*/ 94202 h 330898"/>
                <a:gd name="connsiteX11" fmla="*/ 163925 w 233171"/>
                <a:gd name="connsiteY11" fmla="*/ 104870 h 330898"/>
                <a:gd name="connsiteX12" fmla="*/ 183356 w 233171"/>
                <a:gd name="connsiteY12" fmla="*/ 120491 h 330898"/>
                <a:gd name="connsiteX13" fmla="*/ 198787 w 233171"/>
                <a:gd name="connsiteY13" fmla="*/ 139255 h 330898"/>
                <a:gd name="connsiteX14" fmla="*/ 198787 w 233171"/>
                <a:gd name="connsiteY14" fmla="*/ 0 h 330898"/>
                <a:gd name="connsiteX15" fmla="*/ 233172 w 233171"/>
                <a:gd name="connsiteY15" fmla="*/ 0 h 330898"/>
                <a:gd name="connsiteX16" fmla="*/ 233172 w 233171"/>
                <a:gd name="connsiteY16" fmla="*/ 325850 h 330898"/>
                <a:gd name="connsiteX17" fmla="*/ 198787 w 233171"/>
                <a:gd name="connsiteY17" fmla="*/ 325850 h 330898"/>
                <a:gd name="connsiteX18" fmla="*/ 198787 w 233171"/>
                <a:gd name="connsiteY18" fmla="*/ 279463 h 330898"/>
                <a:gd name="connsiteX19" fmla="*/ 182975 w 233171"/>
                <a:gd name="connsiteY19" fmla="*/ 299085 h 330898"/>
                <a:gd name="connsiteX20" fmla="*/ 163544 w 233171"/>
                <a:gd name="connsiteY20" fmla="*/ 315658 h 330898"/>
                <a:gd name="connsiteX21" fmla="*/ 139636 w 233171"/>
                <a:gd name="connsiteY21" fmla="*/ 326803 h 330898"/>
                <a:gd name="connsiteX22" fmla="*/ 110394 w 233171"/>
                <a:gd name="connsiteY22" fmla="*/ 330803 h 330898"/>
                <a:gd name="connsiteX23" fmla="*/ 116681 w 233171"/>
                <a:gd name="connsiteY23" fmla="*/ 300133 h 330898"/>
                <a:gd name="connsiteX24" fmla="*/ 147733 w 233171"/>
                <a:gd name="connsiteY24" fmla="*/ 293656 h 330898"/>
                <a:gd name="connsiteX25" fmla="*/ 174498 w 233171"/>
                <a:gd name="connsiteY25" fmla="*/ 275368 h 330898"/>
                <a:gd name="connsiteX26" fmla="*/ 193262 w 233171"/>
                <a:gd name="connsiteY26" fmla="*/ 247269 h 330898"/>
                <a:gd name="connsiteX27" fmla="*/ 200216 w 233171"/>
                <a:gd name="connsiteY27" fmla="*/ 210883 h 330898"/>
                <a:gd name="connsiteX28" fmla="*/ 200216 w 233171"/>
                <a:gd name="connsiteY28" fmla="*/ 210026 h 330898"/>
                <a:gd name="connsiteX29" fmla="*/ 193262 w 233171"/>
                <a:gd name="connsiteY29" fmla="*/ 173641 h 330898"/>
                <a:gd name="connsiteX30" fmla="*/ 174498 w 233171"/>
                <a:gd name="connsiteY30" fmla="*/ 145732 h 330898"/>
                <a:gd name="connsiteX31" fmla="*/ 147733 w 233171"/>
                <a:gd name="connsiteY31" fmla="*/ 127635 h 330898"/>
                <a:gd name="connsiteX32" fmla="*/ 116681 w 233171"/>
                <a:gd name="connsiteY32" fmla="*/ 121158 h 330898"/>
                <a:gd name="connsiteX33" fmla="*/ 84963 w 233171"/>
                <a:gd name="connsiteY33" fmla="*/ 127159 h 330898"/>
                <a:gd name="connsiteX34" fmla="*/ 59341 w 233171"/>
                <a:gd name="connsiteY34" fmla="*/ 144589 h 330898"/>
                <a:gd name="connsiteX35" fmla="*/ 41910 w 233171"/>
                <a:gd name="connsiteY35" fmla="*/ 172498 h 330898"/>
                <a:gd name="connsiteX36" fmla="*/ 35433 w 233171"/>
                <a:gd name="connsiteY36" fmla="*/ 210026 h 330898"/>
                <a:gd name="connsiteX37" fmla="*/ 35433 w 233171"/>
                <a:gd name="connsiteY37" fmla="*/ 210883 h 330898"/>
                <a:gd name="connsiteX38" fmla="*/ 41910 w 233171"/>
                <a:gd name="connsiteY38" fmla="*/ 247936 h 330898"/>
                <a:gd name="connsiteX39" fmla="*/ 59531 w 233171"/>
                <a:gd name="connsiteY39" fmla="*/ 276034 h 330898"/>
                <a:gd name="connsiteX40" fmla="*/ 85439 w 233171"/>
                <a:gd name="connsiteY40" fmla="*/ 293941 h 330898"/>
                <a:gd name="connsiteX41" fmla="*/ 116681 w 23317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3171" h="330898">
                  <a:moveTo>
                    <a:pt x="110394" y="330898"/>
                  </a:moveTo>
                  <a:cubicBezTo>
                    <a:pt x="96393" y="330898"/>
                    <a:pt x="82868" y="328231"/>
                    <a:pt x="69723" y="322897"/>
                  </a:cubicBezTo>
                  <a:cubicBezTo>
                    <a:pt x="56674" y="317563"/>
                    <a:pt x="44863" y="309753"/>
                    <a:pt x="34480" y="299466"/>
                  </a:cubicBezTo>
                  <a:cubicBezTo>
                    <a:pt x="24003" y="289179"/>
                    <a:pt x="15716" y="276701"/>
                    <a:pt x="9430" y="261938"/>
                  </a:cubicBezTo>
                  <a:cubicBezTo>
                    <a:pt x="3143" y="247174"/>
                    <a:pt x="0" y="230314"/>
                    <a:pt x="0" y="211264"/>
                  </a:cubicBezTo>
                  <a:lnTo>
                    <a:pt x="0" y="210407"/>
                  </a:lnTo>
                  <a:cubicBezTo>
                    <a:pt x="0" y="191643"/>
                    <a:pt x="3143" y="174879"/>
                    <a:pt x="9430" y="159925"/>
                  </a:cubicBezTo>
                  <a:cubicBezTo>
                    <a:pt x="15716" y="145066"/>
                    <a:pt x="24003" y="132493"/>
                    <a:pt x="34480" y="122206"/>
                  </a:cubicBezTo>
                  <a:cubicBezTo>
                    <a:pt x="44863" y="111919"/>
                    <a:pt x="56674" y="104013"/>
                    <a:pt x="69723" y="98488"/>
                  </a:cubicBezTo>
                  <a:cubicBezTo>
                    <a:pt x="82868" y="92964"/>
                    <a:pt x="96393" y="90202"/>
                    <a:pt x="110394" y="90202"/>
                  </a:cubicBezTo>
                  <a:cubicBezTo>
                    <a:pt x="121158" y="90202"/>
                    <a:pt x="130969" y="91535"/>
                    <a:pt x="139827" y="94202"/>
                  </a:cubicBezTo>
                  <a:cubicBezTo>
                    <a:pt x="148780" y="96869"/>
                    <a:pt x="156782" y="100489"/>
                    <a:pt x="163925" y="104870"/>
                  </a:cubicBezTo>
                  <a:cubicBezTo>
                    <a:pt x="171069" y="109347"/>
                    <a:pt x="177546" y="114586"/>
                    <a:pt x="183356" y="120491"/>
                  </a:cubicBezTo>
                  <a:cubicBezTo>
                    <a:pt x="189166" y="126492"/>
                    <a:pt x="194310" y="132683"/>
                    <a:pt x="198787" y="139255"/>
                  </a:cubicBezTo>
                  <a:lnTo>
                    <a:pt x="198787" y="0"/>
                  </a:lnTo>
                  <a:lnTo>
                    <a:pt x="233172" y="0"/>
                  </a:lnTo>
                  <a:lnTo>
                    <a:pt x="233172" y="325850"/>
                  </a:lnTo>
                  <a:lnTo>
                    <a:pt x="198787" y="325850"/>
                  </a:lnTo>
                  <a:lnTo>
                    <a:pt x="198787" y="279463"/>
                  </a:lnTo>
                  <a:cubicBezTo>
                    <a:pt x="194024" y="286321"/>
                    <a:pt x="188786" y="292894"/>
                    <a:pt x="182975" y="299085"/>
                  </a:cubicBezTo>
                  <a:cubicBezTo>
                    <a:pt x="177165" y="305371"/>
                    <a:pt x="170688" y="310896"/>
                    <a:pt x="163544" y="315658"/>
                  </a:cubicBezTo>
                  <a:cubicBezTo>
                    <a:pt x="156400" y="320421"/>
                    <a:pt x="148494" y="324136"/>
                    <a:pt x="139636" y="326803"/>
                  </a:cubicBezTo>
                  <a:cubicBezTo>
                    <a:pt x="130873" y="329470"/>
                    <a:pt x="121158" y="330803"/>
                    <a:pt x="110394" y="330803"/>
                  </a:cubicBezTo>
                  <a:close/>
                  <a:moveTo>
                    <a:pt x="116681" y="300133"/>
                  </a:moveTo>
                  <a:cubicBezTo>
                    <a:pt x="127445" y="300133"/>
                    <a:pt x="137732" y="297942"/>
                    <a:pt x="147733" y="293656"/>
                  </a:cubicBezTo>
                  <a:cubicBezTo>
                    <a:pt x="157734" y="289369"/>
                    <a:pt x="166592" y="283273"/>
                    <a:pt x="174498" y="275368"/>
                  </a:cubicBezTo>
                  <a:cubicBezTo>
                    <a:pt x="182404" y="267462"/>
                    <a:pt x="188595" y="258127"/>
                    <a:pt x="193262" y="247269"/>
                  </a:cubicBezTo>
                  <a:cubicBezTo>
                    <a:pt x="197834" y="236410"/>
                    <a:pt x="200216" y="224314"/>
                    <a:pt x="200216" y="210883"/>
                  </a:cubicBezTo>
                  <a:lnTo>
                    <a:pt x="200216" y="210026"/>
                  </a:lnTo>
                  <a:cubicBezTo>
                    <a:pt x="200216" y="196596"/>
                    <a:pt x="197929" y="184499"/>
                    <a:pt x="193262" y="173641"/>
                  </a:cubicBezTo>
                  <a:cubicBezTo>
                    <a:pt x="188595" y="162782"/>
                    <a:pt x="182404" y="153448"/>
                    <a:pt x="174498" y="145732"/>
                  </a:cubicBezTo>
                  <a:cubicBezTo>
                    <a:pt x="166592" y="138017"/>
                    <a:pt x="157639" y="132016"/>
                    <a:pt x="147733" y="127635"/>
                  </a:cubicBezTo>
                  <a:cubicBezTo>
                    <a:pt x="137732" y="123349"/>
                    <a:pt x="127445" y="121158"/>
                    <a:pt x="116681" y="121158"/>
                  </a:cubicBezTo>
                  <a:cubicBezTo>
                    <a:pt x="105346" y="121158"/>
                    <a:pt x="94774" y="123158"/>
                    <a:pt x="84963" y="127159"/>
                  </a:cubicBezTo>
                  <a:cubicBezTo>
                    <a:pt x="75152" y="131159"/>
                    <a:pt x="66580" y="136969"/>
                    <a:pt x="59341" y="144589"/>
                  </a:cubicBezTo>
                  <a:cubicBezTo>
                    <a:pt x="52007" y="152114"/>
                    <a:pt x="46291" y="161449"/>
                    <a:pt x="41910" y="172498"/>
                  </a:cubicBezTo>
                  <a:cubicBezTo>
                    <a:pt x="37624" y="183451"/>
                    <a:pt x="35433" y="196024"/>
                    <a:pt x="35433" y="210026"/>
                  </a:cubicBezTo>
                  <a:lnTo>
                    <a:pt x="35433" y="210883"/>
                  </a:lnTo>
                  <a:cubicBezTo>
                    <a:pt x="35433" y="224599"/>
                    <a:pt x="37624" y="236982"/>
                    <a:pt x="41910" y="247936"/>
                  </a:cubicBezTo>
                  <a:cubicBezTo>
                    <a:pt x="46196" y="258984"/>
                    <a:pt x="52101" y="268319"/>
                    <a:pt x="59531" y="276034"/>
                  </a:cubicBezTo>
                  <a:cubicBezTo>
                    <a:pt x="66960" y="283750"/>
                    <a:pt x="75629" y="289750"/>
                    <a:pt x="85439" y="293941"/>
                  </a:cubicBezTo>
                  <a:cubicBezTo>
                    <a:pt x="95250" y="298132"/>
                    <a:pt x="105632" y="300228"/>
                    <a:pt x="116681" y="300228"/>
                  </a:cubicBezTo>
                  <a:close/>
                </a:path>
              </a:pathLst>
            </a:custGeom>
            <a:solidFill>
              <a:srgbClr val="44505E"/>
            </a:solidFill>
            <a:ln w="9525" cap="flat">
              <a:noFill/>
              <a:prstDash val="solid"/>
              <a:miter/>
            </a:ln>
          </p:spPr>
          <p:txBody>
            <a:bodyPr rtlCol="0" anchor="ctr"/>
            <a:lstStyle/>
            <a:p>
              <a:endParaRPr lang="pt-BR" noProof="0"/>
            </a:p>
          </p:txBody>
        </p:sp>
        <p:sp>
          <p:nvSpPr>
            <p:cNvPr id="53" name="Freeform: Shape 52">
              <a:extLst>
                <a:ext uri="{FF2B5EF4-FFF2-40B4-BE49-F238E27FC236}">
                  <a16:creationId xmlns:a16="http://schemas.microsoft.com/office/drawing/2014/main" id="{1153C57E-34EB-EBEF-EEB2-5AC720DE594F}"/>
                </a:ext>
              </a:extLst>
            </p:cNvPr>
            <p:cNvSpPr/>
            <p:nvPr/>
          </p:nvSpPr>
          <p:spPr>
            <a:xfrm>
              <a:off x="6586762"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0 w 202977"/>
                <a:gd name="connsiteY16" fmla="*/ 48196 h 239267"/>
                <a:gd name="connsiteX17" fmla="*/ 20383 w 202977"/>
                <a:gd name="connsiteY17" fmla="*/ 19907 h 239267"/>
                <a:gd name="connsiteX18" fmla="*/ 59245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0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1"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675" y="92678"/>
                    <a:pt x="84011" y="90964"/>
                    <a:pt x="98584" y="90964"/>
                  </a:cubicBezTo>
                  <a:cubicBezTo>
                    <a:pt x="113157" y="90964"/>
                    <a:pt x="126302"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0" y="33147"/>
                    <a:pt x="63436" y="36100"/>
                  </a:cubicBezTo>
                  <a:cubicBezTo>
                    <a:pt x="52292" y="39053"/>
                    <a:pt x="41338" y="43053"/>
                    <a:pt x="30670" y="48196"/>
                  </a:cubicBezTo>
                  <a:lnTo>
                    <a:pt x="20383" y="19907"/>
                  </a:lnTo>
                  <a:cubicBezTo>
                    <a:pt x="33147" y="13906"/>
                    <a:pt x="46101" y="9049"/>
                    <a:pt x="59245" y="5429"/>
                  </a:cubicBezTo>
                  <a:cubicBezTo>
                    <a:pt x="72294" y="1810"/>
                    <a:pt x="87344" y="0"/>
                    <a:pt x="104299" y="0"/>
                  </a:cubicBezTo>
                  <a:cubicBezTo>
                    <a:pt x="137064" y="0"/>
                    <a:pt x="161925" y="8477"/>
                    <a:pt x="178879" y="25432"/>
                  </a:cubicBezTo>
                  <a:cubicBezTo>
                    <a:pt x="194976"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0" y="239173"/>
                  </a:cubicBezTo>
                  <a:close/>
                  <a:moveTo>
                    <a:pt x="93154" y="211169"/>
                  </a:moveTo>
                  <a:cubicBezTo>
                    <a:pt x="103822" y="211169"/>
                    <a:pt x="113729" y="209740"/>
                    <a:pt x="122967" y="206788"/>
                  </a:cubicBezTo>
                  <a:cubicBezTo>
                    <a:pt x="132207"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4" y="119348"/>
                    <a:pt x="116871"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54" name="Freeform: Shape 53">
              <a:extLst>
                <a:ext uri="{FF2B5EF4-FFF2-40B4-BE49-F238E27FC236}">
                  <a16:creationId xmlns:a16="http://schemas.microsoft.com/office/drawing/2014/main" id="{5DCCEBB1-F9BF-EAD9-6DAF-FBBB7716A916}"/>
                </a:ext>
              </a:extLst>
            </p:cNvPr>
            <p:cNvSpPr/>
            <p:nvPr/>
          </p:nvSpPr>
          <p:spPr>
            <a:xfrm>
              <a:off x="6651291" y="924268"/>
              <a:ext cx="44680" cy="60195"/>
            </a:xfrm>
            <a:custGeom>
              <a:avLst/>
              <a:gdLst>
                <a:gd name="connsiteX0" fmla="*/ 95535 w 177736"/>
                <a:gd name="connsiteY0" fmla="*/ 239268 h 239458"/>
                <a:gd name="connsiteX1" fmla="*/ 45053 w 177736"/>
                <a:gd name="connsiteY1" fmla="*/ 230124 h 239458"/>
                <a:gd name="connsiteX2" fmla="*/ 0 w 177736"/>
                <a:gd name="connsiteY2" fmla="*/ 205359 h 239458"/>
                <a:gd name="connsiteX3" fmla="*/ 17430 w 177736"/>
                <a:gd name="connsiteY3" fmla="*/ 180785 h 239458"/>
                <a:gd name="connsiteX4" fmla="*/ 56483 w 177736"/>
                <a:gd name="connsiteY4" fmla="*/ 202692 h 239458"/>
                <a:gd name="connsiteX5" fmla="*/ 97345 w 177736"/>
                <a:gd name="connsiteY5" fmla="*/ 210217 h 239458"/>
                <a:gd name="connsiteX6" fmla="*/ 131730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825 w 177736"/>
                <a:gd name="connsiteY10" fmla="*/ 147066 h 239458"/>
                <a:gd name="connsiteX11" fmla="*/ 109251 w 177736"/>
                <a:gd name="connsiteY11" fmla="*/ 138779 h 239458"/>
                <a:gd name="connsiteX12" fmla="*/ 87630 w 177736"/>
                <a:gd name="connsiteY12" fmla="*/ 132112 h 239458"/>
                <a:gd name="connsiteX13" fmla="*/ 60579 w 177736"/>
                <a:gd name="connsiteY13" fmla="*/ 123444 h 239458"/>
                <a:gd name="connsiteX14" fmla="*/ 36004 w 177736"/>
                <a:gd name="connsiteY14" fmla="*/ 111633 h 239458"/>
                <a:gd name="connsiteX15" fmla="*/ 18192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59 w 177736"/>
                <a:gd name="connsiteY22" fmla="*/ 6953 h 239458"/>
                <a:gd name="connsiteX23" fmla="*/ 172878 w 177736"/>
                <a:gd name="connsiteY23" fmla="*/ 25527 h 239458"/>
                <a:gd name="connsiteX24" fmla="*/ 157257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3 w 177736"/>
                <a:gd name="connsiteY32" fmla="*/ 96203 h 239458"/>
                <a:gd name="connsiteX33" fmla="*/ 103631 w 177736"/>
                <a:gd name="connsiteY33" fmla="*/ 103346 h 239458"/>
                <a:gd name="connsiteX34" fmla="*/ 130207 w 177736"/>
                <a:gd name="connsiteY34" fmla="*/ 112300 h 239458"/>
                <a:gd name="connsiteX35" fmla="*/ 154114 w 177736"/>
                <a:gd name="connsiteY35" fmla="*/ 124778 h 239458"/>
                <a:gd name="connsiteX36" fmla="*/ 171259 w 177736"/>
                <a:gd name="connsiteY36" fmla="*/ 143066 h 239458"/>
                <a:gd name="connsiteX37" fmla="*/ 177736 w 177736"/>
                <a:gd name="connsiteY37" fmla="*/ 169450 h 239458"/>
                <a:gd name="connsiteX38" fmla="*/ 177736 w 177736"/>
                <a:gd name="connsiteY38" fmla="*/ 170307 h 239458"/>
                <a:gd name="connsiteX39" fmla="*/ 171259 w 177736"/>
                <a:gd name="connsiteY39" fmla="*/ 199549 h 239458"/>
                <a:gd name="connsiteX40" fmla="*/ 153828 w 177736"/>
                <a:gd name="connsiteY40" fmla="*/ 221171 h 239458"/>
                <a:gd name="connsiteX41" fmla="*/ 127921 w 177736"/>
                <a:gd name="connsiteY41" fmla="*/ 234791 h 239458"/>
                <a:gd name="connsiteX42" fmla="*/ 95535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5" y="239268"/>
                  </a:moveTo>
                  <a:cubicBezTo>
                    <a:pt x="78867" y="239268"/>
                    <a:pt x="62007" y="236220"/>
                    <a:pt x="45053" y="230124"/>
                  </a:cubicBezTo>
                  <a:cubicBezTo>
                    <a:pt x="28098" y="224028"/>
                    <a:pt x="13049" y="215741"/>
                    <a:pt x="0" y="205359"/>
                  </a:cubicBezTo>
                  <a:lnTo>
                    <a:pt x="17430" y="180785"/>
                  </a:lnTo>
                  <a:cubicBezTo>
                    <a:pt x="29908" y="190310"/>
                    <a:pt x="42957" y="197644"/>
                    <a:pt x="56483" y="202692"/>
                  </a:cubicBezTo>
                  <a:cubicBezTo>
                    <a:pt x="70009" y="207740"/>
                    <a:pt x="83629" y="210217"/>
                    <a:pt x="97345" y="210217"/>
                  </a:cubicBezTo>
                  <a:cubicBezTo>
                    <a:pt x="111061" y="210217"/>
                    <a:pt x="122777" y="206978"/>
                    <a:pt x="131730" y="200406"/>
                  </a:cubicBezTo>
                  <a:cubicBezTo>
                    <a:pt x="140684" y="193834"/>
                    <a:pt x="145161" y="184976"/>
                    <a:pt x="145161" y="173641"/>
                  </a:cubicBezTo>
                  <a:lnTo>
                    <a:pt x="145161" y="172784"/>
                  </a:lnTo>
                  <a:cubicBezTo>
                    <a:pt x="145161" y="167164"/>
                    <a:pt x="143541" y="162211"/>
                    <a:pt x="140494" y="158020"/>
                  </a:cubicBezTo>
                  <a:cubicBezTo>
                    <a:pt x="137350" y="153829"/>
                    <a:pt x="133159" y="150209"/>
                    <a:pt x="127825" y="147066"/>
                  </a:cubicBezTo>
                  <a:cubicBezTo>
                    <a:pt x="122491" y="143923"/>
                    <a:pt x="116300" y="141161"/>
                    <a:pt x="109251" y="138779"/>
                  </a:cubicBezTo>
                  <a:cubicBezTo>
                    <a:pt x="102298" y="136398"/>
                    <a:pt x="95059" y="134207"/>
                    <a:pt x="87630" y="132112"/>
                  </a:cubicBezTo>
                  <a:cubicBezTo>
                    <a:pt x="78676" y="129445"/>
                    <a:pt x="69722" y="126492"/>
                    <a:pt x="60579" y="123444"/>
                  </a:cubicBezTo>
                  <a:cubicBezTo>
                    <a:pt x="51530" y="120301"/>
                    <a:pt x="43339" y="116396"/>
                    <a:pt x="36004" y="111633"/>
                  </a:cubicBezTo>
                  <a:cubicBezTo>
                    <a:pt x="28670" y="106871"/>
                    <a:pt x="22764" y="100870"/>
                    <a:pt x="18192" y="93726"/>
                  </a:cubicBezTo>
                  <a:cubicBezTo>
                    <a:pt x="13525" y="86582"/>
                    <a:pt x="11239" y="77629"/>
                    <a:pt x="11239" y="66961"/>
                  </a:cubicBezTo>
                  <a:lnTo>
                    <a:pt x="11239" y="66008"/>
                  </a:lnTo>
                  <a:cubicBezTo>
                    <a:pt x="11239" y="56198"/>
                    <a:pt x="13144" y="47149"/>
                    <a:pt x="17050" y="39053"/>
                  </a:cubicBezTo>
                  <a:cubicBezTo>
                    <a:pt x="20955" y="30861"/>
                    <a:pt x="26384" y="23908"/>
                    <a:pt x="33338" y="18098"/>
                  </a:cubicBezTo>
                  <a:cubicBezTo>
                    <a:pt x="40291" y="12287"/>
                    <a:pt x="48673" y="7811"/>
                    <a:pt x="58388" y="4667"/>
                  </a:cubicBezTo>
                  <a:cubicBezTo>
                    <a:pt x="68008" y="1524"/>
                    <a:pt x="78581" y="0"/>
                    <a:pt x="89821" y="0"/>
                  </a:cubicBezTo>
                  <a:cubicBezTo>
                    <a:pt x="104108" y="0"/>
                    <a:pt x="118586" y="2286"/>
                    <a:pt x="133159" y="6953"/>
                  </a:cubicBezTo>
                  <a:cubicBezTo>
                    <a:pt x="147732" y="11621"/>
                    <a:pt x="160972" y="17717"/>
                    <a:pt x="172878" y="25527"/>
                  </a:cubicBezTo>
                  <a:lnTo>
                    <a:pt x="157257" y="51435"/>
                  </a:lnTo>
                  <a:cubicBezTo>
                    <a:pt x="146494" y="44577"/>
                    <a:pt x="135255" y="39148"/>
                    <a:pt x="123539" y="35147"/>
                  </a:cubicBezTo>
                  <a:cubicBezTo>
                    <a:pt x="111823" y="31147"/>
                    <a:pt x="100203" y="29146"/>
                    <a:pt x="88963" y="29146"/>
                  </a:cubicBezTo>
                  <a:cubicBezTo>
                    <a:pt x="75247" y="29146"/>
                    <a:pt x="64389" y="32385"/>
                    <a:pt x="56388" y="38767"/>
                  </a:cubicBezTo>
                  <a:cubicBezTo>
                    <a:pt x="48291" y="45149"/>
                    <a:pt x="44291" y="53150"/>
                    <a:pt x="44291" y="62675"/>
                  </a:cubicBezTo>
                  <a:lnTo>
                    <a:pt x="44291" y="63627"/>
                  </a:lnTo>
                  <a:cubicBezTo>
                    <a:pt x="44291" y="68961"/>
                    <a:pt x="45910" y="73628"/>
                    <a:pt x="49244" y="77724"/>
                  </a:cubicBezTo>
                  <a:cubicBezTo>
                    <a:pt x="52482" y="81725"/>
                    <a:pt x="56864" y="85249"/>
                    <a:pt x="62389" y="88202"/>
                  </a:cubicBezTo>
                  <a:cubicBezTo>
                    <a:pt x="67913" y="91154"/>
                    <a:pt x="74200" y="93821"/>
                    <a:pt x="81343" y="96203"/>
                  </a:cubicBezTo>
                  <a:cubicBezTo>
                    <a:pt x="88487" y="98584"/>
                    <a:pt x="95916" y="100965"/>
                    <a:pt x="103631" y="103346"/>
                  </a:cubicBezTo>
                  <a:cubicBezTo>
                    <a:pt x="112585" y="106013"/>
                    <a:pt x="121444" y="108966"/>
                    <a:pt x="130207" y="112300"/>
                  </a:cubicBezTo>
                  <a:cubicBezTo>
                    <a:pt x="138969" y="115538"/>
                    <a:pt x="146971" y="119729"/>
                    <a:pt x="154114" y="124778"/>
                  </a:cubicBezTo>
                  <a:cubicBezTo>
                    <a:pt x="161258" y="129826"/>
                    <a:pt x="166973" y="135922"/>
                    <a:pt x="171259" y="143066"/>
                  </a:cubicBezTo>
                  <a:cubicBezTo>
                    <a:pt x="175546" y="150209"/>
                    <a:pt x="177736" y="158972"/>
                    <a:pt x="177736" y="169450"/>
                  </a:cubicBezTo>
                  <a:lnTo>
                    <a:pt x="177736" y="170307"/>
                  </a:lnTo>
                  <a:cubicBezTo>
                    <a:pt x="177736" y="181356"/>
                    <a:pt x="175546" y="191071"/>
                    <a:pt x="171259" y="199549"/>
                  </a:cubicBezTo>
                  <a:cubicBezTo>
                    <a:pt x="166973" y="208026"/>
                    <a:pt x="161163" y="215265"/>
                    <a:pt x="153828" y="221171"/>
                  </a:cubicBezTo>
                  <a:cubicBezTo>
                    <a:pt x="146589" y="227171"/>
                    <a:pt x="137922" y="231648"/>
                    <a:pt x="127921" y="234791"/>
                  </a:cubicBezTo>
                  <a:cubicBezTo>
                    <a:pt x="117919" y="237935"/>
                    <a:pt x="107156" y="239459"/>
                    <a:pt x="95535" y="239459"/>
                  </a:cubicBezTo>
                  <a:close/>
                </a:path>
              </a:pathLst>
            </a:custGeom>
            <a:solidFill>
              <a:srgbClr val="44505E"/>
            </a:solidFill>
            <a:ln w="9525" cap="flat">
              <a:noFill/>
              <a:prstDash val="solid"/>
              <a:miter/>
            </a:ln>
          </p:spPr>
          <p:txBody>
            <a:bodyPr rtlCol="0" anchor="ctr"/>
            <a:lstStyle/>
            <a:p>
              <a:endParaRPr lang="pt-BR" noProof="0"/>
            </a:p>
          </p:txBody>
        </p:sp>
        <p:sp>
          <p:nvSpPr>
            <p:cNvPr id="55" name="Freeform: Shape 54">
              <a:extLst>
                <a:ext uri="{FF2B5EF4-FFF2-40B4-BE49-F238E27FC236}">
                  <a16:creationId xmlns:a16="http://schemas.microsoft.com/office/drawing/2014/main" id="{D45BF36E-E37F-8397-BB8F-0B7B178FFAD3}"/>
                </a:ext>
              </a:extLst>
            </p:cNvPr>
            <p:cNvSpPr/>
            <p:nvPr/>
          </p:nvSpPr>
          <p:spPr>
            <a:xfrm>
              <a:off x="5250320" y="846952"/>
              <a:ext cx="1459036" cy="16186"/>
            </a:xfrm>
            <a:custGeom>
              <a:avLst/>
              <a:gdLst>
                <a:gd name="connsiteX0" fmla="*/ 0 w 5804058"/>
                <a:gd name="connsiteY0" fmla="*/ 0 h 64388"/>
                <a:gd name="connsiteX1" fmla="*/ 5804059 w 5804058"/>
                <a:gd name="connsiteY1" fmla="*/ 0 h 64388"/>
                <a:gd name="connsiteX2" fmla="*/ 5804059 w 5804058"/>
                <a:gd name="connsiteY2" fmla="*/ 64389 h 64388"/>
                <a:gd name="connsiteX3" fmla="*/ 0 w 5804058"/>
                <a:gd name="connsiteY3" fmla="*/ 64389 h 64388"/>
              </a:gdLst>
              <a:ahLst/>
              <a:cxnLst>
                <a:cxn ang="0">
                  <a:pos x="connsiteX0" y="connsiteY0"/>
                </a:cxn>
                <a:cxn ang="0">
                  <a:pos x="connsiteX1" y="connsiteY1"/>
                </a:cxn>
                <a:cxn ang="0">
                  <a:pos x="connsiteX2" y="connsiteY2"/>
                </a:cxn>
                <a:cxn ang="0">
                  <a:pos x="connsiteX3" y="connsiteY3"/>
                </a:cxn>
              </a:cxnLst>
              <a:rect l="l" t="t" r="r" b="b"/>
              <a:pathLst>
                <a:path w="5804058" h="64388">
                  <a:moveTo>
                    <a:pt x="0" y="0"/>
                  </a:moveTo>
                  <a:lnTo>
                    <a:pt x="5804059" y="0"/>
                  </a:lnTo>
                  <a:lnTo>
                    <a:pt x="5804059" y="64389"/>
                  </a:lnTo>
                  <a:lnTo>
                    <a:pt x="0" y="64389"/>
                  </a:lnTo>
                  <a:close/>
                </a:path>
              </a:pathLst>
            </a:custGeom>
            <a:solidFill>
              <a:srgbClr val="44505E"/>
            </a:solidFill>
            <a:ln w="9525" cap="flat">
              <a:noFill/>
              <a:prstDash val="solid"/>
              <a:miter/>
            </a:ln>
          </p:spPr>
          <p:txBody>
            <a:bodyPr rtlCol="0" anchor="ctr"/>
            <a:lstStyle/>
            <a:p>
              <a:endParaRPr lang="pt-BR" noProof="0"/>
            </a:p>
          </p:txBody>
        </p:sp>
        <p:sp>
          <p:nvSpPr>
            <p:cNvPr id="56" name="Freeform: Shape 55">
              <a:extLst>
                <a:ext uri="{FF2B5EF4-FFF2-40B4-BE49-F238E27FC236}">
                  <a16:creationId xmlns:a16="http://schemas.microsoft.com/office/drawing/2014/main" id="{845628C5-AD85-8A00-A415-202807D010E4}"/>
                </a:ext>
              </a:extLst>
            </p:cNvPr>
            <p:cNvSpPr/>
            <p:nvPr/>
          </p:nvSpPr>
          <p:spPr>
            <a:xfrm>
              <a:off x="6902633" y="268821"/>
              <a:ext cx="273418" cy="601046"/>
            </a:xfrm>
            <a:custGeom>
              <a:avLst/>
              <a:gdLst>
                <a:gd name="connsiteX0" fmla="*/ 0 w 1087659"/>
                <a:gd name="connsiteY0" fmla="*/ 210979 h 2390965"/>
                <a:gd name="connsiteX1" fmla="*/ 125063 w 1087659"/>
                <a:gd name="connsiteY1" fmla="*/ 103442 h 2390965"/>
                <a:gd name="connsiteX2" fmla="*/ 250031 w 1087659"/>
                <a:gd name="connsiteY2" fmla="*/ 210979 h 2390965"/>
                <a:gd name="connsiteX3" fmla="*/ 250031 w 1087659"/>
                <a:gd name="connsiteY3" fmla="*/ 1922717 h 2390965"/>
                <a:gd name="connsiteX4" fmla="*/ 249841 w 1087659"/>
                <a:gd name="connsiteY4" fmla="*/ 1922717 h 2390965"/>
                <a:gd name="connsiteX5" fmla="*/ 249841 w 1087659"/>
                <a:gd name="connsiteY5" fmla="*/ 1925955 h 2390965"/>
                <a:gd name="connsiteX6" fmla="*/ 333756 w 1087659"/>
                <a:gd name="connsiteY6" fmla="*/ 2100263 h 2390965"/>
                <a:gd name="connsiteX7" fmla="*/ 335566 w 1087659"/>
                <a:gd name="connsiteY7" fmla="*/ 2101787 h 2390965"/>
                <a:gd name="connsiteX8" fmla="*/ 336042 w 1087659"/>
                <a:gd name="connsiteY8" fmla="*/ 2102168 h 2390965"/>
                <a:gd name="connsiteX9" fmla="*/ 543877 w 1087659"/>
                <a:gd name="connsiteY9" fmla="*/ 2175891 h 2390965"/>
                <a:gd name="connsiteX10" fmla="*/ 749998 w 1087659"/>
                <a:gd name="connsiteY10" fmla="*/ 2103692 h 2390965"/>
                <a:gd name="connsiteX11" fmla="*/ 751713 w 1087659"/>
                <a:gd name="connsiteY11" fmla="*/ 2102168 h 2390965"/>
                <a:gd name="connsiteX12" fmla="*/ 752189 w 1087659"/>
                <a:gd name="connsiteY12" fmla="*/ 2101787 h 2390965"/>
                <a:gd name="connsiteX13" fmla="*/ 837819 w 1087659"/>
                <a:gd name="connsiteY13" fmla="*/ 1922812 h 2390965"/>
                <a:gd name="connsiteX14" fmla="*/ 837819 w 1087659"/>
                <a:gd name="connsiteY14" fmla="*/ 107537 h 2390965"/>
                <a:gd name="connsiteX15" fmla="*/ 962787 w 1087659"/>
                <a:gd name="connsiteY15" fmla="*/ 0 h 2390965"/>
                <a:gd name="connsiteX16" fmla="*/ 1087660 w 1087659"/>
                <a:gd name="connsiteY16" fmla="*/ 107537 h 2390965"/>
                <a:gd name="connsiteX17" fmla="*/ 1087660 w 1087659"/>
                <a:gd name="connsiteY17" fmla="*/ 1922621 h 2390965"/>
                <a:gd name="connsiteX18" fmla="*/ 928307 w 1087659"/>
                <a:gd name="connsiteY18" fmla="*/ 2253234 h 2390965"/>
                <a:gd name="connsiteX19" fmla="*/ 928116 w 1087659"/>
                <a:gd name="connsiteY19" fmla="*/ 2253424 h 2390965"/>
                <a:gd name="connsiteX20" fmla="*/ 927830 w 1087659"/>
                <a:gd name="connsiteY20" fmla="*/ 2253710 h 2390965"/>
                <a:gd name="connsiteX21" fmla="*/ 927354 w 1087659"/>
                <a:gd name="connsiteY21" fmla="*/ 2254187 h 2390965"/>
                <a:gd name="connsiteX22" fmla="*/ 543783 w 1087659"/>
                <a:gd name="connsiteY22" fmla="*/ 2390966 h 2390965"/>
                <a:gd name="connsiteX23" fmla="*/ 159734 w 1087659"/>
                <a:gd name="connsiteY23" fmla="*/ 2253710 h 2390965"/>
                <a:gd name="connsiteX24" fmla="*/ 159734 w 1087659"/>
                <a:gd name="connsiteY24" fmla="*/ 2253424 h 2390965"/>
                <a:gd name="connsiteX25" fmla="*/ 159353 w 1087659"/>
                <a:gd name="connsiteY25" fmla="*/ 2253234 h 2390965"/>
                <a:gd name="connsiteX26" fmla="*/ 158877 w 1087659"/>
                <a:gd name="connsiteY26" fmla="*/ 2252948 h 2390965"/>
                <a:gd name="connsiteX27" fmla="*/ 0 w 1087659"/>
                <a:gd name="connsiteY27" fmla="*/ 1922621 h 2390965"/>
                <a:gd name="connsiteX28" fmla="*/ 0 w 1087659"/>
                <a:gd name="connsiteY28" fmla="*/ 1922621 h 2390965"/>
                <a:gd name="connsiteX29" fmla="*/ 0 w 1087659"/>
                <a:gd name="connsiteY29" fmla="*/ 210979 h 239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87659" h="2390965">
                  <a:moveTo>
                    <a:pt x="0" y="210979"/>
                  </a:moveTo>
                  <a:cubicBezTo>
                    <a:pt x="0" y="151638"/>
                    <a:pt x="56007" y="103442"/>
                    <a:pt x="125063" y="103442"/>
                  </a:cubicBezTo>
                  <a:cubicBezTo>
                    <a:pt x="194120" y="103442"/>
                    <a:pt x="250031" y="151638"/>
                    <a:pt x="250031" y="210979"/>
                  </a:cubicBezTo>
                  <a:lnTo>
                    <a:pt x="250031" y="1922717"/>
                  </a:lnTo>
                  <a:lnTo>
                    <a:pt x="249841" y="1922717"/>
                  </a:lnTo>
                  <a:lnTo>
                    <a:pt x="249841" y="1925955"/>
                  </a:lnTo>
                  <a:cubicBezTo>
                    <a:pt x="250793" y="1994059"/>
                    <a:pt x="282797" y="2055495"/>
                    <a:pt x="333756" y="2100263"/>
                  </a:cubicBezTo>
                  <a:lnTo>
                    <a:pt x="335566" y="2101787"/>
                  </a:lnTo>
                  <a:lnTo>
                    <a:pt x="336042" y="2102168"/>
                  </a:lnTo>
                  <a:cubicBezTo>
                    <a:pt x="388906" y="2147697"/>
                    <a:pt x="462343" y="2175891"/>
                    <a:pt x="543877" y="2175891"/>
                  </a:cubicBezTo>
                  <a:cubicBezTo>
                    <a:pt x="625411" y="2175891"/>
                    <a:pt x="697420" y="2148364"/>
                    <a:pt x="749998" y="2103692"/>
                  </a:cubicBezTo>
                  <a:lnTo>
                    <a:pt x="751713" y="2102168"/>
                  </a:lnTo>
                  <a:lnTo>
                    <a:pt x="752189" y="2101787"/>
                  </a:lnTo>
                  <a:cubicBezTo>
                    <a:pt x="805053" y="2056352"/>
                    <a:pt x="837819" y="1993011"/>
                    <a:pt x="837819" y="1922812"/>
                  </a:cubicBezTo>
                  <a:lnTo>
                    <a:pt x="837819" y="107537"/>
                  </a:lnTo>
                  <a:cubicBezTo>
                    <a:pt x="837819" y="48196"/>
                    <a:pt x="893731" y="0"/>
                    <a:pt x="962787" y="0"/>
                  </a:cubicBezTo>
                  <a:cubicBezTo>
                    <a:pt x="1031843" y="0"/>
                    <a:pt x="1087660" y="48196"/>
                    <a:pt x="1087660" y="107537"/>
                  </a:cubicBezTo>
                  <a:lnTo>
                    <a:pt x="1087660" y="1922621"/>
                  </a:lnTo>
                  <a:cubicBezTo>
                    <a:pt x="1087660" y="2051399"/>
                    <a:pt x="1026795" y="2168366"/>
                    <a:pt x="928307" y="2253234"/>
                  </a:cubicBezTo>
                  <a:lnTo>
                    <a:pt x="928116" y="2253424"/>
                  </a:lnTo>
                  <a:lnTo>
                    <a:pt x="927830" y="2253710"/>
                  </a:lnTo>
                  <a:lnTo>
                    <a:pt x="927354" y="2254187"/>
                  </a:lnTo>
                  <a:cubicBezTo>
                    <a:pt x="828770" y="2338673"/>
                    <a:pt x="693134" y="2390966"/>
                    <a:pt x="543783" y="2390966"/>
                  </a:cubicBezTo>
                  <a:cubicBezTo>
                    <a:pt x="394430" y="2390966"/>
                    <a:pt x="258413" y="2338483"/>
                    <a:pt x="159734" y="2253710"/>
                  </a:cubicBezTo>
                  <a:lnTo>
                    <a:pt x="159734" y="2253424"/>
                  </a:lnTo>
                  <a:cubicBezTo>
                    <a:pt x="159734" y="2253424"/>
                    <a:pt x="159353" y="2253234"/>
                    <a:pt x="159353" y="2253234"/>
                  </a:cubicBezTo>
                  <a:lnTo>
                    <a:pt x="158877" y="2252948"/>
                  </a:lnTo>
                  <a:cubicBezTo>
                    <a:pt x="60770" y="2167985"/>
                    <a:pt x="0" y="2051304"/>
                    <a:pt x="0" y="1922621"/>
                  </a:cubicBezTo>
                  <a:lnTo>
                    <a:pt x="0" y="1922621"/>
                  </a:lnTo>
                  <a:lnTo>
                    <a:pt x="0" y="210979"/>
                  </a:lnTo>
                  <a:close/>
                </a:path>
              </a:pathLst>
            </a:custGeom>
            <a:solidFill>
              <a:srgbClr val="8FC640"/>
            </a:solidFill>
            <a:ln w="9525" cap="flat">
              <a:noFill/>
              <a:prstDash val="solid"/>
              <a:miter/>
            </a:ln>
          </p:spPr>
          <p:txBody>
            <a:bodyPr rtlCol="0" anchor="ctr"/>
            <a:lstStyle/>
            <a:p>
              <a:endParaRPr lang="pt-BR" noProof="0"/>
            </a:p>
          </p:txBody>
        </p:sp>
        <p:sp>
          <p:nvSpPr>
            <p:cNvPr id="57" name="Freeform: Shape 56">
              <a:extLst>
                <a:ext uri="{FF2B5EF4-FFF2-40B4-BE49-F238E27FC236}">
                  <a16:creationId xmlns:a16="http://schemas.microsoft.com/office/drawing/2014/main" id="{BBC6AEE0-E9E3-64BC-64A6-755AFCE5DD7D}"/>
                </a:ext>
              </a:extLst>
            </p:cNvPr>
            <p:cNvSpPr/>
            <p:nvPr/>
          </p:nvSpPr>
          <p:spPr>
            <a:xfrm>
              <a:off x="7013590" y="213965"/>
              <a:ext cx="54018" cy="562280"/>
            </a:xfrm>
            <a:custGeom>
              <a:avLst/>
              <a:gdLst>
                <a:gd name="connsiteX0" fmla="*/ 0 w 214883"/>
                <a:gd name="connsiteY0" fmla="*/ 107537 h 2236755"/>
                <a:gd name="connsiteX1" fmla="*/ 107537 w 214883"/>
                <a:gd name="connsiteY1" fmla="*/ 0 h 2236755"/>
                <a:gd name="connsiteX2" fmla="*/ 214884 w 214883"/>
                <a:gd name="connsiteY2" fmla="*/ 107537 h 2236755"/>
                <a:gd name="connsiteX3" fmla="*/ 214884 w 214883"/>
                <a:gd name="connsiteY3" fmla="*/ 2129219 h 2236755"/>
                <a:gd name="connsiteX4" fmla="*/ 107537 w 214883"/>
                <a:gd name="connsiteY4" fmla="*/ 2236756 h 2236755"/>
                <a:gd name="connsiteX5" fmla="*/ 0 w 214883"/>
                <a:gd name="connsiteY5" fmla="*/ 2129219 h 2236755"/>
                <a:gd name="connsiteX6" fmla="*/ 0 w 214883"/>
                <a:gd name="connsiteY6" fmla="*/ 107537 h 223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 h="2236755">
                  <a:moveTo>
                    <a:pt x="0" y="107537"/>
                  </a:moveTo>
                  <a:cubicBezTo>
                    <a:pt x="0" y="48197"/>
                    <a:pt x="48101" y="0"/>
                    <a:pt x="107537" y="0"/>
                  </a:cubicBezTo>
                  <a:cubicBezTo>
                    <a:pt x="166973" y="0"/>
                    <a:pt x="214884" y="48197"/>
                    <a:pt x="214884" y="107537"/>
                  </a:cubicBezTo>
                  <a:lnTo>
                    <a:pt x="214884" y="2129219"/>
                  </a:lnTo>
                  <a:cubicBezTo>
                    <a:pt x="214884" y="2188559"/>
                    <a:pt x="166782" y="2236756"/>
                    <a:pt x="107537" y="2236756"/>
                  </a:cubicBezTo>
                  <a:cubicBezTo>
                    <a:pt x="48291" y="2236756"/>
                    <a:pt x="0" y="2188559"/>
                    <a:pt x="0" y="2129219"/>
                  </a:cubicBezTo>
                  <a:lnTo>
                    <a:pt x="0" y="107537"/>
                  </a:lnTo>
                  <a:close/>
                </a:path>
              </a:pathLst>
            </a:custGeom>
            <a:solidFill>
              <a:srgbClr val="3698B0"/>
            </a:solidFill>
            <a:ln w="9525" cap="flat">
              <a:noFill/>
              <a:prstDash val="solid"/>
              <a:miter/>
            </a:ln>
          </p:spPr>
          <p:txBody>
            <a:bodyPr rtlCol="0" anchor="ctr"/>
            <a:lstStyle/>
            <a:p>
              <a:endParaRPr lang="pt-BR" noProof="0"/>
            </a:p>
          </p:txBody>
        </p:sp>
        <p:sp>
          <p:nvSpPr>
            <p:cNvPr id="58" name="Freeform: Shape 57">
              <a:extLst>
                <a:ext uri="{FF2B5EF4-FFF2-40B4-BE49-F238E27FC236}">
                  <a16:creationId xmlns:a16="http://schemas.microsoft.com/office/drawing/2014/main" id="{E1990EAA-F21B-109E-F022-34F991A23DDB}"/>
                </a:ext>
              </a:extLst>
            </p:cNvPr>
            <p:cNvSpPr/>
            <p:nvPr/>
          </p:nvSpPr>
          <p:spPr>
            <a:xfrm>
              <a:off x="6795770" y="332991"/>
              <a:ext cx="485994" cy="649437"/>
            </a:xfrm>
            <a:custGeom>
              <a:avLst/>
              <a:gdLst>
                <a:gd name="connsiteX0" fmla="*/ 1933290 w 1933289"/>
                <a:gd name="connsiteY0" fmla="*/ 138017 h 2583465"/>
                <a:gd name="connsiteX1" fmla="*/ 1933290 w 1933289"/>
                <a:gd name="connsiteY1" fmla="*/ 1734122 h 2583465"/>
                <a:gd name="connsiteX2" fmla="*/ 1796606 w 1933289"/>
                <a:gd name="connsiteY2" fmla="*/ 2229136 h 2583465"/>
                <a:gd name="connsiteX3" fmla="*/ 977742 w 1933289"/>
                <a:gd name="connsiteY3" fmla="*/ 2583466 h 2583465"/>
                <a:gd name="connsiteX4" fmla="*/ 955357 w 1933289"/>
                <a:gd name="connsiteY4" fmla="*/ 2583466 h 2583465"/>
                <a:gd name="connsiteX5" fmla="*/ 136589 w 1933289"/>
                <a:gd name="connsiteY5" fmla="*/ 2229136 h 2583465"/>
                <a:gd name="connsiteX6" fmla="*/ 0 w 1933289"/>
                <a:gd name="connsiteY6" fmla="*/ 1734122 h 2583465"/>
                <a:gd name="connsiteX7" fmla="*/ 0 w 1933289"/>
                <a:gd name="connsiteY7" fmla="*/ 794194 h 2583465"/>
                <a:gd name="connsiteX8" fmla="*/ 137827 w 1933289"/>
                <a:gd name="connsiteY8" fmla="*/ 656273 h 2583465"/>
                <a:gd name="connsiteX9" fmla="*/ 275463 w 1933289"/>
                <a:gd name="connsiteY9" fmla="*/ 794194 h 2583465"/>
                <a:gd name="connsiteX10" fmla="*/ 275463 w 1933289"/>
                <a:gd name="connsiteY10" fmla="*/ 1734122 h 2583465"/>
                <a:gd name="connsiteX11" fmla="*/ 354235 w 1933289"/>
                <a:gd name="connsiteY11" fmla="*/ 2059686 h 2583465"/>
                <a:gd name="connsiteX12" fmla="*/ 958215 w 1933289"/>
                <a:gd name="connsiteY12" fmla="*/ 2307527 h 2583465"/>
                <a:gd name="connsiteX13" fmla="*/ 974789 w 1933289"/>
                <a:gd name="connsiteY13" fmla="*/ 2307527 h 2583465"/>
                <a:gd name="connsiteX14" fmla="*/ 1578959 w 1933289"/>
                <a:gd name="connsiteY14" fmla="*/ 2059686 h 2583465"/>
                <a:gd name="connsiteX15" fmla="*/ 1657636 w 1933289"/>
                <a:gd name="connsiteY15" fmla="*/ 1734122 h 2583465"/>
                <a:gd name="connsiteX16" fmla="*/ 1657636 w 1933289"/>
                <a:gd name="connsiteY16" fmla="*/ 138017 h 2583465"/>
                <a:gd name="connsiteX17" fmla="*/ 1795463 w 1933289"/>
                <a:gd name="connsiteY17" fmla="*/ 0 h 2583465"/>
                <a:gd name="connsiteX18" fmla="*/ 1933290 w 1933289"/>
                <a:gd name="connsiteY18" fmla="*/ 138017 h 25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3289" h="2583465">
                  <a:moveTo>
                    <a:pt x="1933290" y="138017"/>
                  </a:moveTo>
                  <a:lnTo>
                    <a:pt x="1933290" y="1734122"/>
                  </a:lnTo>
                  <a:cubicBezTo>
                    <a:pt x="1933290" y="1870996"/>
                    <a:pt x="1919002" y="2071211"/>
                    <a:pt x="1796606" y="2229136"/>
                  </a:cubicBezTo>
                  <a:cubicBezTo>
                    <a:pt x="1634395" y="2438305"/>
                    <a:pt x="1432084" y="2578703"/>
                    <a:pt x="977742" y="2583466"/>
                  </a:cubicBezTo>
                  <a:lnTo>
                    <a:pt x="955357" y="2583466"/>
                  </a:lnTo>
                  <a:cubicBezTo>
                    <a:pt x="501015" y="2578703"/>
                    <a:pt x="298704" y="2438400"/>
                    <a:pt x="136589" y="2229136"/>
                  </a:cubicBezTo>
                  <a:cubicBezTo>
                    <a:pt x="14192" y="2071211"/>
                    <a:pt x="0" y="1870996"/>
                    <a:pt x="0" y="1734122"/>
                  </a:cubicBezTo>
                  <a:lnTo>
                    <a:pt x="0" y="794194"/>
                  </a:lnTo>
                  <a:cubicBezTo>
                    <a:pt x="0" y="718185"/>
                    <a:pt x="61436" y="656273"/>
                    <a:pt x="137827" y="656273"/>
                  </a:cubicBezTo>
                  <a:cubicBezTo>
                    <a:pt x="214217" y="656273"/>
                    <a:pt x="275463" y="718185"/>
                    <a:pt x="275463" y="794194"/>
                  </a:cubicBezTo>
                  <a:lnTo>
                    <a:pt x="275463" y="1734122"/>
                  </a:lnTo>
                  <a:cubicBezTo>
                    <a:pt x="275463" y="1887188"/>
                    <a:pt x="300324" y="1990630"/>
                    <a:pt x="354235" y="2059686"/>
                  </a:cubicBezTo>
                  <a:cubicBezTo>
                    <a:pt x="476250" y="2217611"/>
                    <a:pt x="609791" y="2304479"/>
                    <a:pt x="958215" y="2307527"/>
                  </a:cubicBezTo>
                  <a:lnTo>
                    <a:pt x="974789" y="2307527"/>
                  </a:lnTo>
                  <a:cubicBezTo>
                    <a:pt x="1323499" y="2304479"/>
                    <a:pt x="1456563" y="2217611"/>
                    <a:pt x="1578959" y="2059686"/>
                  </a:cubicBezTo>
                  <a:cubicBezTo>
                    <a:pt x="1632490" y="1990630"/>
                    <a:pt x="1657636" y="1887093"/>
                    <a:pt x="1657636" y="1734122"/>
                  </a:cubicBezTo>
                  <a:lnTo>
                    <a:pt x="1657636" y="138017"/>
                  </a:lnTo>
                  <a:cubicBezTo>
                    <a:pt x="1657636" y="61531"/>
                    <a:pt x="1719453" y="0"/>
                    <a:pt x="1795463" y="0"/>
                  </a:cubicBezTo>
                  <a:cubicBezTo>
                    <a:pt x="1871472" y="0"/>
                    <a:pt x="1933290" y="61531"/>
                    <a:pt x="1933290" y="138017"/>
                  </a:cubicBezTo>
                </a:path>
              </a:pathLst>
            </a:custGeom>
            <a:solidFill>
              <a:srgbClr val="49306E"/>
            </a:solidFill>
            <a:ln w="9525" cap="flat">
              <a:noFill/>
              <a:prstDash val="solid"/>
              <a:miter/>
            </a:ln>
          </p:spPr>
          <p:txBody>
            <a:bodyPr rtlCol="0" anchor="ctr"/>
            <a:lstStyle/>
            <a:p>
              <a:endParaRPr lang="pt-BR" noProof="0"/>
            </a:p>
          </p:txBody>
        </p:sp>
      </p:grpSp>
      <p:sp>
        <p:nvSpPr>
          <p:cNvPr id="6" name="CaixaDeTexto 5">
            <a:extLst>
              <a:ext uri="{FF2B5EF4-FFF2-40B4-BE49-F238E27FC236}">
                <a16:creationId xmlns:a16="http://schemas.microsoft.com/office/drawing/2014/main" id="{AAB4CE07-29B3-D715-8F3C-22C71C77C1CD}"/>
              </a:ext>
            </a:extLst>
          </p:cNvPr>
          <p:cNvSpPr txBox="1"/>
          <p:nvPr/>
        </p:nvSpPr>
        <p:spPr>
          <a:xfrm>
            <a:off x="5761222" y="1699098"/>
            <a:ext cx="5929223" cy="3631763"/>
          </a:xfrm>
          <a:prstGeom prst="rect">
            <a:avLst/>
          </a:prstGeom>
          <a:noFill/>
        </p:spPr>
        <p:txBody>
          <a:bodyPr wrap="square" lIns="91440" tIns="45720" rIns="91440" bIns="45720" rtlCol="0" anchor="t">
            <a:spAutoFit/>
          </a:bodyPr>
          <a:lstStyle/>
          <a:p>
            <a:pPr>
              <a:lnSpc>
                <a:spcPct val="150000"/>
              </a:lnSpc>
            </a:pPr>
            <a:r>
              <a:rPr lang="pt-BR" sz="2000" b="1" dirty="0">
                <a:solidFill>
                  <a:srgbClr val="1C1C1C"/>
                </a:solidFill>
              </a:rPr>
              <a:t>10º dia de internação: </a:t>
            </a:r>
          </a:p>
          <a:p>
            <a:endParaRPr lang="pt-BR" sz="2000" dirty="0">
              <a:solidFill>
                <a:srgbClr val="1C1C1C"/>
              </a:solidFill>
            </a:endParaRPr>
          </a:p>
          <a:p>
            <a:pPr marL="342900" indent="-342900">
              <a:buFont typeface="Arial" panose="020B0604020202020204" pitchFamily="34" charset="0"/>
              <a:buChar char="•"/>
            </a:pPr>
            <a:r>
              <a:rPr lang="pt-BR" sz="2000" dirty="0">
                <a:solidFill>
                  <a:srgbClr val="1C1C1C"/>
                </a:solidFill>
              </a:rPr>
              <a:t>Febre (</a:t>
            </a:r>
            <a:r>
              <a:rPr lang="pt-BR" sz="2000" dirty="0" err="1">
                <a:solidFill>
                  <a:srgbClr val="1C1C1C"/>
                </a:solidFill>
              </a:rPr>
              <a:t>Tax</a:t>
            </a:r>
            <a:r>
              <a:rPr lang="pt-BR" sz="2000" dirty="0">
                <a:solidFill>
                  <a:srgbClr val="1C1C1C"/>
                </a:solidFill>
              </a:rPr>
              <a:t>: 39,5°C)</a:t>
            </a:r>
          </a:p>
          <a:p>
            <a:endParaRPr lang="pt-BR" sz="2000" dirty="0">
              <a:solidFill>
                <a:srgbClr val="1C1C1C"/>
              </a:solidFill>
            </a:endParaRPr>
          </a:p>
          <a:p>
            <a:pPr marL="342900" indent="-342900">
              <a:buFont typeface="Arial" panose="020B0604020202020204" pitchFamily="34" charset="0"/>
              <a:buChar char="•"/>
            </a:pPr>
            <a:r>
              <a:rPr lang="pt-BR" sz="2000" dirty="0">
                <a:solidFill>
                  <a:srgbClr val="1C1C1C"/>
                </a:solidFill>
              </a:rPr>
              <a:t>Evoluiu com hipotensão, necessidade de DVA </a:t>
            </a:r>
          </a:p>
          <a:p>
            <a:endParaRPr lang="pt-BR" sz="2000" dirty="0">
              <a:solidFill>
                <a:srgbClr val="1C1C1C"/>
              </a:solidFill>
            </a:endParaRPr>
          </a:p>
          <a:p>
            <a:pPr marL="342900" indent="-342900">
              <a:buFont typeface="Arial" panose="020B0604020202020204" pitchFamily="34" charset="0"/>
              <a:buChar char="•"/>
            </a:pPr>
            <a:r>
              <a:rPr lang="pt-BR" sz="2000" dirty="0">
                <a:solidFill>
                  <a:srgbClr val="1C1C1C"/>
                </a:solidFill>
              </a:rPr>
              <a:t>Leucocitose: (15.000 </a:t>
            </a:r>
            <a:r>
              <a:rPr lang="pt-BR" sz="2000" dirty="0" err="1">
                <a:solidFill>
                  <a:srgbClr val="1C1C1C"/>
                </a:solidFill>
              </a:rPr>
              <a:t>cels</a:t>
            </a:r>
            <a:r>
              <a:rPr lang="pt-BR" sz="2000" dirty="0">
                <a:solidFill>
                  <a:srgbClr val="1C1C1C"/>
                </a:solidFill>
              </a:rPr>
              <a:t>/mm</a:t>
            </a:r>
            <a:r>
              <a:rPr lang="pt-BR" sz="2000" baseline="30000" dirty="0">
                <a:solidFill>
                  <a:srgbClr val="1C1C1C"/>
                </a:solidFill>
              </a:rPr>
              <a:t>3</a:t>
            </a:r>
            <a:r>
              <a:rPr lang="pt-BR" sz="2000" dirty="0">
                <a:solidFill>
                  <a:srgbClr val="1C1C1C"/>
                </a:solidFill>
              </a:rPr>
              <a:t>)</a:t>
            </a:r>
          </a:p>
          <a:p>
            <a:pPr marL="342900" indent="-342900">
              <a:buFont typeface="Arial" panose="020B0604020202020204" pitchFamily="34" charset="0"/>
              <a:buChar char="•"/>
            </a:pPr>
            <a:endParaRPr lang="pt-BR" sz="2000" dirty="0">
              <a:solidFill>
                <a:srgbClr val="1C1C1C"/>
              </a:solidFill>
            </a:endParaRPr>
          </a:p>
          <a:p>
            <a:pPr marL="342900" indent="-342900">
              <a:buFont typeface="Arial" panose="020B0604020202020204" pitchFamily="34" charset="0"/>
              <a:buChar char="•"/>
            </a:pPr>
            <a:r>
              <a:rPr lang="pt-BR" sz="2000" dirty="0">
                <a:solidFill>
                  <a:srgbClr val="1C1C1C"/>
                </a:solidFill>
              </a:rPr>
              <a:t>Aumento dos parâmetros ventilatórios</a:t>
            </a:r>
          </a:p>
          <a:p>
            <a:pPr marL="342900" indent="-342900">
              <a:buFont typeface="Arial" panose="020B0604020202020204" pitchFamily="34" charset="0"/>
              <a:buChar char="•"/>
            </a:pPr>
            <a:endParaRPr lang="pt-BR" sz="2000" dirty="0">
              <a:solidFill>
                <a:srgbClr val="1C1C1C"/>
              </a:solidFill>
            </a:endParaRPr>
          </a:p>
          <a:p>
            <a:pPr marL="342900" indent="-342900">
              <a:buFont typeface="Arial" panose="020B0604020202020204" pitchFamily="34" charset="0"/>
              <a:buChar char="•"/>
            </a:pPr>
            <a:r>
              <a:rPr lang="pt-BR" sz="2000" dirty="0">
                <a:solidFill>
                  <a:srgbClr val="1C1C1C"/>
                </a:solidFill>
              </a:rPr>
              <a:t>Coletado hemocultura e solicitado raio-x de tórax</a:t>
            </a:r>
          </a:p>
        </p:txBody>
      </p:sp>
      <p:sp>
        <p:nvSpPr>
          <p:cNvPr id="5" name="Rectangle 3">
            <a:extLst>
              <a:ext uri="{FF2B5EF4-FFF2-40B4-BE49-F238E27FC236}">
                <a16:creationId xmlns:a16="http://schemas.microsoft.com/office/drawing/2014/main" id="{6ABEEBFD-887B-9B06-E48F-4D9BB5DB606E}"/>
              </a:ext>
            </a:extLst>
          </p:cNvPr>
          <p:cNvSpPr>
            <a:spLocks noChangeArrowheads="1"/>
          </p:cNvSpPr>
          <p:nvPr/>
        </p:nvSpPr>
        <p:spPr bwMode="auto">
          <a:xfrm>
            <a:off x="428153" y="692497"/>
            <a:ext cx="264816" cy="2862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p:txBody>
      </p:sp>
      <p:sp>
        <p:nvSpPr>
          <p:cNvPr id="4" name="Seta: para Baixo 3">
            <a:extLst>
              <a:ext uri="{FF2B5EF4-FFF2-40B4-BE49-F238E27FC236}">
                <a16:creationId xmlns:a16="http://schemas.microsoft.com/office/drawing/2014/main" id="{06A0B1A9-18D4-41B4-7E12-DC6B9C51733A}"/>
              </a:ext>
            </a:extLst>
          </p:cNvPr>
          <p:cNvSpPr/>
          <p:nvPr/>
        </p:nvSpPr>
        <p:spPr>
          <a:xfrm rot="16200000">
            <a:off x="4985466" y="2520269"/>
            <a:ext cx="457200" cy="542417"/>
          </a:xfrm>
          <a:prstGeom prst="downArrow">
            <a:avLst/>
          </a:prstGeom>
          <a:solidFill>
            <a:srgbClr val="D9D9D9"/>
          </a:solidFill>
          <a:ln w="19050">
            <a:solidFill>
              <a:srgbClr val="7F3D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lgn="just">
              <a:buFont typeface="Arial" panose="020B0604020202020204" pitchFamily="34" charset="0"/>
              <a:buChar char="•"/>
            </a:pPr>
            <a:endParaRPr lang="pt-BR" sz="1800" noProof="0"/>
          </a:p>
        </p:txBody>
      </p:sp>
      <p:sp>
        <p:nvSpPr>
          <p:cNvPr id="9" name="Seta: para Baixo 8">
            <a:extLst>
              <a:ext uri="{FF2B5EF4-FFF2-40B4-BE49-F238E27FC236}">
                <a16:creationId xmlns:a16="http://schemas.microsoft.com/office/drawing/2014/main" id="{E742DD90-217A-4C85-CBDB-788C0F32A902}"/>
              </a:ext>
            </a:extLst>
          </p:cNvPr>
          <p:cNvSpPr/>
          <p:nvPr/>
        </p:nvSpPr>
        <p:spPr>
          <a:xfrm rot="16200000">
            <a:off x="11306757" y="6212918"/>
            <a:ext cx="457200" cy="542417"/>
          </a:xfrm>
          <a:prstGeom prst="downArrow">
            <a:avLst/>
          </a:prstGeom>
          <a:solidFill>
            <a:srgbClr val="D9D9D9"/>
          </a:solidFill>
          <a:ln w="19050">
            <a:solidFill>
              <a:srgbClr val="7F3D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lgn="just">
              <a:buFont typeface="Arial" panose="020B0604020202020204" pitchFamily="34" charset="0"/>
              <a:buChar char="•"/>
            </a:pPr>
            <a:endParaRPr lang="pt-BR" sz="1800" noProof="0"/>
          </a:p>
        </p:txBody>
      </p:sp>
      <p:pic>
        <p:nvPicPr>
          <p:cNvPr id="10" name="Picture 2" descr="Vetores de Ilustração Em Vetor De Uma Pessoa Abrindo Um ...">
            <a:extLst>
              <a:ext uri="{FF2B5EF4-FFF2-40B4-BE49-F238E27FC236}">
                <a16:creationId xmlns:a16="http://schemas.microsoft.com/office/drawing/2014/main" id="{BFE1B27D-1B9E-AD1D-E797-35769757732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01555" y="1655349"/>
            <a:ext cx="3891100" cy="3367736"/>
          </a:xfrm>
          <a:prstGeom prst="rect">
            <a:avLst/>
          </a:prstGeom>
          <a:noFill/>
          <a:extLst>
            <a:ext uri="{909E8E84-426E-40DD-AFC4-6F175D3DCCD1}">
              <a14:hiddenFill xmlns:a14="http://schemas.microsoft.com/office/drawing/2010/main">
                <a:solidFill>
                  <a:srgbClr val="FFFFFF"/>
                </a:solidFill>
              </a14:hiddenFill>
            </a:ext>
          </a:extLst>
        </p:spPr>
      </p:pic>
      <p:sp>
        <p:nvSpPr>
          <p:cNvPr id="11" name="CaixaDeTexto 10">
            <a:extLst>
              <a:ext uri="{FF2B5EF4-FFF2-40B4-BE49-F238E27FC236}">
                <a16:creationId xmlns:a16="http://schemas.microsoft.com/office/drawing/2014/main" id="{F9839532-A215-79DC-C389-F9B67C5BB5F9}"/>
              </a:ext>
            </a:extLst>
          </p:cNvPr>
          <p:cNvSpPr txBox="1"/>
          <p:nvPr/>
        </p:nvSpPr>
        <p:spPr>
          <a:xfrm>
            <a:off x="1600997" y="2877088"/>
            <a:ext cx="1741715" cy="461665"/>
          </a:xfrm>
          <a:prstGeom prst="rect">
            <a:avLst/>
          </a:prstGeom>
          <a:noFill/>
        </p:spPr>
        <p:txBody>
          <a:bodyPr wrap="square" rtlCol="0">
            <a:spAutoFit/>
          </a:bodyPr>
          <a:lstStyle/>
          <a:p>
            <a:r>
              <a:rPr lang="pt-BR" sz="2400" b="1" noProof="0"/>
              <a:t>Envelope 2</a:t>
            </a:r>
          </a:p>
        </p:txBody>
      </p:sp>
    </p:spTree>
    <p:extLst>
      <p:ext uri="{BB962C8B-B14F-4D97-AF65-F5344CB8AC3E}">
        <p14:creationId xmlns:p14="http://schemas.microsoft.com/office/powerpoint/2010/main" val="10480713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4" grpId="0" animBg="1"/>
      <p:bldP spid="9" grpId="0" animBg="1"/>
      <p:bldP spid="11"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675AB3-7DBC-D757-59F7-204C78BF2732}"/>
            </a:ext>
          </a:extLst>
        </p:cNvPr>
        <p:cNvGrpSpPr/>
        <p:nvPr/>
      </p:nvGrpSpPr>
      <p:grpSpPr>
        <a:xfrm>
          <a:off x="0" y="0"/>
          <a:ext cx="0" cy="0"/>
          <a:chOff x="0" y="0"/>
          <a:chExt cx="0" cy="0"/>
        </a:xfrm>
      </p:grpSpPr>
      <p:pic>
        <p:nvPicPr>
          <p:cNvPr id="4" name="Imagem 3" descr="Imagem de desenho infantil&#10;&#10;Descrição gerada automaticamente com confiança média">
            <a:extLst>
              <a:ext uri="{FF2B5EF4-FFF2-40B4-BE49-F238E27FC236}">
                <a16:creationId xmlns:a16="http://schemas.microsoft.com/office/drawing/2014/main" id="{29FEE4AC-E649-D6C6-34D9-0D2FF7504FB0}"/>
              </a:ext>
            </a:extLst>
          </p:cNvPr>
          <p:cNvPicPr>
            <a:picLocks noChangeAspect="1"/>
          </p:cNvPicPr>
          <p:nvPr/>
        </p:nvPicPr>
        <p:blipFill rotWithShape="1">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l="8940" t="22000" r="8413" b="22117"/>
          <a:stretch/>
        </p:blipFill>
        <p:spPr>
          <a:xfrm>
            <a:off x="2373330" y="588718"/>
            <a:ext cx="7931650" cy="5363105"/>
          </a:xfrm>
          <a:prstGeom prst="rect">
            <a:avLst/>
          </a:prstGeom>
        </p:spPr>
      </p:pic>
      <p:graphicFrame>
        <p:nvGraphicFramePr>
          <p:cNvPr id="12" name="think-cell data - do not delete" hidden="1">
            <a:extLst>
              <a:ext uri="{FF2B5EF4-FFF2-40B4-BE49-F238E27FC236}">
                <a16:creationId xmlns:a16="http://schemas.microsoft.com/office/drawing/2014/main" id="{992F21D9-5D03-CD1A-A864-19CF2D86BC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06" imgH="308" progId="TCLayout.ActiveDocument.1">
                  <p:embed/>
                </p:oleObj>
              </mc:Choice>
              <mc:Fallback>
                <p:oleObj name="think-cell Slide" r:id="rId6" imgW="306" imgH="308" progId="TCLayout.ActiveDocument.1">
                  <p:embed/>
                  <p:pic>
                    <p:nvPicPr>
                      <p:cNvPr id="12" name="think-cell data - do not delete" hidden="1">
                        <a:extLst>
                          <a:ext uri="{FF2B5EF4-FFF2-40B4-BE49-F238E27FC236}">
                            <a16:creationId xmlns:a16="http://schemas.microsoft.com/office/drawing/2014/main" id="{992F21D9-5D03-CD1A-A864-19CF2D86BCC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13" name="Group 12">
            <a:extLst>
              <a:ext uri="{FF2B5EF4-FFF2-40B4-BE49-F238E27FC236}">
                <a16:creationId xmlns:a16="http://schemas.microsoft.com/office/drawing/2014/main" id="{FE3EF56E-1AB6-D0A8-C7A8-0FA0A5484432}"/>
              </a:ext>
            </a:extLst>
          </p:cNvPr>
          <p:cNvGrpSpPr/>
          <p:nvPr/>
        </p:nvGrpSpPr>
        <p:grpSpPr>
          <a:xfrm>
            <a:off x="304800" y="249455"/>
            <a:ext cx="1193800" cy="462985"/>
            <a:chOff x="5245100" y="211355"/>
            <a:chExt cx="2036664" cy="789869"/>
          </a:xfrm>
        </p:grpSpPr>
        <p:sp>
          <p:nvSpPr>
            <p:cNvPr id="14" name="Freeform: Shape 13">
              <a:extLst>
                <a:ext uri="{FF2B5EF4-FFF2-40B4-BE49-F238E27FC236}">
                  <a16:creationId xmlns:a16="http://schemas.microsoft.com/office/drawing/2014/main" id="{996F5311-0687-66F1-D24F-E59613BED781}"/>
                </a:ext>
              </a:extLst>
            </p:cNvPr>
            <p:cNvSpPr/>
            <p:nvPr/>
          </p:nvSpPr>
          <p:spPr>
            <a:xfrm>
              <a:off x="5245100" y="308520"/>
              <a:ext cx="247894" cy="322815"/>
            </a:xfrm>
            <a:custGeom>
              <a:avLst/>
              <a:gdLst>
                <a:gd name="connsiteX0" fmla="*/ 529590 w 986123"/>
                <a:gd name="connsiteY0" fmla="*/ 1284160 h 1284160"/>
                <a:gd name="connsiteX1" fmla="*/ 249650 w 986123"/>
                <a:gd name="connsiteY1" fmla="*/ 1235107 h 1284160"/>
                <a:gd name="connsiteX2" fmla="*/ 0 w 986123"/>
                <a:gd name="connsiteY2" fmla="*/ 1084421 h 1284160"/>
                <a:gd name="connsiteX3" fmla="*/ 162306 w 986123"/>
                <a:gd name="connsiteY3" fmla="*/ 890016 h 1284160"/>
                <a:gd name="connsiteX4" fmla="*/ 337947 w 986123"/>
                <a:gd name="connsiteY4" fmla="*/ 1000601 h 1284160"/>
                <a:gd name="connsiteX5" fmla="*/ 535019 w 986123"/>
                <a:gd name="connsiteY5" fmla="*/ 1041654 h 1284160"/>
                <a:gd name="connsiteX6" fmla="*/ 667893 w 986123"/>
                <a:gd name="connsiteY6" fmla="*/ 1010412 h 1284160"/>
                <a:gd name="connsiteX7" fmla="*/ 715137 w 986123"/>
                <a:gd name="connsiteY7" fmla="*/ 923925 h 1284160"/>
                <a:gd name="connsiteX8" fmla="*/ 715137 w 986123"/>
                <a:gd name="connsiteY8" fmla="*/ 920305 h 1284160"/>
                <a:gd name="connsiteX9" fmla="*/ 705326 w 986123"/>
                <a:gd name="connsiteY9" fmla="*/ 873062 h 1284160"/>
                <a:gd name="connsiteX10" fmla="*/ 667798 w 986123"/>
                <a:gd name="connsiteY10" fmla="*/ 834676 h 1284160"/>
                <a:gd name="connsiteX11" fmla="*/ 590931 w 986123"/>
                <a:gd name="connsiteY11" fmla="*/ 798957 h 1284160"/>
                <a:gd name="connsiteX12" fmla="*/ 463106 w 986123"/>
                <a:gd name="connsiteY12" fmla="*/ 761524 h 1284160"/>
                <a:gd name="connsiteX13" fmla="*/ 291465 w 986123"/>
                <a:gd name="connsiteY13" fmla="*/ 709803 h 1284160"/>
                <a:gd name="connsiteX14" fmla="*/ 160973 w 986123"/>
                <a:gd name="connsiteY14" fmla="*/ 639318 h 1284160"/>
                <a:gd name="connsiteX15" fmla="*/ 77819 w 986123"/>
                <a:gd name="connsiteY15" fmla="*/ 535019 h 1284160"/>
                <a:gd name="connsiteX16" fmla="*/ 48292 w 986123"/>
                <a:gd name="connsiteY16" fmla="*/ 379857 h 1284160"/>
                <a:gd name="connsiteX17" fmla="*/ 48292 w 986123"/>
                <a:gd name="connsiteY17" fmla="*/ 376238 h 1284160"/>
                <a:gd name="connsiteX18" fmla="*/ 80201 w 986123"/>
                <a:gd name="connsiteY18" fmla="*/ 222028 h 1284160"/>
                <a:gd name="connsiteX19" fmla="*/ 169640 w 986123"/>
                <a:gd name="connsiteY19" fmla="*/ 103441 h 1284160"/>
                <a:gd name="connsiteX20" fmla="*/ 307181 w 986123"/>
                <a:gd name="connsiteY20" fmla="*/ 26765 h 1284160"/>
                <a:gd name="connsiteX21" fmla="*/ 483394 w 986123"/>
                <a:gd name="connsiteY21" fmla="*/ 0 h 1284160"/>
                <a:gd name="connsiteX22" fmla="*/ 735711 w 986123"/>
                <a:gd name="connsiteY22" fmla="*/ 41053 h 1284160"/>
                <a:gd name="connsiteX23" fmla="*/ 946976 w 986123"/>
                <a:gd name="connsiteY23" fmla="*/ 158687 h 1284160"/>
                <a:gd name="connsiteX24" fmla="*/ 804291 w 986123"/>
                <a:gd name="connsiteY24" fmla="*/ 365569 h 1284160"/>
                <a:gd name="connsiteX25" fmla="*/ 640271 w 986123"/>
                <a:gd name="connsiteY25" fmla="*/ 275558 h 1284160"/>
                <a:gd name="connsiteX26" fmla="*/ 479774 w 986123"/>
                <a:gd name="connsiteY26" fmla="*/ 242602 h 1284160"/>
                <a:gd name="connsiteX27" fmla="*/ 359378 w 986123"/>
                <a:gd name="connsiteY27" fmla="*/ 273844 h 1284160"/>
                <a:gd name="connsiteX28" fmla="*/ 319278 w 986123"/>
                <a:gd name="connsiteY28" fmla="*/ 351377 h 1284160"/>
                <a:gd name="connsiteX29" fmla="*/ 319278 w 986123"/>
                <a:gd name="connsiteY29" fmla="*/ 354997 h 1284160"/>
                <a:gd name="connsiteX30" fmla="*/ 330899 w 986123"/>
                <a:gd name="connsiteY30" fmla="*/ 407575 h 1284160"/>
                <a:gd name="connsiteX31" fmla="*/ 372904 w 986123"/>
                <a:gd name="connsiteY31" fmla="*/ 447675 h 1284160"/>
                <a:gd name="connsiteX32" fmla="*/ 456057 w 986123"/>
                <a:gd name="connsiteY32" fmla="*/ 481489 h 1284160"/>
                <a:gd name="connsiteX33" fmla="*/ 589217 w 986123"/>
                <a:gd name="connsiteY33" fmla="*/ 518922 h 1284160"/>
                <a:gd name="connsiteX34" fmla="*/ 758190 w 986123"/>
                <a:gd name="connsiteY34" fmla="*/ 575120 h 1284160"/>
                <a:gd name="connsiteX35" fmla="*/ 883349 w 986123"/>
                <a:gd name="connsiteY35" fmla="*/ 649986 h 1284160"/>
                <a:gd name="connsiteX36" fmla="*/ 960215 w 986123"/>
                <a:gd name="connsiteY36" fmla="*/ 752570 h 1284160"/>
                <a:gd name="connsiteX37" fmla="*/ 986123 w 986123"/>
                <a:gd name="connsiteY37" fmla="*/ 893445 h 1284160"/>
                <a:gd name="connsiteX38" fmla="*/ 986123 w 986123"/>
                <a:gd name="connsiteY38" fmla="*/ 897064 h 1284160"/>
                <a:gd name="connsiteX39" fmla="*/ 952500 w 986123"/>
                <a:gd name="connsiteY39" fmla="*/ 1062038 h 1284160"/>
                <a:gd name="connsiteX40" fmla="*/ 858584 w 986123"/>
                <a:gd name="connsiteY40" fmla="*/ 1183291 h 1284160"/>
                <a:gd name="connsiteX41" fmla="*/ 714851 w 986123"/>
                <a:gd name="connsiteY41" fmla="*/ 1258157 h 1284160"/>
                <a:gd name="connsiteX42" fmla="*/ 529685 w 986123"/>
                <a:gd name="connsiteY42" fmla="*/ 1284065 h 128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6123" h="1284160">
                  <a:moveTo>
                    <a:pt x="529590" y="1284160"/>
                  </a:moveTo>
                  <a:cubicBezTo>
                    <a:pt x="434435" y="1284160"/>
                    <a:pt x="341186" y="1267777"/>
                    <a:pt x="249650" y="1235107"/>
                  </a:cubicBezTo>
                  <a:cubicBezTo>
                    <a:pt x="158115" y="1202436"/>
                    <a:pt x="74867" y="1152239"/>
                    <a:pt x="0" y="1084421"/>
                  </a:cubicBezTo>
                  <a:lnTo>
                    <a:pt x="162306" y="890016"/>
                  </a:lnTo>
                  <a:cubicBezTo>
                    <a:pt x="219361" y="936403"/>
                    <a:pt x="277844" y="973264"/>
                    <a:pt x="337947" y="1000601"/>
                  </a:cubicBezTo>
                  <a:cubicBezTo>
                    <a:pt x="397955" y="1027938"/>
                    <a:pt x="463677" y="1041654"/>
                    <a:pt x="535019" y="1041654"/>
                  </a:cubicBezTo>
                  <a:cubicBezTo>
                    <a:pt x="592074" y="1041654"/>
                    <a:pt x="636365" y="1031272"/>
                    <a:pt x="667893" y="1010412"/>
                  </a:cubicBezTo>
                  <a:cubicBezTo>
                    <a:pt x="699421" y="989647"/>
                    <a:pt x="715137" y="960787"/>
                    <a:pt x="715137" y="923925"/>
                  </a:cubicBezTo>
                  <a:lnTo>
                    <a:pt x="715137" y="920305"/>
                  </a:lnTo>
                  <a:cubicBezTo>
                    <a:pt x="715137" y="902494"/>
                    <a:pt x="711803" y="886777"/>
                    <a:pt x="705326" y="873062"/>
                  </a:cubicBezTo>
                  <a:cubicBezTo>
                    <a:pt x="698754" y="859441"/>
                    <a:pt x="686276" y="846582"/>
                    <a:pt x="667798" y="834676"/>
                  </a:cubicBezTo>
                  <a:cubicBezTo>
                    <a:pt x="649319" y="822770"/>
                    <a:pt x="623697" y="810863"/>
                    <a:pt x="590931" y="798957"/>
                  </a:cubicBezTo>
                  <a:cubicBezTo>
                    <a:pt x="558165" y="787146"/>
                    <a:pt x="515493" y="774573"/>
                    <a:pt x="463106" y="761524"/>
                  </a:cubicBezTo>
                  <a:cubicBezTo>
                    <a:pt x="399955" y="746093"/>
                    <a:pt x="342710" y="728853"/>
                    <a:pt x="291465" y="709803"/>
                  </a:cubicBezTo>
                  <a:cubicBezTo>
                    <a:pt x="240221" y="690753"/>
                    <a:pt x="196691" y="667322"/>
                    <a:pt x="160973" y="639318"/>
                  </a:cubicBezTo>
                  <a:cubicBezTo>
                    <a:pt x="125159" y="611410"/>
                    <a:pt x="97536" y="576644"/>
                    <a:pt x="77819" y="535019"/>
                  </a:cubicBezTo>
                  <a:cubicBezTo>
                    <a:pt x="58103" y="493395"/>
                    <a:pt x="48292" y="441674"/>
                    <a:pt x="48292" y="379857"/>
                  </a:cubicBezTo>
                  <a:lnTo>
                    <a:pt x="48292" y="376238"/>
                  </a:lnTo>
                  <a:cubicBezTo>
                    <a:pt x="48292" y="319183"/>
                    <a:pt x="58865" y="267748"/>
                    <a:pt x="80201" y="222028"/>
                  </a:cubicBezTo>
                  <a:cubicBezTo>
                    <a:pt x="101441" y="176308"/>
                    <a:pt x="131255" y="136779"/>
                    <a:pt x="169640" y="103441"/>
                  </a:cubicBezTo>
                  <a:cubicBezTo>
                    <a:pt x="208026" y="70199"/>
                    <a:pt x="253841" y="44577"/>
                    <a:pt x="307181" y="26765"/>
                  </a:cubicBezTo>
                  <a:cubicBezTo>
                    <a:pt x="360426" y="8953"/>
                    <a:pt x="419195" y="0"/>
                    <a:pt x="483394" y="0"/>
                  </a:cubicBezTo>
                  <a:cubicBezTo>
                    <a:pt x="574929" y="0"/>
                    <a:pt x="659035" y="13716"/>
                    <a:pt x="735711" y="41053"/>
                  </a:cubicBezTo>
                  <a:cubicBezTo>
                    <a:pt x="812387" y="68389"/>
                    <a:pt x="882777" y="107632"/>
                    <a:pt x="946976" y="158687"/>
                  </a:cubicBezTo>
                  <a:lnTo>
                    <a:pt x="804291" y="365569"/>
                  </a:lnTo>
                  <a:cubicBezTo>
                    <a:pt x="748379" y="327565"/>
                    <a:pt x="693706" y="297561"/>
                    <a:pt x="640271" y="275558"/>
                  </a:cubicBezTo>
                  <a:cubicBezTo>
                    <a:pt x="586740" y="253555"/>
                    <a:pt x="533305" y="242602"/>
                    <a:pt x="479774" y="242602"/>
                  </a:cubicBezTo>
                  <a:cubicBezTo>
                    <a:pt x="426244" y="242602"/>
                    <a:pt x="386144" y="252984"/>
                    <a:pt x="359378" y="273844"/>
                  </a:cubicBezTo>
                  <a:cubicBezTo>
                    <a:pt x="332613" y="294608"/>
                    <a:pt x="319278" y="320516"/>
                    <a:pt x="319278" y="351377"/>
                  </a:cubicBezTo>
                  <a:lnTo>
                    <a:pt x="319278" y="354997"/>
                  </a:lnTo>
                  <a:cubicBezTo>
                    <a:pt x="319278" y="375190"/>
                    <a:pt x="323183" y="392716"/>
                    <a:pt x="330899" y="407575"/>
                  </a:cubicBezTo>
                  <a:cubicBezTo>
                    <a:pt x="338614" y="422434"/>
                    <a:pt x="352616" y="435864"/>
                    <a:pt x="372904" y="447675"/>
                  </a:cubicBezTo>
                  <a:cubicBezTo>
                    <a:pt x="393192" y="459581"/>
                    <a:pt x="420910" y="470821"/>
                    <a:pt x="456057" y="481489"/>
                  </a:cubicBezTo>
                  <a:cubicBezTo>
                    <a:pt x="491204" y="492157"/>
                    <a:pt x="535591" y="504730"/>
                    <a:pt x="589217" y="518922"/>
                  </a:cubicBezTo>
                  <a:cubicBezTo>
                    <a:pt x="652367" y="535591"/>
                    <a:pt x="708660" y="554260"/>
                    <a:pt x="758190" y="575120"/>
                  </a:cubicBezTo>
                  <a:cubicBezTo>
                    <a:pt x="807625" y="595979"/>
                    <a:pt x="849344" y="620935"/>
                    <a:pt x="883349" y="649986"/>
                  </a:cubicBezTo>
                  <a:cubicBezTo>
                    <a:pt x="917353" y="679132"/>
                    <a:pt x="942975" y="713327"/>
                    <a:pt x="960215" y="752570"/>
                  </a:cubicBezTo>
                  <a:cubicBezTo>
                    <a:pt x="977456" y="791813"/>
                    <a:pt x="986123" y="838772"/>
                    <a:pt x="986123" y="893445"/>
                  </a:cubicBezTo>
                  <a:lnTo>
                    <a:pt x="986123" y="897064"/>
                  </a:lnTo>
                  <a:cubicBezTo>
                    <a:pt x="986123" y="958882"/>
                    <a:pt x="974884" y="1013841"/>
                    <a:pt x="952500" y="1062038"/>
                  </a:cubicBezTo>
                  <a:cubicBezTo>
                    <a:pt x="930021" y="1110139"/>
                    <a:pt x="898779" y="1150620"/>
                    <a:pt x="858584" y="1183291"/>
                  </a:cubicBezTo>
                  <a:cubicBezTo>
                    <a:pt x="818388" y="1216057"/>
                    <a:pt x="770477" y="1241012"/>
                    <a:pt x="714851" y="1258157"/>
                  </a:cubicBezTo>
                  <a:cubicBezTo>
                    <a:pt x="659130" y="1275398"/>
                    <a:pt x="597503" y="1284065"/>
                    <a:pt x="529685" y="1284065"/>
                  </a:cubicBezTo>
                  <a:close/>
                </a:path>
              </a:pathLst>
            </a:custGeom>
            <a:solidFill>
              <a:srgbClr val="44505E"/>
            </a:solidFill>
            <a:ln w="9525" cap="flat">
              <a:noFill/>
              <a:prstDash val="solid"/>
              <a:miter/>
            </a:ln>
          </p:spPr>
          <p:txBody>
            <a:bodyPr rtlCol="0" anchor="ctr"/>
            <a:lstStyle/>
            <a:p>
              <a:endParaRPr lang="pt-BR" noProof="0"/>
            </a:p>
          </p:txBody>
        </p:sp>
        <p:sp>
          <p:nvSpPr>
            <p:cNvPr id="17" name="Freeform: Shape 16">
              <a:extLst>
                <a:ext uri="{FF2B5EF4-FFF2-40B4-BE49-F238E27FC236}">
                  <a16:creationId xmlns:a16="http://schemas.microsoft.com/office/drawing/2014/main" id="{B4B5D7D3-65E6-8477-6CA3-73125FDB2142}"/>
                </a:ext>
              </a:extLst>
            </p:cNvPr>
            <p:cNvSpPr/>
            <p:nvPr/>
          </p:nvSpPr>
          <p:spPr>
            <a:xfrm>
              <a:off x="5492084" y="310867"/>
              <a:ext cx="332584" cy="315991"/>
            </a:xfrm>
            <a:custGeom>
              <a:avLst/>
              <a:gdLst>
                <a:gd name="connsiteX0" fmla="*/ 534924 w 1323022"/>
                <a:gd name="connsiteY0" fmla="*/ 0 h 1257014"/>
                <a:gd name="connsiteX1" fmla="*/ 788099 w 1323022"/>
                <a:gd name="connsiteY1" fmla="*/ 0 h 1257014"/>
                <a:gd name="connsiteX2" fmla="*/ 1323023 w 1323022"/>
                <a:gd name="connsiteY2" fmla="*/ 1257014 h 1257014"/>
                <a:gd name="connsiteX3" fmla="*/ 1035939 w 1323022"/>
                <a:gd name="connsiteY3" fmla="*/ 1257014 h 1257014"/>
                <a:gd name="connsiteX4" fmla="*/ 921829 w 1323022"/>
                <a:gd name="connsiteY4" fmla="*/ 977075 h 1257014"/>
                <a:gd name="connsiteX5" fmla="*/ 394049 w 1323022"/>
                <a:gd name="connsiteY5" fmla="*/ 977075 h 1257014"/>
                <a:gd name="connsiteX6" fmla="*/ 279940 w 1323022"/>
                <a:gd name="connsiteY6" fmla="*/ 1257014 h 1257014"/>
                <a:gd name="connsiteX7" fmla="*/ 0 w 1323022"/>
                <a:gd name="connsiteY7" fmla="*/ 1257014 h 1257014"/>
                <a:gd name="connsiteX8" fmla="*/ 534924 w 1323022"/>
                <a:gd name="connsiteY8" fmla="*/ 0 h 1257014"/>
                <a:gd name="connsiteX9" fmla="*/ 823817 w 1323022"/>
                <a:gd name="connsiteY9" fmla="*/ 734568 h 1257014"/>
                <a:gd name="connsiteX10" fmla="*/ 657987 w 1323022"/>
                <a:gd name="connsiteY10" fmla="*/ 329851 h 1257014"/>
                <a:gd name="connsiteX11" fmla="*/ 492157 w 1323022"/>
                <a:gd name="connsiteY11" fmla="*/ 734568 h 1257014"/>
                <a:gd name="connsiteX12" fmla="*/ 823817 w 1323022"/>
                <a:gd name="connsiteY12" fmla="*/ 734568 h 125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022" h="1257014">
                  <a:moveTo>
                    <a:pt x="534924" y="0"/>
                  </a:moveTo>
                  <a:lnTo>
                    <a:pt x="788099" y="0"/>
                  </a:lnTo>
                  <a:lnTo>
                    <a:pt x="1323023" y="1257014"/>
                  </a:lnTo>
                  <a:lnTo>
                    <a:pt x="1035939" y="1257014"/>
                  </a:lnTo>
                  <a:lnTo>
                    <a:pt x="921829" y="977075"/>
                  </a:lnTo>
                  <a:lnTo>
                    <a:pt x="394049" y="977075"/>
                  </a:lnTo>
                  <a:lnTo>
                    <a:pt x="279940" y="1257014"/>
                  </a:lnTo>
                  <a:lnTo>
                    <a:pt x="0" y="1257014"/>
                  </a:lnTo>
                  <a:lnTo>
                    <a:pt x="534924" y="0"/>
                  </a:lnTo>
                  <a:close/>
                  <a:moveTo>
                    <a:pt x="823817" y="734568"/>
                  </a:moveTo>
                  <a:lnTo>
                    <a:pt x="657987" y="329851"/>
                  </a:lnTo>
                  <a:lnTo>
                    <a:pt x="492157" y="734568"/>
                  </a:lnTo>
                  <a:lnTo>
                    <a:pt x="823817" y="734568"/>
                  </a:lnTo>
                  <a:close/>
                </a:path>
              </a:pathLst>
            </a:custGeom>
            <a:solidFill>
              <a:srgbClr val="44505E"/>
            </a:solidFill>
            <a:ln w="9525" cap="flat">
              <a:noFill/>
              <a:prstDash val="solid"/>
              <a:miter/>
            </a:ln>
          </p:spPr>
          <p:txBody>
            <a:bodyPr rtlCol="0" anchor="ctr"/>
            <a:lstStyle/>
            <a:p>
              <a:endParaRPr lang="pt-BR" noProof="0"/>
            </a:p>
          </p:txBody>
        </p:sp>
        <p:sp>
          <p:nvSpPr>
            <p:cNvPr id="18" name="Freeform: Shape 17">
              <a:extLst>
                <a:ext uri="{FF2B5EF4-FFF2-40B4-BE49-F238E27FC236}">
                  <a16:creationId xmlns:a16="http://schemas.microsoft.com/office/drawing/2014/main" id="{36C56214-A878-E712-E818-C8A91B92D3A5}"/>
                </a:ext>
              </a:extLst>
            </p:cNvPr>
            <p:cNvSpPr/>
            <p:nvPr/>
          </p:nvSpPr>
          <p:spPr>
            <a:xfrm>
              <a:off x="5834078" y="211355"/>
              <a:ext cx="273442" cy="420435"/>
            </a:xfrm>
            <a:custGeom>
              <a:avLst/>
              <a:gdLst>
                <a:gd name="connsiteX0" fmla="*/ 540258 w 1087754"/>
                <a:gd name="connsiteY0" fmla="*/ 1672495 h 1672494"/>
                <a:gd name="connsiteX1" fmla="*/ 144399 w 1087754"/>
                <a:gd name="connsiteY1" fmla="*/ 1533430 h 1672494"/>
                <a:gd name="connsiteX2" fmla="*/ 0 w 1087754"/>
                <a:gd name="connsiteY2" fmla="*/ 1117949 h 1672494"/>
                <a:gd name="connsiteX3" fmla="*/ 0 w 1087754"/>
                <a:gd name="connsiteY3" fmla="*/ 404717 h 1672494"/>
                <a:gd name="connsiteX4" fmla="*/ 274606 w 1087754"/>
                <a:gd name="connsiteY4" fmla="*/ 404717 h 1672494"/>
                <a:gd name="connsiteX5" fmla="*/ 274606 w 1087754"/>
                <a:gd name="connsiteY5" fmla="*/ 1110806 h 1672494"/>
                <a:gd name="connsiteX6" fmla="*/ 345948 w 1087754"/>
                <a:gd name="connsiteY6" fmla="*/ 1341692 h 1672494"/>
                <a:gd name="connsiteX7" fmla="*/ 543877 w 1087754"/>
                <a:gd name="connsiteY7" fmla="*/ 1419225 h 1672494"/>
                <a:gd name="connsiteX8" fmla="*/ 741807 w 1087754"/>
                <a:gd name="connsiteY8" fmla="*/ 1344359 h 1672494"/>
                <a:gd name="connsiteX9" fmla="*/ 813149 w 1087754"/>
                <a:gd name="connsiteY9" fmla="*/ 1119664 h 1672494"/>
                <a:gd name="connsiteX10" fmla="*/ 813149 w 1087754"/>
                <a:gd name="connsiteY10" fmla="*/ 404717 h 1672494"/>
                <a:gd name="connsiteX11" fmla="*/ 1087755 w 1087754"/>
                <a:gd name="connsiteY11" fmla="*/ 404717 h 1672494"/>
                <a:gd name="connsiteX12" fmla="*/ 1087755 w 1087754"/>
                <a:gd name="connsiteY12" fmla="*/ 1108996 h 1672494"/>
                <a:gd name="connsiteX13" fmla="*/ 1049369 w 1087754"/>
                <a:gd name="connsiteY13" fmla="*/ 1356836 h 1672494"/>
                <a:gd name="connsiteX14" fmla="*/ 939737 w 1087754"/>
                <a:gd name="connsiteY14" fmla="*/ 1532477 h 1672494"/>
                <a:gd name="connsiteX15" fmla="*/ 766763 w 1087754"/>
                <a:gd name="connsiteY15" fmla="*/ 1637729 h 1672494"/>
                <a:gd name="connsiteX16" fmla="*/ 540353 w 1087754"/>
                <a:gd name="connsiteY16" fmla="*/ 1672495 h 1672494"/>
                <a:gd name="connsiteX17" fmla="*/ 622268 w 1087754"/>
                <a:gd name="connsiteY17" fmla="*/ 0 h 1672494"/>
                <a:gd name="connsiteX18" fmla="*/ 855821 w 1087754"/>
                <a:gd name="connsiteY18" fmla="*/ 101632 h 1672494"/>
                <a:gd name="connsiteX19" fmla="*/ 627602 w 1087754"/>
                <a:gd name="connsiteY19" fmla="*/ 315563 h 1672494"/>
                <a:gd name="connsiteX20" fmla="*/ 420719 w 1087754"/>
                <a:gd name="connsiteY20" fmla="*/ 315563 h 1672494"/>
                <a:gd name="connsiteX21" fmla="*/ 622268 w 1087754"/>
                <a:gd name="connsiteY21" fmla="*/ 0 h 16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754" h="1672494">
                  <a:moveTo>
                    <a:pt x="540258" y="1672495"/>
                  </a:moveTo>
                  <a:cubicBezTo>
                    <a:pt x="372618" y="1672495"/>
                    <a:pt x="240697" y="1626108"/>
                    <a:pt x="144399" y="1533430"/>
                  </a:cubicBezTo>
                  <a:cubicBezTo>
                    <a:pt x="48101" y="1440752"/>
                    <a:pt x="0" y="1302258"/>
                    <a:pt x="0" y="1117949"/>
                  </a:cubicBezTo>
                  <a:lnTo>
                    <a:pt x="0" y="404717"/>
                  </a:lnTo>
                  <a:lnTo>
                    <a:pt x="274606" y="404717"/>
                  </a:lnTo>
                  <a:lnTo>
                    <a:pt x="274606" y="1110806"/>
                  </a:lnTo>
                  <a:cubicBezTo>
                    <a:pt x="274606" y="1213009"/>
                    <a:pt x="298418" y="1289971"/>
                    <a:pt x="345948" y="1341692"/>
                  </a:cubicBezTo>
                  <a:cubicBezTo>
                    <a:pt x="393478" y="1393412"/>
                    <a:pt x="459486" y="1419225"/>
                    <a:pt x="543877" y="1419225"/>
                  </a:cubicBezTo>
                  <a:cubicBezTo>
                    <a:pt x="628269" y="1419225"/>
                    <a:pt x="694277" y="1394270"/>
                    <a:pt x="741807" y="1344359"/>
                  </a:cubicBezTo>
                  <a:cubicBezTo>
                    <a:pt x="789337" y="1294448"/>
                    <a:pt x="813149" y="1219581"/>
                    <a:pt x="813149" y="1119664"/>
                  </a:cubicBezTo>
                  <a:lnTo>
                    <a:pt x="813149" y="404717"/>
                  </a:lnTo>
                  <a:lnTo>
                    <a:pt x="1087755" y="404717"/>
                  </a:lnTo>
                  <a:lnTo>
                    <a:pt x="1087755" y="1108996"/>
                  </a:lnTo>
                  <a:cubicBezTo>
                    <a:pt x="1087755" y="1204151"/>
                    <a:pt x="1074992" y="1286732"/>
                    <a:pt x="1049369" y="1356836"/>
                  </a:cubicBezTo>
                  <a:cubicBezTo>
                    <a:pt x="1023747" y="1426940"/>
                    <a:pt x="987266" y="1485519"/>
                    <a:pt x="939737" y="1532477"/>
                  </a:cubicBezTo>
                  <a:cubicBezTo>
                    <a:pt x="892207" y="1579436"/>
                    <a:pt x="834485" y="1614488"/>
                    <a:pt x="766763" y="1637729"/>
                  </a:cubicBezTo>
                  <a:cubicBezTo>
                    <a:pt x="699040" y="1660874"/>
                    <a:pt x="623507" y="1672495"/>
                    <a:pt x="540353" y="1672495"/>
                  </a:cubicBezTo>
                  <a:close/>
                  <a:moveTo>
                    <a:pt x="622268" y="0"/>
                  </a:moveTo>
                  <a:lnTo>
                    <a:pt x="855821" y="101632"/>
                  </a:lnTo>
                  <a:lnTo>
                    <a:pt x="627602" y="315563"/>
                  </a:lnTo>
                  <a:lnTo>
                    <a:pt x="420719" y="315563"/>
                  </a:lnTo>
                  <a:lnTo>
                    <a:pt x="622268" y="0"/>
                  </a:lnTo>
                  <a:close/>
                </a:path>
              </a:pathLst>
            </a:custGeom>
            <a:solidFill>
              <a:srgbClr val="44505E"/>
            </a:solidFill>
            <a:ln w="9525" cap="flat">
              <a:noFill/>
              <a:prstDash val="solid"/>
              <a:miter/>
            </a:ln>
          </p:spPr>
          <p:txBody>
            <a:bodyPr rtlCol="0" anchor="ctr"/>
            <a:lstStyle/>
            <a:p>
              <a:endParaRPr lang="pt-BR" noProof="0"/>
            </a:p>
          </p:txBody>
        </p:sp>
        <p:sp>
          <p:nvSpPr>
            <p:cNvPr id="19" name="Freeform: Shape 18">
              <a:extLst>
                <a:ext uri="{FF2B5EF4-FFF2-40B4-BE49-F238E27FC236}">
                  <a16:creationId xmlns:a16="http://schemas.microsoft.com/office/drawing/2014/main" id="{C99AA14A-ACD6-176F-B1B4-5E0F8180D2D6}"/>
                </a:ext>
              </a:extLst>
            </p:cNvPr>
            <p:cNvSpPr/>
            <p:nvPr/>
          </p:nvSpPr>
          <p:spPr>
            <a:xfrm>
              <a:off x="6143795" y="313094"/>
              <a:ext cx="289101" cy="313764"/>
            </a:xfrm>
            <a:custGeom>
              <a:avLst/>
              <a:gdLst>
                <a:gd name="connsiteX0" fmla="*/ 0 w 1150048"/>
                <a:gd name="connsiteY0" fmla="*/ 0 h 1248155"/>
                <a:gd name="connsiteX1" fmla="*/ 486728 w 1150048"/>
                <a:gd name="connsiteY1" fmla="*/ 0 h 1248155"/>
                <a:gd name="connsiteX2" fmla="*/ 755047 w 1150048"/>
                <a:gd name="connsiteY2" fmla="*/ 47244 h 1248155"/>
                <a:gd name="connsiteX3" fmla="*/ 965454 w 1150048"/>
                <a:gd name="connsiteY3" fmla="*/ 178308 h 1248155"/>
                <a:gd name="connsiteX4" fmla="*/ 1101852 w 1150048"/>
                <a:gd name="connsiteY4" fmla="*/ 375380 h 1248155"/>
                <a:gd name="connsiteX5" fmla="*/ 1150049 w 1150048"/>
                <a:gd name="connsiteY5" fmla="*/ 620554 h 1248155"/>
                <a:gd name="connsiteX6" fmla="*/ 1150049 w 1150048"/>
                <a:gd name="connsiteY6" fmla="*/ 624173 h 1248155"/>
                <a:gd name="connsiteX7" fmla="*/ 1101852 w 1150048"/>
                <a:gd name="connsiteY7" fmla="*/ 870204 h 1248155"/>
                <a:gd name="connsiteX8" fmla="*/ 965454 w 1150048"/>
                <a:gd name="connsiteY8" fmla="*/ 1068134 h 1248155"/>
                <a:gd name="connsiteX9" fmla="*/ 755047 w 1150048"/>
                <a:gd name="connsiteY9" fmla="*/ 1200055 h 1248155"/>
                <a:gd name="connsiteX10" fmla="*/ 486728 w 1150048"/>
                <a:gd name="connsiteY10" fmla="*/ 1248156 h 1248155"/>
                <a:gd name="connsiteX11" fmla="*/ 0 w 1150048"/>
                <a:gd name="connsiteY11" fmla="*/ 1248156 h 1248155"/>
                <a:gd name="connsiteX12" fmla="*/ 0 w 1150048"/>
                <a:gd name="connsiteY12" fmla="*/ 0 h 1248155"/>
                <a:gd name="connsiteX13" fmla="*/ 486728 w 1150048"/>
                <a:gd name="connsiteY13" fmla="*/ 1000315 h 1248155"/>
                <a:gd name="connsiteX14" fmla="*/ 640080 w 1150048"/>
                <a:gd name="connsiteY14" fmla="*/ 973550 h 1248155"/>
                <a:gd name="connsiteX15" fmla="*/ 758667 w 1150048"/>
                <a:gd name="connsiteY15" fmla="*/ 896874 h 1248155"/>
                <a:gd name="connsiteX16" fmla="*/ 835343 w 1150048"/>
                <a:gd name="connsiteY16" fmla="*/ 779240 h 1248155"/>
                <a:gd name="connsiteX17" fmla="*/ 862965 w 1150048"/>
                <a:gd name="connsiteY17" fmla="*/ 627698 h 1248155"/>
                <a:gd name="connsiteX18" fmla="*/ 862965 w 1150048"/>
                <a:gd name="connsiteY18" fmla="*/ 624078 h 1248155"/>
                <a:gd name="connsiteX19" fmla="*/ 835343 w 1150048"/>
                <a:gd name="connsiteY19" fmla="*/ 472535 h 1248155"/>
                <a:gd name="connsiteX20" fmla="*/ 758667 w 1150048"/>
                <a:gd name="connsiteY20" fmla="*/ 353092 h 1248155"/>
                <a:gd name="connsiteX21" fmla="*/ 640080 w 1150048"/>
                <a:gd name="connsiteY21" fmla="*/ 275558 h 1248155"/>
                <a:gd name="connsiteX22" fmla="*/ 486728 w 1150048"/>
                <a:gd name="connsiteY22" fmla="*/ 247936 h 1248155"/>
                <a:gd name="connsiteX23" fmla="*/ 274511 w 1150048"/>
                <a:gd name="connsiteY23" fmla="*/ 247936 h 1248155"/>
                <a:gd name="connsiteX24" fmla="*/ 274511 w 1150048"/>
                <a:gd name="connsiteY24" fmla="*/ 1000411 h 1248155"/>
                <a:gd name="connsiteX25" fmla="*/ 486728 w 1150048"/>
                <a:gd name="connsiteY25" fmla="*/ 1000411 h 124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50048" h="1248155">
                  <a:moveTo>
                    <a:pt x="0" y="0"/>
                  </a:moveTo>
                  <a:lnTo>
                    <a:pt x="486728" y="0"/>
                  </a:lnTo>
                  <a:cubicBezTo>
                    <a:pt x="584168" y="0"/>
                    <a:pt x="673608" y="15811"/>
                    <a:pt x="755047" y="47244"/>
                  </a:cubicBezTo>
                  <a:cubicBezTo>
                    <a:pt x="836486" y="78772"/>
                    <a:pt x="906590" y="122396"/>
                    <a:pt x="965454" y="178308"/>
                  </a:cubicBezTo>
                  <a:cubicBezTo>
                    <a:pt x="1024319" y="234220"/>
                    <a:pt x="1069753" y="299847"/>
                    <a:pt x="1101852" y="375380"/>
                  </a:cubicBezTo>
                  <a:cubicBezTo>
                    <a:pt x="1133951" y="450914"/>
                    <a:pt x="1150049" y="532543"/>
                    <a:pt x="1150049" y="620554"/>
                  </a:cubicBezTo>
                  <a:lnTo>
                    <a:pt x="1150049" y="624173"/>
                  </a:lnTo>
                  <a:cubicBezTo>
                    <a:pt x="1150049" y="712184"/>
                    <a:pt x="1133951" y="794195"/>
                    <a:pt x="1101852" y="870204"/>
                  </a:cubicBezTo>
                  <a:cubicBezTo>
                    <a:pt x="1069753" y="946309"/>
                    <a:pt x="1024319" y="1012222"/>
                    <a:pt x="965454" y="1068134"/>
                  </a:cubicBezTo>
                  <a:cubicBezTo>
                    <a:pt x="906590" y="1124045"/>
                    <a:pt x="836486" y="1167956"/>
                    <a:pt x="755047" y="1200055"/>
                  </a:cubicBezTo>
                  <a:cubicBezTo>
                    <a:pt x="673608" y="1232154"/>
                    <a:pt x="584168" y="1248156"/>
                    <a:pt x="486728" y="1248156"/>
                  </a:cubicBezTo>
                  <a:lnTo>
                    <a:pt x="0" y="1248156"/>
                  </a:lnTo>
                  <a:lnTo>
                    <a:pt x="0" y="0"/>
                  </a:lnTo>
                  <a:close/>
                  <a:moveTo>
                    <a:pt x="486728" y="1000315"/>
                  </a:moveTo>
                  <a:cubicBezTo>
                    <a:pt x="542639" y="1000315"/>
                    <a:pt x="593693" y="991457"/>
                    <a:pt x="640080" y="973550"/>
                  </a:cubicBezTo>
                  <a:cubicBezTo>
                    <a:pt x="686467" y="955739"/>
                    <a:pt x="725900" y="930211"/>
                    <a:pt x="758667" y="896874"/>
                  </a:cubicBezTo>
                  <a:cubicBezTo>
                    <a:pt x="791337" y="863632"/>
                    <a:pt x="816864" y="824389"/>
                    <a:pt x="835343" y="779240"/>
                  </a:cubicBezTo>
                  <a:cubicBezTo>
                    <a:pt x="853726" y="734092"/>
                    <a:pt x="862965" y="683609"/>
                    <a:pt x="862965" y="627698"/>
                  </a:cubicBezTo>
                  <a:lnTo>
                    <a:pt x="862965" y="624078"/>
                  </a:lnTo>
                  <a:cubicBezTo>
                    <a:pt x="862965" y="569404"/>
                    <a:pt x="853726" y="518827"/>
                    <a:pt x="835343" y="472535"/>
                  </a:cubicBezTo>
                  <a:cubicBezTo>
                    <a:pt x="816864" y="426149"/>
                    <a:pt x="791337" y="386334"/>
                    <a:pt x="758667" y="353092"/>
                  </a:cubicBezTo>
                  <a:cubicBezTo>
                    <a:pt x="725996" y="319849"/>
                    <a:pt x="686467" y="293941"/>
                    <a:pt x="640080" y="275558"/>
                  </a:cubicBezTo>
                  <a:cubicBezTo>
                    <a:pt x="593693" y="257175"/>
                    <a:pt x="542639" y="247936"/>
                    <a:pt x="486728" y="247936"/>
                  </a:cubicBezTo>
                  <a:lnTo>
                    <a:pt x="274511" y="247936"/>
                  </a:lnTo>
                  <a:lnTo>
                    <a:pt x="274511" y="1000411"/>
                  </a:lnTo>
                  <a:lnTo>
                    <a:pt x="486728" y="1000411"/>
                  </a:lnTo>
                  <a:close/>
                </a:path>
              </a:pathLst>
            </a:custGeom>
            <a:solidFill>
              <a:srgbClr val="44505E"/>
            </a:solidFill>
            <a:ln w="9525" cap="flat">
              <a:noFill/>
              <a:prstDash val="solid"/>
              <a:miter/>
            </a:ln>
          </p:spPr>
          <p:txBody>
            <a:bodyPr rtlCol="0" anchor="ctr"/>
            <a:lstStyle/>
            <a:p>
              <a:endParaRPr lang="pt-BR" noProof="0"/>
            </a:p>
          </p:txBody>
        </p:sp>
        <p:sp>
          <p:nvSpPr>
            <p:cNvPr id="20" name="Freeform: Shape 19">
              <a:extLst>
                <a:ext uri="{FF2B5EF4-FFF2-40B4-BE49-F238E27FC236}">
                  <a16:creationId xmlns:a16="http://schemas.microsoft.com/office/drawing/2014/main" id="{852542F7-E923-85F7-A2D1-E80EAD49FB0D}"/>
                </a:ext>
              </a:extLst>
            </p:cNvPr>
            <p:cNvSpPr/>
            <p:nvPr/>
          </p:nvSpPr>
          <p:spPr>
            <a:xfrm>
              <a:off x="6460217" y="313094"/>
              <a:ext cx="238459" cy="313788"/>
            </a:xfrm>
            <a:custGeom>
              <a:avLst/>
              <a:gdLst>
                <a:gd name="connsiteX0" fmla="*/ 95 w 948594"/>
                <a:gd name="connsiteY0" fmla="*/ 0 h 1248251"/>
                <a:gd name="connsiteX1" fmla="*/ 939737 w 948594"/>
                <a:gd name="connsiteY1" fmla="*/ 0 h 1248251"/>
                <a:gd name="connsiteX2" fmla="*/ 939737 w 948594"/>
                <a:gd name="connsiteY2" fmla="*/ 244316 h 1248251"/>
                <a:gd name="connsiteX3" fmla="*/ 271081 w 948594"/>
                <a:gd name="connsiteY3" fmla="*/ 244316 h 1248251"/>
                <a:gd name="connsiteX4" fmla="*/ 271081 w 948594"/>
                <a:gd name="connsiteY4" fmla="*/ 497491 h 1248251"/>
                <a:gd name="connsiteX5" fmla="*/ 859441 w 948594"/>
                <a:gd name="connsiteY5" fmla="*/ 497491 h 1248251"/>
                <a:gd name="connsiteX6" fmla="*/ 859441 w 948594"/>
                <a:gd name="connsiteY6" fmla="*/ 741807 h 1248251"/>
                <a:gd name="connsiteX7" fmla="*/ 271081 w 948594"/>
                <a:gd name="connsiteY7" fmla="*/ 741807 h 1248251"/>
                <a:gd name="connsiteX8" fmla="*/ 271081 w 948594"/>
                <a:gd name="connsiteY8" fmla="*/ 1003935 h 1248251"/>
                <a:gd name="connsiteX9" fmla="*/ 948595 w 948594"/>
                <a:gd name="connsiteY9" fmla="*/ 1003935 h 1248251"/>
                <a:gd name="connsiteX10" fmla="*/ 948595 w 948594"/>
                <a:gd name="connsiteY10" fmla="*/ 1248251 h 1248251"/>
                <a:gd name="connsiteX11" fmla="*/ 0 w 948594"/>
                <a:gd name="connsiteY11" fmla="*/ 1248251 h 1248251"/>
                <a:gd name="connsiteX12" fmla="*/ 0 w 948594"/>
                <a:gd name="connsiteY12" fmla="*/ 0 h 124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594" h="1248251">
                  <a:moveTo>
                    <a:pt x="95" y="0"/>
                  </a:moveTo>
                  <a:lnTo>
                    <a:pt x="939737" y="0"/>
                  </a:lnTo>
                  <a:lnTo>
                    <a:pt x="939737" y="244316"/>
                  </a:lnTo>
                  <a:lnTo>
                    <a:pt x="271081" y="244316"/>
                  </a:lnTo>
                  <a:lnTo>
                    <a:pt x="271081" y="497491"/>
                  </a:lnTo>
                  <a:lnTo>
                    <a:pt x="859441" y="497491"/>
                  </a:lnTo>
                  <a:lnTo>
                    <a:pt x="859441" y="741807"/>
                  </a:lnTo>
                  <a:lnTo>
                    <a:pt x="271081" y="741807"/>
                  </a:lnTo>
                  <a:lnTo>
                    <a:pt x="271081" y="1003935"/>
                  </a:lnTo>
                  <a:lnTo>
                    <a:pt x="948595" y="1003935"/>
                  </a:lnTo>
                  <a:lnTo>
                    <a:pt x="948595" y="1248251"/>
                  </a:lnTo>
                  <a:lnTo>
                    <a:pt x="0" y="1248251"/>
                  </a:lnTo>
                  <a:lnTo>
                    <a:pt x="0" y="0"/>
                  </a:lnTo>
                  <a:close/>
                </a:path>
              </a:pathLst>
            </a:custGeom>
            <a:solidFill>
              <a:srgbClr val="44505E"/>
            </a:solidFill>
            <a:ln w="9525" cap="flat">
              <a:noFill/>
              <a:prstDash val="solid"/>
              <a:miter/>
            </a:ln>
          </p:spPr>
          <p:txBody>
            <a:bodyPr rtlCol="0" anchor="ctr"/>
            <a:lstStyle/>
            <a:p>
              <a:endParaRPr lang="pt-BR" noProof="0"/>
            </a:p>
          </p:txBody>
        </p:sp>
        <p:sp>
          <p:nvSpPr>
            <p:cNvPr id="21" name="Freeform: Shape 20">
              <a:extLst>
                <a:ext uri="{FF2B5EF4-FFF2-40B4-BE49-F238E27FC236}">
                  <a16:creationId xmlns:a16="http://schemas.microsoft.com/office/drawing/2014/main" id="{98782FDA-6A70-B4BB-5A6E-79386BE45D48}"/>
                </a:ext>
              </a:extLst>
            </p:cNvPr>
            <p:cNvSpPr/>
            <p:nvPr/>
          </p:nvSpPr>
          <p:spPr>
            <a:xfrm>
              <a:off x="5253193" y="699983"/>
              <a:ext cx="90796" cy="97883"/>
            </a:xfrm>
            <a:custGeom>
              <a:avLst/>
              <a:gdLst>
                <a:gd name="connsiteX0" fmla="*/ 191548 w 361187"/>
                <a:gd name="connsiteY0" fmla="*/ 389382 h 389381"/>
                <a:gd name="connsiteX1" fmla="*/ 116300 w 361187"/>
                <a:gd name="connsiteY1" fmla="*/ 375285 h 389381"/>
                <a:gd name="connsiteX2" fmla="*/ 55531 w 361187"/>
                <a:gd name="connsiteY2" fmla="*/ 335756 h 389381"/>
                <a:gd name="connsiteX3" fmla="*/ 14859 w 361187"/>
                <a:gd name="connsiteY3" fmla="*/ 274606 h 389381"/>
                <a:gd name="connsiteX4" fmla="*/ 0 w 361187"/>
                <a:gd name="connsiteY4" fmla="*/ 195834 h 389381"/>
                <a:gd name="connsiteX5" fmla="*/ 0 w 361187"/>
                <a:gd name="connsiteY5" fmla="*/ 194405 h 389381"/>
                <a:gd name="connsiteX6" fmla="*/ 13430 w 361187"/>
                <a:gd name="connsiteY6" fmla="*/ 118777 h 389381"/>
                <a:gd name="connsiteX7" fmla="*/ 51245 w 361187"/>
                <a:gd name="connsiteY7" fmla="*/ 56959 h 389381"/>
                <a:gd name="connsiteX8" fmla="*/ 108871 w 361187"/>
                <a:gd name="connsiteY8" fmla="*/ 15240 h 389381"/>
                <a:gd name="connsiteX9" fmla="*/ 182404 w 361187"/>
                <a:gd name="connsiteY9" fmla="*/ 0 h 389381"/>
                <a:gd name="connsiteX10" fmla="*/ 260509 w 361187"/>
                <a:gd name="connsiteY10" fmla="*/ 16288 h 389381"/>
                <a:gd name="connsiteX11" fmla="*/ 316325 w 361187"/>
                <a:gd name="connsiteY11" fmla="*/ 60103 h 389381"/>
                <a:gd name="connsiteX12" fmla="*/ 349853 w 361187"/>
                <a:gd name="connsiteY12" fmla="*/ 124015 h 389381"/>
                <a:gd name="connsiteX13" fmla="*/ 361188 w 361187"/>
                <a:gd name="connsiteY13" fmla="*/ 200692 h 389381"/>
                <a:gd name="connsiteX14" fmla="*/ 360807 w 361187"/>
                <a:gd name="connsiteY14" fmla="*/ 212312 h 389381"/>
                <a:gd name="connsiteX15" fmla="*/ 359759 w 361187"/>
                <a:gd name="connsiteY15" fmla="*/ 224695 h 389381"/>
                <a:gd name="connsiteX16" fmla="*/ 85534 w 361187"/>
                <a:gd name="connsiteY16" fmla="*/ 224695 h 389381"/>
                <a:gd name="connsiteX17" fmla="*/ 121920 w 361187"/>
                <a:gd name="connsiteY17" fmla="*/ 294989 h 389381"/>
                <a:gd name="connsiteX18" fmla="*/ 192977 w 361187"/>
                <a:gd name="connsiteY18" fmla="*/ 319373 h 389381"/>
                <a:gd name="connsiteX19" fmla="*/ 248126 w 361187"/>
                <a:gd name="connsiteY19" fmla="*/ 308038 h 389381"/>
                <a:gd name="connsiteX20" fmla="*/ 294037 w 361187"/>
                <a:gd name="connsiteY20" fmla="*/ 274796 h 389381"/>
                <a:gd name="connsiteX21" fmla="*/ 344234 w 361187"/>
                <a:gd name="connsiteY21" fmla="*/ 319278 h 389381"/>
                <a:gd name="connsiteX22" fmla="*/ 280226 w 361187"/>
                <a:gd name="connsiteY22" fmla="*/ 370141 h 389381"/>
                <a:gd name="connsiteX23" fmla="*/ 191548 w 361187"/>
                <a:gd name="connsiteY23" fmla="*/ 389191 h 389381"/>
                <a:gd name="connsiteX24" fmla="*/ 276320 w 361187"/>
                <a:gd name="connsiteY24" fmla="*/ 168211 h 389381"/>
                <a:gd name="connsiteX25" fmla="*/ 267176 w 361187"/>
                <a:gd name="connsiteY25" fmla="*/ 129730 h 389381"/>
                <a:gd name="connsiteX26" fmla="*/ 248126 w 361187"/>
                <a:gd name="connsiteY26" fmla="*/ 98679 h 389381"/>
                <a:gd name="connsiteX27" fmla="*/ 219551 w 361187"/>
                <a:gd name="connsiteY27" fmla="*/ 77819 h 389381"/>
                <a:gd name="connsiteX28" fmla="*/ 181737 w 361187"/>
                <a:gd name="connsiteY28" fmla="*/ 70009 h 389381"/>
                <a:gd name="connsiteX29" fmla="*/ 116396 w 361187"/>
                <a:gd name="connsiteY29" fmla="*/ 97250 h 389381"/>
                <a:gd name="connsiteX30" fmla="*/ 84963 w 361187"/>
                <a:gd name="connsiteY30" fmla="*/ 168307 h 389381"/>
                <a:gd name="connsiteX31" fmla="*/ 276511 w 361187"/>
                <a:gd name="connsiteY31" fmla="*/ 168307 h 38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187" h="389381">
                  <a:moveTo>
                    <a:pt x="191548" y="389382"/>
                  </a:moveTo>
                  <a:cubicBezTo>
                    <a:pt x="164687" y="389382"/>
                    <a:pt x="139637" y="384715"/>
                    <a:pt x="116300" y="375285"/>
                  </a:cubicBezTo>
                  <a:cubicBezTo>
                    <a:pt x="92964" y="365855"/>
                    <a:pt x="72771" y="352711"/>
                    <a:pt x="55531" y="335756"/>
                  </a:cubicBezTo>
                  <a:cubicBezTo>
                    <a:pt x="38291" y="318802"/>
                    <a:pt x="24765" y="298418"/>
                    <a:pt x="14859" y="274606"/>
                  </a:cubicBezTo>
                  <a:cubicBezTo>
                    <a:pt x="4953" y="250793"/>
                    <a:pt x="0" y="224599"/>
                    <a:pt x="0" y="195834"/>
                  </a:cubicBezTo>
                  <a:lnTo>
                    <a:pt x="0" y="194405"/>
                  </a:lnTo>
                  <a:cubicBezTo>
                    <a:pt x="0" y="167545"/>
                    <a:pt x="4477" y="142399"/>
                    <a:pt x="13430" y="118777"/>
                  </a:cubicBezTo>
                  <a:cubicBezTo>
                    <a:pt x="22384" y="95250"/>
                    <a:pt x="34957" y="74581"/>
                    <a:pt x="51245" y="56959"/>
                  </a:cubicBezTo>
                  <a:cubicBezTo>
                    <a:pt x="67532" y="39338"/>
                    <a:pt x="86677" y="25432"/>
                    <a:pt x="108871" y="15240"/>
                  </a:cubicBezTo>
                  <a:cubicBezTo>
                    <a:pt x="131064" y="5143"/>
                    <a:pt x="155543" y="0"/>
                    <a:pt x="182404" y="0"/>
                  </a:cubicBezTo>
                  <a:cubicBezTo>
                    <a:pt x="212122" y="0"/>
                    <a:pt x="238125" y="5429"/>
                    <a:pt x="260509" y="16288"/>
                  </a:cubicBezTo>
                  <a:cubicBezTo>
                    <a:pt x="282893" y="27146"/>
                    <a:pt x="301466" y="41719"/>
                    <a:pt x="316325" y="60103"/>
                  </a:cubicBezTo>
                  <a:cubicBezTo>
                    <a:pt x="331184" y="78486"/>
                    <a:pt x="342329" y="99822"/>
                    <a:pt x="349853" y="124015"/>
                  </a:cubicBezTo>
                  <a:cubicBezTo>
                    <a:pt x="357378" y="148304"/>
                    <a:pt x="361188" y="173831"/>
                    <a:pt x="361188" y="200692"/>
                  </a:cubicBezTo>
                  <a:cubicBezTo>
                    <a:pt x="361188" y="204502"/>
                    <a:pt x="361093" y="208312"/>
                    <a:pt x="360807" y="212312"/>
                  </a:cubicBezTo>
                  <a:cubicBezTo>
                    <a:pt x="360521" y="216313"/>
                    <a:pt x="360236" y="220409"/>
                    <a:pt x="359759" y="224695"/>
                  </a:cubicBezTo>
                  <a:lnTo>
                    <a:pt x="85534" y="224695"/>
                  </a:lnTo>
                  <a:cubicBezTo>
                    <a:pt x="90202" y="255365"/>
                    <a:pt x="102394" y="278797"/>
                    <a:pt x="121920" y="294989"/>
                  </a:cubicBezTo>
                  <a:cubicBezTo>
                    <a:pt x="141446" y="311277"/>
                    <a:pt x="165164" y="319373"/>
                    <a:pt x="192977" y="319373"/>
                  </a:cubicBezTo>
                  <a:cubicBezTo>
                    <a:pt x="214217" y="319373"/>
                    <a:pt x="232505" y="315563"/>
                    <a:pt x="248126" y="308038"/>
                  </a:cubicBezTo>
                  <a:cubicBezTo>
                    <a:pt x="263652" y="300514"/>
                    <a:pt x="278987" y="289465"/>
                    <a:pt x="294037" y="274796"/>
                  </a:cubicBezTo>
                  <a:lnTo>
                    <a:pt x="344234" y="319278"/>
                  </a:lnTo>
                  <a:cubicBezTo>
                    <a:pt x="326327" y="340519"/>
                    <a:pt x="304991" y="357473"/>
                    <a:pt x="280226" y="370141"/>
                  </a:cubicBezTo>
                  <a:cubicBezTo>
                    <a:pt x="255461" y="382810"/>
                    <a:pt x="225933" y="389191"/>
                    <a:pt x="191548" y="389191"/>
                  </a:cubicBezTo>
                  <a:close/>
                  <a:moveTo>
                    <a:pt x="276320" y="168211"/>
                  </a:moveTo>
                  <a:cubicBezTo>
                    <a:pt x="274892" y="154591"/>
                    <a:pt x="271844" y="141732"/>
                    <a:pt x="267176" y="129730"/>
                  </a:cubicBezTo>
                  <a:cubicBezTo>
                    <a:pt x="262414" y="117729"/>
                    <a:pt x="256127" y="107347"/>
                    <a:pt x="248126" y="98679"/>
                  </a:cubicBezTo>
                  <a:cubicBezTo>
                    <a:pt x="240125" y="89916"/>
                    <a:pt x="230600" y="82963"/>
                    <a:pt x="219551" y="77819"/>
                  </a:cubicBezTo>
                  <a:cubicBezTo>
                    <a:pt x="208502" y="72676"/>
                    <a:pt x="195834" y="70009"/>
                    <a:pt x="181737" y="70009"/>
                  </a:cubicBezTo>
                  <a:cubicBezTo>
                    <a:pt x="155353" y="70009"/>
                    <a:pt x="133541" y="79057"/>
                    <a:pt x="116396" y="97250"/>
                  </a:cubicBezTo>
                  <a:cubicBezTo>
                    <a:pt x="99155" y="115348"/>
                    <a:pt x="88678" y="139065"/>
                    <a:pt x="84963" y="168307"/>
                  </a:cubicBezTo>
                  <a:lnTo>
                    <a:pt x="276511" y="168307"/>
                  </a:lnTo>
                  <a:close/>
                </a:path>
              </a:pathLst>
            </a:custGeom>
            <a:solidFill>
              <a:srgbClr val="44505E"/>
            </a:solidFill>
            <a:ln w="9525" cap="flat">
              <a:noFill/>
              <a:prstDash val="solid"/>
              <a:miter/>
            </a:ln>
          </p:spPr>
          <p:txBody>
            <a:bodyPr rtlCol="0" anchor="ctr"/>
            <a:lstStyle/>
            <a:p>
              <a:endParaRPr lang="pt-BR" noProof="0"/>
            </a:p>
          </p:txBody>
        </p:sp>
        <p:sp>
          <p:nvSpPr>
            <p:cNvPr id="22" name="Freeform: Shape 21">
              <a:extLst>
                <a:ext uri="{FF2B5EF4-FFF2-40B4-BE49-F238E27FC236}">
                  <a16:creationId xmlns:a16="http://schemas.microsoft.com/office/drawing/2014/main" id="{D3512049-B751-D22A-36CB-A31F3614C480}"/>
                </a:ext>
              </a:extLst>
            </p:cNvPr>
            <p:cNvSpPr/>
            <p:nvPr/>
          </p:nvSpPr>
          <p:spPr>
            <a:xfrm>
              <a:off x="5365659"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5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8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3 w 568166"/>
                <a:gd name="connsiteY21" fmla="*/ 381000 h 381000"/>
                <a:gd name="connsiteX22" fmla="*/ 240983 w 568166"/>
                <a:gd name="connsiteY22" fmla="*/ 168783 h 381000"/>
                <a:gd name="connsiteX23" fmla="*/ 221266 w 568166"/>
                <a:gd name="connsiteY23" fmla="*/ 101822 h 381000"/>
                <a:gd name="connsiteX24" fmla="*/ 165640 w 568166"/>
                <a:gd name="connsiteY24" fmla="*/ 78581 h 381000"/>
                <a:gd name="connsiteX25" fmla="*/ 108014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70" y="48196"/>
                    <a:pt x="105918" y="40576"/>
                  </a:cubicBezTo>
                  <a:cubicBezTo>
                    <a:pt x="112967" y="32956"/>
                    <a:pt x="121063" y="26099"/>
                    <a:pt x="130207" y="19907"/>
                  </a:cubicBezTo>
                  <a:cubicBezTo>
                    <a:pt x="139351" y="13716"/>
                    <a:pt x="149733" y="8858"/>
                    <a:pt x="161163" y="5334"/>
                  </a:cubicBezTo>
                  <a:cubicBezTo>
                    <a:pt x="172688" y="1714"/>
                    <a:pt x="185452" y="0"/>
                    <a:pt x="199549" y="0"/>
                  </a:cubicBezTo>
                  <a:cubicBezTo>
                    <a:pt x="226314" y="0"/>
                    <a:pt x="248984" y="6096"/>
                    <a:pt x="267557" y="18193"/>
                  </a:cubicBezTo>
                  <a:cubicBezTo>
                    <a:pt x="286131" y="30289"/>
                    <a:pt x="300323" y="46387"/>
                    <a:pt x="310134" y="66294"/>
                  </a:cubicBezTo>
                  <a:cubicBezTo>
                    <a:pt x="325279" y="46387"/>
                    <a:pt x="343091" y="30289"/>
                    <a:pt x="363665" y="18193"/>
                  </a:cubicBezTo>
                  <a:cubicBezTo>
                    <a:pt x="384239" y="6096"/>
                    <a:pt x="408718" y="0"/>
                    <a:pt x="437007" y="0"/>
                  </a:cubicBezTo>
                  <a:cubicBezTo>
                    <a:pt x="478060"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8" y="78486"/>
                  </a:cubicBezTo>
                  <a:cubicBezTo>
                    <a:pt x="382810" y="78486"/>
                    <a:pt x="364141" y="86392"/>
                    <a:pt x="349377" y="102108"/>
                  </a:cubicBezTo>
                  <a:cubicBezTo>
                    <a:pt x="334613" y="117824"/>
                    <a:pt x="327184" y="140779"/>
                    <a:pt x="327184" y="170879"/>
                  </a:cubicBezTo>
                  <a:lnTo>
                    <a:pt x="327184" y="381000"/>
                  </a:lnTo>
                  <a:lnTo>
                    <a:pt x="240983" y="381000"/>
                  </a:lnTo>
                  <a:lnTo>
                    <a:pt x="240983" y="168783"/>
                  </a:lnTo>
                  <a:cubicBezTo>
                    <a:pt x="240983" y="139637"/>
                    <a:pt x="234410" y="117348"/>
                    <a:pt x="221266" y="101822"/>
                  </a:cubicBezTo>
                  <a:cubicBezTo>
                    <a:pt x="208121" y="86296"/>
                    <a:pt x="189643" y="78581"/>
                    <a:pt x="165640" y="78581"/>
                  </a:cubicBezTo>
                  <a:cubicBezTo>
                    <a:pt x="141637" y="78581"/>
                    <a:pt x="122492" y="86773"/>
                    <a:pt x="108014"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23" name="Freeform: Shape 22">
              <a:extLst>
                <a:ext uri="{FF2B5EF4-FFF2-40B4-BE49-F238E27FC236}">
                  <a16:creationId xmlns:a16="http://schemas.microsoft.com/office/drawing/2014/main" id="{388785A5-3423-F00A-59FF-851F79A747AA}"/>
                </a:ext>
              </a:extLst>
            </p:cNvPr>
            <p:cNvSpPr/>
            <p:nvPr/>
          </p:nvSpPr>
          <p:spPr>
            <a:xfrm>
              <a:off x="5587693" y="700007"/>
              <a:ext cx="84211" cy="95752"/>
            </a:xfrm>
            <a:custGeom>
              <a:avLst/>
              <a:gdLst>
                <a:gd name="connsiteX0" fmla="*/ 95 w 334994"/>
                <a:gd name="connsiteY0" fmla="*/ 7715 h 380904"/>
                <a:gd name="connsiteX1" fmla="*/ 86296 w 334994"/>
                <a:gd name="connsiteY1" fmla="*/ 7715 h 380904"/>
                <a:gd name="connsiteX2" fmla="*/ 86296 w 334994"/>
                <a:gd name="connsiteY2" fmla="*/ 66294 h 380904"/>
                <a:gd name="connsiteX3" fmla="*/ 106394 w 334994"/>
                <a:gd name="connsiteY3" fmla="*/ 40958 h 380904"/>
                <a:gd name="connsiteX4" fmla="*/ 131731 w 334994"/>
                <a:gd name="connsiteY4" fmla="*/ 19907 h 380904"/>
                <a:gd name="connsiteX5" fmla="*/ 163449 w 334994"/>
                <a:gd name="connsiteY5" fmla="*/ 5334 h 380904"/>
                <a:gd name="connsiteX6" fmla="*/ 202597 w 334994"/>
                <a:gd name="connsiteY6" fmla="*/ 0 h 380904"/>
                <a:gd name="connsiteX7" fmla="*/ 300514 w 334994"/>
                <a:gd name="connsiteY7" fmla="*/ 38862 h 380904"/>
                <a:gd name="connsiteX8" fmla="*/ 334994 w 334994"/>
                <a:gd name="connsiteY8" fmla="*/ 143446 h 380904"/>
                <a:gd name="connsiteX9" fmla="*/ 334994 w 334994"/>
                <a:gd name="connsiteY9" fmla="*/ 380905 h 380904"/>
                <a:gd name="connsiteX10" fmla="*/ 248793 w 334994"/>
                <a:gd name="connsiteY10" fmla="*/ 380905 h 380904"/>
                <a:gd name="connsiteX11" fmla="*/ 248793 w 334994"/>
                <a:gd name="connsiteY11" fmla="*/ 169450 h 380904"/>
                <a:gd name="connsiteX12" fmla="*/ 228124 w 334994"/>
                <a:gd name="connsiteY12" fmla="*/ 102108 h 380904"/>
                <a:gd name="connsiteX13" fmla="*/ 169640 w 334994"/>
                <a:gd name="connsiteY13" fmla="*/ 78486 h 380904"/>
                <a:gd name="connsiteX14" fmla="*/ 109347 w 334994"/>
                <a:gd name="connsiteY14" fmla="*/ 102775 h 380904"/>
                <a:gd name="connsiteX15" fmla="*/ 86201 w 334994"/>
                <a:gd name="connsiteY15" fmla="*/ 170783 h 380904"/>
                <a:gd name="connsiteX16" fmla="*/ 86201 w 334994"/>
                <a:gd name="connsiteY16" fmla="*/ 380905 h 380904"/>
                <a:gd name="connsiteX17" fmla="*/ 0 w 334994"/>
                <a:gd name="connsiteY17" fmla="*/ 380905 h 380904"/>
                <a:gd name="connsiteX18" fmla="*/ 0 w 334994"/>
                <a:gd name="connsiteY18" fmla="*/ 7810 h 38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94" h="380904">
                  <a:moveTo>
                    <a:pt x="95" y="7715"/>
                  </a:moveTo>
                  <a:lnTo>
                    <a:pt x="86296" y="7715"/>
                  </a:lnTo>
                  <a:lnTo>
                    <a:pt x="86296" y="66294"/>
                  </a:lnTo>
                  <a:cubicBezTo>
                    <a:pt x="92392" y="57245"/>
                    <a:pt x="99060" y="48863"/>
                    <a:pt x="106394" y="40958"/>
                  </a:cubicBezTo>
                  <a:cubicBezTo>
                    <a:pt x="113633" y="33147"/>
                    <a:pt x="122110" y="26099"/>
                    <a:pt x="131731" y="19907"/>
                  </a:cubicBezTo>
                  <a:cubicBezTo>
                    <a:pt x="141351" y="13716"/>
                    <a:pt x="151924" y="8858"/>
                    <a:pt x="163449" y="5334"/>
                  </a:cubicBezTo>
                  <a:cubicBezTo>
                    <a:pt x="174974" y="1714"/>
                    <a:pt x="188024" y="0"/>
                    <a:pt x="202597" y="0"/>
                  </a:cubicBezTo>
                  <a:cubicBezTo>
                    <a:pt x="244888" y="0"/>
                    <a:pt x="277559" y="12954"/>
                    <a:pt x="300514" y="38862"/>
                  </a:cubicBezTo>
                  <a:cubicBezTo>
                    <a:pt x="323564" y="64770"/>
                    <a:pt x="334994" y="99631"/>
                    <a:pt x="334994" y="143446"/>
                  </a:cubicBezTo>
                  <a:lnTo>
                    <a:pt x="334994" y="380905"/>
                  </a:lnTo>
                  <a:lnTo>
                    <a:pt x="248793" y="380905"/>
                  </a:lnTo>
                  <a:lnTo>
                    <a:pt x="248793" y="169450"/>
                  </a:lnTo>
                  <a:cubicBezTo>
                    <a:pt x="248793" y="140303"/>
                    <a:pt x="241935" y="117824"/>
                    <a:pt x="228124" y="102108"/>
                  </a:cubicBezTo>
                  <a:cubicBezTo>
                    <a:pt x="214313" y="86392"/>
                    <a:pt x="194881" y="78486"/>
                    <a:pt x="169640" y="78486"/>
                  </a:cubicBezTo>
                  <a:cubicBezTo>
                    <a:pt x="144399" y="78486"/>
                    <a:pt x="124777" y="86582"/>
                    <a:pt x="109347" y="102775"/>
                  </a:cubicBezTo>
                  <a:cubicBezTo>
                    <a:pt x="93917" y="118967"/>
                    <a:pt x="86201" y="141637"/>
                    <a:pt x="86201" y="170783"/>
                  </a:cubicBezTo>
                  <a:lnTo>
                    <a:pt x="86201" y="380905"/>
                  </a:lnTo>
                  <a:lnTo>
                    <a:pt x="0" y="380905"/>
                  </a:lnTo>
                  <a:lnTo>
                    <a:pt x="0" y="7810"/>
                  </a:lnTo>
                  <a:close/>
                </a:path>
              </a:pathLst>
            </a:custGeom>
            <a:solidFill>
              <a:srgbClr val="44505E"/>
            </a:solidFill>
            <a:ln w="9525" cap="flat">
              <a:noFill/>
              <a:prstDash val="solid"/>
              <a:miter/>
            </a:ln>
          </p:spPr>
          <p:txBody>
            <a:bodyPr rtlCol="0" anchor="ctr"/>
            <a:lstStyle/>
            <a:p>
              <a:endParaRPr lang="pt-BR" noProof="0"/>
            </a:p>
          </p:txBody>
        </p:sp>
        <p:sp>
          <p:nvSpPr>
            <p:cNvPr id="24" name="Freeform: Shape 23">
              <a:extLst>
                <a:ext uri="{FF2B5EF4-FFF2-40B4-BE49-F238E27FC236}">
                  <a16:creationId xmlns:a16="http://schemas.microsoft.com/office/drawing/2014/main" id="{0F921795-0039-A81A-A6A1-AA695F4CF6FB}"/>
                </a:ext>
              </a:extLst>
            </p:cNvPr>
            <p:cNvSpPr/>
            <p:nvPr/>
          </p:nvSpPr>
          <p:spPr>
            <a:xfrm>
              <a:off x="5692712" y="699959"/>
              <a:ext cx="100015" cy="97908"/>
            </a:xfrm>
            <a:custGeom>
              <a:avLst/>
              <a:gdLst>
                <a:gd name="connsiteX0" fmla="*/ 197834 w 397859"/>
                <a:gd name="connsiteY0" fmla="*/ 389477 h 389477"/>
                <a:gd name="connsiteX1" fmla="*/ 119063 w 397859"/>
                <a:gd name="connsiteY1" fmla="*/ 374237 h 389477"/>
                <a:gd name="connsiteX2" fmla="*/ 56197 w 397859"/>
                <a:gd name="connsiteY2" fmla="*/ 332899 h 389477"/>
                <a:gd name="connsiteX3" fmla="*/ 14859 w 397859"/>
                <a:gd name="connsiteY3" fmla="*/ 271463 h 389477"/>
                <a:gd name="connsiteX4" fmla="*/ 0 w 397859"/>
                <a:gd name="connsiteY4" fmla="*/ 196501 h 389477"/>
                <a:gd name="connsiteX5" fmla="*/ 0 w 397859"/>
                <a:gd name="connsiteY5" fmla="*/ 195072 h 389477"/>
                <a:gd name="connsiteX6" fmla="*/ 15145 w 397859"/>
                <a:gd name="connsiteY6" fmla="*/ 119444 h 389477"/>
                <a:gd name="connsiteX7" fmla="*/ 56864 w 397859"/>
                <a:gd name="connsiteY7" fmla="*/ 57626 h 389477"/>
                <a:gd name="connsiteX8" fmla="*/ 119729 w 397859"/>
                <a:gd name="connsiteY8" fmla="*/ 15526 h 389477"/>
                <a:gd name="connsiteX9" fmla="*/ 199263 w 397859"/>
                <a:gd name="connsiteY9" fmla="*/ 0 h 389477"/>
                <a:gd name="connsiteX10" fmla="*/ 278797 w 397859"/>
                <a:gd name="connsiteY10" fmla="*/ 15240 h 389477"/>
                <a:gd name="connsiteX11" fmla="*/ 341662 w 397859"/>
                <a:gd name="connsiteY11" fmla="*/ 56959 h 389477"/>
                <a:gd name="connsiteX12" fmla="*/ 383000 w 397859"/>
                <a:gd name="connsiteY12" fmla="*/ 118396 h 389477"/>
                <a:gd name="connsiteX13" fmla="*/ 397859 w 397859"/>
                <a:gd name="connsiteY13" fmla="*/ 193643 h 389477"/>
                <a:gd name="connsiteX14" fmla="*/ 397859 w 397859"/>
                <a:gd name="connsiteY14" fmla="*/ 195072 h 389477"/>
                <a:gd name="connsiteX15" fmla="*/ 382619 w 397859"/>
                <a:gd name="connsiteY15" fmla="*/ 270034 h 389477"/>
                <a:gd name="connsiteX16" fmla="*/ 340900 w 397859"/>
                <a:gd name="connsiteY16" fmla="*/ 331851 h 389477"/>
                <a:gd name="connsiteX17" fmla="*/ 277654 w 397859"/>
                <a:gd name="connsiteY17" fmla="*/ 373856 h 389477"/>
                <a:gd name="connsiteX18" fmla="*/ 197834 w 397859"/>
                <a:gd name="connsiteY18" fmla="*/ 389382 h 389477"/>
                <a:gd name="connsiteX19" fmla="*/ 199263 w 397859"/>
                <a:gd name="connsiteY19" fmla="*/ 315278 h 389477"/>
                <a:gd name="connsiteX20" fmla="*/ 245935 w 397859"/>
                <a:gd name="connsiteY20" fmla="*/ 305753 h 389477"/>
                <a:gd name="connsiteX21" fmla="*/ 281368 w 397859"/>
                <a:gd name="connsiteY21" fmla="*/ 279940 h 389477"/>
                <a:gd name="connsiteX22" fmla="*/ 303847 w 397859"/>
                <a:gd name="connsiteY22" fmla="*/ 242125 h 389477"/>
                <a:gd name="connsiteX23" fmla="*/ 311563 w 397859"/>
                <a:gd name="connsiteY23" fmla="*/ 196501 h 389477"/>
                <a:gd name="connsiteX24" fmla="*/ 311563 w 397859"/>
                <a:gd name="connsiteY24" fmla="*/ 195072 h 389477"/>
                <a:gd name="connsiteX25" fmla="*/ 303181 w 397859"/>
                <a:gd name="connsiteY25" fmla="*/ 148400 h 389477"/>
                <a:gd name="connsiteX26" fmla="*/ 279654 w 397859"/>
                <a:gd name="connsiteY26" fmla="*/ 110204 h 389477"/>
                <a:gd name="connsiteX27" fmla="*/ 243840 w 397859"/>
                <a:gd name="connsiteY27" fmla="*/ 84392 h 389477"/>
                <a:gd name="connsiteX28" fmla="*/ 197834 w 397859"/>
                <a:gd name="connsiteY28" fmla="*/ 74867 h 389477"/>
                <a:gd name="connsiteX29" fmla="*/ 151829 w 397859"/>
                <a:gd name="connsiteY29" fmla="*/ 84392 h 389477"/>
                <a:gd name="connsiteX30" fmla="*/ 116396 w 397859"/>
                <a:gd name="connsiteY30" fmla="*/ 109823 h 389477"/>
                <a:gd name="connsiteX31" fmla="*/ 93917 w 397859"/>
                <a:gd name="connsiteY31" fmla="*/ 147638 h 389477"/>
                <a:gd name="connsiteX32" fmla="*/ 86201 w 397859"/>
                <a:gd name="connsiteY32" fmla="*/ 193548 h 389477"/>
                <a:gd name="connsiteX33" fmla="*/ 86201 w 397859"/>
                <a:gd name="connsiteY33" fmla="*/ 194977 h 389477"/>
                <a:gd name="connsiteX34" fmla="*/ 94583 w 397859"/>
                <a:gd name="connsiteY34" fmla="*/ 241268 h 389477"/>
                <a:gd name="connsiteX35" fmla="*/ 118110 w 397859"/>
                <a:gd name="connsiteY35" fmla="*/ 279463 h 389477"/>
                <a:gd name="connsiteX36" fmla="*/ 153924 w 397859"/>
                <a:gd name="connsiteY36" fmla="*/ 305562 h 389477"/>
                <a:gd name="connsiteX37" fmla="*/ 199263 w 397859"/>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859" h="389477">
                  <a:moveTo>
                    <a:pt x="197834" y="389477"/>
                  </a:moveTo>
                  <a:cubicBezTo>
                    <a:pt x="169545" y="389477"/>
                    <a:pt x="143351" y="384429"/>
                    <a:pt x="119063" y="374237"/>
                  </a:cubicBezTo>
                  <a:cubicBezTo>
                    <a:pt x="94774" y="364141"/>
                    <a:pt x="73819" y="350330"/>
                    <a:pt x="56197" y="332899"/>
                  </a:cubicBezTo>
                  <a:cubicBezTo>
                    <a:pt x="38481" y="315468"/>
                    <a:pt x="24765" y="294989"/>
                    <a:pt x="14859" y="271463"/>
                  </a:cubicBezTo>
                  <a:cubicBezTo>
                    <a:pt x="4953" y="247936"/>
                    <a:pt x="0" y="222980"/>
                    <a:pt x="0" y="196501"/>
                  </a:cubicBezTo>
                  <a:lnTo>
                    <a:pt x="0" y="195072"/>
                  </a:lnTo>
                  <a:cubicBezTo>
                    <a:pt x="0" y="168212"/>
                    <a:pt x="5048" y="143066"/>
                    <a:pt x="15145" y="119444"/>
                  </a:cubicBezTo>
                  <a:cubicBezTo>
                    <a:pt x="25241" y="95917"/>
                    <a:pt x="39148" y="75248"/>
                    <a:pt x="56864" y="57626"/>
                  </a:cubicBezTo>
                  <a:cubicBezTo>
                    <a:pt x="74581" y="39910"/>
                    <a:pt x="95536" y="25908"/>
                    <a:pt x="119729" y="15526"/>
                  </a:cubicBezTo>
                  <a:cubicBezTo>
                    <a:pt x="144018" y="5144"/>
                    <a:pt x="170497" y="0"/>
                    <a:pt x="199263" y="0"/>
                  </a:cubicBezTo>
                  <a:cubicBezTo>
                    <a:pt x="228029" y="0"/>
                    <a:pt x="254508" y="5048"/>
                    <a:pt x="278797" y="15240"/>
                  </a:cubicBezTo>
                  <a:cubicBezTo>
                    <a:pt x="303085" y="25337"/>
                    <a:pt x="324041" y="39243"/>
                    <a:pt x="341662" y="56959"/>
                  </a:cubicBezTo>
                  <a:cubicBezTo>
                    <a:pt x="359378" y="74676"/>
                    <a:pt x="373094" y="95155"/>
                    <a:pt x="383000" y="118396"/>
                  </a:cubicBezTo>
                  <a:cubicBezTo>
                    <a:pt x="392906" y="141732"/>
                    <a:pt x="397859" y="166783"/>
                    <a:pt x="397859" y="193643"/>
                  </a:cubicBezTo>
                  <a:lnTo>
                    <a:pt x="397859" y="195072"/>
                  </a:lnTo>
                  <a:cubicBezTo>
                    <a:pt x="397859" y="221456"/>
                    <a:pt x="392811" y="246412"/>
                    <a:pt x="382619" y="270034"/>
                  </a:cubicBezTo>
                  <a:cubicBezTo>
                    <a:pt x="372523" y="293561"/>
                    <a:pt x="358616" y="314230"/>
                    <a:pt x="340900" y="331851"/>
                  </a:cubicBezTo>
                  <a:cubicBezTo>
                    <a:pt x="323183" y="349472"/>
                    <a:pt x="302133" y="363569"/>
                    <a:pt x="277654" y="373856"/>
                  </a:cubicBezTo>
                  <a:cubicBezTo>
                    <a:pt x="253175" y="384238"/>
                    <a:pt x="226504" y="389382"/>
                    <a:pt x="197834" y="389382"/>
                  </a:cubicBezTo>
                  <a:close/>
                  <a:moveTo>
                    <a:pt x="199263" y="315278"/>
                  </a:moveTo>
                  <a:cubicBezTo>
                    <a:pt x="216598" y="315278"/>
                    <a:pt x="232124" y="312039"/>
                    <a:pt x="245935" y="305753"/>
                  </a:cubicBezTo>
                  <a:cubicBezTo>
                    <a:pt x="259747" y="299371"/>
                    <a:pt x="271558" y="290798"/>
                    <a:pt x="281368" y="279940"/>
                  </a:cubicBezTo>
                  <a:cubicBezTo>
                    <a:pt x="291179" y="269081"/>
                    <a:pt x="298704" y="256508"/>
                    <a:pt x="303847" y="242125"/>
                  </a:cubicBezTo>
                  <a:cubicBezTo>
                    <a:pt x="308991" y="227743"/>
                    <a:pt x="311563" y="212598"/>
                    <a:pt x="311563" y="196501"/>
                  </a:cubicBezTo>
                  <a:lnTo>
                    <a:pt x="311563" y="195072"/>
                  </a:lnTo>
                  <a:cubicBezTo>
                    <a:pt x="311563" y="178594"/>
                    <a:pt x="308800" y="163068"/>
                    <a:pt x="303181" y="148400"/>
                  </a:cubicBezTo>
                  <a:cubicBezTo>
                    <a:pt x="297561" y="133826"/>
                    <a:pt x="289750" y="121063"/>
                    <a:pt x="279654" y="110204"/>
                  </a:cubicBezTo>
                  <a:cubicBezTo>
                    <a:pt x="269558" y="99346"/>
                    <a:pt x="257651" y="90773"/>
                    <a:pt x="243840" y="84392"/>
                  </a:cubicBezTo>
                  <a:cubicBezTo>
                    <a:pt x="230029" y="78010"/>
                    <a:pt x="214693" y="74867"/>
                    <a:pt x="197834" y="74867"/>
                  </a:cubicBezTo>
                  <a:cubicBezTo>
                    <a:pt x="180975" y="74867"/>
                    <a:pt x="165640" y="78010"/>
                    <a:pt x="151829" y="84392"/>
                  </a:cubicBezTo>
                  <a:cubicBezTo>
                    <a:pt x="138017" y="90773"/>
                    <a:pt x="126206" y="99250"/>
                    <a:pt x="116396" y="109823"/>
                  </a:cubicBezTo>
                  <a:cubicBezTo>
                    <a:pt x="106585" y="120396"/>
                    <a:pt x="99060" y="133064"/>
                    <a:pt x="93917" y="147638"/>
                  </a:cubicBezTo>
                  <a:cubicBezTo>
                    <a:pt x="88773" y="162211"/>
                    <a:pt x="86201" y="177546"/>
                    <a:pt x="86201" y="193548"/>
                  </a:cubicBezTo>
                  <a:lnTo>
                    <a:pt x="86201" y="194977"/>
                  </a:lnTo>
                  <a:cubicBezTo>
                    <a:pt x="86201" y="211455"/>
                    <a:pt x="88963" y="226886"/>
                    <a:pt x="94583" y="241268"/>
                  </a:cubicBezTo>
                  <a:cubicBezTo>
                    <a:pt x="100203" y="255651"/>
                    <a:pt x="108013" y="268319"/>
                    <a:pt x="118110" y="279463"/>
                  </a:cubicBezTo>
                  <a:cubicBezTo>
                    <a:pt x="128206" y="290513"/>
                    <a:pt x="140113" y="299275"/>
                    <a:pt x="153924" y="305562"/>
                  </a:cubicBezTo>
                  <a:cubicBezTo>
                    <a:pt x="167735" y="311944"/>
                    <a:pt x="182880"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25" name="Freeform: Shape 24">
              <a:extLst>
                <a:ext uri="{FF2B5EF4-FFF2-40B4-BE49-F238E27FC236}">
                  <a16:creationId xmlns:a16="http://schemas.microsoft.com/office/drawing/2014/main" id="{E7EC5F12-FFCD-2F57-798C-14138565D3B2}"/>
                </a:ext>
              </a:extLst>
            </p:cNvPr>
            <p:cNvSpPr/>
            <p:nvPr/>
          </p:nvSpPr>
          <p:spPr>
            <a:xfrm>
              <a:off x="5806925"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2 w 296894"/>
                <a:gd name="connsiteY36" fmla="*/ 224980 h 386714"/>
                <a:gd name="connsiteX37" fmla="*/ 296894 w 296894"/>
                <a:gd name="connsiteY37" fmla="*/ 267938 h 386714"/>
                <a:gd name="connsiteX38" fmla="*/ 296894 w 296894"/>
                <a:gd name="connsiteY38" fmla="*/ 269367 h 386714"/>
                <a:gd name="connsiteX39" fmla="*/ 286322 w 296894"/>
                <a:gd name="connsiteY39" fmla="*/ 320897 h 386714"/>
                <a:gd name="connsiteX40" fmla="*/ 256984 w 296894"/>
                <a:gd name="connsiteY40" fmla="*/ 357188 h 386714"/>
                <a:gd name="connsiteX41" fmla="*/ 212789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8" y="298704"/>
                    <a:pt x="100013" y="306514"/>
                  </a:cubicBezTo>
                  <a:cubicBezTo>
                    <a:pt x="120967" y="314325"/>
                    <a:pt x="141161" y="318135"/>
                    <a:pt x="160401" y="318135"/>
                  </a:cubicBezTo>
                  <a:cubicBezTo>
                    <a:pt x="179642" y="318135"/>
                    <a:pt x="192976"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2" y="241078"/>
                    <a:pt x="176498" y="237553"/>
                    <a:pt x="166402" y="234220"/>
                  </a:cubicBezTo>
                  <a:cubicBezTo>
                    <a:pt x="156305" y="230886"/>
                    <a:pt x="145733" y="227647"/>
                    <a:pt x="134969" y="224314"/>
                  </a:cubicBezTo>
                  <a:cubicBezTo>
                    <a:pt x="121253" y="220599"/>
                    <a:pt x="107537" y="216122"/>
                    <a:pt x="93631" y="210884"/>
                  </a:cubicBezTo>
                  <a:cubicBezTo>
                    <a:pt x="79724" y="205740"/>
                    <a:pt x="67246" y="198977"/>
                    <a:pt x="56197" y="190786"/>
                  </a:cubicBezTo>
                  <a:cubicBezTo>
                    <a:pt x="45149" y="182594"/>
                    <a:pt x="36100" y="172307"/>
                    <a:pt x="28956" y="160115"/>
                  </a:cubicBezTo>
                  <a:cubicBezTo>
                    <a:pt x="21908"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5"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7" y="156210"/>
                    <a:pt x="180975" y="159448"/>
                  </a:cubicBezTo>
                  <a:cubicBezTo>
                    <a:pt x="194596" y="163639"/>
                    <a:pt x="208312" y="168592"/>
                    <a:pt x="222028" y="174212"/>
                  </a:cubicBezTo>
                  <a:cubicBezTo>
                    <a:pt x="235649" y="179832"/>
                    <a:pt x="248031" y="186785"/>
                    <a:pt x="259080" y="194977"/>
                  </a:cubicBezTo>
                  <a:cubicBezTo>
                    <a:pt x="270129" y="203168"/>
                    <a:pt x="279273" y="213169"/>
                    <a:pt x="286322" y="224980"/>
                  </a:cubicBezTo>
                  <a:cubicBezTo>
                    <a:pt x="293370" y="236696"/>
                    <a:pt x="296894" y="251079"/>
                    <a:pt x="296894" y="267938"/>
                  </a:cubicBezTo>
                  <a:lnTo>
                    <a:pt x="296894" y="269367"/>
                  </a:lnTo>
                  <a:cubicBezTo>
                    <a:pt x="296894" y="289084"/>
                    <a:pt x="293370" y="306229"/>
                    <a:pt x="286322" y="320897"/>
                  </a:cubicBezTo>
                  <a:cubicBezTo>
                    <a:pt x="279273" y="335470"/>
                    <a:pt x="269462" y="347567"/>
                    <a:pt x="256984" y="357188"/>
                  </a:cubicBezTo>
                  <a:cubicBezTo>
                    <a:pt x="244507" y="366808"/>
                    <a:pt x="229743" y="374142"/>
                    <a:pt x="212789"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6" name="Freeform: Shape 25">
              <a:extLst>
                <a:ext uri="{FF2B5EF4-FFF2-40B4-BE49-F238E27FC236}">
                  <a16:creationId xmlns:a16="http://schemas.microsoft.com/office/drawing/2014/main" id="{B38074B6-6CED-E5B4-2133-18C76EFF3D4E}"/>
                </a:ext>
              </a:extLst>
            </p:cNvPr>
            <p:cNvSpPr/>
            <p:nvPr/>
          </p:nvSpPr>
          <p:spPr>
            <a:xfrm>
              <a:off x="589573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6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160" y="318135"/>
                    <a:pt x="160401" y="318135"/>
                  </a:cubicBezTo>
                  <a:cubicBezTo>
                    <a:pt x="179641" y="318135"/>
                    <a:pt x="192976"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4"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792"/>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7" name="Freeform: Shape 26">
              <a:extLst>
                <a:ext uri="{FF2B5EF4-FFF2-40B4-BE49-F238E27FC236}">
                  <a16:creationId xmlns:a16="http://schemas.microsoft.com/office/drawing/2014/main" id="{740683A5-DD86-D11E-0157-93310ACAE783}"/>
                </a:ext>
              </a:extLst>
            </p:cNvPr>
            <p:cNvSpPr/>
            <p:nvPr/>
          </p:nvSpPr>
          <p:spPr>
            <a:xfrm>
              <a:off x="5985812" y="700558"/>
              <a:ext cx="85097" cy="97141"/>
            </a:xfrm>
            <a:custGeom>
              <a:avLst/>
              <a:gdLst>
                <a:gd name="connsiteX0" fmla="*/ 253651 w 338518"/>
                <a:gd name="connsiteY0" fmla="*/ 378619 h 386429"/>
                <a:gd name="connsiteX1" fmla="*/ 253651 w 338518"/>
                <a:gd name="connsiteY1" fmla="*/ 332708 h 386429"/>
                <a:gd name="connsiteX2" fmla="*/ 204883 w 338518"/>
                <a:gd name="connsiteY2" fmla="*/ 370904 h 386429"/>
                <a:gd name="connsiteX3" fmla="*/ 132779 w 338518"/>
                <a:gd name="connsiteY3" fmla="*/ 386429 h 386429"/>
                <a:gd name="connsiteX4" fmla="*/ 81915 w 338518"/>
                <a:gd name="connsiteY4" fmla="*/ 379000 h 386429"/>
                <a:gd name="connsiteX5" fmla="*/ 39910 w 338518"/>
                <a:gd name="connsiteY5" fmla="*/ 357092 h 386429"/>
                <a:gd name="connsiteX6" fmla="*/ 10954 w 338518"/>
                <a:gd name="connsiteY6" fmla="*/ 321088 h 386429"/>
                <a:gd name="connsiteX7" fmla="*/ 0 w 338518"/>
                <a:gd name="connsiteY7" fmla="*/ 271272 h 386429"/>
                <a:gd name="connsiteX8" fmla="*/ 0 w 338518"/>
                <a:gd name="connsiteY8" fmla="*/ 269843 h 386429"/>
                <a:gd name="connsiteX9" fmla="*/ 11335 w 338518"/>
                <a:gd name="connsiteY9" fmla="*/ 215741 h 386429"/>
                <a:gd name="connsiteX10" fmla="*/ 42767 w 338518"/>
                <a:gd name="connsiteY10" fmla="*/ 177546 h 386429"/>
                <a:gd name="connsiteX11" fmla="*/ 90773 w 338518"/>
                <a:gd name="connsiteY11" fmla="*/ 154972 h 386429"/>
                <a:gd name="connsiteX12" fmla="*/ 151162 w 338518"/>
                <a:gd name="connsiteY12" fmla="*/ 147542 h 386429"/>
                <a:gd name="connsiteX13" fmla="*/ 208788 w 338518"/>
                <a:gd name="connsiteY13" fmla="*/ 151829 h 386429"/>
                <a:gd name="connsiteX14" fmla="*/ 254413 w 338518"/>
                <a:gd name="connsiteY14" fmla="*/ 163163 h 386429"/>
                <a:gd name="connsiteX15" fmla="*/ 254413 w 338518"/>
                <a:gd name="connsiteY15" fmla="*/ 156115 h 386429"/>
                <a:gd name="connsiteX16" fmla="*/ 230696 w 338518"/>
                <a:gd name="connsiteY16" fmla="*/ 96774 h 386429"/>
                <a:gd name="connsiteX17" fmla="*/ 162496 w 338518"/>
                <a:gd name="connsiteY17" fmla="*/ 76295 h 386429"/>
                <a:gd name="connsiteX18" fmla="*/ 106013 w 338518"/>
                <a:gd name="connsiteY18" fmla="*/ 82677 h 386429"/>
                <a:gd name="connsiteX19" fmla="*/ 55816 w 338518"/>
                <a:gd name="connsiteY19" fmla="*/ 99632 h 386429"/>
                <a:gd name="connsiteX20" fmla="*/ 32480 w 338518"/>
                <a:gd name="connsiteY20" fmla="*/ 31052 h 386429"/>
                <a:gd name="connsiteX21" fmla="*/ 96107 w 338518"/>
                <a:gd name="connsiteY21" fmla="*/ 8477 h 386429"/>
                <a:gd name="connsiteX22" fmla="*/ 174593 w 338518"/>
                <a:gd name="connsiteY22" fmla="*/ 0 h 386429"/>
                <a:gd name="connsiteX23" fmla="*/ 298228 w 338518"/>
                <a:gd name="connsiteY23" fmla="*/ 41338 h 386429"/>
                <a:gd name="connsiteX24" fmla="*/ 338519 w 338518"/>
                <a:gd name="connsiteY24" fmla="*/ 157544 h 386429"/>
                <a:gd name="connsiteX25" fmla="*/ 338519 w 338518"/>
                <a:gd name="connsiteY25" fmla="*/ 378714 h 386429"/>
                <a:gd name="connsiteX26" fmla="*/ 253746 w 338518"/>
                <a:gd name="connsiteY26" fmla="*/ 378714 h 386429"/>
                <a:gd name="connsiteX27" fmla="*/ 255746 w 338518"/>
                <a:gd name="connsiteY27" fmla="*/ 222409 h 386429"/>
                <a:gd name="connsiteX28" fmla="*/ 217265 w 338518"/>
                <a:gd name="connsiteY28" fmla="*/ 211836 h 386429"/>
                <a:gd name="connsiteX29" fmla="*/ 170307 w 338518"/>
                <a:gd name="connsiteY29" fmla="*/ 207550 h 386429"/>
                <a:gd name="connsiteX30" fmla="*/ 107442 w 338518"/>
                <a:gd name="connsiteY30" fmla="*/ 223075 h 386429"/>
                <a:gd name="connsiteX31" fmla="*/ 84868 w 338518"/>
                <a:gd name="connsiteY31" fmla="*/ 265462 h 386429"/>
                <a:gd name="connsiteX32" fmla="*/ 84868 w 338518"/>
                <a:gd name="connsiteY32" fmla="*/ 266891 h 386429"/>
                <a:gd name="connsiteX33" fmla="*/ 105728 w 338518"/>
                <a:gd name="connsiteY33" fmla="*/ 307848 h 386429"/>
                <a:gd name="connsiteX34" fmla="*/ 156972 w 338518"/>
                <a:gd name="connsiteY34" fmla="*/ 321945 h 386429"/>
                <a:gd name="connsiteX35" fmla="*/ 196215 w 338518"/>
                <a:gd name="connsiteY35" fmla="*/ 316325 h 386429"/>
                <a:gd name="connsiteX36" fmla="*/ 227647 w 338518"/>
                <a:gd name="connsiteY36" fmla="*/ 300419 h 386429"/>
                <a:gd name="connsiteX37" fmla="*/ 248507 w 338518"/>
                <a:gd name="connsiteY37" fmla="*/ 275654 h 386429"/>
                <a:gd name="connsiteX38" fmla="*/ 255937 w 338518"/>
                <a:gd name="connsiteY38" fmla="*/ 243459 h 386429"/>
                <a:gd name="connsiteX39" fmla="*/ 255937 w 338518"/>
                <a:gd name="connsiteY39" fmla="*/ 222218 h 3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8518" h="386429">
                  <a:moveTo>
                    <a:pt x="253651" y="378619"/>
                  </a:moveTo>
                  <a:lnTo>
                    <a:pt x="253651" y="332708"/>
                  </a:lnTo>
                  <a:cubicBezTo>
                    <a:pt x="240887" y="347758"/>
                    <a:pt x="224695" y="360521"/>
                    <a:pt x="204883" y="370904"/>
                  </a:cubicBezTo>
                  <a:cubicBezTo>
                    <a:pt x="185071" y="381286"/>
                    <a:pt x="161068" y="386429"/>
                    <a:pt x="132779" y="386429"/>
                  </a:cubicBezTo>
                  <a:cubicBezTo>
                    <a:pt x="114871" y="386429"/>
                    <a:pt x="97917" y="383953"/>
                    <a:pt x="81915" y="379000"/>
                  </a:cubicBezTo>
                  <a:cubicBezTo>
                    <a:pt x="65913" y="374047"/>
                    <a:pt x="51911" y="366713"/>
                    <a:pt x="39910" y="357092"/>
                  </a:cubicBezTo>
                  <a:cubicBezTo>
                    <a:pt x="27908" y="347472"/>
                    <a:pt x="18193" y="335471"/>
                    <a:pt x="10954" y="321088"/>
                  </a:cubicBezTo>
                  <a:cubicBezTo>
                    <a:pt x="3620" y="306705"/>
                    <a:pt x="0" y="290132"/>
                    <a:pt x="0" y="271272"/>
                  </a:cubicBezTo>
                  <a:lnTo>
                    <a:pt x="0" y="269843"/>
                  </a:lnTo>
                  <a:cubicBezTo>
                    <a:pt x="0" y="249079"/>
                    <a:pt x="3810" y="231077"/>
                    <a:pt x="11335" y="215741"/>
                  </a:cubicBezTo>
                  <a:cubicBezTo>
                    <a:pt x="18859" y="200406"/>
                    <a:pt x="29337" y="187738"/>
                    <a:pt x="42767" y="177546"/>
                  </a:cubicBezTo>
                  <a:cubicBezTo>
                    <a:pt x="56197" y="167450"/>
                    <a:pt x="72199" y="159925"/>
                    <a:pt x="90773" y="154972"/>
                  </a:cubicBezTo>
                  <a:cubicBezTo>
                    <a:pt x="109347" y="150019"/>
                    <a:pt x="129540" y="147542"/>
                    <a:pt x="151162" y="147542"/>
                  </a:cubicBezTo>
                  <a:cubicBezTo>
                    <a:pt x="172783" y="147542"/>
                    <a:pt x="192976" y="148971"/>
                    <a:pt x="208788" y="151829"/>
                  </a:cubicBezTo>
                  <a:cubicBezTo>
                    <a:pt x="224599" y="154686"/>
                    <a:pt x="239744" y="158401"/>
                    <a:pt x="254413" y="163163"/>
                  </a:cubicBezTo>
                  <a:lnTo>
                    <a:pt x="254413" y="156115"/>
                  </a:lnTo>
                  <a:cubicBezTo>
                    <a:pt x="254413" y="130207"/>
                    <a:pt x="246507" y="110395"/>
                    <a:pt x="230696" y="96774"/>
                  </a:cubicBezTo>
                  <a:cubicBezTo>
                    <a:pt x="214884" y="83153"/>
                    <a:pt x="192214" y="76295"/>
                    <a:pt x="162496" y="76295"/>
                  </a:cubicBezTo>
                  <a:cubicBezTo>
                    <a:pt x="141351" y="76295"/>
                    <a:pt x="122491" y="78391"/>
                    <a:pt x="106013" y="82677"/>
                  </a:cubicBezTo>
                  <a:cubicBezTo>
                    <a:pt x="89535" y="86963"/>
                    <a:pt x="72771" y="92583"/>
                    <a:pt x="55816" y="99632"/>
                  </a:cubicBezTo>
                  <a:lnTo>
                    <a:pt x="32480" y="31052"/>
                  </a:lnTo>
                  <a:cubicBezTo>
                    <a:pt x="53149" y="21622"/>
                    <a:pt x="74390" y="14097"/>
                    <a:pt x="96107" y="8477"/>
                  </a:cubicBezTo>
                  <a:cubicBezTo>
                    <a:pt x="117729" y="2858"/>
                    <a:pt x="143923" y="0"/>
                    <a:pt x="174593" y="0"/>
                  </a:cubicBezTo>
                  <a:cubicBezTo>
                    <a:pt x="230124" y="0"/>
                    <a:pt x="271367" y="13811"/>
                    <a:pt x="298228" y="41338"/>
                  </a:cubicBezTo>
                  <a:cubicBezTo>
                    <a:pt x="325088" y="68866"/>
                    <a:pt x="338519" y="107633"/>
                    <a:pt x="338519" y="157544"/>
                  </a:cubicBezTo>
                  <a:lnTo>
                    <a:pt x="338519" y="378714"/>
                  </a:lnTo>
                  <a:lnTo>
                    <a:pt x="253746" y="378714"/>
                  </a:lnTo>
                  <a:close/>
                  <a:moveTo>
                    <a:pt x="255746" y="222409"/>
                  </a:moveTo>
                  <a:cubicBezTo>
                    <a:pt x="244888" y="218123"/>
                    <a:pt x="232029" y="214598"/>
                    <a:pt x="217265" y="211836"/>
                  </a:cubicBezTo>
                  <a:cubicBezTo>
                    <a:pt x="202406" y="208979"/>
                    <a:pt x="186785" y="207550"/>
                    <a:pt x="170307" y="207550"/>
                  </a:cubicBezTo>
                  <a:cubicBezTo>
                    <a:pt x="143446" y="207550"/>
                    <a:pt x="122491" y="212693"/>
                    <a:pt x="107442" y="223075"/>
                  </a:cubicBezTo>
                  <a:cubicBezTo>
                    <a:pt x="92392" y="233458"/>
                    <a:pt x="84868" y="247555"/>
                    <a:pt x="84868" y="265462"/>
                  </a:cubicBezTo>
                  <a:lnTo>
                    <a:pt x="84868" y="266891"/>
                  </a:lnTo>
                  <a:cubicBezTo>
                    <a:pt x="84868" y="284798"/>
                    <a:pt x="91821" y="298418"/>
                    <a:pt x="105728" y="307848"/>
                  </a:cubicBezTo>
                  <a:cubicBezTo>
                    <a:pt x="119634" y="317278"/>
                    <a:pt x="136684" y="321945"/>
                    <a:pt x="156972" y="321945"/>
                  </a:cubicBezTo>
                  <a:cubicBezTo>
                    <a:pt x="171069" y="321945"/>
                    <a:pt x="184213" y="320040"/>
                    <a:pt x="196215" y="316325"/>
                  </a:cubicBezTo>
                  <a:cubicBezTo>
                    <a:pt x="208216" y="312515"/>
                    <a:pt x="218694" y="307277"/>
                    <a:pt x="227647" y="300419"/>
                  </a:cubicBezTo>
                  <a:cubicBezTo>
                    <a:pt x="236601" y="293561"/>
                    <a:pt x="243554" y="285369"/>
                    <a:pt x="248507" y="275654"/>
                  </a:cubicBezTo>
                  <a:cubicBezTo>
                    <a:pt x="253460" y="266033"/>
                    <a:pt x="255937" y="255270"/>
                    <a:pt x="255937" y="243459"/>
                  </a:cubicBezTo>
                  <a:lnTo>
                    <a:pt x="255937" y="222218"/>
                  </a:lnTo>
                  <a:close/>
                </a:path>
              </a:pathLst>
            </a:custGeom>
            <a:solidFill>
              <a:srgbClr val="44505E"/>
            </a:solidFill>
            <a:ln w="9525" cap="flat">
              <a:noFill/>
              <a:prstDash val="solid"/>
              <a:miter/>
            </a:ln>
          </p:spPr>
          <p:txBody>
            <a:bodyPr rtlCol="0" anchor="ctr"/>
            <a:lstStyle/>
            <a:p>
              <a:endParaRPr lang="pt-BR" noProof="0"/>
            </a:p>
          </p:txBody>
        </p:sp>
        <p:sp>
          <p:nvSpPr>
            <p:cNvPr id="28" name="Freeform: Shape 27">
              <a:extLst>
                <a:ext uri="{FF2B5EF4-FFF2-40B4-BE49-F238E27FC236}">
                  <a16:creationId xmlns:a16="http://schemas.microsoft.com/office/drawing/2014/main" id="{81B7CFEA-7221-1B55-94EB-6DAE37802285}"/>
                </a:ext>
              </a:extLst>
            </p:cNvPr>
            <p:cNvSpPr/>
            <p:nvPr/>
          </p:nvSpPr>
          <p:spPr>
            <a:xfrm>
              <a:off x="6088843" y="700318"/>
              <a:ext cx="74610" cy="97213"/>
            </a:xfrm>
            <a:custGeom>
              <a:avLst/>
              <a:gdLst>
                <a:gd name="connsiteX0" fmla="*/ 158305 w 296799"/>
                <a:gd name="connsiteY0" fmla="*/ 386715 h 386714"/>
                <a:gd name="connsiteX1" fmla="*/ 76676 w 296799"/>
                <a:gd name="connsiteY1" fmla="*/ 372427 h 386714"/>
                <a:gd name="connsiteX2" fmla="*/ 0 w 296799"/>
                <a:gd name="connsiteY2" fmla="*/ 330327 h 386714"/>
                <a:gd name="connsiteX3" fmla="*/ 38195 w 296799"/>
                <a:gd name="connsiteY3" fmla="*/ 272224 h 386714"/>
                <a:gd name="connsiteX4" fmla="*/ 100013 w 296799"/>
                <a:gd name="connsiteY4" fmla="*/ 306514 h 386714"/>
                <a:gd name="connsiteX5" fmla="*/ 160401 w 296799"/>
                <a:gd name="connsiteY5" fmla="*/ 318135 h 386714"/>
                <a:gd name="connsiteX6" fmla="*/ 203168 w 296799"/>
                <a:gd name="connsiteY6" fmla="*/ 307181 h 386714"/>
                <a:gd name="connsiteX7" fmla="*/ 218408 w 296799"/>
                <a:gd name="connsiteY7" fmla="*/ 277939 h 386714"/>
                <a:gd name="connsiteX8" fmla="*/ 218408 w 296799"/>
                <a:gd name="connsiteY8" fmla="*/ 276511 h 386714"/>
                <a:gd name="connsiteX9" fmla="*/ 211646 w 296799"/>
                <a:gd name="connsiteY9" fmla="*/ 258223 h 386714"/>
                <a:gd name="connsiteX10" fmla="*/ 193262 w 296799"/>
                <a:gd name="connsiteY10" fmla="*/ 244792 h 386714"/>
                <a:gd name="connsiteX11" fmla="*/ 166402 w 296799"/>
                <a:gd name="connsiteY11" fmla="*/ 234220 h 386714"/>
                <a:gd name="connsiteX12" fmla="*/ 134969 w 296799"/>
                <a:gd name="connsiteY12" fmla="*/ 224314 h 386714"/>
                <a:gd name="connsiteX13" fmla="*/ 93631 w 296799"/>
                <a:gd name="connsiteY13" fmla="*/ 210884 h 386714"/>
                <a:gd name="connsiteX14" fmla="*/ 56197 w 296799"/>
                <a:gd name="connsiteY14" fmla="*/ 190786 h 386714"/>
                <a:gd name="connsiteX15" fmla="*/ 28956 w 296799"/>
                <a:gd name="connsiteY15" fmla="*/ 160115 h 386714"/>
                <a:gd name="connsiteX16" fmla="*/ 18383 w 296799"/>
                <a:gd name="connsiteY16" fmla="*/ 114967 h 386714"/>
                <a:gd name="connsiteX17" fmla="*/ 18383 w 296799"/>
                <a:gd name="connsiteY17" fmla="*/ 113538 h 386714"/>
                <a:gd name="connsiteX18" fmla="*/ 28575 w 296799"/>
                <a:gd name="connsiteY18" fmla="*/ 66294 h 386714"/>
                <a:gd name="connsiteX19" fmla="*/ 56864 w 296799"/>
                <a:gd name="connsiteY19" fmla="*/ 30385 h 386714"/>
                <a:gd name="connsiteX20" fmla="*/ 99250 w 296799"/>
                <a:gd name="connsiteY20" fmla="*/ 7810 h 386714"/>
                <a:gd name="connsiteX21" fmla="*/ 151162 w 296799"/>
                <a:gd name="connsiteY21" fmla="*/ 0 h 386714"/>
                <a:gd name="connsiteX22" fmla="*/ 222504 w 296799"/>
                <a:gd name="connsiteY22" fmla="*/ 11430 h 386714"/>
                <a:gd name="connsiteX23" fmla="*/ 288227 w 296799"/>
                <a:gd name="connsiteY23" fmla="*/ 42863 h 386714"/>
                <a:gd name="connsiteX24" fmla="*/ 254317 w 296799"/>
                <a:gd name="connsiteY24" fmla="*/ 103918 h 386714"/>
                <a:gd name="connsiteX25" fmla="*/ 199930 w 296799"/>
                <a:gd name="connsiteY25" fmla="*/ 78105 h 386714"/>
                <a:gd name="connsiteX26" fmla="*/ 149066 w 296799"/>
                <a:gd name="connsiteY26" fmla="*/ 68580 h 386714"/>
                <a:gd name="connsiteX27" fmla="*/ 110585 w 296799"/>
                <a:gd name="connsiteY27" fmla="*/ 79153 h 386714"/>
                <a:gd name="connsiteX28" fmla="*/ 96774 w 296799"/>
                <a:gd name="connsiteY28" fmla="*/ 105918 h 386714"/>
                <a:gd name="connsiteX29" fmla="*/ 96774 w 296799"/>
                <a:gd name="connsiteY29" fmla="*/ 107347 h 386714"/>
                <a:gd name="connsiteX30" fmla="*/ 103822 w 296799"/>
                <a:gd name="connsiteY30" fmla="*/ 124587 h 386714"/>
                <a:gd name="connsiteX31" fmla="*/ 122587 w 296799"/>
                <a:gd name="connsiteY31" fmla="*/ 138017 h 386714"/>
                <a:gd name="connsiteX32" fmla="*/ 149447 w 296799"/>
                <a:gd name="connsiteY32" fmla="*/ 149257 h 386714"/>
                <a:gd name="connsiteX33" fmla="*/ 180880 w 296799"/>
                <a:gd name="connsiteY33" fmla="*/ 159448 h 386714"/>
                <a:gd name="connsiteX34" fmla="*/ 221837 w 296799"/>
                <a:gd name="connsiteY34" fmla="*/ 174212 h 386714"/>
                <a:gd name="connsiteX35" fmla="*/ 258985 w 296799"/>
                <a:gd name="connsiteY35" fmla="*/ 194977 h 386714"/>
                <a:gd name="connsiteX36" fmla="*/ 286226 w 296799"/>
                <a:gd name="connsiteY36" fmla="*/ 224980 h 386714"/>
                <a:gd name="connsiteX37" fmla="*/ 296799 w 296799"/>
                <a:gd name="connsiteY37" fmla="*/ 267938 h 386714"/>
                <a:gd name="connsiteX38" fmla="*/ 296799 w 296799"/>
                <a:gd name="connsiteY38" fmla="*/ 269367 h 386714"/>
                <a:gd name="connsiteX39" fmla="*/ 286226 w 296799"/>
                <a:gd name="connsiteY39" fmla="*/ 320897 h 386714"/>
                <a:gd name="connsiteX40" fmla="*/ 256889 w 296799"/>
                <a:gd name="connsiteY40" fmla="*/ 357188 h 386714"/>
                <a:gd name="connsiteX41" fmla="*/ 212693 w 296799"/>
                <a:gd name="connsiteY41" fmla="*/ 379095 h 386714"/>
                <a:gd name="connsiteX42" fmla="*/ 158305 w 296799"/>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799"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065" y="318135"/>
                    <a:pt x="160401" y="318135"/>
                  </a:cubicBezTo>
                  <a:cubicBezTo>
                    <a:pt x="179737" y="318135"/>
                    <a:pt x="193072"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828" y="227647"/>
                    <a:pt x="134969" y="224314"/>
                  </a:cubicBezTo>
                  <a:cubicBezTo>
                    <a:pt x="121348" y="220599"/>
                    <a:pt x="107537" y="216122"/>
                    <a:pt x="93631" y="210884"/>
                  </a:cubicBezTo>
                  <a:cubicBezTo>
                    <a:pt x="79724" y="205740"/>
                    <a:pt x="67246" y="198977"/>
                    <a:pt x="56197" y="190786"/>
                  </a:cubicBezTo>
                  <a:cubicBezTo>
                    <a:pt x="45148" y="182594"/>
                    <a:pt x="36004"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874" y="0"/>
                    <a:pt x="151162" y="0"/>
                  </a:cubicBezTo>
                  <a:cubicBezTo>
                    <a:pt x="174688" y="0"/>
                    <a:pt x="198501" y="3810"/>
                    <a:pt x="222504" y="11430"/>
                  </a:cubicBezTo>
                  <a:cubicBezTo>
                    <a:pt x="246507" y="19050"/>
                    <a:pt x="268414" y="29527"/>
                    <a:pt x="288227" y="42863"/>
                  </a:cubicBezTo>
                  <a:lnTo>
                    <a:pt x="254317"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774" y="95155"/>
                    <a:pt x="96774" y="105918"/>
                  </a:cubicBezTo>
                  <a:lnTo>
                    <a:pt x="96774" y="107347"/>
                  </a:lnTo>
                  <a:cubicBezTo>
                    <a:pt x="96774" y="113919"/>
                    <a:pt x="99155" y="119634"/>
                    <a:pt x="103822" y="124587"/>
                  </a:cubicBezTo>
                  <a:cubicBezTo>
                    <a:pt x="108490" y="129540"/>
                    <a:pt x="114776" y="134017"/>
                    <a:pt x="122587" y="138017"/>
                  </a:cubicBezTo>
                  <a:cubicBezTo>
                    <a:pt x="130397" y="142018"/>
                    <a:pt x="139351" y="145732"/>
                    <a:pt x="149447" y="149257"/>
                  </a:cubicBezTo>
                  <a:cubicBezTo>
                    <a:pt x="159544" y="152781"/>
                    <a:pt x="170021" y="156210"/>
                    <a:pt x="180880" y="159448"/>
                  </a:cubicBezTo>
                  <a:cubicBezTo>
                    <a:pt x="194500" y="163639"/>
                    <a:pt x="208216" y="168592"/>
                    <a:pt x="221837" y="174212"/>
                  </a:cubicBezTo>
                  <a:cubicBezTo>
                    <a:pt x="235458" y="179832"/>
                    <a:pt x="247840" y="186785"/>
                    <a:pt x="258985" y="194977"/>
                  </a:cubicBezTo>
                  <a:cubicBezTo>
                    <a:pt x="270034" y="203168"/>
                    <a:pt x="279178" y="213169"/>
                    <a:pt x="286226" y="224980"/>
                  </a:cubicBezTo>
                  <a:cubicBezTo>
                    <a:pt x="293275" y="236696"/>
                    <a:pt x="296799" y="251079"/>
                    <a:pt x="296799" y="267938"/>
                  </a:cubicBezTo>
                  <a:lnTo>
                    <a:pt x="296799" y="269367"/>
                  </a:lnTo>
                  <a:cubicBezTo>
                    <a:pt x="296799" y="289084"/>
                    <a:pt x="293275" y="306229"/>
                    <a:pt x="286226" y="320897"/>
                  </a:cubicBezTo>
                  <a:cubicBezTo>
                    <a:pt x="279178" y="335470"/>
                    <a:pt x="269367" y="347567"/>
                    <a:pt x="256889" y="357188"/>
                  </a:cubicBezTo>
                  <a:cubicBezTo>
                    <a:pt x="244412" y="366808"/>
                    <a:pt x="229648" y="374142"/>
                    <a:pt x="212693" y="379095"/>
                  </a:cubicBezTo>
                  <a:cubicBezTo>
                    <a:pt x="195739" y="384048"/>
                    <a:pt x="177641" y="386524"/>
                    <a:pt x="158305" y="386524"/>
                  </a:cubicBezTo>
                  <a:close/>
                </a:path>
              </a:pathLst>
            </a:custGeom>
            <a:solidFill>
              <a:srgbClr val="44505E"/>
            </a:solidFill>
            <a:ln w="9525" cap="flat">
              <a:noFill/>
              <a:prstDash val="solid"/>
              <a:miter/>
            </a:ln>
          </p:spPr>
          <p:txBody>
            <a:bodyPr rtlCol="0" anchor="ctr"/>
            <a:lstStyle/>
            <a:p>
              <a:endParaRPr lang="pt-BR" noProof="0"/>
            </a:p>
          </p:txBody>
        </p:sp>
        <p:sp>
          <p:nvSpPr>
            <p:cNvPr id="29" name="Freeform: Shape 28">
              <a:extLst>
                <a:ext uri="{FF2B5EF4-FFF2-40B4-BE49-F238E27FC236}">
                  <a16:creationId xmlns:a16="http://schemas.microsoft.com/office/drawing/2014/main" id="{21EF55C0-DAFE-EC95-2C0B-45E468D725A4}"/>
                </a:ext>
              </a:extLst>
            </p:cNvPr>
            <p:cNvSpPr/>
            <p:nvPr/>
          </p:nvSpPr>
          <p:spPr>
            <a:xfrm>
              <a:off x="6238590"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4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7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2 w 568166"/>
                <a:gd name="connsiteY21" fmla="*/ 381000 h 381000"/>
                <a:gd name="connsiteX22" fmla="*/ 240982 w 568166"/>
                <a:gd name="connsiteY22" fmla="*/ 168783 h 381000"/>
                <a:gd name="connsiteX23" fmla="*/ 221266 w 568166"/>
                <a:gd name="connsiteY23" fmla="*/ 101822 h 381000"/>
                <a:gd name="connsiteX24" fmla="*/ 165640 w 568166"/>
                <a:gd name="connsiteY24" fmla="*/ 78581 h 381000"/>
                <a:gd name="connsiteX25" fmla="*/ 108013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69" y="48196"/>
                    <a:pt x="105918" y="40576"/>
                  </a:cubicBezTo>
                  <a:cubicBezTo>
                    <a:pt x="112966" y="32956"/>
                    <a:pt x="121063" y="26099"/>
                    <a:pt x="130207" y="19907"/>
                  </a:cubicBezTo>
                  <a:cubicBezTo>
                    <a:pt x="139351" y="13716"/>
                    <a:pt x="149638" y="8858"/>
                    <a:pt x="161163" y="5334"/>
                  </a:cubicBezTo>
                  <a:cubicBezTo>
                    <a:pt x="172688" y="1714"/>
                    <a:pt x="185452" y="0"/>
                    <a:pt x="199549" y="0"/>
                  </a:cubicBezTo>
                  <a:cubicBezTo>
                    <a:pt x="226314" y="0"/>
                    <a:pt x="248983" y="6096"/>
                    <a:pt x="267557" y="18193"/>
                  </a:cubicBezTo>
                  <a:cubicBezTo>
                    <a:pt x="286131" y="30289"/>
                    <a:pt x="300323" y="46387"/>
                    <a:pt x="310134" y="66294"/>
                  </a:cubicBezTo>
                  <a:cubicBezTo>
                    <a:pt x="325279" y="46387"/>
                    <a:pt x="343090" y="30289"/>
                    <a:pt x="363664" y="18193"/>
                  </a:cubicBezTo>
                  <a:cubicBezTo>
                    <a:pt x="384238" y="6096"/>
                    <a:pt x="408718" y="0"/>
                    <a:pt x="437007" y="0"/>
                  </a:cubicBezTo>
                  <a:cubicBezTo>
                    <a:pt x="478155"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7" y="78486"/>
                  </a:cubicBezTo>
                  <a:cubicBezTo>
                    <a:pt x="382809" y="78486"/>
                    <a:pt x="364141" y="86392"/>
                    <a:pt x="349377" y="102108"/>
                  </a:cubicBezTo>
                  <a:cubicBezTo>
                    <a:pt x="334613" y="117824"/>
                    <a:pt x="327184" y="140779"/>
                    <a:pt x="327184" y="170879"/>
                  </a:cubicBezTo>
                  <a:lnTo>
                    <a:pt x="327184" y="381000"/>
                  </a:lnTo>
                  <a:lnTo>
                    <a:pt x="240982" y="381000"/>
                  </a:lnTo>
                  <a:lnTo>
                    <a:pt x="240982" y="168783"/>
                  </a:lnTo>
                  <a:cubicBezTo>
                    <a:pt x="240982" y="139637"/>
                    <a:pt x="234410" y="117348"/>
                    <a:pt x="221266" y="101822"/>
                  </a:cubicBezTo>
                  <a:cubicBezTo>
                    <a:pt x="208121" y="86296"/>
                    <a:pt x="189547" y="78581"/>
                    <a:pt x="165640" y="78581"/>
                  </a:cubicBezTo>
                  <a:cubicBezTo>
                    <a:pt x="141732" y="78581"/>
                    <a:pt x="122491" y="86773"/>
                    <a:pt x="108013"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30" name="Freeform: Shape 29">
              <a:extLst>
                <a:ext uri="{FF2B5EF4-FFF2-40B4-BE49-F238E27FC236}">
                  <a16:creationId xmlns:a16="http://schemas.microsoft.com/office/drawing/2014/main" id="{D0E4A22B-9532-1C74-B976-46B2813F5236}"/>
                </a:ext>
              </a:extLst>
            </p:cNvPr>
            <p:cNvSpPr/>
            <p:nvPr/>
          </p:nvSpPr>
          <p:spPr>
            <a:xfrm>
              <a:off x="6400979" y="664258"/>
              <a:ext cx="85097" cy="133441"/>
            </a:xfrm>
            <a:custGeom>
              <a:avLst/>
              <a:gdLst>
                <a:gd name="connsiteX0" fmla="*/ 253651 w 338518"/>
                <a:gd name="connsiteY0" fmla="*/ 523018 h 530828"/>
                <a:gd name="connsiteX1" fmla="*/ 253651 w 338518"/>
                <a:gd name="connsiteY1" fmla="*/ 477107 h 530828"/>
                <a:gd name="connsiteX2" fmla="*/ 204883 w 338518"/>
                <a:gd name="connsiteY2" fmla="*/ 515303 h 530828"/>
                <a:gd name="connsiteX3" fmla="*/ 132779 w 338518"/>
                <a:gd name="connsiteY3" fmla="*/ 530828 h 530828"/>
                <a:gd name="connsiteX4" fmla="*/ 81915 w 338518"/>
                <a:gd name="connsiteY4" fmla="*/ 523399 h 530828"/>
                <a:gd name="connsiteX5" fmla="*/ 39910 w 338518"/>
                <a:gd name="connsiteY5" fmla="*/ 501491 h 530828"/>
                <a:gd name="connsiteX6" fmla="*/ 10954 w 338518"/>
                <a:gd name="connsiteY6" fmla="*/ 465487 h 530828"/>
                <a:gd name="connsiteX7" fmla="*/ 0 w 338518"/>
                <a:gd name="connsiteY7" fmla="*/ 415671 h 530828"/>
                <a:gd name="connsiteX8" fmla="*/ 0 w 338518"/>
                <a:gd name="connsiteY8" fmla="*/ 414242 h 530828"/>
                <a:gd name="connsiteX9" fmla="*/ 11335 w 338518"/>
                <a:gd name="connsiteY9" fmla="*/ 360140 h 530828"/>
                <a:gd name="connsiteX10" fmla="*/ 42767 w 338518"/>
                <a:gd name="connsiteY10" fmla="*/ 321945 h 530828"/>
                <a:gd name="connsiteX11" fmla="*/ 90773 w 338518"/>
                <a:gd name="connsiteY11" fmla="*/ 299371 h 530828"/>
                <a:gd name="connsiteX12" fmla="*/ 151162 w 338518"/>
                <a:gd name="connsiteY12" fmla="*/ 291941 h 530828"/>
                <a:gd name="connsiteX13" fmla="*/ 208788 w 338518"/>
                <a:gd name="connsiteY13" fmla="*/ 296228 h 530828"/>
                <a:gd name="connsiteX14" fmla="*/ 254413 w 338518"/>
                <a:gd name="connsiteY14" fmla="*/ 307562 h 530828"/>
                <a:gd name="connsiteX15" fmla="*/ 254413 w 338518"/>
                <a:gd name="connsiteY15" fmla="*/ 300514 h 530828"/>
                <a:gd name="connsiteX16" fmla="*/ 230696 w 338518"/>
                <a:gd name="connsiteY16" fmla="*/ 241173 h 530828"/>
                <a:gd name="connsiteX17" fmla="*/ 162496 w 338518"/>
                <a:gd name="connsiteY17" fmla="*/ 220694 h 530828"/>
                <a:gd name="connsiteX18" fmla="*/ 106013 w 338518"/>
                <a:gd name="connsiteY18" fmla="*/ 227076 h 530828"/>
                <a:gd name="connsiteX19" fmla="*/ 55817 w 338518"/>
                <a:gd name="connsiteY19" fmla="*/ 244031 h 530828"/>
                <a:gd name="connsiteX20" fmla="*/ 32480 w 338518"/>
                <a:gd name="connsiteY20" fmla="*/ 175451 h 530828"/>
                <a:gd name="connsiteX21" fmla="*/ 96107 w 338518"/>
                <a:gd name="connsiteY21" fmla="*/ 152876 h 530828"/>
                <a:gd name="connsiteX22" fmla="*/ 174593 w 338518"/>
                <a:gd name="connsiteY22" fmla="*/ 144399 h 530828"/>
                <a:gd name="connsiteX23" fmla="*/ 298228 w 338518"/>
                <a:gd name="connsiteY23" fmla="*/ 185738 h 530828"/>
                <a:gd name="connsiteX24" fmla="*/ 338519 w 338518"/>
                <a:gd name="connsiteY24" fmla="*/ 301943 h 530828"/>
                <a:gd name="connsiteX25" fmla="*/ 338519 w 338518"/>
                <a:gd name="connsiteY25" fmla="*/ 523113 h 530828"/>
                <a:gd name="connsiteX26" fmla="*/ 253746 w 338518"/>
                <a:gd name="connsiteY26" fmla="*/ 523113 h 530828"/>
                <a:gd name="connsiteX27" fmla="*/ 45911 w 338518"/>
                <a:gd name="connsiteY27" fmla="*/ 95441 h 530828"/>
                <a:gd name="connsiteX28" fmla="*/ 75248 w 338518"/>
                <a:gd name="connsiteY28" fmla="*/ 29718 h 530828"/>
                <a:gd name="connsiteX29" fmla="*/ 125063 w 338518"/>
                <a:gd name="connsiteY29" fmla="*/ 7144 h 530828"/>
                <a:gd name="connsiteX30" fmla="*/ 154019 w 338518"/>
                <a:gd name="connsiteY30" fmla="*/ 11716 h 530828"/>
                <a:gd name="connsiteX31" fmla="*/ 181261 w 338518"/>
                <a:gd name="connsiteY31" fmla="*/ 21622 h 530828"/>
                <a:gd name="connsiteX32" fmla="*/ 205645 w 338518"/>
                <a:gd name="connsiteY32" fmla="*/ 31147 h 530828"/>
                <a:gd name="connsiteX33" fmla="*/ 226790 w 338518"/>
                <a:gd name="connsiteY33" fmla="*/ 35338 h 530828"/>
                <a:gd name="connsiteX34" fmla="*/ 250127 w 338518"/>
                <a:gd name="connsiteY34" fmla="*/ 26861 h 530828"/>
                <a:gd name="connsiteX35" fmla="*/ 265652 w 338518"/>
                <a:gd name="connsiteY35" fmla="*/ 0 h 530828"/>
                <a:gd name="connsiteX36" fmla="*/ 312991 w 338518"/>
                <a:gd name="connsiteY36" fmla="*/ 14859 h 530828"/>
                <a:gd name="connsiteX37" fmla="*/ 283655 w 338518"/>
                <a:gd name="connsiteY37" fmla="*/ 79820 h 530828"/>
                <a:gd name="connsiteX38" fmla="*/ 233839 w 338518"/>
                <a:gd name="connsiteY38" fmla="*/ 102394 h 530828"/>
                <a:gd name="connsiteX39" fmla="*/ 204883 w 338518"/>
                <a:gd name="connsiteY39" fmla="*/ 98203 h 530828"/>
                <a:gd name="connsiteX40" fmla="*/ 177641 w 338518"/>
                <a:gd name="connsiteY40" fmla="*/ 88678 h 530828"/>
                <a:gd name="connsiteX41" fmla="*/ 152876 w 338518"/>
                <a:gd name="connsiteY41" fmla="*/ 78772 h 530828"/>
                <a:gd name="connsiteX42" fmla="*/ 132017 w 338518"/>
                <a:gd name="connsiteY42" fmla="*/ 74200 h 530828"/>
                <a:gd name="connsiteX43" fmla="*/ 108680 w 338518"/>
                <a:gd name="connsiteY43" fmla="*/ 82677 h 530828"/>
                <a:gd name="connsiteX44" fmla="*/ 93154 w 338518"/>
                <a:gd name="connsiteY44" fmla="*/ 109538 h 530828"/>
                <a:gd name="connsiteX45" fmla="*/ 45815 w 338518"/>
                <a:gd name="connsiteY45" fmla="*/ 95441 h 530828"/>
                <a:gd name="connsiteX46" fmla="*/ 255842 w 338518"/>
                <a:gd name="connsiteY46" fmla="*/ 366808 h 530828"/>
                <a:gd name="connsiteX47" fmla="*/ 217361 w 338518"/>
                <a:gd name="connsiteY47" fmla="*/ 356235 h 530828"/>
                <a:gd name="connsiteX48" fmla="*/ 170402 w 338518"/>
                <a:gd name="connsiteY48" fmla="*/ 351949 h 530828"/>
                <a:gd name="connsiteX49" fmla="*/ 107537 w 338518"/>
                <a:gd name="connsiteY49" fmla="*/ 367475 h 530828"/>
                <a:gd name="connsiteX50" fmla="*/ 84963 w 338518"/>
                <a:gd name="connsiteY50" fmla="*/ 409861 h 530828"/>
                <a:gd name="connsiteX51" fmla="*/ 84963 w 338518"/>
                <a:gd name="connsiteY51" fmla="*/ 411290 h 530828"/>
                <a:gd name="connsiteX52" fmla="*/ 105823 w 338518"/>
                <a:gd name="connsiteY52" fmla="*/ 452247 h 530828"/>
                <a:gd name="connsiteX53" fmla="*/ 157067 w 338518"/>
                <a:gd name="connsiteY53" fmla="*/ 466344 h 530828"/>
                <a:gd name="connsiteX54" fmla="*/ 196310 w 338518"/>
                <a:gd name="connsiteY54" fmla="*/ 460724 h 530828"/>
                <a:gd name="connsiteX55" fmla="*/ 227743 w 338518"/>
                <a:gd name="connsiteY55" fmla="*/ 444818 h 530828"/>
                <a:gd name="connsiteX56" fmla="*/ 248603 w 338518"/>
                <a:gd name="connsiteY56" fmla="*/ 420053 h 530828"/>
                <a:gd name="connsiteX57" fmla="*/ 256032 w 338518"/>
                <a:gd name="connsiteY57" fmla="*/ 387858 h 530828"/>
                <a:gd name="connsiteX58" fmla="*/ 256032 w 338518"/>
                <a:gd name="connsiteY58" fmla="*/ 366617 h 5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8518" h="530828">
                  <a:moveTo>
                    <a:pt x="253651" y="523018"/>
                  </a:moveTo>
                  <a:lnTo>
                    <a:pt x="253651" y="477107"/>
                  </a:lnTo>
                  <a:cubicBezTo>
                    <a:pt x="240887" y="492157"/>
                    <a:pt x="224695" y="504920"/>
                    <a:pt x="204883" y="515303"/>
                  </a:cubicBezTo>
                  <a:cubicBezTo>
                    <a:pt x="185071" y="525685"/>
                    <a:pt x="161068" y="530828"/>
                    <a:pt x="132779" y="530828"/>
                  </a:cubicBezTo>
                  <a:cubicBezTo>
                    <a:pt x="114871" y="530828"/>
                    <a:pt x="97917" y="528352"/>
                    <a:pt x="81915" y="523399"/>
                  </a:cubicBezTo>
                  <a:cubicBezTo>
                    <a:pt x="65913" y="518446"/>
                    <a:pt x="51911" y="511112"/>
                    <a:pt x="39910" y="501491"/>
                  </a:cubicBezTo>
                  <a:cubicBezTo>
                    <a:pt x="27908" y="491871"/>
                    <a:pt x="18193" y="479870"/>
                    <a:pt x="10954" y="465487"/>
                  </a:cubicBezTo>
                  <a:cubicBezTo>
                    <a:pt x="3620" y="451104"/>
                    <a:pt x="0" y="434531"/>
                    <a:pt x="0" y="415671"/>
                  </a:cubicBezTo>
                  <a:lnTo>
                    <a:pt x="0" y="414242"/>
                  </a:lnTo>
                  <a:cubicBezTo>
                    <a:pt x="0" y="393478"/>
                    <a:pt x="3810" y="375476"/>
                    <a:pt x="11335" y="360140"/>
                  </a:cubicBezTo>
                  <a:cubicBezTo>
                    <a:pt x="18860" y="344805"/>
                    <a:pt x="29337" y="332137"/>
                    <a:pt x="42767" y="321945"/>
                  </a:cubicBezTo>
                  <a:cubicBezTo>
                    <a:pt x="56198" y="311849"/>
                    <a:pt x="72200" y="304324"/>
                    <a:pt x="90773" y="299371"/>
                  </a:cubicBezTo>
                  <a:cubicBezTo>
                    <a:pt x="109347" y="294418"/>
                    <a:pt x="129540" y="291941"/>
                    <a:pt x="151162" y="291941"/>
                  </a:cubicBezTo>
                  <a:cubicBezTo>
                    <a:pt x="172784" y="291941"/>
                    <a:pt x="192977" y="293370"/>
                    <a:pt x="208788" y="296228"/>
                  </a:cubicBezTo>
                  <a:cubicBezTo>
                    <a:pt x="224600" y="299085"/>
                    <a:pt x="239744" y="302800"/>
                    <a:pt x="254413" y="307562"/>
                  </a:cubicBezTo>
                  <a:lnTo>
                    <a:pt x="254413" y="300514"/>
                  </a:lnTo>
                  <a:cubicBezTo>
                    <a:pt x="254413" y="274606"/>
                    <a:pt x="246507" y="254794"/>
                    <a:pt x="230696" y="241173"/>
                  </a:cubicBezTo>
                  <a:cubicBezTo>
                    <a:pt x="214884" y="227552"/>
                    <a:pt x="192215" y="220694"/>
                    <a:pt x="162496" y="220694"/>
                  </a:cubicBezTo>
                  <a:cubicBezTo>
                    <a:pt x="141351" y="220694"/>
                    <a:pt x="122492" y="222790"/>
                    <a:pt x="106013" y="227076"/>
                  </a:cubicBezTo>
                  <a:cubicBezTo>
                    <a:pt x="89535" y="231362"/>
                    <a:pt x="72771" y="236982"/>
                    <a:pt x="55817" y="244031"/>
                  </a:cubicBezTo>
                  <a:lnTo>
                    <a:pt x="32480" y="175451"/>
                  </a:lnTo>
                  <a:cubicBezTo>
                    <a:pt x="53150" y="166021"/>
                    <a:pt x="74390" y="158496"/>
                    <a:pt x="96107" y="152876"/>
                  </a:cubicBezTo>
                  <a:cubicBezTo>
                    <a:pt x="117729" y="147257"/>
                    <a:pt x="143923" y="144399"/>
                    <a:pt x="174593" y="144399"/>
                  </a:cubicBezTo>
                  <a:cubicBezTo>
                    <a:pt x="230124" y="144399"/>
                    <a:pt x="271367" y="158210"/>
                    <a:pt x="298228" y="185738"/>
                  </a:cubicBezTo>
                  <a:cubicBezTo>
                    <a:pt x="325088" y="213265"/>
                    <a:pt x="338519" y="252032"/>
                    <a:pt x="338519" y="301943"/>
                  </a:cubicBezTo>
                  <a:lnTo>
                    <a:pt x="338519" y="523113"/>
                  </a:lnTo>
                  <a:lnTo>
                    <a:pt x="253746" y="523113"/>
                  </a:lnTo>
                  <a:close/>
                  <a:moveTo>
                    <a:pt x="45911" y="95441"/>
                  </a:moveTo>
                  <a:cubicBezTo>
                    <a:pt x="53912" y="66675"/>
                    <a:pt x="63722" y="44768"/>
                    <a:pt x="75248" y="29718"/>
                  </a:cubicBezTo>
                  <a:cubicBezTo>
                    <a:pt x="86773" y="14669"/>
                    <a:pt x="103442" y="7144"/>
                    <a:pt x="125063" y="7144"/>
                  </a:cubicBezTo>
                  <a:cubicBezTo>
                    <a:pt x="134969" y="7144"/>
                    <a:pt x="144590" y="8668"/>
                    <a:pt x="154019" y="11716"/>
                  </a:cubicBezTo>
                  <a:cubicBezTo>
                    <a:pt x="163449" y="14764"/>
                    <a:pt x="172498" y="18098"/>
                    <a:pt x="181261" y="21622"/>
                  </a:cubicBezTo>
                  <a:cubicBezTo>
                    <a:pt x="189929" y="25146"/>
                    <a:pt x="198120" y="28385"/>
                    <a:pt x="205645" y="31147"/>
                  </a:cubicBezTo>
                  <a:cubicBezTo>
                    <a:pt x="213170" y="34004"/>
                    <a:pt x="220218" y="35338"/>
                    <a:pt x="226790" y="35338"/>
                  </a:cubicBezTo>
                  <a:cubicBezTo>
                    <a:pt x="237173" y="35338"/>
                    <a:pt x="244888" y="32480"/>
                    <a:pt x="250127" y="26861"/>
                  </a:cubicBezTo>
                  <a:cubicBezTo>
                    <a:pt x="255270" y="21241"/>
                    <a:pt x="260509" y="12287"/>
                    <a:pt x="265652" y="0"/>
                  </a:cubicBezTo>
                  <a:lnTo>
                    <a:pt x="312991" y="14859"/>
                  </a:lnTo>
                  <a:cubicBezTo>
                    <a:pt x="304991" y="43148"/>
                    <a:pt x="295180" y="64770"/>
                    <a:pt x="283655" y="79820"/>
                  </a:cubicBezTo>
                  <a:cubicBezTo>
                    <a:pt x="272129" y="94869"/>
                    <a:pt x="255461" y="102394"/>
                    <a:pt x="233839" y="102394"/>
                  </a:cubicBezTo>
                  <a:cubicBezTo>
                    <a:pt x="223933" y="102394"/>
                    <a:pt x="214313" y="100965"/>
                    <a:pt x="204883" y="98203"/>
                  </a:cubicBezTo>
                  <a:cubicBezTo>
                    <a:pt x="195453" y="95345"/>
                    <a:pt x="186404" y="92202"/>
                    <a:pt x="177641" y="88678"/>
                  </a:cubicBezTo>
                  <a:cubicBezTo>
                    <a:pt x="168878" y="85154"/>
                    <a:pt x="160687" y="81820"/>
                    <a:pt x="152876" y="78772"/>
                  </a:cubicBezTo>
                  <a:cubicBezTo>
                    <a:pt x="145066" y="75724"/>
                    <a:pt x="138113" y="74200"/>
                    <a:pt x="132017" y="74200"/>
                  </a:cubicBezTo>
                  <a:cubicBezTo>
                    <a:pt x="121634" y="74200"/>
                    <a:pt x="113919" y="77057"/>
                    <a:pt x="108680" y="82677"/>
                  </a:cubicBezTo>
                  <a:cubicBezTo>
                    <a:pt x="103537" y="88297"/>
                    <a:pt x="98298" y="97250"/>
                    <a:pt x="93154" y="109538"/>
                  </a:cubicBezTo>
                  <a:lnTo>
                    <a:pt x="45815" y="95441"/>
                  </a:lnTo>
                  <a:close/>
                  <a:moveTo>
                    <a:pt x="255842" y="366808"/>
                  </a:moveTo>
                  <a:cubicBezTo>
                    <a:pt x="244983" y="362522"/>
                    <a:pt x="232124" y="358997"/>
                    <a:pt x="217361" y="356235"/>
                  </a:cubicBezTo>
                  <a:cubicBezTo>
                    <a:pt x="202502" y="353378"/>
                    <a:pt x="186880" y="351949"/>
                    <a:pt x="170402" y="351949"/>
                  </a:cubicBezTo>
                  <a:cubicBezTo>
                    <a:pt x="143542" y="351949"/>
                    <a:pt x="122587" y="357092"/>
                    <a:pt x="107537" y="367475"/>
                  </a:cubicBezTo>
                  <a:cubicBezTo>
                    <a:pt x="92488" y="377857"/>
                    <a:pt x="84963" y="391954"/>
                    <a:pt x="84963" y="409861"/>
                  </a:cubicBezTo>
                  <a:lnTo>
                    <a:pt x="84963" y="411290"/>
                  </a:lnTo>
                  <a:cubicBezTo>
                    <a:pt x="84963" y="429197"/>
                    <a:pt x="91916" y="442817"/>
                    <a:pt x="105823" y="452247"/>
                  </a:cubicBezTo>
                  <a:cubicBezTo>
                    <a:pt x="119729" y="461677"/>
                    <a:pt x="136779" y="466344"/>
                    <a:pt x="157067" y="466344"/>
                  </a:cubicBezTo>
                  <a:cubicBezTo>
                    <a:pt x="171164" y="466344"/>
                    <a:pt x="184309" y="464439"/>
                    <a:pt x="196310" y="460724"/>
                  </a:cubicBezTo>
                  <a:cubicBezTo>
                    <a:pt x="208312" y="456914"/>
                    <a:pt x="218789" y="451676"/>
                    <a:pt x="227743" y="444818"/>
                  </a:cubicBezTo>
                  <a:cubicBezTo>
                    <a:pt x="236696" y="437960"/>
                    <a:pt x="243650" y="429768"/>
                    <a:pt x="248603" y="420053"/>
                  </a:cubicBezTo>
                  <a:cubicBezTo>
                    <a:pt x="253555" y="410432"/>
                    <a:pt x="256032" y="399669"/>
                    <a:pt x="256032" y="387858"/>
                  </a:cubicBezTo>
                  <a:lnTo>
                    <a:pt x="256032" y="366617"/>
                  </a:lnTo>
                  <a:close/>
                </a:path>
              </a:pathLst>
            </a:custGeom>
            <a:solidFill>
              <a:srgbClr val="44505E"/>
            </a:solidFill>
            <a:ln w="9525" cap="flat">
              <a:noFill/>
              <a:prstDash val="solid"/>
              <a:miter/>
            </a:ln>
          </p:spPr>
          <p:txBody>
            <a:bodyPr rtlCol="0" anchor="ctr"/>
            <a:lstStyle/>
            <a:p>
              <a:endParaRPr lang="pt-BR" noProof="0"/>
            </a:p>
          </p:txBody>
        </p:sp>
        <p:sp>
          <p:nvSpPr>
            <p:cNvPr id="31" name="Freeform: Shape 30">
              <a:extLst>
                <a:ext uri="{FF2B5EF4-FFF2-40B4-BE49-F238E27FC236}">
                  <a16:creationId xmlns:a16="http://schemas.microsoft.com/office/drawing/2014/main" id="{E50C0B5F-0B4B-2792-201F-B12052441550}"/>
                </a:ext>
              </a:extLst>
            </p:cNvPr>
            <p:cNvSpPr/>
            <p:nvPr/>
          </p:nvSpPr>
          <p:spPr>
            <a:xfrm>
              <a:off x="6506477" y="699959"/>
              <a:ext cx="100038" cy="97908"/>
            </a:xfrm>
            <a:custGeom>
              <a:avLst/>
              <a:gdLst>
                <a:gd name="connsiteX0" fmla="*/ 197834 w 397954"/>
                <a:gd name="connsiteY0" fmla="*/ 389477 h 389477"/>
                <a:gd name="connsiteX1" fmla="*/ 119063 w 397954"/>
                <a:gd name="connsiteY1" fmla="*/ 374237 h 389477"/>
                <a:gd name="connsiteX2" fmla="*/ 56198 w 397954"/>
                <a:gd name="connsiteY2" fmla="*/ 332899 h 389477"/>
                <a:gd name="connsiteX3" fmla="*/ 14859 w 397954"/>
                <a:gd name="connsiteY3" fmla="*/ 271463 h 389477"/>
                <a:gd name="connsiteX4" fmla="*/ 0 w 397954"/>
                <a:gd name="connsiteY4" fmla="*/ 196501 h 389477"/>
                <a:gd name="connsiteX5" fmla="*/ 0 w 397954"/>
                <a:gd name="connsiteY5" fmla="*/ 195072 h 389477"/>
                <a:gd name="connsiteX6" fmla="*/ 15240 w 397954"/>
                <a:gd name="connsiteY6" fmla="*/ 119444 h 389477"/>
                <a:gd name="connsiteX7" fmla="*/ 56960 w 397954"/>
                <a:gd name="connsiteY7" fmla="*/ 57626 h 389477"/>
                <a:gd name="connsiteX8" fmla="*/ 119825 w 397954"/>
                <a:gd name="connsiteY8" fmla="*/ 15526 h 389477"/>
                <a:gd name="connsiteX9" fmla="*/ 199358 w 397954"/>
                <a:gd name="connsiteY9" fmla="*/ 0 h 389477"/>
                <a:gd name="connsiteX10" fmla="*/ 278892 w 397954"/>
                <a:gd name="connsiteY10" fmla="*/ 15240 h 389477"/>
                <a:gd name="connsiteX11" fmla="*/ 341757 w 397954"/>
                <a:gd name="connsiteY11" fmla="*/ 56959 h 389477"/>
                <a:gd name="connsiteX12" fmla="*/ 383096 w 397954"/>
                <a:gd name="connsiteY12" fmla="*/ 118396 h 389477"/>
                <a:gd name="connsiteX13" fmla="*/ 397955 w 397954"/>
                <a:gd name="connsiteY13" fmla="*/ 193643 h 389477"/>
                <a:gd name="connsiteX14" fmla="*/ 397955 w 397954"/>
                <a:gd name="connsiteY14" fmla="*/ 195072 h 389477"/>
                <a:gd name="connsiteX15" fmla="*/ 382714 w 397954"/>
                <a:gd name="connsiteY15" fmla="*/ 270034 h 389477"/>
                <a:gd name="connsiteX16" fmla="*/ 340995 w 397954"/>
                <a:gd name="connsiteY16" fmla="*/ 331851 h 389477"/>
                <a:gd name="connsiteX17" fmla="*/ 277749 w 397954"/>
                <a:gd name="connsiteY17" fmla="*/ 373856 h 389477"/>
                <a:gd name="connsiteX18" fmla="*/ 197834 w 397954"/>
                <a:gd name="connsiteY18" fmla="*/ 389382 h 389477"/>
                <a:gd name="connsiteX19" fmla="*/ 199263 w 397954"/>
                <a:gd name="connsiteY19" fmla="*/ 315278 h 389477"/>
                <a:gd name="connsiteX20" fmla="*/ 245936 w 397954"/>
                <a:gd name="connsiteY20" fmla="*/ 305753 h 389477"/>
                <a:gd name="connsiteX21" fmla="*/ 281369 w 397954"/>
                <a:gd name="connsiteY21" fmla="*/ 279940 h 389477"/>
                <a:gd name="connsiteX22" fmla="*/ 303848 w 397954"/>
                <a:gd name="connsiteY22" fmla="*/ 242125 h 389477"/>
                <a:gd name="connsiteX23" fmla="*/ 311563 w 397954"/>
                <a:gd name="connsiteY23" fmla="*/ 196501 h 389477"/>
                <a:gd name="connsiteX24" fmla="*/ 311563 w 397954"/>
                <a:gd name="connsiteY24" fmla="*/ 195072 h 389477"/>
                <a:gd name="connsiteX25" fmla="*/ 303181 w 397954"/>
                <a:gd name="connsiteY25" fmla="*/ 148400 h 389477"/>
                <a:gd name="connsiteX26" fmla="*/ 279654 w 397954"/>
                <a:gd name="connsiteY26" fmla="*/ 110204 h 389477"/>
                <a:gd name="connsiteX27" fmla="*/ 243840 w 397954"/>
                <a:gd name="connsiteY27" fmla="*/ 84392 h 389477"/>
                <a:gd name="connsiteX28" fmla="*/ 197834 w 397954"/>
                <a:gd name="connsiteY28" fmla="*/ 74867 h 389477"/>
                <a:gd name="connsiteX29" fmla="*/ 151829 w 397954"/>
                <a:gd name="connsiteY29" fmla="*/ 84392 h 389477"/>
                <a:gd name="connsiteX30" fmla="*/ 116396 w 397954"/>
                <a:gd name="connsiteY30" fmla="*/ 109823 h 389477"/>
                <a:gd name="connsiteX31" fmla="*/ 93916 w 397954"/>
                <a:gd name="connsiteY31" fmla="*/ 147638 h 389477"/>
                <a:gd name="connsiteX32" fmla="*/ 86201 w 397954"/>
                <a:gd name="connsiteY32" fmla="*/ 193548 h 389477"/>
                <a:gd name="connsiteX33" fmla="*/ 86201 w 397954"/>
                <a:gd name="connsiteY33" fmla="*/ 194977 h 389477"/>
                <a:gd name="connsiteX34" fmla="*/ 94583 w 397954"/>
                <a:gd name="connsiteY34" fmla="*/ 241268 h 389477"/>
                <a:gd name="connsiteX35" fmla="*/ 118110 w 397954"/>
                <a:gd name="connsiteY35" fmla="*/ 279463 h 389477"/>
                <a:gd name="connsiteX36" fmla="*/ 153924 w 397954"/>
                <a:gd name="connsiteY36" fmla="*/ 305562 h 389477"/>
                <a:gd name="connsiteX37" fmla="*/ 199263 w 397954"/>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954" h="389477">
                  <a:moveTo>
                    <a:pt x="197834" y="389477"/>
                  </a:moveTo>
                  <a:cubicBezTo>
                    <a:pt x="169545" y="389477"/>
                    <a:pt x="143351" y="384429"/>
                    <a:pt x="119063" y="374237"/>
                  </a:cubicBezTo>
                  <a:cubicBezTo>
                    <a:pt x="94774" y="364141"/>
                    <a:pt x="73819" y="350330"/>
                    <a:pt x="56198" y="332899"/>
                  </a:cubicBezTo>
                  <a:cubicBezTo>
                    <a:pt x="38576" y="315468"/>
                    <a:pt x="24765" y="294989"/>
                    <a:pt x="14859" y="271463"/>
                  </a:cubicBezTo>
                  <a:cubicBezTo>
                    <a:pt x="4953" y="247936"/>
                    <a:pt x="0" y="222980"/>
                    <a:pt x="0" y="196501"/>
                  </a:cubicBezTo>
                  <a:lnTo>
                    <a:pt x="0" y="195072"/>
                  </a:lnTo>
                  <a:cubicBezTo>
                    <a:pt x="0" y="168212"/>
                    <a:pt x="5049" y="143066"/>
                    <a:pt x="15240" y="119444"/>
                  </a:cubicBezTo>
                  <a:cubicBezTo>
                    <a:pt x="25337" y="95917"/>
                    <a:pt x="39243" y="75248"/>
                    <a:pt x="56960" y="57626"/>
                  </a:cubicBezTo>
                  <a:cubicBezTo>
                    <a:pt x="74676" y="39910"/>
                    <a:pt x="95631" y="25908"/>
                    <a:pt x="119825" y="15526"/>
                  </a:cubicBezTo>
                  <a:cubicBezTo>
                    <a:pt x="144113" y="5144"/>
                    <a:pt x="170593" y="0"/>
                    <a:pt x="199358" y="0"/>
                  </a:cubicBezTo>
                  <a:cubicBezTo>
                    <a:pt x="228124" y="0"/>
                    <a:pt x="254604" y="5048"/>
                    <a:pt x="278892" y="15240"/>
                  </a:cubicBezTo>
                  <a:cubicBezTo>
                    <a:pt x="303181" y="25337"/>
                    <a:pt x="324136" y="39243"/>
                    <a:pt x="341757" y="56959"/>
                  </a:cubicBezTo>
                  <a:cubicBezTo>
                    <a:pt x="359379" y="74676"/>
                    <a:pt x="373189" y="95155"/>
                    <a:pt x="383096" y="118396"/>
                  </a:cubicBezTo>
                  <a:cubicBezTo>
                    <a:pt x="393002" y="141732"/>
                    <a:pt x="397955" y="166783"/>
                    <a:pt x="397955" y="193643"/>
                  </a:cubicBezTo>
                  <a:lnTo>
                    <a:pt x="397955" y="195072"/>
                  </a:lnTo>
                  <a:cubicBezTo>
                    <a:pt x="397955" y="221456"/>
                    <a:pt x="392906" y="246412"/>
                    <a:pt x="382714" y="270034"/>
                  </a:cubicBezTo>
                  <a:cubicBezTo>
                    <a:pt x="372618" y="293561"/>
                    <a:pt x="358712" y="314230"/>
                    <a:pt x="340995" y="331851"/>
                  </a:cubicBezTo>
                  <a:cubicBezTo>
                    <a:pt x="323279" y="349472"/>
                    <a:pt x="302229" y="363569"/>
                    <a:pt x="277749" y="373856"/>
                  </a:cubicBezTo>
                  <a:cubicBezTo>
                    <a:pt x="253270" y="384238"/>
                    <a:pt x="226600" y="389382"/>
                    <a:pt x="197834" y="389382"/>
                  </a:cubicBezTo>
                  <a:close/>
                  <a:moveTo>
                    <a:pt x="199263" y="315278"/>
                  </a:moveTo>
                  <a:cubicBezTo>
                    <a:pt x="216598" y="315278"/>
                    <a:pt x="232124" y="312039"/>
                    <a:pt x="245936" y="305753"/>
                  </a:cubicBezTo>
                  <a:cubicBezTo>
                    <a:pt x="259747" y="299371"/>
                    <a:pt x="271558" y="290798"/>
                    <a:pt x="281369" y="279940"/>
                  </a:cubicBezTo>
                  <a:cubicBezTo>
                    <a:pt x="291179" y="269081"/>
                    <a:pt x="298704" y="256508"/>
                    <a:pt x="303848" y="242125"/>
                  </a:cubicBezTo>
                  <a:cubicBezTo>
                    <a:pt x="308991" y="227743"/>
                    <a:pt x="311563" y="212598"/>
                    <a:pt x="311563" y="196501"/>
                  </a:cubicBezTo>
                  <a:lnTo>
                    <a:pt x="311563" y="195072"/>
                  </a:lnTo>
                  <a:cubicBezTo>
                    <a:pt x="311563" y="178594"/>
                    <a:pt x="308706" y="163068"/>
                    <a:pt x="303181" y="148400"/>
                  </a:cubicBezTo>
                  <a:cubicBezTo>
                    <a:pt x="297561" y="133826"/>
                    <a:pt x="289750" y="121063"/>
                    <a:pt x="279654" y="110204"/>
                  </a:cubicBezTo>
                  <a:cubicBezTo>
                    <a:pt x="269557" y="99346"/>
                    <a:pt x="257651" y="90773"/>
                    <a:pt x="243840" y="84392"/>
                  </a:cubicBezTo>
                  <a:cubicBezTo>
                    <a:pt x="230029" y="78010"/>
                    <a:pt x="214694" y="74867"/>
                    <a:pt x="197834" y="74867"/>
                  </a:cubicBezTo>
                  <a:cubicBezTo>
                    <a:pt x="180975" y="74867"/>
                    <a:pt x="165640" y="78010"/>
                    <a:pt x="151829" y="84392"/>
                  </a:cubicBezTo>
                  <a:cubicBezTo>
                    <a:pt x="138017" y="90773"/>
                    <a:pt x="126206" y="99250"/>
                    <a:pt x="116396" y="109823"/>
                  </a:cubicBezTo>
                  <a:cubicBezTo>
                    <a:pt x="106585" y="120396"/>
                    <a:pt x="99060" y="133064"/>
                    <a:pt x="93916" y="147638"/>
                  </a:cubicBezTo>
                  <a:cubicBezTo>
                    <a:pt x="88773" y="162211"/>
                    <a:pt x="86201" y="177546"/>
                    <a:pt x="86201" y="193548"/>
                  </a:cubicBezTo>
                  <a:lnTo>
                    <a:pt x="86201" y="194977"/>
                  </a:lnTo>
                  <a:cubicBezTo>
                    <a:pt x="86201" y="211455"/>
                    <a:pt x="89059" y="226886"/>
                    <a:pt x="94583" y="241268"/>
                  </a:cubicBezTo>
                  <a:cubicBezTo>
                    <a:pt x="100203" y="255651"/>
                    <a:pt x="108014" y="268319"/>
                    <a:pt x="118110" y="279463"/>
                  </a:cubicBezTo>
                  <a:cubicBezTo>
                    <a:pt x="128207" y="290608"/>
                    <a:pt x="140113" y="299275"/>
                    <a:pt x="153924" y="305562"/>
                  </a:cubicBezTo>
                  <a:cubicBezTo>
                    <a:pt x="167735" y="311944"/>
                    <a:pt x="182785"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32" name="Freeform: Shape 31">
              <a:extLst>
                <a:ext uri="{FF2B5EF4-FFF2-40B4-BE49-F238E27FC236}">
                  <a16:creationId xmlns:a16="http://schemas.microsoft.com/office/drawing/2014/main" id="{CB4DB540-D8E2-1FBE-0FDB-C26254ECC39F}"/>
                </a:ext>
              </a:extLst>
            </p:cNvPr>
            <p:cNvSpPr/>
            <p:nvPr/>
          </p:nvSpPr>
          <p:spPr>
            <a:xfrm>
              <a:off x="662071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1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7 w 296894"/>
                <a:gd name="connsiteY23" fmla="*/ 42863 h 386714"/>
                <a:gd name="connsiteX24" fmla="*/ 254318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7 w 296894"/>
                <a:gd name="connsiteY30" fmla="*/ 124587 h 386714"/>
                <a:gd name="connsiteX31" fmla="*/ 122682 w 296894"/>
                <a:gd name="connsiteY31" fmla="*/ 138017 h 386714"/>
                <a:gd name="connsiteX32" fmla="*/ 149543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6" y="348901"/>
                    <a:pt x="0" y="330327"/>
                  </a:cubicBezTo>
                  <a:lnTo>
                    <a:pt x="38195" y="272224"/>
                  </a:lnTo>
                  <a:cubicBezTo>
                    <a:pt x="58484" y="287274"/>
                    <a:pt x="79057" y="298704"/>
                    <a:pt x="100013" y="306514"/>
                  </a:cubicBezTo>
                  <a:cubicBezTo>
                    <a:pt x="120968" y="314325"/>
                    <a:pt x="141161" y="318135"/>
                    <a:pt x="160401" y="318135"/>
                  </a:cubicBezTo>
                  <a:cubicBezTo>
                    <a:pt x="179641" y="318135"/>
                    <a:pt x="192977"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1" y="241078"/>
                    <a:pt x="176498" y="237553"/>
                    <a:pt x="166401"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2" y="40195"/>
                    <a:pt x="56864" y="30385"/>
                  </a:cubicBezTo>
                  <a:cubicBezTo>
                    <a:pt x="68866" y="20479"/>
                    <a:pt x="82962" y="12954"/>
                    <a:pt x="99250" y="7810"/>
                  </a:cubicBezTo>
                  <a:cubicBezTo>
                    <a:pt x="115538" y="2667"/>
                    <a:pt x="132779" y="0"/>
                    <a:pt x="151162" y="0"/>
                  </a:cubicBezTo>
                  <a:cubicBezTo>
                    <a:pt x="174688" y="0"/>
                    <a:pt x="198501" y="3810"/>
                    <a:pt x="222504" y="11430"/>
                  </a:cubicBezTo>
                  <a:cubicBezTo>
                    <a:pt x="246507" y="19050"/>
                    <a:pt x="268414" y="29527"/>
                    <a:pt x="288227" y="42863"/>
                  </a:cubicBezTo>
                  <a:lnTo>
                    <a:pt x="254318"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7" y="124587"/>
                  </a:cubicBezTo>
                  <a:cubicBezTo>
                    <a:pt x="108585" y="129540"/>
                    <a:pt x="114871" y="134017"/>
                    <a:pt x="122682" y="138017"/>
                  </a:cubicBezTo>
                  <a:cubicBezTo>
                    <a:pt x="130493" y="142018"/>
                    <a:pt x="139351" y="145732"/>
                    <a:pt x="149543"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696"/>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33" name="Freeform: Shape 32">
              <a:extLst>
                <a:ext uri="{FF2B5EF4-FFF2-40B4-BE49-F238E27FC236}">
                  <a16:creationId xmlns:a16="http://schemas.microsoft.com/office/drawing/2014/main" id="{0D265E1A-036E-715B-A7D5-FB641ED6472F}"/>
                </a:ext>
              </a:extLst>
            </p:cNvPr>
            <p:cNvSpPr/>
            <p:nvPr/>
          </p:nvSpPr>
          <p:spPr>
            <a:xfrm>
              <a:off x="526693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4 w 202977"/>
                <a:gd name="connsiteY17" fmla="*/ 19907 h 239267"/>
                <a:gd name="connsiteX18" fmla="*/ 59246 w 202977"/>
                <a:gd name="connsiteY18" fmla="*/ 5429 h 239267"/>
                <a:gd name="connsiteX19" fmla="*/ 104299 w 202977"/>
                <a:gd name="connsiteY19" fmla="*/ 0 h 239267"/>
                <a:gd name="connsiteX20" fmla="*/ 178880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5 w 202977"/>
                <a:gd name="connsiteY27" fmla="*/ 211169 h 239267"/>
                <a:gd name="connsiteX28" fmla="*/ 122968 w 202977"/>
                <a:gd name="connsiteY28" fmla="*/ 206788 h 239267"/>
                <a:gd name="connsiteX29" fmla="*/ 147257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9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9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3" y="99155"/>
                    <a:pt x="58674" y="95917"/>
                  </a:cubicBezTo>
                  <a:cubicBezTo>
                    <a:pt x="70771" y="92678"/>
                    <a:pt x="84011" y="90964"/>
                    <a:pt x="98584" y="90964"/>
                  </a:cubicBezTo>
                  <a:cubicBezTo>
                    <a:pt x="113157" y="90964"/>
                    <a:pt x="126301" y="91821"/>
                    <a:pt x="137160" y="93631"/>
                  </a:cubicBezTo>
                  <a:cubicBezTo>
                    <a:pt x="148019" y="95440"/>
                    <a:pt x="158687" y="97822"/>
                    <a:pt x="169069" y="100774"/>
                  </a:cubicBezTo>
                  <a:lnTo>
                    <a:pt x="169069" y="93726"/>
                  </a:lnTo>
                  <a:cubicBezTo>
                    <a:pt x="169069" y="73342"/>
                    <a:pt x="163068" y="57912"/>
                    <a:pt x="151162" y="47339"/>
                  </a:cubicBezTo>
                  <a:cubicBezTo>
                    <a:pt x="139256" y="36862"/>
                    <a:pt x="122492" y="31623"/>
                    <a:pt x="100679" y="31623"/>
                  </a:cubicBezTo>
                  <a:cubicBezTo>
                    <a:pt x="86963" y="31623"/>
                    <a:pt x="74581" y="33147"/>
                    <a:pt x="63437" y="36100"/>
                  </a:cubicBezTo>
                  <a:cubicBezTo>
                    <a:pt x="52292" y="39053"/>
                    <a:pt x="41339" y="43053"/>
                    <a:pt x="30671" y="48196"/>
                  </a:cubicBezTo>
                  <a:lnTo>
                    <a:pt x="20384" y="19907"/>
                  </a:lnTo>
                  <a:cubicBezTo>
                    <a:pt x="33147" y="13906"/>
                    <a:pt x="46101" y="9049"/>
                    <a:pt x="59246" y="5429"/>
                  </a:cubicBezTo>
                  <a:cubicBezTo>
                    <a:pt x="72295" y="1810"/>
                    <a:pt x="87344" y="0"/>
                    <a:pt x="104299" y="0"/>
                  </a:cubicBezTo>
                  <a:cubicBezTo>
                    <a:pt x="137065" y="0"/>
                    <a:pt x="161925" y="8477"/>
                    <a:pt x="178880"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99" y="239173"/>
                    <a:pt x="86011" y="239173"/>
                  </a:cubicBezTo>
                  <a:close/>
                  <a:moveTo>
                    <a:pt x="93155" y="211169"/>
                  </a:moveTo>
                  <a:cubicBezTo>
                    <a:pt x="103823" y="211169"/>
                    <a:pt x="113728" y="209740"/>
                    <a:pt x="122968" y="206788"/>
                  </a:cubicBezTo>
                  <a:cubicBezTo>
                    <a:pt x="132207" y="203835"/>
                    <a:pt x="140208" y="199644"/>
                    <a:pt x="147257"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9" y="121444"/>
                  </a:cubicBezTo>
                  <a:cubicBezTo>
                    <a:pt x="129445" y="119348"/>
                    <a:pt x="116776"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244" y="190500"/>
                    <a:pt x="47435" y="195358"/>
                    <a:pt x="52769" y="199263"/>
                  </a:cubicBezTo>
                  <a:cubicBezTo>
                    <a:pt x="58103" y="203073"/>
                    <a:pt x="64294" y="206026"/>
                    <a:pt x="71247" y="208121"/>
                  </a:cubicBezTo>
                  <a:cubicBezTo>
                    <a:pt x="78200" y="210217"/>
                    <a:pt x="85535"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34" name="Freeform: Shape 33">
              <a:extLst>
                <a:ext uri="{FF2B5EF4-FFF2-40B4-BE49-F238E27FC236}">
                  <a16:creationId xmlns:a16="http://schemas.microsoft.com/office/drawing/2014/main" id="{B3ECBDD9-B14A-6C9D-84E4-5027C75A4505}"/>
                </a:ext>
              </a:extLst>
            </p:cNvPr>
            <p:cNvSpPr/>
            <p:nvPr/>
          </p:nvSpPr>
          <p:spPr>
            <a:xfrm>
              <a:off x="5331227"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9" y="303276"/>
                    <a:pt x="71438" y="300895"/>
                  </a:cubicBezTo>
                  <a:cubicBezTo>
                    <a:pt x="63437"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2"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5" name="Freeform: Shape 34">
              <a:extLst>
                <a:ext uri="{FF2B5EF4-FFF2-40B4-BE49-F238E27FC236}">
                  <a16:creationId xmlns:a16="http://schemas.microsoft.com/office/drawing/2014/main" id="{546A67B9-938A-D4FE-B864-829B2CCBD8DB}"/>
                </a:ext>
              </a:extLst>
            </p:cNvPr>
            <p:cNvSpPr/>
            <p:nvPr/>
          </p:nvSpPr>
          <p:spPr>
            <a:xfrm>
              <a:off x="5381845"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191 w 39242"/>
                <a:gd name="connsiteY5" fmla="*/ 88392 h 319182"/>
                <a:gd name="connsiteX6" fmla="*/ 36576 w 39242"/>
                <a:gd name="connsiteY6" fmla="*/ 88392 h 319182"/>
                <a:gd name="connsiteX7" fmla="*/ 36576 w 39242"/>
                <a:gd name="connsiteY7" fmla="*/ 319183 h 319182"/>
                <a:gd name="connsiteX8" fmla="*/ 2191 w 39242"/>
                <a:gd name="connsiteY8" fmla="*/ 319183 h 319182"/>
                <a:gd name="connsiteX9" fmla="*/ 2191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191" y="88392"/>
                  </a:moveTo>
                  <a:lnTo>
                    <a:pt x="36576" y="88392"/>
                  </a:lnTo>
                  <a:lnTo>
                    <a:pt x="36576" y="319183"/>
                  </a:lnTo>
                  <a:lnTo>
                    <a:pt x="2191" y="319183"/>
                  </a:lnTo>
                  <a:lnTo>
                    <a:pt x="2191" y="88392"/>
                  </a:lnTo>
                  <a:close/>
                </a:path>
              </a:pathLst>
            </a:custGeom>
            <a:solidFill>
              <a:srgbClr val="44505E"/>
            </a:solidFill>
            <a:ln w="9525" cap="flat">
              <a:noFill/>
              <a:prstDash val="solid"/>
              <a:miter/>
            </a:ln>
          </p:spPr>
          <p:txBody>
            <a:bodyPr rtlCol="0" anchor="ctr"/>
            <a:lstStyle/>
            <a:p>
              <a:endParaRPr lang="pt-BR" noProof="0"/>
            </a:p>
          </p:txBody>
        </p:sp>
        <p:sp>
          <p:nvSpPr>
            <p:cNvPr id="36" name="Freeform: Shape 35">
              <a:extLst>
                <a:ext uri="{FF2B5EF4-FFF2-40B4-BE49-F238E27FC236}">
                  <a16:creationId xmlns:a16="http://schemas.microsoft.com/office/drawing/2014/main" id="{BB28F4FA-9B55-517F-1839-6BA503AE21DE}"/>
                </a:ext>
              </a:extLst>
            </p:cNvPr>
            <p:cNvSpPr/>
            <p:nvPr/>
          </p:nvSpPr>
          <p:spPr>
            <a:xfrm>
              <a:off x="5406076"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8" y="303276"/>
                    <a:pt x="71438" y="300895"/>
                  </a:cubicBezTo>
                  <a:cubicBezTo>
                    <a:pt x="63436"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1"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7" name="Freeform: Shape 36">
              <a:extLst>
                <a:ext uri="{FF2B5EF4-FFF2-40B4-BE49-F238E27FC236}">
                  <a16:creationId xmlns:a16="http://schemas.microsoft.com/office/drawing/2014/main" id="{223B2257-75CB-BEA9-E489-950201F34473}"/>
                </a:ext>
              </a:extLst>
            </p:cNvPr>
            <p:cNvSpPr/>
            <p:nvPr/>
          </p:nvSpPr>
          <p:spPr>
            <a:xfrm>
              <a:off x="5455545" y="925297"/>
              <a:ext cx="50594" cy="59238"/>
            </a:xfrm>
            <a:custGeom>
              <a:avLst/>
              <a:gdLst>
                <a:gd name="connsiteX0" fmla="*/ 88392 w 201263"/>
                <a:gd name="connsiteY0" fmla="*/ 235648 h 235648"/>
                <a:gd name="connsiteX1" fmla="*/ 51149 w 201263"/>
                <a:gd name="connsiteY1" fmla="*/ 228981 h 235648"/>
                <a:gd name="connsiteX2" fmla="*/ 23431 w 201263"/>
                <a:gd name="connsiteY2" fmla="*/ 210026 h 235648"/>
                <a:gd name="connsiteX3" fmla="*/ 6001 w 201263"/>
                <a:gd name="connsiteY3" fmla="*/ 180784 h 235648"/>
                <a:gd name="connsiteX4" fmla="*/ 0 w 201263"/>
                <a:gd name="connsiteY4" fmla="*/ 143256 h 235648"/>
                <a:gd name="connsiteX5" fmla="*/ 0 w 201263"/>
                <a:gd name="connsiteY5" fmla="*/ 0 h 235648"/>
                <a:gd name="connsiteX6" fmla="*/ 34385 w 201263"/>
                <a:gd name="connsiteY6" fmla="*/ 0 h 235648"/>
                <a:gd name="connsiteX7" fmla="*/ 34385 w 201263"/>
                <a:gd name="connsiteY7" fmla="*/ 134493 h 235648"/>
                <a:gd name="connsiteX8" fmla="*/ 50864 w 201263"/>
                <a:gd name="connsiteY8" fmla="*/ 185261 h 235648"/>
                <a:gd name="connsiteX9" fmla="*/ 98203 w 201263"/>
                <a:gd name="connsiteY9" fmla="*/ 203930 h 235648"/>
                <a:gd name="connsiteX10" fmla="*/ 125635 w 201263"/>
                <a:gd name="connsiteY10" fmla="*/ 198787 h 235648"/>
                <a:gd name="connsiteX11" fmla="*/ 147542 w 201263"/>
                <a:gd name="connsiteY11" fmla="*/ 184118 h 235648"/>
                <a:gd name="connsiteX12" fmla="*/ 162020 w 201263"/>
                <a:gd name="connsiteY12" fmla="*/ 161163 h 235648"/>
                <a:gd name="connsiteX13" fmla="*/ 167354 w 201263"/>
                <a:gd name="connsiteY13" fmla="*/ 131826 h 235648"/>
                <a:gd name="connsiteX14" fmla="*/ 167354 w 201263"/>
                <a:gd name="connsiteY14" fmla="*/ 0 h 235648"/>
                <a:gd name="connsiteX15" fmla="*/ 201263 w 201263"/>
                <a:gd name="connsiteY15" fmla="*/ 0 h 235648"/>
                <a:gd name="connsiteX16" fmla="*/ 201263 w 201263"/>
                <a:gd name="connsiteY16" fmla="*/ 230791 h 235648"/>
                <a:gd name="connsiteX17" fmla="*/ 167354 w 201263"/>
                <a:gd name="connsiteY17" fmla="*/ 230791 h 235648"/>
                <a:gd name="connsiteX18" fmla="*/ 167354 w 201263"/>
                <a:gd name="connsiteY18" fmla="*/ 190595 h 235648"/>
                <a:gd name="connsiteX19" fmla="*/ 136969 w 201263"/>
                <a:gd name="connsiteY19" fmla="*/ 222504 h 235648"/>
                <a:gd name="connsiteX20" fmla="*/ 88297 w 201263"/>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263" h="235648">
                  <a:moveTo>
                    <a:pt x="88392" y="235648"/>
                  </a:moveTo>
                  <a:cubicBezTo>
                    <a:pt x="74390" y="235648"/>
                    <a:pt x="62008" y="233363"/>
                    <a:pt x="51149" y="228981"/>
                  </a:cubicBezTo>
                  <a:cubicBezTo>
                    <a:pt x="40291" y="224504"/>
                    <a:pt x="31052" y="218218"/>
                    <a:pt x="23431"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864" y="185261"/>
                  </a:cubicBezTo>
                  <a:cubicBezTo>
                    <a:pt x="61913" y="197739"/>
                    <a:pt x="77629" y="203930"/>
                    <a:pt x="98203" y="203930"/>
                  </a:cubicBezTo>
                  <a:cubicBezTo>
                    <a:pt x="108014" y="203930"/>
                    <a:pt x="117158" y="202216"/>
                    <a:pt x="125635" y="198787"/>
                  </a:cubicBezTo>
                  <a:cubicBezTo>
                    <a:pt x="134112" y="195358"/>
                    <a:pt x="141351" y="190500"/>
                    <a:pt x="147542" y="184118"/>
                  </a:cubicBezTo>
                  <a:cubicBezTo>
                    <a:pt x="153638" y="177736"/>
                    <a:pt x="158496" y="170116"/>
                    <a:pt x="162020" y="161163"/>
                  </a:cubicBezTo>
                  <a:cubicBezTo>
                    <a:pt x="165640" y="152305"/>
                    <a:pt x="167354" y="142494"/>
                    <a:pt x="167354" y="131826"/>
                  </a:cubicBezTo>
                  <a:lnTo>
                    <a:pt x="167354" y="0"/>
                  </a:lnTo>
                  <a:lnTo>
                    <a:pt x="201263" y="0"/>
                  </a:lnTo>
                  <a:lnTo>
                    <a:pt x="201263" y="230791"/>
                  </a:lnTo>
                  <a:lnTo>
                    <a:pt x="167354" y="230791"/>
                  </a:lnTo>
                  <a:lnTo>
                    <a:pt x="167354" y="190595"/>
                  </a:lnTo>
                  <a:cubicBezTo>
                    <a:pt x="159639" y="203073"/>
                    <a:pt x="149447" y="213741"/>
                    <a:pt x="136969" y="222504"/>
                  </a:cubicBezTo>
                  <a:cubicBezTo>
                    <a:pt x="124492" y="231267"/>
                    <a:pt x="108299" y="235648"/>
                    <a:pt x="88297" y="235648"/>
                  </a:cubicBezTo>
                  <a:close/>
                </a:path>
              </a:pathLst>
            </a:custGeom>
            <a:solidFill>
              <a:srgbClr val="44505E"/>
            </a:solidFill>
            <a:ln w="9525" cap="flat">
              <a:noFill/>
              <a:prstDash val="solid"/>
              <a:miter/>
            </a:ln>
          </p:spPr>
          <p:txBody>
            <a:bodyPr rtlCol="0" anchor="ctr"/>
            <a:lstStyle/>
            <a:p>
              <a:endParaRPr lang="pt-BR" noProof="0"/>
            </a:p>
          </p:txBody>
        </p:sp>
        <p:sp>
          <p:nvSpPr>
            <p:cNvPr id="38" name="Freeform: Shape 37">
              <a:extLst>
                <a:ext uri="{FF2B5EF4-FFF2-40B4-BE49-F238E27FC236}">
                  <a16:creationId xmlns:a16="http://schemas.microsoft.com/office/drawing/2014/main" id="{90CEAC57-42D2-A073-1B30-D81095F0D8E7}"/>
                </a:ext>
              </a:extLst>
            </p:cNvPr>
            <p:cNvSpPr/>
            <p:nvPr/>
          </p:nvSpPr>
          <p:spPr>
            <a:xfrm>
              <a:off x="5522205" y="901353"/>
              <a:ext cx="58567" cy="83182"/>
            </a:xfrm>
            <a:custGeom>
              <a:avLst/>
              <a:gdLst>
                <a:gd name="connsiteX0" fmla="*/ 110204 w 232981"/>
                <a:gd name="connsiteY0" fmla="*/ 330898 h 330898"/>
                <a:gd name="connsiteX1" fmla="*/ 69628 w 232981"/>
                <a:gd name="connsiteY1" fmla="*/ 322897 h 330898"/>
                <a:gd name="connsiteX2" fmla="*/ 34385 w 232981"/>
                <a:gd name="connsiteY2" fmla="*/ 299466 h 330898"/>
                <a:gd name="connsiteX3" fmla="*/ 9334 w 232981"/>
                <a:gd name="connsiteY3" fmla="*/ 261938 h 330898"/>
                <a:gd name="connsiteX4" fmla="*/ 0 w 232981"/>
                <a:gd name="connsiteY4" fmla="*/ 211264 h 330898"/>
                <a:gd name="connsiteX5" fmla="*/ 0 w 232981"/>
                <a:gd name="connsiteY5" fmla="*/ 210407 h 330898"/>
                <a:gd name="connsiteX6" fmla="*/ 9334 w 232981"/>
                <a:gd name="connsiteY6" fmla="*/ 159925 h 330898"/>
                <a:gd name="connsiteX7" fmla="*/ 34385 w 232981"/>
                <a:gd name="connsiteY7" fmla="*/ 122206 h 330898"/>
                <a:gd name="connsiteX8" fmla="*/ 69628 w 232981"/>
                <a:gd name="connsiteY8" fmla="*/ 98488 h 330898"/>
                <a:gd name="connsiteX9" fmla="*/ 110204 w 232981"/>
                <a:gd name="connsiteY9" fmla="*/ 90202 h 330898"/>
                <a:gd name="connsiteX10" fmla="*/ 139636 w 232981"/>
                <a:gd name="connsiteY10" fmla="*/ 94202 h 330898"/>
                <a:gd name="connsiteX11" fmla="*/ 163735 w 232981"/>
                <a:gd name="connsiteY11" fmla="*/ 104870 h 330898"/>
                <a:gd name="connsiteX12" fmla="*/ 183166 w 232981"/>
                <a:gd name="connsiteY12" fmla="*/ 120491 h 330898"/>
                <a:gd name="connsiteX13" fmla="*/ 198596 w 232981"/>
                <a:gd name="connsiteY13" fmla="*/ 139255 h 330898"/>
                <a:gd name="connsiteX14" fmla="*/ 198596 w 232981"/>
                <a:gd name="connsiteY14" fmla="*/ 0 h 330898"/>
                <a:gd name="connsiteX15" fmla="*/ 232981 w 232981"/>
                <a:gd name="connsiteY15" fmla="*/ 0 h 330898"/>
                <a:gd name="connsiteX16" fmla="*/ 232981 w 232981"/>
                <a:gd name="connsiteY16" fmla="*/ 325850 h 330898"/>
                <a:gd name="connsiteX17" fmla="*/ 198596 w 232981"/>
                <a:gd name="connsiteY17" fmla="*/ 325850 h 330898"/>
                <a:gd name="connsiteX18" fmla="*/ 198596 w 232981"/>
                <a:gd name="connsiteY18" fmla="*/ 279463 h 330898"/>
                <a:gd name="connsiteX19" fmla="*/ 182785 w 232981"/>
                <a:gd name="connsiteY19" fmla="*/ 299085 h 330898"/>
                <a:gd name="connsiteX20" fmla="*/ 163354 w 232981"/>
                <a:gd name="connsiteY20" fmla="*/ 315658 h 330898"/>
                <a:gd name="connsiteX21" fmla="*/ 139446 w 232981"/>
                <a:gd name="connsiteY21" fmla="*/ 326803 h 330898"/>
                <a:gd name="connsiteX22" fmla="*/ 110204 w 232981"/>
                <a:gd name="connsiteY22" fmla="*/ 330803 h 330898"/>
                <a:gd name="connsiteX23" fmla="*/ 116491 w 232981"/>
                <a:gd name="connsiteY23" fmla="*/ 300133 h 330898"/>
                <a:gd name="connsiteX24" fmla="*/ 147542 w 232981"/>
                <a:gd name="connsiteY24" fmla="*/ 293656 h 330898"/>
                <a:gd name="connsiteX25" fmla="*/ 174307 w 232981"/>
                <a:gd name="connsiteY25" fmla="*/ 275368 h 330898"/>
                <a:gd name="connsiteX26" fmla="*/ 193072 w 232981"/>
                <a:gd name="connsiteY26" fmla="*/ 247269 h 330898"/>
                <a:gd name="connsiteX27" fmla="*/ 200025 w 232981"/>
                <a:gd name="connsiteY27" fmla="*/ 210883 h 330898"/>
                <a:gd name="connsiteX28" fmla="*/ 200025 w 232981"/>
                <a:gd name="connsiteY28" fmla="*/ 210026 h 330898"/>
                <a:gd name="connsiteX29" fmla="*/ 193072 w 232981"/>
                <a:gd name="connsiteY29" fmla="*/ 173641 h 330898"/>
                <a:gd name="connsiteX30" fmla="*/ 174307 w 232981"/>
                <a:gd name="connsiteY30" fmla="*/ 145732 h 330898"/>
                <a:gd name="connsiteX31" fmla="*/ 147542 w 232981"/>
                <a:gd name="connsiteY31" fmla="*/ 127635 h 330898"/>
                <a:gd name="connsiteX32" fmla="*/ 116491 w 232981"/>
                <a:gd name="connsiteY32" fmla="*/ 121158 h 330898"/>
                <a:gd name="connsiteX33" fmla="*/ 84772 w 232981"/>
                <a:gd name="connsiteY33" fmla="*/ 127159 h 330898"/>
                <a:gd name="connsiteX34" fmla="*/ 59150 w 232981"/>
                <a:gd name="connsiteY34" fmla="*/ 144589 h 330898"/>
                <a:gd name="connsiteX35" fmla="*/ 41719 w 232981"/>
                <a:gd name="connsiteY35" fmla="*/ 172498 h 330898"/>
                <a:gd name="connsiteX36" fmla="*/ 35242 w 232981"/>
                <a:gd name="connsiteY36" fmla="*/ 210026 h 330898"/>
                <a:gd name="connsiteX37" fmla="*/ 35242 w 232981"/>
                <a:gd name="connsiteY37" fmla="*/ 210883 h 330898"/>
                <a:gd name="connsiteX38" fmla="*/ 41719 w 232981"/>
                <a:gd name="connsiteY38" fmla="*/ 247936 h 330898"/>
                <a:gd name="connsiteX39" fmla="*/ 59341 w 232981"/>
                <a:gd name="connsiteY39" fmla="*/ 276034 h 330898"/>
                <a:gd name="connsiteX40" fmla="*/ 85249 w 232981"/>
                <a:gd name="connsiteY40" fmla="*/ 293941 h 330898"/>
                <a:gd name="connsiteX41" fmla="*/ 116491 w 23298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30898">
                  <a:moveTo>
                    <a:pt x="110204" y="330898"/>
                  </a:moveTo>
                  <a:cubicBezTo>
                    <a:pt x="96202" y="330898"/>
                    <a:pt x="82677" y="328231"/>
                    <a:pt x="69628" y="322897"/>
                  </a:cubicBezTo>
                  <a:cubicBezTo>
                    <a:pt x="56578" y="317563"/>
                    <a:pt x="44767" y="309753"/>
                    <a:pt x="34385" y="299466"/>
                  </a:cubicBezTo>
                  <a:cubicBezTo>
                    <a:pt x="24003" y="289179"/>
                    <a:pt x="15621" y="276701"/>
                    <a:pt x="9334" y="261938"/>
                  </a:cubicBezTo>
                  <a:cubicBezTo>
                    <a:pt x="3048" y="247174"/>
                    <a:pt x="0" y="230314"/>
                    <a:pt x="0" y="211264"/>
                  </a:cubicBezTo>
                  <a:lnTo>
                    <a:pt x="0" y="210407"/>
                  </a:lnTo>
                  <a:cubicBezTo>
                    <a:pt x="0" y="191643"/>
                    <a:pt x="3143" y="174879"/>
                    <a:pt x="9334" y="159925"/>
                  </a:cubicBezTo>
                  <a:cubicBezTo>
                    <a:pt x="15621" y="145066"/>
                    <a:pt x="23908" y="132493"/>
                    <a:pt x="34385" y="122206"/>
                  </a:cubicBezTo>
                  <a:cubicBezTo>
                    <a:pt x="44767" y="111919"/>
                    <a:pt x="56578" y="104013"/>
                    <a:pt x="69628" y="98488"/>
                  </a:cubicBezTo>
                  <a:cubicBezTo>
                    <a:pt x="82677" y="92964"/>
                    <a:pt x="96298" y="90202"/>
                    <a:pt x="110204" y="90202"/>
                  </a:cubicBezTo>
                  <a:cubicBezTo>
                    <a:pt x="120967" y="90202"/>
                    <a:pt x="130778" y="91535"/>
                    <a:pt x="139636" y="94202"/>
                  </a:cubicBezTo>
                  <a:cubicBezTo>
                    <a:pt x="148590" y="96869"/>
                    <a:pt x="156591" y="100489"/>
                    <a:pt x="163735" y="104870"/>
                  </a:cubicBezTo>
                  <a:cubicBezTo>
                    <a:pt x="170878" y="109347"/>
                    <a:pt x="177356" y="114586"/>
                    <a:pt x="183166" y="120491"/>
                  </a:cubicBezTo>
                  <a:cubicBezTo>
                    <a:pt x="188976" y="126492"/>
                    <a:pt x="194119" y="132683"/>
                    <a:pt x="198596" y="139255"/>
                  </a:cubicBezTo>
                  <a:lnTo>
                    <a:pt x="198596" y="0"/>
                  </a:lnTo>
                  <a:lnTo>
                    <a:pt x="232981" y="0"/>
                  </a:lnTo>
                  <a:lnTo>
                    <a:pt x="232981" y="325850"/>
                  </a:lnTo>
                  <a:lnTo>
                    <a:pt x="198596" y="325850"/>
                  </a:lnTo>
                  <a:lnTo>
                    <a:pt x="198596" y="279463"/>
                  </a:lnTo>
                  <a:cubicBezTo>
                    <a:pt x="193834" y="286321"/>
                    <a:pt x="188595" y="292894"/>
                    <a:pt x="182785" y="299085"/>
                  </a:cubicBezTo>
                  <a:cubicBezTo>
                    <a:pt x="176974" y="305371"/>
                    <a:pt x="170498" y="310896"/>
                    <a:pt x="163354" y="315658"/>
                  </a:cubicBezTo>
                  <a:cubicBezTo>
                    <a:pt x="156210" y="320421"/>
                    <a:pt x="148209" y="324136"/>
                    <a:pt x="139446" y="326803"/>
                  </a:cubicBezTo>
                  <a:cubicBezTo>
                    <a:pt x="130683" y="329470"/>
                    <a:pt x="120967" y="330803"/>
                    <a:pt x="110204" y="330803"/>
                  </a:cubicBezTo>
                  <a:close/>
                  <a:moveTo>
                    <a:pt x="116491" y="300133"/>
                  </a:moveTo>
                  <a:cubicBezTo>
                    <a:pt x="127159" y="300133"/>
                    <a:pt x="137541" y="297942"/>
                    <a:pt x="147542" y="293656"/>
                  </a:cubicBezTo>
                  <a:cubicBezTo>
                    <a:pt x="157544" y="289369"/>
                    <a:pt x="166402" y="283273"/>
                    <a:pt x="174307" y="275368"/>
                  </a:cubicBezTo>
                  <a:cubicBezTo>
                    <a:pt x="182213" y="267462"/>
                    <a:pt x="188404" y="258127"/>
                    <a:pt x="193072" y="247269"/>
                  </a:cubicBezTo>
                  <a:cubicBezTo>
                    <a:pt x="197644" y="236410"/>
                    <a:pt x="200025" y="224314"/>
                    <a:pt x="200025" y="210883"/>
                  </a:cubicBezTo>
                  <a:lnTo>
                    <a:pt x="200025" y="210026"/>
                  </a:lnTo>
                  <a:cubicBezTo>
                    <a:pt x="200025" y="196596"/>
                    <a:pt x="197739" y="184499"/>
                    <a:pt x="193072" y="173641"/>
                  </a:cubicBezTo>
                  <a:cubicBezTo>
                    <a:pt x="188500" y="162782"/>
                    <a:pt x="182213" y="153448"/>
                    <a:pt x="174307" y="145732"/>
                  </a:cubicBezTo>
                  <a:cubicBezTo>
                    <a:pt x="166402" y="138017"/>
                    <a:pt x="157448" y="132016"/>
                    <a:pt x="147542" y="127635"/>
                  </a:cubicBezTo>
                  <a:cubicBezTo>
                    <a:pt x="137541" y="123349"/>
                    <a:pt x="127254" y="121158"/>
                    <a:pt x="116491" y="121158"/>
                  </a:cubicBezTo>
                  <a:cubicBezTo>
                    <a:pt x="105156" y="121158"/>
                    <a:pt x="94583" y="123158"/>
                    <a:pt x="84772" y="127159"/>
                  </a:cubicBezTo>
                  <a:cubicBezTo>
                    <a:pt x="74962" y="131159"/>
                    <a:pt x="66389" y="136969"/>
                    <a:pt x="59150" y="144589"/>
                  </a:cubicBezTo>
                  <a:cubicBezTo>
                    <a:pt x="51816" y="152114"/>
                    <a:pt x="46101" y="161449"/>
                    <a:pt x="41719" y="172498"/>
                  </a:cubicBezTo>
                  <a:cubicBezTo>
                    <a:pt x="37433" y="183451"/>
                    <a:pt x="35242" y="196024"/>
                    <a:pt x="35242" y="210026"/>
                  </a:cubicBezTo>
                  <a:lnTo>
                    <a:pt x="35242" y="210883"/>
                  </a:lnTo>
                  <a:cubicBezTo>
                    <a:pt x="35242" y="224599"/>
                    <a:pt x="37433" y="236982"/>
                    <a:pt x="41719" y="247936"/>
                  </a:cubicBezTo>
                  <a:cubicBezTo>
                    <a:pt x="46006" y="258984"/>
                    <a:pt x="51911" y="268319"/>
                    <a:pt x="59341" y="276034"/>
                  </a:cubicBezTo>
                  <a:cubicBezTo>
                    <a:pt x="66770" y="283750"/>
                    <a:pt x="75438" y="289750"/>
                    <a:pt x="85249" y="293941"/>
                  </a:cubicBezTo>
                  <a:cubicBezTo>
                    <a:pt x="95059" y="298132"/>
                    <a:pt x="105442" y="300228"/>
                    <a:pt x="116491" y="300228"/>
                  </a:cubicBezTo>
                  <a:close/>
                </a:path>
              </a:pathLst>
            </a:custGeom>
            <a:solidFill>
              <a:srgbClr val="44505E"/>
            </a:solidFill>
            <a:ln w="9525" cap="flat">
              <a:noFill/>
              <a:prstDash val="solid"/>
              <a:miter/>
            </a:ln>
          </p:spPr>
          <p:txBody>
            <a:bodyPr rtlCol="0" anchor="ctr"/>
            <a:lstStyle/>
            <a:p>
              <a:endParaRPr lang="pt-BR" noProof="0"/>
            </a:p>
          </p:txBody>
        </p:sp>
        <p:sp>
          <p:nvSpPr>
            <p:cNvPr id="39" name="Freeform: Shape 38">
              <a:extLst>
                <a:ext uri="{FF2B5EF4-FFF2-40B4-BE49-F238E27FC236}">
                  <a16:creationId xmlns:a16="http://schemas.microsoft.com/office/drawing/2014/main" id="{C1836B89-43E2-6791-CA09-5D5FBF3C7547}"/>
                </a:ext>
              </a:extLst>
            </p:cNvPr>
            <p:cNvSpPr/>
            <p:nvPr/>
          </p:nvSpPr>
          <p:spPr>
            <a:xfrm>
              <a:off x="5596504"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6963 w 218217"/>
                <a:gd name="connsiteY3" fmla="*/ 206026 h 241077"/>
                <a:gd name="connsiteX4" fmla="*/ 116015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8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1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452 w 218217"/>
                <a:gd name="connsiteY25" fmla="*/ 106299 h 241077"/>
                <a:gd name="connsiteX26" fmla="*/ 176784 w 218217"/>
                <a:gd name="connsiteY26" fmla="*/ 76771 h 241077"/>
                <a:gd name="connsiteX27" fmla="*/ 162306 w 218217"/>
                <a:gd name="connsiteY27" fmla="*/ 52101 h 241077"/>
                <a:gd name="connsiteX28" fmla="*/ 140018 w 218217"/>
                <a:gd name="connsiteY28" fmla="*/ 35242 h 241077"/>
                <a:gd name="connsiteX29" fmla="*/ 109919 w 218217"/>
                <a:gd name="connsiteY29" fmla="*/ 29051 h 241077"/>
                <a:gd name="connsiteX30" fmla="*/ 82201 w 218217"/>
                <a:gd name="connsiteY30" fmla="*/ 34766 h 241077"/>
                <a:gd name="connsiteX31" fmla="*/ 59436 w 218217"/>
                <a:gd name="connsiteY31" fmla="*/ 50959 h 241077"/>
                <a:gd name="connsiteX32" fmla="*/ 43148 w 218217"/>
                <a:gd name="connsiteY32" fmla="*/ 75628 h 241077"/>
                <a:gd name="connsiteX33" fmla="*/ 34862 w 218217"/>
                <a:gd name="connsiteY33" fmla="*/ 106204 h 241077"/>
                <a:gd name="connsiteX34" fmla="*/ 183547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724" y="202597"/>
                    <a:pt x="86963" y="206026"/>
                  </a:cubicBezTo>
                  <a:cubicBezTo>
                    <a:pt x="96203" y="209455"/>
                    <a:pt x="105823" y="211169"/>
                    <a:pt x="116015" y="211169"/>
                  </a:cubicBezTo>
                  <a:cubicBezTo>
                    <a:pt x="132112" y="211169"/>
                    <a:pt x="145828" y="208216"/>
                    <a:pt x="157353" y="202216"/>
                  </a:cubicBezTo>
                  <a:cubicBezTo>
                    <a:pt x="168783" y="196310"/>
                    <a:pt x="179261" y="188404"/>
                    <a:pt x="188786" y="178594"/>
                  </a:cubicBezTo>
                  <a:lnTo>
                    <a:pt x="210217" y="197834"/>
                  </a:lnTo>
                  <a:cubicBezTo>
                    <a:pt x="198596" y="210979"/>
                    <a:pt x="185357" y="221361"/>
                    <a:pt x="170498" y="229267"/>
                  </a:cubicBezTo>
                  <a:cubicBezTo>
                    <a:pt x="155639"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679" y="0"/>
                    <a:pt x="110681"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452" y="106299"/>
                  </a:moveTo>
                  <a:cubicBezTo>
                    <a:pt x="182594" y="95917"/>
                    <a:pt x="180308" y="86106"/>
                    <a:pt x="176784" y="76771"/>
                  </a:cubicBezTo>
                  <a:cubicBezTo>
                    <a:pt x="173165" y="67437"/>
                    <a:pt x="168402" y="59245"/>
                    <a:pt x="162306" y="52101"/>
                  </a:cubicBezTo>
                  <a:cubicBezTo>
                    <a:pt x="156210" y="44958"/>
                    <a:pt x="148781" y="39338"/>
                    <a:pt x="140018" y="35242"/>
                  </a:cubicBezTo>
                  <a:cubicBezTo>
                    <a:pt x="131254" y="31147"/>
                    <a:pt x="121158" y="29051"/>
                    <a:pt x="109919" y="29051"/>
                  </a:cubicBezTo>
                  <a:cubicBezTo>
                    <a:pt x="100108" y="29051"/>
                    <a:pt x="90869" y="30956"/>
                    <a:pt x="82201" y="34766"/>
                  </a:cubicBezTo>
                  <a:cubicBezTo>
                    <a:pt x="73533" y="38671"/>
                    <a:pt x="66008" y="44005"/>
                    <a:pt x="59436" y="50959"/>
                  </a:cubicBezTo>
                  <a:cubicBezTo>
                    <a:pt x="52864" y="57912"/>
                    <a:pt x="47435" y="66103"/>
                    <a:pt x="43148" y="75628"/>
                  </a:cubicBezTo>
                  <a:cubicBezTo>
                    <a:pt x="38862" y="85058"/>
                    <a:pt x="36100" y="95345"/>
                    <a:pt x="34862" y="106204"/>
                  </a:cubicBezTo>
                  <a:lnTo>
                    <a:pt x="183547" y="106204"/>
                  </a:lnTo>
                  <a:close/>
                </a:path>
              </a:pathLst>
            </a:custGeom>
            <a:solidFill>
              <a:srgbClr val="44505E"/>
            </a:solidFill>
            <a:ln w="9525" cap="flat">
              <a:noFill/>
              <a:prstDash val="solid"/>
              <a:miter/>
            </a:ln>
          </p:spPr>
          <p:txBody>
            <a:bodyPr rtlCol="0" anchor="ctr"/>
            <a:lstStyle/>
            <a:p>
              <a:endParaRPr lang="pt-BR" noProof="0"/>
            </a:p>
          </p:txBody>
        </p:sp>
        <p:sp>
          <p:nvSpPr>
            <p:cNvPr id="40" name="Freeform: Shape 39">
              <a:extLst>
                <a:ext uri="{FF2B5EF4-FFF2-40B4-BE49-F238E27FC236}">
                  <a16:creationId xmlns:a16="http://schemas.microsoft.com/office/drawing/2014/main" id="{10FA4940-2FC9-E206-45C3-DA41E1A9C59D}"/>
                </a:ext>
              </a:extLst>
            </p:cNvPr>
            <p:cNvSpPr/>
            <p:nvPr/>
          </p:nvSpPr>
          <p:spPr>
            <a:xfrm>
              <a:off x="5661680" y="924268"/>
              <a:ext cx="44656" cy="60195"/>
            </a:xfrm>
            <a:custGeom>
              <a:avLst/>
              <a:gdLst>
                <a:gd name="connsiteX0" fmla="*/ 95536 w 177641"/>
                <a:gd name="connsiteY0" fmla="*/ 239268 h 239458"/>
                <a:gd name="connsiteX1" fmla="*/ 45053 w 177641"/>
                <a:gd name="connsiteY1" fmla="*/ 230124 h 239458"/>
                <a:gd name="connsiteX2" fmla="*/ 0 w 177641"/>
                <a:gd name="connsiteY2" fmla="*/ 205359 h 239458"/>
                <a:gd name="connsiteX3" fmla="*/ 17431 w 177641"/>
                <a:gd name="connsiteY3" fmla="*/ 180785 h 239458"/>
                <a:gd name="connsiteX4" fmla="*/ 56483 w 177641"/>
                <a:gd name="connsiteY4" fmla="*/ 202692 h 239458"/>
                <a:gd name="connsiteX5" fmla="*/ 97346 w 177641"/>
                <a:gd name="connsiteY5" fmla="*/ 210217 h 239458"/>
                <a:gd name="connsiteX6" fmla="*/ 131731 w 177641"/>
                <a:gd name="connsiteY6" fmla="*/ 200406 h 239458"/>
                <a:gd name="connsiteX7" fmla="*/ 145161 w 177641"/>
                <a:gd name="connsiteY7" fmla="*/ 173641 h 239458"/>
                <a:gd name="connsiteX8" fmla="*/ 145161 w 177641"/>
                <a:gd name="connsiteY8" fmla="*/ 172784 h 239458"/>
                <a:gd name="connsiteX9" fmla="*/ 140494 w 177641"/>
                <a:gd name="connsiteY9" fmla="*/ 158020 h 239458"/>
                <a:gd name="connsiteX10" fmla="*/ 127730 w 177641"/>
                <a:gd name="connsiteY10" fmla="*/ 147066 h 239458"/>
                <a:gd name="connsiteX11" fmla="*/ 109157 w 177641"/>
                <a:gd name="connsiteY11" fmla="*/ 138779 h 239458"/>
                <a:gd name="connsiteX12" fmla="*/ 87535 w 177641"/>
                <a:gd name="connsiteY12" fmla="*/ 132112 h 239458"/>
                <a:gd name="connsiteX13" fmla="*/ 60484 w 177641"/>
                <a:gd name="connsiteY13" fmla="*/ 123444 h 239458"/>
                <a:gd name="connsiteX14" fmla="*/ 35909 w 177641"/>
                <a:gd name="connsiteY14" fmla="*/ 111633 h 239458"/>
                <a:gd name="connsiteX15" fmla="*/ 18098 w 177641"/>
                <a:gd name="connsiteY15" fmla="*/ 93726 h 239458"/>
                <a:gd name="connsiteX16" fmla="*/ 11144 w 177641"/>
                <a:gd name="connsiteY16" fmla="*/ 66961 h 239458"/>
                <a:gd name="connsiteX17" fmla="*/ 11144 w 177641"/>
                <a:gd name="connsiteY17" fmla="*/ 66008 h 239458"/>
                <a:gd name="connsiteX18" fmla="*/ 16954 w 177641"/>
                <a:gd name="connsiteY18" fmla="*/ 39053 h 239458"/>
                <a:gd name="connsiteX19" fmla="*/ 33242 w 177641"/>
                <a:gd name="connsiteY19" fmla="*/ 18098 h 239458"/>
                <a:gd name="connsiteX20" fmla="*/ 58293 w 177641"/>
                <a:gd name="connsiteY20" fmla="*/ 4667 h 239458"/>
                <a:gd name="connsiteX21" fmla="*/ 89725 w 177641"/>
                <a:gd name="connsiteY21" fmla="*/ 0 h 239458"/>
                <a:gd name="connsiteX22" fmla="*/ 133064 w 177641"/>
                <a:gd name="connsiteY22" fmla="*/ 6953 h 239458"/>
                <a:gd name="connsiteX23" fmla="*/ 172784 w 177641"/>
                <a:gd name="connsiteY23" fmla="*/ 25527 h 239458"/>
                <a:gd name="connsiteX24" fmla="*/ 157163 w 177641"/>
                <a:gd name="connsiteY24" fmla="*/ 51435 h 239458"/>
                <a:gd name="connsiteX25" fmla="*/ 123444 w 177641"/>
                <a:gd name="connsiteY25" fmla="*/ 35147 h 239458"/>
                <a:gd name="connsiteX26" fmla="*/ 88868 w 177641"/>
                <a:gd name="connsiteY26" fmla="*/ 29146 h 239458"/>
                <a:gd name="connsiteX27" fmla="*/ 56293 w 177641"/>
                <a:gd name="connsiteY27" fmla="*/ 38767 h 239458"/>
                <a:gd name="connsiteX28" fmla="*/ 44196 w 177641"/>
                <a:gd name="connsiteY28" fmla="*/ 62675 h 239458"/>
                <a:gd name="connsiteX29" fmla="*/ 44196 w 177641"/>
                <a:gd name="connsiteY29" fmla="*/ 63627 h 239458"/>
                <a:gd name="connsiteX30" fmla="*/ 49149 w 177641"/>
                <a:gd name="connsiteY30" fmla="*/ 77724 h 239458"/>
                <a:gd name="connsiteX31" fmla="*/ 62294 w 177641"/>
                <a:gd name="connsiteY31" fmla="*/ 88202 h 239458"/>
                <a:gd name="connsiteX32" fmla="*/ 81248 w 177641"/>
                <a:gd name="connsiteY32" fmla="*/ 96203 h 239458"/>
                <a:gd name="connsiteX33" fmla="*/ 103537 w 177641"/>
                <a:gd name="connsiteY33" fmla="*/ 103346 h 239458"/>
                <a:gd name="connsiteX34" fmla="*/ 130112 w 177641"/>
                <a:gd name="connsiteY34" fmla="*/ 112300 h 239458"/>
                <a:gd name="connsiteX35" fmla="*/ 154019 w 177641"/>
                <a:gd name="connsiteY35" fmla="*/ 124778 h 239458"/>
                <a:gd name="connsiteX36" fmla="*/ 171164 w 177641"/>
                <a:gd name="connsiteY36" fmla="*/ 143066 h 239458"/>
                <a:gd name="connsiteX37" fmla="*/ 177641 w 177641"/>
                <a:gd name="connsiteY37" fmla="*/ 169450 h 239458"/>
                <a:gd name="connsiteX38" fmla="*/ 177641 w 177641"/>
                <a:gd name="connsiteY38" fmla="*/ 170307 h 239458"/>
                <a:gd name="connsiteX39" fmla="*/ 171164 w 177641"/>
                <a:gd name="connsiteY39" fmla="*/ 199549 h 239458"/>
                <a:gd name="connsiteX40" fmla="*/ 153734 w 177641"/>
                <a:gd name="connsiteY40" fmla="*/ 221171 h 239458"/>
                <a:gd name="connsiteX41" fmla="*/ 127825 w 177641"/>
                <a:gd name="connsiteY41" fmla="*/ 234791 h 239458"/>
                <a:gd name="connsiteX42" fmla="*/ 95441 w 177641"/>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641" h="239458">
                  <a:moveTo>
                    <a:pt x="95536" y="239268"/>
                  </a:moveTo>
                  <a:cubicBezTo>
                    <a:pt x="78867" y="239268"/>
                    <a:pt x="62008" y="236220"/>
                    <a:pt x="45053" y="230124"/>
                  </a:cubicBezTo>
                  <a:cubicBezTo>
                    <a:pt x="28099" y="224028"/>
                    <a:pt x="13049" y="215741"/>
                    <a:pt x="0" y="205359"/>
                  </a:cubicBezTo>
                  <a:lnTo>
                    <a:pt x="17431" y="180785"/>
                  </a:lnTo>
                  <a:cubicBezTo>
                    <a:pt x="29908"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542" y="162211"/>
                    <a:pt x="140494" y="158020"/>
                  </a:cubicBezTo>
                  <a:cubicBezTo>
                    <a:pt x="137350" y="153829"/>
                    <a:pt x="133160" y="150209"/>
                    <a:pt x="127730" y="147066"/>
                  </a:cubicBezTo>
                  <a:cubicBezTo>
                    <a:pt x="122396" y="143923"/>
                    <a:pt x="116205" y="141161"/>
                    <a:pt x="109157" y="138779"/>
                  </a:cubicBezTo>
                  <a:cubicBezTo>
                    <a:pt x="102203" y="136398"/>
                    <a:pt x="94964" y="134207"/>
                    <a:pt x="87535" y="132112"/>
                  </a:cubicBezTo>
                  <a:cubicBezTo>
                    <a:pt x="78581" y="129445"/>
                    <a:pt x="69628" y="126492"/>
                    <a:pt x="60484" y="123444"/>
                  </a:cubicBezTo>
                  <a:cubicBezTo>
                    <a:pt x="51435" y="120301"/>
                    <a:pt x="43244" y="116396"/>
                    <a:pt x="35909" y="111633"/>
                  </a:cubicBezTo>
                  <a:cubicBezTo>
                    <a:pt x="28575" y="106871"/>
                    <a:pt x="22670" y="100870"/>
                    <a:pt x="18098" y="93726"/>
                  </a:cubicBezTo>
                  <a:cubicBezTo>
                    <a:pt x="13525" y="86582"/>
                    <a:pt x="11144" y="77629"/>
                    <a:pt x="11144" y="66961"/>
                  </a:cubicBezTo>
                  <a:lnTo>
                    <a:pt x="11144" y="66008"/>
                  </a:lnTo>
                  <a:cubicBezTo>
                    <a:pt x="11144" y="56198"/>
                    <a:pt x="13049" y="47149"/>
                    <a:pt x="16954" y="39053"/>
                  </a:cubicBezTo>
                  <a:cubicBezTo>
                    <a:pt x="20860" y="30861"/>
                    <a:pt x="26289" y="23908"/>
                    <a:pt x="33242" y="18098"/>
                  </a:cubicBezTo>
                  <a:cubicBezTo>
                    <a:pt x="40196" y="12287"/>
                    <a:pt x="48578" y="7811"/>
                    <a:pt x="58293" y="4667"/>
                  </a:cubicBezTo>
                  <a:cubicBezTo>
                    <a:pt x="67913" y="1524"/>
                    <a:pt x="78486" y="0"/>
                    <a:pt x="89725" y="0"/>
                  </a:cubicBezTo>
                  <a:cubicBezTo>
                    <a:pt x="104013" y="0"/>
                    <a:pt x="118396" y="2286"/>
                    <a:pt x="133064" y="6953"/>
                  </a:cubicBezTo>
                  <a:cubicBezTo>
                    <a:pt x="147638" y="11621"/>
                    <a:pt x="160877" y="17717"/>
                    <a:pt x="172784" y="25527"/>
                  </a:cubicBezTo>
                  <a:lnTo>
                    <a:pt x="157163" y="51435"/>
                  </a:lnTo>
                  <a:cubicBezTo>
                    <a:pt x="146399" y="44577"/>
                    <a:pt x="135255" y="39148"/>
                    <a:pt x="123444" y="35147"/>
                  </a:cubicBezTo>
                  <a:cubicBezTo>
                    <a:pt x="111728" y="31147"/>
                    <a:pt x="100203" y="29146"/>
                    <a:pt x="88868" y="29146"/>
                  </a:cubicBezTo>
                  <a:cubicBezTo>
                    <a:pt x="75152" y="29146"/>
                    <a:pt x="64294" y="32385"/>
                    <a:pt x="56293" y="38767"/>
                  </a:cubicBezTo>
                  <a:cubicBezTo>
                    <a:pt x="48292" y="45149"/>
                    <a:pt x="44196" y="53150"/>
                    <a:pt x="44196" y="62675"/>
                  </a:cubicBezTo>
                  <a:lnTo>
                    <a:pt x="44196" y="63627"/>
                  </a:lnTo>
                  <a:cubicBezTo>
                    <a:pt x="44196" y="68961"/>
                    <a:pt x="45815" y="73628"/>
                    <a:pt x="49149" y="77724"/>
                  </a:cubicBezTo>
                  <a:cubicBezTo>
                    <a:pt x="52388" y="81725"/>
                    <a:pt x="56769" y="85249"/>
                    <a:pt x="62294" y="88202"/>
                  </a:cubicBezTo>
                  <a:cubicBezTo>
                    <a:pt x="67818" y="91154"/>
                    <a:pt x="74104" y="93821"/>
                    <a:pt x="81248" y="96203"/>
                  </a:cubicBezTo>
                  <a:cubicBezTo>
                    <a:pt x="88392" y="98584"/>
                    <a:pt x="95821" y="100965"/>
                    <a:pt x="103537" y="103346"/>
                  </a:cubicBezTo>
                  <a:cubicBezTo>
                    <a:pt x="112490" y="106013"/>
                    <a:pt x="121349" y="108966"/>
                    <a:pt x="130112" y="112300"/>
                  </a:cubicBezTo>
                  <a:cubicBezTo>
                    <a:pt x="138875" y="115538"/>
                    <a:pt x="146875" y="119729"/>
                    <a:pt x="154019" y="124778"/>
                  </a:cubicBezTo>
                  <a:cubicBezTo>
                    <a:pt x="161163" y="129826"/>
                    <a:pt x="166878" y="135922"/>
                    <a:pt x="171164" y="143066"/>
                  </a:cubicBezTo>
                  <a:cubicBezTo>
                    <a:pt x="175450" y="150209"/>
                    <a:pt x="177641" y="158972"/>
                    <a:pt x="177641" y="169450"/>
                  </a:cubicBezTo>
                  <a:lnTo>
                    <a:pt x="177641" y="170307"/>
                  </a:lnTo>
                  <a:cubicBezTo>
                    <a:pt x="177641" y="181356"/>
                    <a:pt x="175450" y="191071"/>
                    <a:pt x="171164" y="199549"/>
                  </a:cubicBezTo>
                  <a:cubicBezTo>
                    <a:pt x="166878" y="208026"/>
                    <a:pt x="161068" y="215265"/>
                    <a:pt x="153734" y="221171"/>
                  </a:cubicBezTo>
                  <a:cubicBezTo>
                    <a:pt x="146495" y="227171"/>
                    <a:pt x="137827" y="231648"/>
                    <a:pt x="127825" y="234791"/>
                  </a:cubicBezTo>
                  <a:cubicBezTo>
                    <a:pt x="117824" y="237935"/>
                    <a:pt x="107061" y="239459"/>
                    <a:pt x="95441" y="239459"/>
                  </a:cubicBezTo>
                  <a:close/>
                </a:path>
              </a:pathLst>
            </a:custGeom>
            <a:solidFill>
              <a:srgbClr val="44505E"/>
            </a:solidFill>
            <a:ln w="9525" cap="flat">
              <a:noFill/>
              <a:prstDash val="solid"/>
              <a:miter/>
            </a:ln>
          </p:spPr>
          <p:txBody>
            <a:bodyPr rtlCol="0" anchor="ctr"/>
            <a:lstStyle/>
            <a:p>
              <a:endParaRPr lang="pt-BR" noProof="0"/>
            </a:p>
          </p:txBody>
        </p:sp>
        <p:sp>
          <p:nvSpPr>
            <p:cNvPr id="41" name="Freeform: Shape 40">
              <a:extLst>
                <a:ext uri="{FF2B5EF4-FFF2-40B4-BE49-F238E27FC236}">
                  <a16:creationId xmlns:a16="http://schemas.microsoft.com/office/drawing/2014/main" id="{FEF797D5-3BC3-38F3-6032-9F169E4B94EE}"/>
                </a:ext>
              </a:extLst>
            </p:cNvPr>
            <p:cNvSpPr/>
            <p:nvPr/>
          </p:nvSpPr>
          <p:spPr>
            <a:xfrm>
              <a:off x="5752668" y="924028"/>
              <a:ext cx="58567" cy="77196"/>
            </a:xfrm>
            <a:custGeom>
              <a:avLst/>
              <a:gdLst>
                <a:gd name="connsiteX0" fmla="*/ 198596 w 232981"/>
                <a:gd name="connsiteY0" fmla="*/ 189357 h 307085"/>
                <a:gd name="connsiteX1" fmla="*/ 182785 w 232981"/>
                <a:gd name="connsiteY1" fmla="*/ 208978 h 307085"/>
                <a:gd name="connsiteX2" fmla="*/ 163354 w 232981"/>
                <a:gd name="connsiteY2" fmla="*/ 225552 h 307085"/>
                <a:gd name="connsiteX3" fmla="*/ 139446 w 232981"/>
                <a:gd name="connsiteY3" fmla="*/ 236696 h 307085"/>
                <a:gd name="connsiteX4" fmla="*/ 110204 w 232981"/>
                <a:gd name="connsiteY4" fmla="*/ 240697 h 307085"/>
                <a:gd name="connsiteX5" fmla="*/ 69628 w 232981"/>
                <a:gd name="connsiteY5" fmla="*/ 232696 h 307085"/>
                <a:gd name="connsiteX6" fmla="*/ 34385 w 232981"/>
                <a:gd name="connsiteY6" fmla="*/ 209264 h 307085"/>
                <a:gd name="connsiteX7" fmla="*/ 9335 w 232981"/>
                <a:gd name="connsiteY7" fmla="*/ 171736 h 307085"/>
                <a:gd name="connsiteX8" fmla="*/ 0 w 232981"/>
                <a:gd name="connsiteY8" fmla="*/ 121063 h 307085"/>
                <a:gd name="connsiteX9" fmla="*/ 0 w 232981"/>
                <a:gd name="connsiteY9" fmla="*/ 120205 h 307085"/>
                <a:gd name="connsiteX10" fmla="*/ 9335 w 232981"/>
                <a:gd name="connsiteY10" fmla="*/ 69723 h 307085"/>
                <a:gd name="connsiteX11" fmla="*/ 34385 w 232981"/>
                <a:gd name="connsiteY11" fmla="*/ 32004 h 307085"/>
                <a:gd name="connsiteX12" fmla="*/ 69628 w 232981"/>
                <a:gd name="connsiteY12" fmla="*/ 8287 h 307085"/>
                <a:gd name="connsiteX13" fmla="*/ 110204 w 232981"/>
                <a:gd name="connsiteY13" fmla="*/ 0 h 307085"/>
                <a:gd name="connsiteX14" fmla="*/ 139637 w 232981"/>
                <a:gd name="connsiteY14" fmla="*/ 4000 h 307085"/>
                <a:gd name="connsiteX15" fmla="*/ 163735 w 232981"/>
                <a:gd name="connsiteY15" fmla="*/ 14668 h 307085"/>
                <a:gd name="connsiteX16" fmla="*/ 183166 w 232981"/>
                <a:gd name="connsiteY16" fmla="*/ 30289 h 307085"/>
                <a:gd name="connsiteX17" fmla="*/ 198596 w 232981"/>
                <a:gd name="connsiteY17" fmla="*/ 49054 h 307085"/>
                <a:gd name="connsiteX18" fmla="*/ 198596 w 232981"/>
                <a:gd name="connsiteY18" fmla="*/ 4858 h 307085"/>
                <a:gd name="connsiteX19" fmla="*/ 232982 w 232981"/>
                <a:gd name="connsiteY19" fmla="*/ 4858 h 307085"/>
                <a:gd name="connsiteX20" fmla="*/ 232982 w 232981"/>
                <a:gd name="connsiteY20" fmla="*/ 307086 h 307085"/>
                <a:gd name="connsiteX21" fmla="*/ 198596 w 232981"/>
                <a:gd name="connsiteY21" fmla="*/ 307086 h 307085"/>
                <a:gd name="connsiteX22" fmla="*/ 198596 w 232981"/>
                <a:gd name="connsiteY22" fmla="*/ 189262 h 307085"/>
                <a:gd name="connsiteX23" fmla="*/ 116491 w 232981"/>
                <a:gd name="connsiteY23" fmla="*/ 209931 h 307085"/>
                <a:gd name="connsiteX24" fmla="*/ 147542 w 232981"/>
                <a:gd name="connsiteY24" fmla="*/ 203454 h 307085"/>
                <a:gd name="connsiteX25" fmla="*/ 174308 w 232981"/>
                <a:gd name="connsiteY25" fmla="*/ 185166 h 307085"/>
                <a:gd name="connsiteX26" fmla="*/ 193072 w 232981"/>
                <a:gd name="connsiteY26" fmla="*/ 157067 h 307085"/>
                <a:gd name="connsiteX27" fmla="*/ 200025 w 232981"/>
                <a:gd name="connsiteY27" fmla="*/ 120682 h 307085"/>
                <a:gd name="connsiteX28" fmla="*/ 200025 w 232981"/>
                <a:gd name="connsiteY28" fmla="*/ 119824 h 307085"/>
                <a:gd name="connsiteX29" fmla="*/ 193072 w 232981"/>
                <a:gd name="connsiteY29" fmla="*/ 83439 h 307085"/>
                <a:gd name="connsiteX30" fmla="*/ 174308 w 232981"/>
                <a:gd name="connsiteY30" fmla="*/ 55531 h 307085"/>
                <a:gd name="connsiteX31" fmla="*/ 147542 w 232981"/>
                <a:gd name="connsiteY31" fmla="*/ 37433 h 307085"/>
                <a:gd name="connsiteX32" fmla="*/ 116491 w 232981"/>
                <a:gd name="connsiteY32" fmla="*/ 30956 h 307085"/>
                <a:gd name="connsiteX33" fmla="*/ 84773 w 232981"/>
                <a:gd name="connsiteY33" fmla="*/ 36957 h 307085"/>
                <a:gd name="connsiteX34" fmla="*/ 59150 w 232981"/>
                <a:gd name="connsiteY34" fmla="*/ 54388 h 307085"/>
                <a:gd name="connsiteX35" fmla="*/ 41720 w 232981"/>
                <a:gd name="connsiteY35" fmla="*/ 82296 h 307085"/>
                <a:gd name="connsiteX36" fmla="*/ 35242 w 232981"/>
                <a:gd name="connsiteY36" fmla="*/ 119824 h 307085"/>
                <a:gd name="connsiteX37" fmla="*/ 35242 w 232981"/>
                <a:gd name="connsiteY37" fmla="*/ 120682 h 307085"/>
                <a:gd name="connsiteX38" fmla="*/ 41720 w 232981"/>
                <a:gd name="connsiteY38" fmla="*/ 157734 h 307085"/>
                <a:gd name="connsiteX39" fmla="*/ 59341 w 232981"/>
                <a:gd name="connsiteY39" fmla="*/ 185833 h 307085"/>
                <a:gd name="connsiteX40" fmla="*/ 85249 w 232981"/>
                <a:gd name="connsiteY40" fmla="*/ 203740 h 307085"/>
                <a:gd name="connsiteX41" fmla="*/ 116491 w 232981"/>
                <a:gd name="connsiteY41" fmla="*/ 210026 h 30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07085">
                  <a:moveTo>
                    <a:pt x="198596" y="189357"/>
                  </a:moveTo>
                  <a:cubicBezTo>
                    <a:pt x="193834" y="196215"/>
                    <a:pt x="188595" y="202787"/>
                    <a:pt x="182785" y="208978"/>
                  </a:cubicBezTo>
                  <a:cubicBezTo>
                    <a:pt x="176975" y="215265"/>
                    <a:pt x="170498" y="220789"/>
                    <a:pt x="163354" y="225552"/>
                  </a:cubicBezTo>
                  <a:cubicBezTo>
                    <a:pt x="156210" y="230314"/>
                    <a:pt x="148209" y="234029"/>
                    <a:pt x="139446" y="236696"/>
                  </a:cubicBezTo>
                  <a:cubicBezTo>
                    <a:pt x="130683" y="239363"/>
                    <a:pt x="120967" y="240697"/>
                    <a:pt x="110204" y="240697"/>
                  </a:cubicBezTo>
                  <a:cubicBezTo>
                    <a:pt x="96203" y="240697"/>
                    <a:pt x="82677" y="238030"/>
                    <a:pt x="69628" y="232696"/>
                  </a:cubicBezTo>
                  <a:cubicBezTo>
                    <a:pt x="56579" y="227362"/>
                    <a:pt x="44767" y="219551"/>
                    <a:pt x="34385" y="209264"/>
                  </a:cubicBezTo>
                  <a:cubicBezTo>
                    <a:pt x="24003" y="198977"/>
                    <a:pt x="15621" y="186499"/>
                    <a:pt x="9335" y="171736"/>
                  </a:cubicBezTo>
                  <a:cubicBezTo>
                    <a:pt x="3048" y="156972"/>
                    <a:pt x="0" y="140113"/>
                    <a:pt x="0" y="121063"/>
                  </a:cubicBezTo>
                  <a:lnTo>
                    <a:pt x="0" y="120205"/>
                  </a:lnTo>
                  <a:cubicBezTo>
                    <a:pt x="0" y="101441"/>
                    <a:pt x="3143" y="84677"/>
                    <a:pt x="9335" y="69723"/>
                  </a:cubicBezTo>
                  <a:cubicBezTo>
                    <a:pt x="15621" y="54864"/>
                    <a:pt x="23908" y="42291"/>
                    <a:pt x="34385" y="32004"/>
                  </a:cubicBezTo>
                  <a:cubicBezTo>
                    <a:pt x="44767" y="21717"/>
                    <a:pt x="56579" y="13811"/>
                    <a:pt x="69628" y="8287"/>
                  </a:cubicBezTo>
                  <a:cubicBezTo>
                    <a:pt x="82677" y="2762"/>
                    <a:pt x="96298" y="0"/>
                    <a:pt x="110204" y="0"/>
                  </a:cubicBezTo>
                  <a:cubicBezTo>
                    <a:pt x="120967" y="0"/>
                    <a:pt x="130778" y="1333"/>
                    <a:pt x="139637" y="4000"/>
                  </a:cubicBezTo>
                  <a:cubicBezTo>
                    <a:pt x="148590" y="6667"/>
                    <a:pt x="156591" y="10287"/>
                    <a:pt x="163735" y="14668"/>
                  </a:cubicBezTo>
                  <a:cubicBezTo>
                    <a:pt x="170879" y="19145"/>
                    <a:pt x="177356" y="24384"/>
                    <a:pt x="183166" y="30289"/>
                  </a:cubicBezTo>
                  <a:cubicBezTo>
                    <a:pt x="188976" y="36290"/>
                    <a:pt x="194120" y="42481"/>
                    <a:pt x="198596" y="49054"/>
                  </a:cubicBezTo>
                  <a:lnTo>
                    <a:pt x="198596" y="4858"/>
                  </a:lnTo>
                  <a:lnTo>
                    <a:pt x="232982" y="4858"/>
                  </a:lnTo>
                  <a:lnTo>
                    <a:pt x="232982" y="307086"/>
                  </a:lnTo>
                  <a:lnTo>
                    <a:pt x="198596" y="307086"/>
                  </a:lnTo>
                  <a:lnTo>
                    <a:pt x="198596" y="189262"/>
                  </a:lnTo>
                  <a:close/>
                  <a:moveTo>
                    <a:pt x="116491" y="209931"/>
                  </a:moveTo>
                  <a:cubicBezTo>
                    <a:pt x="127159" y="209931"/>
                    <a:pt x="137541" y="207740"/>
                    <a:pt x="147542" y="203454"/>
                  </a:cubicBezTo>
                  <a:cubicBezTo>
                    <a:pt x="157544" y="199168"/>
                    <a:pt x="166402" y="193072"/>
                    <a:pt x="174308" y="185166"/>
                  </a:cubicBezTo>
                  <a:cubicBezTo>
                    <a:pt x="182213" y="177260"/>
                    <a:pt x="188404" y="167926"/>
                    <a:pt x="193072" y="157067"/>
                  </a:cubicBezTo>
                  <a:cubicBezTo>
                    <a:pt x="197739" y="146209"/>
                    <a:pt x="200025" y="134112"/>
                    <a:pt x="200025" y="120682"/>
                  </a:cubicBezTo>
                  <a:lnTo>
                    <a:pt x="200025" y="119824"/>
                  </a:lnTo>
                  <a:cubicBezTo>
                    <a:pt x="200025" y="106394"/>
                    <a:pt x="197739" y="94297"/>
                    <a:pt x="193072" y="83439"/>
                  </a:cubicBezTo>
                  <a:cubicBezTo>
                    <a:pt x="188500" y="72580"/>
                    <a:pt x="182213" y="63246"/>
                    <a:pt x="174308" y="55531"/>
                  </a:cubicBezTo>
                  <a:cubicBezTo>
                    <a:pt x="166402" y="47815"/>
                    <a:pt x="157544" y="41815"/>
                    <a:pt x="147542" y="37433"/>
                  </a:cubicBezTo>
                  <a:cubicBezTo>
                    <a:pt x="137541" y="33147"/>
                    <a:pt x="127254" y="30956"/>
                    <a:pt x="116491" y="30956"/>
                  </a:cubicBezTo>
                  <a:cubicBezTo>
                    <a:pt x="105156" y="30956"/>
                    <a:pt x="94583" y="32956"/>
                    <a:pt x="84773" y="36957"/>
                  </a:cubicBezTo>
                  <a:cubicBezTo>
                    <a:pt x="74962" y="40957"/>
                    <a:pt x="66389" y="46767"/>
                    <a:pt x="59150" y="54388"/>
                  </a:cubicBezTo>
                  <a:cubicBezTo>
                    <a:pt x="51816" y="61913"/>
                    <a:pt x="46101" y="71247"/>
                    <a:pt x="41720" y="82296"/>
                  </a:cubicBezTo>
                  <a:cubicBezTo>
                    <a:pt x="37433" y="93250"/>
                    <a:pt x="35242" y="105823"/>
                    <a:pt x="35242" y="119824"/>
                  </a:cubicBezTo>
                  <a:lnTo>
                    <a:pt x="35242" y="120682"/>
                  </a:lnTo>
                  <a:cubicBezTo>
                    <a:pt x="35242" y="134398"/>
                    <a:pt x="37433" y="146780"/>
                    <a:pt x="41720" y="157734"/>
                  </a:cubicBezTo>
                  <a:cubicBezTo>
                    <a:pt x="46006" y="168783"/>
                    <a:pt x="51911" y="178117"/>
                    <a:pt x="59341" y="185833"/>
                  </a:cubicBezTo>
                  <a:cubicBezTo>
                    <a:pt x="66770" y="193548"/>
                    <a:pt x="75438" y="199549"/>
                    <a:pt x="85249" y="203740"/>
                  </a:cubicBezTo>
                  <a:cubicBezTo>
                    <a:pt x="95060" y="207931"/>
                    <a:pt x="105442" y="210026"/>
                    <a:pt x="116491" y="210026"/>
                  </a:cubicBezTo>
                  <a:close/>
                </a:path>
              </a:pathLst>
            </a:custGeom>
            <a:solidFill>
              <a:srgbClr val="44505E"/>
            </a:solidFill>
            <a:ln w="9525" cap="flat">
              <a:noFill/>
              <a:prstDash val="solid"/>
              <a:miter/>
            </a:ln>
          </p:spPr>
          <p:txBody>
            <a:bodyPr rtlCol="0" anchor="ctr"/>
            <a:lstStyle/>
            <a:p>
              <a:endParaRPr lang="pt-BR" noProof="0"/>
            </a:p>
          </p:txBody>
        </p:sp>
        <p:sp>
          <p:nvSpPr>
            <p:cNvPr id="42" name="Freeform: Shape 41">
              <a:extLst>
                <a:ext uri="{FF2B5EF4-FFF2-40B4-BE49-F238E27FC236}">
                  <a16:creationId xmlns:a16="http://schemas.microsoft.com/office/drawing/2014/main" id="{F17971D5-F12B-8CDF-A214-41AC126AB55E}"/>
                </a:ext>
              </a:extLst>
            </p:cNvPr>
            <p:cNvSpPr/>
            <p:nvPr/>
          </p:nvSpPr>
          <p:spPr>
            <a:xfrm>
              <a:off x="5829624" y="925297"/>
              <a:ext cx="50618" cy="59238"/>
            </a:xfrm>
            <a:custGeom>
              <a:avLst/>
              <a:gdLst>
                <a:gd name="connsiteX0" fmla="*/ 88392 w 201358"/>
                <a:gd name="connsiteY0" fmla="*/ 235648 h 235648"/>
                <a:gd name="connsiteX1" fmla="*/ 51149 w 201358"/>
                <a:gd name="connsiteY1" fmla="*/ 228981 h 235648"/>
                <a:gd name="connsiteX2" fmla="*/ 23432 w 201358"/>
                <a:gd name="connsiteY2" fmla="*/ 210026 h 235648"/>
                <a:gd name="connsiteX3" fmla="*/ 6001 w 201358"/>
                <a:gd name="connsiteY3" fmla="*/ 180784 h 235648"/>
                <a:gd name="connsiteX4" fmla="*/ 0 w 201358"/>
                <a:gd name="connsiteY4" fmla="*/ 143256 h 235648"/>
                <a:gd name="connsiteX5" fmla="*/ 0 w 201358"/>
                <a:gd name="connsiteY5" fmla="*/ 0 h 235648"/>
                <a:gd name="connsiteX6" fmla="*/ 34385 w 201358"/>
                <a:gd name="connsiteY6" fmla="*/ 0 h 235648"/>
                <a:gd name="connsiteX7" fmla="*/ 34385 w 201358"/>
                <a:gd name="connsiteY7" fmla="*/ 134493 h 235648"/>
                <a:gd name="connsiteX8" fmla="*/ 50959 w 201358"/>
                <a:gd name="connsiteY8" fmla="*/ 185261 h 235648"/>
                <a:gd name="connsiteX9" fmla="*/ 98298 w 201358"/>
                <a:gd name="connsiteY9" fmla="*/ 203930 h 235648"/>
                <a:gd name="connsiteX10" fmla="*/ 125730 w 201358"/>
                <a:gd name="connsiteY10" fmla="*/ 198787 h 235648"/>
                <a:gd name="connsiteX11" fmla="*/ 147638 w 201358"/>
                <a:gd name="connsiteY11" fmla="*/ 184118 h 235648"/>
                <a:gd name="connsiteX12" fmla="*/ 162116 w 201358"/>
                <a:gd name="connsiteY12" fmla="*/ 161163 h 235648"/>
                <a:gd name="connsiteX13" fmla="*/ 167450 w 201358"/>
                <a:gd name="connsiteY13" fmla="*/ 131826 h 235648"/>
                <a:gd name="connsiteX14" fmla="*/ 167450 w 201358"/>
                <a:gd name="connsiteY14" fmla="*/ 0 h 235648"/>
                <a:gd name="connsiteX15" fmla="*/ 201359 w 201358"/>
                <a:gd name="connsiteY15" fmla="*/ 0 h 235648"/>
                <a:gd name="connsiteX16" fmla="*/ 201359 w 201358"/>
                <a:gd name="connsiteY16" fmla="*/ 230791 h 235648"/>
                <a:gd name="connsiteX17" fmla="*/ 167450 w 201358"/>
                <a:gd name="connsiteY17" fmla="*/ 230791 h 235648"/>
                <a:gd name="connsiteX18" fmla="*/ 167450 w 201358"/>
                <a:gd name="connsiteY18" fmla="*/ 190595 h 235648"/>
                <a:gd name="connsiteX19" fmla="*/ 137065 w 201358"/>
                <a:gd name="connsiteY19" fmla="*/ 222504 h 235648"/>
                <a:gd name="connsiteX20" fmla="*/ 88392 w 201358"/>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358" h="235648">
                  <a:moveTo>
                    <a:pt x="88392" y="235648"/>
                  </a:moveTo>
                  <a:cubicBezTo>
                    <a:pt x="74390" y="235648"/>
                    <a:pt x="62008" y="233363"/>
                    <a:pt x="51149" y="228981"/>
                  </a:cubicBezTo>
                  <a:cubicBezTo>
                    <a:pt x="40291" y="224504"/>
                    <a:pt x="31052" y="218218"/>
                    <a:pt x="23432"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959" y="185261"/>
                  </a:cubicBezTo>
                  <a:cubicBezTo>
                    <a:pt x="61913" y="197739"/>
                    <a:pt x="77724" y="203930"/>
                    <a:pt x="98298" y="203930"/>
                  </a:cubicBezTo>
                  <a:cubicBezTo>
                    <a:pt x="108109" y="203930"/>
                    <a:pt x="117253" y="202216"/>
                    <a:pt x="125730" y="198787"/>
                  </a:cubicBezTo>
                  <a:cubicBezTo>
                    <a:pt x="134207" y="195358"/>
                    <a:pt x="141446" y="190500"/>
                    <a:pt x="147638" y="184118"/>
                  </a:cubicBezTo>
                  <a:cubicBezTo>
                    <a:pt x="153734" y="177736"/>
                    <a:pt x="158591" y="170116"/>
                    <a:pt x="162116" y="161163"/>
                  </a:cubicBezTo>
                  <a:cubicBezTo>
                    <a:pt x="165735" y="152305"/>
                    <a:pt x="167450" y="142494"/>
                    <a:pt x="167450" y="131826"/>
                  </a:cubicBezTo>
                  <a:lnTo>
                    <a:pt x="167450" y="0"/>
                  </a:lnTo>
                  <a:lnTo>
                    <a:pt x="201359" y="0"/>
                  </a:lnTo>
                  <a:lnTo>
                    <a:pt x="201359" y="230791"/>
                  </a:lnTo>
                  <a:lnTo>
                    <a:pt x="167450" y="230791"/>
                  </a:lnTo>
                  <a:lnTo>
                    <a:pt x="167450" y="190595"/>
                  </a:lnTo>
                  <a:cubicBezTo>
                    <a:pt x="159734" y="203073"/>
                    <a:pt x="149543" y="213741"/>
                    <a:pt x="137065" y="222504"/>
                  </a:cubicBezTo>
                  <a:cubicBezTo>
                    <a:pt x="124587" y="231267"/>
                    <a:pt x="108395" y="235648"/>
                    <a:pt x="88392" y="235648"/>
                  </a:cubicBezTo>
                  <a:close/>
                </a:path>
              </a:pathLst>
            </a:custGeom>
            <a:solidFill>
              <a:srgbClr val="44505E"/>
            </a:solidFill>
            <a:ln w="9525" cap="flat">
              <a:noFill/>
              <a:prstDash val="solid"/>
              <a:miter/>
            </a:ln>
          </p:spPr>
          <p:txBody>
            <a:bodyPr rtlCol="0" anchor="ctr"/>
            <a:lstStyle/>
            <a:p>
              <a:endParaRPr lang="pt-BR" noProof="0"/>
            </a:p>
          </p:txBody>
        </p:sp>
        <p:sp>
          <p:nvSpPr>
            <p:cNvPr id="43" name="Freeform: Shape 42">
              <a:extLst>
                <a:ext uri="{FF2B5EF4-FFF2-40B4-BE49-F238E27FC236}">
                  <a16:creationId xmlns:a16="http://schemas.microsoft.com/office/drawing/2014/main" id="{8BC2F800-26CF-9439-3BA7-6A48EC1F9D0B}"/>
                </a:ext>
              </a:extLst>
            </p:cNvPr>
            <p:cNvSpPr/>
            <p:nvPr/>
          </p:nvSpPr>
          <p:spPr>
            <a:xfrm>
              <a:off x="5896069"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7059 w 218217"/>
                <a:gd name="connsiteY3" fmla="*/ 206026 h 241077"/>
                <a:gd name="connsiteX4" fmla="*/ 116110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7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0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356 w 218217"/>
                <a:gd name="connsiteY25" fmla="*/ 106299 h 241077"/>
                <a:gd name="connsiteX26" fmla="*/ 176689 w 218217"/>
                <a:gd name="connsiteY26" fmla="*/ 76771 h 241077"/>
                <a:gd name="connsiteX27" fmla="*/ 162211 w 218217"/>
                <a:gd name="connsiteY27" fmla="*/ 52101 h 241077"/>
                <a:gd name="connsiteX28" fmla="*/ 139922 w 218217"/>
                <a:gd name="connsiteY28" fmla="*/ 35242 h 241077"/>
                <a:gd name="connsiteX29" fmla="*/ 109823 w 218217"/>
                <a:gd name="connsiteY29" fmla="*/ 29051 h 241077"/>
                <a:gd name="connsiteX30" fmla="*/ 82105 w 218217"/>
                <a:gd name="connsiteY30" fmla="*/ 34766 h 241077"/>
                <a:gd name="connsiteX31" fmla="*/ 59341 w 218217"/>
                <a:gd name="connsiteY31" fmla="*/ 50959 h 241077"/>
                <a:gd name="connsiteX32" fmla="*/ 43053 w 218217"/>
                <a:gd name="connsiteY32" fmla="*/ 75628 h 241077"/>
                <a:gd name="connsiteX33" fmla="*/ 34766 w 218217"/>
                <a:gd name="connsiteY33" fmla="*/ 106204 h 241077"/>
                <a:gd name="connsiteX34" fmla="*/ 183356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819" y="202597"/>
                    <a:pt x="87059" y="206026"/>
                  </a:cubicBezTo>
                  <a:cubicBezTo>
                    <a:pt x="96298" y="209455"/>
                    <a:pt x="105918" y="211169"/>
                    <a:pt x="116110" y="211169"/>
                  </a:cubicBezTo>
                  <a:cubicBezTo>
                    <a:pt x="132207" y="211169"/>
                    <a:pt x="145923" y="208216"/>
                    <a:pt x="157353" y="202216"/>
                  </a:cubicBezTo>
                  <a:cubicBezTo>
                    <a:pt x="168783" y="196310"/>
                    <a:pt x="179261" y="188404"/>
                    <a:pt x="188786" y="178594"/>
                  </a:cubicBezTo>
                  <a:lnTo>
                    <a:pt x="210217" y="197834"/>
                  </a:lnTo>
                  <a:cubicBezTo>
                    <a:pt x="198596" y="210979"/>
                    <a:pt x="185356" y="221361"/>
                    <a:pt x="170497" y="229267"/>
                  </a:cubicBezTo>
                  <a:cubicBezTo>
                    <a:pt x="155638"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583" y="0"/>
                    <a:pt x="110680"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356" y="106299"/>
                  </a:moveTo>
                  <a:cubicBezTo>
                    <a:pt x="182499" y="95917"/>
                    <a:pt x="180213" y="86106"/>
                    <a:pt x="176689" y="76771"/>
                  </a:cubicBezTo>
                  <a:cubicBezTo>
                    <a:pt x="173069" y="67437"/>
                    <a:pt x="168307" y="59245"/>
                    <a:pt x="162211" y="52101"/>
                  </a:cubicBezTo>
                  <a:cubicBezTo>
                    <a:pt x="156115" y="44958"/>
                    <a:pt x="148685" y="39338"/>
                    <a:pt x="139922" y="35242"/>
                  </a:cubicBezTo>
                  <a:cubicBezTo>
                    <a:pt x="131159" y="31147"/>
                    <a:pt x="121063" y="29051"/>
                    <a:pt x="109823" y="29051"/>
                  </a:cubicBezTo>
                  <a:cubicBezTo>
                    <a:pt x="100013" y="29051"/>
                    <a:pt x="90773" y="30956"/>
                    <a:pt x="82105" y="34766"/>
                  </a:cubicBezTo>
                  <a:cubicBezTo>
                    <a:pt x="73438" y="38671"/>
                    <a:pt x="65913" y="44005"/>
                    <a:pt x="59341" y="50959"/>
                  </a:cubicBezTo>
                  <a:cubicBezTo>
                    <a:pt x="52769" y="57912"/>
                    <a:pt x="47339" y="66103"/>
                    <a:pt x="43053" y="75628"/>
                  </a:cubicBezTo>
                  <a:cubicBezTo>
                    <a:pt x="38767" y="85058"/>
                    <a:pt x="36004" y="95345"/>
                    <a:pt x="34766" y="106204"/>
                  </a:cubicBezTo>
                  <a:lnTo>
                    <a:pt x="183356" y="106204"/>
                  </a:lnTo>
                  <a:close/>
                </a:path>
              </a:pathLst>
            </a:custGeom>
            <a:solidFill>
              <a:srgbClr val="44505E"/>
            </a:solidFill>
            <a:ln w="9525" cap="flat">
              <a:noFill/>
              <a:prstDash val="solid"/>
              <a:miter/>
            </a:ln>
          </p:spPr>
          <p:txBody>
            <a:bodyPr rtlCol="0" anchor="ctr"/>
            <a:lstStyle/>
            <a:p>
              <a:endParaRPr lang="pt-BR" noProof="0"/>
            </a:p>
          </p:txBody>
        </p:sp>
        <p:sp>
          <p:nvSpPr>
            <p:cNvPr id="44" name="Freeform: Shape 43">
              <a:extLst>
                <a:ext uri="{FF2B5EF4-FFF2-40B4-BE49-F238E27FC236}">
                  <a16:creationId xmlns:a16="http://schemas.microsoft.com/office/drawing/2014/main" id="{AEE11CB7-7D59-E8B4-B17A-A3245D8C05A9}"/>
                </a:ext>
              </a:extLst>
            </p:cNvPr>
            <p:cNvSpPr/>
            <p:nvPr/>
          </p:nvSpPr>
          <p:spPr>
            <a:xfrm>
              <a:off x="5994910" y="924268"/>
              <a:ext cx="44680" cy="60195"/>
            </a:xfrm>
            <a:custGeom>
              <a:avLst/>
              <a:gdLst>
                <a:gd name="connsiteX0" fmla="*/ 95536 w 177736"/>
                <a:gd name="connsiteY0" fmla="*/ 239268 h 239458"/>
                <a:gd name="connsiteX1" fmla="*/ 45053 w 177736"/>
                <a:gd name="connsiteY1" fmla="*/ 230124 h 239458"/>
                <a:gd name="connsiteX2" fmla="*/ 0 w 177736"/>
                <a:gd name="connsiteY2" fmla="*/ 205359 h 239458"/>
                <a:gd name="connsiteX3" fmla="*/ 17431 w 177736"/>
                <a:gd name="connsiteY3" fmla="*/ 180785 h 239458"/>
                <a:gd name="connsiteX4" fmla="*/ 56483 w 177736"/>
                <a:gd name="connsiteY4" fmla="*/ 202692 h 239458"/>
                <a:gd name="connsiteX5" fmla="*/ 97346 w 177736"/>
                <a:gd name="connsiteY5" fmla="*/ 210217 h 239458"/>
                <a:gd name="connsiteX6" fmla="*/ 131731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730 w 177736"/>
                <a:gd name="connsiteY10" fmla="*/ 147066 h 239458"/>
                <a:gd name="connsiteX11" fmla="*/ 109252 w 177736"/>
                <a:gd name="connsiteY11" fmla="*/ 138779 h 239458"/>
                <a:gd name="connsiteX12" fmla="*/ 87630 w 177736"/>
                <a:gd name="connsiteY12" fmla="*/ 132112 h 239458"/>
                <a:gd name="connsiteX13" fmla="*/ 60674 w 177736"/>
                <a:gd name="connsiteY13" fmla="*/ 123444 h 239458"/>
                <a:gd name="connsiteX14" fmla="*/ 36100 w 177736"/>
                <a:gd name="connsiteY14" fmla="*/ 111633 h 239458"/>
                <a:gd name="connsiteX15" fmla="*/ 18193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60 w 177736"/>
                <a:gd name="connsiteY22" fmla="*/ 6953 h 239458"/>
                <a:gd name="connsiteX23" fmla="*/ 172879 w 177736"/>
                <a:gd name="connsiteY23" fmla="*/ 25527 h 239458"/>
                <a:gd name="connsiteX24" fmla="*/ 157258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4 w 177736"/>
                <a:gd name="connsiteY32" fmla="*/ 96203 h 239458"/>
                <a:gd name="connsiteX33" fmla="*/ 103632 w 177736"/>
                <a:gd name="connsiteY33" fmla="*/ 103346 h 239458"/>
                <a:gd name="connsiteX34" fmla="*/ 130207 w 177736"/>
                <a:gd name="connsiteY34" fmla="*/ 112300 h 239458"/>
                <a:gd name="connsiteX35" fmla="*/ 154114 w 177736"/>
                <a:gd name="connsiteY35" fmla="*/ 124778 h 239458"/>
                <a:gd name="connsiteX36" fmla="*/ 171260 w 177736"/>
                <a:gd name="connsiteY36" fmla="*/ 143066 h 239458"/>
                <a:gd name="connsiteX37" fmla="*/ 177737 w 177736"/>
                <a:gd name="connsiteY37" fmla="*/ 169450 h 239458"/>
                <a:gd name="connsiteX38" fmla="*/ 177737 w 177736"/>
                <a:gd name="connsiteY38" fmla="*/ 170307 h 239458"/>
                <a:gd name="connsiteX39" fmla="*/ 171260 w 177736"/>
                <a:gd name="connsiteY39" fmla="*/ 199549 h 239458"/>
                <a:gd name="connsiteX40" fmla="*/ 153829 w 177736"/>
                <a:gd name="connsiteY40" fmla="*/ 221171 h 239458"/>
                <a:gd name="connsiteX41" fmla="*/ 127921 w 177736"/>
                <a:gd name="connsiteY41" fmla="*/ 234791 h 239458"/>
                <a:gd name="connsiteX42" fmla="*/ 95536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6" y="239268"/>
                  </a:moveTo>
                  <a:cubicBezTo>
                    <a:pt x="78867" y="239268"/>
                    <a:pt x="62008" y="236220"/>
                    <a:pt x="45053" y="230124"/>
                  </a:cubicBezTo>
                  <a:cubicBezTo>
                    <a:pt x="28099" y="224028"/>
                    <a:pt x="13049" y="215741"/>
                    <a:pt x="0" y="205359"/>
                  </a:cubicBezTo>
                  <a:lnTo>
                    <a:pt x="17431" y="180785"/>
                  </a:lnTo>
                  <a:cubicBezTo>
                    <a:pt x="29909"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637" y="162211"/>
                    <a:pt x="140494" y="158020"/>
                  </a:cubicBezTo>
                  <a:cubicBezTo>
                    <a:pt x="137351" y="153829"/>
                    <a:pt x="133160" y="150209"/>
                    <a:pt x="127730" y="147066"/>
                  </a:cubicBezTo>
                  <a:cubicBezTo>
                    <a:pt x="122396" y="143923"/>
                    <a:pt x="116205" y="141161"/>
                    <a:pt x="109252" y="138779"/>
                  </a:cubicBezTo>
                  <a:cubicBezTo>
                    <a:pt x="102299" y="136398"/>
                    <a:pt x="95060" y="134207"/>
                    <a:pt x="87630" y="132112"/>
                  </a:cubicBezTo>
                  <a:cubicBezTo>
                    <a:pt x="78677" y="129445"/>
                    <a:pt x="69723" y="126492"/>
                    <a:pt x="60674" y="123444"/>
                  </a:cubicBezTo>
                  <a:cubicBezTo>
                    <a:pt x="51626" y="120301"/>
                    <a:pt x="43434" y="116396"/>
                    <a:pt x="36100" y="111633"/>
                  </a:cubicBezTo>
                  <a:cubicBezTo>
                    <a:pt x="28766" y="106871"/>
                    <a:pt x="22860" y="100870"/>
                    <a:pt x="18193" y="93726"/>
                  </a:cubicBezTo>
                  <a:cubicBezTo>
                    <a:pt x="13621" y="86582"/>
                    <a:pt x="11239" y="77629"/>
                    <a:pt x="11239" y="66961"/>
                  </a:cubicBezTo>
                  <a:lnTo>
                    <a:pt x="11239" y="66008"/>
                  </a:lnTo>
                  <a:cubicBezTo>
                    <a:pt x="11239" y="56198"/>
                    <a:pt x="13145" y="47149"/>
                    <a:pt x="17050" y="39053"/>
                  </a:cubicBezTo>
                  <a:cubicBezTo>
                    <a:pt x="20860" y="30861"/>
                    <a:pt x="26289" y="23908"/>
                    <a:pt x="33338" y="18098"/>
                  </a:cubicBezTo>
                  <a:cubicBezTo>
                    <a:pt x="40291" y="12287"/>
                    <a:pt x="48673" y="7811"/>
                    <a:pt x="58388" y="4667"/>
                  </a:cubicBezTo>
                  <a:cubicBezTo>
                    <a:pt x="68009" y="1524"/>
                    <a:pt x="78581" y="0"/>
                    <a:pt x="89821" y="0"/>
                  </a:cubicBezTo>
                  <a:cubicBezTo>
                    <a:pt x="104108" y="0"/>
                    <a:pt x="118491" y="2286"/>
                    <a:pt x="133160" y="6953"/>
                  </a:cubicBezTo>
                  <a:cubicBezTo>
                    <a:pt x="147733" y="11621"/>
                    <a:pt x="160972" y="17717"/>
                    <a:pt x="172879" y="25527"/>
                  </a:cubicBezTo>
                  <a:lnTo>
                    <a:pt x="157258" y="51435"/>
                  </a:lnTo>
                  <a:cubicBezTo>
                    <a:pt x="146495" y="44577"/>
                    <a:pt x="135350" y="39148"/>
                    <a:pt x="123539" y="35147"/>
                  </a:cubicBezTo>
                  <a:cubicBezTo>
                    <a:pt x="111824" y="31147"/>
                    <a:pt x="100298" y="29146"/>
                    <a:pt x="88963" y="29146"/>
                  </a:cubicBezTo>
                  <a:cubicBezTo>
                    <a:pt x="75247" y="29146"/>
                    <a:pt x="64389" y="32385"/>
                    <a:pt x="56388" y="38767"/>
                  </a:cubicBezTo>
                  <a:cubicBezTo>
                    <a:pt x="48387" y="45149"/>
                    <a:pt x="44291" y="53150"/>
                    <a:pt x="44291" y="62675"/>
                  </a:cubicBezTo>
                  <a:lnTo>
                    <a:pt x="44291" y="63627"/>
                  </a:lnTo>
                  <a:cubicBezTo>
                    <a:pt x="44291" y="68961"/>
                    <a:pt x="45911" y="73628"/>
                    <a:pt x="49244" y="77724"/>
                  </a:cubicBezTo>
                  <a:cubicBezTo>
                    <a:pt x="52483" y="81725"/>
                    <a:pt x="56960" y="85249"/>
                    <a:pt x="62389" y="88202"/>
                  </a:cubicBezTo>
                  <a:cubicBezTo>
                    <a:pt x="67913" y="91154"/>
                    <a:pt x="74200" y="93821"/>
                    <a:pt x="81344" y="96203"/>
                  </a:cubicBezTo>
                  <a:cubicBezTo>
                    <a:pt x="88487" y="98584"/>
                    <a:pt x="95917" y="100965"/>
                    <a:pt x="103632" y="103346"/>
                  </a:cubicBezTo>
                  <a:cubicBezTo>
                    <a:pt x="112586" y="106013"/>
                    <a:pt x="121444" y="108966"/>
                    <a:pt x="130207" y="112300"/>
                  </a:cubicBezTo>
                  <a:cubicBezTo>
                    <a:pt x="138970" y="115538"/>
                    <a:pt x="146971" y="119729"/>
                    <a:pt x="154114" y="124778"/>
                  </a:cubicBezTo>
                  <a:cubicBezTo>
                    <a:pt x="161258" y="129826"/>
                    <a:pt x="166973" y="135922"/>
                    <a:pt x="171260" y="143066"/>
                  </a:cubicBezTo>
                  <a:cubicBezTo>
                    <a:pt x="175546" y="150209"/>
                    <a:pt x="177737" y="158972"/>
                    <a:pt x="177737" y="169450"/>
                  </a:cubicBezTo>
                  <a:lnTo>
                    <a:pt x="177737" y="170307"/>
                  </a:lnTo>
                  <a:cubicBezTo>
                    <a:pt x="177737" y="181356"/>
                    <a:pt x="175546" y="191071"/>
                    <a:pt x="171260" y="199549"/>
                  </a:cubicBezTo>
                  <a:cubicBezTo>
                    <a:pt x="166973" y="208026"/>
                    <a:pt x="161163" y="215265"/>
                    <a:pt x="153829" y="221171"/>
                  </a:cubicBezTo>
                  <a:cubicBezTo>
                    <a:pt x="146495" y="227171"/>
                    <a:pt x="137922" y="231648"/>
                    <a:pt x="127921" y="234791"/>
                  </a:cubicBezTo>
                  <a:cubicBezTo>
                    <a:pt x="117920" y="237935"/>
                    <a:pt x="107156" y="239459"/>
                    <a:pt x="95536" y="239459"/>
                  </a:cubicBezTo>
                  <a:close/>
                </a:path>
              </a:pathLst>
            </a:custGeom>
            <a:solidFill>
              <a:srgbClr val="44505E"/>
            </a:solidFill>
            <a:ln w="9525" cap="flat">
              <a:noFill/>
              <a:prstDash val="solid"/>
              <a:miter/>
            </a:ln>
          </p:spPr>
          <p:txBody>
            <a:bodyPr rtlCol="0" anchor="ctr"/>
            <a:lstStyle/>
            <a:p>
              <a:endParaRPr lang="pt-BR" noProof="0"/>
            </a:p>
          </p:txBody>
        </p:sp>
        <p:sp>
          <p:nvSpPr>
            <p:cNvPr id="45" name="Freeform: Shape 44">
              <a:extLst>
                <a:ext uri="{FF2B5EF4-FFF2-40B4-BE49-F238E27FC236}">
                  <a16:creationId xmlns:a16="http://schemas.microsoft.com/office/drawing/2014/main" id="{900B026A-EF04-2FC7-1EC3-98775A929D2B}"/>
                </a:ext>
              </a:extLst>
            </p:cNvPr>
            <p:cNvSpPr/>
            <p:nvPr/>
          </p:nvSpPr>
          <p:spPr>
            <a:xfrm>
              <a:off x="605122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4 w 202977"/>
                <a:gd name="connsiteY30" fmla="*/ 174593 h 239267"/>
                <a:gd name="connsiteX31" fmla="*/ 169735 w 202977"/>
                <a:gd name="connsiteY31" fmla="*/ 149447 h 239267"/>
                <a:gd name="connsiteX32" fmla="*/ 169735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0" y="90964"/>
                    <a:pt x="98584" y="90964"/>
                  </a:cubicBezTo>
                  <a:cubicBezTo>
                    <a:pt x="113157" y="90964"/>
                    <a:pt x="126301"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1" y="33147"/>
                    <a:pt x="63436" y="36100"/>
                  </a:cubicBezTo>
                  <a:cubicBezTo>
                    <a:pt x="52292" y="39053"/>
                    <a:pt x="41338" y="43053"/>
                    <a:pt x="30671" y="48196"/>
                  </a:cubicBezTo>
                  <a:lnTo>
                    <a:pt x="20383" y="19907"/>
                  </a:lnTo>
                  <a:cubicBezTo>
                    <a:pt x="33147" y="13906"/>
                    <a:pt x="46101" y="9049"/>
                    <a:pt x="59246" y="5429"/>
                  </a:cubicBezTo>
                  <a:cubicBezTo>
                    <a:pt x="72295"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1" y="239173"/>
                  </a:cubicBezTo>
                  <a:close/>
                  <a:moveTo>
                    <a:pt x="93154" y="211169"/>
                  </a:moveTo>
                  <a:cubicBezTo>
                    <a:pt x="103822" y="211169"/>
                    <a:pt x="113728" y="209740"/>
                    <a:pt x="122967" y="206788"/>
                  </a:cubicBezTo>
                  <a:cubicBezTo>
                    <a:pt x="132207" y="203835"/>
                    <a:pt x="140208" y="199644"/>
                    <a:pt x="147256" y="194120"/>
                  </a:cubicBezTo>
                  <a:cubicBezTo>
                    <a:pt x="154209" y="188595"/>
                    <a:pt x="159734" y="182118"/>
                    <a:pt x="163734" y="174593"/>
                  </a:cubicBezTo>
                  <a:cubicBezTo>
                    <a:pt x="167735" y="167068"/>
                    <a:pt x="169735" y="158687"/>
                    <a:pt x="169735" y="149447"/>
                  </a:cubicBezTo>
                  <a:lnTo>
                    <a:pt x="169735" y="128111"/>
                  </a:lnTo>
                  <a:cubicBezTo>
                    <a:pt x="161163" y="125730"/>
                    <a:pt x="151352" y="123539"/>
                    <a:pt x="140398" y="121444"/>
                  </a:cubicBezTo>
                  <a:cubicBezTo>
                    <a:pt x="129445" y="119348"/>
                    <a:pt x="116872"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46" name="Freeform: Shape 45">
              <a:extLst>
                <a:ext uri="{FF2B5EF4-FFF2-40B4-BE49-F238E27FC236}">
                  <a16:creationId xmlns:a16="http://schemas.microsoft.com/office/drawing/2014/main" id="{900B4BC6-8977-A413-D87B-E5F949E387CD}"/>
                </a:ext>
              </a:extLst>
            </p:cNvPr>
            <p:cNvSpPr/>
            <p:nvPr/>
          </p:nvSpPr>
          <p:spPr>
            <a:xfrm>
              <a:off x="6121359" y="901377"/>
              <a:ext cx="8644" cy="81913"/>
            </a:xfrm>
            <a:custGeom>
              <a:avLst/>
              <a:gdLst>
                <a:gd name="connsiteX0" fmla="*/ 0 w 34385"/>
                <a:gd name="connsiteY0" fmla="*/ 0 h 325850"/>
                <a:gd name="connsiteX1" fmla="*/ 34385 w 34385"/>
                <a:gd name="connsiteY1" fmla="*/ 0 h 325850"/>
                <a:gd name="connsiteX2" fmla="*/ 34385 w 34385"/>
                <a:gd name="connsiteY2" fmla="*/ 325850 h 325850"/>
                <a:gd name="connsiteX3" fmla="*/ 0 w 34385"/>
                <a:gd name="connsiteY3" fmla="*/ 325850 h 325850"/>
                <a:gd name="connsiteX4" fmla="*/ 0 w 34385"/>
                <a:gd name="connsiteY4" fmla="*/ 0 h 32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 h="325850">
                  <a:moveTo>
                    <a:pt x="0" y="0"/>
                  </a:moveTo>
                  <a:lnTo>
                    <a:pt x="34385" y="0"/>
                  </a:lnTo>
                  <a:lnTo>
                    <a:pt x="34385" y="325850"/>
                  </a:lnTo>
                  <a:lnTo>
                    <a:pt x="0" y="325850"/>
                  </a:lnTo>
                  <a:lnTo>
                    <a:pt x="0" y="0"/>
                  </a:lnTo>
                  <a:close/>
                </a:path>
              </a:pathLst>
            </a:custGeom>
            <a:solidFill>
              <a:srgbClr val="44505E"/>
            </a:solidFill>
            <a:ln w="9525" cap="flat">
              <a:noFill/>
              <a:prstDash val="solid"/>
              <a:miter/>
            </a:ln>
          </p:spPr>
          <p:txBody>
            <a:bodyPr rtlCol="0" anchor="ctr"/>
            <a:lstStyle/>
            <a:p>
              <a:endParaRPr lang="pt-BR" noProof="0"/>
            </a:p>
          </p:txBody>
        </p:sp>
        <p:sp>
          <p:nvSpPr>
            <p:cNvPr id="47" name="Freeform: Shape 46">
              <a:extLst>
                <a:ext uri="{FF2B5EF4-FFF2-40B4-BE49-F238E27FC236}">
                  <a16:creationId xmlns:a16="http://schemas.microsoft.com/office/drawing/2014/main" id="{9C3AA59D-E09D-5CFC-F82D-7DB0D6C53001}"/>
                </a:ext>
              </a:extLst>
            </p:cNvPr>
            <p:cNvSpPr/>
            <p:nvPr/>
          </p:nvSpPr>
          <p:spPr>
            <a:xfrm>
              <a:off x="6144346" y="925273"/>
              <a:ext cx="58016" cy="58448"/>
            </a:xfrm>
            <a:custGeom>
              <a:avLst/>
              <a:gdLst>
                <a:gd name="connsiteX0" fmla="*/ 95 w 230790"/>
                <a:gd name="connsiteY0" fmla="*/ 0 h 232505"/>
                <a:gd name="connsiteX1" fmla="*/ 38005 w 230790"/>
                <a:gd name="connsiteY1" fmla="*/ 0 h 232505"/>
                <a:gd name="connsiteX2" fmla="*/ 115634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4"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48" name="Freeform: Shape 47">
              <a:extLst>
                <a:ext uri="{FF2B5EF4-FFF2-40B4-BE49-F238E27FC236}">
                  <a16:creationId xmlns:a16="http://schemas.microsoft.com/office/drawing/2014/main" id="{5FE2373B-3911-D7DE-508D-C0535A7E9AF7}"/>
                </a:ext>
              </a:extLst>
            </p:cNvPr>
            <p:cNvSpPr/>
            <p:nvPr/>
          </p:nvSpPr>
          <p:spPr>
            <a:xfrm>
              <a:off x="621155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8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338 w 202977"/>
                <a:gd name="connsiteY36" fmla="*/ 164497 h 239267"/>
                <a:gd name="connsiteX37" fmla="*/ 35338 w 202977"/>
                <a:gd name="connsiteY37" fmla="*/ 165449 h 239267"/>
                <a:gd name="connsiteX38" fmla="*/ 40005 w 202977"/>
                <a:gd name="connsiteY38" fmla="*/ 184785 h 239267"/>
                <a:gd name="connsiteX39" fmla="*/ 52673 w 202977"/>
                <a:gd name="connsiteY39" fmla="*/ 199263 h 239267"/>
                <a:gd name="connsiteX40" fmla="*/ 71152 w 202977"/>
                <a:gd name="connsiteY40" fmla="*/ 208121 h 239267"/>
                <a:gd name="connsiteX41" fmla="*/ 93154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438" y="239268"/>
                    <a:pt x="64961"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1" y="90964"/>
                    <a:pt x="98584" y="90964"/>
                  </a:cubicBezTo>
                  <a:cubicBezTo>
                    <a:pt x="113157" y="90964"/>
                    <a:pt x="126302" y="91821"/>
                    <a:pt x="137160" y="93631"/>
                  </a:cubicBezTo>
                  <a:cubicBezTo>
                    <a:pt x="148019" y="95440"/>
                    <a:pt x="158687" y="97822"/>
                    <a:pt x="169069" y="100774"/>
                  </a:cubicBezTo>
                  <a:lnTo>
                    <a:pt x="169069" y="93726"/>
                  </a:lnTo>
                  <a:cubicBezTo>
                    <a:pt x="169069" y="73342"/>
                    <a:pt x="163068" y="57912"/>
                    <a:pt x="151162" y="47339"/>
                  </a:cubicBezTo>
                  <a:cubicBezTo>
                    <a:pt x="139255" y="36862"/>
                    <a:pt x="122491" y="31623"/>
                    <a:pt x="100679" y="31623"/>
                  </a:cubicBezTo>
                  <a:cubicBezTo>
                    <a:pt x="86963" y="31623"/>
                    <a:pt x="74581" y="33147"/>
                    <a:pt x="63437" y="36100"/>
                  </a:cubicBezTo>
                  <a:cubicBezTo>
                    <a:pt x="52292" y="39053"/>
                    <a:pt x="41338" y="43053"/>
                    <a:pt x="30671" y="48196"/>
                  </a:cubicBezTo>
                  <a:lnTo>
                    <a:pt x="20383" y="19907"/>
                  </a:lnTo>
                  <a:cubicBezTo>
                    <a:pt x="33147" y="13906"/>
                    <a:pt x="46101" y="9049"/>
                    <a:pt x="59246" y="5429"/>
                  </a:cubicBezTo>
                  <a:cubicBezTo>
                    <a:pt x="72390"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04" y="239173"/>
                    <a:pt x="86011" y="239173"/>
                  </a:cubicBezTo>
                  <a:close/>
                  <a:moveTo>
                    <a:pt x="93154" y="211169"/>
                  </a:moveTo>
                  <a:cubicBezTo>
                    <a:pt x="103822" y="211169"/>
                    <a:pt x="113824" y="209740"/>
                    <a:pt x="122968" y="206788"/>
                  </a:cubicBezTo>
                  <a:cubicBezTo>
                    <a:pt x="132112"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5" y="119348"/>
                    <a:pt x="116777" y="118300"/>
                    <a:pt x="102584" y="118300"/>
                  </a:cubicBezTo>
                  <a:cubicBezTo>
                    <a:pt x="81248" y="118300"/>
                    <a:pt x="64675" y="122491"/>
                    <a:pt x="52959" y="130969"/>
                  </a:cubicBezTo>
                  <a:cubicBezTo>
                    <a:pt x="41243" y="139446"/>
                    <a:pt x="35338" y="150590"/>
                    <a:pt x="35338" y="164497"/>
                  </a:cubicBezTo>
                  <a:lnTo>
                    <a:pt x="35338" y="165449"/>
                  </a:lnTo>
                  <a:cubicBezTo>
                    <a:pt x="35338" y="172498"/>
                    <a:pt x="36862" y="178975"/>
                    <a:pt x="40005" y="184785"/>
                  </a:cubicBezTo>
                  <a:cubicBezTo>
                    <a:pt x="43148" y="190500"/>
                    <a:pt x="47339" y="195358"/>
                    <a:pt x="52673" y="199263"/>
                  </a:cubicBezTo>
                  <a:cubicBezTo>
                    <a:pt x="58007" y="203073"/>
                    <a:pt x="64198" y="206026"/>
                    <a:pt x="71152" y="208121"/>
                  </a:cubicBezTo>
                  <a:cubicBezTo>
                    <a:pt x="78105" y="210217"/>
                    <a:pt x="85439" y="211169"/>
                    <a:pt x="93154" y="211169"/>
                  </a:cubicBezTo>
                  <a:close/>
                </a:path>
              </a:pathLst>
            </a:custGeom>
            <a:solidFill>
              <a:srgbClr val="44505E"/>
            </a:solidFill>
            <a:ln w="9525" cap="flat">
              <a:noFill/>
              <a:prstDash val="solid"/>
              <a:miter/>
            </a:ln>
          </p:spPr>
          <p:txBody>
            <a:bodyPr rtlCol="0" anchor="ctr"/>
            <a:lstStyle/>
            <a:p>
              <a:endParaRPr lang="pt-BR" noProof="0"/>
            </a:p>
          </p:txBody>
        </p:sp>
        <p:sp>
          <p:nvSpPr>
            <p:cNvPr id="49" name="Freeform: Shape 48">
              <a:extLst>
                <a:ext uri="{FF2B5EF4-FFF2-40B4-BE49-F238E27FC236}">
                  <a16:creationId xmlns:a16="http://schemas.microsoft.com/office/drawing/2014/main" id="{79E7687F-CFB6-E39C-BF7F-E5A40EC0CF8D}"/>
                </a:ext>
              </a:extLst>
            </p:cNvPr>
            <p:cNvSpPr/>
            <p:nvPr/>
          </p:nvSpPr>
          <p:spPr>
            <a:xfrm>
              <a:off x="6280899" y="923980"/>
              <a:ext cx="87995" cy="59238"/>
            </a:xfrm>
            <a:custGeom>
              <a:avLst/>
              <a:gdLst>
                <a:gd name="connsiteX0" fmla="*/ 0 w 350043"/>
                <a:gd name="connsiteY0" fmla="*/ 5144 h 235648"/>
                <a:gd name="connsiteX1" fmla="*/ 34385 w 350043"/>
                <a:gd name="connsiteY1" fmla="*/ 5144 h 235648"/>
                <a:gd name="connsiteX2" fmla="*/ 34385 w 350043"/>
                <a:gd name="connsiteY2" fmla="*/ 44005 h 235648"/>
                <a:gd name="connsiteX3" fmla="*/ 47149 w 350043"/>
                <a:gd name="connsiteY3" fmla="*/ 27432 h 235648"/>
                <a:gd name="connsiteX4" fmla="*/ 62960 w 350043"/>
                <a:gd name="connsiteY4" fmla="*/ 13335 h 235648"/>
                <a:gd name="connsiteX5" fmla="*/ 83058 w 350043"/>
                <a:gd name="connsiteY5" fmla="*/ 3715 h 235648"/>
                <a:gd name="connsiteX6" fmla="*/ 108966 w 350043"/>
                <a:gd name="connsiteY6" fmla="*/ 95 h 235648"/>
                <a:gd name="connsiteX7" fmla="*/ 155448 w 350043"/>
                <a:gd name="connsiteY7" fmla="*/ 13240 h 235648"/>
                <a:gd name="connsiteX8" fmla="*/ 183166 w 350043"/>
                <a:gd name="connsiteY8" fmla="*/ 46006 h 235648"/>
                <a:gd name="connsiteX9" fmla="*/ 197168 w 350043"/>
                <a:gd name="connsiteY9" fmla="*/ 28194 h 235648"/>
                <a:gd name="connsiteX10" fmla="*/ 214789 w 350043"/>
                <a:gd name="connsiteY10" fmla="*/ 13430 h 235648"/>
                <a:gd name="connsiteX11" fmla="*/ 236887 w 350043"/>
                <a:gd name="connsiteY11" fmla="*/ 3620 h 235648"/>
                <a:gd name="connsiteX12" fmla="*/ 264319 w 350043"/>
                <a:gd name="connsiteY12" fmla="*/ 0 h 235648"/>
                <a:gd name="connsiteX13" fmla="*/ 327279 w 350043"/>
                <a:gd name="connsiteY13" fmla="*/ 24765 h 235648"/>
                <a:gd name="connsiteX14" fmla="*/ 350044 w 350043"/>
                <a:gd name="connsiteY14" fmla="*/ 92773 h 235648"/>
                <a:gd name="connsiteX15" fmla="*/ 350044 w 350043"/>
                <a:gd name="connsiteY15" fmla="*/ 235648 h 235648"/>
                <a:gd name="connsiteX16" fmla="*/ 315659 w 350043"/>
                <a:gd name="connsiteY16" fmla="*/ 235648 h 235648"/>
                <a:gd name="connsiteX17" fmla="*/ 315659 w 350043"/>
                <a:gd name="connsiteY17" fmla="*/ 101155 h 235648"/>
                <a:gd name="connsiteX18" fmla="*/ 299847 w 350043"/>
                <a:gd name="connsiteY18" fmla="*/ 49721 h 235648"/>
                <a:gd name="connsiteX19" fmla="*/ 255937 w 350043"/>
                <a:gd name="connsiteY19" fmla="*/ 31718 h 235648"/>
                <a:gd name="connsiteX20" fmla="*/ 231362 w 350043"/>
                <a:gd name="connsiteY20" fmla="*/ 36386 h 235648"/>
                <a:gd name="connsiteX21" fmla="*/ 211074 w 350043"/>
                <a:gd name="connsiteY21" fmla="*/ 50197 h 235648"/>
                <a:gd name="connsiteX22" fmla="*/ 197263 w 350043"/>
                <a:gd name="connsiteY22" fmla="*/ 72676 h 235648"/>
                <a:gd name="connsiteX23" fmla="*/ 192119 w 350043"/>
                <a:gd name="connsiteY23" fmla="*/ 102965 h 235648"/>
                <a:gd name="connsiteX24" fmla="*/ 192119 w 350043"/>
                <a:gd name="connsiteY24" fmla="*/ 235648 h 235648"/>
                <a:gd name="connsiteX25" fmla="*/ 158210 w 350043"/>
                <a:gd name="connsiteY25" fmla="*/ 235648 h 235648"/>
                <a:gd name="connsiteX26" fmla="*/ 158210 w 350043"/>
                <a:gd name="connsiteY26" fmla="*/ 100298 h 235648"/>
                <a:gd name="connsiteX27" fmla="*/ 142399 w 350043"/>
                <a:gd name="connsiteY27" fmla="*/ 49721 h 235648"/>
                <a:gd name="connsiteX28" fmla="*/ 98870 w 350043"/>
                <a:gd name="connsiteY28" fmla="*/ 31718 h 235648"/>
                <a:gd name="connsiteX29" fmla="*/ 73438 w 350043"/>
                <a:gd name="connsiteY29" fmla="*/ 37052 h 235648"/>
                <a:gd name="connsiteX30" fmla="*/ 53150 w 350043"/>
                <a:gd name="connsiteY30" fmla="*/ 52197 h 235648"/>
                <a:gd name="connsiteX31" fmla="*/ 39529 w 350043"/>
                <a:gd name="connsiteY31" fmla="*/ 75152 h 235648"/>
                <a:gd name="connsiteX32" fmla="*/ 34576 w 350043"/>
                <a:gd name="connsiteY32" fmla="*/ 104299 h 235648"/>
                <a:gd name="connsiteX33" fmla="*/ 34576 w 350043"/>
                <a:gd name="connsiteY33" fmla="*/ 235648 h 235648"/>
                <a:gd name="connsiteX34" fmla="*/ 190 w 350043"/>
                <a:gd name="connsiteY34" fmla="*/ 235648 h 235648"/>
                <a:gd name="connsiteX35" fmla="*/ 190 w 350043"/>
                <a:gd name="connsiteY35" fmla="*/ 485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0043" h="235648">
                  <a:moveTo>
                    <a:pt x="0" y="5144"/>
                  </a:moveTo>
                  <a:lnTo>
                    <a:pt x="34385" y="5144"/>
                  </a:lnTo>
                  <a:lnTo>
                    <a:pt x="34385" y="44005"/>
                  </a:lnTo>
                  <a:cubicBezTo>
                    <a:pt x="38290" y="38386"/>
                    <a:pt x="42481" y="32861"/>
                    <a:pt x="47149" y="27432"/>
                  </a:cubicBezTo>
                  <a:cubicBezTo>
                    <a:pt x="51721" y="22098"/>
                    <a:pt x="57055" y="17431"/>
                    <a:pt x="62960" y="13335"/>
                  </a:cubicBezTo>
                  <a:cubicBezTo>
                    <a:pt x="68866" y="9335"/>
                    <a:pt x="75629" y="6096"/>
                    <a:pt x="83058" y="3715"/>
                  </a:cubicBezTo>
                  <a:cubicBezTo>
                    <a:pt x="90488" y="1334"/>
                    <a:pt x="99155" y="95"/>
                    <a:pt x="108966" y="95"/>
                  </a:cubicBezTo>
                  <a:cubicBezTo>
                    <a:pt x="127730" y="95"/>
                    <a:pt x="143161" y="4477"/>
                    <a:pt x="155448" y="13240"/>
                  </a:cubicBezTo>
                  <a:cubicBezTo>
                    <a:pt x="167640" y="22003"/>
                    <a:pt x="176879" y="32956"/>
                    <a:pt x="183166" y="46006"/>
                  </a:cubicBezTo>
                  <a:cubicBezTo>
                    <a:pt x="187357" y="39719"/>
                    <a:pt x="192024" y="33814"/>
                    <a:pt x="197168" y="28194"/>
                  </a:cubicBezTo>
                  <a:cubicBezTo>
                    <a:pt x="202406" y="22574"/>
                    <a:pt x="208217" y="17621"/>
                    <a:pt x="214789" y="13430"/>
                  </a:cubicBezTo>
                  <a:cubicBezTo>
                    <a:pt x="221361" y="9239"/>
                    <a:pt x="228695" y="6001"/>
                    <a:pt x="236887" y="3620"/>
                  </a:cubicBezTo>
                  <a:cubicBezTo>
                    <a:pt x="245078" y="1238"/>
                    <a:pt x="254222" y="0"/>
                    <a:pt x="264319" y="0"/>
                  </a:cubicBezTo>
                  <a:cubicBezTo>
                    <a:pt x="291084" y="0"/>
                    <a:pt x="312039" y="8287"/>
                    <a:pt x="327279" y="24765"/>
                  </a:cubicBezTo>
                  <a:cubicBezTo>
                    <a:pt x="342519" y="41243"/>
                    <a:pt x="350044" y="63913"/>
                    <a:pt x="350044" y="92773"/>
                  </a:cubicBezTo>
                  <a:lnTo>
                    <a:pt x="350044" y="235648"/>
                  </a:lnTo>
                  <a:lnTo>
                    <a:pt x="315659" y="235648"/>
                  </a:lnTo>
                  <a:lnTo>
                    <a:pt x="315659" y="101155"/>
                  </a:lnTo>
                  <a:cubicBezTo>
                    <a:pt x="315659" y="78867"/>
                    <a:pt x="310420" y="61722"/>
                    <a:pt x="299847" y="49721"/>
                  </a:cubicBezTo>
                  <a:cubicBezTo>
                    <a:pt x="289274" y="37719"/>
                    <a:pt x="274606" y="31718"/>
                    <a:pt x="255937" y="31718"/>
                  </a:cubicBezTo>
                  <a:cubicBezTo>
                    <a:pt x="247269" y="31718"/>
                    <a:pt x="239078" y="33242"/>
                    <a:pt x="231362" y="36386"/>
                  </a:cubicBezTo>
                  <a:cubicBezTo>
                    <a:pt x="223647" y="39529"/>
                    <a:pt x="216884" y="44101"/>
                    <a:pt x="211074" y="50197"/>
                  </a:cubicBezTo>
                  <a:cubicBezTo>
                    <a:pt x="205264" y="56293"/>
                    <a:pt x="200692" y="63818"/>
                    <a:pt x="197263" y="72676"/>
                  </a:cubicBezTo>
                  <a:cubicBezTo>
                    <a:pt x="193834" y="81629"/>
                    <a:pt x="192119" y="91726"/>
                    <a:pt x="192119" y="102965"/>
                  </a:cubicBezTo>
                  <a:lnTo>
                    <a:pt x="192119" y="235648"/>
                  </a:lnTo>
                  <a:lnTo>
                    <a:pt x="158210" y="235648"/>
                  </a:lnTo>
                  <a:lnTo>
                    <a:pt x="158210" y="100298"/>
                  </a:lnTo>
                  <a:cubicBezTo>
                    <a:pt x="158210" y="78677"/>
                    <a:pt x="152971" y="61817"/>
                    <a:pt x="142399" y="49721"/>
                  </a:cubicBezTo>
                  <a:cubicBezTo>
                    <a:pt x="131826" y="37719"/>
                    <a:pt x="117348" y="31718"/>
                    <a:pt x="98870" y="31718"/>
                  </a:cubicBezTo>
                  <a:cubicBezTo>
                    <a:pt x="89630" y="31718"/>
                    <a:pt x="81153" y="33528"/>
                    <a:pt x="73438" y="37052"/>
                  </a:cubicBezTo>
                  <a:cubicBezTo>
                    <a:pt x="65722" y="40672"/>
                    <a:pt x="58960" y="45720"/>
                    <a:pt x="53150" y="52197"/>
                  </a:cubicBezTo>
                  <a:cubicBezTo>
                    <a:pt x="47339" y="58769"/>
                    <a:pt x="42767" y="66389"/>
                    <a:pt x="39529" y="75152"/>
                  </a:cubicBezTo>
                  <a:cubicBezTo>
                    <a:pt x="36290" y="83915"/>
                    <a:pt x="34576" y="93631"/>
                    <a:pt x="34576" y="104299"/>
                  </a:cubicBezTo>
                  <a:lnTo>
                    <a:pt x="34576" y="235648"/>
                  </a:lnTo>
                  <a:lnTo>
                    <a:pt x="190" y="235648"/>
                  </a:lnTo>
                  <a:lnTo>
                    <a:pt x="190" y="4858"/>
                  </a:lnTo>
                  <a:close/>
                </a:path>
              </a:pathLst>
            </a:custGeom>
            <a:solidFill>
              <a:srgbClr val="44505E"/>
            </a:solidFill>
            <a:ln w="9525" cap="flat">
              <a:noFill/>
              <a:prstDash val="solid"/>
              <a:miter/>
            </a:ln>
          </p:spPr>
          <p:txBody>
            <a:bodyPr rtlCol="0" anchor="ctr"/>
            <a:lstStyle/>
            <a:p>
              <a:endParaRPr lang="pt-BR" noProof="0"/>
            </a:p>
          </p:txBody>
        </p:sp>
        <p:sp>
          <p:nvSpPr>
            <p:cNvPr id="50" name="Freeform: Shape 49">
              <a:extLst>
                <a:ext uri="{FF2B5EF4-FFF2-40B4-BE49-F238E27FC236}">
                  <a16:creationId xmlns:a16="http://schemas.microsoft.com/office/drawing/2014/main" id="{F1E8ED3A-0933-EF65-5112-AF9E7D8A5879}"/>
                </a:ext>
              </a:extLst>
            </p:cNvPr>
            <p:cNvSpPr/>
            <p:nvPr/>
          </p:nvSpPr>
          <p:spPr>
            <a:xfrm>
              <a:off x="6415537" y="925273"/>
              <a:ext cx="58016" cy="58448"/>
            </a:xfrm>
            <a:custGeom>
              <a:avLst/>
              <a:gdLst>
                <a:gd name="connsiteX0" fmla="*/ 95 w 230790"/>
                <a:gd name="connsiteY0" fmla="*/ 0 h 232505"/>
                <a:gd name="connsiteX1" fmla="*/ 38005 w 230790"/>
                <a:gd name="connsiteY1" fmla="*/ 0 h 232505"/>
                <a:gd name="connsiteX2" fmla="*/ 115633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3"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51" name="Freeform: Shape 50">
              <a:extLst>
                <a:ext uri="{FF2B5EF4-FFF2-40B4-BE49-F238E27FC236}">
                  <a16:creationId xmlns:a16="http://schemas.microsoft.com/office/drawing/2014/main" id="{C084329B-F2BB-B4AD-97DF-678D3DE7DCCA}"/>
                </a:ext>
              </a:extLst>
            </p:cNvPr>
            <p:cNvSpPr/>
            <p:nvPr/>
          </p:nvSpPr>
          <p:spPr>
            <a:xfrm>
              <a:off x="6487369"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286 w 39242"/>
                <a:gd name="connsiteY5" fmla="*/ 88392 h 319182"/>
                <a:gd name="connsiteX6" fmla="*/ 36671 w 39242"/>
                <a:gd name="connsiteY6" fmla="*/ 88392 h 319182"/>
                <a:gd name="connsiteX7" fmla="*/ 36671 w 39242"/>
                <a:gd name="connsiteY7" fmla="*/ 319183 h 319182"/>
                <a:gd name="connsiteX8" fmla="*/ 2286 w 39242"/>
                <a:gd name="connsiteY8" fmla="*/ 319183 h 319182"/>
                <a:gd name="connsiteX9" fmla="*/ 2286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286" y="88392"/>
                  </a:moveTo>
                  <a:lnTo>
                    <a:pt x="36671" y="88392"/>
                  </a:lnTo>
                  <a:lnTo>
                    <a:pt x="36671" y="319183"/>
                  </a:lnTo>
                  <a:lnTo>
                    <a:pt x="2286" y="319183"/>
                  </a:lnTo>
                  <a:lnTo>
                    <a:pt x="2286" y="88392"/>
                  </a:lnTo>
                  <a:close/>
                </a:path>
              </a:pathLst>
            </a:custGeom>
            <a:solidFill>
              <a:srgbClr val="44505E"/>
            </a:solidFill>
            <a:ln w="9525" cap="flat">
              <a:noFill/>
              <a:prstDash val="solid"/>
              <a:miter/>
            </a:ln>
          </p:spPr>
          <p:txBody>
            <a:bodyPr rtlCol="0" anchor="ctr"/>
            <a:lstStyle/>
            <a:p>
              <a:endParaRPr lang="pt-BR" noProof="0"/>
            </a:p>
          </p:txBody>
        </p:sp>
        <p:sp>
          <p:nvSpPr>
            <p:cNvPr id="52" name="Freeform: Shape 51">
              <a:extLst>
                <a:ext uri="{FF2B5EF4-FFF2-40B4-BE49-F238E27FC236}">
                  <a16:creationId xmlns:a16="http://schemas.microsoft.com/office/drawing/2014/main" id="{44D9900D-A20F-74B9-6D33-C5AC9246AB67}"/>
                </a:ext>
              </a:extLst>
            </p:cNvPr>
            <p:cNvSpPr/>
            <p:nvPr/>
          </p:nvSpPr>
          <p:spPr>
            <a:xfrm>
              <a:off x="6513253" y="901353"/>
              <a:ext cx="58615" cy="83182"/>
            </a:xfrm>
            <a:custGeom>
              <a:avLst/>
              <a:gdLst>
                <a:gd name="connsiteX0" fmla="*/ 110394 w 233171"/>
                <a:gd name="connsiteY0" fmla="*/ 330898 h 330898"/>
                <a:gd name="connsiteX1" fmla="*/ 69723 w 233171"/>
                <a:gd name="connsiteY1" fmla="*/ 322897 h 330898"/>
                <a:gd name="connsiteX2" fmla="*/ 34480 w 233171"/>
                <a:gd name="connsiteY2" fmla="*/ 299466 h 330898"/>
                <a:gd name="connsiteX3" fmla="*/ 9430 w 233171"/>
                <a:gd name="connsiteY3" fmla="*/ 261938 h 330898"/>
                <a:gd name="connsiteX4" fmla="*/ 0 w 233171"/>
                <a:gd name="connsiteY4" fmla="*/ 211264 h 330898"/>
                <a:gd name="connsiteX5" fmla="*/ 0 w 233171"/>
                <a:gd name="connsiteY5" fmla="*/ 210407 h 330898"/>
                <a:gd name="connsiteX6" fmla="*/ 9430 w 233171"/>
                <a:gd name="connsiteY6" fmla="*/ 159925 h 330898"/>
                <a:gd name="connsiteX7" fmla="*/ 34480 w 233171"/>
                <a:gd name="connsiteY7" fmla="*/ 122206 h 330898"/>
                <a:gd name="connsiteX8" fmla="*/ 69723 w 233171"/>
                <a:gd name="connsiteY8" fmla="*/ 98488 h 330898"/>
                <a:gd name="connsiteX9" fmla="*/ 110394 w 233171"/>
                <a:gd name="connsiteY9" fmla="*/ 90202 h 330898"/>
                <a:gd name="connsiteX10" fmla="*/ 139827 w 233171"/>
                <a:gd name="connsiteY10" fmla="*/ 94202 h 330898"/>
                <a:gd name="connsiteX11" fmla="*/ 163925 w 233171"/>
                <a:gd name="connsiteY11" fmla="*/ 104870 h 330898"/>
                <a:gd name="connsiteX12" fmla="*/ 183356 w 233171"/>
                <a:gd name="connsiteY12" fmla="*/ 120491 h 330898"/>
                <a:gd name="connsiteX13" fmla="*/ 198787 w 233171"/>
                <a:gd name="connsiteY13" fmla="*/ 139255 h 330898"/>
                <a:gd name="connsiteX14" fmla="*/ 198787 w 233171"/>
                <a:gd name="connsiteY14" fmla="*/ 0 h 330898"/>
                <a:gd name="connsiteX15" fmla="*/ 233172 w 233171"/>
                <a:gd name="connsiteY15" fmla="*/ 0 h 330898"/>
                <a:gd name="connsiteX16" fmla="*/ 233172 w 233171"/>
                <a:gd name="connsiteY16" fmla="*/ 325850 h 330898"/>
                <a:gd name="connsiteX17" fmla="*/ 198787 w 233171"/>
                <a:gd name="connsiteY17" fmla="*/ 325850 h 330898"/>
                <a:gd name="connsiteX18" fmla="*/ 198787 w 233171"/>
                <a:gd name="connsiteY18" fmla="*/ 279463 h 330898"/>
                <a:gd name="connsiteX19" fmla="*/ 182975 w 233171"/>
                <a:gd name="connsiteY19" fmla="*/ 299085 h 330898"/>
                <a:gd name="connsiteX20" fmla="*/ 163544 w 233171"/>
                <a:gd name="connsiteY20" fmla="*/ 315658 h 330898"/>
                <a:gd name="connsiteX21" fmla="*/ 139636 w 233171"/>
                <a:gd name="connsiteY21" fmla="*/ 326803 h 330898"/>
                <a:gd name="connsiteX22" fmla="*/ 110394 w 233171"/>
                <a:gd name="connsiteY22" fmla="*/ 330803 h 330898"/>
                <a:gd name="connsiteX23" fmla="*/ 116681 w 233171"/>
                <a:gd name="connsiteY23" fmla="*/ 300133 h 330898"/>
                <a:gd name="connsiteX24" fmla="*/ 147733 w 233171"/>
                <a:gd name="connsiteY24" fmla="*/ 293656 h 330898"/>
                <a:gd name="connsiteX25" fmla="*/ 174498 w 233171"/>
                <a:gd name="connsiteY25" fmla="*/ 275368 h 330898"/>
                <a:gd name="connsiteX26" fmla="*/ 193262 w 233171"/>
                <a:gd name="connsiteY26" fmla="*/ 247269 h 330898"/>
                <a:gd name="connsiteX27" fmla="*/ 200216 w 233171"/>
                <a:gd name="connsiteY27" fmla="*/ 210883 h 330898"/>
                <a:gd name="connsiteX28" fmla="*/ 200216 w 233171"/>
                <a:gd name="connsiteY28" fmla="*/ 210026 h 330898"/>
                <a:gd name="connsiteX29" fmla="*/ 193262 w 233171"/>
                <a:gd name="connsiteY29" fmla="*/ 173641 h 330898"/>
                <a:gd name="connsiteX30" fmla="*/ 174498 w 233171"/>
                <a:gd name="connsiteY30" fmla="*/ 145732 h 330898"/>
                <a:gd name="connsiteX31" fmla="*/ 147733 w 233171"/>
                <a:gd name="connsiteY31" fmla="*/ 127635 h 330898"/>
                <a:gd name="connsiteX32" fmla="*/ 116681 w 233171"/>
                <a:gd name="connsiteY32" fmla="*/ 121158 h 330898"/>
                <a:gd name="connsiteX33" fmla="*/ 84963 w 233171"/>
                <a:gd name="connsiteY33" fmla="*/ 127159 h 330898"/>
                <a:gd name="connsiteX34" fmla="*/ 59341 w 233171"/>
                <a:gd name="connsiteY34" fmla="*/ 144589 h 330898"/>
                <a:gd name="connsiteX35" fmla="*/ 41910 w 233171"/>
                <a:gd name="connsiteY35" fmla="*/ 172498 h 330898"/>
                <a:gd name="connsiteX36" fmla="*/ 35433 w 233171"/>
                <a:gd name="connsiteY36" fmla="*/ 210026 h 330898"/>
                <a:gd name="connsiteX37" fmla="*/ 35433 w 233171"/>
                <a:gd name="connsiteY37" fmla="*/ 210883 h 330898"/>
                <a:gd name="connsiteX38" fmla="*/ 41910 w 233171"/>
                <a:gd name="connsiteY38" fmla="*/ 247936 h 330898"/>
                <a:gd name="connsiteX39" fmla="*/ 59531 w 233171"/>
                <a:gd name="connsiteY39" fmla="*/ 276034 h 330898"/>
                <a:gd name="connsiteX40" fmla="*/ 85439 w 233171"/>
                <a:gd name="connsiteY40" fmla="*/ 293941 h 330898"/>
                <a:gd name="connsiteX41" fmla="*/ 116681 w 23317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3171" h="330898">
                  <a:moveTo>
                    <a:pt x="110394" y="330898"/>
                  </a:moveTo>
                  <a:cubicBezTo>
                    <a:pt x="96393" y="330898"/>
                    <a:pt x="82868" y="328231"/>
                    <a:pt x="69723" y="322897"/>
                  </a:cubicBezTo>
                  <a:cubicBezTo>
                    <a:pt x="56674" y="317563"/>
                    <a:pt x="44863" y="309753"/>
                    <a:pt x="34480" y="299466"/>
                  </a:cubicBezTo>
                  <a:cubicBezTo>
                    <a:pt x="24003" y="289179"/>
                    <a:pt x="15716" y="276701"/>
                    <a:pt x="9430" y="261938"/>
                  </a:cubicBezTo>
                  <a:cubicBezTo>
                    <a:pt x="3143" y="247174"/>
                    <a:pt x="0" y="230314"/>
                    <a:pt x="0" y="211264"/>
                  </a:cubicBezTo>
                  <a:lnTo>
                    <a:pt x="0" y="210407"/>
                  </a:lnTo>
                  <a:cubicBezTo>
                    <a:pt x="0" y="191643"/>
                    <a:pt x="3143" y="174879"/>
                    <a:pt x="9430" y="159925"/>
                  </a:cubicBezTo>
                  <a:cubicBezTo>
                    <a:pt x="15716" y="145066"/>
                    <a:pt x="24003" y="132493"/>
                    <a:pt x="34480" y="122206"/>
                  </a:cubicBezTo>
                  <a:cubicBezTo>
                    <a:pt x="44863" y="111919"/>
                    <a:pt x="56674" y="104013"/>
                    <a:pt x="69723" y="98488"/>
                  </a:cubicBezTo>
                  <a:cubicBezTo>
                    <a:pt x="82868" y="92964"/>
                    <a:pt x="96393" y="90202"/>
                    <a:pt x="110394" y="90202"/>
                  </a:cubicBezTo>
                  <a:cubicBezTo>
                    <a:pt x="121158" y="90202"/>
                    <a:pt x="130969" y="91535"/>
                    <a:pt x="139827" y="94202"/>
                  </a:cubicBezTo>
                  <a:cubicBezTo>
                    <a:pt x="148780" y="96869"/>
                    <a:pt x="156782" y="100489"/>
                    <a:pt x="163925" y="104870"/>
                  </a:cubicBezTo>
                  <a:cubicBezTo>
                    <a:pt x="171069" y="109347"/>
                    <a:pt x="177546" y="114586"/>
                    <a:pt x="183356" y="120491"/>
                  </a:cubicBezTo>
                  <a:cubicBezTo>
                    <a:pt x="189166" y="126492"/>
                    <a:pt x="194310" y="132683"/>
                    <a:pt x="198787" y="139255"/>
                  </a:cubicBezTo>
                  <a:lnTo>
                    <a:pt x="198787" y="0"/>
                  </a:lnTo>
                  <a:lnTo>
                    <a:pt x="233172" y="0"/>
                  </a:lnTo>
                  <a:lnTo>
                    <a:pt x="233172" y="325850"/>
                  </a:lnTo>
                  <a:lnTo>
                    <a:pt x="198787" y="325850"/>
                  </a:lnTo>
                  <a:lnTo>
                    <a:pt x="198787" y="279463"/>
                  </a:lnTo>
                  <a:cubicBezTo>
                    <a:pt x="194024" y="286321"/>
                    <a:pt x="188786" y="292894"/>
                    <a:pt x="182975" y="299085"/>
                  </a:cubicBezTo>
                  <a:cubicBezTo>
                    <a:pt x="177165" y="305371"/>
                    <a:pt x="170688" y="310896"/>
                    <a:pt x="163544" y="315658"/>
                  </a:cubicBezTo>
                  <a:cubicBezTo>
                    <a:pt x="156400" y="320421"/>
                    <a:pt x="148494" y="324136"/>
                    <a:pt x="139636" y="326803"/>
                  </a:cubicBezTo>
                  <a:cubicBezTo>
                    <a:pt x="130873" y="329470"/>
                    <a:pt x="121158" y="330803"/>
                    <a:pt x="110394" y="330803"/>
                  </a:cubicBezTo>
                  <a:close/>
                  <a:moveTo>
                    <a:pt x="116681" y="300133"/>
                  </a:moveTo>
                  <a:cubicBezTo>
                    <a:pt x="127445" y="300133"/>
                    <a:pt x="137732" y="297942"/>
                    <a:pt x="147733" y="293656"/>
                  </a:cubicBezTo>
                  <a:cubicBezTo>
                    <a:pt x="157734" y="289369"/>
                    <a:pt x="166592" y="283273"/>
                    <a:pt x="174498" y="275368"/>
                  </a:cubicBezTo>
                  <a:cubicBezTo>
                    <a:pt x="182404" y="267462"/>
                    <a:pt x="188595" y="258127"/>
                    <a:pt x="193262" y="247269"/>
                  </a:cubicBezTo>
                  <a:cubicBezTo>
                    <a:pt x="197834" y="236410"/>
                    <a:pt x="200216" y="224314"/>
                    <a:pt x="200216" y="210883"/>
                  </a:cubicBezTo>
                  <a:lnTo>
                    <a:pt x="200216" y="210026"/>
                  </a:lnTo>
                  <a:cubicBezTo>
                    <a:pt x="200216" y="196596"/>
                    <a:pt x="197929" y="184499"/>
                    <a:pt x="193262" y="173641"/>
                  </a:cubicBezTo>
                  <a:cubicBezTo>
                    <a:pt x="188595" y="162782"/>
                    <a:pt x="182404" y="153448"/>
                    <a:pt x="174498" y="145732"/>
                  </a:cubicBezTo>
                  <a:cubicBezTo>
                    <a:pt x="166592" y="138017"/>
                    <a:pt x="157639" y="132016"/>
                    <a:pt x="147733" y="127635"/>
                  </a:cubicBezTo>
                  <a:cubicBezTo>
                    <a:pt x="137732" y="123349"/>
                    <a:pt x="127445" y="121158"/>
                    <a:pt x="116681" y="121158"/>
                  </a:cubicBezTo>
                  <a:cubicBezTo>
                    <a:pt x="105346" y="121158"/>
                    <a:pt x="94774" y="123158"/>
                    <a:pt x="84963" y="127159"/>
                  </a:cubicBezTo>
                  <a:cubicBezTo>
                    <a:pt x="75152" y="131159"/>
                    <a:pt x="66580" y="136969"/>
                    <a:pt x="59341" y="144589"/>
                  </a:cubicBezTo>
                  <a:cubicBezTo>
                    <a:pt x="52007" y="152114"/>
                    <a:pt x="46291" y="161449"/>
                    <a:pt x="41910" y="172498"/>
                  </a:cubicBezTo>
                  <a:cubicBezTo>
                    <a:pt x="37624" y="183451"/>
                    <a:pt x="35433" y="196024"/>
                    <a:pt x="35433" y="210026"/>
                  </a:cubicBezTo>
                  <a:lnTo>
                    <a:pt x="35433" y="210883"/>
                  </a:lnTo>
                  <a:cubicBezTo>
                    <a:pt x="35433" y="224599"/>
                    <a:pt x="37624" y="236982"/>
                    <a:pt x="41910" y="247936"/>
                  </a:cubicBezTo>
                  <a:cubicBezTo>
                    <a:pt x="46196" y="258984"/>
                    <a:pt x="52101" y="268319"/>
                    <a:pt x="59531" y="276034"/>
                  </a:cubicBezTo>
                  <a:cubicBezTo>
                    <a:pt x="66960" y="283750"/>
                    <a:pt x="75629" y="289750"/>
                    <a:pt x="85439" y="293941"/>
                  </a:cubicBezTo>
                  <a:cubicBezTo>
                    <a:pt x="95250" y="298132"/>
                    <a:pt x="105632" y="300228"/>
                    <a:pt x="116681" y="300228"/>
                  </a:cubicBezTo>
                  <a:close/>
                </a:path>
              </a:pathLst>
            </a:custGeom>
            <a:solidFill>
              <a:srgbClr val="44505E"/>
            </a:solidFill>
            <a:ln w="9525" cap="flat">
              <a:noFill/>
              <a:prstDash val="solid"/>
              <a:miter/>
            </a:ln>
          </p:spPr>
          <p:txBody>
            <a:bodyPr rtlCol="0" anchor="ctr"/>
            <a:lstStyle/>
            <a:p>
              <a:endParaRPr lang="pt-BR" noProof="0"/>
            </a:p>
          </p:txBody>
        </p:sp>
        <p:sp>
          <p:nvSpPr>
            <p:cNvPr id="53" name="Freeform: Shape 52">
              <a:extLst>
                <a:ext uri="{FF2B5EF4-FFF2-40B4-BE49-F238E27FC236}">
                  <a16:creationId xmlns:a16="http://schemas.microsoft.com/office/drawing/2014/main" id="{A4B44985-53C4-6622-DA10-361981D11E04}"/>
                </a:ext>
              </a:extLst>
            </p:cNvPr>
            <p:cNvSpPr/>
            <p:nvPr/>
          </p:nvSpPr>
          <p:spPr>
            <a:xfrm>
              <a:off x="6586762"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0 w 202977"/>
                <a:gd name="connsiteY16" fmla="*/ 48196 h 239267"/>
                <a:gd name="connsiteX17" fmla="*/ 20383 w 202977"/>
                <a:gd name="connsiteY17" fmla="*/ 19907 h 239267"/>
                <a:gd name="connsiteX18" fmla="*/ 59245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0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1"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675" y="92678"/>
                    <a:pt x="84011" y="90964"/>
                    <a:pt x="98584" y="90964"/>
                  </a:cubicBezTo>
                  <a:cubicBezTo>
                    <a:pt x="113157" y="90964"/>
                    <a:pt x="126302"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0" y="33147"/>
                    <a:pt x="63436" y="36100"/>
                  </a:cubicBezTo>
                  <a:cubicBezTo>
                    <a:pt x="52292" y="39053"/>
                    <a:pt x="41338" y="43053"/>
                    <a:pt x="30670" y="48196"/>
                  </a:cubicBezTo>
                  <a:lnTo>
                    <a:pt x="20383" y="19907"/>
                  </a:lnTo>
                  <a:cubicBezTo>
                    <a:pt x="33147" y="13906"/>
                    <a:pt x="46101" y="9049"/>
                    <a:pt x="59245" y="5429"/>
                  </a:cubicBezTo>
                  <a:cubicBezTo>
                    <a:pt x="72294" y="1810"/>
                    <a:pt x="87344" y="0"/>
                    <a:pt x="104299" y="0"/>
                  </a:cubicBezTo>
                  <a:cubicBezTo>
                    <a:pt x="137064" y="0"/>
                    <a:pt x="161925" y="8477"/>
                    <a:pt x="178879" y="25432"/>
                  </a:cubicBezTo>
                  <a:cubicBezTo>
                    <a:pt x="194976"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0" y="239173"/>
                  </a:cubicBezTo>
                  <a:close/>
                  <a:moveTo>
                    <a:pt x="93154" y="211169"/>
                  </a:moveTo>
                  <a:cubicBezTo>
                    <a:pt x="103822" y="211169"/>
                    <a:pt x="113729" y="209740"/>
                    <a:pt x="122967" y="206788"/>
                  </a:cubicBezTo>
                  <a:cubicBezTo>
                    <a:pt x="132207"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4" y="119348"/>
                    <a:pt x="116871"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54" name="Freeform: Shape 53">
              <a:extLst>
                <a:ext uri="{FF2B5EF4-FFF2-40B4-BE49-F238E27FC236}">
                  <a16:creationId xmlns:a16="http://schemas.microsoft.com/office/drawing/2014/main" id="{22A2753D-8819-83BB-22EE-567B00C856E9}"/>
                </a:ext>
              </a:extLst>
            </p:cNvPr>
            <p:cNvSpPr/>
            <p:nvPr/>
          </p:nvSpPr>
          <p:spPr>
            <a:xfrm>
              <a:off x="6651291" y="924268"/>
              <a:ext cx="44680" cy="60195"/>
            </a:xfrm>
            <a:custGeom>
              <a:avLst/>
              <a:gdLst>
                <a:gd name="connsiteX0" fmla="*/ 95535 w 177736"/>
                <a:gd name="connsiteY0" fmla="*/ 239268 h 239458"/>
                <a:gd name="connsiteX1" fmla="*/ 45053 w 177736"/>
                <a:gd name="connsiteY1" fmla="*/ 230124 h 239458"/>
                <a:gd name="connsiteX2" fmla="*/ 0 w 177736"/>
                <a:gd name="connsiteY2" fmla="*/ 205359 h 239458"/>
                <a:gd name="connsiteX3" fmla="*/ 17430 w 177736"/>
                <a:gd name="connsiteY3" fmla="*/ 180785 h 239458"/>
                <a:gd name="connsiteX4" fmla="*/ 56483 w 177736"/>
                <a:gd name="connsiteY4" fmla="*/ 202692 h 239458"/>
                <a:gd name="connsiteX5" fmla="*/ 97345 w 177736"/>
                <a:gd name="connsiteY5" fmla="*/ 210217 h 239458"/>
                <a:gd name="connsiteX6" fmla="*/ 131730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825 w 177736"/>
                <a:gd name="connsiteY10" fmla="*/ 147066 h 239458"/>
                <a:gd name="connsiteX11" fmla="*/ 109251 w 177736"/>
                <a:gd name="connsiteY11" fmla="*/ 138779 h 239458"/>
                <a:gd name="connsiteX12" fmla="*/ 87630 w 177736"/>
                <a:gd name="connsiteY12" fmla="*/ 132112 h 239458"/>
                <a:gd name="connsiteX13" fmla="*/ 60579 w 177736"/>
                <a:gd name="connsiteY13" fmla="*/ 123444 h 239458"/>
                <a:gd name="connsiteX14" fmla="*/ 36004 w 177736"/>
                <a:gd name="connsiteY14" fmla="*/ 111633 h 239458"/>
                <a:gd name="connsiteX15" fmla="*/ 18192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59 w 177736"/>
                <a:gd name="connsiteY22" fmla="*/ 6953 h 239458"/>
                <a:gd name="connsiteX23" fmla="*/ 172878 w 177736"/>
                <a:gd name="connsiteY23" fmla="*/ 25527 h 239458"/>
                <a:gd name="connsiteX24" fmla="*/ 157257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3 w 177736"/>
                <a:gd name="connsiteY32" fmla="*/ 96203 h 239458"/>
                <a:gd name="connsiteX33" fmla="*/ 103631 w 177736"/>
                <a:gd name="connsiteY33" fmla="*/ 103346 h 239458"/>
                <a:gd name="connsiteX34" fmla="*/ 130207 w 177736"/>
                <a:gd name="connsiteY34" fmla="*/ 112300 h 239458"/>
                <a:gd name="connsiteX35" fmla="*/ 154114 w 177736"/>
                <a:gd name="connsiteY35" fmla="*/ 124778 h 239458"/>
                <a:gd name="connsiteX36" fmla="*/ 171259 w 177736"/>
                <a:gd name="connsiteY36" fmla="*/ 143066 h 239458"/>
                <a:gd name="connsiteX37" fmla="*/ 177736 w 177736"/>
                <a:gd name="connsiteY37" fmla="*/ 169450 h 239458"/>
                <a:gd name="connsiteX38" fmla="*/ 177736 w 177736"/>
                <a:gd name="connsiteY38" fmla="*/ 170307 h 239458"/>
                <a:gd name="connsiteX39" fmla="*/ 171259 w 177736"/>
                <a:gd name="connsiteY39" fmla="*/ 199549 h 239458"/>
                <a:gd name="connsiteX40" fmla="*/ 153828 w 177736"/>
                <a:gd name="connsiteY40" fmla="*/ 221171 h 239458"/>
                <a:gd name="connsiteX41" fmla="*/ 127921 w 177736"/>
                <a:gd name="connsiteY41" fmla="*/ 234791 h 239458"/>
                <a:gd name="connsiteX42" fmla="*/ 95535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5" y="239268"/>
                  </a:moveTo>
                  <a:cubicBezTo>
                    <a:pt x="78867" y="239268"/>
                    <a:pt x="62007" y="236220"/>
                    <a:pt x="45053" y="230124"/>
                  </a:cubicBezTo>
                  <a:cubicBezTo>
                    <a:pt x="28098" y="224028"/>
                    <a:pt x="13049" y="215741"/>
                    <a:pt x="0" y="205359"/>
                  </a:cubicBezTo>
                  <a:lnTo>
                    <a:pt x="17430" y="180785"/>
                  </a:lnTo>
                  <a:cubicBezTo>
                    <a:pt x="29908" y="190310"/>
                    <a:pt x="42957" y="197644"/>
                    <a:pt x="56483" y="202692"/>
                  </a:cubicBezTo>
                  <a:cubicBezTo>
                    <a:pt x="70009" y="207740"/>
                    <a:pt x="83629" y="210217"/>
                    <a:pt x="97345" y="210217"/>
                  </a:cubicBezTo>
                  <a:cubicBezTo>
                    <a:pt x="111061" y="210217"/>
                    <a:pt x="122777" y="206978"/>
                    <a:pt x="131730" y="200406"/>
                  </a:cubicBezTo>
                  <a:cubicBezTo>
                    <a:pt x="140684" y="193834"/>
                    <a:pt x="145161" y="184976"/>
                    <a:pt x="145161" y="173641"/>
                  </a:cubicBezTo>
                  <a:lnTo>
                    <a:pt x="145161" y="172784"/>
                  </a:lnTo>
                  <a:cubicBezTo>
                    <a:pt x="145161" y="167164"/>
                    <a:pt x="143541" y="162211"/>
                    <a:pt x="140494" y="158020"/>
                  </a:cubicBezTo>
                  <a:cubicBezTo>
                    <a:pt x="137350" y="153829"/>
                    <a:pt x="133159" y="150209"/>
                    <a:pt x="127825" y="147066"/>
                  </a:cubicBezTo>
                  <a:cubicBezTo>
                    <a:pt x="122491" y="143923"/>
                    <a:pt x="116300" y="141161"/>
                    <a:pt x="109251" y="138779"/>
                  </a:cubicBezTo>
                  <a:cubicBezTo>
                    <a:pt x="102298" y="136398"/>
                    <a:pt x="95059" y="134207"/>
                    <a:pt x="87630" y="132112"/>
                  </a:cubicBezTo>
                  <a:cubicBezTo>
                    <a:pt x="78676" y="129445"/>
                    <a:pt x="69722" y="126492"/>
                    <a:pt x="60579" y="123444"/>
                  </a:cubicBezTo>
                  <a:cubicBezTo>
                    <a:pt x="51530" y="120301"/>
                    <a:pt x="43339" y="116396"/>
                    <a:pt x="36004" y="111633"/>
                  </a:cubicBezTo>
                  <a:cubicBezTo>
                    <a:pt x="28670" y="106871"/>
                    <a:pt x="22764" y="100870"/>
                    <a:pt x="18192" y="93726"/>
                  </a:cubicBezTo>
                  <a:cubicBezTo>
                    <a:pt x="13525" y="86582"/>
                    <a:pt x="11239" y="77629"/>
                    <a:pt x="11239" y="66961"/>
                  </a:cubicBezTo>
                  <a:lnTo>
                    <a:pt x="11239" y="66008"/>
                  </a:lnTo>
                  <a:cubicBezTo>
                    <a:pt x="11239" y="56198"/>
                    <a:pt x="13144" y="47149"/>
                    <a:pt x="17050" y="39053"/>
                  </a:cubicBezTo>
                  <a:cubicBezTo>
                    <a:pt x="20955" y="30861"/>
                    <a:pt x="26384" y="23908"/>
                    <a:pt x="33338" y="18098"/>
                  </a:cubicBezTo>
                  <a:cubicBezTo>
                    <a:pt x="40291" y="12287"/>
                    <a:pt x="48673" y="7811"/>
                    <a:pt x="58388" y="4667"/>
                  </a:cubicBezTo>
                  <a:cubicBezTo>
                    <a:pt x="68008" y="1524"/>
                    <a:pt x="78581" y="0"/>
                    <a:pt x="89821" y="0"/>
                  </a:cubicBezTo>
                  <a:cubicBezTo>
                    <a:pt x="104108" y="0"/>
                    <a:pt x="118586" y="2286"/>
                    <a:pt x="133159" y="6953"/>
                  </a:cubicBezTo>
                  <a:cubicBezTo>
                    <a:pt x="147732" y="11621"/>
                    <a:pt x="160972" y="17717"/>
                    <a:pt x="172878" y="25527"/>
                  </a:cubicBezTo>
                  <a:lnTo>
                    <a:pt x="157257" y="51435"/>
                  </a:lnTo>
                  <a:cubicBezTo>
                    <a:pt x="146494" y="44577"/>
                    <a:pt x="135255" y="39148"/>
                    <a:pt x="123539" y="35147"/>
                  </a:cubicBezTo>
                  <a:cubicBezTo>
                    <a:pt x="111823" y="31147"/>
                    <a:pt x="100203" y="29146"/>
                    <a:pt x="88963" y="29146"/>
                  </a:cubicBezTo>
                  <a:cubicBezTo>
                    <a:pt x="75247" y="29146"/>
                    <a:pt x="64389" y="32385"/>
                    <a:pt x="56388" y="38767"/>
                  </a:cubicBezTo>
                  <a:cubicBezTo>
                    <a:pt x="48291" y="45149"/>
                    <a:pt x="44291" y="53150"/>
                    <a:pt x="44291" y="62675"/>
                  </a:cubicBezTo>
                  <a:lnTo>
                    <a:pt x="44291" y="63627"/>
                  </a:lnTo>
                  <a:cubicBezTo>
                    <a:pt x="44291" y="68961"/>
                    <a:pt x="45910" y="73628"/>
                    <a:pt x="49244" y="77724"/>
                  </a:cubicBezTo>
                  <a:cubicBezTo>
                    <a:pt x="52482" y="81725"/>
                    <a:pt x="56864" y="85249"/>
                    <a:pt x="62389" y="88202"/>
                  </a:cubicBezTo>
                  <a:cubicBezTo>
                    <a:pt x="67913" y="91154"/>
                    <a:pt x="74200" y="93821"/>
                    <a:pt x="81343" y="96203"/>
                  </a:cubicBezTo>
                  <a:cubicBezTo>
                    <a:pt x="88487" y="98584"/>
                    <a:pt x="95916" y="100965"/>
                    <a:pt x="103631" y="103346"/>
                  </a:cubicBezTo>
                  <a:cubicBezTo>
                    <a:pt x="112585" y="106013"/>
                    <a:pt x="121444" y="108966"/>
                    <a:pt x="130207" y="112300"/>
                  </a:cubicBezTo>
                  <a:cubicBezTo>
                    <a:pt x="138969" y="115538"/>
                    <a:pt x="146971" y="119729"/>
                    <a:pt x="154114" y="124778"/>
                  </a:cubicBezTo>
                  <a:cubicBezTo>
                    <a:pt x="161258" y="129826"/>
                    <a:pt x="166973" y="135922"/>
                    <a:pt x="171259" y="143066"/>
                  </a:cubicBezTo>
                  <a:cubicBezTo>
                    <a:pt x="175546" y="150209"/>
                    <a:pt x="177736" y="158972"/>
                    <a:pt x="177736" y="169450"/>
                  </a:cubicBezTo>
                  <a:lnTo>
                    <a:pt x="177736" y="170307"/>
                  </a:lnTo>
                  <a:cubicBezTo>
                    <a:pt x="177736" y="181356"/>
                    <a:pt x="175546" y="191071"/>
                    <a:pt x="171259" y="199549"/>
                  </a:cubicBezTo>
                  <a:cubicBezTo>
                    <a:pt x="166973" y="208026"/>
                    <a:pt x="161163" y="215265"/>
                    <a:pt x="153828" y="221171"/>
                  </a:cubicBezTo>
                  <a:cubicBezTo>
                    <a:pt x="146589" y="227171"/>
                    <a:pt x="137922" y="231648"/>
                    <a:pt x="127921" y="234791"/>
                  </a:cubicBezTo>
                  <a:cubicBezTo>
                    <a:pt x="117919" y="237935"/>
                    <a:pt x="107156" y="239459"/>
                    <a:pt x="95535" y="239459"/>
                  </a:cubicBezTo>
                  <a:close/>
                </a:path>
              </a:pathLst>
            </a:custGeom>
            <a:solidFill>
              <a:srgbClr val="44505E"/>
            </a:solidFill>
            <a:ln w="9525" cap="flat">
              <a:noFill/>
              <a:prstDash val="solid"/>
              <a:miter/>
            </a:ln>
          </p:spPr>
          <p:txBody>
            <a:bodyPr rtlCol="0" anchor="ctr"/>
            <a:lstStyle/>
            <a:p>
              <a:endParaRPr lang="pt-BR" noProof="0"/>
            </a:p>
          </p:txBody>
        </p:sp>
        <p:sp>
          <p:nvSpPr>
            <p:cNvPr id="55" name="Freeform: Shape 54">
              <a:extLst>
                <a:ext uri="{FF2B5EF4-FFF2-40B4-BE49-F238E27FC236}">
                  <a16:creationId xmlns:a16="http://schemas.microsoft.com/office/drawing/2014/main" id="{0AF598C4-52A2-D2D9-8D62-0A69622961D2}"/>
                </a:ext>
              </a:extLst>
            </p:cNvPr>
            <p:cNvSpPr/>
            <p:nvPr/>
          </p:nvSpPr>
          <p:spPr>
            <a:xfrm>
              <a:off x="5250320" y="846952"/>
              <a:ext cx="1459036" cy="16186"/>
            </a:xfrm>
            <a:custGeom>
              <a:avLst/>
              <a:gdLst>
                <a:gd name="connsiteX0" fmla="*/ 0 w 5804058"/>
                <a:gd name="connsiteY0" fmla="*/ 0 h 64388"/>
                <a:gd name="connsiteX1" fmla="*/ 5804059 w 5804058"/>
                <a:gd name="connsiteY1" fmla="*/ 0 h 64388"/>
                <a:gd name="connsiteX2" fmla="*/ 5804059 w 5804058"/>
                <a:gd name="connsiteY2" fmla="*/ 64389 h 64388"/>
                <a:gd name="connsiteX3" fmla="*/ 0 w 5804058"/>
                <a:gd name="connsiteY3" fmla="*/ 64389 h 64388"/>
              </a:gdLst>
              <a:ahLst/>
              <a:cxnLst>
                <a:cxn ang="0">
                  <a:pos x="connsiteX0" y="connsiteY0"/>
                </a:cxn>
                <a:cxn ang="0">
                  <a:pos x="connsiteX1" y="connsiteY1"/>
                </a:cxn>
                <a:cxn ang="0">
                  <a:pos x="connsiteX2" y="connsiteY2"/>
                </a:cxn>
                <a:cxn ang="0">
                  <a:pos x="connsiteX3" y="connsiteY3"/>
                </a:cxn>
              </a:cxnLst>
              <a:rect l="l" t="t" r="r" b="b"/>
              <a:pathLst>
                <a:path w="5804058" h="64388">
                  <a:moveTo>
                    <a:pt x="0" y="0"/>
                  </a:moveTo>
                  <a:lnTo>
                    <a:pt x="5804059" y="0"/>
                  </a:lnTo>
                  <a:lnTo>
                    <a:pt x="5804059" y="64389"/>
                  </a:lnTo>
                  <a:lnTo>
                    <a:pt x="0" y="64389"/>
                  </a:lnTo>
                  <a:close/>
                </a:path>
              </a:pathLst>
            </a:custGeom>
            <a:solidFill>
              <a:srgbClr val="44505E"/>
            </a:solidFill>
            <a:ln w="9525" cap="flat">
              <a:noFill/>
              <a:prstDash val="solid"/>
              <a:miter/>
            </a:ln>
          </p:spPr>
          <p:txBody>
            <a:bodyPr rtlCol="0" anchor="ctr"/>
            <a:lstStyle/>
            <a:p>
              <a:endParaRPr lang="pt-BR" noProof="0"/>
            </a:p>
          </p:txBody>
        </p:sp>
        <p:sp>
          <p:nvSpPr>
            <p:cNvPr id="56" name="Freeform: Shape 55">
              <a:extLst>
                <a:ext uri="{FF2B5EF4-FFF2-40B4-BE49-F238E27FC236}">
                  <a16:creationId xmlns:a16="http://schemas.microsoft.com/office/drawing/2014/main" id="{A476678E-D4C4-945B-1AD9-EB7C5004B440}"/>
                </a:ext>
              </a:extLst>
            </p:cNvPr>
            <p:cNvSpPr/>
            <p:nvPr/>
          </p:nvSpPr>
          <p:spPr>
            <a:xfrm>
              <a:off x="6902633" y="268821"/>
              <a:ext cx="273418" cy="601046"/>
            </a:xfrm>
            <a:custGeom>
              <a:avLst/>
              <a:gdLst>
                <a:gd name="connsiteX0" fmla="*/ 0 w 1087659"/>
                <a:gd name="connsiteY0" fmla="*/ 210979 h 2390965"/>
                <a:gd name="connsiteX1" fmla="*/ 125063 w 1087659"/>
                <a:gd name="connsiteY1" fmla="*/ 103442 h 2390965"/>
                <a:gd name="connsiteX2" fmla="*/ 250031 w 1087659"/>
                <a:gd name="connsiteY2" fmla="*/ 210979 h 2390965"/>
                <a:gd name="connsiteX3" fmla="*/ 250031 w 1087659"/>
                <a:gd name="connsiteY3" fmla="*/ 1922717 h 2390965"/>
                <a:gd name="connsiteX4" fmla="*/ 249841 w 1087659"/>
                <a:gd name="connsiteY4" fmla="*/ 1922717 h 2390965"/>
                <a:gd name="connsiteX5" fmla="*/ 249841 w 1087659"/>
                <a:gd name="connsiteY5" fmla="*/ 1925955 h 2390965"/>
                <a:gd name="connsiteX6" fmla="*/ 333756 w 1087659"/>
                <a:gd name="connsiteY6" fmla="*/ 2100263 h 2390965"/>
                <a:gd name="connsiteX7" fmla="*/ 335566 w 1087659"/>
                <a:gd name="connsiteY7" fmla="*/ 2101787 h 2390965"/>
                <a:gd name="connsiteX8" fmla="*/ 336042 w 1087659"/>
                <a:gd name="connsiteY8" fmla="*/ 2102168 h 2390965"/>
                <a:gd name="connsiteX9" fmla="*/ 543877 w 1087659"/>
                <a:gd name="connsiteY9" fmla="*/ 2175891 h 2390965"/>
                <a:gd name="connsiteX10" fmla="*/ 749998 w 1087659"/>
                <a:gd name="connsiteY10" fmla="*/ 2103692 h 2390965"/>
                <a:gd name="connsiteX11" fmla="*/ 751713 w 1087659"/>
                <a:gd name="connsiteY11" fmla="*/ 2102168 h 2390965"/>
                <a:gd name="connsiteX12" fmla="*/ 752189 w 1087659"/>
                <a:gd name="connsiteY12" fmla="*/ 2101787 h 2390965"/>
                <a:gd name="connsiteX13" fmla="*/ 837819 w 1087659"/>
                <a:gd name="connsiteY13" fmla="*/ 1922812 h 2390965"/>
                <a:gd name="connsiteX14" fmla="*/ 837819 w 1087659"/>
                <a:gd name="connsiteY14" fmla="*/ 107537 h 2390965"/>
                <a:gd name="connsiteX15" fmla="*/ 962787 w 1087659"/>
                <a:gd name="connsiteY15" fmla="*/ 0 h 2390965"/>
                <a:gd name="connsiteX16" fmla="*/ 1087660 w 1087659"/>
                <a:gd name="connsiteY16" fmla="*/ 107537 h 2390965"/>
                <a:gd name="connsiteX17" fmla="*/ 1087660 w 1087659"/>
                <a:gd name="connsiteY17" fmla="*/ 1922621 h 2390965"/>
                <a:gd name="connsiteX18" fmla="*/ 928307 w 1087659"/>
                <a:gd name="connsiteY18" fmla="*/ 2253234 h 2390965"/>
                <a:gd name="connsiteX19" fmla="*/ 928116 w 1087659"/>
                <a:gd name="connsiteY19" fmla="*/ 2253424 h 2390965"/>
                <a:gd name="connsiteX20" fmla="*/ 927830 w 1087659"/>
                <a:gd name="connsiteY20" fmla="*/ 2253710 h 2390965"/>
                <a:gd name="connsiteX21" fmla="*/ 927354 w 1087659"/>
                <a:gd name="connsiteY21" fmla="*/ 2254187 h 2390965"/>
                <a:gd name="connsiteX22" fmla="*/ 543783 w 1087659"/>
                <a:gd name="connsiteY22" fmla="*/ 2390966 h 2390965"/>
                <a:gd name="connsiteX23" fmla="*/ 159734 w 1087659"/>
                <a:gd name="connsiteY23" fmla="*/ 2253710 h 2390965"/>
                <a:gd name="connsiteX24" fmla="*/ 159734 w 1087659"/>
                <a:gd name="connsiteY24" fmla="*/ 2253424 h 2390965"/>
                <a:gd name="connsiteX25" fmla="*/ 159353 w 1087659"/>
                <a:gd name="connsiteY25" fmla="*/ 2253234 h 2390965"/>
                <a:gd name="connsiteX26" fmla="*/ 158877 w 1087659"/>
                <a:gd name="connsiteY26" fmla="*/ 2252948 h 2390965"/>
                <a:gd name="connsiteX27" fmla="*/ 0 w 1087659"/>
                <a:gd name="connsiteY27" fmla="*/ 1922621 h 2390965"/>
                <a:gd name="connsiteX28" fmla="*/ 0 w 1087659"/>
                <a:gd name="connsiteY28" fmla="*/ 1922621 h 2390965"/>
                <a:gd name="connsiteX29" fmla="*/ 0 w 1087659"/>
                <a:gd name="connsiteY29" fmla="*/ 210979 h 239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87659" h="2390965">
                  <a:moveTo>
                    <a:pt x="0" y="210979"/>
                  </a:moveTo>
                  <a:cubicBezTo>
                    <a:pt x="0" y="151638"/>
                    <a:pt x="56007" y="103442"/>
                    <a:pt x="125063" y="103442"/>
                  </a:cubicBezTo>
                  <a:cubicBezTo>
                    <a:pt x="194120" y="103442"/>
                    <a:pt x="250031" y="151638"/>
                    <a:pt x="250031" y="210979"/>
                  </a:cubicBezTo>
                  <a:lnTo>
                    <a:pt x="250031" y="1922717"/>
                  </a:lnTo>
                  <a:lnTo>
                    <a:pt x="249841" y="1922717"/>
                  </a:lnTo>
                  <a:lnTo>
                    <a:pt x="249841" y="1925955"/>
                  </a:lnTo>
                  <a:cubicBezTo>
                    <a:pt x="250793" y="1994059"/>
                    <a:pt x="282797" y="2055495"/>
                    <a:pt x="333756" y="2100263"/>
                  </a:cubicBezTo>
                  <a:lnTo>
                    <a:pt x="335566" y="2101787"/>
                  </a:lnTo>
                  <a:lnTo>
                    <a:pt x="336042" y="2102168"/>
                  </a:lnTo>
                  <a:cubicBezTo>
                    <a:pt x="388906" y="2147697"/>
                    <a:pt x="462343" y="2175891"/>
                    <a:pt x="543877" y="2175891"/>
                  </a:cubicBezTo>
                  <a:cubicBezTo>
                    <a:pt x="625411" y="2175891"/>
                    <a:pt x="697420" y="2148364"/>
                    <a:pt x="749998" y="2103692"/>
                  </a:cubicBezTo>
                  <a:lnTo>
                    <a:pt x="751713" y="2102168"/>
                  </a:lnTo>
                  <a:lnTo>
                    <a:pt x="752189" y="2101787"/>
                  </a:lnTo>
                  <a:cubicBezTo>
                    <a:pt x="805053" y="2056352"/>
                    <a:pt x="837819" y="1993011"/>
                    <a:pt x="837819" y="1922812"/>
                  </a:cubicBezTo>
                  <a:lnTo>
                    <a:pt x="837819" y="107537"/>
                  </a:lnTo>
                  <a:cubicBezTo>
                    <a:pt x="837819" y="48196"/>
                    <a:pt x="893731" y="0"/>
                    <a:pt x="962787" y="0"/>
                  </a:cubicBezTo>
                  <a:cubicBezTo>
                    <a:pt x="1031843" y="0"/>
                    <a:pt x="1087660" y="48196"/>
                    <a:pt x="1087660" y="107537"/>
                  </a:cubicBezTo>
                  <a:lnTo>
                    <a:pt x="1087660" y="1922621"/>
                  </a:lnTo>
                  <a:cubicBezTo>
                    <a:pt x="1087660" y="2051399"/>
                    <a:pt x="1026795" y="2168366"/>
                    <a:pt x="928307" y="2253234"/>
                  </a:cubicBezTo>
                  <a:lnTo>
                    <a:pt x="928116" y="2253424"/>
                  </a:lnTo>
                  <a:lnTo>
                    <a:pt x="927830" y="2253710"/>
                  </a:lnTo>
                  <a:lnTo>
                    <a:pt x="927354" y="2254187"/>
                  </a:lnTo>
                  <a:cubicBezTo>
                    <a:pt x="828770" y="2338673"/>
                    <a:pt x="693134" y="2390966"/>
                    <a:pt x="543783" y="2390966"/>
                  </a:cubicBezTo>
                  <a:cubicBezTo>
                    <a:pt x="394430" y="2390966"/>
                    <a:pt x="258413" y="2338483"/>
                    <a:pt x="159734" y="2253710"/>
                  </a:cubicBezTo>
                  <a:lnTo>
                    <a:pt x="159734" y="2253424"/>
                  </a:lnTo>
                  <a:cubicBezTo>
                    <a:pt x="159734" y="2253424"/>
                    <a:pt x="159353" y="2253234"/>
                    <a:pt x="159353" y="2253234"/>
                  </a:cubicBezTo>
                  <a:lnTo>
                    <a:pt x="158877" y="2252948"/>
                  </a:lnTo>
                  <a:cubicBezTo>
                    <a:pt x="60770" y="2167985"/>
                    <a:pt x="0" y="2051304"/>
                    <a:pt x="0" y="1922621"/>
                  </a:cubicBezTo>
                  <a:lnTo>
                    <a:pt x="0" y="1922621"/>
                  </a:lnTo>
                  <a:lnTo>
                    <a:pt x="0" y="210979"/>
                  </a:lnTo>
                  <a:close/>
                </a:path>
              </a:pathLst>
            </a:custGeom>
            <a:solidFill>
              <a:srgbClr val="8FC640"/>
            </a:solidFill>
            <a:ln w="9525" cap="flat">
              <a:noFill/>
              <a:prstDash val="solid"/>
              <a:miter/>
            </a:ln>
          </p:spPr>
          <p:txBody>
            <a:bodyPr rtlCol="0" anchor="ctr"/>
            <a:lstStyle/>
            <a:p>
              <a:endParaRPr lang="pt-BR" noProof="0"/>
            </a:p>
          </p:txBody>
        </p:sp>
        <p:sp>
          <p:nvSpPr>
            <p:cNvPr id="57" name="Freeform: Shape 56">
              <a:extLst>
                <a:ext uri="{FF2B5EF4-FFF2-40B4-BE49-F238E27FC236}">
                  <a16:creationId xmlns:a16="http://schemas.microsoft.com/office/drawing/2014/main" id="{1676F03F-6FC3-FAC8-42AA-E1FB26C7D9C4}"/>
                </a:ext>
              </a:extLst>
            </p:cNvPr>
            <p:cNvSpPr/>
            <p:nvPr/>
          </p:nvSpPr>
          <p:spPr>
            <a:xfrm>
              <a:off x="7013590" y="213965"/>
              <a:ext cx="54018" cy="562280"/>
            </a:xfrm>
            <a:custGeom>
              <a:avLst/>
              <a:gdLst>
                <a:gd name="connsiteX0" fmla="*/ 0 w 214883"/>
                <a:gd name="connsiteY0" fmla="*/ 107537 h 2236755"/>
                <a:gd name="connsiteX1" fmla="*/ 107537 w 214883"/>
                <a:gd name="connsiteY1" fmla="*/ 0 h 2236755"/>
                <a:gd name="connsiteX2" fmla="*/ 214884 w 214883"/>
                <a:gd name="connsiteY2" fmla="*/ 107537 h 2236755"/>
                <a:gd name="connsiteX3" fmla="*/ 214884 w 214883"/>
                <a:gd name="connsiteY3" fmla="*/ 2129219 h 2236755"/>
                <a:gd name="connsiteX4" fmla="*/ 107537 w 214883"/>
                <a:gd name="connsiteY4" fmla="*/ 2236756 h 2236755"/>
                <a:gd name="connsiteX5" fmla="*/ 0 w 214883"/>
                <a:gd name="connsiteY5" fmla="*/ 2129219 h 2236755"/>
                <a:gd name="connsiteX6" fmla="*/ 0 w 214883"/>
                <a:gd name="connsiteY6" fmla="*/ 107537 h 223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 h="2236755">
                  <a:moveTo>
                    <a:pt x="0" y="107537"/>
                  </a:moveTo>
                  <a:cubicBezTo>
                    <a:pt x="0" y="48197"/>
                    <a:pt x="48101" y="0"/>
                    <a:pt x="107537" y="0"/>
                  </a:cubicBezTo>
                  <a:cubicBezTo>
                    <a:pt x="166973" y="0"/>
                    <a:pt x="214884" y="48197"/>
                    <a:pt x="214884" y="107537"/>
                  </a:cubicBezTo>
                  <a:lnTo>
                    <a:pt x="214884" y="2129219"/>
                  </a:lnTo>
                  <a:cubicBezTo>
                    <a:pt x="214884" y="2188559"/>
                    <a:pt x="166782" y="2236756"/>
                    <a:pt x="107537" y="2236756"/>
                  </a:cubicBezTo>
                  <a:cubicBezTo>
                    <a:pt x="48291" y="2236756"/>
                    <a:pt x="0" y="2188559"/>
                    <a:pt x="0" y="2129219"/>
                  </a:cubicBezTo>
                  <a:lnTo>
                    <a:pt x="0" y="107537"/>
                  </a:lnTo>
                  <a:close/>
                </a:path>
              </a:pathLst>
            </a:custGeom>
            <a:solidFill>
              <a:srgbClr val="3698B0"/>
            </a:solidFill>
            <a:ln w="9525" cap="flat">
              <a:noFill/>
              <a:prstDash val="solid"/>
              <a:miter/>
            </a:ln>
          </p:spPr>
          <p:txBody>
            <a:bodyPr rtlCol="0" anchor="ctr"/>
            <a:lstStyle/>
            <a:p>
              <a:endParaRPr lang="pt-BR" noProof="0"/>
            </a:p>
          </p:txBody>
        </p:sp>
        <p:sp>
          <p:nvSpPr>
            <p:cNvPr id="58" name="Freeform: Shape 57">
              <a:extLst>
                <a:ext uri="{FF2B5EF4-FFF2-40B4-BE49-F238E27FC236}">
                  <a16:creationId xmlns:a16="http://schemas.microsoft.com/office/drawing/2014/main" id="{DE19AC22-FE68-5F19-03B8-5EF99DD35C0C}"/>
                </a:ext>
              </a:extLst>
            </p:cNvPr>
            <p:cNvSpPr/>
            <p:nvPr/>
          </p:nvSpPr>
          <p:spPr>
            <a:xfrm>
              <a:off x="6795770" y="332991"/>
              <a:ext cx="485994" cy="649437"/>
            </a:xfrm>
            <a:custGeom>
              <a:avLst/>
              <a:gdLst>
                <a:gd name="connsiteX0" fmla="*/ 1933290 w 1933289"/>
                <a:gd name="connsiteY0" fmla="*/ 138017 h 2583465"/>
                <a:gd name="connsiteX1" fmla="*/ 1933290 w 1933289"/>
                <a:gd name="connsiteY1" fmla="*/ 1734122 h 2583465"/>
                <a:gd name="connsiteX2" fmla="*/ 1796606 w 1933289"/>
                <a:gd name="connsiteY2" fmla="*/ 2229136 h 2583465"/>
                <a:gd name="connsiteX3" fmla="*/ 977742 w 1933289"/>
                <a:gd name="connsiteY3" fmla="*/ 2583466 h 2583465"/>
                <a:gd name="connsiteX4" fmla="*/ 955357 w 1933289"/>
                <a:gd name="connsiteY4" fmla="*/ 2583466 h 2583465"/>
                <a:gd name="connsiteX5" fmla="*/ 136589 w 1933289"/>
                <a:gd name="connsiteY5" fmla="*/ 2229136 h 2583465"/>
                <a:gd name="connsiteX6" fmla="*/ 0 w 1933289"/>
                <a:gd name="connsiteY6" fmla="*/ 1734122 h 2583465"/>
                <a:gd name="connsiteX7" fmla="*/ 0 w 1933289"/>
                <a:gd name="connsiteY7" fmla="*/ 794194 h 2583465"/>
                <a:gd name="connsiteX8" fmla="*/ 137827 w 1933289"/>
                <a:gd name="connsiteY8" fmla="*/ 656273 h 2583465"/>
                <a:gd name="connsiteX9" fmla="*/ 275463 w 1933289"/>
                <a:gd name="connsiteY9" fmla="*/ 794194 h 2583465"/>
                <a:gd name="connsiteX10" fmla="*/ 275463 w 1933289"/>
                <a:gd name="connsiteY10" fmla="*/ 1734122 h 2583465"/>
                <a:gd name="connsiteX11" fmla="*/ 354235 w 1933289"/>
                <a:gd name="connsiteY11" fmla="*/ 2059686 h 2583465"/>
                <a:gd name="connsiteX12" fmla="*/ 958215 w 1933289"/>
                <a:gd name="connsiteY12" fmla="*/ 2307527 h 2583465"/>
                <a:gd name="connsiteX13" fmla="*/ 974789 w 1933289"/>
                <a:gd name="connsiteY13" fmla="*/ 2307527 h 2583465"/>
                <a:gd name="connsiteX14" fmla="*/ 1578959 w 1933289"/>
                <a:gd name="connsiteY14" fmla="*/ 2059686 h 2583465"/>
                <a:gd name="connsiteX15" fmla="*/ 1657636 w 1933289"/>
                <a:gd name="connsiteY15" fmla="*/ 1734122 h 2583465"/>
                <a:gd name="connsiteX16" fmla="*/ 1657636 w 1933289"/>
                <a:gd name="connsiteY16" fmla="*/ 138017 h 2583465"/>
                <a:gd name="connsiteX17" fmla="*/ 1795463 w 1933289"/>
                <a:gd name="connsiteY17" fmla="*/ 0 h 2583465"/>
                <a:gd name="connsiteX18" fmla="*/ 1933290 w 1933289"/>
                <a:gd name="connsiteY18" fmla="*/ 138017 h 25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3289" h="2583465">
                  <a:moveTo>
                    <a:pt x="1933290" y="138017"/>
                  </a:moveTo>
                  <a:lnTo>
                    <a:pt x="1933290" y="1734122"/>
                  </a:lnTo>
                  <a:cubicBezTo>
                    <a:pt x="1933290" y="1870996"/>
                    <a:pt x="1919002" y="2071211"/>
                    <a:pt x="1796606" y="2229136"/>
                  </a:cubicBezTo>
                  <a:cubicBezTo>
                    <a:pt x="1634395" y="2438305"/>
                    <a:pt x="1432084" y="2578703"/>
                    <a:pt x="977742" y="2583466"/>
                  </a:cubicBezTo>
                  <a:lnTo>
                    <a:pt x="955357" y="2583466"/>
                  </a:lnTo>
                  <a:cubicBezTo>
                    <a:pt x="501015" y="2578703"/>
                    <a:pt x="298704" y="2438400"/>
                    <a:pt x="136589" y="2229136"/>
                  </a:cubicBezTo>
                  <a:cubicBezTo>
                    <a:pt x="14192" y="2071211"/>
                    <a:pt x="0" y="1870996"/>
                    <a:pt x="0" y="1734122"/>
                  </a:cubicBezTo>
                  <a:lnTo>
                    <a:pt x="0" y="794194"/>
                  </a:lnTo>
                  <a:cubicBezTo>
                    <a:pt x="0" y="718185"/>
                    <a:pt x="61436" y="656273"/>
                    <a:pt x="137827" y="656273"/>
                  </a:cubicBezTo>
                  <a:cubicBezTo>
                    <a:pt x="214217" y="656273"/>
                    <a:pt x="275463" y="718185"/>
                    <a:pt x="275463" y="794194"/>
                  </a:cubicBezTo>
                  <a:lnTo>
                    <a:pt x="275463" y="1734122"/>
                  </a:lnTo>
                  <a:cubicBezTo>
                    <a:pt x="275463" y="1887188"/>
                    <a:pt x="300324" y="1990630"/>
                    <a:pt x="354235" y="2059686"/>
                  </a:cubicBezTo>
                  <a:cubicBezTo>
                    <a:pt x="476250" y="2217611"/>
                    <a:pt x="609791" y="2304479"/>
                    <a:pt x="958215" y="2307527"/>
                  </a:cubicBezTo>
                  <a:lnTo>
                    <a:pt x="974789" y="2307527"/>
                  </a:lnTo>
                  <a:cubicBezTo>
                    <a:pt x="1323499" y="2304479"/>
                    <a:pt x="1456563" y="2217611"/>
                    <a:pt x="1578959" y="2059686"/>
                  </a:cubicBezTo>
                  <a:cubicBezTo>
                    <a:pt x="1632490" y="1990630"/>
                    <a:pt x="1657636" y="1887093"/>
                    <a:pt x="1657636" y="1734122"/>
                  </a:cubicBezTo>
                  <a:lnTo>
                    <a:pt x="1657636" y="138017"/>
                  </a:lnTo>
                  <a:cubicBezTo>
                    <a:pt x="1657636" y="61531"/>
                    <a:pt x="1719453" y="0"/>
                    <a:pt x="1795463" y="0"/>
                  </a:cubicBezTo>
                  <a:cubicBezTo>
                    <a:pt x="1871472" y="0"/>
                    <a:pt x="1933290" y="61531"/>
                    <a:pt x="1933290" y="138017"/>
                  </a:cubicBezTo>
                </a:path>
              </a:pathLst>
            </a:custGeom>
            <a:solidFill>
              <a:srgbClr val="49306E"/>
            </a:solidFill>
            <a:ln w="9525" cap="flat">
              <a:noFill/>
              <a:prstDash val="solid"/>
              <a:miter/>
            </a:ln>
          </p:spPr>
          <p:txBody>
            <a:bodyPr rtlCol="0" anchor="ctr"/>
            <a:lstStyle/>
            <a:p>
              <a:endParaRPr lang="pt-BR" noProof="0"/>
            </a:p>
          </p:txBody>
        </p:sp>
      </p:grpSp>
      <p:sp>
        <p:nvSpPr>
          <p:cNvPr id="5" name="Rectangle 3">
            <a:extLst>
              <a:ext uri="{FF2B5EF4-FFF2-40B4-BE49-F238E27FC236}">
                <a16:creationId xmlns:a16="http://schemas.microsoft.com/office/drawing/2014/main" id="{D09BC5E5-9058-D846-0F95-065C3CFF9DE6}"/>
              </a:ext>
            </a:extLst>
          </p:cNvPr>
          <p:cNvSpPr>
            <a:spLocks noChangeArrowheads="1"/>
          </p:cNvSpPr>
          <p:nvPr/>
        </p:nvSpPr>
        <p:spPr bwMode="auto">
          <a:xfrm>
            <a:off x="428153" y="692497"/>
            <a:ext cx="264816" cy="2862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p:txBody>
      </p:sp>
      <p:sp>
        <p:nvSpPr>
          <p:cNvPr id="8" name="CaixaDeTexto 7">
            <a:extLst>
              <a:ext uri="{FF2B5EF4-FFF2-40B4-BE49-F238E27FC236}">
                <a16:creationId xmlns:a16="http://schemas.microsoft.com/office/drawing/2014/main" id="{FC8901B0-6348-DB40-2C67-4CFE0A908284}"/>
              </a:ext>
            </a:extLst>
          </p:cNvPr>
          <p:cNvSpPr txBox="1"/>
          <p:nvPr/>
        </p:nvSpPr>
        <p:spPr>
          <a:xfrm>
            <a:off x="5324345" y="1486660"/>
            <a:ext cx="1741715" cy="461665"/>
          </a:xfrm>
          <a:prstGeom prst="rect">
            <a:avLst/>
          </a:prstGeom>
          <a:noFill/>
        </p:spPr>
        <p:txBody>
          <a:bodyPr wrap="square" rtlCol="0">
            <a:spAutoFit/>
          </a:bodyPr>
          <a:lstStyle/>
          <a:p>
            <a:r>
              <a:rPr lang="pt-BR" sz="2400" b="1" noProof="0">
                <a:solidFill>
                  <a:schemeClr val="bg1"/>
                </a:solidFill>
              </a:rPr>
              <a:t>Envelope 3</a:t>
            </a:r>
            <a:endParaRPr lang="pt-BR" sz="2400" b="1" noProof="0"/>
          </a:p>
        </p:txBody>
      </p:sp>
    </p:spTree>
    <p:extLst>
      <p:ext uri="{BB962C8B-B14F-4D97-AF65-F5344CB8AC3E}">
        <p14:creationId xmlns:p14="http://schemas.microsoft.com/office/powerpoint/2010/main" val="36433889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9A1E9E-0BF0-7ABA-4CBE-62203B5F1D61}"/>
            </a:ext>
          </a:extLst>
        </p:cNvPr>
        <p:cNvGrpSpPr/>
        <p:nvPr/>
      </p:nvGrpSpPr>
      <p:grpSpPr>
        <a:xfrm>
          <a:off x="0" y="0"/>
          <a:ext cx="0" cy="0"/>
          <a:chOff x="0" y="0"/>
          <a:chExt cx="0" cy="0"/>
        </a:xfrm>
      </p:grpSpPr>
      <p:sp>
        <p:nvSpPr>
          <p:cNvPr id="1041" name="Retângulo 1040">
            <a:extLst>
              <a:ext uri="{FF2B5EF4-FFF2-40B4-BE49-F238E27FC236}">
                <a16:creationId xmlns:a16="http://schemas.microsoft.com/office/drawing/2014/main" id="{DFF87E2E-5626-0D35-B768-DB2B01543CDD}"/>
              </a:ext>
            </a:extLst>
          </p:cNvPr>
          <p:cNvSpPr/>
          <p:nvPr/>
        </p:nvSpPr>
        <p:spPr>
          <a:xfrm>
            <a:off x="0" y="1163740"/>
            <a:ext cx="12215759" cy="495862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graphicFrame>
        <p:nvGraphicFramePr>
          <p:cNvPr id="12" name="think-cell data - do not delete" hidden="1">
            <a:extLst>
              <a:ext uri="{FF2B5EF4-FFF2-40B4-BE49-F238E27FC236}">
                <a16:creationId xmlns:a16="http://schemas.microsoft.com/office/drawing/2014/main" id="{245DC7D5-9C7F-C396-CFDF-DE68C3C4876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8" progId="TCLayout.ActiveDocument.1">
                  <p:embed/>
                </p:oleObj>
              </mc:Choice>
              <mc:Fallback>
                <p:oleObj name="think-cell Slide" r:id="rId4" imgW="306" imgH="308" progId="TCLayout.ActiveDocument.1">
                  <p:embed/>
                  <p:pic>
                    <p:nvPicPr>
                      <p:cNvPr id="12" name="think-cell data - do not delete" hidden="1">
                        <a:extLst>
                          <a:ext uri="{FF2B5EF4-FFF2-40B4-BE49-F238E27FC236}">
                            <a16:creationId xmlns:a16="http://schemas.microsoft.com/office/drawing/2014/main" id="{245DC7D5-9C7F-C396-CFDF-DE68C3C487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3" name="Group 12">
            <a:extLst>
              <a:ext uri="{FF2B5EF4-FFF2-40B4-BE49-F238E27FC236}">
                <a16:creationId xmlns:a16="http://schemas.microsoft.com/office/drawing/2014/main" id="{08DBD111-C9C3-BA60-F883-04D55540E07D}"/>
              </a:ext>
            </a:extLst>
          </p:cNvPr>
          <p:cNvGrpSpPr/>
          <p:nvPr/>
        </p:nvGrpSpPr>
        <p:grpSpPr>
          <a:xfrm>
            <a:off x="304800" y="249455"/>
            <a:ext cx="1193800" cy="462985"/>
            <a:chOff x="5245100" y="211355"/>
            <a:chExt cx="2036664" cy="789869"/>
          </a:xfrm>
        </p:grpSpPr>
        <p:sp>
          <p:nvSpPr>
            <p:cNvPr id="4" name="Freeform: Shape 13">
              <a:extLst>
                <a:ext uri="{FF2B5EF4-FFF2-40B4-BE49-F238E27FC236}">
                  <a16:creationId xmlns:a16="http://schemas.microsoft.com/office/drawing/2014/main" id="{0D50F238-15AB-C246-5C38-37918EE553A6}"/>
                </a:ext>
              </a:extLst>
            </p:cNvPr>
            <p:cNvSpPr/>
            <p:nvPr/>
          </p:nvSpPr>
          <p:spPr>
            <a:xfrm>
              <a:off x="5245100" y="308520"/>
              <a:ext cx="247894" cy="322815"/>
            </a:xfrm>
            <a:custGeom>
              <a:avLst/>
              <a:gdLst>
                <a:gd name="connsiteX0" fmla="*/ 529590 w 986123"/>
                <a:gd name="connsiteY0" fmla="*/ 1284160 h 1284160"/>
                <a:gd name="connsiteX1" fmla="*/ 249650 w 986123"/>
                <a:gd name="connsiteY1" fmla="*/ 1235107 h 1284160"/>
                <a:gd name="connsiteX2" fmla="*/ 0 w 986123"/>
                <a:gd name="connsiteY2" fmla="*/ 1084421 h 1284160"/>
                <a:gd name="connsiteX3" fmla="*/ 162306 w 986123"/>
                <a:gd name="connsiteY3" fmla="*/ 890016 h 1284160"/>
                <a:gd name="connsiteX4" fmla="*/ 337947 w 986123"/>
                <a:gd name="connsiteY4" fmla="*/ 1000601 h 1284160"/>
                <a:gd name="connsiteX5" fmla="*/ 535019 w 986123"/>
                <a:gd name="connsiteY5" fmla="*/ 1041654 h 1284160"/>
                <a:gd name="connsiteX6" fmla="*/ 667893 w 986123"/>
                <a:gd name="connsiteY6" fmla="*/ 1010412 h 1284160"/>
                <a:gd name="connsiteX7" fmla="*/ 715137 w 986123"/>
                <a:gd name="connsiteY7" fmla="*/ 923925 h 1284160"/>
                <a:gd name="connsiteX8" fmla="*/ 715137 w 986123"/>
                <a:gd name="connsiteY8" fmla="*/ 920305 h 1284160"/>
                <a:gd name="connsiteX9" fmla="*/ 705326 w 986123"/>
                <a:gd name="connsiteY9" fmla="*/ 873062 h 1284160"/>
                <a:gd name="connsiteX10" fmla="*/ 667798 w 986123"/>
                <a:gd name="connsiteY10" fmla="*/ 834676 h 1284160"/>
                <a:gd name="connsiteX11" fmla="*/ 590931 w 986123"/>
                <a:gd name="connsiteY11" fmla="*/ 798957 h 1284160"/>
                <a:gd name="connsiteX12" fmla="*/ 463106 w 986123"/>
                <a:gd name="connsiteY12" fmla="*/ 761524 h 1284160"/>
                <a:gd name="connsiteX13" fmla="*/ 291465 w 986123"/>
                <a:gd name="connsiteY13" fmla="*/ 709803 h 1284160"/>
                <a:gd name="connsiteX14" fmla="*/ 160973 w 986123"/>
                <a:gd name="connsiteY14" fmla="*/ 639318 h 1284160"/>
                <a:gd name="connsiteX15" fmla="*/ 77819 w 986123"/>
                <a:gd name="connsiteY15" fmla="*/ 535019 h 1284160"/>
                <a:gd name="connsiteX16" fmla="*/ 48292 w 986123"/>
                <a:gd name="connsiteY16" fmla="*/ 379857 h 1284160"/>
                <a:gd name="connsiteX17" fmla="*/ 48292 w 986123"/>
                <a:gd name="connsiteY17" fmla="*/ 376238 h 1284160"/>
                <a:gd name="connsiteX18" fmla="*/ 80201 w 986123"/>
                <a:gd name="connsiteY18" fmla="*/ 222028 h 1284160"/>
                <a:gd name="connsiteX19" fmla="*/ 169640 w 986123"/>
                <a:gd name="connsiteY19" fmla="*/ 103441 h 1284160"/>
                <a:gd name="connsiteX20" fmla="*/ 307181 w 986123"/>
                <a:gd name="connsiteY20" fmla="*/ 26765 h 1284160"/>
                <a:gd name="connsiteX21" fmla="*/ 483394 w 986123"/>
                <a:gd name="connsiteY21" fmla="*/ 0 h 1284160"/>
                <a:gd name="connsiteX22" fmla="*/ 735711 w 986123"/>
                <a:gd name="connsiteY22" fmla="*/ 41053 h 1284160"/>
                <a:gd name="connsiteX23" fmla="*/ 946976 w 986123"/>
                <a:gd name="connsiteY23" fmla="*/ 158687 h 1284160"/>
                <a:gd name="connsiteX24" fmla="*/ 804291 w 986123"/>
                <a:gd name="connsiteY24" fmla="*/ 365569 h 1284160"/>
                <a:gd name="connsiteX25" fmla="*/ 640271 w 986123"/>
                <a:gd name="connsiteY25" fmla="*/ 275558 h 1284160"/>
                <a:gd name="connsiteX26" fmla="*/ 479774 w 986123"/>
                <a:gd name="connsiteY26" fmla="*/ 242602 h 1284160"/>
                <a:gd name="connsiteX27" fmla="*/ 359378 w 986123"/>
                <a:gd name="connsiteY27" fmla="*/ 273844 h 1284160"/>
                <a:gd name="connsiteX28" fmla="*/ 319278 w 986123"/>
                <a:gd name="connsiteY28" fmla="*/ 351377 h 1284160"/>
                <a:gd name="connsiteX29" fmla="*/ 319278 w 986123"/>
                <a:gd name="connsiteY29" fmla="*/ 354997 h 1284160"/>
                <a:gd name="connsiteX30" fmla="*/ 330899 w 986123"/>
                <a:gd name="connsiteY30" fmla="*/ 407575 h 1284160"/>
                <a:gd name="connsiteX31" fmla="*/ 372904 w 986123"/>
                <a:gd name="connsiteY31" fmla="*/ 447675 h 1284160"/>
                <a:gd name="connsiteX32" fmla="*/ 456057 w 986123"/>
                <a:gd name="connsiteY32" fmla="*/ 481489 h 1284160"/>
                <a:gd name="connsiteX33" fmla="*/ 589217 w 986123"/>
                <a:gd name="connsiteY33" fmla="*/ 518922 h 1284160"/>
                <a:gd name="connsiteX34" fmla="*/ 758190 w 986123"/>
                <a:gd name="connsiteY34" fmla="*/ 575120 h 1284160"/>
                <a:gd name="connsiteX35" fmla="*/ 883349 w 986123"/>
                <a:gd name="connsiteY35" fmla="*/ 649986 h 1284160"/>
                <a:gd name="connsiteX36" fmla="*/ 960215 w 986123"/>
                <a:gd name="connsiteY36" fmla="*/ 752570 h 1284160"/>
                <a:gd name="connsiteX37" fmla="*/ 986123 w 986123"/>
                <a:gd name="connsiteY37" fmla="*/ 893445 h 1284160"/>
                <a:gd name="connsiteX38" fmla="*/ 986123 w 986123"/>
                <a:gd name="connsiteY38" fmla="*/ 897064 h 1284160"/>
                <a:gd name="connsiteX39" fmla="*/ 952500 w 986123"/>
                <a:gd name="connsiteY39" fmla="*/ 1062038 h 1284160"/>
                <a:gd name="connsiteX40" fmla="*/ 858584 w 986123"/>
                <a:gd name="connsiteY40" fmla="*/ 1183291 h 1284160"/>
                <a:gd name="connsiteX41" fmla="*/ 714851 w 986123"/>
                <a:gd name="connsiteY41" fmla="*/ 1258157 h 1284160"/>
                <a:gd name="connsiteX42" fmla="*/ 529685 w 986123"/>
                <a:gd name="connsiteY42" fmla="*/ 1284065 h 128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6123" h="1284160">
                  <a:moveTo>
                    <a:pt x="529590" y="1284160"/>
                  </a:moveTo>
                  <a:cubicBezTo>
                    <a:pt x="434435" y="1284160"/>
                    <a:pt x="341186" y="1267777"/>
                    <a:pt x="249650" y="1235107"/>
                  </a:cubicBezTo>
                  <a:cubicBezTo>
                    <a:pt x="158115" y="1202436"/>
                    <a:pt x="74867" y="1152239"/>
                    <a:pt x="0" y="1084421"/>
                  </a:cubicBezTo>
                  <a:lnTo>
                    <a:pt x="162306" y="890016"/>
                  </a:lnTo>
                  <a:cubicBezTo>
                    <a:pt x="219361" y="936403"/>
                    <a:pt x="277844" y="973264"/>
                    <a:pt x="337947" y="1000601"/>
                  </a:cubicBezTo>
                  <a:cubicBezTo>
                    <a:pt x="397955" y="1027938"/>
                    <a:pt x="463677" y="1041654"/>
                    <a:pt x="535019" y="1041654"/>
                  </a:cubicBezTo>
                  <a:cubicBezTo>
                    <a:pt x="592074" y="1041654"/>
                    <a:pt x="636365" y="1031272"/>
                    <a:pt x="667893" y="1010412"/>
                  </a:cubicBezTo>
                  <a:cubicBezTo>
                    <a:pt x="699421" y="989647"/>
                    <a:pt x="715137" y="960787"/>
                    <a:pt x="715137" y="923925"/>
                  </a:cubicBezTo>
                  <a:lnTo>
                    <a:pt x="715137" y="920305"/>
                  </a:lnTo>
                  <a:cubicBezTo>
                    <a:pt x="715137" y="902494"/>
                    <a:pt x="711803" y="886777"/>
                    <a:pt x="705326" y="873062"/>
                  </a:cubicBezTo>
                  <a:cubicBezTo>
                    <a:pt x="698754" y="859441"/>
                    <a:pt x="686276" y="846582"/>
                    <a:pt x="667798" y="834676"/>
                  </a:cubicBezTo>
                  <a:cubicBezTo>
                    <a:pt x="649319" y="822770"/>
                    <a:pt x="623697" y="810863"/>
                    <a:pt x="590931" y="798957"/>
                  </a:cubicBezTo>
                  <a:cubicBezTo>
                    <a:pt x="558165" y="787146"/>
                    <a:pt x="515493" y="774573"/>
                    <a:pt x="463106" y="761524"/>
                  </a:cubicBezTo>
                  <a:cubicBezTo>
                    <a:pt x="399955" y="746093"/>
                    <a:pt x="342710" y="728853"/>
                    <a:pt x="291465" y="709803"/>
                  </a:cubicBezTo>
                  <a:cubicBezTo>
                    <a:pt x="240221" y="690753"/>
                    <a:pt x="196691" y="667322"/>
                    <a:pt x="160973" y="639318"/>
                  </a:cubicBezTo>
                  <a:cubicBezTo>
                    <a:pt x="125159" y="611410"/>
                    <a:pt x="97536" y="576644"/>
                    <a:pt x="77819" y="535019"/>
                  </a:cubicBezTo>
                  <a:cubicBezTo>
                    <a:pt x="58103" y="493395"/>
                    <a:pt x="48292" y="441674"/>
                    <a:pt x="48292" y="379857"/>
                  </a:cubicBezTo>
                  <a:lnTo>
                    <a:pt x="48292" y="376238"/>
                  </a:lnTo>
                  <a:cubicBezTo>
                    <a:pt x="48292" y="319183"/>
                    <a:pt x="58865" y="267748"/>
                    <a:pt x="80201" y="222028"/>
                  </a:cubicBezTo>
                  <a:cubicBezTo>
                    <a:pt x="101441" y="176308"/>
                    <a:pt x="131255" y="136779"/>
                    <a:pt x="169640" y="103441"/>
                  </a:cubicBezTo>
                  <a:cubicBezTo>
                    <a:pt x="208026" y="70199"/>
                    <a:pt x="253841" y="44577"/>
                    <a:pt x="307181" y="26765"/>
                  </a:cubicBezTo>
                  <a:cubicBezTo>
                    <a:pt x="360426" y="8953"/>
                    <a:pt x="419195" y="0"/>
                    <a:pt x="483394" y="0"/>
                  </a:cubicBezTo>
                  <a:cubicBezTo>
                    <a:pt x="574929" y="0"/>
                    <a:pt x="659035" y="13716"/>
                    <a:pt x="735711" y="41053"/>
                  </a:cubicBezTo>
                  <a:cubicBezTo>
                    <a:pt x="812387" y="68389"/>
                    <a:pt x="882777" y="107632"/>
                    <a:pt x="946976" y="158687"/>
                  </a:cubicBezTo>
                  <a:lnTo>
                    <a:pt x="804291" y="365569"/>
                  </a:lnTo>
                  <a:cubicBezTo>
                    <a:pt x="748379" y="327565"/>
                    <a:pt x="693706" y="297561"/>
                    <a:pt x="640271" y="275558"/>
                  </a:cubicBezTo>
                  <a:cubicBezTo>
                    <a:pt x="586740" y="253555"/>
                    <a:pt x="533305" y="242602"/>
                    <a:pt x="479774" y="242602"/>
                  </a:cubicBezTo>
                  <a:cubicBezTo>
                    <a:pt x="426244" y="242602"/>
                    <a:pt x="386144" y="252984"/>
                    <a:pt x="359378" y="273844"/>
                  </a:cubicBezTo>
                  <a:cubicBezTo>
                    <a:pt x="332613" y="294608"/>
                    <a:pt x="319278" y="320516"/>
                    <a:pt x="319278" y="351377"/>
                  </a:cubicBezTo>
                  <a:lnTo>
                    <a:pt x="319278" y="354997"/>
                  </a:lnTo>
                  <a:cubicBezTo>
                    <a:pt x="319278" y="375190"/>
                    <a:pt x="323183" y="392716"/>
                    <a:pt x="330899" y="407575"/>
                  </a:cubicBezTo>
                  <a:cubicBezTo>
                    <a:pt x="338614" y="422434"/>
                    <a:pt x="352616" y="435864"/>
                    <a:pt x="372904" y="447675"/>
                  </a:cubicBezTo>
                  <a:cubicBezTo>
                    <a:pt x="393192" y="459581"/>
                    <a:pt x="420910" y="470821"/>
                    <a:pt x="456057" y="481489"/>
                  </a:cubicBezTo>
                  <a:cubicBezTo>
                    <a:pt x="491204" y="492157"/>
                    <a:pt x="535591" y="504730"/>
                    <a:pt x="589217" y="518922"/>
                  </a:cubicBezTo>
                  <a:cubicBezTo>
                    <a:pt x="652367" y="535591"/>
                    <a:pt x="708660" y="554260"/>
                    <a:pt x="758190" y="575120"/>
                  </a:cubicBezTo>
                  <a:cubicBezTo>
                    <a:pt x="807625" y="595979"/>
                    <a:pt x="849344" y="620935"/>
                    <a:pt x="883349" y="649986"/>
                  </a:cubicBezTo>
                  <a:cubicBezTo>
                    <a:pt x="917353" y="679132"/>
                    <a:pt x="942975" y="713327"/>
                    <a:pt x="960215" y="752570"/>
                  </a:cubicBezTo>
                  <a:cubicBezTo>
                    <a:pt x="977456" y="791813"/>
                    <a:pt x="986123" y="838772"/>
                    <a:pt x="986123" y="893445"/>
                  </a:cubicBezTo>
                  <a:lnTo>
                    <a:pt x="986123" y="897064"/>
                  </a:lnTo>
                  <a:cubicBezTo>
                    <a:pt x="986123" y="958882"/>
                    <a:pt x="974884" y="1013841"/>
                    <a:pt x="952500" y="1062038"/>
                  </a:cubicBezTo>
                  <a:cubicBezTo>
                    <a:pt x="930021" y="1110139"/>
                    <a:pt x="898779" y="1150620"/>
                    <a:pt x="858584" y="1183291"/>
                  </a:cubicBezTo>
                  <a:cubicBezTo>
                    <a:pt x="818388" y="1216057"/>
                    <a:pt x="770477" y="1241012"/>
                    <a:pt x="714851" y="1258157"/>
                  </a:cubicBezTo>
                  <a:cubicBezTo>
                    <a:pt x="659130" y="1275398"/>
                    <a:pt x="597503" y="1284065"/>
                    <a:pt x="529685" y="1284065"/>
                  </a:cubicBezTo>
                  <a:close/>
                </a:path>
              </a:pathLst>
            </a:custGeom>
            <a:solidFill>
              <a:srgbClr val="44505E"/>
            </a:solidFill>
            <a:ln w="9525" cap="flat">
              <a:noFill/>
              <a:prstDash val="solid"/>
              <a:miter/>
            </a:ln>
          </p:spPr>
          <p:txBody>
            <a:bodyPr rtlCol="0" anchor="ctr"/>
            <a:lstStyle/>
            <a:p>
              <a:endParaRPr lang="pt-BR" noProof="0"/>
            </a:p>
          </p:txBody>
        </p:sp>
        <p:sp>
          <p:nvSpPr>
            <p:cNvPr id="5" name="Freeform: Shape 16">
              <a:extLst>
                <a:ext uri="{FF2B5EF4-FFF2-40B4-BE49-F238E27FC236}">
                  <a16:creationId xmlns:a16="http://schemas.microsoft.com/office/drawing/2014/main" id="{0CF0F839-7D27-B161-7DE3-E191A9F22D33}"/>
                </a:ext>
              </a:extLst>
            </p:cNvPr>
            <p:cNvSpPr/>
            <p:nvPr/>
          </p:nvSpPr>
          <p:spPr>
            <a:xfrm>
              <a:off x="5492084" y="310867"/>
              <a:ext cx="332584" cy="315991"/>
            </a:xfrm>
            <a:custGeom>
              <a:avLst/>
              <a:gdLst>
                <a:gd name="connsiteX0" fmla="*/ 534924 w 1323022"/>
                <a:gd name="connsiteY0" fmla="*/ 0 h 1257014"/>
                <a:gd name="connsiteX1" fmla="*/ 788099 w 1323022"/>
                <a:gd name="connsiteY1" fmla="*/ 0 h 1257014"/>
                <a:gd name="connsiteX2" fmla="*/ 1323023 w 1323022"/>
                <a:gd name="connsiteY2" fmla="*/ 1257014 h 1257014"/>
                <a:gd name="connsiteX3" fmla="*/ 1035939 w 1323022"/>
                <a:gd name="connsiteY3" fmla="*/ 1257014 h 1257014"/>
                <a:gd name="connsiteX4" fmla="*/ 921829 w 1323022"/>
                <a:gd name="connsiteY4" fmla="*/ 977075 h 1257014"/>
                <a:gd name="connsiteX5" fmla="*/ 394049 w 1323022"/>
                <a:gd name="connsiteY5" fmla="*/ 977075 h 1257014"/>
                <a:gd name="connsiteX6" fmla="*/ 279940 w 1323022"/>
                <a:gd name="connsiteY6" fmla="*/ 1257014 h 1257014"/>
                <a:gd name="connsiteX7" fmla="*/ 0 w 1323022"/>
                <a:gd name="connsiteY7" fmla="*/ 1257014 h 1257014"/>
                <a:gd name="connsiteX8" fmla="*/ 534924 w 1323022"/>
                <a:gd name="connsiteY8" fmla="*/ 0 h 1257014"/>
                <a:gd name="connsiteX9" fmla="*/ 823817 w 1323022"/>
                <a:gd name="connsiteY9" fmla="*/ 734568 h 1257014"/>
                <a:gd name="connsiteX10" fmla="*/ 657987 w 1323022"/>
                <a:gd name="connsiteY10" fmla="*/ 329851 h 1257014"/>
                <a:gd name="connsiteX11" fmla="*/ 492157 w 1323022"/>
                <a:gd name="connsiteY11" fmla="*/ 734568 h 1257014"/>
                <a:gd name="connsiteX12" fmla="*/ 823817 w 1323022"/>
                <a:gd name="connsiteY12" fmla="*/ 734568 h 125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022" h="1257014">
                  <a:moveTo>
                    <a:pt x="534924" y="0"/>
                  </a:moveTo>
                  <a:lnTo>
                    <a:pt x="788099" y="0"/>
                  </a:lnTo>
                  <a:lnTo>
                    <a:pt x="1323023" y="1257014"/>
                  </a:lnTo>
                  <a:lnTo>
                    <a:pt x="1035939" y="1257014"/>
                  </a:lnTo>
                  <a:lnTo>
                    <a:pt x="921829" y="977075"/>
                  </a:lnTo>
                  <a:lnTo>
                    <a:pt x="394049" y="977075"/>
                  </a:lnTo>
                  <a:lnTo>
                    <a:pt x="279940" y="1257014"/>
                  </a:lnTo>
                  <a:lnTo>
                    <a:pt x="0" y="1257014"/>
                  </a:lnTo>
                  <a:lnTo>
                    <a:pt x="534924" y="0"/>
                  </a:lnTo>
                  <a:close/>
                  <a:moveTo>
                    <a:pt x="823817" y="734568"/>
                  </a:moveTo>
                  <a:lnTo>
                    <a:pt x="657987" y="329851"/>
                  </a:lnTo>
                  <a:lnTo>
                    <a:pt x="492157" y="734568"/>
                  </a:lnTo>
                  <a:lnTo>
                    <a:pt x="823817" y="734568"/>
                  </a:lnTo>
                  <a:close/>
                </a:path>
              </a:pathLst>
            </a:custGeom>
            <a:solidFill>
              <a:srgbClr val="44505E"/>
            </a:solidFill>
            <a:ln w="9525" cap="flat">
              <a:noFill/>
              <a:prstDash val="solid"/>
              <a:miter/>
            </a:ln>
          </p:spPr>
          <p:txBody>
            <a:bodyPr rtlCol="0" anchor="ctr"/>
            <a:lstStyle/>
            <a:p>
              <a:endParaRPr lang="pt-BR" noProof="0"/>
            </a:p>
          </p:txBody>
        </p:sp>
        <p:sp>
          <p:nvSpPr>
            <p:cNvPr id="8" name="Freeform: Shape 17">
              <a:extLst>
                <a:ext uri="{FF2B5EF4-FFF2-40B4-BE49-F238E27FC236}">
                  <a16:creationId xmlns:a16="http://schemas.microsoft.com/office/drawing/2014/main" id="{07265F36-AB56-3075-BAFF-E086B4C80525}"/>
                </a:ext>
              </a:extLst>
            </p:cNvPr>
            <p:cNvSpPr/>
            <p:nvPr/>
          </p:nvSpPr>
          <p:spPr>
            <a:xfrm>
              <a:off x="5834078" y="211355"/>
              <a:ext cx="273442" cy="420435"/>
            </a:xfrm>
            <a:custGeom>
              <a:avLst/>
              <a:gdLst>
                <a:gd name="connsiteX0" fmla="*/ 540258 w 1087754"/>
                <a:gd name="connsiteY0" fmla="*/ 1672495 h 1672494"/>
                <a:gd name="connsiteX1" fmla="*/ 144399 w 1087754"/>
                <a:gd name="connsiteY1" fmla="*/ 1533430 h 1672494"/>
                <a:gd name="connsiteX2" fmla="*/ 0 w 1087754"/>
                <a:gd name="connsiteY2" fmla="*/ 1117949 h 1672494"/>
                <a:gd name="connsiteX3" fmla="*/ 0 w 1087754"/>
                <a:gd name="connsiteY3" fmla="*/ 404717 h 1672494"/>
                <a:gd name="connsiteX4" fmla="*/ 274606 w 1087754"/>
                <a:gd name="connsiteY4" fmla="*/ 404717 h 1672494"/>
                <a:gd name="connsiteX5" fmla="*/ 274606 w 1087754"/>
                <a:gd name="connsiteY5" fmla="*/ 1110806 h 1672494"/>
                <a:gd name="connsiteX6" fmla="*/ 345948 w 1087754"/>
                <a:gd name="connsiteY6" fmla="*/ 1341692 h 1672494"/>
                <a:gd name="connsiteX7" fmla="*/ 543877 w 1087754"/>
                <a:gd name="connsiteY7" fmla="*/ 1419225 h 1672494"/>
                <a:gd name="connsiteX8" fmla="*/ 741807 w 1087754"/>
                <a:gd name="connsiteY8" fmla="*/ 1344359 h 1672494"/>
                <a:gd name="connsiteX9" fmla="*/ 813149 w 1087754"/>
                <a:gd name="connsiteY9" fmla="*/ 1119664 h 1672494"/>
                <a:gd name="connsiteX10" fmla="*/ 813149 w 1087754"/>
                <a:gd name="connsiteY10" fmla="*/ 404717 h 1672494"/>
                <a:gd name="connsiteX11" fmla="*/ 1087755 w 1087754"/>
                <a:gd name="connsiteY11" fmla="*/ 404717 h 1672494"/>
                <a:gd name="connsiteX12" fmla="*/ 1087755 w 1087754"/>
                <a:gd name="connsiteY12" fmla="*/ 1108996 h 1672494"/>
                <a:gd name="connsiteX13" fmla="*/ 1049369 w 1087754"/>
                <a:gd name="connsiteY13" fmla="*/ 1356836 h 1672494"/>
                <a:gd name="connsiteX14" fmla="*/ 939737 w 1087754"/>
                <a:gd name="connsiteY14" fmla="*/ 1532477 h 1672494"/>
                <a:gd name="connsiteX15" fmla="*/ 766763 w 1087754"/>
                <a:gd name="connsiteY15" fmla="*/ 1637729 h 1672494"/>
                <a:gd name="connsiteX16" fmla="*/ 540353 w 1087754"/>
                <a:gd name="connsiteY16" fmla="*/ 1672495 h 1672494"/>
                <a:gd name="connsiteX17" fmla="*/ 622268 w 1087754"/>
                <a:gd name="connsiteY17" fmla="*/ 0 h 1672494"/>
                <a:gd name="connsiteX18" fmla="*/ 855821 w 1087754"/>
                <a:gd name="connsiteY18" fmla="*/ 101632 h 1672494"/>
                <a:gd name="connsiteX19" fmla="*/ 627602 w 1087754"/>
                <a:gd name="connsiteY19" fmla="*/ 315563 h 1672494"/>
                <a:gd name="connsiteX20" fmla="*/ 420719 w 1087754"/>
                <a:gd name="connsiteY20" fmla="*/ 315563 h 1672494"/>
                <a:gd name="connsiteX21" fmla="*/ 622268 w 1087754"/>
                <a:gd name="connsiteY21" fmla="*/ 0 h 16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754" h="1672494">
                  <a:moveTo>
                    <a:pt x="540258" y="1672495"/>
                  </a:moveTo>
                  <a:cubicBezTo>
                    <a:pt x="372618" y="1672495"/>
                    <a:pt x="240697" y="1626108"/>
                    <a:pt x="144399" y="1533430"/>
                  </a:cubicBezTo>
                  <a:cubicBezTo>
                    <a:pt x="48101" y="1440752"/>
                    <a:pt x="0" y="1302258"/>
                    <a:pt x="0" y="1117949"/>
                  </a:cubicBezTo>
                  <a:lnTo>
                    <a:pt x="0" y="404717"/>
                  </a:lnTo>
                  <a:lnTo>
                    <a:pt x="274606" y="404717"/>
                  </a:lnTo>
                  <a:lnTo>
                    <a:pt x="274606" y="1110806"/>
                  </a:lnTo>
                  <a:cubicBezTo>
                    <a:pt x="274606" y="1213009"/>
                    <a:pt x="298418" y="1289971"/>
                    <a:pt x="345948" y="1341692"/>
                  </a:cubicBezTo>
                  <a:cubicBezTo>
                    <a:pt x="393478" y="1393412"/>
                    <a:pt x="459486" y="1419225"/>
                    <a:pt x="543877" y="1419225"/>
                  </a:cubicBezTo>
                  <a:cubicBezTo>
                    <a:pt x="628269" y="1419225"/>
                    <a:pt x="694277" y="1394270"/>
                    <a:pt x="741807" y="1344359"/>
                  </a:cubicBezTo>
                  <a:cubicBezTo>
                    <a:pt x="789337" y="1294448"/>
                    <a:pt x="813149" y="1219581"/>
                    <a:pt x="813149" y="1119664"/>
                  </a:cubicBezTo>
                  <a:lnTo>
                    <a:pt x="813149" y="404717"/>
                  </a:lnTo>
                  <a:lnTo>
                    <a:pt x="1087755" y="404717"/>
                  </a:lnTo>
                  <a:lnTo>
                    <a:pt x="1087755" y="1108996"/>
                  </a:lnTo>
                  <a:cubicBezTo>
                    <a:pt x="1087755" y="1204151"/>
                    <a:pt x="1074992" y="1286732"/>
                    <a:pt x="1049369" y="1356836"/>
                  </a:cubicBezTo>
                  <a:cubicBezTo>
                    <a:pt x="1023747" y="1426940"/>
                    <a:pt x="987266" y="1485519"/>
                    <a:pt x="939737" y="1532477"/>
                  </a:cubicBezTo>
                  <a:cubicBezTo>
                    <a:pt x="892207" y="1579436"/>
                    <a:pt x="834485" y="1614488"/>
                    <a:pt x="766763" y="1637729"/>
                  </a:cubicBezTo>
                  <a:cubicBezTo>
                    <a:pt x="699040" y="1660874"/>
                    <a:pt x="623507" y="1672495"/>
                    <a:pt x="540353" y="1672495"/>
                  </a:cubicBezTo>
                  <a:close/>
                  <a:moveTo>
                    <a:pt x="622268" y="0"/>
                  </a:moveTo>
                  <a:lnTo>
                    <a:pt x="855821" y="101632"/>
                  </a:lnTo>
                  <a:lnTo>
                    <a:pt x="627602" y="315563"/>
                  </a:lnTo>
                  <a:lnTo>
                    <a:pt x="420719" y="315563"/>
                  </a:lnTo>
                  <a:lnTo>
                    <a:pt x="622268" y="0"/>
                  </a:lnTo>
                  <a:close/>
                </a:path>
              </a:pathLst>
            </a:custGeom>
            <a:solidFill>
              <a:srgbClr val="44505E"/>
            </a:solidFill>
            <a:ln w="9525" cap="flat">
              <a:noFill/>
              <a:prstDash val="solid"/>
              <a:miter/>
            </a:ln>
          </p:spPr>
          <p:txBody>
            <a:bodyPr rtlCol="0" anchor="ctr"/>
            <a:lstStyle/>
            <a:p>
              <a:endParaRPr lang="pt-BR" noProof="0"/>
            </a:p>
          </p:txBody>
        </p:sp>
        <p:sp>
          <p:nvSpPr>
            <p:cNvPr id="10" name="Freeform: Shape 18">
              <a:extLst>
                <a:ext uri="{FF2B5EF4-FFF2-40B4-BE49-F238E27FC236}">
                  <a16:creationId xmlns:a16="http://schemas.microsoft.com/office/drawing/2014/main" id="{4002BB59-F612-46D5-C44F-6BFFC1E49767}"/>
                </a:ext>
              </a:extLst>
            </p:cNvPr>
            <p:cNvSpPr/>
            <p:nvPr/>
          </p:nvSpPr>
          <p:spPr>
            <a:xfrm>
              <a:off x="6143795" y="313094"/>
              <a:ext cx="289101" cy="313764"/>
            </a:xfrm>
            <a:custGeom>
              <a:avLst/>
              <a:gdLst>
                <a:gd name="connsiteX0" fmla="*/ 0 w 1150048"/>
                <a:gd name="connsiteY0" fmla="*/ 0 h 1248155"/>
                <a:gd name="connsiteX1" fmla="*/ 486728 w 1150048"/>
                <a:gd name="connsiteY1" fmla="*/ 0 h 1248155"/>
                <a:gd name="connsiteX2" fmla="*/ 755047 w 1150048"/>
                <a:gd name="connsiteY2" fmla="*/ 47244 h 1248155"/>
                <a:gd name="connsiteX3" fmla="*/ 965454 w 1150048"/>
                <a:gd name="connsiteY3" fmla="*/ 178308 h 1248155"/>
                <a:gd name="connsiteX4" fmla="*/ 1101852 w 1150048"/>
                <a:gd name="connsiteY4" fmla="*/ 375380 h 1248155"/>
                <a:gd name="connsiteX5" fmla="*/ 1150049 w 1150048"/>
                <a:gd name="connsiteY5" fmla="*/ 620554 h 1248155"/>
                <a:gd name="connsiteX6" fmla="*/ 1150049 w 1150048"/>
                <a:gd name="connsiteY6" fmla="*/ 624173 h 1248155"/>
                <a:gd name="connsiteX7" fmla="*/ 1101852 w 1150048"/>
                <a:gd name="connsiteY7" fmla="*/ 870204 h 1248155"/>
                <a:gd name="connsiteX8" fmla="*/ 965454 w 1150048"/>
                <a:gd name="connsiteY8" fmla="*/ 1068134 h 1248155"/>
                <a:gd name="connsiteX9" fmla="*/ 755047 w 1150048"/>
                <a:gd name="connsiteY9" fmla="*/ 1200055 h 1248155"/>
                <a:gd name="connsiteX10" fmla="*/ 486728 w 1150048"/>
                <a:gd name="connsiteY10" fmla="*/ 1248156 h 1248155"/>
                <a:gd name="connsiteX11" fmla="*/ 0 w 1150048"/>
                <a:gd name="connsiteY11" fmla="*/ 1248156 h 1248155"/>
                <a:gd name="connsiteX12" fmla="*/ 0 w 1150048"/>
                <a:gd name="connsiteY12" fmla="*/ 0 h 1248155"/>
                <a:gd name="connsiteX13" fmla="*/ 486728 w 1150048"/>
                <a:gd name="connsiteY13" fmla="*/ 1000315 h 1248155"/>
                <a:gd name="connsiteX14" fmla="*/ 640080 w 1150048"/>
                <a:gd name="connsiteY14" fmla="*/ 973550 h 1248155"/>
                <a:gd name="connsiteX15" fmla="*/ 758667 w 1150048"/>
                <a:gd name="connsiteY15" fmla="*/ 896874 h 1248155"/>
                <a:gd name="connsiteX16" fmla="*/ 835343 w 1150048"/>
                <a:gd name="connsiteY16" fmla="*/ 779240 h 1248155"/>
                <a:gd name="connsiteX17" fmla="*/ 862965 w 1150048"/>
                <a:gd name="connsiteY17" fmla="*/ 627698 h 1248155"/>
                <a:gd name="connsiteX18" fmla="*/ 862965 w 1150048"/>
                <a:gd name="connsiteY18" fmla="*/ 624078 h 1248155"/>
                <a:gd name="connsiteX19" fmla="*/ 835343 w 1150048"/>
                <a:gd name="connsiteY19" fmla="*/ 472535 h 1248155"/>
                <a:gd name="connsiteX20" fmla="*/ 758667 w 1150048"/>
                <a:gd name="connsiteY20" fmla="*/ 353092 h 1248155"/>
                <a:gd name="connsiteX21" fmla="*/ 640080 w 1150048"/>
                <a:gd name="connsiteY21" fmla="*/ 275558 h 1248155"/>
                <a:gd name="connsiteX22" fmla="*/ 486728 w 1150048"/>
                <a:gd name="connsiteY22" fmla="*/ 247936 h 1248155"/>
                <a:gd name="connsiteX23" fmla="*/ 274511 w 1150048"/>
                <a:gd name="connsiteY23" fmla="*/ 247936 h 1248155"/>
                <a:gd name="connsiteX24" fmla="*/ 274511 w 1150048"/>
                <a:gd name="connsiteY24" fmla="*/ 1000411 h 1248155"/>
                <a:gd name="connsiteX25" fmla="*/ 486728 w 1150048"/>
                <a:gd name="connsiteY25" fmla="*/ 1000411 h 124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50048" h="1248155">
                  <a:moveTo>
                    <a:pt x="0" y="0"/>
                  </a:moveTo>
                  <a:lnTo>
                    <a:pt x="486728" y="0"/>
                  </a:lnTo>
                  <a:cubicBezTo>
                    <a:pt x="584168" y="0"/>
                    <a:pt x="673608" y="15811"/>
                    <a:pt x="755047" y="47244"/>
                  </a:cubicBezTo>
                  <a:cubicBezTo>
                    <a:pt x="836486" y="78772"/>
                    <a:pt x="906590" y="122396"/>
                    <a:pt x="965454" y="178308"/>
                  </a:cubicBezTo>
                  <a:cubicBezTo>
                    <a:pt x="1024319" y="234220"/>
                    <a:pt x="1069753" y="299847"/>
                    <a:pt x="1101852" y="375380"/>
                  </a:cubicBezTo>
                  <a:cubicBezTo>
                    <a:pt x="1133951" y="450914"/>
                    <a:pt x="1150049" y="532543"/>
                    <a:pt x="1150049" y="620554"/>
                  </a:cubicBezTo>
                  <a:lnTo>
                    <a:pt x="1150049" y="624173"/>
                  </a:lnTo>
                  <a:cubicBezTo>
                    <a:pt x="1150049" y="712184"/>
                    <a:pt x="1133951" y="794195"/>
                    <a:pt x="1101852" y="870204"/>
                  </a:cubicBezTo>
                  <a:cubicBezTo>
                    <a:pt x="1069753" y="946309"/>
                    <a:pt x="1024319" y="1012222"/>
                    <a:pt x="965454" y="1068134"/>
                  </a:cubicBezTo>
                  <a:cubicBezTo>
                    <a:pt x="906590" y="1124045"/>
                    <a:pt x="836486" y="1167956"/>
                    <a:pt x="755047" y="1200055"/>
                  </a:cubicBezTo>
                  <a:cubicBezTo>
                    <a:pt x="673608" y="1232154"/>
                    <a:pt x="584168" y="1248156"/>
                    <a:pt x="486728" y="1248156"/>
                  </a:cubicBezTo>
                  <a:lnTo>
                    <a:pt x="0" y="1248156"/>
                  </a:lnTo>
                  <a:lnTo>
                    <a:pt x="0" y="0"/>
                  </a:lnTo>
                  <a:close/>
                  <a:moveTo>
                    <a:pt x="486728" y="1000315"/>
                  </a:moveTo>
                  <a:cubicBezTo>
                    <a:pt x="542639" y="1000315"/>
                    <a:pt x="593693" y="991457"/>
                    <a:pt x="640080" y="973550"/>
                  </a:cubicBezTo>
                  <a:cubicBezTo>
                    <a:pt x="686467" y="955739"/>
                    <a:pt x="725900" y="930211"/>
                    <a:pt x="758667" y="896874"/>
                  </a:cubicBezTo>
                  <a:cubicBezTo>
                    <a:pt x="791337" y="863632"/>
                    <a:pt x="816864" y="824389"/>
                    <a:pt x="835343" y="779240"/>
                  </a:cubicBezTo>
                  <a:cubicBezTo>
                    <a:pt x="853726" y="734092"/>
                    <a:pt x="862965" y="683609"/>
                    <a:pt x="862965" y="627698"/>
                  </a:cubicBezTo>
                  <a:lnTo>
                    <a:pt x="862965" y="624078"/>
                  </a:lnTo>
                  <a:cubicBezTo>
                    <a:pt x="862965" y="569404"/>
                    <a:pt x="853726" y="518827"/>
                    <a:pt x="835343" y="472535"/>
                  </a:cubicBezTo>
                  <a:cubicBezTo>
                    <a:pt x="816864" y="426149"/>
                    <a:pt x="791337" y="386334"/>
                    <a:pt x="758667" y="353092"/>
                  </a:cubicBezTo>
                  <a:cubicBezTo>
                    <a:pt x="725996" y="319849"/>
                    <a:pt x="686467" y="293941"/>
                    <a:pt x="640080" y="275558"/>
                  </a:cubicBezTo>
                  <a:cubicBezTo>
                    <a:pt x="593693" y="257175"/>
                    <a:pt x="542639" y="247936"/>
                    <a:pt x="486728" y="247936"/>
                  </a:cubicBezTo>
                  <a:lnTo>
                    <a:pt x="274511" y="247936"/>
                  </a:lnTo>
                  <a:lnTo>
                    <a:pt x="274511" y="1000411"/>
                  </a:lnTo>
                  <a:lnTo>
                    <a:pt x="486728" y="1000411"/>
                  </a:lnTo>
                  <a:close/>
                </a:path>
              </a:pathLst>
            </a:custGeom>
            <a:solidFill>
              <a:srgbClr val="44505E"/>
            </a:solidFill>
            <a:ln w="9525" cap="flat">
              <a:noFill/>
              <a:prstDash val="solid"/>
              <a:miter/>
            </a:ln>
          </p:spPr>
          <p:txBody>
            <a:bodyPr rtlCol="0" anchor="ctr"/>
            <a:lstStyle/>
            <a:p>
              <a:endParaRPr lang="pt-BR" noProof="0"/>
            </a:p>
          </p:txBody>
        </p:sp>
        <p:sp>
          <p:nvSpPr>
            <p:cNvPr id="16" name="Freeform: Shape 19">
              <a:extLst>
                <a:ext uri="{FF2B5EF4-FFF2-40B4-BE49-F238E27FC236}">
                  <a16:creationId xmlns:a16="http://schemas.microsoft.com/office/drawing/2014/main" id="{B091C4FB-394F-AA6D-21C9-960D40DD8A50}"/>
                </a:ext>
              </a:extLst>
            </p:cNvPr>
            <p:cNvSpPr/>
            <p:nvPr/>
          </p:nvSpPr>
          <p:spPr>
            <a:xfrm>
              <a:off x="6460217" y="313094"/>
              <a:ext cx="238459" cy="313788"/>
            </a:xfrm>
            <a:custGeom>
              <a:avLst/>
              <a:gdLst>
                <a:gd name="connsiteX0" fmla="*/ 95 w 948594"/>
                <a:gd name="connsiteY0" fmla="*/ 0 h 1248251"/>
                <a:gd name="connsiteX1" fmla="*/ 939737 w 948594"/>
                <a:gd name="connsiteY1" fmla="*/ 0 h 1248251"/>
                <a:gd name="connsiteX2" fmla="*/ 939737 w 948594"/>
                <a:gd name="connsiteY2" fmla="*/ 244316 h 1248251"/>
                <a:gd name="connsiteX3" fmla="*/ 271081 w 948594"/>
                <a:gd name="connsiteY3" fmla="*/ 244316 h 1248251"/>
                <a:gd name="connsiteX4" fmla="*/ 271081 w 948594"/>
                <a:gd name="connsiteY4" fmla="*/ 497491 h 1248251"/>
                <a:gd name="connsiteX5" fmla="*/ 859441 w 948594"/>
                <a:gd name="connsiteY5" fmla="*/ 497491 h 1248251"/>
                <a:gd name="connsiteX6" fmla="*/ 859441 w 948594"/>
                <a:gd name="connsiteY6" fmla="*/ 741807 h 1248251"/>
                <a:gd name="connsiteX7" fmla="*/ 271081 w 948594"/>
                <a:gd name="connsiteY7" fmla="*/ 741807 h 1248251"/>
                <a:gd name="connsiteX8" fmla="*/ 271081 w 948594"/>
                <a:gd name="connsiteY8" fmla="*/ 1003935 h 1248251"/>
                <a:gd name="connsiteX9" fmla="*/ 948595 w 948594"/>
                <a:gd name="connsiteY9" fmla="*/ 1003935 h 1248251"/>
                <a:gd name="connsiteX10" fmla="*/ 948595 w 948594"/>
                <a:gd name="connsiteY10" fmla="*/ 1248251 h 1248251"/>
                <a:gd name="connsiteX11" fmla="*/ 0 w 948594"/>
                <a:gd name="connsiteY11" fmla="*/ 1248251 h 1248251"/>
                <a:gd name="connsiteX12" fmla="*/ 0 w 948594"/>
                <a:gd name="connsiteY12" fmla="*/ 0 h 124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594" h="1248251">
                  <a:moveTo>
                    <a:pt x="95" y="0"/>
                  </a:moveTo>
                  <a:lnTo>
                    <a:pt x="939737" y="0"/>
                  </a:lnTo>
                  <a:lnTo>
                    <a:pt x="939737" y="244316"/>
                  </a:lnTo>
                  <a:lnTo>
                    <a:pt x="271081" y="244316"/>
                  </a:lnTo>
                  <a:lnTo>
                    <a:pt x="271081" y="497491"/>
                  </a:lnTo>
                  <a:lnTo>
                    <a:pt x="859441" y="497491"/>
                  </a:lnTo>
                  <a:lnTo>
                    <a:pt x="859441" y="741807"/>
                  </a:lnTo>
                  <a:lnTo>
                    <a:pt x="271081" y="741807"/>
                  </a:lnTo>
                  <a:lnTo>
                    <a:pt x="271081" y="1003935"/>
                  </a:lnTo>
                  <a:lnTo>
                    <a:pt x="948595" y="1003935"/>
                  </a:lnTo>
                  <a:lnTo>
                    <a:pt x="948595" y="1248251"/>
                  </a:lnTo>
                  <a:lnTo>
                    <a:pt x="0" y="1248251"/>
                  </a:lnTo>
                  <a:lnTo>
                    <a:pt x="0" y="0"/>
                  </a:lnTo>
                  <a:close/>
                </a:path>
              </a:pathLst>
            </a:custGeom>
            <a:solidFill>
              <a:srgbClr val="44505E"/>
            </a:solidFill>
            <a:ln w="9525" cap="flat">
              <a:noFill/>
              <a:prstDash val="solid"/>
              <a:miter/>
            </a:ln>
          </p:spPr>
          <p:txBody>
            <a:bodyPr rtlCol="0" anchor="ctr"/>
            <a:lstStyle/>
            <a:p>
              <a:endParaRPr lang="pt-BR" noProof="0"/>
            </a:p>
          </p:txBody>
        </p:sp>
        <p:sp>
          <p:nvSpPr>
            <p:cNvPr id="59" name="Freeform: Shape 20">
              <a:extLst>
                <a:ext uri="{FF2B5EF4-FFF2-40B4-BE49-F238E27FC236}">
                  <a16:creationId xmlns:a16="http://schemas.microsoft.com/office/drawing/2014/main" id="{23AA50EE-2A8C-3FD2-E367-2252CCDE6B29}"/>
                </a:ext>
              </a:extLst>
            </p:cNvPr>
            <p:cNvSpPr/>
            <p:nvPr/>
          </p:nvSpPr>
          <p:spPr>
            <a:xfrm>
              <a:off x="5253193" y="699983"/>
              <a:ext cx="90796" cy="97883"/>
            </a:xfrm>
            <a:custGeom>
              <a:avLst/>
              <a:gdLst>
                <a:gd name="connsiteX0" fmla="*/ 191548 w 361187"/>
                <a:gd name="connsiteY0" fmla="*/ 389382 h 389381"/>
                <a:gd name="connsiteX1" fmla="*/ 116300 w 361187"/>
                <a:gd name="connsiteY1" fmla="*/ 375285 h 389381"/>
                <a:gd name="connsiteX2" fmla="*/ 55531 w 361187"/>
                <a:gd name="connsiteY2" fmla="*/ 335756 h 389381"/>
                <a:gd name="connsiteX3" fmla="*/ 14859 w 361187"/>
                <a:gd name="connsiteY3" fmla="*/ 274606 h 389381"/>
                <a:gd name="connsiteX4" fmla="*/ 0 w 361187"/>
                <a:gd name="connsiteY4" fmla="*/ 195834 h 389381"/>
                <a:gd name="connsiteX5" fmla="*/ 0 w 361187"/>
                <a:gd name="connsiteY5" fmla="*/ 194405 h 389381"/>
                <a:gd name="connsiteX6" fmla="*/ 13430 w 361187"/>
                <a:gd name="connsiteY6" fmla="*/ 118777 h 389381"/>
                <a:gd name="connsiteX7" fmla="*/ 51245 w 361187"/>
                <a:gd name="connsiteY7" fmla="*/ 56959 h 389381"/>
                <a:gd name="connsiteX8" fmla="*/ 108871 w 361187"/>
                <a:gd name="connsiteY8" fmla="*/ 15240 h 389381"/>
                <a:gd name="connsiteX9" fmla="*/ 182404 w 361187"/>
                <a:gd name="connsiteY9" fmla="*/ 0 h 389381"/>
                <a:gd name="connsiteX10" fmla="*/ 260509 w 361187"/>
                <a:gd name="connsiteY10" fmla="*/ 16288 h 389381"/>
                <a:gd name="connsiteX11" fmla="*/ 316325 w 361187"/>
                <a:gd name="connsiteY11" fmla="*/ 60103 h 389381"/>
                <a:gd name="connsiteX12" fmla="*/ 349853 w 361187"/>
                <a:gd name="connsiteY12" fmla="*/ 124015 h 389381"/>
                <a:gd name="connsiteX13" fmla="*/ 361188 w 361187"/>
                <a:gd name="connsiteY13" fmla="*/ 200692 h 389381"/>
                <a:gd name="connsiteX14" fmla="*/ 360807 w 361187"/>
                <a:gd name="connsiteY14" fmla="*/ 212312 h 389381"/>
                <a:gd name="connsiteX15" fmla="*/ 359759 w 361187"/>
                <a:gd name="connsiteY15" fmla="*/ 224695 h 389381"/>
                <a:gd name="connsiteX16" fmla="*/ 85534 w 361187"/>
                <a:gd name="connsiteY16" fmla="*/ 224695 h 389381"/>
                <a:gd name="connsiteX17" fmla="*/ 121920 w 361187"/>
                <a:gd name="connsiteY17" fmla="*/ 294989 h 389381"/>
                <a:gd name="connsiteX18" fmla="*/ 192977 w 361187"/>
                <a:gd name="connsiteY18" fmla="*/ 319373 h 389381"/>
                <a:gd name="connsiteX19" fmla="*/ 248126 w 361187"/>
                <a:gd name="connsiteY19" fmla="*/ 308038 h 389381"/>
                <a:gd name="connsiteX20" fmla="*/ 294037 w 361187"/>
                <a:gd name="connsiteY20" fmla="*/ 274796 h 389381"/>
                <a:gd name="connsiteX21" fmla="*/ 344234 w 361187"/>
                <a:gd name="connsiteY21" fmla="*/ 319278 h 389381"/>
                <a:gd name="connsiteX22" fmla="*/ 280226 w 361187"/>
                <a:gd name="connsiteY22" fmla="*/ 370141 h 389381"/>
                <a:gd name="connsiteX23" fmla="*/ 191548 w 361187"/>
                <a:gd name="connsiteY23" fmla="*/ 389191 h 389381"/>
                <a:gd name="connsiteX24" fmla="*/ 276320 w 361187"/>
                <a:gd name="connsiteY24" fmla="*/ 168211 h 389381"/>
                <a:gd name="connsiteX25" fmla="*/ 267176 w 361187"/>
                <a:gd name="connsiteY25" fmla="*/ 129730 h 389381"/>
                <a:gd name="connsiteX26" fmla="*/ 248126 w 361187"/>
                <a:gd name="connsiteY26" fmla="*/ 98679 h 389381"/>
                <a:gd name="connsiteX27" fmla="*/ 219551 w 361187"/>
                <a:gd name="connsiteY27" fmla="*/ 77819 h 389381"/>
                <a:gd name="connsiteX28" fmla="*/ 181737 w 361187"/>
                <a:gd name="connsiteY28" fmla="*/ 70009 h 389381"/>
                <a:gd name="connsiteX29" fmla="*/ 116396 w 361187"/>
                <a:gd name="connsiteY29" fmla="*/ 97250 h 389381"/>
                <a:gd name="connsiteX30" fmla="*/ 84963 w 361187"/>
                <a:gd name="connsiteY30" fmla="*/ 168307 h 389381"/>
                <a:gd name="connsiteX31" fmla="*/ 276511 w 361187"/>
                <a:gd name="connsiteY31" fmla="*/ 168307 h 38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187" h="389381">
                  <a:moveTo>
                    <a:pt x="191548" y="389382"/>
                  </a:moveTo>
                  <a:cubicBezTo>
                    <a:pt x="164687" y="389382"/>
                    <a:pt x="139637" y="384715"/>
                    <a:pt x="116300" y="375285"/>
                  </a:cubicBezTo>
                  <a:cubicBezTo>
                    <a:pt x="92964" y="365855"/>
                    <a:pt x="72771" y="352711"/>
                    <a:pt x="55531" y="335756"/>
                  </a:cubicBezTo>
                  <a:cubicBezTo>
                    <a:pt x="38291" y="318802"/>
                    <a:pt x="24765" y="298418"/>
                    <a:pt x="14859" y="274606"/>
                  </a:cubicBezTo>
                  <a:cubicBezTo>
                    <a:pt x="4953" y="250793"/>
                    <a:pt x="0" y="224599"/>
                    <a:pt x="0" y="195834"/>
                  </a:cubicBezTo>
                  <a:lnTo>
                    <a:pt x="0" y="194405"/>
                  </a:lnTo>
                  <a:cubicBezTo>
                    <a:pt x="0" y="167545"/>
                    <a:pt x="4477" y="142399"/>
                    <a:pt x="13430" y="118777"/>
                  </a:cubicBezTo>
                  <a:cubicBezTo>
                    <a:pt x="22384" y="95250"/>
                    <a:pt x="34957" y="74581"/>
                    <a:pt x="51245" y="56959"/>
                  </a:cubicBezTo>
                  <a:cubicBezTo>
                    <a:pt x="67532" y="39338"/>
                    <a:pt x="86677" y="25432"/>
                    <a:pt x="108871" y="15240"/>
                  </a:cubicBezTo>
                  <a:cubicBezTo>
                    <a:pt x="131064" y="5143"/>
                    <a:pt x="155543" y="0"/>
                    <a:pt x="182404" y="0"/>
                  </a:cubicBezTo>
                  <a:cubicBezTo>
                    <a:pt x="212122" y="0"/>
                    <a:pt x="238125" y="5429"/>
                    <a:pt x="260509" y="16288"/>
                  </a:cubicBezTo>
                  <a:cubicBezTo>
                    <a:pt x="282893" y="27146"/>
                    <a:pt x="301466" y="41719"/>
                    <a:pt x="316325" y="60103"/>
                  </a:cubicBezTo>
                  <a:cubicBezTo>
                    <a:pt x="331184" y="78486"/>
                    <a:pt x="342329" y="99822"/>
                    <a:pt x="349853" y="124015"/>
                  </a:cubicBezTo>
                  <a:cubicBezTo>
                    <a:pt x="357378" y="148304"/>
                    <a:pt x="361188" y="173831"/>
                    <a:pt x="361188" y="200692"/>
                  </a:cubicBezTo>
                  <a:cubicBezTo>
                    <a:pt x="361188" y="204502"/>
                    <a:pt x="361093" y="208312"/>
                    <a:pt x="360807" y="212312"/>
                  </a:cubicBezTo>
                  <a:cubicBezTo>
                    <a:pt x="360521" y="216313"/>
                    <a:pt x="360236" y="220409"/>
                    <a:pt x="359759" y="224695"/>
                  </a:cubicBezTo>
                  <a:lnTo>
                    <a:pt x="85534" y="224695"/>
                  </a:lnTo>
                  <a:cubicBezTo>
                    <a:pt x="90202" y="255365"/>
                    <a:pt x="102394" y="278797"/>
                    <a:pt x="121920" y="294989"/>
                  </a:cubicBezTo>
                  <a:cubicBezTo>
                    <a:pt x="141446" y="311277"/>
                    <a:pt x="165164" y="319373"/>
                    <a:pt x="192977" y="319373"/>
                  </a:cubicBezTo>
                  <a:cubicBezTo>
                    <a:pt x="214217" y="319373"/>
                    <a:pt x="232505" y="315563"/>
                    <a:pt x="248126" y="308038"/>
                  </a:cubicBezTo>
                  <a:cubicBezTo>
                    <a:pt x="263652" y="300514"/>
                    <a:pt x="278987" y="289465"/>
                    <a:pt x="294037" y="274796"/>
                  </a:cubicBezTo>
                  <a:lnTo>
                    <a:pt x="344234" y="319278"/>
                  </a:lnTo>
                  <a:cubicBezTo>
                    <a:pt x="326327" y="340519"/>
                    <a:pt x="304991" y="357473"/>
                    <a:pt x="280226" y="370141"/>
                  </a:cubicBezTo>
                  <a:cubicBezTo>
                    <a:pt x="255461" y="382810"/>
                    <a:pt x="225933" y="389191"/>
                    <a:pt x="191548" y="389191"/>
                  </a:cubicBezTo>
                  <a:close/>
                  <a:moveTo>
                    <a:pt x="276320" y="168211"/>
                  </a:moveTo>
                  <a:cubicBezTo>
                    <a:pt x="274892" y="154591"/>
                    <a:pt x="271844" y="141732"/>
                    <a:pt x="267176" y="129730"/>
                  </a:cubicBezTo>
                  <a:cubicBezTo>
                    <a:pt x="262414" y="117729"/>
                    <a:pt x="256127" y="107347"/>
                    <a:pt x="248126" y="98679"/>
                  </a:cubicBezTo>
                  <a:cubicBezTo>
                    <a:pt x="240125" y="89916"/>
                    <a:pt x="230600" y="82963"/>
                    <a:pt x="219551" y="77819"/>
                  </a:cubicBezTo>
                  <a:cubicBezTo>
                    <a:pt x="208502" y="72676"/>
                    <a:pt x="195834" y="70009"/>
                    <a:pt x="181737" y="70009"/>
                  </a:cubicBezTo>
                  <a:cubicBezTo>
                    <a:pt x="155353" y="70009"/>
                    <a:pt x="133541" y="79057"/>
                    <a:pt x="116396" y="97250"/>
                  </a:cubicBezTo>
                  <a:cubicBezTo>
                    <a:pt x="99155" y="115348"/>
                    <a:pt x="88678" y="139065"/>
                    <a:pt x="84963" y="168307"/>
                  </a:cubicBezTo>
                  <a:lnTo>
                    <a:pt x="276511" y="168307"/>
                  </a:lnTo>
                  <a:close/>
                </a:path>
              </a:pathLst>
            </a:custGeom>
            <a:solidFill>
              <a:srgbClr val="44505E"/>
            </a:solidFill>
            <a:ln w="9525" cap="flat">
              <a:noFill/>
              <a:prstDash val="solid"/>
              <a:miter/>
            </a:ln>
          </p:spPr>
          <p:txBody>
            <a:bodyPr rtlCol="0" anchor="ctr"/>
            <a:lstStyle/>
            <a:p>
              <a:endParaRPr lang="pt-BR" noProof="0"/>
            </a:p>
          </p:txBody>
        </p:sp>
        <p:sp>
          <p:nvSpPr>
            <p:cNvPr id="60" name="Freeform: Shape 21">
              <a:extLst>
                <a:ext uri="{FF2B5EF4-FFF2-40B4-BE49-F238E27FC236}">
                  <a16:creationId xmlns:a16="http://schemas.microsoft.com/office/drawing/2014/main" id="{28BC7D20-E10F-E89B-1661-51F22EF83E12}"/>
                </a:ext>
              </a:extLst>
            </p:cNvPr>
            <p:cNvSpPr/>
            <p:nvPr/>
          </p:nvSpPr>
          <p:spPr>
            <a:xfrm>
              <a:off x="5365659"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5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8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3 w 568166"/>
                <a:gd name="connsiteY21" fmla="*/ 381000 h 381000"/>
                <a:gd name="connsiteX22" fmla="*/ 240983 w 568166"/>
                <a:gd name="connsiteY22" fmla="*/ 168783 h 381000"/>
                <a:gd name="connsiteX23" fmla="*/ 221266 w 568166"/>
                <a:gd name="connsiteY23" fmla="*/ 101822 h 381000"/>
                <a:gd name="connsiteX24" fmla="*/ 165640 w 568166"/>
                <a:gd name="connsiteY24" fmla="*/ 78581 h 381000"/>
                <a:gd name="connsiteX25" fmla="*/ 108014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70" y="48196"/>
                    <a:pt x="105918" y="40576"/>
                  </a:cubicBezTo>
                  <a:cubicBezTo>
                    <a:pt x="112967" y="32956"/>
                    <a:pt x="121063" y="26099"/>
                    <a:pt x="130207" y="19907"/>
                  </a:cubicBezTo>
                  <a:cubicBezTo>
                    <a:pt x="139351" y="13716"/>
                    <a:pt x="149733" y="8858"/>
                    <a:pt x="161163" y="5334"/>
                  </a:cubicBezTo>
                  <a:cubicBezTo>
                    <a:pt x="172688" y="1714"/>
                    <a:pt x="185452" y="0"/>
                    <a:pt x="199549" y="0"/>
                  </a:cubicBezTo>
                  <a:cubicBezTo>
                    <a:pt x="226314" y="0"/>
                    <a:pt x="248984" y="6096"/>
                    <a:pt x="267557" y="18193"/>
                  </a:cubicBezTo>
                  <a:cubicBezTo>
                    <a:pt x="286131" y="30289"/>
                    <a:pt x="300323" y="46387"/>
                    <a:pt x="310134" y="66294"/>
                  </a:cubicBezTo>
                  <a:cubicBezTo>
                    <a:pt x="325279" y="46387"/>
                    <a:pt x="343091" y="30289"/>
                    <a:pt x="363665" y="18193"/>
                  </a:cubicBezTo>
                  <a:cubicBezTo>
                    <a:pt x="384239" y="6096"/>
                    <a:pt x="408718" y="0"/>
                    <a:pt x="437007" y="0"/>
                  </a:cubicBezTo>
                  <a:cubicBezTo>
                    <a:pt x="478060"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8" y="78486"/>
                  </a:cubicBezTo>
                  <a:cubicBezTo>
                    <a:pt x="382810" y="78486"/>
                    <a:pt x="364141" y="86392"/>
                    <a:pt x="349377" y="102108"/>
                  </a:cubicBezTo>
                  <a:cubicBezTo>
                    <a:pt x="334613" y="117824"/>
                    <a:pt x="327184" y="140779"/>
                    <a:pt x="327184" y="170879"/>
                  </a:cubicBezTo>
                  <a:lnTo>
                    <a:pt x="327184" y="381000"/>
                  </a:lnTo>
                  <a:lnTo>
                    <a:pt x="240983" y="381000"/>
                  </a:lnTo>
                  <a:lnTo>
                    <a:pt x="240983" y="168783"/>
                  </a:lnTo>
                  <a:cubicBezTo>
                    <a:pt x="240983" y="139637"/>
                    <a:pt x="234410" y="117348"/>
                    <a:pt x="221266" y="101822"/>
                  </a:cubicBezTo>
                  <a:cubicBezTo>
                    <a:pt x="208121" y="86296"/>
                    <a:pt x="189643" y="78581"/>
                    <a:pt x="165640" y="78581"/>
                  </a:cubicBezTo>
                  <a:cubicBezTo>
                    <a:pt x="141637" y="78581"/>
                    <a:pt x="122492" y="86773"/>
                    <a:pt x="108014"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61" name="Freeform: Shape 22">
              <a:extLst>
                <a:ext uri="{FF2B5EF4-FFF2-40B4-BE49-F238E27FC236}">
                  <a16:creationId xmlns:a16="http://schemas.microsoft.com/office/drawing/2014/main" id="{E1C44554-7585-2BA2-5A5B-02179E483C8F}"/>
                </a:ext>
              </a:extLst>
            </p:cNvPr>
            <p:cNvSpPr/>
            <p:nvPr/>
          </p:nvSpPr>
          <p:spPr>
            <a:xfrm>
              <a:off x="5587693" y="700007"/>
              <a:ext cx="84211" cy="95752"/>
            </a:xfrm>
            <a:custGeom>
              <a:avLst/>
              <a:gdLst>
                <a:gd name="connsiteX0" fmla="*/ 95 w 334994"/>
                <a:gd name="connsiteY0" fmla="*/ 7715 h 380904"/>
                <a:gd name="connsiteX1" fmla="*/ 86296 w 334994"/>
                <a:gd name="connsiteY1" fmla="*/ 7715 h 380904"/>
                <a:gd name="connsiteX2" fmla="*/ 86296 w 334994"/>
                <a:gd name="connsiteY2" fmla="*/ 66294 h 380904"/>
                <a:gd name="connsiteX3" fmla="*/ 106394 w 334994"/>
                <a:gd name="connsiteY3" fmla="*/ 40958 h 380904"/>
                <a:gd name="connsiteX4" fmla="*/ 131731 w 334994"/>
                <a:gd name="connsiteY4" fmla="*/ 19907 h 380904"/>
                <a:gd name="connsiteX5" fmla="*/ 163449 w 334994"/>
                <a:gd name="connsiteY5" fmla="*/ 5334 h 380904"/>
                <a:gd name="connsiteX6" fmla="*/ 202597 w 334994"/>
                <a:gd name="connsiteY6" fmla="*/ 0 h 380904"/>
                <a:gd name="connsiteX7" fmla="*/ 300514 w 334994"/>
                <a:gd name="connsiteY7" fmla="*/ 38862 h 380904"/>
                <a:gd name="connsiteX8" fmla="*/ 334994 w 334994"/>
                <a:gd name="connsiteY8" fmla="*/ 143446 h 380904"/>
                <a:gd name="connsiteX9" fmla="*/ 334994 w 334994"/>
                <a:gd name="connsiteY9" fmla="*/ 380905 h 380904"/>
                <a:gd name="connsiteX10" fmla="*/ 248793 w 334994"/>
                <a:gd name="connsiteY10" fmla="*/ 380905 h 380904"/>
                <a:gd name="connsiteX11" fmla="*/ 248793 w 334994"/>
                <a:gd name="connsiteY11" fmla="*/ 169450 h 380904"/>
                <a:gd name="connsiteX12" fmla="*/ 228124 w 334994"/>
                <a:gd name="connsiteY12" fmla="*/ 102108 h 380904"/>
                <a:gd name="connsiteX13" fmla="*/ 169640 w 334994"/>
                <a:gd name="connsiteY13" fmla="*/ 78486 h 380904"/>
                <a:gd name="connsiteX14" fmla="*/ 109347 w 334994"/>
                <a:gd name="connsiteY14" fmla="*/ 102775 h 380904"/>
                <a:gd name="connsiteX15" fmla="*/ 86201 w 334994"/>
                <a:gd name="connsiteY15" fmla="*/ 170783 h 380904"/>
                <a:gd name="connsiteX16" fmla="*/ 86201 w 334994"/>
                <a:gd name="connsiteY16" fmla="*/ 380905 h 380904"/>
                <a:gd name="connsiteX17" fmla="*/ 0 w 334994"/>
                <a:gd name="connsiteY17" fmla="*/ 380905 h 380904"/>
                <a:gd name="connsiteX18" fmla="*/ 0 w 334994"/>
                <a:gd name="connsiteY18" fmla="*/ 7810 h 38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94" h="380904">
                  <a:moveTo>
                    <a:pt x="95" y="7715"/>
                  </a:moveTo>
                  <a:lnTo>
                    <a:pt x="86296" y="7715"/>
                  </a:lnTo>
                  <a:lnTo>
                    <a:pt x="86296" y="66294"/>
                  </a:lnTo>
                  <a:cubicBezTo>
                    <a:pt x="92392" y="57245"/>
                    <a:pt x="99060" y="48863"/>
                    <a:pt x="106394" y="40958"/>
                  </a:cubicBezTo>
                  <a:cubicBezTo>
                    <a:pt x="113633" y="33147"/>
                    <a:pt x="122110" y="26099"/>
                    <a:pt x="131731" y="19907"/>
                  </a:cubicBezTo>
                  <a:cubicBezTo>
                    <a:pt x="141351" y="13716"/>
                    <a:pt x="151924" y="8858"/>
                    <a:pt x="163449" y="5334"/>
                  </a:cubicBezTo>
                  <a:cubicBezTo>
                    <a:pt x="174974" y="1714"/>
                    <a:pt x="188024" y="0"/>
                    <a:pt x="202597" y="0"/>
                  </a:cubicBezTo>
                  <a:cubicBezTo>
                    <a:pt x="244888" y="0"/>
                    <a:pt x="277559" y="12954"/>
                    <a:pt x="300514" y="38862"/>
                  </a:cubicBezTo>
                  <a:cubicBezTo>
                    <a:pt x="323564" y="64770"/>
                    <a:pt x="334994" y="99631"/>
                    <a:pt x="334994" y="143446"/>
                  </a:cubicBezTo>
                  <a:lnTo>
                    <a:pt x="334994" y="380905"/>
                  </a:lnTo>
                  <a:lnTo>
                    <a:pt x="248793" y="380905"/>
                  </a:lnTo>
                  <a:lnTo>
                    <a:pt x="248793" y="169450"/>
                  </a:lnTo>
                  <a:cubicBezTo>
                    <a:pt x="248793" y="140303"/>
                    <a:pt x="241935" y="117824"/>
                    <a:pt x="228124" y="102108"/>
                  </a:cubicBezTo>
                  <a:cubicBezTo>
                    <a:pt x="214313" y="86392"/>
                    <a:pt x="194881" y="78486"/>
                    <a:pt x="169640" y="78486"/>
                  </a:cubicBezTo>
                  <a:cubicBezTo>
                    <a:pt x="144399" y="78486"/>
                    <a:pt x="124777" y="86582"/>
                    <a:pt x="109347" y="102775"/>
                  </a:cubicBezTo>
                  <a:cubicBezTo>
                    <a:pt x="93917" y="118967"/>
                    <a:pt x="86201" y="141637"/>
                    <a:pt x="86201" y="170783"/>
                  </a:cubicBezTo>
                  <a:lnTo>
                    <a:pt x="86201" y="380905"/>
                  </a:lnTo>
                  <a:lnTo>
                    <a:pt x="0" y="380905"/>
                  </a:lnTo>
                  <a:lnTo>
                    <a:pt x="0" y="7810"/>
                  </a:lnTo>
                  <a:close/>
                </a:path>
              </a:pathLst>
            </a:custGeom>
            <a:solidFill>
              <a:srgbClr val="44505E"/>
            </a:solidFill>
            <a:ln w="9525" cap="flat">
              <a:noFill/>
              <a:prstDash val="solid"/>
              <a:miter/>
            </a:ln>
          </p:spPr>
          <p:txBody>
            <a:bodyPr rtlCol="0" anchor="ctr"/>
            <a:lstStyle/>
            <a:p>
              <a:endParaRPr lang="pt-BR" noProof="0"/>
            </a:p>
          </p:txBody>
        </p:sp>
        <p:sp>
          <p:nvSpPr>
            <p:cNvPr id="62" name="Freeform: Shape 23">
              <a:extLst>
                <a:ext uri="{FF2B5EF4-FFF2-40B4-BE49-F238E27FC236}">
                  <a16:creationId xmlns:a16="http://schemas.microsoft.com/office/drawing/2014/main" id="{80866DD4-F409-70CD-8B4F-753ED942AB70}"/>
                </a:ext>
              </a:extLst>
            </p:cNvPr>
            <p:cNvSpPr/>
            <p:nvPr/>
          </p:nvSpPr>
          <p:spPr>
            <a:xfrm>
              <a:off x="5692712" y="699959"/>
              <a:ext cx="100015" cy="97908"/>
            </a:xfrm>
            <a:custGeom>
              <a:avLst/>
              <a:gdLst>
                <a:gd name="connsiteX0" fmla="*/ 197834 w 397859"/>
                <a:gd name="connsiteY0" fmla="*/ 389477 h 389477"/>
                <a:gd name="connsiteX1" fmla="*/ 119063 w 397859"/>
                <a:gd name="connsiteY1" fmla="*/ 374237 h 389477"/>
                <a:gd name="connsiteX2" fmla="*/ 56197 w 397859"/>
                <a:gd name="connsiteY2" fmla="*/ 332899 h 389477"/>
                <a:gd name="connsiteX3" fmla="*/ 14859 w 397859"/>
                <a:gd name="connsiteY3" fmla="*/ 271463 h 389477"/>
                <a:gd name="connsiteX4" fmla="*/ 0 w 397859"/>
                <a:gd name="connsiteY4" fmla="*/ 196501 h 389477"/>
                <a:gd name="connsiteX5" fmla="*/ 0 w 397859"/>
                <a:gd name="connsiteY5" fmla="*/ 195072 h 389477"/>
                <a:gd name="connsiteX6" fmla="*/ 15145 w 397859"/>
                <a:gd name="connsiteY6" fmla="*/ 119444 h 389477"/>
                <a:gd name="connsiteX7" fmla="*/ 56864 w 397859"/>
                <a:gd name="connsiteY7" fmla="*/ 57626 h 389477"/>
                <a:gd name="connsiteX8" fmla="*/ 119729 w 397859"/>
                <a:gd name="connsiteY8" fmla="*/ 15526 h 389477"/>
                <a:gd name="connsiteX9" fmla="*/ 199263 w 397859"/>
                <a:gd name="connsiteY9" fmla="*/ 0 h 389477"/>
                <a:gd name="connsiteX10" fmla="*/ 278797 w 397859"/>
                <a:gd name="connsiteY10" fmla="*/ 15240 h 389477"/>
                <a:gd name="connsiteX11" fmla="*/ 341662 w 397859"/>
                <a:gd name="connsiteY11" fmla="*/ 56959 h 389477"/>
                <a:gd name="connsiteX12" fmla="*/ 383000 w 397859"/>
                <a:gd name="connsiteY12" fmla="*/ 118396 h 389477"/>
                <a:gd name="connsiteX13" fmla="*/ 397859 w 397859"/>
                <a:gd name="connsiteY13" fmla="*/ 193643 h 389477"/>
                <a:gd name="connsiteX14" fmla="*/ 397859 w 397859"/>
                <a:gd name="connsiteY14" fmla="*/ 195072 h 389477"/>
                <a:gd name="connsiteX15" fmla="*/ 382619 w 397859"/>
                <a:gd name="connsiteY15" fmla="*/ 270034 h 389477"/>
                <a:gd name="connsiteX16" fmla="*/ 340900 w 397859"/>
                <a:gd name="connsiteY16" fmla="*/ 331851 h 389477"/>
                <a:gd name="connsiteX17" fmla="*/ 277654 w 397859"/>
                <a:gd name="connsiteY17" fmla="*/ 373856 h 389477"/>
                <a:gd name="connsiteX18" fmla="*/ 197834 w 397859"/>
                <a:gd name="connsiteY18" fmla="*/ 389382 h 389477"/>
                <a:gd name="connsiteX19" fmla="*/ 199263 w 397859"/>
                <a:gd name="connsiteY19" fmla="*/ 315278 h 389477"/>
                <a:gd name="connsiteX20" fmla="*/ 245935 w 397859"/>
                <a:gd name="connsiteY20" fmla="*/ 305753 h 389477"/>
                <a:gd name="connsiteX21" fmla="*/ 281368 w 397859"/>
                <a:gd name="connsiteY21" fmla="*/ 279940 h 389477"/>
                <a:gd name="connsiteX22" fmla="*/ 303847 w 397859"/>
                <a:gd name="connsiteY22" fmla="*/ 242125 h 389477"/>
                <a:gd name="connsiteX23" fmla="*/ 311563 w 397859"/>
                <a:gd name="connsiteY23" fmla="*/ 196501 h 389477"/>
                <a:gd name="connsiteX24" fmla="*/ 311563 w 397859"/>
                <a:gd name="connsiteY24" fmla="*/ 195072 h 389477"/>
                <a:gd name="connsiteX25" fmla="*/ 303181 w 397859"/>
                <a:gd name="connsiteY25" fmla="*/ 148400 h 389477"/>
                <a:gd name="connsiteX26" fmla="*/ 279654 w 397859"/>
                <a:gd name="connsiteY26" fmla="*/ 110204 h 389477"/>
                <a:gd name="connsiteX27" fmla="*/ 243840 w 397859"/>
                <a:gd name="connsiteY27" fmla="*/ 84392 h 389477"/>
                <a:gd name="connsiteX28" fmla="*/ 197834 w 397859"/>
                <a:gd name="connsiteY28" fmla="*/ 74867 h 389477"/>
                <a:gd name="connsiteX29" fmla="*/ 151829 w 397859"/>
                <a:gd name="connsiteY29" fmla="*/ 84392 h 389477"/>
                <a:gd name="connsiteX30" fmla="*/ 116396 w 397859"/>
                <a:gd name="connsiteY30" fmla="*/ 109823 h 389477"/>
                <a:gd name="connsiteX31" fmla="*/ 93917 w 397859"/>
                <a:gd name="connsiteY31" fmla="*/ 147638 h 389477"/>
                <a:gd name="connsiteX32" fmla="*/ 86201 w 397859"/>
                <a:gd name="connsiteY32" fmla="*/ 193548 h 389477"/>
                <a:gd name="connsiteX33" fmla="*/ 86201 w 397859"/>
                <a:gd name="connsiteY33" fmla="*/ 194977 h 389477"/>
                <a:gd name="connsiteX34" fmla="*/ 94583 w 397859"/>
                <a:gd name="connsiteY34" fmla="*/ 241268 h 389477"/>
                <a:gd name="connsiteX35" fmla="*/ 118110 w 397859"/>
                <a:gd name="connsiteY35" fmla="*/ 279463 h 389477"/>
                <a:gd name="connsiteX36" fmla="*/ 153924 w 397859"/>
                <a:gd name="connsiteY36" fmla="*/ 305562 h 389477"/>
                <a:gd name="connsiteX37" fmla="*/ 199263 w 397859"/>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859" h="389477">
                  <a:moveTo>
                    <a:pt x="197834" y="389477"/>
                  </a:moveTo>
                  <a:cubicBezTo>
                    <a:pt x="169545" y="389477"/>
                    <a:pt x="143351" y="384429"/>
                    <a:pt x="119063" y="374237"/>
                  </a:cubicBezTo>
                  <a:cubicBezTo>
                    <a:pt x="94774" y="364141"/>
                    <a:pt x="73819" y="350330"/>
                    <a:pt x="56197" y="332899"/>
                  </a:cubicBezTo>
                  <a:cubicBezTo>
                    <a:pt x="38481" y="315468"/>
                    <a:pt x="24765" y="294989"/>
                    <a:pt x="14859" y="271463"/>
                  </a:cubicBezTo>
                  <a:cubicBezTo>
                    <a:pt x="4953" y="247936"/>
                    <a:pt x="0" y="222980"/>
                    <a:pt x="0" y="196501"/>
                  </a:cubicBezTo>
                  <a:lnTo>
                    <a:pt x="0" y="195072"/>
                  </a:lnTo>
                  <a:cubicBezTo>
                    <a:pt x="0" y="168212"/>
                    <a:pt x="5048" y="143066"/>
                    <a:pt x="15145" y="119444"/>
                  </a:cubicBezTo>
                  <a:cubicBezTo>
                    <a:pt x="25241" y="95917"/>
                    <a:pt x="39148" y="75248"/>
                    <a:pt x="56864" y="57626"/>
                  </a:cubicBezTo>
                  <a:cubicBezTo>
                    <a:pt x="74581" y="39910"/>
                    <a:pt x="95536" y="25908"/>
                    <a:pt x="119729" y="15526"/>
                  </a:cubicBezTo>
                  <a:cubicBezTo>
                    <a:pt x="144018" y="5144"/>
                    <a:pt x="170497" y="0"/>
                    <a:pt x="199263" y="0"/>
                  </a:cubicBezTo>
                  <a:cubicBezTo>
                    <a:pt x="228029" y="0"/>
                    <a:pt x="254508" y="5048"/>
                    <a:pt x="278797" y="15240"/>
                  </a:cubicBezTo>
                  <a:cubicBezTo>
                    <a:pt x="303085" y="25337"/>
                    <a:pt x="324041" y="39243"/>
                    <a:pt x="341662" y="56959"/>
                  </a:cubicBezTo>
                  <a:cubicBezTo>
                    <a:pt x="359378" y="74676"/>
                    <a:pt x="373094" y="95155"/>
                    <a:pt x="383000" y="118396"/>
                  </a:cubicBezTo>
                  <a:cubicBezTo>
                    <a:pt x="392906" y="141732"/>
                    <a:pt x="397859" y="166783"/>
                    <a:pt x="397859" y="193643"/>
                  </a:cubicBezTo>
                  <a:lnTo>
                    <a:pt x="397859" y="195072"/>
                  </a:lnTo>
                  <a:cubicBezTo>
                    <a:pt x="397859" y="221456"/>
                    <a:pt x="392811" y="246412"/>
                    <a:pt x="382619" y="270034"/>
                  </a:cubicBezTo>
                  <a:cubicBezTo>
                    <a:pt x="372523" y="293561"/>
                    <a:pt x="358616" y="314230"/>
                    <a:pt x="340900" y="331851"/>
                  </a:cubicBezTo>
                  <a:cubicBezTo>
                    <a:pt x="323183" y="349472"/>
                    <a:pt x="302133" y="363569"/>
                    <a:pt x="277654" y="373856"/>
                  </a:cubicBezTo>
                  <a:cubicBezTo>
                    <a:pt x="253175" y="384238"/>
                    <a:pt x="226504" y="389382"/>
                    <a:pt x="197834" y="389382"/>
                  </a:cubicBezTo>
                  <a:close/>
                  <a:moveTo>
                    <a:pt x="199263" y="315278"/>
                  </a:moveTo>
                  <a:cubicBezTo>
                    <a:pt x="216598" y="315278"/>
                    <a:pt x="232124" y="312039"/>
                    <a:pt x="245935" y="305753"/>
                  </a:cubicBezTo>
                  <a:cubicBezTo>
                    <a:pt x="259747" y="299371"/>
                    <a:pt x="271558" y="290798"/>
                    <a:pt x="281368" y="279940"/>
                  </a:cubicBezTo>
                  <a:cubicBezTo>
                    <a:pt x="291179" y="269081"/>
                    <a:pt x="298704" y="256508"/>
                    <a:pt x="303847" y="242125"/>
                  </a:cubicBezTo>
                  <a:cubicBezTo>
                    <a:pt x="308991" y="227743"/>
                    <a:pt x="311563" y="212598"/>
                    <a:pt x="311563" y="196501"/>
                  </a:cubicBezTo>
                  <a:lnTo>
                    <a:pt x="311563" y="195072"/>
                  </a:lnTo>
                  <a:cubicBezTo>
                    <a:pt x="311563" y="178594"/>
                    <a:pt x="308800" y="163068"/>
                    <a:pt x="303181" y="148400"/>
                  </a:cubicBezTo>
                  <a:cubicBezTo>
                    <a:pt x="297561" y="133826"/>
                    <a:pt x="289750" y="121063"/>
                    <a:pt x="279654" y="110204"/>
                  </a:cubicBezTo>
                  <a:cubicBezTo>
                    <a:pt x="269558" y="99346"/>
                    <a:pt x="257651" y="90773"/>
                    <a:pt x="243840" y="84392"/>
                  </a:cubicBezTo>
                  <a:cubicBezTo>
                    <a:pt x="230029" y="78010"/>
                    <a:pt x="214693" y="74867"/>
                    <a:pt x="197834" y="74867"/>
                  </a:cubicBezTo>
                  <a:cubicBezTo>
                    <a:pt x="180975" y="74867"/>
                    <a:pt x="165640" y="78010"/>
                    <a:pt x="151829" y="84392"/>
                  </a:cubicBezTo>
                  <a:cubicBezTo>
                    <a:pt x="138017" y="90773"/>
                    <a:pt x="126206" y="99250"/>
                    <a:pt x="116396" y="109823"/>
                  </a:cubicBezTo>
                  <a:cubicBezTo>
                    <a:pt x="106585" y="120396"/>
                    <a:pt x="99060" y="133064"/>
                    <a:pt x="93917" y="147638"/>
                  </a:cubicBezTo>
                  <a:cubicBezTo>
                    <a:pt x="88773" y="162211"/>
                    <a:pt x="86201" y="177546"/>
                    <a:pt x="86201" y="193548"/>
                  </a:cubicBezTo>
                  <a:lnTo>
                    <a:pt x="86201" y="194977"/>
                  </a:lnTo>
                  <a:cubicBezTo>
                    <a:pt x="86201" y="211455"/>
                    <a:pt x="88963" y="226886"/>
                    <a:pt x="94583" y="241268"/>
                  </a:cubicBezTo>
                  <a:cubicBezTo>
                    <a:pt x="100203" y="255651"/>
                    <a:pt x="108013" y="268319"/>
                    <a:pt x="118110" y="279463"/>
                  </a:cubicBezTo>
                  <a:cubicBezTo>
                    <a:pt x="128206" y="290513"/>
                    <a:pt x="140113" y="299275"/>
                    <a:pt x="153924" y="305562"/>
                  </a:cubicBezTo>
                  <a:cubicBezTo>
                    <a:pt x="167735" y="311944"/>
                    <a:pt x="182880"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63" name="Freeform: Shape 24">
              <a:extLst>
                <a:ext uri="{FF2B5EF4-FFF2-40B4-BE49-F238E27FC236}">
                  <a16:creationId xmlns:a16="http://schemas.microsoft.com/office/drawing/2014/main" id="{96DD0BEE-9FF2-9DC3-1052-4D76704FB526}"/>
                </a:ext>
              </a:extLst>
            </p:cNvPr>
            <p:cNvSpPr/>
            <p:nvPr/>
          </p:nvSpPr>
          <p:spPr>
            <a:xfrm>
              <a:off x="5806925"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2 w 296894"/>
                <a:gd name="connsiteY36" fmla="*/ 224980 h 386714"/>
                <a:gd name="connsiteX37" fmla="*/ 296894 w 296894"/>
                <a:gd name="connsiteY37" fmla="*/ 267938 h 386714"/>
                <a:gd name="connsiteX38" fmla="*/ 296894 w 296894"/>
                <a:gd name="connsiteY38" fmla="*/ 269367 h 386714"/>
                <a:gd name="connsiteX39" fmla="*/ 286322 w 296894"/>
                <a:gd name="connsiteY39" fmla="*/ 320897 h 386714"/>
                <a:gd name="connsiteX40" fmla="*/ 256984 w 296894"/>
                <a:gd name="connsiteY40" fmla="*/ 357188 h 386714"/>
                <a:gd name="connsiteX41" fmla="*/ 212789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8" y="298704"/>
                    <a:pt x="100013" y="306514"/>
                  </a:cubicBezTo>
                  <a:cubicBezTo>
                    <a:pt x="120967" y="314325"/>
                    <a:pt x="141161" y="318135"/>
                    <a:pt x="160401" y="318135"/>
                  </a:cubicBezTo>
                  <a:cubicBezTo>
                    <a:pt x="179642" y="318135"/>
                    <a:pt x="192976"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2" y="241078"/>
                    <a:pt x="176498" y="237553"/>
                    <a:pt x="166402" y="234220"/>
                  </a:cubicBezTo>
                  <a:cubicBezTo>
                    <a:pt x="156305" y="230886"/>
                    <a:pt x="145733" y="227647"/>
                    <a:pt x="134969" y="224314"/>
                  </a:cubicBezTo>
                  <a:cubicBezTo>
                    <a:pt x="121253" y="220599"/>
                    <a:pt x="107537" y="216122"/>
                    <a:pt x="93631" y="210884"/>
                  </a:cubicBezTo>
                  <a:cubicBezTo>
                    <a:pt x="79724" y="205740"/>
                    <a:pt x="67246" y="198977"/>
                    <a:pt x="56197" y="190786"/>
                  </a:cubicBezTo>
                  <a:cubicBezTo>
                    <a:pt x="45149" y="182594"/>
                    <a:pt x="36100" y="172307"/>
                    <a:pt x="28956" y="160115"/>
                  </a:cubicBezTo>
                  <a:cubicBezTo>
                    <a:pt x="21908"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5"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7" y="156210"/>
                    <a:pt x="180975" y="159448"/>
                  </a:cubicBezTo>
                  <a:cubicBezTo>
                    <a:pt x="194596" y="163639"/>
                    <a:pt x="208312" y="168592"/>
                    <a:pt x="222028" y="174212"/>
                  </a:cubicBezTo>
                  <a:cubicBezTo>
                    <a:pt x="235649" y="179832"/>
                    <a:pt x="248031" y="186785"/>
                    <a:pt x="259080" y="194977"/>
                  </a:cubicBezTo>
                  <a:cubicBezTo>
                    <a:pt x="270129" y="203168"/>
                    <a:pt x="279273" y="213169"/>
                    <a:pt x="286322" y="224980"/>
                  </a:cubicBezTo>
                  <a:cubicBezTo>
                    <a:pt x="293370" y="236696"/>
                    <a:pt x="296894" y="251079"/>
                    <a:pt x="296894" y="267938"/>
                  </a:cubicBezTo>
                  <a:lnTo>
                    <a:pt x="296894" y="269367"/>
                  </a:lnTo>
                  <a:cubicBezTo>
                    <a:pt x="296894" y="289084"/>
                    <a:pt x="293370" y="306229"/>
                    <a:pt x="286322" y="320897"/>
                  </a:cubicBezTo>
                  <a:cubicBezTo>
                    <a:pt x="279273" y="335470"/>
                    <a:pt x="269462" y="347567"/>
                    <a:pt x="256984" y="357188"/>
                  </a:cubicBezTo>
                  <a:cubicBezTo>
                    <a:pt x="244507" y="366808"/>
                    <a:pt x="229743" y="374142"/>
                    <a:pt x="212789"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64" name="Freeform: Shape 25">
              <a:extLst>
                <a:ext uri="{FF2B5EF4-FFF2-40B4-BE49-F238E27FC236}">
                  <a16:creationId xmlns:a16="http://schemas.microsoft.com/office/drawing/2014/main" id="{FF30B6EE-044B-02C0-9D79-2A197426C95F}"/>
                </a:ext>
              </a:extLst>
            </p:cNvPr>
            <p:cNvSpPr/>
            <p:nvPr/>
          </p:nvSpPr>
          <p:spPr>
            <a:xfrm>
              <a:off x="589573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6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160" y="318135"/>
                    <a:pt x="160401" y="318135"/>
                  </a:cubicBezTo>
                  <a:cubicBezTo>
                    <a:pt x="179641" y="318135"/>
                    <a:pt x="192976"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4"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792"/>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65" name="Freeform: Shape 26">
              <a:extLst>
                <a:ext uri="{FF2B5EF4-FFF2-40B4-BE49-F238E27FC236}">
                  <a16:creationId xmlns:a16="http://schemas.microsoft.com/office/drawing/2014/main" id="{C31C6F55-721D-BA24-849D-2929B250A28D}"/>
                </a:ext>
              </a:extLst>
            </p:cNvPr>
            <p:cNvSpPr/>
            <p:nvPr/>
          </p:nvSpPr>
          <p:spPr>
            <a:xfrm>
              <a:off x="5985812" y="700558"/>
              <a:ext cx="85097" cy="97141"/>
            </a:xfrm>
            <a:custGeom>
              <a:avLst/>
              <a:gdLst>
                <a:gd name="connsiteX0" fmla="*/ 253651 w 338518"/>
                <a:gd name="connsiteY0" fmla="*/ 378619 h 386429"/>
                <a:gd name="connsiteX1" fmla="*/ 253651 w 338518"/>
                <a:gd name="connsiteY1" fmla="*/ 332708 h 386429"/>
                <a:gd name="connsiteX2" fmla="*/ 204883 w 338518"/>
                <a:gd name="connsiteY2" fmla="*/ 370904 h 386429"/>
                <a:gd name="connsiteX3" fmla="*/ 132779 w 338518"/>
                <a:gd name="connsiteY3" fmla="*/ 386429 h 386429"/>
                <a:gd name="connsiteX4" fmla="*/ 81915 w 338518"/>
                <a:gd name="connsiteY4" fmla="*/ 379000 h 386429"/>
                <a:gd name="connsiteX5" fmla="*/ 39910 w 338518"/>
                <a:gd name="connsiteY5" fmla="*/ 357092 h 386429"/>
                <a:gd name="connsiteX6" fmla="*/ 10954 w 338518"/>
                <a:gd name="connsiteY6" fmla="*/ 321088 h 386429"/>
                <a:gd name="connsiteX7" fmla="*/ 0 w 338518"/>
                <a:gd name="connsiteY7" fmla="*/ 271272 h 386429"/>
                <a:gd name="connsiteX8" fmla="*/ 0 w 338518"/>
                <a:gd name="connsiteY8" fmla="*/ 269843 h 386429"/>
                <a:gd name="connsiteX9" fmla="*/ 11335 w 338518"/>
                <a:gd name="connsiteY9" fmla="*/ 215741 h 386429"/>
                <a:gd name="connsiteX10" fmla="*/ 42767 w 338518"/>
                <a:gd name="connsiteY10" fmla="*/ 177546 h 386429"/>
                <a:gd name="connsiteX11" fmla="*/ 90773 w 338518"/>
                <a:gd name="connsiteY11" fmla="*/ 154972 h 386429"/>
                <a:gd name="connsiteX12" fmla="*/ 151162 w 338518"/>
                <a:gd name="connsiteY12" fmla="*/ 147542 h 386429"/>
                <a:gd name="connsiteX13" fmla="*/ 208788 w 338518"/>
                <a:gd name="connsiteY13" fmla="*/ 151829 h 386429"/>
                <a:gd name="connsiteX14" fmla="*/ 254413 w 338518"/>
                <a:gd name="connsiteY14" fmla="*/ 163163 h 386429"/>
                <a:gd name="connsiteX15" fmla="*/ 254413 w 338518"/>
                <a:gd name="connsiteY15" fmla="*/ 156115 h 386429"/>
                <a:gd name="connsiteX16" fmla="*/ 230696 w 338518"/>
                <a:gd name="connsiteY16" fmla="*/ 96774 h 386429"/>
                <a:gd name="connsiteX17" fmla="*/ 162496 w 338518"/>
                <a:gd name="connsiteY17" fmla="*/ 76295 h 386429"/>
                <a:gd name="connsiteX18" fmla="*/ 106013 w 338518"/>
                <a:gd name="connsiteY18" fmla="*/ 82677 h 386429"/>
                <a:gd name="connsiteX19" fmla="*/ 55816 w 338518"/>
                <a:gd name="connsiteY19" fmla="*/ 99632 h 386429"/>
                <a:gd name="connsiteX20" fmla="*/ 32480 w 338518"/>
                <a:gd name="connsiteY20" fmla="*/ 31052 h 386429"/>
                <a:gd name="connsiteX21" fmla="*/ 96107 w 338518"/>
                <a:gd name="connsiteY21" fmla="*/ 8477 h 386429"/>
                <a:gd name="connsiteX22" fmla="*/ 174593 w 338518"/>
                <a:gd name="connsiteY22" fmla="*/ 0 h 386429"/>
                <a:gd name="connsiteX23" fmla="*/ 298228 w 338518"/>
                <a:gd name="connsiteY23" fmla="*/ 41338 h 386429"/>
                <a:gd name="connsiteX24" fmla="*/ 338519 w 338518"/>
                <a:gd name="connsiteY24" fmla="*/ 157544 h 386429"/>
                <a:gd name="connsiteX25" fmla="*/ 338519 w 338518"/>
                <a:gd name="connsiteY25" fmla="*/ 378714 h 386429"/>
                <a:gd name="connsiteX26" fmla="*/ 253746 w 338518"/>
                <a:gd name="connsiteY26" fmla="*/ 378714 h 386429"/>
                <a:gd name="connsiteX27" fmla="*/ 255746 w 338518"/>
                <a:gd name="connsiteY27" fmla="*/ 222409 h 386429"/>
                <a:gd name="connsiteX28" fmla="*/ 217265 w 338518"/>
                <a:gd name="connsiteY28" fmla="*/ 211836 h 386429"/>
                <a:gd name="connsiteX29" fmla="*/ 170307 w 338518"/>
                <a:gd name="connsiteY29" fmla="*/ 207550 h 386429"/>
                <a:gd name="connsiteX30" fmla="*/ 107442 w 338518"/>
                <a:gd name="connsiteY30" fmla="*/ 223075 h 386429"/>
                <a:gd name="connsiteX31" fmla="*/ 84868 w 338518"/>
                <a:gd name="connsiteY31" fmla="*/ 265462 h 386429"/>
                <a:gd name="connsiteX32" fmla="*/ 84868 w 338518"/>
                <a:gd name="connsiteY32" fmla="*/ 266891 h 386429"/>
                <a:gd name="connsiteX33" fmla="*/ 105728 w 338518"/>
                <a:gd name="connsiteY33" fmla="*/ 307848 h 386429"/>
                <a:gd name="connsiteX34" fmla="*/ 156972 w 338518"/>
                <a:gd name="connsiteY34" fmla="*/ 321945 h 386429"/>
                <a:gd name="connsiteX35" fmla="*/ 196215 w 338518"/>
                <a:gd name="connsiteY35" fmla="*/ 316325 h 386429"/>
                <a:gd name="connsiteX36" fmla="*/ 227647 w 338518"/>
                <a:gd name="connsiteY36" fmla="*/ 300419 h 386429"/>
                <a:gd name="connsiteX37" fmla="*/ 248507 w 338518"/>
                <a:gd name="connsiteY37" fmla="*/ 275654 h 386429"/>
                <a:gd name="connsiteX38" fmla="*/ 255937 w 338518"/>
                <a:gd name="connsiteY38" fmla="*/ 243459 h 386429"/>
                <a:gd name="connsiteX39" fmla="*/ 255937 w 338518"/>
                <a:gd name="connsiteY39" fmla="*/ 222218 h 3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8518" h="386429">
                  <a:moveTo>
                    <a:pt x="253651" y="378619"/>
                  </a:moveTo>
                  <a:lnTo>
                    <a:pt x="253651" y="332708"/>
                  </a:lnTo>
                  <a:cubicBezTo>
                    <a:pt x="240887" y="347758"/>
                    <a:pt x="224695" y="360521"/>
                    <a:pt x="204883" y="370904"/>
                  </a:cubicBezTo>
                  <a:cubicBezTo>
                    <a:pt x="185071" y="381286"/>
                    <a:pt x="161068" y="386429"/>
                    <a:pt x="132779" y="386429"/>
                  </a:cubicBezTo>
                  <a:cubicBezTo>
                    <a:pt x="114871" y="386429"/>
                    <a:pt x="97917" y="383953"/>
                    <a:pt x="81915" y="379000"/>
                  </a:cubicBezTo>
                  <a:cubicBezTo>
                    <a:pt x="65913" y="374047"/>
                    <a:pt x="51911" y="366713"/>
                    <a:pt x="39910" y="357092"/>
                  </a:cubicBezTo>
                  <a:cubicBezTo>
                    <a:pt x="27908" y="347472"/>
                    <a:pt x="18193" y="335471"/>
                    <a:pt x="10954" y="321088"/>
                  </a:cubicBezTo>
                  <a:cubicBezTo>
                    <a:pt x="3620" y="306705"/>
                    <a:pt x="0" y="290132"/>
                    <a:pt x="0" y="271272"/>
                  </a:cubicBezTo>
                  <a:lnTo>
                    <a:pt x="0" y="269843"/>
                  </a:lnTo>
                  <a:cubicBezTo>
                    <a:pt x="0" y="249079"/>
                    <a:pt x="3810" y="231077"/>
                    <a:pt x="11335" y="215741"/>
                  </a:cubicBezTo>
                  <a:cubicBezTo>
                    <a:pt x="18859" y="200406"/>
                    <a:pt x="29337" y="187738"/>
                    <a:pt x="42767" y="177546"/>
                  </a:cubicBezTo>
                  <a:cubicBezTo>
                    <a:pt x="56197" y="167450"/>
                    <a:pt x="72199" y="159925"/>
                    <a:pt x="90773" y="154972"/>
                  </a:cubicBezTo>
                  <a:cubicBezTo>
                    <a:pt x="109347" y="150019"/>
                    <a:pt x="129540" y="147542"/>
                    <a:pt x="151162" y="147542"/>
                  </a:cubicBezTo>
                  <a:cubicBezTo>
                    <a:pt x="172783" y="147542"/>
                    <a:pt x="192976" y="148971"/>
                    <a:pt x="208788" y="151829"/>
                  </a:cubicBezTo>
                  <a:cubicBezTo>
                    <a:pt x="224599" y="154686"/>
                    <a:pt x="239744" y="158401"/>
                    <a:pt x="254413" y="163163"/>
                  </a:cubicBezTo>
                  <a:lnTo>
                    <a:pt x="254413" y="156115"/>
                  </a:lnTo>
                  <a:cubicBezTo>
                    <a:pt x="254413" y="130207"/>
                    <a:pt x="246507" y="110395"/>
                    <a:pt x="230696" y="96774"/>
                  </a:cubicBezTo>
                  <a:cubicBezTo>
                    <a:pt x="214884" y="83153"/>
                    <a:pt x="192214" y="76295"/>
                    <a:pt x="162496" y="76295"/>
                  </a:cubicBezTo>
                  <a:cubicBezTo>
                    <a:pt x="141351" y="76295"/>
                    <a:pt x="122491" y="78391"/>
                    <a:pt x="106013" y="82677"/>
                  </a:cubicBezTo>
                  <a:cubicBezTo>
                    <a:pt x="89535" y="86963"/>
                    <a:pt x="72771" y="92583"/>
                    <a:pt x="55816" y="99632"/>
                  </a:cubicBezTo>
                  <a:lnTo>
                    <a:pt x="32480" y="31052"/>
                  </a:lnTo>
                  <a:cubicBezTo>
                    <a:pt x="53149" y="21622"/>
                    <a:pt x="74390" y="14097"/>
                    <a:pt x="96107" y="8477"/>
                  </a:cubicBezTo>
                  <a:cubicBezTo>
                    <a:pt x="117729" y="2858"/>
                    <a:pt x="143923" y="0"/>
                    <a:pt x="174593" y="0"/>
                  </a:cubicBezTo>
                  <a:cubicBezTo>
                    <a:pt x="230124" y="0"/>
                    <a:pt x="271367" y="13811"/>
                    <a:pt x="298228" y="41338"/>
                  </a:cubicBezTo>
                  <a:cubicBezTo>
                    <a:pt x="325088" y="68866"/>
                    <a:pt x="338519" y="107633"/>
                    <a:pt x="338519" y="157544"/>
                  </a:cubicBezTo>
                  <a:lnTo>
                    <a:pt x="338519" y="378714"/>
                  </a:lnTo>
                  <a:lnTo>
                    <a:pt x="253746" y="378714"/>
                  </a:lnTo>
                  <a:close/>
                  <a:moveTo>
                    <a:pt x="255746" y="222409"/>
                  </a:moveTo>
                  <a:cubicBezTo>
                    <a:pt x="244888" y="218123"/>
                    <a:pt x="232029" y="214598"/>
                    <a:pt x="217265" y="211836"/>
                  </a:cubicBezTo>
                  <a:cubicBezTo>
                    <a:pt x="202406" y="208979"/>
                    <a:pt x="186785" y="207550"/>
                    <a:pt x="170307" y="207550"/>
                  </a:cubicBezTo>
                  <a:cubicBezTo>
                    <a:pt x="143446" y="207550"/>
                    <a:pt x="122491" y="212693"/>
                    <a:pt x="107442" y="223075"/>
                  </a:cubicBezTo>
                  <a:cubicBezTo>
                    <a:pt x="92392" y="233458"/>
                    <a:pt x="84868" y="247555"/>
                    <a:pt x="84868" y="265462"/>
                  </a:cubicBezTo>
                  <a:lnTo>
                    <a:pt x="84868" y="266891"/>
                  </a:lnTo>
                  <a:cubicBezTo>
                    <a:pt x="84868" y="284798"/>
                    <a:pt x="91821" y="298418"/>
                    <a:pt x="105728" y="307848"/>
                  </a:cubicBezTo>
                  <a:cubicBezTo>
                    <a:pt x="119634" y="317278"/>
                    <a:pt x="136684" y="321945"/>
                    <a:pt x="156972" y="321945"/>
                  </a:cubicBezTo>
                  <a:cubicBezTo>
                    <a:pt x="171069" y="321945"/>
                    <a:pt x="184213" y="320040"/>
                    <a:pt x="196215" y="316325"/>
                  </a:cubicBezTo>
                  <a:cubicBezTo>
                    <a:pt x="208216" y="312515"/>
                    <a:pt x="218694" y="307277"/>
                    <a:pt x="227647" y="300419"/>
                  </a:cubicBezTo>
                  <a:cubicBezTo>
                    <a:pt x="236601" y="293561"/>
                    <a:pt x="243554" y="285369"/>
                    <a:pt x="248507" y="275654"/>
                  </a:cubicBezTo>
                  <a:cubicBezTo>
                    <a:pt x="253460" y="266033"/>
                    <a:pt x="255937" y="255270"/>
                    <a:pt x="255937" y="243459"/>
                  </a:cubicBezTo>
                  <a:lnTo>
                    <a:pt x="255937" y="222218"/>
                  </a:lnTo>
                  <a:close/>
                </a:path>
              </a:pathLst>
            </a:custGeom>
            <a:solidFill>
              <a:srgbClr val="44505E"/>
            </a:solidFill>
            <a:ln w="9525" cap="flat">
              <a:noFill/>
              <a:prstDash val="solid"/>
              <a:miter/>
            </a:ln>
          </p:spPr>
          <p:txBody>
            <a:bodyPr rtlCol="0" anchor="ctr"/>
            <a:lstStyle/>
            <a:p>
              <a:endParaRPr lang="pt-BR" noProof="0"/>
            </a:p>
          </p:txBody>
        </p:sp>
        <p:sp>
          <p:nvSpPr>
            <p:cNvPr id="66" name="Freeform: Shape 27">
              <a:extLst>
                <a:ext uri="{FF2B5EF4-FFF2-40B4-BE49-F238E27FC236}">
                  <a16:creationId xmlns:a16="http://schemas.microsoft.com/office/drawing/2014/main" id="{DAD26F85-CF3E-0250-48EA-C9F58EAC4CA9}"/>
                </a:ext>
              </a:extLst>
            </p:cNvPr>
            <p:cNvSpPr/>
            <p:nvPr/>
          </p:nvSpPr>
          <p:spPr>
            <a:xfrm>
              <a:off x="6088843" y="700318"/>
              <a:ext cx="74610" cy="97213"/>
            </a:xfrm>
            <a:custGeom>
              <a:avLst/>
              <a:gdLst>
                <a:gd name="connsiteX0" fmla="*/ 158305 w 296799"/>
                <a:gd name="connsiteY0" fmla="*/ 386715 h 386714"/>
                <a:gd name="connsiteX1" fmla="*/ 76676 w 296799"/>
                <a:gd name="connsiteY1" fmla="*/ 372427 h 386714"/>
                <a:gd name="connsiteX2" fmla="*/ 0 w 296799"/>
                <a:gd name="connsiteY2" fmla="*/ 330327 h 386714"/>
                <a:gd name="connsiteX3" fmla="*/ 38195 w 296799"/>
                <a:gd name="connsiteY3" fmla="*/ 272224 h 386714"/>
                <a:gd name="connsiteX4" fmla="*/ 100013 w 296799"/>
                <a:gd name="connsiteY4" fmla="*/ 306514 h 386714"/>
                <a:gd name="connsiteX5" fmla="*/ 160401 w 296799"/>
                <a:gd name="connsiteY5" fmla="*/ 318135 h 386714"/>
                <a:gd name="connsiteX6" fmla="*/ 203168 w 296799"/>
                <a:gd name="connsiteY6" fmla="*/ 307181 h 386714"/>
                <a:gd name="connsiteX7" fmla="*/ 218408 w 296799"/>
                <a:gd name="connsiteY7" fmla="*/ 277939 h 386714"/>
                <a:gd name="connsiteX8" fmla="*/ 218408 w 296799"/>
                <a:gd name="connsiteY8" fmla="*/ 276511 h 386714"/>
                <a:gd name="connsiteX9" fmla="*/ 211646 w 296799"/>
                <a:gd name="connsiteY9" fmla="*/ 258223 h 386714"/>
                <a:gd name="connsiteX10" fmla="*/ 193262 w 296799"/>
                <a:gd name="connsiteY10" fmla="*/ 244792 h 386714"/>
                <a:gd name="connsiteX11" fmla="*/ 166402 w 296799"/>
                <a:gd name="connsiteY11" fmla="*/ 234220 h 386714"/>
                <a:gd name="connsiteX12" fmla="*/ 134969 w 296799"/>
                <a:gd name="connsiteY12" fmla="*/ 224314 h 386714"/>
                <a:gd name="connsiteX13" fmla="*/ 93631 w 296799"/>
                <a:gd name="connsiteY13" fmla="*/ 210884 h 386714"/>
                <a:gd name="connsiteX14" fmla="*/ 56197 w 296799"/>
                <a:gd name="connsiteY14" fmla="*/ 190786 h 386714"/>
                <a:gd name="connsiteX15" fmla="*/ 28956 w 296799"/>
                <a:gd name="connsiteY15" fmla="*/ 160115 h 386714"/>
                <a:gd name="connsiteX16" fmla="*/ 18383 w 296799"/>
                <a:gd name="connsiteY16" fmla="*/ 114967 h 386714"/>
                <a:gd name="connsiteX17" fmla="*/ 18383 w 296799"/>
                <a:gd name="connsiteY17" fmla="*/ 113538 h 386714"/>
                <a:gd name="connsiteX18" fmla="*/ 28575 w 296799"/>
                <a:gd name="connsiteY18" fmla="*/ 66294 h 386714"/>
                <a:gd name="connsiteX19" fmla="*/ 56864 w 296799"/>
                <a:gd name="connsiteY19" fmla="*/ 30385 h 386714"/>
                <a:gd name="connsiteX20" fmla="*/ 99250 w 296799"/>
                <a:gd name="connsiteY20" fmla="*/ 7810 h 386714"/>
                <a:gd name="connsiteX21" fmla="*/ 151162 w 296799"/>
                <a:gd name="connsiteY21" fmla="*/ 0 h 386714"/>
                <a:gd name="connsiteX22" fmla="*/ 222504 w 296799"/>
                <a:gd name="connsiteY22" fmla="*/ 11430 h 386714"/>
                <a:gd name="connsiteX23" fmla="*/ 288227 w 296799"/>
                <a:gd name="connsiteY23" fmla="*/ 42863 h 386714"/>
                <a:gd name="connsiteX24" fmla="*/ 254317 w 296799"/>
                <a:gd name="connsiteY24" fmla="*/ 103918 h 386714"/>
                <a:gd name="connsiteX25" fmla="*/ 199930 w 296799"/>
                <a:gd name="connsiteY25" fmla="*/ 78105 h 386714"/>
                <a:gd name="connsiteX26" fmla="*/ 149066 w 296799"/>
                <a:gd name="connsiteY26" fmla="*/ 68580 h 386714"/>
                <a:gd name="connsiteX27" fmla="*/ 110585 w 296799"/>
                <a:gd name="connsiteY27" fmla="*/ 79153 h 386714"/>
                <a:gd name="connsiteX28" fmla="*/ 96774 w 296799"/>
                <a:gd name="connsiteY28" fmla="*/ 105918 h 386714"/>
                <a:gd name="connsiteX29" fmla="*/ 96774 w 296799"/>
                <a:gd name="connsiteY29" fmla="*/ 107347 h 386714"/>
                <a:gd name="connsiteX30" fmla="*/ 103822 w 296799"/>
                <a:gd name="connsiteY30" fmla="*/ 124587 h 386714"/>
                <a:gd name="connsiteX31" fmla="*/ 122587 w 296799"/>
                <a:gd name="connsiteY31" fmla="*/ 138017 h 386714"/>
                <a:gd name="connsiteX32" fmla="*/ 149447 w 296799"/>
                <a:gd name="connsiteY32" fmla="*/ 149257 h 386714"/>
                <a:gd name="connsiteX33" fmla="*/ 180880 w 296799"/>
                <a:gd name="connsiteY33" fmla="*/ 159448 h 386714"/>
                <a:gd name="connsiteX34" fmla="*/ 221837 w 296799"/>
                <a:gd name="connsiteY34" fmla="*/ 174212 h 386714"/>
                <a:gd name="connsiteX35" fmla="*/ 258985 w 296799"/>
                <a:gd name="connsiteY35" fmla="*/ 194977 h 386714"/>
                <a:gd name="connsiteX36" fmla="*/ 286226 w 296799"/>
                <a:gd name="connsiteY36" fmla="*/ 224980 h 386714"/>
                <a:gd name="connsiteX37" fmla="*/ 296799 w 296799"/>
                <a:gd name="connsiteY37" fmla="*/ 267938 h 386714"/>
                <a:gd name="connsiteX38" fmla="*/ 296799 w 296799"/>
                <a:gd name="connsiteY38" fmla="*/ 269367 h 386714"/>
                <a:gd name="connsiteX39" fmla="*/ 286226 w 296799"/>
                <a:gd name="connsiteY39" fmla="*/ 320897 h 386714"/>
                <a:gd name="connsiteX40" fmla="*/ 256889 w 296799"/>
                <a:gd name="connsiteY40" fmla="*/ 357188 h 386714"/>
                <a:gd name="connsiteX41" fmla="*/ 212693 w 296799"/>
                <a:gd name="connsiteY41" fmla="*/ 379095 h 386714"/>
                <a:gd name="connsiteX42" fmla="*/ 158305 w 296799"/>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799"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065" y="318135"/>
                    <a:pt x="160401" y="318135"/>
                  </a:cubicBezTo>
                  <a:cubicBezTo>
                    <a:pt x="179737" y="318135"/>
                    <a:pt x="193072"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828" y="227647"/>
                    <a:pt x="134969" y="224314"/>
                  </a:cubicBezTo>
                  <a:cubicBezTo>
                    <a:pt x="121348" y="220599"/>
                    <a:pt x="107537" y="216122"/>
                    <a:pt x="93631" y="210884"/>
                  </a:cubicBezTo>
                  <a:cubicBezTo>
                    <a:pt x="79724" y="205740"/>
                    <a:pt x="67246" y="198977"/>
                    <a:pt x="56197" y="190786"/>
                  </a:cubicBezTo>
                  <a:cubicBezTo>
                    <a:pt x="45148" y="182594"/>
                    <a:pt x="36004"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874" y="0"/>
                    <a:pt x="151162" y="0"/>
                  </a:cubicBezTo>
                  <a:cubicBezTo>
                    <a:pt x="174688" y="0"/>
                    <a:pt x="198501" y="3810"/>
                    <a:pt x="222504" y="11430"/>
                  </a:cubicBezTo>
                  <a:cubicBezTo>
                    <a:pt x="246507" y="19050"/>
                    <a:pt x="268414" y="29527"/>
                    <a:pt x="288227" y="42863"/>
                  </a:cubicBezTo>
                  <a:lnTo>
                    <a:pt x="254317"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774" y="95155"/>
                    <a:pt x="96774" y="105918"/>
                  </a:cubicBezTo>
                  <a:lnTo>
                    <a:pt x="96774" y="107347"/>
                  </a:lnTo>
                  <a:cubicBezTo>
                    <a:pt x="96774" y="113919"/>
                    <a:pt x="99155" y="119634"/>
                    <a:pt x="103822" y="124587"/>
                  </a:cubicBezTo>
                  <a:cubicBezTo>
                    <a:pt x="108490" y="129540"/>
                    <a:pt x="114776" y="134017"/>
                    <a:pt x="122587" y="138017"/>
                  </a:cubicBezTo>
                  <a:cubicBezTo>
                    <a:pt x="130397" y="142018"/>
                    <a:pt x="139351" y="145732"/>
                    <a:pt x="149447" y="149257"/>
                  </a:cubicBezTo>
                  <a:cubicBezTo>
                    <a:pt x="159544" y="152781"/>
                    <a:pt x="170021" y="156210"/>
                    <a:pt x="180880" y="159448"/>
                  </a:cubicBezTo>
                  <a:cubicBezTo>
                    <a:pt x="194500" y="163639"/>
                    <a:pt x="208216" y="168592"/>
                    <a:pt x="221837" y="174212"/>
                  </a:cubicBezTo>
                  <a:cubicBezTo>
                    <a:pt x="235458" y="179832"/>
                    <a:pt x="247840" y="186785"/>
                    <a:pt x="258985" y="194977"/>
                  </a:cubicBezTo>
                  <a:cubicBezTo>
                    <a:pt x="270034" y="203168"/>
                    <a:pt x="279178" y="213169"/>
                    <a:pt x="286226" y="224980"/>
                  </a:cubicBezTo>
                  <a:cubicBezTo>
                    <a:pt x="293275" y="236696"/>
                    <a:pt x="296799" y="251079"/>
                    <a:pt x="296799" y="267938"/>
                  </a:cubicBezTo>
                  <a:lnTo>
                    <a:pt x="296799" y="269367"/>
                  </a:lnTo>
                  <a:cubicBezTo>
                    <a:pt x="296799" y="289084"/>
                    <a:pt x="293275" y="306229"/>
                    <a:pt x="286226" y="320897"/>
                  </a:cubicBezTo>
                  <a:cubicBezTo>
                    <a:pt x="279178" y="335470"/>
                    <a:pt x="269367" y="347567"/>
                    <a:pt x="256889" y="357188"/>
                  </a:cubicBezTo>
                  <a:cubicBezTo>
                    <a:pt x="244412" y="366808"/>
                    <a:pt x="229648" y="374142"/>
                    <a:pt x="212693" y="379095"/>
                  </a:cubicBezTo>
                  <a:cubicBezTo>
                    <a:pt x="195739" y="384048"/>
                    <a:pt x="177641" y="386524"/>
                    <a:pt x="158305" y="386524"/>
                  </a:cubicBezTo>
                  <a:close/>
                </a:path>
              </a:pathLst>
            </a:custGeom>
            <a:solidFill>
              <a:srgbClr val="44505E"/>
            </a:solidFill>
            <a:ln w="9525" cap="flat">
              <a:noFill/>
              <a:prstDash val="solid"/>
              <a:miter/>
            </a:ln>
          </p:spPr>
          <p:txBody>
            <a:bodyPr rtlCol="0" anchor="ctr"/>
            <a:lstStyle/>
            <a:p>
              <a:endParaRPr lang="pt-BR" noProof="0"/>
            </a:p>
          </p:txBody>
        </p:sp>
        <p:sp>
          <p:nvSpPr>
            <p:cNvPr id="67" name="Freeform: Shape 28">
              <a:extLst>
                <a:ext uri="{FF2B5EF4-FFF2-40B4-BE49-F238E27FC236}">
                  <a16:creationId xmlns:a16="http://schemas.microsoft.com/office/drawing/2014/main" id="{E1186864-1D0D-7308-8D3B-71137F7BE631}"/>
                </a:ext>
              </a:extLst>
            </p:cNvPr>
            <p:cNvSpPr/>
            <p:nvPr/>
          </p:nvSpPr>
          <p:spPr>
            <a:xfrm>
              <a:off x="6238590"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4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7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2 w 568166"/>
                <a:gd name="connsiteY21" fmla="*/ 381000 h 381000"/>
                <a:gd name="connsiteX22" fmla="*/ 240982 w 568166"/>
                <a:gd name="connsiteY22" fmla="*/ 168783 h 381000"/>
                <a:gd name="connsiteX23" fmla="*/ 221266 w 568166"/>
                <a:gd name="connsiteY23" fmla="*/ 101822 h 381000"/>
                <a:gd name="connsiteX24" fmla="*/ 165640 w 568166"/>
                <a:gd name="connsiteY24" fmla="*/ 78581 h 381000"/>
                <a:gd name="connsiteX25" fmla="*/ 108013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69" y="48196"/>
                    <a:pt x="105918" y="40576"/>
                  </a:cubicBezTo>
                  <a:cubicBezTo>
                    <a:pt x="112966" y="32956"/>
                    <a:pt x="121063" y="26099"/>
                    <a:pt x="130207" y="19907"/>
                  </a:cubicBezTo>
                  <a:cubicBezTo>
                    <a:pt x="139351" y="13716"/>
                    <a:pt x="149638" y="8858"/>
                    <a:pt x="161163" y="5334"/>
                  </a:cubicBezTo>
                  <a:cubicBezTo>
                    <a:pt x="172688" y="1714"/>
                    <a:pt x="185452" y="0"/>
                    <a:pt x="199549" y="0"/>
                  </a:cubicBezTo>
                  <a:cubicBezTo>
                    <a:pt x="226314" y="0"/>
                    <a:pt x="248983" y="6096"/>
                    <a:pt x="267557" y="18193"/>
                  </a:cubicBezTo>
                  <a:cubicBezTo>
                    <a:pt x="286131" y="30289"/>
                    <a:pt x="300323" y="46387"/>
                    <a:pt x="310134" y="66294"/>
                  </a:cubicBezTo>
                  <a:cubicBezTo>
                    <a:pt x="325279" y="46387"/>
                    <a:pt x="343090" y="30289"/>
                    <a:pt x="363664" y="18193"/>
                  </a:cubicBezTo>
                  <a:cubicBezTo>
                    <a:pt x="384238" y="6096"/>
                    <a:pt x="408718" y="0"/>
                    <a:pt x="437007" y="0"/>
                  </a:cubicBezTo>
                  <a:cubicBezTo>
                    <a:pt x="478155"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7" y="78486"/>
                  </a:cubicBezTo>
                  <a:cubicBezTo>
                    <a:pt x="382809" y="78486"/>
                    <a:pt x="364141" y="86392"/>
                    <a:pt x="349377" y="102108"/>
                  </a:cubicBezTo>
                  <a:cubicBezTo>
                    <a:pt x="334613" y="117824"/>
                    <a:pt x="327184" y="140779"/>
                    <a:pt x="327184" y="170879"/>
                  </a:cubicBezTo>
                  <a:lnTo>
                    <a:pt x="327184" y="381000"/>
                  </a:lnTo>
                  <a:lnTo>
                    <a:pt x="240982" y="381000"/>
                  </a:lnTo>
                  <a:lnTo>
                    <a:pt x="240982" y="168783"/>
                  </a:lnTo>
                  <a:cubicBezTo>
                    <a:pt x="240982" y="139637"/>
                    <a:pt x="234410" y="117348"/>
                    <a:pt x="221266" y="101822"/>
                  </a:cubicBezTo>
                  <a:cubicBezTo>
                    <a:pt x="208121" y="86296"/>
                    <a:pt x="189547" y="78581"/>
                    <a:pt x="165640" y="78581"/>
                  </a:cubicBezTo>
                  <a:cubicBezTo>
                    <a:pt x="141732" y="78581"/>
                    <a:pt x="122491" y="86773"/>
                    <a:pt x="108013"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68" name="Freeform: Shape 29">
              <a:extLst>
                <a:ext uri="{FF2B5EF4-FFF2-40B4-BE49-F238E27FC236}">
                  <a16:creationId xmlns:a16="http://schemas.microsoft.com/office/drawing/2014/main" id="{3B95E5AC-C57E-CAD8-2DA1-8DA2DE2C8C67}"/>
                </a:ext>
              </a:extLst>
            </p:cNvPr>
            <p:cNvSpPr/>
            <p:nvPr/>
          </p:nvSpPr>
          <p:spPr>
            <a:xfrm>
              <a:off x="6400979" y="664258"/>
              <a:ext cx="85097" cy="133441"/>
            </a:xfrm>
            <a:custGeom>
              <a:avLst/>
              <a:gdLst>
                <a:gd name="connsiteX0" fmla="*/ 253651 w 338518"/>
                <a:gd name="connsiteY0" fmla="*/ 523018 h 530828"/>
                <a:gd name="connsiteX1" fmla="*/ 253651 w 338518"/>
                <a:gd name="connsiteY1" fmla="*/ 477107 h 530828"/>
                <a:gd name="connsiteX2" fmla="*/ 204883 w 338518"/>
                <a:gd name="connsiteY2" fmla="*/ 515303 h 530828"/>
                <a:gd name="connsiteX3" fmla="*/ 132779 w 338518"/>
                <a:gd name="connsiteY3" fmla="*/ 530828 h 530828"/>
                <a:gd name="connsiteX4" fmla="*/ 81915 w 338518"/>
                <a:gd name="connsiteY4" fmla="*/ 523399 h 530828"/>
                <a:gd name="connsiteX5" fmla="*/ 39910 w 338518"/>
                <a:gd name="connsiteY5" fmla="*/ 501491 h 530828"/>
                <a:gd name="connsiteX6" fmla="*/ 10954 w 338518"/>
                <a:gd name="connsiteY6" fmla="*/ 465487 h 530828"/>
                <a:gd name="connsiteX7" fmla="*/ 0 w 338518"/>
                <a:gd name="connsiteY7" fmla="*/ 415671 h 530828"/>
                <a:gd name="connsiteX8" fmla="*/ 0 w 338518"/>
                <a:gd name="connsiteY8" fmla="*/ 414242 h 530828"/>
                <a:gd name="connsiteX9" fmla="*/ 11335 w 338518"/>
                <a:gd name="connsiteY9" fmla="*/ 360140 h 530828"/>
                <a:gd name="connsiteX10" fmla="*/ 42767 w 338518"/>
                <a:gd name="connsiteY10" fmla="*/ 321945 h 530828"/>
                <a:gd name="connsiteX11" fmla="*/ 90773 w 338518"/>
                <a:gd name="connsiteY11" fmla="*/ 299371 h 530828"/>
                <a:gd name="connsiteX12" fmla="*/ 151162 w 338518"/>
                <a:gd name="connsiteY12" fmla="*/ 291941 h 530828"/>
                <a:gd name="connsiteX13" fmla="*/ 208788 w 338518"/>
                <a:gd name="connsiteY13" fmla="*/ 296228 h 530828"/>
                <a:gd name="connsiteX14" fmla="*/ 254413 w 338518"/>
                <a:gd name="connsiteY14" fmla="*/ 307562 h 530828"/>
                <a:gd name="connsiteX15" fmla="*/ 254413 w 338518"/>
                <a:gd name="connsiteY15" fmla="*/ 300514 h 530828"/>
                <a:gd name="connsiteX16" fmla="*/ 230696 w 338518"/>
                <a:gd name="connsiteY16" fmla="*/ 241173 h 530828"/>
                <a:gd name="connsiteX17" fmla="*/ 162496 w 338518"/>
                <a:gd name="connsiteY17" fmla="*/ 220694 h 530828"/>
                <a:gd name="connsiteX18" fmla="*/ 106013 w 338518"/>
                <a:gd name="connsiteY18" fmla="*/ 227076 h 530828"/>
                <a:gd name="connsiteX19" fmla="*/ 55817 w 338518"/>
                <a:gd name="connsiteY19" fmla="*/ 244031 h 530828"/>
                <a:gd name="connsiteX20" fmla="*/ 32480 w 338518"/>
                <a:gd name="connsiteY20" fmla="*/ 175451 h 530828"/>
                <a:gd name="connsiteX21" fmla="*/ 96107 w 338518"/>
                <a:gd name="connsiteY21" fmla="*/ 152876 h 530828"/>
                <a:gd name="connsiteX22" fmla="*/ 174593 w 338518"/>
                <a:gd name="connsiteY22" fmla="*/ 144399 h 530828"/>
                <a:gd name="connsiteX23" fmla="*/ 298228 w 338518"/>
                <a:gd name="connsiteY23" fmla="*/ 185738 h 530828"/>
                <a:gd name="connsiteX24" fmla="*/ 338519 w 338518"/>
                <a:gd name="connsiteY24" fmla="*/ 301943 h 530828"/>
                <a:gd name="connsiteX25" fmla="*/ 338519 w 338518"/>
                <a:gd name="connsiteY25" fmla="*/ 523113 h 530828"/>
                <a:gd name="connsiteX26" fmla="*/ 253746 w 338518"/>
                <a:gd name="connsiteY26" fmla="*/ 523113 h 530828"/>
                <a:gd name="connsiteX27" fmla="*/ 45911 w 338518"/>
                <a:gd name="connsiteY27" fmla="*/ 95441 h 530828"/>
                <a:gd name="connsiteX28" fmla="*/ 75248 w 338518"/>
                <a:gd name="connsiteY28" fmla="*/ 29718 h 530828"/>
                <a:gd name="connsiteX29" fmla="*/ 125063 w 338518"/>
                <a:gd name="connsiteY29" fmla="*/ 7144 h 530828"/>
                <a:gd name="connsiteX30" fmla="*/ 154019 w 338518"/>
                <a:gd name="connsiteY30" fmla="*/ 11716 h 530828"/>
                <a:gd name="connsiteX31" fmla="*/ 181261 w 338518"/>
                <a:gd name="connsiteY31" fmla="*/ 21622 h 530828"/>
                <a:gd name="connsiteX32" fmla="*/ 205645 w 338518"/>
                <a:gd name="connsiteY32" fmla="*/ 31147 h 530828"/>
                <a:gd name="connsiteX33" fmla="*/ 226790 w 338518"/>
                <a:gd name="connsiteY33" fmla="*/ 35338 h 530828"/>
                <a:gd name="connsiteX34" fmla="*/ 250127 w 338518"/>
                <a:gd name="connsiteY34" fmla="*/ 26861 h 530828"/>
                <a:gd name="connsiteX35" fmla="*/ 265652 w 338518"/>
                <a:gd name="connsiteY35" fmla="*/ 0 h 530828"/>
                <a:gd name="connsiteX36" fmla="*/ 312991 w 338518"/>
                <a:gd name="connsiteY36" fmla="*/ 14859 h 530828"/>
                <a:gd name="connsiteX37" fmla="*/ 283655 w 338518"/>
                <a:gd name="connsiteY37" fmla="*/ 79820 h 530828"/>
                <a:gd name="connsiteX38" fmla="*/ 233839 w 338518"/>
                <a:gd name="connsiteY38" fmla="*/ 102394 h 530828"/>
                <a:gd name="connsiteX39" fmla="*/ 204883 w 338518"/>
                <a:gd name="connsiteY39" fmla="*/ 98203 h 530828"/>
                <a:gd name="connsiteX40" fmla="*/ 177641 w 338518"/>
                <a:gd name="connsiteY40" fmla="*/ 88678 h 530828"/>
                <a:gd name="connsiteX41" fmla="*/ 152876 w 338518"/>
                <a:gd name="connsiteY41" fmla="*/ 78772 h 530828"/>
                <a:gd name="connsiteX42" fmla="*/ 132017 w 338518"/>
                <a:gd name="connsiteY42" fmla="*/ 74200 h 530828"/>
                <a:gd name="connsiteX43" fmla="*/ 108680 w 338518"/>
                <a:gd name="connsiteY43" fmla="*/ 82677 h 530828"/>
                <a:gd name="connsiteX44" fmla="*/ 93154 w 338518"/>
                <a:gd name="connsiteY44" fmla="*/ 109538 h 530828"/>
                <a:gd name="connsiteX45" fmla="*/ 45815 w 338518"/>
                <a:gd name="connsiteY45" fmla="*/ 95441 h 530828"/>
                <a:gd name="connsiteX46" fmla="*/ 255842 w 338518"/>
                <a:gd name="connsiteY46" fmla="*/ 366808 h 530828"/>
                <a:gd name="connsiteX47" fmla="*/ 217361 w 338518"/>
                <a:gd name="connsiteY47" fmla="*/ 356235 h 530828"/>
                <a:gd name="connsiteX48" fmla="*/ 170402 w 338518"/>
                <a:gd name="connsiteY48" fmla="*/ 351949 h 530828"/>
                <a:gd name="connsiteX49" fmla="*/ 107537 w 338518"/>
                <a:gd name="connsiteY49" fmla="*/ 367475 h 530828"/>
                <a:gd name="connsiteX50" fmla="*/ 84963 w 338518"/>
                <a:gd name="connsiteY50" fmla="*/ 409861 h 530828"/>
                <a:gd name="connsiteX51" fmla="*/ 84963 w 338518"/>
                <a:gd name="connsiteY51" fmla="*/ 411290 h 530828"/>
                <a:gd name="connsiteX52" fmla="*/ 105823 w 338518"/>
                <a:gd name="connsiteY52" fmla="*/ 452247 h 530828"/>
                <a:gd name="connsiteX53" fmla="*/ 157067 w 338518"/>
                <a:gd name="connsiteY53" fmla="*/ 466344 h 530828"/>
                <a:gd name="connsiteX54" fmla="*/ 196310 w 338518"/>
                <a:gd name="connsiteY54" fmla="*/ 460724 h 530828"/>
                <a:gd name="connsiteX55" fmla="*/ 227743 w 338518"/>
                <a:gd name="connsiteY55" fmla="*/ 444818 h 530828"/>
                <a:gd name="connsiteX56" fmla="*/ 248603 w 338518"/>
                <a:gd name="connsiteY56" fmla="*/ 420053 h 530828"/>
                <a:gd name="connsiteX57" fmla="*/ 256032 w 338518"/>
                <a:gd name="connsiteY57" fmla="*/ 387858 h 530828"/>
                <a:gd name="connsiteX58" fmla="*/ 256032 w 338518"/>
                <a:gd name="connsiteY58" fmla="*/ 366617 h 5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8518" h="530828">
                  <a:moveTo>
                    <a:pt x="253651" y="523018"/>
                  </a:moveTo>
                  <a:lnTo>
                    <a:pt x="253651" y="477107"/>
                  </a:lnTo>
                  <a:cubicBezTo>
                    <a:pt x="240887" y="492157"/>
                    <a:pt x="224695" y="504920"/>
                    <a:pt x="204883" y="515303"/>
                  </a:cubicBezTo>
                  <a:cubicBezTo>
                    <a:pt x="185071" y="525685"/>
                    <a:pt x="161068" y="530828"/>
                    <a:pt x="132779" y="530828"/>
                  </a:cubicBezTo>
                  <a:cubicBezTo>
                    <a:pt x="114871" y="530828"/>
                    <a:pt x="97917" y="528352"/>
                    <a:pt x="81915" y="523399"/>
                  </a:cubicBezTo>
                  <a:cubicBezTo>
                    <a:pt x="65913" y="518446"/>
                    <a:pt x="51911" y="511112"/>
                    <a:pt x="39910" y="501491"/>
                  </a:cubicBezTo>
                  <a:cubicBezTo>
                    <a:pt x="27908" y="491871"/>
                    <a:pt x="18193" y="479870"/>
                    <a:pt x="10954" y="465487"/>
                  </a:cubicBezTo>
                  <a:cubicBezTo>
                    <a:pt x="3620" y="451104"/>
                    <a:pt x="0" y="434531"/>
                    <a:pt x="0" y="415671"/>
                  </a:cubicBezTo>
                  <a:lnTo>
                    <a:pt x="0" y="414242"/>
                  </a:lnTo>
                  <a:cubicBezTo>
                    <a:pt x="0" y="393478"/>
                    <a:pt x="3810" y="375476"/>
                    <a:pt x="11335" y="360140"/>
                  </a:cubicBezTo>
                  <a:cubicBezTo>
                    <a:pt x="18860" y="344805"/>
                    <a:pt x="29337" y="332137"/>
                    <a:pt x="42767" y="321945"/>
                  </a:cubicBezTo>
                  <a:cubicBezTo>
                    <a:pt x="56198" y="311849"/>
                    <a:pt x="72200" y="304324"/>
                    <a:pt x="90773" y="299371"/>
                  </a:cubicBezTo>
                  <a:cubicBezTo>
                    <a:pt x="109347" y="294418"/>
                    <a:pt x="129540" y="291941"/>
                    <a:pt x="151162" y="291941"/>
                  </a:cubicBezTo>
                  <a:cubicBezTo>
                    <a:pt x="172784" y="291941"/>
                    <a:pt x="192977" y="293370"/>
                    <a:pt x="208788" y="296228"/>
                  </a:cubicBezTo>
                  <a:cubicBezTo>
                    <a:pt x="224600" y="299085"/>
                    <a:pt x="239744" y="302800"/>
                    <a:pt x="254413" y="307562"/>
                  </a:cubicBezTo>
                  <a:lnTo>
                    <a:pt x="254413" y="300514"/>
                  </a:lnTo>
                  <a:cubicBezTo>
                    <a:pt x="254413" y="274606"/>
                    <a:pt x="246507" y="254794"/>
                    <a:pt x="230696" y="241173"/>
                  </a:cubicBezTo>
                  <a:cubicBezTo>
                    <a:pt x="214884" y="227552"/>
                    <a:pt x="192215" y="220694"/>
                    <a:pt x="162496" y="220694"/>
                  </a:cubicBezTo>
                  <a:cubicBezTo>
                    <a:pt x="141351" y="220694"/>
                    <a:pt x="122492" y="222790"/>
                    <a:pt x="106013" y="227076"/>
                  </a:cubicBezTo>
                  <a:cubicBezTo>
                    <a:pt x="89535" y="231362"/>
                    <a:pt x="72771" y="236982"/>
                    <a:pt x="55817" y="244031"/>
                  </a:cubicBezTo>
                  <a:lnTo>
                    <a:pt x="32480" y="175451"/>
                  </a:lnTo>
                  <a:cubicBezTo>
                    <a:pt x="53150" y="166021"/>
                    <a:pt x="74390" y="158496"/>
                    <a:pt x="96107" y="152876"/>
                  </a:cubicBezTo>
                  <a:cubicBezTo>
                    <a:pt x="117729" y="147257"/>
                    <a:pt x="143923" y="144399"/>
                    <a:pt x="174593" y="144399"/>
                  </a:cubicBezTo>
                  <a:cubicBezTo>
                    <a:pt x="230124" y="144399"/>
                    <a:pt x="271367" y="158210"/>
                    <a:pt x="298228" y="185738"/>
                  </a:cubicBezTo>
                  <a:cubicBezTo>
                    <a:pt x="325088" y="213265"/>
                    <a:pt x="338519" y="252032"/>
                    <a:pt x="338519" y="301943"/>
                  </a:cubicBezTo>
                  <a:lnTo>
                    <a:pt x="338519" y="523113"/>
                  </a:lnTo>
                  <a:lnTo>
                    <a:pt x="253746" y="523113"/>
                  </a:lnTo>
                  <a:close/>
                  <a:moveTo>
                    <a:pt x="45911" y="95441"/>
                  </a:moveTo>
                  <a:cubicBezTo>
                    <a:pt x="53912" y="66675"/>
                    <a:pt x="63722" y="44768"/>
                    <a:pt x="75248" y="29718"/>
                  </a:cubicBezTo>
                  <a:cubicBezTo>
                    <a:pt x="86773" y="14669"/>
                    <a:pt x="103442" y="7144"/>
                    <a:pt x="125063" y="7144"/>
                  </a:cubicBezTo>
                  <a:cubicBezTo>
                    <a:pt x="134969" y="7144"/>
                    <a:pt x="144590" y="8668"/>
                    <a:pt x="154019" y="11716"/>
                  </a:cubicBezTo>
                  <a:cubicBezTo>
                    <a:pt x="163449" y="14764"/>
                    <a:pt x="172498" y="18098"/>
                    <a:pt x="181261" y="21622"/>
                  </a:cubicBezTo>
                  <a:cubicBezTo>
                    <a:pt x="189929" y="25146"/>
                    <a:pt x="198120" y="28385"/>
                    <a:pt x="205645" y="31147"/>
                  </a:cubicBezTo>
                  <a:cubicBezTo>
                    <a:pt x="213170" y="34004"/>
                    <a:pt x="220218" y="35338"/>
                    <a:pt x="226790" y="35338"/>
                  </a:cubicBezTo>
                  <a:cubicBezTo>
                    <a:pt x="237173" y="35338"/>
                    <a:pt x="244888" y="32480"/>
                    <a:pt x="250127" y="26861"/>
                  </a:cubicBezTo>
                  <a:cubicBezTo>
                    <a:pt x="255270" y="21241"/>
                    <a:pt x="260509" y="12287"/>
                    <a:pt x="265652" y="0"/>
                  </a:cubicBezTo>
                  <a:lnTo>
                    <a:pt x="312991" y="14859"/>
                  </a:lnTo>
                  <a:cubicBezTo>
                    <a:pt x="304991" y="43148"/>
                    <a:pt x="295180" y="64770"/>
                    <a:pt x="283655" y="79820"/>
                  </a:cubicBezTo>
                  <a:cubicBezTo>
                    <a:pt x="272129" y="94869"/>
                    <a:pt x="255461" y="102394"/>
                    <a:pt x="233839" y="102394"/>
                  </a:cubicBezTo>
                  <a:cubicBezTo>
                    <a:pt x="223933" y="102394"/>
                    <a:pt x="214313" y="100965"/>
                    <a:pt x="204883" y="98203"/>
                  </a:cubicBezTo>
                  <a:cubicBezTo>
                    <a:pt x="195453" y="95345"/>
                    <a:pt x="186404" y="92202"/>
                    <a:pt x="177641" y="88678"/>
                  </a:cubicBezTo>
                  <a:cubicBezTo>
                    <a:pt x="168878" y="85154"/>
                    <a:pt x="160687" y="81820"/>
                    <a:pt x="152876" y="78772"/>
                  </a:cubicBezTo>
                  <a:cubicBezTo>
                    <a:pt x="145066" y="75724"/>
                    <a:pt x="138113" y="74200"/>
                    <a:pt x="132017" y="74200"/>
                  </a:cubicBezTo>
                  <a:cubicBezTo>
                    <a:pt x="121634" y="74200"/>
                    <a:pt x="113919" y="77057"/>
                    <a:pt x="108680" y="82677"/>
                  </a:cubicBezTo>
                  <a:cubicBezTo>
                    <a:pt x="103537" y="88297"/>
                    <a:pt x="98298" y="97250"/>
                    <a:pt x="93154" y="109538"/>
                  </a:cubicBezTo>
                  <a:lnTo>
                    <a:pt x="45815" y="95441"/>
                  </a:lnTo>
                  <a:close/>
                  <a:moveTo>
                    <a:pt x="255842" y="366808"/>
                  </a:moveTo>
                  <a:cubicBezTo>
                    <a:pt x="244983" y="362522"/>
                    <a:pt x="232124" y="358997"/>
                    <a:pt x="217361" y="356235"/>
                  </a:cubicBezTo>
                  <a:cubicBezTo>
                    <a:pt x="202502" y="353378"/>
                    <a:pt x="186880" y="351949"/>
                    <a:pt x="170402" y="351949"/>
                  </a:cubicBezTo>
                  <a:cubicBezTo>
                    <a:pt x="143542" y="351949"/>
                    <a:pt x="122587" y="357092"/>
                    <a:pt x="107537" y="367475"/>
                  </a:cubicBezTo>
                  <a:cubicBezTo>
                    <a:pt x="92488" y="377857"/>
                    <a:pt x="84963" y="391954"/>
                    <a:pt x="84963" y="409861"/>
                  </a:cubicBezTo>
                  <a:lnTo>
                    <a:pt x="84963" y="411290"/>
                  </a:lnTo>
                  <a:cubicBezTo>
                    <a:pt x="84963" y="429197"/>
                    <a:pt x="91916" y="442817"/>
                    <a:pt x="105823" y="452247"/>
                  </a:cubicBezTo>
                  <a:cubicBezTo>
                    <a:pt x="119729" y="461677"/>
                    <a:pt x="136779" y="466344"/>
                    <a:pt x="157067" y="466344"/>
                  </a:cubicBezTo>
                  <a:cubicBezTo>
                    <a:pt x="171164" y="466344"/>
                    <a:pt x="184309" y="464439"/>
                    <a:pt x="196310" y="460724"/>
                  </a:cubicBezTo>
                  <a:cubicBezTo>
                    <a:pt x="208312" y="456914"/>
                    <a:pt x="218789" y="451676"/>
                    <a:pt x="227743" y="444818"/>
                  </a:cubicBezTo>
                  <a:cubicBezTo>
                    <a:pt x="236696" y="437960"/>
                    <a:pt x="243650" y="429768"/>
                    <a:pt x="248603" y="420053"/>
                  </a:cubicBezTo>
                  <a:cubicBezTo>
                    <a:pt x="253555" y="410432"/>
                    <a:pt x="256032" y="399669"/>
                    <a:pt x="256032" y="387858"/>
                  </a:cubicBezTo>
                  <a:lnTo>
                    <a:pt x="256032" y="366617"/>
                  </a:lnTo>
                  <a:close/>
                </a:path>
              </a:pathLst>
            </a:custGeom>
            <a:solidFill>
              <a:srgbClr val="44505E"/>
            </a:solidFill>
            <a:ln w="9525" cap="flat">
              <a:noFill/>
              <a:prstDash val="solid"/>
              <a:miter/>
            </a:ln>
          </p:spPr>
          <p:txBody>
            <a:bodyPr rtlCol="0" anchor="ctr"/>
            <a:lstStyle/>
            <a:p>
              <a:endParaRPr lang="pt-BR" noProof="0"/>
            </a:p>
          </p:txBody>
        </p:sp>
        <p:sp>
          <p:nvSpPr>
            <p:cNvPr id="69" name="Freeform: Shape 30">
              <a:extLst>
                <a:ext uri="{FF2B5EF4-FFF2-40B4-BE49-F238E27FC236}">
                  <a16:creationId xmlns:a16="http://schemas.microsoft.com/office/drawing/2014/main" id="{F875DE48-DFD9-1CFC-D6F6-C30D4830E4D4}"/>
                </a:ext>
              </a:extLst>
            </p:cNvPr>
            <p:cNvSpPr/>
            <p:nvPr/>
          </p:nvSpPr>
          <p:spPr>
            <a:xfrm>
              <a:off x="6506477" y="699959"/>
              <a:ext cx="100038" cy="97908"/>
            </a:xfrm>
            <a:custGeom>
              <a:avLst/>
              <a:gdLst>
                <a:gd name="connsiteX0" fmla="*/ 197834 w 397954"/>
                <a:gd name="connsiteY0" fmla="*/ 389477 h 389477"/>
                <a:gd name="connsiteX1" fmla="*/ 119063 w 397954"/>
                <a:gd name="connsiteY1" fmla="*/ 374237 h 389477"/>
                <a:gd name="connsiteX2" fmla="*/ 56198 w 397954"/>
                <a:gd name="connsiteY2" fmla="*/ 332899 h 389477"/>
                <a:gd name="connsiteX3" fmla="*/ 14859 w 397954"/>
                <a:gd name="connsiteY3" fmla="*/ 271463 h 389477"/>
                <a:gd name="connsiteX4" fmla="*/ 0 w 397954"/>
                <a:gd name="connsiteY4" fmla="*/ 196501 h 389477"/>
                <a:gd name="connsiteX5" fmla="*/ 0 w 397954"/>
                <a:gd name="connsiteY5" fmla="*/ 195072 h 389477"/>
                <a:gd name="connsiteX6" fmla="*/ 15240 w 397954"/>
                <a:gd name="connsiteY6" fmla="*/ 119444 h 389477"/>
                <a:gd name="connsiteX7" fmla="*/ 56960 w 397954"/>
                <a:gd name="connsiteY7" fmla="*/ 57626 h 389477"/>
                <a:gd name="connsiteX8" fmla="*/ 119825 w 397954"/>
                <a:gd name="connsiteY8" fmla="*/ 15526 h 389477"/>
                <a:gd name="connsiteX9" fmla="*/ 199358 w 397954"/>
                <a:gd name="connsiteY9" fmla="*/ 0 h 389477"/>
                <a:gd name="connsiteX10" fmla="*/ 278892 w 397954"/>
                <a:gd name="connsiteY10" fmla="*/ 15240 h 389477"/>
                <a:gd name="connsiteX11" fmla="*/ 341757 w 397954"/>
                <a:gd name="connsiteY11" fmla="*/ 56959 h 389477"/>
                <a:gd name="connsiteX12" fmla="*/ 383096 w 397954"/>
                <a:gd name="connsiteY12" fmla="*/ 118396 h 389477"/>
                <a:gd name="connsiteX13" fmla="*/ 397955 w 397954"/>
                <a:gd name="connsiteY13" fmla="*/ 193643 h 389477"/>
                <a:gd name="connsiteX14" fmla="*/ 397955 w 397954"/>
                <a:gd name="connsiteY14" fmla="*/ 195072 h 389477"/>
                <a:gd name="connsiteX15" fmla="*/ 382714 w 397954"/>
                <a:gd name="connsiteY15" fmla="*/ 270034 h 389477"/>
                <a:gd name="connsiteX16" fmla="*/ 340995 w 397954"/>
                <a:gd name="connsiteY16" fmla="*/ 331851 h 389477"/>
                <a:gd name="connsiteX17" fmla="*/ 277749 w 397954"/>
                <a:gd name="connsiteY17" fmla="*/ 373856 h 389477"/>
                <a:gd name="connsiteX18" fmla="*/ 197834 w 397954"/>
                <a:gd name="connsiteY18" fmla="*/ 389382 h 389477"/>
                <a:gd name="connsiteX19" fmla="*/ 199263 w 397954"/>
                <a:gd name="connsiteY19" fmla="*/ 315278 h 389477"/>
                <a:gd name="connsiteX20" fmla="*/ 245936 w 397954"/>
                <a:gd name="connsiteY20" fmla="*/ 305753 h 389477"/>
                <a:gd name="connsiteX21" fmla="*/ 281369 w 397954"/>
                <a:gd name="connsiteY21" fmla="*/ 279940 h 389477"/>
                <a:gd name="connsiteX22" fmla="*/ 303848 w 397954"/>
                <a:gd name="connsiteY22" fmla="*/ 242125 h 389477"/>
                <a:gd name="connsiteX23" fmla="*/ 311563 w 397954"/>
                <a:gd name="connsiteY23" fmla="*/ 196501 h 389477"/>
                <a:gd name="connsiteX24" fmla="*/ 311563 w 397954"/>
                <a:gd name="connsiteY24" fmla="*/ 195072 h 389477"/>
                <a:gd name="connsiteX25" fmla="*/ 303181 w 397954"/>
                <a:gd name="connsiteY25" fmla="*/ 148400 h 389477"/>
                <a:gd name="connsiteX26" fmla="*/ 279654 w 397954"/>
                <a:gd name="connsiteY26" fmla="*/ 110204 h 389477"/>
                <a:gd name="connsiteX27" fmla="*/ 243840 w 397954"/>
                <a:gd name="connsiteY27" fmla="*/ 84392 h 389477"/>
                <a:gd name="connsiteX28" fmla="*/ 197834 w 397954"/>
                <a:gd name="connsiteY28" fmla="*/ 74867 h 389477"/>
                <a:gd name="connsiteX29" fmla="*/ 151829 w 397954"/>
                <a:gd name="connsiteY29" fmla="*/ 84392 h 389477"/>
                <a:gd name="connsiteX30" fmla="*/ 116396 w 397954"/>
                <a:gd name="connsiteY30" fmla="*/ 109823 h 389477"/>
                <a:gd name="connsiteX31" fmla="*/ 93916 w 397954"/>
                <a:gd name="connsiteY31" fmla="*/ 147638 h 389477"/>
                <a:gd name="connsiteX32" fmla="*/ 86201 w 397954"/>
                <a:gd name="connsiteY32" fmla="*/ 193548 h 389477"/>
                <a:gd name="connsiteX33" fmla="*/ 86201 w 397954"/>
                <a:gd name="connsiteY33" fmla="*/ 194977 h 389477"/>
                <a:gd name="connsiteX34" fmla="*/ 94583 w 397954"/>
                <a:gd name="connsiteY34" fmla="*/ 241268 h 389477"/>
                <a:gd name="connsiteX35" fmla="*/ 118110 w 397954"/>
                <a:gd name="connsiteY35" fmla="*/ 279463 h 389477"/>
                <a:gd name="connsiteX36" fmla="*/ 153924 w 397954"/>
                <a:gd name="connsiteY36" fmla="*/ 305562 h 389477"/>
                <a:gd name="connsiteX37" fmla="*/ 199263 w 397954"/>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954" h="389477">
                  <a:moveTo>
                    <a:pt x="197834" y="389477"/>
                  </a:moveTo>
                  <a:cubicBezTo>
                    <a:pt x="169545" y="389477"/>
                    <a:pt x="143351" y="384429"/>
                    <a:pt x="119063" y="374237"/>
                  </a:cubicBezTo>
                  <a:cubicBezTo>
                    <a:pt x="94774" y="364141"/>
                    <a:pt x="73819" y="350330"/>
                    <a:pt x="56198" y="332899"/>
                  </a:cubicBezTo>
                  <a:cubicBezTo>
                    <a:pt x="38576" y="315468"/>
                    <a:pt x="24765" y="294989"/>
                    <a:pt x="14859" y="271463"/>
                  </a:cubicBezTo>
                  <a:cubicBezTo>
                    <a:pt x="4953" y="247936"/>
                    <a:pt x="0" y="222980"/>
                    <a:pt x="0" y="196501"/>
                  </a:cubicBezTo>
                  <a:lnTo>
                    <a:pt x="0" y="195072"/>
                  </a:lnTo>
                  <a:cubicBezTo>
                    <a:pt x="0" y="168212"/>
                    <a:pt x="5049" y="143066"/>
                    <a:pt x="15240" y="119444"/>
                  </a:cubicBezTo>
                  <a:cubicBezTo>
                    <a:pt x="25337" y="95917"/>
                    <a:pt x="39243" y="75248"/>
                    <a:pt x="56960" y="57626"/>
                  </a:cubicBezTo>
                  <a:cubicBezTo>
                    <a:pt x="74676" y="39910"/>
                    <a:pt x="95631" y="25908"/>
                    <a:pt x="119825" y="15526"/>
                  </a:cubicBezTo>
                  <a:cubicBezTo>
                    <a:pt x="144113" y="5144"/>
                    <a:pt x="170593" y="0"/>
                    <a:pt x="199358" y="0"/>
                  </a:cubicBezTo>
                  <a:cubicBezTo>
                    <a:pt x="228124" y="0"/>
                    <a:pt x="254604" y="5048"/>
                    <a:pt x="278892" y="15240"/>
                  </a:cubicBezTo>
                  <a:cubicBezTo>
                    <a:pt x="303181" y="25337"/>
                    <a:pt x="324136" y="39243"/>
                    <a:pt x="341757" y="56959"/>
                  </a:cubicBezTo>
                  <a:cubicBezTo>
                    <a:pt x="359379" y="74676"/>
                    <a:pt x="373189" y="95155"/>
                    <a:pt x="383096" y="118396"/>
                  </a:cubicBezTo>
                  <a:cubicBezTo>
                    <a:pt x="393002" y="141732"/>
                    <a:pt x="397955" y="166783"/>
                    <a:pt x="397955" y="193643"/>
                  </a:cubicBezTo>
                  <a:lnTo>
                    <a:pt x="397955" y="195072"/>
                  </a:lnTo>
                  <a:cubicBezTo>
                    <a:pt x="397955" y="221456"/>
                    <a:pt x="392906" y="246412"/>
                    <a:pt x="382714" y="270034"/>
                  </a:cubicBezTo>
                  <a:cubicBezTo>
                    <a:pt x="372618" y="293561"/>
                    <a:pt x="358712" y="314230"/>
                    <a:pt x="340995" y="331851"/>
                  </a:cubicBezTo>
                  <a:cubicBezTo>
                    <a:pt x="323279" y="349472"/>
                    <a:pt x="302229" y="363569"/>
                    <a:pt x="277749" y="373856"/>
                  </a:cubicBezTo>
                  <a:cubicBezTo>
                    <a:pt x="253270" y="384238"/>
                    <a:pt x="226600" y="389382"/>
                    <a:pt x="197834" y="389382"/>
                  </a:cubicBezTo>
                  <a:close/>
                  <a:moveTo>
                    <a:pt x="199263" y="315278"/>
                  </a:moveTo>
                  <a:cubicBezTo>
                    <a:pt x="216598" y="315278"/>
                    <a:pt x="232124" y="312039"/>
                    <a:pt x="245936" y="305753"/>
                  </a:cubicBezTo>
                  <a:cubicBezTo>
                    <a:pt x="259747" y="299371"/>
                    <a:pt x="271558" y="290798"/>
                    <a:pt x="281369" y="279940"/>
                  </a:cubicBezTo>
                  <a:cubicBezTo>
                    <a:pt x="291179" y="269081"/>
                    <a:pt x="298704" y="256508"/>
                    <a:pt x="303848" y="242125"/>
                  </a:cubicBezTo>
                  <a:cubicBezTo>
                    <a:pt x="308991" y="227743"/>
                    <a:pt x="311563" y="212598"/>
                    <a:pt x="311563" y="196501"/>
                  </a:cubicBezTo>
                  <a:lnTo>
                    <a:pt x="311563" y="195072"/>
                  </a:lnTo>
                  <a:cubicBezTo>
                    <a:pt x="311563" y="178594"/>
                    <a:pt x="308706" y="163068"/>
                    <a:pt x="303181" y="148400"/>
                  </a:cubicBezTo>
                  <a:cubicBezTo>
                    <a:pt x="297561" y="133826"/>
                    <a:pt x="289750" y="121063"/>
                    <a:pt x="279654" y="110204"/>
                  </a:cubicBezTo>
                  <a:cubicBezTo>
                    <a:pt x="269557" y="99346"/>
                    <a:pt x="257651" y="90773"/>
                    <a:pt x="243840" y="84392"/>
                  </a:cubicBezTo>
                  <a:cubicBezTo>
                    <a:pt x="230029" y="78010"/>
                    <a:pt x="214694" y="74867"/>
                    <a:pt x="197834" y="74867"/>
                  </a:cubicBezTo>
                  <a:cubicBezTo>
                    <a:pt x="180975" y="74867"/>
                    <a:pt x="165640" y="78010"/>
                    <a:pt x="151829" y="84392"/>
                  </a:cubicBezTo>
                  <a:cubicBezTo>
                    <a:pt x="138017" y="90773"/>
                    <a:pt x="126206" y="99250"/>
                    <a:pt x="116396" y="109823"/>
                  </a:cubicBezTo>
                  <a:cubicBezTo>
                    <a:pt x="106585" y="120396"/>
                    <a:pt x="99060" y="133064"/>
                    <a:pt x="93916" y="147638"/>
                  </a:cubicBezTo>
                  <a:cubicBezTo>
                    <a:pt x="88773" y="162211"/>
                    <a:pt x="86201" y="177546"/>
                    <a:pt x="86201" y="193548"/>
                  </a:cubicBezTo>
                  <a:lnTo>
                    <a:pt x="86201" y="194977"/>
                  </a:lnTo>
                  <a:cubicBezTo>
                    <a:pt x="86201" y="211455"/>
                    <a:pt x="89059" y="226886"/>
                    <a:pt x="94583" y="241268"/>
                  </a:cubicBezTo>
                  <a:cubicBezTo>
                    <a:pt x="100203" y="255651"/>
                    <a:pt x="108014" y="268319"/>
                    <a:pt x="118110" y="279463"/>
                  </a:cubicBezTo>
                  <a:cubicBezTo>
                    <a:pt x="128207" y="290608"/>
                    <a:pt x="140113" y="299275"/>
                    <a:pt x="153924" y="305562"/>
                  </a:cubicBezTo>
                  <a:cubicBezTo>
                    <a:pt x="167735" y="311944"/>
                    <a:pt x="182785"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70" name="Freeform: Shape 31">
              <a:extLst>
                <a:ext uri="{FF2B5EF4-FFF2-40B4-BE49-F238E27FC236}">
                  <a16:creationId xmlns:a16="http://schemas.microsoft.com/office/drawing/2014/main" id="{4DD537A1-3ECD-F447-AF6B-81E5A8537CB3}"/>
                </a:ext>
              </a:extLst>
            </p:cNvPr>
            <p:cNvSpPr/>
            <p:nvPr/>
          </p:nvSpPr>
          <p:spPr>
            <a:xfrm>
              <a:off x="662071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1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7 w 296894"/>
                <a:gd name="connsiteY23" fmla="*/ 42863 h 386714"/>
                <a:gd name="connsiteX24" fmla="*/ 254318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7 w 296894"/>
                <a:gd name="connsiteY30" fmla="*/ 124587 h 386714"/>
                <a:gd name="connsiteX31" fmla="*/ 122682 w 296894"/>
                <a:gd name="connsiteY31" fmla="*/ 138017 h 386714"/>
                <a:gd name="connsiteX32" fmla="*/ 149543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6" y="348901"/>
                    <a:pt x="0" y="330327"/>
                  </a:cubicBezTo>
                  <a:lnTo>
                    <a:pt x="38195" y="272224"/>
                  </a:lnTo>
                  <a:cubicBezTo>
                    <a:pt x="58484" y="287274"/>
                    <a:pt x="79057" y="298704"/>
                    <a:pt x="100013" y="306514"/>
                  </a:cubicBezTo>
                  <a:cubicBezTo>
                    <a:pt x="120968" y="314325"/>
                    <a:pt x="141161" y="318135"/>
                    <a:pt x="160401" y="318135"/>
                  </a:cubicBezTo>
                  <a:cubicBezTo>
                    <a:pt x="179641" y="318135"/>
                    <a:pt x="192977"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1" y="241078"/>
                    <a:pt x="176498" y="237553"/>
                    <a:pt x="166401"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2" y="40195"/>
                    <a:pt x="56864" y="30385"/>
                  </a:cubicBezTo>
                  <a:cubicBezTo>
                    <a:pt x="68866" y="20479"/>
                    <a:pt x="82962" y="12954"/>
                    <a:pt x="99250" y="7810"/>
                  </a:cubicBezTo>
                  <a:cubicBezTo>
                    <a:pt x="115538" y="2667"/>
                    <a:pt x="132779" y="0"/>
                    <a:pt x="151162" y="0"/>
                  </a:cubicBezTo>
                  <a:cubicBezTo>
                    <a:pt x="174688" y="0"/>
                    <a:pt x="198501" y="3810"/>
                    <a:pt x="222504" y="11430"/>
                  </a:cubicBezTo>
                  <a:cubicBezTo>
                    <a:pt x="246507" y="19050"/>
                    <a:pt x="268414" y="29527"/>
                    <a:pt x="288227" y="42863"/>
                  </a:cubicBezTo>
                  <a:lnTo>
                    <a:pt x="254318"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7" y="124587"/>
                  </a:cubicBezTo>
                  <a:cubicBezTo>
                    <a:pt x="108585" y="129540"/>
                    <a:pt x="114871" y="134017"/>
                    <a:pt x="122682" y="138017"/>
                  </a:cubicBezTo>
                  <a:cubicBezTo>
                    <a:pt x="130493" y="142018"/>
                    <a:pt x="139351" y="145732"/>
                    <a:pt x="149543"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696"/>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71" name="Freeform: Shape 32">
              <a:extLst>
                <a:ext uri="{FF2B5EF4-FFF2-40B4-BE49-F238E27FC236}">
                  <a16:creationId xmlns:a16="http://schemas.microsoft.com/office/drawing/2014/main" id="{14951D85-61D3-B314-2638-21BABBF16187}"/>
                </a:ext>
              </a:extLst>
            </p:cNvPr>
            <p:cNvSpPr/>
            <p:nvPr/>
          </p:nvSpPr>
          <p:spPr>
            <a:xfrm>
              <a:off x="526693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4 w 202977"/>
                <a:gd name="connsiteY17" fmla="*/ 19907 h 239267"/>
                <a:gd name="connsiteX18" fmla="*/ 59246 w 202977"/>
                <a:gd name="connsiteY18" fmla="*/ 5429 h 239267"/>
                <a:gd name="connsiteX19" fmla="*/ 104299 w 202977"/>
                <a:gd name="connsiteY19" fmla="*/ 0 h 239267"/>
                <a:gd name="connsiteX20" fmla="*/ 178880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5 w 202977"/>
                <a:gd name="connsiteY27" fmla="*/ 211169 h 239267"/>
                <a:gd name="connsiteX28" fmla="*/ 122968 w 202977"/>
                <a:gd name="connsiteY28" fmla="*/ 206788 h 239267"/>
                <a:gd name="connsiteX29" fmla="*/ 147257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9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9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3" y="99155"/>
                    <a:pt x="58674" y="95917"/>
                  </a:cubicBezTo>
                  <a:cubicBezTo>
                    <a:pt x="70771" y="92678"/>
                    <a:pt x="84011" y="90964"/>
                    <a:pt x="98584" y="90964"/>
                  </a:cubicBezTo>
                  <a:cubicBezTo>
                    <a:pt x="113157" y="90964"/>
                    <a:pt x="126301" y="91821"/>
                    <a:pt x="137160" y="93631"/>
                  </a:cubicBezTo>
                  <a:cubicBezTo>
                    <a:pt x="148019" y="95440"/>
                    <a:pt x="158687" y="97822"/>
                    <a:pt x="169069" y="100774"/>
                  </a:cubicBezTo>
                  <a:lnTo>
                    <a:pt x="169069" y="93726"/>
                  </a:lnTo>
                  <a:cubicBezTo>
                    <a:pt x="169069" y="73342"/>
                    <a:pt x="163068" y="57912"/>
                    <a:pt x="151162" y="47339"/>
                  </a:cubicBezTo>
                  <a:cubicBezTo>
                    <a:pt x="139256" y="36862"/>
                    <a:pt x="122492" y="31623"/>
                    <a:pt x="100679" y="31623"/>
                  </a:cubicBezTo>
                  <a:cubicBezTo>
                    <a:pt x="86963" y="31623"/>
                    <a:pt x="74581" y="33147"/>
                    <a:pt x="63437" y="36100"/>
                  </a:cubicBezTo>
                  <a:cubicBezTo>
                    <a:pt x="52292" y="39053"/>
                    <a:pt x="41339" y="43053"/>
                    <a:pt x="30671" y="48196"/>
                  </a:cubicBezTo>
                  <a:lnTo>
                    <a:pt x="20384" y="19907"/>
                  </a:lnTo>
                  <a:cubicBezTo>
                    <a:pt x="33147" y="13906"/>
                    <a:pt x="46101" y="9049"/>
                    <a:pt x="59246" y="5429"/>
                  </a:cubicBezTo>
                  <a:cubicBezTo>
                    <a:pt x="72295" y="1810"/>
                    <a:pt x="87344" y="0"/>
                    <a:pt x="104299" y="0"/>
                  </a:cubicBezTo>
                  <a:cubicBezTo>
                    <a:pt x="137065" y="0"/>
                    <a:pt x="161925" y="8477"/>
                    <a:pt x="178880"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99" y="239173"/>
                    <a:pt x="86011" y="239173"/>
                  </a:cubicBezTo>
                  <a:close/>
                  <a:moveTo>
                    <a:pt x="93155" y="211169"/>
                  </a:moveTo>
                  <a:cubicBezTo>
                    <a:pt x="103823" y="211169"/>
                    <a:pt x="113728" y="209740"/>
                    <a:pt x="122968" y="206788"/>
                  </a:cubicBezTo>
                  <a:cubicBezTo>
                    <a:pt x="132207" y="203835"/>
                    <a:pt x="140208" y="199644"/>
                    <a:pt x="147257"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9" y="121444"/>
                  </a:cubicBezTo>
                  <a:cubicBezTo>
                    <a:pt x="129445" y="119348"/>
                    <a:pt x="116776"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244" y="190500"/>
                    <a:pt x="47435" y="195358"/>
                    <a:pt x="52769" y="199263"/>
                  </a:cubicBezTo>
                  <a:cubicBezTo>
                    <a:pt x="58103" y="203073"/>
                    <a:pt x="64294" y="206026"/>
                    <a:pt x="71247" y="208121"/>
                  </a:cubicBezTo>
                  <a:cubicBezTo>
                    <a:pt x="78200" y="210217"/>
                    <a:pt x="85535"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72" name="Freeform: Shape 33">
              <a:extLst>
                <a:ext uri="{FF2B5EF4-FFF2-40B4-BE49-F238E27FC236}">
                  <a16:creationId xmlns:a16="http://schemas.microsoft.com/office/drawing/2014/main" id="{9373E6E1-60E6-6130-4FA1-2E5D4796B910}"/>
                </a:ext>
              </a:extLst>
            </p:cNvPr>
            <p:cNvSpPr/>
            <p:nvPr/>
          </p:nvSpPr>
          <p:spPr>
            <a:xfrm>
              <a:off x="5331227"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9" y="303276"/>
                    <a:pt x="71438" y="300895"/>
                  </a:cubicBezTo>
                  <a:cubicBezTo>
                    <a:pt x="63437"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2"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73" name="Freeform: Shape 34">
              <a:extLst>
                <a:ext uri="{FF2B5EF4-FFF2-40B4-BE49-F238E27FC236}">
                  <a16:creationId xmlns:a16="http://schemas.microsoft.com/office/drawing/2014/main" id="{BA5FD5DD-7264-2B33-EE7C-7E3082F9ECE2}"/>
                </a:ext>
              </a:extLst>
            </p:cNvPr>
            <p:cNvSpPr/>
            <p:nvPr/>
          </p:nvSpPr>
          <p:spPr>
            <a:xfrm>
              <a:off x="5381845"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191 w 39242"/>
                <a:gd name="connsiteY5" fmla="*/ 88392 h 319182"/>
                <a:gd name="connsiteX6" fmla="*/ 36576 w 39242"/>
                <a:gd name="connsiteY6" fmla="*/ 88392 h 319182"/>
                <a:gd name="connsiteX7" fmla="*/ 36576 w 39242"/>
                <a:gd name="connsiteY7" fmla="*/ 319183 h 319182"/>
                <a:gd name="connsiteX8" fmla="*/ 2191 w 39242"/>
                <a:gd name="connsiteY8" fmla="*/ 319183 h 319182"/>
                <a:gd name="connsiteX9" fmla="*/ 2191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191" y="88392"/>
                  </a:moveTo>
                  <a:lnTo>
                    <a:pt x="36576" y="88392"/>
                  </a:lnTo>
                  <a:lnTo>
                    <a:pt x="36576" y="319183"/>
                  </a:lnTo>
                  <a:lnTo>
                    <a:pt x="2191" y="319183"/>
                  </a:lnTo>
                  <a:lnTo>
                    <a:pt x="2191" y="88392"/>
                  </a:lnTo>
                  <a:close/>
                </a:path>
              </a:pathLst>
            </a:custGeom>
            <a:solidFill>
              <a:srgbClr val="44505E"/>
            </a:solidFill>
            <a:ln w="9525" cap="flat">
              <a:noFill/>
              <a:prstDash val="solid"/>
              <a:miter/>
            </a:ln>
          </p:spPr>
          <p:txBody>
            <a:bodyPr rtlCol="0" anchor="ctr"/>
            <a:lstStyle/>
            <a:p>
              <a:endParaRPr lang="pt-BR" noProof="0"/>
            </a:p>
          </p:txBody>
        </p:sp>
        <p:sp>
          <p:nvSpPr>
            <p:cNvPr id="74" name="Freeform: Shape 35">
              <a:extLst>
                <a:ext uri="{FF2B5EF4-FFF2-40B4-BE49-F238E27FC236}">
                  <a16:creationId xmlns:a16="http://schemas.microsoft.com/office/drawing/2014/main" id="{36E50FA4-3399-D0CF-9754-963249F3F002}"/>
                </a:ext>
              </a:extLst>
            </p:cNvPr>
            <p:cNvSpPr/>
            <p:nvPr/>
          </p:nvSpPr>
          <p:spPr>
            <a:xfrm>
              <a:off x="5406076"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8" y="303276"/>
                    <a:pt x="71438" y="300895"/>
                  </a:cubicBezTo>
                  <a:cubicBezTo>
                    <a:pt x="63436"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1"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75" name="Freeform: Shape 36">
              <a:extLst>
                <a:ext uri="{FF2B5EF4-FFF2-40B4-BE49-F238E27FC236}">
                  <a16:creationId xmlns:a16="http://schemas.microsoft.com/office/drawing/2014/main" id="{5EFADA62-09F0-61B8-BFD6-10351CE7F15C}"/>
                </a:ext>
              </a:extLst>
            </p:cNvPr>
            <p:cNvSpPr/>
            <p:nvPr/>
          </p:nvSpPr>
          <p:spPr>
            <a:xfrm>
              <a:off x="5455545" y="925297"/>
              <a:ext cx="50594" cy="59238"/>
            </a:xfrm>
            <a:custGeom>
              <a:avLst/>
              <a:gdLst>
                <a:gd name="connsiteX0" fmla="*/ 88392 w 201263"/>
                <a:gd name="connsiteY0" fmla="*/ 235648 h 235648"/>
                <a:gd name="connsiteX1" fmla="*/ 51149 w 201263"/>
                <a:gd name="connsiteY1" fmla="*/ 228981 h 235648"/>
                <a:gd name="connsiteX2" fmla="*/ 23431 w 201263"/>
                <a:gd name="connsiteY2" fmla="*/ 210026 h 235648"/>
                <a:gd name="connsiteX3" fmla="*/ 6001 w 201263"/>
                <a:gd name="connsiteY3" fmla="*/ 180784 h 235648"/>
                <a:gd name="connsiteX4" fmla="*/ 0 w 201263"/>
                <a:gd name="connsiteY4" fmla="*/ 143256 h 235648"/>
                <a:gd name="connsiteX5" fmla="*/ 0 w 201263"/>
                <a:gd name="connsiteY5" fmla="*/ 0 h 235648"/>
                <a:gd name="connsiteX6" fmla="*/ 34385 w 201263"/>
                <a:gd name="connsiteY6" fmla="*/ 0 h 235648"/>
                <a:gd name="connsiteX7" fmla="*/ 34385 w 201263"/>
                <a:gd name="connsiteY7" fmla="*/ 134493 h 235648"/>
                <a:gd name="connsiteX8" fmla="*/ 50864 w 201263"/>
                <a:gd name="connsiteY8" fmla="*/ 185261 h 235648"/>
                <a:gd name="connsiteX9" fmla="*/ 98203 w 201263"/>
                <a:gd name="connsiteY9" fmla="*/ 203930 h 235648"/>
                <a:gd name="connsiteX10" fmla="*/ 125635 w 201263"/>
                <a:gd name="connsiteY10" fmla="*/ 198787 h 235648"/>
                <a:gd name="connsiteX11" fmla="*/ 147542 w 201263"/>
                <a:gd name="connsiteY11" fmla="*/ 184118 h 235648"/>
                <a:gd name="connsiteX12" fmla="*/ 162020 w 201263"/>
                <a:gd name="connsiteY12" fmla="*/ 161163 h 235648"/>
                <a:gd name="connsiteX13" fmla="*/ 167354 w 201263"/>
                <a:gd name="connsiteY13" fmla="*/ 131826 h 235648"/>
                <a:gd name="connsiteX14" fmla="*/ 167354 w 201263"/>
                <a:gd name="connsiteY14" fmla="*/ 0 h 235648"/>
                <a:gd name="connsiteX15" fmla="*/ 201263 w 201263"/>
                <a:gd name="connsiteY15" fmla="*/ 0 h 235648"/>
                <a:gd name="connsiteX16" fmla="*/ 201263 w 201263"/>
                <a:gd name="connsiteY16" fmla="*/ 230791 h 235648"/>
                <a:gd name="connsiteX17" fmla="*/ 167354 w 201263"/>
                <a:gd name="connsiteY17" fmla="*/ 230791 h 235648"/>
                <a:gd name="connsiteX18" fmla="*/ 167354 w 201263"/>
                <a:gd name="connsiteY18" fmla="*/ 190595 h 235648"/>
                <a:gd name="connsiteX19" fmla="*/ 136969 w 201263"/>
                <a:gd name="connsiteY19" fmla="*/ 222504 h 235648"/>
                <a:gd name="connsiteX20" fmla="*/ 88297 w 201263"/>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263" h="235648">
                  <a:moveTo>
                    <a:pt x="88392" y="235648"/>
                  </a:moveTo>
                  <a:cubicBezTo>
                    <a:pt x="74390" y="235648"/>
                    <a:pt x="62008" y="233363"/>
                    <a:pt x="51149" y="228981"/>
                  </a:cubicBezTo>
                  <a:cubicBezTo>
                    <a:pt x="40291" y="224504"/>
                    <a:pt x="31052" y="218218"/>
                    <a:pt x="23431"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864" y="185261"/>
                  </a:cubicBezTo>
                  <a:cubicBezTo>
                    <a:pt x="61913" y="197739"/>
                    <a:pt x="77629" y="203930"/>
                    <a:pt x="98203" y="203930"/>
                  </a:cubicBezTo>
                  <a:cubicBezTo>
                    <a:pt x="108014" y="203930"/>
                    <a:pt x="117158" y="202216"/>
                    <a:pt x="125635" y="198787"/>
                  </a:cubicBezTo>
                  <a:cubicBezTo>
                    <a:pt x="134112" y="195358"/>
                    <a:pt x="141351" y="190500"/>
                    <a:pt x="147542" y="184118"/>
                  </a:cubicBezTo>
                  <a:cubicBezTo>
                    <a:pt x="153638" y="177736"/>
                    <a:pt x="158496" y="170116"/>
                    <a:pt x="162020" y="161163"/>
                  </a:cubicBezTo>
                  <a:cubicBezTo>
                    <a:pt x="165640" y="152305"/>
                    <a:pt x="167354" y="142494"/>
                    <a:pt x="167354" y="131826"/>
                  </a:cubicBezTo>
                  <a:lnTo>
                    <a:pt x="167354" y="0"/>
                  </a:lnTo>
                  <a:lnTo>
                    <a:pt x="201263" y="0"/>
                  </a:lnTo>
                  <a:lnTo>
                    <a:pt x="201263" y="230791"/>
                  </a:lnTo>
                  <a:lnTo>
                    <a:pt x="167354" y="230791"/>
                  </a:lnTo>
                  <a:lnTo>
                    <a:pt x="167354" y="190595"/>
                  </a:lnTo>
                  <a:cubicBezTo>
                    <a:pt x="159639" y="203073"/>
                    <a:pt x="149447" y="213741"/>
                    <a:pt x="136969" y="222504"/>
                  </a:cubicBezTo>
                  <a:cubicBezTo>
                    <a:pt x="124492" y="231267"/>
                    <a:pt x="108299" y="235648"/>
                    <a:pt x="88297" y="235648"/>
                  </a:cubicBezTo>
                  <a:close/>
                </a:path>
              </a:pathLst>
            </a:custGeom>
            <a:solidFill>
              <a:srgbClr val="44505E"/>
            </a:solidFill>
            <a:ln w="9525" cap="flat">
              <a:noFill/>
              <a:prstDash val="solid"/>
              <a:miter/>
            </a:ln>
          </p:spPr>
          <p:txBody>
            <a:bodyPr rtlCol="0" anchor="ctr"/>
            <a:lstStyle/>
            <a:p>
              <a:endParaRPr lang="pt-BR" noProof="0"/>
            </a:p>
          </p:txBody>
        </p:sp>
        <p:sp>
          <p:nvSpPr>
            <p:cNvPr id="76" name="Freeform: Shape 37">
              <a:extLst>
                <a:ext uri="{FF2B5EF4-FFF2-40B4-BE49-F238E27FC236}">
                  <a16:creationId xmlns:a16="http://schemas.microsoft.com/office/drawing/2014/main" id="{14156132-66AF-7DC6-165A-202FDB05333D}"/>
                </a:ext>
              </a:extLst>
            </p:cNvPr>
            <p:cNvSpPr/>
            <p:nvPr/>
          </p:nvSpPr>
          <p:spPr>
            <a:xfrm>
              <a:off x="5522205" y="901353"/>
              <a:ext cx="58567" cy="83182"/>
            </a:xfrm>
            <a:custGeom>
              <a:avLst/>
              <a:gdLst>
                <a:gd name="connsiteX0" fmla="*/ 110204 w 232981"/>
                <a:gd name="connsiteY0" fmla="*/ 330898 h 330898"/>
                <a:gd name="connsiteX1" fmla="*/ 69628 w 232981"/>
                <a:gd name="connsiteY1" fmla="*/ 322897 h 330898"/>
                <a:gd name="connsiteX2" fmla="*/ 34385 w 232981"/>
                <a:gd name="connsiteY2" fmla="*/ 299466 h 330898"/>
                <a:gd name="connsiteX3" fmla="*/ 9334 w 232981"/>
                <a:gd name="connsiteY3" fmla="*/ 261938 h 330898"/>
                <a:gd name="connsiteX4" fmla="*/ 0 w 232981"/>
                <a:gd name="connsiteY4" fmla="*/ 211264 h 330898"/>
                <a:gd name="connsiteX5" fmla="*/ 0 w 232981"/>
                <a:gd name="connsiteY5" fmla="*/ 210407 h 330898"/>
                <a:gd name="connsiteX6" fmla="*/ 9334 w 232981"/>
                <a:gd name="connsiteY6" fmla="*/ 159925 h 330898"/>
                <a:gd name="connsiteX7" fmla="*/ 34385 w 232981"/>
                <a:gd name="connsiteY7" fmla="*/ 122206 h 330898"/>
                <a:gd name="connsiteX8" fmla="*/ 69628 w 232981"/>
                <a:gd name="connsiteY8" fmla="*/ 98488 h 330898"/>
                <a:gd name="connsiteX9" fmla="*/ 110204 w 232981"/>
                <a:gd name="connsiteY9" fmla="*/ 90202 h 330898"/>
                <a:gd name="connsiteX10" fmla="*/ 139636 w 232981"/>
                <a:gd name="connsiteY10" fmla="*/ 94202 h 330898"/>
                <a:gd name="connsiteX11" fmla="*/ 163735 w 232981"/>
                <a:gd name="connsiteY11" fmla="*/ 104870 h 330898"/>
                <a:gd name="connsiteX12" fmla="*/ 183166 w 232981"/>
                <a:gd name="connsiteY12" fmla="*/ 120491 h 330898"/>
                <a:gd name="connsiteX13" fmla="*/ 198596 w 232981"/>
                <a:gd name="connsiteY13" fmla="*/ 139255 h 330898"/>
                <a:gd name="connsiteX14" fmla="*/ 198596 w 232981"/>
                <a:gd name="connsiteY14" fmla="*/ 0 h 330898"/>
                <a:gd name="connsiteX15" fmla="*/ 232981 w 232981"/>
                <a:gd name="connsiteY15" fmla="*/ 0 h 330898"/>
                <a:gd name="connsiteX16" fmla="*/ 232981 w 232981"/>
                <a:gd name="connsiteY16" fmla="*/ 325850 h 330898"/>
                <a:gd name="connsiteX17" fmla="*/ 198596 w 232981"/>
                <a:gd name="connsiteY17" fmla="*/ 325850 h 330898"/>
                <a:gd name="connsiteX18" fmla="*/ 198596 w 232981"/>
                <a:gd name="connsiteY18" fmla="*/ 279463 h 330898"/>
                <a:gd name="connsiteX19" fmla="*/ 182785 w 232981"/>
                <a:gd name="connsiteY19" fmla="*/ 299085 h 330898"/>
                <a:gd name="connsiteX20" fmla="*/ 163354 w 232981"/>
                <a:gd name="connsiteY20" fmla="*/ 315658 h 330898"/>
                <a:gd name="connsiteX21" fmla="*/ 139446 w 232981"/>
                <a:gd name="connsiteY21" fmla="*/ 326803 h 330898"/>
                <a:gd name="connsiteX22" fmla="*/ 110204 w 232981"/>
                <a:gd name="connsiteY22" fmla="*/ 330803 h 330898"/>
                <a:gd name="connsiteX23" fmla="*/ 116491 w 232981"/>
                <a:gd name="connsiteY23" fmla="*/ 300133 h 330898"/>
                <a:gd name="connsiteX24" fmla="*/ 147542 w 232981"/>
                <a:gd name="connsiteY24" fmla="*/ 293656 h 330898"/>
                <a:gd name="connsiteX25" fmla="*/ 174307 w 232981"/>
                <a:gd name="connsiteY25" fmla="*/ 275368 h 330898"/>
                <a:gd name="connsiteX26" fmla="*/ 193072 w 232981"/>
                <a:gd name="connsiteY26" fmla="*/ 247269 h 330898"/>
                <a:gd name="connsiteX27" fmla="*/ 200025 w 232981"/>
                <a:gd name="connsiteY27" fmla="*/ 210883 h 330898"/>
                <a:gd name="connsiteX28" fmla="*/ 200025 w 232981"/>
                <a:gd name="connsiteY28" fmla="*/ 210026 h 330898"/>
                <a:gd name="connsiteX29" fmla="*/ 193072 w 232981"/>
                <a:gd name="connsiteY29" fmla="*/ 173641 h 330898"/>
                <a:gd name="connsiteX30" fmla="*/ 174307 w 232981"/>
                <a:gd name="connsiteY30" fmla="*/ 145732 h 330898"/>
                <a:gd name="connsiteX31" fmla="*/ 147542 w 232981"/>
                <a:gd name="connsiteY31" fmla="*/ 127635 h 330898"/>
                <a:gd name="connsiteX32" fmla="*/ 116491 w 232981"/>
                <a:gd name="connsiteY32" fmla="*/ 121158 h 330898"/>
                <a:gd name="connsiteX33" fmla="*/ 84772 w 232981"/>
                <a:gd name="connsiteY33" fmla="*/ 127159 h 330898"/>
                <a:gd name="connsiteX34" fmla="*/ 59150 w 232981"/>
                <a:gd name="connsiteY34" fmla="*/ 144589 h 330898"/>
                <a:gd name="connsiteX35" fmla="*/ 41719 w 232981"/>
                <a:gd name="connsiteY35" fmla="*/ 172498 h 330898"/>
                <a:gd name="connsiteX36" fmla="*/ 35242 w 232981"/>
                <a:gd name="connsiteY36" fmla="*/ 210026 h 330898"/>
                <a:gd name="connsiteX37" fmla="*/ 35242 w 232981"/>
                <a:gd name="connsiteY37" fmla="*/ 210883 h 330898"/>
                <a:gd name="connsiteX38" fmla="*/ 41719 w 232981"/>
                <a:gd name="connsiteY38" fmla="*/ 247936 h 330898"/>
                <a:gd name="connsiteX39" fmla="*/ 59341 w 232981"/>
                <a:gd name="connsiteY39" fmla="*/ 276034 h 330898"/>
                <a:gd name="connsiteX40" fmla="*/ 85249 w 232981"/>
                <a:gd name="connsiteY40" fmla="*/ 293941 h 330898"/>
                <a:gd name="connsiteX41" fmla="*/ 116491 w 23298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30898">
                  <a:moveTo>
                    <a:pt x="110204" y="330898"/>
                  </a:moveTo>
                  <a:cubicBezTo>
                    <a:pt x="96202" y="330898"/>
                    <a:pt x="82677" y="328231"/>
                    <a:pt x="69628" y="322897"/>
                  </a:cubicBezTo>
                  <a:cubicBezTo>
                    <a:pt x="56578" y="317563"/>
                    <a:pt x="44767" y="309753"/>
                    <a:pt x="34385" y="299466"/>
                  </a:cubicBezTo>
                  <a:cubicBezTo>
                    <a:pt x="24003" y="289179"/>
                    <a:pt x="15621" y="276701"/>
                    <a:pt x="9334" y="261938"/>
                  </a:cubicBezTo>
                  <a:cubicBezTo>
                    <a:pt x="3048" y="247174"/>
                    <a:pt x="0" y="230314"/>
                    <a:pt x="0" y="211264"/>
                  </a:cubicBezTo>
                  <a:lnTo>
                    <a:pt x="0" y="210407"/>
                  </a:lnTo>
                  <a:cubicBezTo>
                    <a:pt x="0" y="191643"/>
                    <a:pt x="3143" y="174879"/>
                    <a:pt x="9334" y="159925"/>
                  </a:cubicBezTo>
                  <a:cubicBezTo>
                    <a:pt x="15621" y="145066"/>
                    <a:pt x="23908" y="132493"/>
                    <a:pt x="34385" y="122206"/>
                  </a:cubicBezTo>
                  <a:cubicBezTo>
                    <a:pt x="44767" y="111919"/>
                    <a:pt x="56578" y="104013"/>
                    <a:pt x="69628" y="98488"/>
                  </a:cubicBezTo>
                  <a:cubicBezTo>
                    <a:pt x="82677" y="92964"/>
                    <a:pt x="96298" y="90202"/>
                    <a:pt x="110204" y="90202"/>
                  </a:cubicBezTo>
                  <a:cubicBezTo>
                    <a:pt x="120967" y="90202"/>
                    <a:pt x="130778" y="91535"/>
                    <a:pt x="139636" y="94202"/>
                  </a:cubicBezTo>
                  <a:cubicBezTo>
                    <a:pt x="148590" y="96869"/>
                    <a:pt x="156591" y="100489"/>
                    <a:pt x="163735" y="104870"/>
                  </a:cubicBezTo>
                  <a:cubicBezTo>
                    <a:pt x="170878" y="109347"/>
                    <a:pt x="177356" y="114586"/>
                    <a:pt x="183166" y="120491"/>
                  </a:cubicBezTo>
                  <a:cubicBezTo>
                    <a:pt x="188976" y="126492"/>
                    <a:pt x="194119" y="132683"/>
                    <a:pt x="198596" y="139255"/>
                  </a:cubicBezTo>
                  <a:lnTo>
                    <a:pt x="198596" y="0"/>
                  </a:lnTo>
                  <a:lnTo>
                    <a:pt x="232981" y="0"/>
                  </a:lnTo>
                  <a:lnTo>
                    <a:pt x="232981" y="325850"/>
                  </a:lnTo>
                  <a:lnTo>
                    <a:pt x="198596" y="325850"/>
                  </a:lnTo>
                  <a:lnTo>
                    <a:pt x="198596" y="279463"/>
                  </a:lnTo>
                  <a:cubicBezTo>
                    <a:pt x="193834" y="286321"/>
                    <a:pt x="188595" y="292894"/>
                    <a:pt x="182785" y="299085"/>
                  </a:cubicBezTo>
                  <a:cubicBezTo>
                    <a:pt x="176974" y="305371"/>
                    <a:pt x="170498" y="310896"/>
                    <a:pt x="163354" y="315658"/>
                  </a:cubicBezTo>
                  <a:cubicBezTo>
                    <a:pt x="156210" y="320421"/>
                    <a:pt x="148209" y="324136"/>
                    <a:pt x="139446" y="326803"/>
                  </a:cubicBezTo>
                  <a:cubicBezTo>
                    <a:pt x="130683" y="329470"/>
                    <a:pt x="120967" y="330803"/>
                    <a:pt x="110204" y="330803"/>
                  </a:cubicBezTo>
                  <a:close/>
                  <a:moveTo>
                    <a:pt x="116491" y="300133"/>
                  </a:moveTo>
                  <a:cubicBezTo>
                    <a:pt x="127159" y="300133"/>
                    <a:pt x="137541" y="297942"/>
                    <a:pt x="147542" y="293656"/>
                  </a:cubicBezTo>
                  <a:cubicBezTo>
                    <a:pt x="157544" y="289369"/>
                    <a:pt x="166402" y="283273"/>
                    <a:pt x="174307" y="275368"/>
                  </a:cubicBezTo>
                  <a:cubicBezTo>
                    <a:pt x="182213" y="267462"/>
                    <a:pt x="188404" y="258127"/>
                    <a:pt x="193072" y="247269"/>
                  </a:cubicBezTo>
                  <a:cubicBezTo>
                    <a:pt x="197644" y="236410"/>
                    <a:pt x="200025" y="224314"/>
                    <a:pt x="200025" y="210883"/>
                  </a:cubicBezTo>
                  <a:lnTo>
                    <a:pt x="200025" y="210026"/>
                  </a:lnTo>
                  <a:cubicBezTo>
                    <a:pt x="200025" y="196596"/>
                    <a:pt x="197739" y="184499"/>
                    <a:pt x="193072" y="173641"/>
                  </a:cubicBezTo>
                  <a:cubicBezTo>
                    <a:pt x="188500" y="162782"/>
                    <a:pt x="182213" y="153448"/>
                    <a:pt x="174307" y="145732"/>
                  </a:cubicBezTo>
                  <a:cubicBezTo>
                    <a:pt x="166402" y="138017"/>
                    <a:pt x="157448" y="132016"/>
                    <a:pt x="147542" y="127635"/>
                  </a:cubicBezTo>
                  <a:cubicBezTo>
                    <a:pt x="137541" y="123349"/>
                    <a:pt x="127254" y="121158"/>
                    <a:pt x="116491" y="121158"/>
                  </a:cubicBezTo>
                  <a:cubicBezTo>
                    <a:pt x="105156" y="121158"/>
                    <a:pt x="94583" y="123158"/>
                    <a:pt x="84772" y="127159"/>
                  </a:cubicBezTo>
                  <a:cubicBezTo>
                    <a:pt x="74962" y="131159"/>
                    <a:pt x="66389" y="136969"/>
                    <a:pt x="59150" y="144589"/>
                  </a:cubicBezTo>
                  <a:cubicBezTo>
                    <a:pt x="51816" y="152114"/>
                    <a:pt x="46101" y="161449"/>
                    <a:pt x="41719" y="172498"/>
                  </a:cubicBezTo>
                  <a:cubicBezTo>
                    <a:pt x="37433" y="183451"/>
                    <a:pt x="35242" y="196024"/>
                    <a:pt x="35242" y="210026"/>
                  </a:cubicBezTo>
                  <a:lnTo>
                    <a:pt x="35242" y="210883"/>
                  </a:lnTo>
                  <a:cubicBezTo>
                    <a:pt x="35242" y="224599"/>
                    <a:pt x="37433" y="236982"/>
                    <a:pt x="41719" y="247936"/>
                  </a:cubicBezTo>
                  <a:cubicBezTo>
                    <a:pt x="46006" y="258984"/>
                    <a:pt x="51911" y="268319"/>
                    <a:pt x="59341" y="276034"/>
                  </a:cubicBezTo>
                  <a:cubicBezTo>
                    <a:pt x="66770" y="283750"/>
                    <a:pt x="75438" y="289750"/>
                    <a:pt x="85249" y="293941"/>
                  </a:cubicBezTo>
                  <a:cubicBezTo>
                    <a:pt x="95059" y="298132"/>
                    <a:pt x="105442" y="300228"/>
                    <a:pt x="116491" y="300228"/>
                  </a:cubicBezTo>
                  <a:close/>
                </a:path>
              </a:pathLst>
            </a:custGeom>
            <a:solidFill>
              <a:srgbClr val="44505E"/>
            </a:solidFill>
            <a:ln w="9525" cap="flat">
              <a:noFill/>
              <a:prstDash val="solid"/>
              <a:miter/>
            </a:ln>
          </p:spPr>
          <p:txBody>
            <a:bodyPr rtlCol="0" anchor="ctr"/>
            <a:lstStyle/>
            <a:p>
              <a:endParaRPr lang="pt-BR" noProof="0"/>
            </a:p>
          </p:txBody>
        </p:sp>
        <p:sp>
          <p:nvSpPr>
            <p:cNvPr id="77" name="Freeform: Shape 38">
              <a:extLst>
                <a:ext uri="{FF2B5EF4-FFF2-40B4-BE49-F238E27FC236}">
                  <a16:creationId xmlns:a16="http://schemas.microsoft.com/office/drawing/2014/main" id="{92B826E7-CFBB-0CAA-0CB2-250D37136FC6}"/>
                </a:ext>
              </a:extLst>
            </p:cNvPr>
            <p:cNvSpPr/>
            <p:nvPr/>
          </p:nvSpPr>
          <p:spPr>
            <a:xfrm>
              <a:off x="5596504"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6963 w 218217"/>
                <a:gd name="connsiteY3" fmla="*/ 206026 h 241077"/>
                <a:gd name="connsiteX4" fmla="*/ 116015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8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1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452 w 218217"/>
                <a:gd name="connsiteY25" fmla="*/ 106299 h 241077"/>
                <a:gd name="connsiteX26" fmla="*/ 176784 w 218217"/>
                <a:gd name="connsiteY26" fmla="*/ 76771 h 241077"/>
                <a:gd name="connsiteX27" fmla="*/ 162306 w 218217"/>
                <a:gd name="connsiteY27" fmla="*/ 52101 h 241077"/>
                <a:gd name="connsiteX28" fmla="*/ 140018 w 218217"/>
                <a:gd name="connsiteY28" fmla="*/ 35242 h 241077"/>
                <a:gd name="connsiteX29" fmla="*/ 109919 w 218217"/>
                <a:gd name="connsiteY29" fmla="*/ 29051 h 241077"/>
                <a:gd name="connsiteX30" fmla="*/ 82201 w 218217"/>
                <a:gd name="connsiteY30" fmla="*/ 34766 h 241077"/>
                <a:gd name="connsiteX31" fmla="*/ 59436 w 218217"/>
                <a:gd name="connsiteY31" fmla="*/ 50959 h 241077"/>
                <a:gd name="connsiteX32" fmla="*/ 43148 w 218217"/>
                <a:gd name="connsiteY32" fmla="*/ 75628 h 241077"/>
                <a:gd name="connsiteX33" fmla="*/ 34862 w 218217"/>
                <a:gd name="connsiteY33" fmla="*/ 106204 h 241077"/>
                <a:gd name="connsiteX34" fmla="*/ 183547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724" y="202597"/>
                    <a:pt x="86963" y="206026"/>
                  </a:cubicBezTo>
                  <a:cubicBezTo>
                    <a:pt x="96203" y="209455"/>
                    <a:pt x="105823" y="211169"/>
                    <a:pt x="116015" y="211169"/>
                  </a:cubicBezTo>
                  <a:cubicBezTo>
                    <a:pt x="132112" y="211169"/>
                    <a:pt x="145828" y="208216"/>
                    <a:pt x="157353" y="202216"/>
                  </a:cubicBezTo>
                  <a:cubicBezTo>
                    <a:pt x="168783" y="196310"/>
                    <a:pt x="179261" y="188404"/>
                    <a:pt x="188786" y="178594"/>
                  </a:cubicBezTo>
                  <a:lnTo>
                    <a:pt x="210217" y="197834"/>
                  </a:lnTo>
                  <a:cubicBezTo>
                    <a:pt x="198596" y="210979"/>
                    <a:pt x="185357" y="221361"/>
                    <a:pt x="170498" y="229267"/>
                  </a:cubicBezTo>
                  <a:cubicBezTo>
                    <a:pt x="155639"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679" y="0"/>
                    <a:pt x="110681"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452" y="106299"/>
                  </a:moveTo>
                  <a:cubicBezTo>
                    <a:pt x="182594" y="95917"/>
                    <a:pt x="180308" y="86106"/>
                    <a:pt x="176784" y="76771"/>
                  </a:cubicBezTo>
                  <a:cubicBezTo>
                    <a:pt x="173165" y="67437"/>
                    <a:pt x="168402" y="59245"/>
                    <a:pt x="162306" y="52101"/>
                  </a:cubicBezTo>
                  <a:cubicBezTo>
                    <a:pt x="156210" y="44958"/>
                    <a:pt x="148781" y="39338"/>
                    <a:pt x="140018" y="35242"/>
                  </a:cubicBezTo>
                  <a:cubicBezTo>
                    <a:pt x="131254" y="31147"/>
                    <a:pt x="121158" y="29051"/>
                    <a:pt x="109919" y="29051"/>
                  </a:cubicBezTo>
                  <a:cubicBezTo>
                    <a:pt x="100108" y="29051"/>
                    <a:pt x="90869" y="30956"/>
                    <a:pt x="82201" y="34766"/>
                  </a:cubicBezTo>
                  <a:cubicBezTo>
                    <a:pt x="73533" y="38671"/>
                    <a:pt x="66008" y="44005"/>
                    <a:pt x="59436" y="50959"/>
                  </a:cubicBezTo>
                  <a:cubicBezTo>
                    <a:pt x="52864" y="57912"/>
                    <a:pt x="47435" y="66103"/>
                    <a:pt x="43148" y="75628"/>
                  </a:cubicBezTo>
                  <a:cubicBezTo>
                    <a:pt x="38862" y="85058"/>
                    <a:pt x="36100" y="95345"/>
                    <a:pt x="34862" y="106204"/>
                  </a:cubicBezTo>
                  <a:lnTo>
                    <a:pt x="183547" y="106204"/>
                  </a:lnTo>
                  <a:close/>
                </a:path>
              </a:pathLst>
            </a:custGeom>
            <a:solidFill>
              <a:srgbClr val="44505E"/>
            </a:solidFill>
            <a:ln w="9525" cap="flat">
              <a:noFill/>
              <a:prstDash val="solid"/>
              <a:miter/>
            </a:ln>
          </p:spPr>
          <p:txBody>
            <a:bodyPr rtlCol="0" anchor="ctr"/>
            <a:lstStyle/>
            <a:p>
              <a:endParaRPr lang="pt-BR" noProof="0"/>
            </a:p>
          </p:txBody>
        </p:sp>
        <p:sp>
          <p:nvSpPr>
            <p:cNvPr id="78" name="Freeform: Shape 39">
              <a:extLst>
                <a:ext uri="{FF2B5EF4-FFF2-40B4-BE49-F238E27FC236}">
                  <a16:creationId xmlns:a16="http://schemas.microsoft.com/office/drawing/2014/main" id="{DDB25699-0E80-E26B-4C2A-B2D0D73E44F2}"/>
                </a:ext>
              </a:extLst>
            </p:cNvPr>
            <p:cNvSpPr/>
            <p:nvPr/>
          </p:nvSpPr>
          <p:spPr>
            <a:xfrm>
              <a:off x="5661680" y="924268"/>
              <a:ext cx="44656" cy="60195"/>
            </a:xfrm>
            <a:custGeom>
              <a:avLst/>
              <a:gdLst>
                <a:gd name="connsiteX0" fmla="*/ 95536 w 177641"/>
                <a:gd name="connsiteY0" fmla="*/ 239268 h 239458"/>
                <a:gd name="connsiteX1" fmla="*/ 45053 w 177641"/>
                <a:gd name="connsiteY1" fmla="*/ 230124 h 239458"/>
                <a:gd name="connsiteX2" fmla="*/ 0 w 177641"/>
                <a:gd name="connsiteY2" fmla="*/ 205359 h 239458"/>
                <a:gd name="connsiteX3" fmla="*/ 17431 w 177641"/>
                <a:gd name="connsiteY3" fmla="*/ 180785 h 239458"/>
                <a:gd name="connsiteX4" fmla="*/ 56483 w 177641"/>
                <a:gd name="connsiteY4" fmla="*/ 202692 h 239458"/>
                <a:gd name="connsiteX5" fmla="*/ 97346 w 177641"/>
                <a:gd name="connsiteY5" fmla="*/ 210217 h 239458"/>
                <a:gd name="connsiteX6" fmla="*/ 131731 w 177641"/>
                <a:gd name="connsiteY6" fmla="*/ 200406 h 239458"/>
                <a:gd name="connsiteX7" fmla="*/ 145161 w 177641"/>
                <a:gd name="connsiteY7" fmla="*/ 173641 h 239458"/>
                <a:gd name="connsiteX8" fmla="*/ 145161 w 177641"/>
                <a:gd name="connsiteY8" fmla="*/ 172784 h 239458"/>
                <a:gd name="connsiteX9" fmla="*/ 140494 w 177641"/>
                <a:gd name="connsiteY9" fmla="*/ 158020 h 239458"/>
                <a:gd name="connsiteX10" fmla="*/ 127730 w 177641"/>
                <a:gd name="connsiteY10" fmla="*/ 147066 h 239458"/>
                <a:gd name="connsiteX11" fmla="*/ 109157 w 177641"/>
                <a:gd name="connsiteY11" fmla="*/ 138779 h 239458"/>
                <a:gd name="connsiteX12" fmla="*/ 87535 w 177641"/>
                <a:gd name="connsiteY12" fmla="*/ 132112 h 239458"/>
                <a:gd name="connsiteX13" fmla="*/ 60484 w 177641"/>
                <a:gd name="connsiteY13" fmla="*/ 123444 h 239458"/>
                <a:gd name="connsiteX14" fmla="*/ 35909 w 177641"/>
                <a:gd name="connsiteY14" fmla="*/ 111633 h 239458"/>
                <a:gd name="connsiteX15" fmla="*/ 18098 w 177641"/>
                <a:gd name="connsiteY15" fmla="*/ 93726 h 239458"/>
                <a:gd name="connsiteX16" fmla="*/ 11144 w 177641"/>
                <a:gd name="connsiteY16" fmla="*/ 66961 h 239458"/>
                <a:gd name="connsiteX17" fmla="*/ 11144 w 177641"/>
                <a:gd name="connsiteY17" fmla="*/ 66008 h 239458"/>
                <a:gd name="connsiteX18" fmla="*/ 16954 w 177641"/>
                <a:gd name="connsiteY18" fmla="*/ 39053 h 239458"/>
                <a:gd name="connsiteX19" fmla="*/ 33242 w 177641"/>
                <a:gd name="connsiteY19" fmla="*/ 18098 h 239458"/>
                <a:gd name="connsiteX20" fmla="*/ 58293 w 177641"/>
                <a:gd name="connsiteY20" fmla="*/ 4667 h 239458"/>
                <a:gd name="connsiteX21" fmla="*/ 89725 w 177641"/>
                <a:gd name="connsiteY21" fmla="*/ 0 h 239458"/>
                <a:gd name="connsiteX22" fmla="*/ 133064 w 177641"/>
                <a:gd name="connsiteY22" fmla="*/ 6953 h 239458"/>
                <a:gd name="connsiteX23" fmla="*/ 172784 w 177641"/>
                <a:gd name="connsiteY23" fmla="*/ 25527 h 239458"/>
                <a:gd name="connsiteX24" fmla="*/ 157163 w 177641"/>
                <a:gd name="connsiteY24" fmla="*/ 51435 h 239458"/>
                <a:gd name="connsiteX25" fmla="*/ 123444 w 177641"/>
                <a:gd name="connsiteY25" fmla="*/ 35147 h 239458"/>
                <a:gd name="connsiteX26" fmla="*/ 88868 w 177641"/>
                <a:gd name="connsiteY26" fmla="*/ 29146 h 239458"/>
                <a:gd name="connsiteX27" fmla="*/ 56293 w 177641"/>
                <a:gd name="connsiteY27" fmla="*/ 38767 h 239458"/>
                <a:gd name="connsiteX28" fmla="*/ 44196 w 177641"/>
                <a:gd name="connsiteY28" fmla="*/ 62675 h 239458"/>
                <a:gd name="connsiteX29" fmla="*/ 44196 w 177641"/>
                <a:gd name="connsiteY29" fmla="*/ 63627 h 239458"/>
                <a:gd name="connsiteX30" fmla="*/ 49149 w 177641"/>
                <a:gd name="connsiteY30" fmla="*/ 77724 h 239458"/>
                <a:gd name="connsiteX31" fmla="*/ 62294 w 177641"/>
                <a:gd name="connsiteY31" fmla="*/ 88202 h 239458"/>
                <a:gd name="connsiteX32" fmla="*/ 81248 w 177641"/>
                <a:gd name="connsiteY32" fmla="*/ 96203 h 239458"/>
                <a:gd name="connsiteX33" fmla="*/ 103537 w 177641"/>
                <a:gd name="connsiteY33" fmla="*/ 103346 h 239458"/>
                <a:gd name="connsiteX34" fmla="*/ 130112 w 177641"/>
                <a:gd name="connsiteY34" fmla="*/ 112300 h 239458"/>
                <a:gd name="connsiteX35" fmla="*/ 154019 w 177641"/>
                <a:gd name="connsiteY35" fmla="*/ 124778 h 239458"/>
                <a:gd name="connsiteX36" fmla="*/ 171164 w 177641"/>
                <a:gd name="connsiteY36" fmla="*/ 143066 h 239458"/>
                <a:gd name="connsiteX37" fmla="*/ 177641 w 177641"/>
                <a:gd name="connsiteY37" fmla="*/ 169450 h 239458"/>
                <a:gd name="connsiteX38" fmla="*/ 177641 w 177641"/>
                <a:gd name="connsiteY38" fmla="*/ 170307 h 239458"/>
                <a:gd name="connsiteX39" fmla="*/ 171164 w 177641"/>
                <a:gd name="connsiteY39" fmla="*/ 199549 h 239458"/>
                <a:gd name="connsiteX40" fmla="*/ 153734 w 177641"/>
                <a:gd name="connsiteY40" fmla="*/ 221171 h 239458"/>
                <a:gd name="connsiteX41" fmla="*/ 127825 w 177641"/>
                <a:gd name="connsiteY41" fmla="*/ 234791 h 239458"/>
                <a:gd name="connsiteX42" fmla="*/ 95441 w 177641"/>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641" h="239458">
                  <a:moveTo>
                    <a:pt x="95536" y="239268"/>
                  </a:moveTo>
                  <a:cubicBezTo>
                    <a:pt x="78867" y="239268"/>
                    <a:pt x="62008" y="236220"/>
                    <a:pt x="45053" y="230124"/>
                  </a:cubicBezTo>
                  <a:cubicBezTo>
                    <a:pt x="28099" y="224028"/>
                    <a:pt x="13049" y="215741"/>
                    <a:pt x="0" y="205359"/>
                  </a:cubicBezTo>
                  <a:lnTo>
                    <a:pt x="17431" y="180785"/>
                  </a:lnTo>
                  <a:cubicBezTo>
                    <a:pt x="29908"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542" y="162211"/>
                    <a:pt x="140494" y="158020"/>
                  </a:cubicBezTo>
                  <a:cubicBezTo>
                    <a:pt x="137350" y="153829"/>
                    <a:pt x="133160" y="150209"/>
                    <a:pt x="127730" y="147066"/>
                  </a:cubicBezTo>
                  <a:cubicBezTo>
                    <a:pt x="122396" y="143923"/>
                    <a:pt x="116205" y="141161"/>
                    <a:pt x="109157" y="138779"/>
                  </a:cubicBezTo>
                  <a:cubicBezTo>
                    <a:pt x="102203" y="136398"/>
                    <a:pt x="94964" y="134207"/>
                    <a:pt x="87535" y="132112"/>
                  </a:cubicBezTo>
                  <a:cubicBezTo>
                    <a:pt x="78581" y="129445"/>
                    <a:pt x="69628" y="126492"/>
                    <a:pt x="60484" y="123444"/>
                  </a:cubicBezTo>
                  <a:cubicBezTo>
                    <a:pt x="51435" y="120301"/>
                    <a:pt x="43244" y="116396"/>
                    <a:pt x="35909" y="111633"/>
                  </a:cubicBezTo>
                  <a:cubicBezTo>
                    <a:pt x="28575" y="106871"/>
                    <a:pt x="22670" y="100870"/>
                    <a:pt x="18098" y="93726"/>
                  </a:cubicBezTo>
                  <a:cubicBezTo>
                    <a:pt x="13525" y="86582"/>
                    <a:pt x="11144" y="77629"/>
                    <a:pt x="11144" y="66961"/>
                  </a:cubicBezTo>
                  <a:lnTo>
                    <a:pt x="11144" y="66008"/>
                  </a:lnTo>
                  <a:cubicBezTo>
                    <a:pt x="11144" y="56198"/>
                    <a:pt x="13049" y="47149"/>
                    <a:pt x="16954" y="39053"/>
                  </a:cubicBezTo>
                  <a:cubicBezTo>
                    <a:pt x="20860" y="30861"/>
                    <a:pt x="26289" y="23908"/>
                    <a:pt x="33242" y="18098"/>
                  </a:cubicBezTo>
                  <a:cubicBezTo>
                    <a:pt x="40196" y="12287"/>
                    <a:pt x="48578" y="7811"/>
                    <a:pt x="58293" y="4667"/>
                  </a:cubicBezTo>
                  <a:cubicBezTo>
                    <a:pt x="67913" y="1524"/>
                    <a:pt x="78486" y="0"/>
                    <a:pt x="89725" y="0"/>
                  </a:cubicBezTo>
                  <a:cubicBezTo>
                    <a:pt x="104013" y="0"/>
                    <a:pt x="118396" y="2286"/>
                    <a:pt x="133064" y="6953"/>
                  </a:cubicBezTo>
                  <a:cubicBezTo>
                    <a:pt x="147638" y="11621"/>
                    <a:pt x="160877" y="17717"/>
                    <a:pt x="172784" y="25527"/>
                  </a:cubicBezTo>
                  <a:lnTo>
                    <a:pt x="157163" y="51435"/>
                  </a:lnTo>
                  <a:cubicBezTo>
                    <a:pt x="146399" y="44577"/>
                    <a:pt x="135255" y="39148"/>
                    <a:pt x="123444" y="35147"/>
                  </a:cubicBezTo>
                  <a:cubicBezTo>
                    <a:pt x="111728" y="31147"/>
                    <a:pt x="100203" y="29146"/>
                    <a:pt x="88868" y="29146"/>
                  </a:cubicBezTo>
                  <a:cubicBezTo>
                    <a:pt x="75152" y="29146"/>
                    <a:pt x="64294" y="32385"/>
                    <a:pt x="56293" y="38767"/>
                  </a:cubicBezTo>
                  <a:cubicBezTo>
                    <a:pt x="48292" y="45149"/>
                    <a:pt x="44196" y="53150"/>
                    <a:pt x="44196" y="62675"/>
                  </a:cubicBezTo>
                  <a:lnTo>
                    <a:pt x="44196" y="63627"/>
                  </a:lnTo>
                  <a:cubicBezTo>
                    <a:pt x="44196" y="68961"/>
                    <a:pt x="45815" y="73628"/>
                    <a:pt x="49149" y="77724"/>
                  </a:cubicBezTo>
                  <a:cubicBezTo>
                    <a:pt x="52388" y="81725"/>
                    <a:pt x="56769" y="85249"/>
                    <a:pt x="62294" y="88202"/>
                  </a:cubicBezTo>
                  <a:cubicBezTo>
                    <a:pt x="67818" y="91154"/>
                    <a:pt x="74104" y="93821"/>
                    <a:pt x="81248" y="96203"/>
                  </a:cubicBezTo>
                  <a:cubicBezTo>
                    <a:pt x="88392" y="98584"/>
                    <a:pt x="95821" y="100965"/>
                    <a:pt x="103537" y="103346"/>
                  </a:cubicBezTo>
                  <a:cubicBezTo>
                    <a:pt x="112490" y="106013"/>
                    <a:pt x="121349" y="108966"/>
                    <a:pt x="130112" y="112300"/>
                  </a:cubicBezTo>
                  <a:cubicBezTo>
                    <a:pt x="138875" y="115538"/>
                    <a:pt x="146875" y="119729"/>
                    <a:pt x="154019" y="124778"/>
                  </a:cubicBezTo>
                  <a:cubicBezTo>
                    <a:pt x="161163" y="129826"/>
                    <a:pt x="166878" y="135922"/>
                    <a:pt x="171164" y="143066"/>
                  </a:cubicBezTo>
                  <a:cubicBezTo>
                    <a:pt x="175450" y="150209"/>
                    <a:pt x="177641" y="158972"/>
                    <a:pt x="177641" y="169450"/>
                  </a:cubicBezTo>
                  <a:lnTo>
                    <a:pt x="177641" y="170307"/>
                  </a:lnTo>
                  <a:cubicBezTo>
                    <a:pt x="177641" y="181356"/>
                    <a:pt x="175450" y="191071"/>
                    <a:pt x="171164" y="199549"/>
                  </a:cubicBezTo>
                  <a:cubicBezTo>
                    <a:pt x="166878" y="208026"/>
                    <a:pt x="161068" y="215265"/>
                    <a:pt x="153734" y="221171"/>
                  </a:cubicBezTo>
                  <a:cubicBezTo>
                    <a:pt x="146495" y="227171"/>
                    <a:pt x="137827" y="231648"/>
                    <a:pt x="127825" y="234791"/>
                  </a:cubicBezTo>
                  <a:cubicBezTo>
                    <a:pt x="117824" y="237935"/>
                    <a:pt x="107061" y="239459"/>
                    <a:pt x="95441" y="239459"/>
                  </a:cubicBezTo>
                  <a:close/>
                </a:path>
              </a:pathLst>
            </a:custGeom>
            <a:solidFill>
              <a:srgbClr val="44505E"/>
            </a:solidFill>
            <a:ln w="9525" cap="flat">
              <a:noFill/>
              <a:prstDash val="solid"/>
              <a:miter/>
            </a:ln>
          </p:spPr>
          <p:txBody>
            <a:bodyPr rtlCol="0" anchor="ctr"/>
            <a:lstStyle/>
            <a:p>
              <a:endParaRPr lang="pt-BR" noProof="0"/>
            </a:p>
          </p:txBody>
        </p:sp>
        <p:sp>
          <p:nvSpPr>
            <p:cNvPr id="79" name="Freeform: Shape 40">
              <a:extLst>
                <a:ext uri="{FF2B5EF4-FFF2-40B4-BE49-F238E27FC236}">
                  <a16:creationId xmlns:a16="http://schemas.microsoft.com/office/drawing/2014/main" id="{B5A62077-C7D3-F86A-BC23-30344F668A78}"/>
                </a:ext>
              </a:extLst>
            </p:cNvPr>
            <p:cNvSpPr/>
            <p:nvPr/>
          </p:nvSpPr>
          <p:spPr>
            <a:xfrm>
              <a:off x="5752668" y="924028"/>
              <a:ext cx="58567" cy="77196"/>
            </a:xfrm>
            <a:custGeom>
              <a:avLst/>
              <a:gdLst>
                <a:gd name="connsiteX0" fmla="*/ 198596 w 232981"/>
                <a:gd name="connsiteY0" fmla="*/ 189357 h 307085"/>
                <a:gd name="connsiteX1" fmla="*/ 182785 w 232981"/>
                <a:gd name="connsiteY1" fmla="*/ 208978 h 307085"/>
                <a:gd name="connsiteX2" fmla="*/ 163354 w 232981"/>
                <a:gd name="connsiteY2" fmla="*/ 225552 h 307085"/>
                <a:gd name="connsiteX3" fmla="*/ 139446 w 232981"/>
                <a:gd name="connsiteY3" fmla="*/ 236696 h 307085"/>
                <a:gd name="connsiteX4" fmla="*/ 110204 w 232981"/>
                <a:gd name="connsiteY4" fmla="*/ 240697 h 307085"/>
                <a:gd name="connsiteX5" fmla="*/ 69628 w 232981"/>
                <a:gd name="connsiteY5" fmla="*/ 232696 h 307085"/>
                <a:gd name="connsiteX6" fmla="*/ 34385 w 232981"/>
                <a:gd name="connsiteY6" fmla="*/ 209264 h 307085"/>
                <a:gd name="connsiteX7" fmla="*/ 9335 w 232981"/>
                <a:gd name="connsiteY7" fmla="*/ 171736 h 307085"/>
                <a:gd name="connsiteX8" fmla="*/ 0 w 232981"/>
                <a:gd name="connsiteY8" fmla="*/ 121063 h 307085"/>
                <a:gd name="connsiteX9" fmla="*/ 0 w 232981"/>
                <a:gd name="connsiteY9" fmla="*/ 120205 h 307085"/>
                <a:gd name="connsiteX10" fmla="*/ 9335 w 232981"/>
                <a:gd name="connsiteY10" fmla="*/ 69723 h 307085"/>
                <a:gd name="connsiteX11" fmla="*/ 34385 w 232981"/>
                <a:gd name="connsiteY11" fmla="*/ 32004 h 307085"/>
                <a:gd name="connsiteX12" fmla="*/ 69628 w 232981"/>
                <a:gd name="connsiteY12" fmla="*/ 8287 h 307085"/>
                <a:gd name="connsiteX13" fmla="*/ 110204 w 232981"/>
                <a:gd name="connsiteY13" fmla="*/ 0 h 307085"/>
                <a:gd name="connsiteX14" fmla="*/ 139637 w 232981"/>
                <a:gd name="connsiteY14" fmla="*/ 4000 h 307085"/>
                <a:gd name="connsiteX15" fmla="*/ 163735 w 232981"/>
                <a:gd name="connsiteY15" fmla="*/ 14668 h 307085"/>
                <a:gd name="connsiteX16" fmla="*/ 183166 w 232981"/>
                <a:gd name="connsiteY16" fmla="*/ 30289 h 307085"/>
                <a:gd name="connsiteX17" fmla="*/ 198596 w 232981"/>
                <a:gd name="connsiteY17" fmla="*/ 49054 h 307085"/>
                <a:gd name="connsiteX18" fmla="*/ 198596 w 232981"/>
                <a:gd name="connsiteY18" fmla="*/ 4858 h 307085"/>
                <a:gd name="connsiteX19" fmla="*/ 232982 w 232981"/>
                <a:gd name="connsiteY19" fmla="*/ 4858 h 307085"/>
                <a:gd name="connsiteX20" fmla="*/ 232982 w 232981"/>
                <a:gd name="connsiteY20" fmla="*/ 307086 h 307085"/>
                <a:gd name="connsiteX21" fmla="*/ 198596 w 232981"/>
                <a:gd name="connsiteY21" fmla="*/ 307086 h 307085"/>
                <a:gd name="connsiteX22" fmla="*/ 198596 w 232981"/>
                <a:gd name="connsiteY22" fmla="*/ 189262 h 307085"/>
                <a:gd name="connsiteX23" fmla="*/ 116491 w 232981"/>
                <a:gd name="connsiteY23" fmla="*/ 209931 h 307085"/>
                <a:gd name="connsiteX24" fmla="*/ 147542 w 232981"/>
                <a:gd name="connsiteY24" fmla="*/ 203454 h 307085"/>
                <a:gd name="connsiteX25" fmla="*/ 174308 w 232981"/>
                <a:gd name="connsiteY25" fmla="*/ 185166 h 307085"/>
                <a:gd name="connsiteX26" fmla="*/ 193072 w 232981"/>
                <a:gd name="connsiteY26" fmla="*/ 157067 h 307085"/>
                <a:gd name="connsiteX27" fmla="*/ 200025 w 232981"/>
                <a:gd name="connsiteY27" fmla="*/ 120682 h 307085"/>
                <a:gd name="connsiteX28" fmla="*/ 200025 w 232981"/>
                <a:gd name="connsiteY28" fmla="*/ 119824 h 307085"/>
                <a:gd name="connsiteX29" fmla="*/ 193072 w 232981"/>
                <a:gd name="connsiteY29" fmla="*/ 83439 h 307085"/>
                <a:gd name="connsiteX30" fmla="*/ 174308 w 232981"/>
                <a:gd name="connsiteY30" fmla="*/ 55531 h 307085"/>
                <a:gd name="connsiteX31" fmla="*/ 147542 w 232981"/>
                <a:gd name="connsiteY31" fmla="*/ 37433 h 307085"/>
                <a:gd name="connsiteX32" fmla="*/ 116491 w 232981"/>
                <a:gd name="connsiteY32" fmla="*/ 30956 h 307085"/>
                <a:gd name="connsiteX33" fmla="*/ 84773 w 232981"/>
                <a:gd name="connsiteY33" fmla="*/ 36957 h 307085"/>
                <a:gd name="connsiteX34" fmla="*/ 59150 w 232981"/>
                <a:gd name="connsiteY34" fmla="*/ 54388 h 307085"/>
                <a:gd name="connsiteX35" fmla="*/ 41720 w 232981"/>
                <a:gd name="connsiteY35" fmla="*/ 82296 h 307085"/>
                <a:gd name="connsiteX36" fmla="*/ 35242 w 232981"/>
                <a:gd name="connsiteY36" fmla="*/ 119824 h 307085"/>
                <a:gd name="connsiteX37" fmla="*/ 35242 w 232981"/>
                <a:gd name="connsiteY37" fmla="*/ 120682 h 307085"/>
                <a:gd name="connsiteX38" fmla="*/ 41720 w 232981"/>
                <a:gd name="connsiteY38" fmla="*/ 157734 h 307085"/>
                <a:gd name="connsiteX39" fmla="*/ 59341 w 232981"/>
                <a:gd name="connsiteY39" fmla="*/ 185833 h 307085"/>
                <a:gd name="connsiteX40" fmla="*/ 85249 w 232981"/>
                <a:gd name="connsiteY40" fmla="*/ 203740 h 307085"/>
                <a:gd name="connsiteX41" fmla="*/ 116491 w 232981"/>
                <a:gd name="connsiteY41" fmla="*/ 210026 h 30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07085">
                  <a:moveTo>
                    <a:pt x="198596" y="189357"/>
                  </a:moveTo>
                  <a:cubicBezTo>
                    <a:pt x="193834" y="196215"/>
                    <a:pt x="188595" y="202787"/>
                    <a:pt x="182785" y="208978"/>
                  </a:cubicBezTo>
                  <a:cubicBezTo>
                    <a:pt x="176975" y="215265"/>
                    <a:pt x="170498" y="220789"/>
                    <a:pt x="163354" y="225552"/>
                  </a:cubicBezTo>
                  <a:cubicBezTo>
                    <a:pt x="156210" y="230314"/>
                    <a:pt x="148209" y="234029"/>
                    <a:pt x="139446" y="236696"/>
                  </a:cubicBezTo>
                  <a:cubicBezTo>
                    <a:pt x="130683" y="239363"/>
                    <a:pt x="120967" y="240697"/>
                    <a:pt x="110204" y="240697"/>
                  </a:cubicBezTo>
                  <a:cubicBezTo>
                    <a:pt x="96203" y="240697"/>
                    <a:pt x="82677" y="238030"/>
                    <a:pt x="69628" y="232696"/>
                  </a:cubicBezTo>
                  <a:cubicBezTo>
                    <a:pt x="56579" y="227362"/>
                    <a:pt x="44767" y="219551"/>
                    <a:pt x="34385" y="209264"/>
                  </a:cubicBezTo>
                  <a:cubicBezTo>
                    <a:pt x="24003" y="198977"/>
                    <a:pt x="15621" y="186499"/>
                    <a:pt x="9335" y="171736"/>
                  </a:cubicBezTo>
                  <a:cubicBezTo>
                    <a:pt x="3048" y="156972"/>
                    <a:pt x="0" y="140113"/>
                    <a:pt x="0" y="121063"/>
                  </a:cubicBezTo>
                  <a:lnTo>
                    <a:pt x="0" y="120205"/>
                  </a:lnTo>
                  <a:cubicBezTo>
                    <a:pt x="0" y="101441"/>
                    <a:pt x="3143" y="84677"/>
                    <a:pt x="9335" y="69723"/>
                  </a:cubicBezTo>
                  <a:cubicBezTo>
                    <a:pt x="15621" y="54864"/>
                    <a:pt x="23908" y="42291"/>
                    <a:pt x="34385" y="32004"/>
                  </a:cubicBezTo>
                  <a:cubicBezTo>
                    <a:pt x="44767" y="21717"/>
                    <a:pt x="56579" y="13811"/>
                    <a:pt x="69628" y="8287"/>
                  </a:cubicBezTo>
                  <a:cubicBezTo>
                    <a:pt x="82677" y="2762"/>
                    <a:pt x="96298" y="0"/>
                    <a:pt x="110204" y="0"/>
                  </a:cubicBezTo>
                  <a:cubicBezTo>
                    <a:pt x="120967" y="0"/>
                    <a:pt x="130778" y="1333"/>
                    <a:pt x="139637" y="4000"/>
                  </a:cubicBezTo>
                  <a:cubicBezTo>
                    <a:pt x="148590" y="6667"/>
                    <a:pt x="156591" y="10287"/>
                    <a:pt x="163735" y="14668"/>
                  </a:cubicBezTo>
                  <a:cubicBezTo>
                    <a:pt x="170879" y="19145"/>
                    <a:pt x="177356" y="24384"/>
                    <a:pt x="183166" y="30289"/>
                  </a:cubicBezTo>
                  <a:cubicBezTo>
                    <a:pt x="188976" y="36290"/>
                    <a:pt x="194120" y="42481"/>
                    <a:pt x="198596" y="49054"/>
                  </a:cubicBezTo>
                  <a:lnTo>
                    <a:pt x="198596" y="4858"/>
                  </a:lnTo>
                  <a:lnTo>
                    <a:pt x="232982" y="4858"/>
                  </a:lnTo>
                  <a:lnTo>
                    <a:pt x="232982" y="307086"/>
                  </a:lnTo>
                  <a:lnTo>
                    <a:pt x="198596" y="307086"/>
                  </a:lnTo>
                  <a:lnTo>
                    <a:pt x="198596" y="189262"/>
                  </a:lnTo>
                  <a:close/>
                  <a:moveTo>
                    <a:pt x="116491" y="209931"/>
                  </a:moveTo>
                  <a:cubicBezTo>
                    <a:pt x="127159" y="209931"/>
                    <a:pt x="137541" y="207740"/>
                    <a:pt x="147542" y="203454"/>
                  </a:cubicBezTo>
                  <a:cubicBezTo>
                    <a:pt x="157544" y="199168"/>
                    <a:pt x="166402" y="193072"/>
                    <a:pt x="174308" y="185166"/>
                  </a:cubicBezTo>
                  <a:cubicBezTo>
                    <a:pt x="182213" y="177260"/>
                    <a:pt x="188404" y="167926"/>
                    <a:pt x="193072" y="157067"/>
                  </a:cubicBezTo>
                  <a:cubicBezTo>
                    <a:pt x="197739" y="146209"/>
                    <a:pt x="200025" y="134112"/>
                    <a:pt x="200025" y="120682"/>
                  </a:cubicBezTo>
                  <a:lnTo>
                    <a:pt x="200025" y="119824"/>
                  </a:lnTo>
                  <a:cubicBezTo>
                    <a:pt x="200025" y="106394"/>
                    <a:pt x="197739" y="94297"/>
                    <a:pt x="193072" y="83439"/>
                  </a:cubicBezTo>
                  <a:cubicBezTo>
                    <a:pt x="188500" y="72580"/>
                    <a:pt x="182213" y="63246"/>
                    <a:pt x="174308" y="55531"/>
                  </a:cubicBezTo>
                  <a:cubicBezTo>
                    <a:pt x="166402" y="47815"/>
                    <a:pt x="157544" y="41815"/>
                    <a:pt x="147542" y="37433"/>
                  </a:cubicBezTo>
                  <a:cubicBezTo>
                    <a:pt x="137541" y="33147"/>
                    <a:pt x="127254" y="30956"/>
                    <a:pt x="116491" y="30956"/>
                  </a:cubicBezTo>
                  <a:cubicBezTo>
                    <a:pt x="105156" y="30956"/>
                    <a:pt x="94583" y="32956"/>
                    <a:pt x="84773" y="36957"/>
                  </a:cubicBezTo>
                  <a:cubicBezTo>
                    <a:pt x="74962" y="40957"/>
                    <a:pt x="66389" y="46767"/>
                    <a:pt x="59150" y="54388"/>
                  </a:cubicBezTo>
                  <a:cubicBezTo>
                    <a:pt x="51816" y="61913"/>
                    <a:pt x="46101" y="71247"/>
                    <a:pt x="41720" y="82296"/>
                  </a:cubicBezTo>
                  <a:cubicBezTo>
                    <a:pt x="37433" y="93250"/>
                    <a:pt x="35242" y="105823"/>
                    <a:pt x="35242" y="119824"/>
                  </a:cubicBezTo>
                  <a:lnTo>
                    <a:pt x="35242" y="120682"/>
                  </a:lnTo>
                  <a:cubicBezTo>
                    <a:pt x="35242" y="134398"/>
                    <a:pt x="37433" y="146780"/>
                    <a:pt x="41720" y="157734"/>
                  </a:cubicBezTo>
                  <a:cubicBezTo>
                    <a:pt x="46006" y="168783"/>
                    <a:pt x="51911" y="178117"/>
                    <a:pt x="59341" y="185833"/>
                  </a:cubicBezTo>
                  <a:cubicBezTo>
                    <a:pt x="66770" y="193548"/>
                    <a:pt x="75438" y="199549"/>
                    <a:pt x="85249" y="203740"/>
                  </a:cubicBezTo>
                  <a:cubicBezTo>
                    <a:pt x="95060" y="207931"/>
                    <a:pt x="105442" y="210026"/>
                    <a:pt x="116491" y="210026"/>
                  </a:cubicBezTo>
                  <a:close/>
                </a:path>
              </a:pathLst>
            </a:custGeom>
            <a:solidFill>
              <a:srgbClr val="44505E"/>
            </a:solidFill>
            <a:ln w="9525" cap="flat">
              <a:noFill/>
              <a:prstDash val="solid"/>
              <a:miter/>
            </a:ln>
          </p:spPr>
          <p:txBody>
            <a:bodyPr rtlCol="0" anchor="ctr"/>
            <a:lstStyle/>
            <a:p>
              <a:endParaRPr lang="pt-BR" noProof="0"/>
            </a:p>
          </p:txBody>
        </p:sp>
        <p:sp>
          <p:nvSpPr>
            <p:cNvPr id="80" name="Freeform: Shape 41">
              <a:extLst>
                <a:ext uri="{FF2B5EF4-FFF2-40B4-BE49-F238E27FC236}">
                  <a16:creationId xmlns:a16="http://schemas.microsoft.com/office/drawing/2014/main" id="{11144680-745F-E6C6-9907-C3EB33D5D029}"/>
                </a:ext>
              </a:extLst>
            </p:cNvPr>
            <p:cNvSpPr/>
            <p:nvPr/>
          </p:nvSpPr>
          <p:spPr>
            <a:xfrm>
              <a:off x="5829624" y="925297"/>
              <a:ext cx="50618" cy="59238"/>
            </a:xfrm>
            <a:custGeom>
              <a:avLst/>
              <a:gdLst>
                <a:gd name="connsiteX0" fmla="*/ 88392 w 201358"/>
                <a:gd name="connsiteY0" fmla="*/ 235648 h 235648"/>
                <a:gd name="connsiteX1" fmla="*/ 51149 w 201358"/>
                <a:gd name="connsiteY1" fmla="*/ 228981 h 235648"/>
                <a:gd name="connsiteX2" fmla="*/ 23432 w 201358"/>
                <a:gd name="connsiteY2" fmla="*/ 210026 h 235648"/>
                <a:gd name="connsiteX3" fmla="*/ 6001 w 201358"/>
                <a:gd name="connsiteY3" fmla="*/ 180784 h 235648"/>
                <a:gd name="connsiteX4" fmla="*/ 0 w 201358"/>
                <a:gd name="connsiteY4" fmla="*/ 143256 h 235648"/>
                <a:gd name="connsiteX5" fmla="*/ 0 w 201358"/>
                <a:gd name="connsiteY5" fmla="*/ 0 h 235648"/>
                <a:gd name="connsiteX6" fmla="*/ 34385 w 201358"/>
                <a:gd name="connsiteY6" fmla="*/ 0 h 235648"/>
                <a:gd name="connsiteX7" fmla="*/ 34385 w 201358"/>
                <a:gd name="connsiteY7" fmla="*/ 134493 h 235648"/>
                <a:gd name="connsiteX8" fmla="*/ 50959 w 201358"/>
                <a:gd name="connsiteY8" fmla="*/ 185261 h 235648"/>
                <a:gd name="connsiteX9" fmla="*/ 98298 w 201358"/>
                <a:gd name="connsiteY9" fmla="*/ 203930 h 235648"/>
                <a:gd name="connsiteX10" fmla="*/ 125730 w 201358"/>
                <a:gd name="connsiteY10" fmla="*/ 198787 h 235648"/>
                <a:gd name="connsiteX11" fmla="*/ 147638 w 201358"/>
                <a:gd name="connsiteY11" fmla="*/ 184118 h 235648"/>
                <a:gd name="connsiteX12" fmla="*/ 162116 w 201358"/>
                <a:gd name="connsiteY12" fmla="*/ 161163 h 235648"/>
                <a:gd name="connsiteX13" fmla="*/ 167450 w 201358"/>
                <a:gd name="connsiteY13" fmla="*/ 131826 h 235648"/>
                <a:gd name="connsiteX14" fmla="*/ 167450 w 201358"/>
                <a:gd name="connsiteY14" fmla="*/ 0 h 235648"/>
                <a:gd name="connsiteX15" fmla="*/ 201359 w 201358"/>
                <a:gd name="connsiteY15" fmla="*/ 0 h 235648"/>
                <a:gd name="connsiteX16" fmla="*/ 201359 w 201358"/>
                <a:gd name="connsiteY16" fmla="*/ 230791 h 235648"/>
                <a:gd name="connsiteX17" fmla="*/ 167450 w 201358"/>
                <a:gd name="connsiteY17" fmla="*/ 230791 h 235648"/>
                <a:gd name="connsiteX18" fmla="*/ 167450 w 201358"/>
                <a:gd name="connsiteY18" fmla="*/ 190595 h 235648"/>
                <a:gd name="connsiteX19" fmla="*/ 137065 w 201358"/>
                <a:gd name="connsiteY19" fmla="*/ 222504 h 235648"/>
                <a:gd name="connsiteX20" fmla="*/ 88392 w 201358"/>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358" h="235648">
                  <a:moveTo>
                    <a:pt x="88392" y="235648"/>
                  </a:moveTo>
                  <a:cubicBezTo>
                    <a:pt x="74390" y="235648"/>
                    <a:pt x="62008" y="233363"/>
                    <a:pt x="51149" y="228981"/>
                  </a:cubicBezTo>
                  <a:cubicBezTo>
                    <a:pt x="40291" y="224504"/>
                    <a:pt x="31052" y="218218"/>
                    <a:pt x="23432"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959" y="185261"/>
                  </a:cubicBezTo>
                  <a:cubicBezTo>
                    <a:pt x="61913" y="197739"/>
                    <a:pt x="77724" y="203930"/>
                    <a:pt x="98298" y="203930"/>
                  </a:cubicBezTo>
                  <a:cubicBezTo>
                    <a:pt x="108109" y="203930"/>
                    <a:pt x="117253" y="202216"/>
                    <a:pt x="125730" y="198787"/>
                  </a:cubicBezTo>
                  <a:cubicBezTo>
                    <a:pt x="134207" y="195358"/>
                    <a:pt x="141446" y="190500"/>
                    <a:pt x="147638" y="184118"/>
                  </a:cubicBezTo>
                  <a:cubicBezTo>
                    <a:pt x="153734" y="177736"/>
                    <a:pt x="158591" y="170116"/>
                    <a:pt x="162116" y="161163"/>
                  </a:cubicBezTo>
                  <a:cubicBezTo>
                    <a:pt x="165735" y="152305"/>
                    <a:pt x="167450" y="142494"/>
                    <a:pt x="167450" y="131826"/>
                  </a:cubicBezTo>
                  <a:lnTo>
                    <a:pt x="167450" y="0"/>
                  </a:lnTo>
                  <a:lnTo>
                    <a:pt x="201359" y="0"/>
                  </a:lnTo>
                  <a:lnTo>
                    <a:pt x="201359" y="230791"/>
                  </a:lnTo>
                  <a:lnTo>
                    <a:pt x="167450" y="230791"/>
                  </a:lnTo>
                  <a:lnTo>
                    <a:pt x="167450" y="190595"/>
                  </a:lnTo>
                  <a:cubicBezTo>
                    <a:pt x="159734" y="203073"/>
                    <a:pt x="149543" y="213741"/>
                    <a:pt x="137065" y="222504"/>
                  </a:cubicBezTo>
                  <a:cubicBezTo>
                    <a:pt x="124587" y="231267"/>
                    <a:pt x="108395" y="235648"/>
                    <a:pt x="88392" y="235648"/>
                  </a:cubicBezTo>
                  <a:close/>
                </a:path>
              </a:pathLst>
            </a:custGeom>
            <a:solidFill>
              <a:srgbClr val="44505E"/>
            </a:solidFill>
            <a:ln w="9525" cap="flat">
              <a:noFill/>
              <a:prstDash val="solid"/>
              <a:miter/>
            </a:ln>
          </p:spPr>
          <p:txBody>
            <a:bodyPr rtlCol="0" anchor="ctr"/>
            <a:lstStyle/>
            <a:p>
              <a:endParaRPr lang="pt-BR" noProof="0"/>
            </a:p>
          </p:txBody>
        </p:sp>
        <p:sp>
          <p:nvSpPr>
            <p:cNvPr id="81" name="Freeform: Shape 42">
              <a:extLst>
                <a:ext uri="{FF2B5EF4-FFF2-40B4-BE49-F238E27FC236}">
                  <a16:creationId xmlns:a16="http://schemas.microsoft.com/office/drawing/2014/main" id="{66512126-BB14-D2A6-3EEE-F28842BC83B5}"/>
                </a:ext>
              </a:extLst>
            </p:cNvPr>
            <p:cNvSpPr/>
            <p:nvPr/>
          </p:nvSpPr>
          <p:spPr>
            <a:xfrm>
              <a:off x="5896069"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7059 w 218217"/>
                <a:gd name="connsiteY3" fmla="*/ 206026 h 241077"/>
                <a:gd name="connsiteX4" fmla="*/ 116110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7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0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356 w 218217"/>
                <a:gd name="connsiteY25" fmla="*/ 106299 h 241077"/>
                <a:gd name="connsiteX26" fmla="*/ 176689 w 218217"/>
                <a:gd name="connsiteY26" fmla="*/ 76771 h 241077"/>
                <a:gd name="connsiteX27" fmla="*/ 162211 w 218217"/>
                <a:gd name="connsiteY27" fmla="*/ 52101 h 241077"/>
                <a:gd name="connsiteX28" fmla="*/ 139922 w 218217"/>
                <a:gd name="connsiteY28" fmla="*/ 35242 h 241077"/>
                <a:gd name="connsiteX29" fmla="*/ 109823 w 218217"/>
                <a:gd name="connsiteY29" fmla="*/ 29051 h 241077"/>
                <a:gd name="connsiteX30" fmla="*/ 82105 w 218217"/>
                <a:gd name="connsiteY30" fmla="*/ 34766 h 241077"/>
                <a:gd name="connsiteX31" fmla="*/ 59341 w 218217"/>
                <a:gd name="connsiteY31" fmla="*/ 50959 h 241077"/>
                <a:gd name="connsiteX32" fmla="*/ 43053 w 218217"/>
                <a:gd name="connsiteY32" fmla="*/ 75628 h 241077"/>
                <a:gd name="connsiteX33" fmla="*/ 34766 w 218217"/>
                <a:gd name="connsiteY33" fmla="*/ 106204 h 241077"/>
                <a:gd name="connsiteX34" fmla="*/ 183356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819" y="202597"/>
                    <a:pt x="87059" y="206026"/>
                  </a:cubicBezTo>
                  <a:cubicBezTo>
                    <a:pt x="96298" y="209455"/>
                    <a:pt x="105918" y="211169"/>
                    <a:pt x="116110" y="211169"/>
                  </a:cubicBezTo>
                  <a:cubicBezTo>
                    <a:pt x="132207" y="211169"/>
                    <a:pt x="145923" y="208216"/>
                    <a:pt x="157353" y="202216"/>
                  </a:cubicBezTo>
                  <a:cubicBezTo>
                    <a:pt x="168783" y="196310"/>
                    <a:pt x="179261" y="188404"/>
                    <a:pt x="188786" y="178594"/>
                  </a:cubicBezTo>
                  <a:lnTo>
                    <a:pt x="210217" y="197834"/>
                  </a:lnTo>
                  <a:cubicBezTo>
                    <a:pt x="198596" y="210979"/>
                    <a:pt x="185356" y="221361"/>
                    <a:pt x="170497" y="229267"/>
                  </a:cubicBezTo>
                  <a:cubicBezTo>
                    <a:pt x="155638"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583" y="0"/>
                    <a:pt x="110680"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356" y="106299"/>
                  </a:moveTo>
                  <a:cubicBezTo>
                    <a:pt x="182499" y="95917"/>
                    <a:pt x="180213" y="86106"/>
                    <a:pt x="176689" y="76771"/>
                  </a:cubicBezTo>
                  <a:cubicBezTo>
                    <a:pt x="173069" y="67437"/>
                    <a:pt x="168307" y="59245"/>
                    <a:pt x="162211" y="52101"/>
                  </a:cubicBezTo>
                  <a:cubicBezTo>
                    <a:pt x="156115" y="44958"/>
                    <a:pt x="148685" y="39338"/>
                    <a:pt x="139922" y="35242"/>
                  </a:cubicBezTo>
                  <a:cubicBezTo>
                    <a:pt x="131159" y="31147"/>
                    <a:pt x="121063" y="29051"/>
                    <a:pt x="109823" y="29051"/>
                  </a:cubicBezTo>
                  <a:cubicBezTo>
                    <a:pt x="100013" y="29051"/>
                    <a:pt x="90773" y="30956"/>
                    <a:pt x="82105" y="34766"/>
                  </a:cubicBezTo>
                  <a:cubicBezTo>
                    <a:pt x="73438" y="38671"/>
                    <a:pt x="65913" y="44005"/>
                    <a:pt x="59341" y="50959"/>
                  </a:cubicBezTo>
                  <a:cubicBezTo>
                    <a:pt x="52769" y="57912"/>
                    <a:pt x="47339" y="66103"/>
                    <a:pt x="43053" y="75628"/>
                  </a:cubicBezTo>
                  <a:cubicBezTo>
                    <a:pt x="38767" y="85058"/>
                    <a:pt x="36004" y="95345"/>
                    <a:pt x="34766" y="106204"/>
                  </a:cubicBezTo>
                  <a:lnTo>
                    <a:pt x="183356" y="106204"/>
                  </a:lnTo>
                  <a:close/>
                </a:path>
              </a:pathLst>
            </a:custGeom>
            <a:solidFill>
              <a:srgbClr val="44505E"/>
            </a:solidFill>
            <a:ln w="9525" cap="flat">
              <a:noFill/>
              <a:prstDash val="solid"/>
              <a:miter/>
            </a:ln>
          </p:spPr>
          <p:txBody>
            <a:bodyPr rtlCol="0" anchor="ctr"/>
            <a:lstStyle/>
            <a:p>
              <a:endParaRPr lang="pt-BR" noProof="0"/>
            </a:p>
          </p:txBody>
        </p:sp>
        <p:sp>
          <p:nvSpPr>
            <p:cNvPr id="82" name="Freeform: Shape 43">
              <a:extLst>
                <a:ext uri="{FF2B5EF4-FFF2-40B4-BE49-F238E27FC236}">
                  <a16:creationId xmlns:a16="http://schemas.microsoft.com/office/drawing/2014/main" id="{2245CEE3-9BB8-EF98-663A-F5369D7D64EB}"/>
                </a:ext>
              </a:extLst>
            </p:cNvPr>
            <p:cNvSpPr/>
            <p:nvPr/>
          </p:nvSpPr>
          <p:spPr>
            <a:xfrm>
              <a:off x="5994910" y="924268"/>
              <a:ext cx="44680" cy="60195"/>
            </a:xfrm>
            <a:custGeom>
              <a:avLst/>
              <a:gdLst>
                <a:gd name="connsiteX0" fmla="*/ 95536 w 177736"/>
                <a:gd name="connsiteY0" fmla="*/ 239268 h 239458"/>
                <a:gd name="connsiteX1" fmla="*/ 45053 w 177736"/>
                <a:gd name="connsiteY1" fmla="*/ 230124 h 239458"/>
                <a:gd name="connsiteX2" fmla="*/ 0 w 177736"/>
                <a:gd name="connsiteY2" fmla="*/ 205359 h 239458"/>
                <a:gd name="connsiteX3" fmla="*/ 17431 w 177736"/>
                <a:gd name="connsiteY3" fmla="*/ 180785 h 239458"/>
                <a:gd name="connsiteX4" fmla="*/ 56483 w 177736"/>
                <a:gd name="connsiteY4" fmla="*/ 202692 h 239458"/>
                <a:gd name="connsiteX5" fmla="*/ 97346 w 177736"/>
                <a:gd name="connsiteY5" fmla="*/ 210217 h 239458"/>
                <a:gd name="connsiteX6" fmla="*/ 131731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730 w 177736"/>
                <a:gd name="connsiteY10" fmla="*/ 147066 h 239458"/>
                <a:gd name="connsiteX11" fmla="*/ 109252 w 177736"/>
                <a:gd name="connsiteY11" fmla="*/ 138779 h 239458"/>
                <a:gd name="connsiteX12" fmla="*/ 87630 w 177736"/>
                <a:gd name="connsiteY12" fmla="*/ 132112 h 239458"/>
                <a:gd name="connsiteX13" fmla="*/ 60674 w 177736"/>
                <a:gd name="connsiteY13" fmla="*/ 123444 h 239458"/>
                <a:gd name="connsiteX14" fmla="*/ 36100 w 177736"/>
                <a:gd name="connsiteY14" fmla="*/ 111633 h 239458"/>
                <a:gd name="connsiteX15" fmla="*/ 18193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60 w 177736"/>
                <a:gd name="connsiteY22" fmla="*/ 6953 h 239458"/>
                <a:gd name="connsiteX23" fmla="*/ 172879 w 177736"/>
                <a:gd name="connsiteY23" fmla="*/ 25527 h 239458"/>
                <a:gd name="connsiteX24" fmla="*/ 157258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4 w 177736"/>
                <a:gd name="connsiteY32" fmla="*/ 96203 h 239458"/>
                <a:gd name="connsiteX33" fmla="*/ 103632 w 177736"/>
                <a:gd name="connsiteY33" fmla="*/ 103346 h 239458"/>
                <a:gd name="connsiteX34" fmla="*/ 130207 w 177736"/>
                <a:gd name="connsiteY34" fmla="*/ 112300 h 239458"/>
                <a:gd name="connsiteX35" fmla="*/ 154114 w 177736"/>
                <a:gd name="connsiteY35" fmla="*/ 124778 h 239458"/>
                <a:gd name="connsiteX36" fmla="*/ 171260 w 177736"/>
                <a:gd name="connsiteY36" fmla="*/ 143066 h 239458"/>
                <a:gd name="connsiteX37" fmla="*/ 177737 w 177736"/>
                <a:gd name="connsiteY37" fmla="*/ 169450 h 239458"/>
                <a:gd name="connsiteX38" fmla="*/ 177737 w 177736"/>
                <a:gd name="connsiteY38" fmla="*/ 170307 h 239458"/>
                <a:gd name="connsiteX39" fmla="*/ 171260 w 177736"/>
                <a:gd name="connsiteY39" fmla="*/ 199549 h 239458"/>
                <a:gd name="connsiteX40" fmla="*/ 153829 w 177736"/>
                <a:gd name="connsiteY40" fmla="*/ 221171 h 239458"/>
                <a:gd name="connsiteX41" fmla="*/ 127921 w 177736"/>
                <a:gd name="connsiteY41" fmla="*/ 234791 h 239458"/>
                <a:gd name="connsiteX42" fmla="*/ 95536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6" y="239268"/>
                  </a:moveTo>
                  <a:cubicBezTo>
                    <a:pt x="78867" y="239268"/>
                    <a:pt x="62008" y="236220"/>
                    <a:pt x="45053" y="230124"/>
                  </a:cubicBezTo>
                  <a:cubicBezTo>
                    <a:pt x="28099" y="224028"/>
                    <a:pt x="13049" y="215741"/>
                    <a:pt x="0" y="205359"/>
                  </a:cubicBezTo>
                  <a:lnTo>
                    <a:pt x="17431" y="180785"/>
                  </a:lnTo>
                  <a:cubicBezTo>
                    <a:pt x="29909"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637" y="162211"/>
                    <a:pt x="140494" y="158020"/>
                  </a:cubicBezTo>
                  <a:cubicBezTo>
                    <a:pt x="137351" y="153829"/>
                    <a:pt x="133160" y="150209"/>
                    <a:pt x="127730" y="147066"/>
                  </a:cubicBezTo>
                  <a:cubicBezTo>
                    <a:pt x="122396" y="143923"/>
                    <a:pt x="116205" y="141161"/>
                    <a:pt x="109252" y="138779"/>
                  </a:cubicBezTo>
                  <a:cubicBezTo>
                    <a:pt x="102299" y="136398"/>
                    <a:pt x="95060" y="134207"/>
                    <a:pt x="87630" y="132112"/>
                  </a:cubicBezTo>
                  <a:cubicBezTo>
                    <a:pt x="78677" y="129445"/>
                    <a:pt x="69723" y="126492"/>
                    <a:pt x="60674" y="123444"/>
                  </a:cubicBezTo>
                  <a:cubicBezTo>
                    <a:pt x="51626" y="120301"/>
                    <a:pt x="43434" y="116396"/>
                    <a:pt x="36100" y="111633"/>
                  </a:cubicBezTo>
                  <a:cubicBezTo>
                    <a:pt x="28766" y="106871"/>
                    <a:pt x="22860" y="100870"/>
                    <a:pt x="18193" y="93726"/>
                  </a:cubicBezTo>
                  <a:cubicBezTo>
                    <a:pt x="13621" y="86582"/>
                    <a:pt x="11239" y="77629"/>
                    <a:pt x="11239" y="66961"/>
                  </a:cubicBezTo>
                  <a:lnTo>
                    <a:pt x="11239" y="66008"/>
                  </a:lnTo>
                  <a:cubicBezTo>
                    <a:pt x="11239" y="56198"/>
                    <a:pt x="13145" y="47149"/>
                    <a:pt x="17050" y="39053"/>
                  </a:cubicBezTo>
                  <a:cubicBezTo>
                    <a:pt x="20860" y="30861"/>
                    <a:pt x="26289" y="23908"/>
                    <a:pt x="33338" y="18098"/>
                  </a:cubicBezTo>
                  <a:cubicBezTo>
                    <a:pt x="40291" y="12287"/>
                    <a:pt x="48673" y="7811"/>
                    <a:pt x="58388" y="4667"/>
                  </a:cubicBezTo>
                  <a:cubicBezTo>
                    <a:pt x="68009" y="1524"/>
                    <a:pt x="78581" y="0"/>
                    <a:pt x="89821" y="0"/>
                  </a:cubicBezTo>
                  <a:cubicBezTo>
                    <a:pt x="104108" y="0"/>
                    <a:pt x="118491" y="2286"/>
                    <a:pt x="133160" y="6953"/>
                  </a:cubicBezTo>
                  <a:cubicBezTo>
                    <a:pt x="147733" y="11621"/>
                    <a:pt x="160972" y="17717"/>
                    <a:pt x="172879" y="25527"/>
                  </a:cubicBezTo>
                  <a:lnTo>
                    <a:pt x="157258" y="51435"/>
                  </a:lnTo>
                  <a:cubicBezTo>
                    <a:pt x="146495" y="44577"/>
                    <a:pt x="135350" y="39148"/>
                    <a:pt x="123539" y="35147"/>
                  </a:cubicBezTo>
                  <a:cubicBezTo>
                    <a:pt x="111824" y="31147"/>
                    <a:pt x="100298" y="29146"/>
                    <a:pt x="88963" y="29146"/>
                  </a:cubicBezTo>
                  <a:cubicBezTo>
                    <a:pt x="75247" y="29146"/>
                    <a:pt x="64389" y="32385"/>
                    <a:pt x="56388" y="38767"/>
                  </a:cubicBezTo>
                  <a:cubicBezTo>
                    <a:pt x="48387" y="45149"/>
                    <a:pt x="44291" y="53150"/>
                    <a:pt x="44291" y="62675"/>
                  </a:cubicBezTo>
                  <a:lnTo>
                    <a:pt x="44291" y="63627"/>
                  </a:lnTo>
                  <a:cubicBezTo>
                    <a:pt x="44291" y="68961"/>
                    <a:pt x="45911" y="73628"/>
                    <a:pt x="49244" y="77724"/>
                  </a:cubicBezTo>
                  <a:cubicBezTo>
                    <a:pt x="52483" y="81725"/>
                    <a:pt x="56960" y="85249"/>
                    <a:pt x="62389" y="88202"/>
                  </a:cubicBezTo>
                  <a:cubicBezTo>
                    <a:pt x="67913" y="91154"/>
                    <a:pt x="74200" y="93821"/>
                    <a:pt x="81344" y="96203"/>
                  </a:cubicBezTo>
                  <a:cubicBezTo>
                    <a:pt x="88487" y="98584"/>
                    <a:pt x="95917" y="100965"/>
                    <a:pt x="103632" y="103346"/>
                  </a:cubicBezTo>
                  <a:cubicBezTo>
                    <a:pt x="112586" y="106013"/>
                    <a:pt x="121444" y="108966"/>
                    <a:pt x="130207" y="112300"/>
                  </a:cubicBezTo>
                  <a:cubicBezTo>
                    <a:pt x="138970" y="115538"/>
                    <a:pt x="146971" y="119729"/>
                    <a:pt x="154114" y="124778"/>
                  </a:cubicBezTo>
                  <a:cubicBezTo>
                    <a:pt x="161258" y="129826"/>
                    <a:pt x="166973" y="135922"/>
                    <a:pt x="171260" y="143066"/>
                  </a:cubicBezTo>
                  <a:cubicBezTo>
                    <a:pt x="175546" y="150209"/>
                    <a:pt x="177737" y="158972"/>
                    <a:pt x="177737" y="169450"/>
                  </a:cubicBezTo>
                  <a:lnTo>
                    <a:pt x="177737" y="170307"/>
                  </a:lnTo>
                  <a:cubicBezTo>
                    <a:pt x="177737" y="181356"/>
                    <a:pt x="175546" y="191071"/>
                    <a:pt x="171260" y="199549"/>
                  </a:cubicBezTo>
                  <a:cubicBezTo>
                    <a:pt x="166973" y="208026"/>
                    <a:pt x="161163" y="215265"/>
                    <a:pt x="153829" y="221171"/>
                  </a:cubicBezTo>
                  <a:cubicBezTo>
                    <a:pt x="146495" y="227171"/>
                    <a:pt x="137922" y="231648"/>
                    <a:pt x="127921" y="234791"/>
                  </a:cubicBezTo>
                  <a:cubicBezTo>
                    <a:pt x="117920" y="237935"/>
                    <a:pt x="107156" y="239459"/>
                    <a:pt x="95536" y="239459"/>
                  </a:cubicBezTo>
                  <a:close/>
                </a:path>
              </a:pathLst>
            </a:custGeom>
            <a:solidFill>
              <a:srgbClr val="44505E"/>
            </a:solidFill>
            <a:ln w="9525" cap="flat">
              <a:noFill/>
              <a:prstDash val="solid"/>
              <a:miter/>
            </a:ln>
          </p:spPr>
          <p:txBody>
            <a:bodyPr rtlCol="0" anchor="ctr"/>
            <a:lstStyle/>
            <a:p>
              <a:endParaRPr lang="pt-BR" noProof="0"/>
            </a:p>
          </p:txBody>
        </p:sp>
        <p:sp>
          <p:nvSpPr>
            <p:cNvPr id="83" name="Freeform: Shape 44">
              <a:extLst>
                <a:ext uri="{FF2B5EF4-FFF2-40B4-BE49-F238E27FC236}">
                  <a16:creationId xmlns:a16="http://schemas.microsoft.com/office/drawing/2014/main" id="{B0053CEF-CA4F-A04D-D79F-21637A05CCA0}"/>
                </a:ext>
              </a:extLst>
            </p:cNvPr>
            <p:cNvSpPr/>
            <p:nvPr/>
          </p:nvSpPr>
          <p:spPr>
            <a:xfrm>
              <a:off x="605122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4 w 202977"/>
                <a:gd name="connsiteY30" fmla="*/ 174593 h 239267"/>
                <a:gd name="connsiteX31" fmla="*/ 169735 w 202977"/>
                <a:gd name="connsiteY31" fmla="*/ 149447 h 239267"/>
                <a:gd name="connsiteX32" fmla="*/ 169735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0" y="90964"/>
                    <a:pt x="98584" y="90964"/>
                  </a:cubicBezTo>
                  <a:cubicBezTo>
                    <a:pt x="113157" y="90964"/>
                    <a:pt x="126301"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1" y="33147"/>
                    <a:pt x="63436" y="36100"/>
                  </a:cubicBezTo>
                  <a:cubicBezTo>
                    <a:pt x="52292" y="39053"/>
                    <a:pt x="41338" y="43053"/>
                    <a:pt x="30671" y="48196"/>
                  </a:cubicBezTo>
                  <a:lnTo>
                    <a:pt x="20383" y="19907"/>
                  </a:lnTo>
                  <a:cubicBezTo>
                    <a:pt x="33147" y="13906"/>
                    <a:pt x="46101" y="9049"/>
                    <a:pt x="59246" y="5429"/>
                  </a:cubicBezTo>
                  <a:cubicBezTo>
                    <a:pt x="72295"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1" y="239173"/>
                  </a:cubicBezTo>
                  <a:close/>
                  <a:moveTo>
                    <a:pt x="93154" y="211169"/>
                  </a:moveTo>
                  <a:cubicBezTo>
                    <a:pt x="103822" y="211169"/>
                    <a:pt x="113728" y="209740"/>
                    <a:pt x="122967" y="206788"/>
                  </a:cubicBezTo>
                  <a:cubicBezTo>
                    <a:pt x="132207" y="203835"/>
                    <a:pt x="140208" y="199644"/>
                    <a:pt x="147256" y="194120"/>
                  </a:cubicBezTo>
                  <a:cubicBezTo>
                    <a:pt x="154209" y="188595"/>
                    <a:pt x="159734" y="182118"/>
                    <a:pt x="163734" y="174593"/>
                  </a:cubicBezTo>
                  <a:cubicBezTo>
                    <a:pt x="167735" y="167068"/>
                    <a:pt x="169735" y="158687"/>
                    <a:pt x="169735" y="149447"/>
                  </a:cubicBezTo>
                  <a:lnTo>
                    <a:pt x="169735" y="128111"/>
                  </a:lnTo>
                  <a:cubicBezTo>
                    <a:pt x="161163" y="125730"/>
                    <a:pt x="151352" y="123539"/>
                    <a:pt x="140398" y="121444"/>
                  </a:cubicBezTo>
                  <a:cubicBezTo>
                    <a:pt x="129445" y="119348"/>
                    <a:pt x="116872"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84" name="Freeform: Shape 45">
              <a:extLst>
                <a:ext uri="{FF2B5EF4-FFF2-40B4-BE49-F238E27FC236}">
                  <a16:creationId xmlns:a16="http://schemas.microsoft.com/office/drawing/2014/main" id="{5DDDC643-D8B5-9A9B-5995-B5238D25EF8B}"/>
                </a:ext>
              </a:extLst>
            </p:cNvPr>
            <p:cNvSpPr/>
            <p:nvPr/>
          </p:nvSpPr>
          <p:spPr>
            <a:xfrm>
              <a:off x="6121359" y="901377"/>
              <a:ext cx="8644" cy="81913"/>
            </a:xfrm>
            <a:custGeom>
              <a:avLst/>
              <a:gdLst>
                <a:gd name="connsiteX0" fmla="*/ 0 w 34385"/>
                <a:gd name="connsiteY0" fmla="*/ 0 h 325850"/>
                <a:gd name="connsiteX1" fmla="*/ 34385 w 34385"/>
                <a:gd name="connsiteY1" fmla="*/ 0 h 325850"/>
                <a:gd name="connsiteX2" fmla="*/ 34385 w 34385"/>
                <a:gd name="connsiteY2" fmla="*/ 325850 h 325850"/>
                <a:gd name="connsiteX3" fmla="*/ 0 w 34385"/>
                <a:gd name="connsiteY3" fmla="*/ 325850 h 325850"/>
                <a:gd name="connsiteX4" fmla="*/ 0 w 34385"/>
                <a:gd name="connsiteY4" fmla="*/ 0 h 32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 h="325850">
                  <a:moveTo>
                    <a:pt x="0" y="0"/>
                  </a:moveTo>
                  <a:lnTo>
                    <a:pt x="34385" y="0"/>
                  </a:lnTo>
                  <a:lnTo>
                    <a:pt x="34385" y="325850"/>
                  </a:lnTo>
                  <a:lnTo>
                    <a:pt x="0" y="325850"/>
                  </a:lnTo>
                  <a:lnTo>
                    <a:pt x="0" y="0"/>
                  </a:lnTo>
                  <a:close/>
                </a:path>
              </a:pathLst>
            </a:custGeom>
            <a:solidFill>
              <a:srgbClr val="44505E"/>
            </a:solidFill>
            <a:ln w="9525" cap="flat">
              <a:noFill/>
              <a:prstDash val="solid"/>
              <a:miter/>
            </a:ln>
          </p:spPr>
          <p:txBody>
            <a:bodyPr rtlCol="0" anchor="ctr"/>
            <a:lstStyle/>
            <a:p>
              <a:endParaRPr lang="pt-BR" noProof="0"/>
            </a:p>
          </p:txBody>
        </p:sp>
        <p:sp>
          <p:nvSpPr>
            <p:cNvPr id="85" name="Freeform: Shape 46">
              <a:extLst>
                <a:ext uri="{FF2B5EF4-FFF2-40B4-BE49-F238E27FC236}">
                  <a16:creationId xmlns:a16="http://schemas.microsoft.com/office/drawing/2014/main" id="{4E123551-41DB-72C5-E4C7-684166F88708}"/>
                </a:ext>
              </a:extLst>
            </p:cNvPr>
            <p:cNvSpPr/>
            <p:nvPr/>
          </p:nvSpPr>
          <p:spPr>
            <a:xfrm>
              <a:off x="6144346" y="925273"/>
              <a:ext cx="58016" cy="58448"/>
            </a:xfrm>
            <a:custGeom>
              <a:avLst/>
              <a:gdLst>
                <a:gd name="connsiteX0" fmla="*/ 95 w 230790"/>
                <a:gd name="connsiteY0" fmla="*/ 0 h 232505"/>
                <a:gd name="connsiteX1" fmla="*/ 38005 w 230790"/>
                <a:gd name="connsiteY1" fmla="*/ 0 h 232505"/>
                <a:gd name="connsiteX2" fmla="*/ 115634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4"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86" name="Freeform: Shape 47">
              <a:extLst>
                <a:ext uri="{FF2B5EF4-FFF2-40B4-BE49-F238E27FC236}">
                  <a16:creationId xmlns:a16="http://schemas.microsoft.com/office/drawing/2014/main" id="{DF85E865-382B-4862-194F-F9A677D7AAB9}"/>
                </a:ext>
              </a:extLst>
            </p:cNvPr>
            <p:cNvSpPr/>
            <p:nvPr/>
          </p:nvSpPr>
          <p:spPr>
            <a:xfrm>
              <a:off x="621155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8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338 w 202977"/>
                <a:gd name="connsiteY36" fmla="*/ 164497 h 239267"/>
                <a:gd name="connsiteX37" fmla="*/ 35338 w 202977"/>
                <a:gd name="connsiteY37" fmla="*/ 165449 h 239267"/>
                <a:gd name="connsiteX38" fmla="*/ 40005 w 202977"/>
                <a:gd name="connsiteY38" fmla="*/ 184785 h 239267"/>
                <a:gd name="connsiteX39" fmla="*/ 52673 w 202977"/>
                <a:gd name="connsiteY39" fmla="*/ 199263 h 239267"/>
                <a:gd name="connsiteX40" fmla="*/ 71152 w 202977"/>
                <a:gd name="connsiteY40" fmla="*/ 208121 h 239267"/>
                <a:gd name="connsiteX41" fmla="*/ 93154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438" y="239268"/>
                    <a:pt x="64961"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1" y="90964"/>
                    <a:pt x="98584" y="90964"/>
                  </a:cubicBezTo>
                  <a:cubicBezTo>
                    <a:pt x="113157" y="90964"/>
                    <a:pt x="126302" y="91821"/>
                    <a:pt x="137160" y="93631"/>
                  </a:cubicBezTo>
                  <a:cubicBezTo>
                    <a:pt x="148019" y="95440"/>
                    <a:pt x="158687" y="97822"/>
                    <a:pt x="169069" y="100774"/>
                  </a:cubicBezTo>
                  <a:lnTo>
                    <a:pt x="169069" y="93726"/>
                  </a:lnTo>
                  <a:cubicBezTo>
                    <a:pt x="169069" y="73342"/>
                    <a:pt x="163068" y="57912"/>
                    <a:pt x="151162" y="47339"/>
                  </a:cubicBezTo>
                  <a:cubicBezTo>
                    <a:pt x="139255" y="36862"/>
                    <a:pt x="122491" y="31623"/>
                    <a:pt x="100679" y="31623"/>
                  </a:cubicBezTo>
                  <a:cubicBezTo>
                    <a:pt x="86963" y="31623"/>
                    <a:pt x="74581" y="33147"/>
                    <a:pt x="63437" y="36100"/>
                  </a:cubicBezTo>
                  <a:cubicBezTo>
                    <a:pt x="52292" y="39053"/>
                    <a:pt x="41338" y="43053"/>
                    <a:pt x="30671" y="48196"/>
                  </a:cubicBezTo>
                  <a:lnTo>
                    <a:pt x="20383" y="19907"/>
                  </a:lnTo>
                  <a:cubicBezTo>
                    <a:pt x="33147" y="13906"/>
                    <a:pt x="46101" y="9049"/>
                    <a:pt x="59246" y="5429"/>
                  </a:cubicBezTo>
                  <a:cubicBezTo>
                    <a:pt x="72390"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04" y="239173"/>
                    <a:pt x="86011" y="239173"/>
                  </a:cubicBezTo>
                  <a:close/>
                  <a:moveTo>
                    <a:pt x="93154" y="211169"/>
                  </a:moveTo>
                  <a:cubicBezTo>
                    <a:pt x="103822" y="211169"/>
                    <a:pt x="113824" y="209740"/>
                    <a:pt x="122968" y="206788"/>
                  </a:cubicBezTo>
                  <a:cubicBezTo>
                    <a:pt x="132112"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5" y="119348"/>
                    <a:pt x="116777" y="118300"/>
                    <a:pt x="102584" y="118300"/>
                  </a:cubicBezTo>
                  <a:cubicBezTo>
                    <a:pt x="81248" y="118300"/>
                    <a:pt x="64675" y="122491"/>
                    <a:pt x="52959" y="130969"/>
                  </a:cubicBezTo>
                  <a:cubicBezTo>
                    <a:pt x="41243" y="139446"/>
                    <a:pt x="35338" y="150590"/>
                    <a:pt x="35338" y="164497"/>
                  </a:cubicBezTo>
                  <a:lnTo>
                    <a:pt x="35338" y="165449"/>
                  </a:lnTo>
                  <a:cubicBezTo>
                    <a:pt x="35338" y="172498"/>
                    <a:pt x="36862" y="178975"/>
                    <a:pt x="40005" y="184785"/>
                  </a:cubicBezTo>
                  <a:cubicBezTo>
                    <a:pt x="43148" y="190500"/>
                    <a:pt x="47339" y="195358"/>
                    <a:pt x="52673" y="199263"/>
                  </a:cubicBezTo>
                  <a:cubicBezTo>
                    <a:pt x="58007" y="203073"/>
                    <a:pt x="64198" y="206026"/>
                    <a:pt x="71152" y="208121"/>
                  </a:cubicBezTo>
                  <a:cubicBezTo>
                    <a:pt x="78105" y="210217"/>
                    <a:pt x="85439" y="211169"/>
                    <a:pt x="93154" y="211169"/>
                  </a:cubicBezTo>
                  <a:close/>
                </a:path>
              </a:pathLst>
            </a:custGeom>
            <a:solidFill>
              <a:srgbClr val="44505E"/>
            </a:solidFill>
            <a:ln w="9525" cap="flat">
              <a:noFill/>
              <a:prstDash val="solid"/>
              <a:miter/>
            </a:ln>
          </p:spPr>
          <p:txBody>
            <a:bodyPr rtlCol="0" anchor="ctr"/>
            <a:lstStyle/>
            <a:p>
              <a:endParaRPr lang="pt-BR" noProof="0"/>
            </a:p>
          </p:txBody>
        </p:sp>
        <p:sp>
          <p:nvSpPr>
            <p:cNvPr id="87" name="Freeform: Shape 48">
              <a:extLst>
                <a:ext uri="{FF2B5EF4-FFF2-40B4-BE49-F238E27FC236}">
                  <a16:creationId xmlns:a16="http://schemas.microsoft.com/office/drawing/2014/main" id="{62849355-BC68-96D5-A5F8-83A5B9CD47A5}"/>
                </a:ext>
              </a:extLst>
            </p:cNvPr>
            <p:cNvSpPr/>
            <p:nvPr/>
          </p:nvSpPr>
          <p:spPr>
            <a:xfrm>
              <a:off x="6280899" y="923980"/>
              <a:ext cx="87995" cy="59238"/>
            </a:xfrm>
            <a:custGeom>
              <a:avLst/>
              <a:gdLst>
                <a:gd name="connsiteX0" fmla="*/ 0 w 350043"/>
                <a:gd name="connsiteY0" fmla="*/ 5144 h 235648"/>
                <a:gd name="connsiteX1" fmla="*/ 34385 w 350043"/>
                <a:gd name="connsiteY1" fmla="*/ 5144 h 235648"/>
                <a:gd name="connsiteX2" fmla="*/ 34385 w 350043"/>
                <a:gd name="connsiteY2" fmla="*/ 44005 h 235648"/>
                <a:gd name="connsiteX3" fmla="*/ 47149 w 350043"/>
                <a:gd name="connsiteY3" fmla="*/ 27432 h 235648"/>
                <a:gd name="connsiteX4" fmla="*/ 62960 w 350043"/>
                <a:gd name="connsiteY4" fmla="*/ 13335 h 235648"/>
                <a:gd name="connsiteX5" fmla="*/ 83058 w 350043"/>
                <a:gd name="connsiteY5" fmla="*/ 3715 h 235648"/>
                <a:gd name="connsiteX6" fmla="*/ 108966 w 350043"/>
                <a:gd name="connsiteY6" fmla="*/ 95 h 235648"/>
                <a:gd name="connsiteX7" fmla="*/ 155448 w 350043"/>
                <a:gd name="connsiteY7" fmla="*/ 13240 h 235648"/>
                <a:gd name="connsiteX8" fmla="*/ 183166 w 350043"/>
                <a:gd name="connsiteY8" fmla="*/ 46006 h 235648"/>
                <a:gd name="connsiteX9" fmla="*/ 197168 w 350043"/>
                <a:gd name="connsiteY9" fmla="*/ 28194 h 235648"/>
                <a:gd name="connsiteX10" fmla="*/ 214789 w 350043"/>
                <a:gd name="connsiteY10" fmla="*/ 13430 h 235648"/>
                <a:gd name="connsiteX11" fmla="*/ 236887 w 350043"/>
                <a:gd name="connsiteY11" fmla="*/ 3620 h 235648"/>
                <a:gd name="connsiteX12" fmla="*/ 264319 w 350043"/>
                <a:gd name="connsiteY12" fmla="*/ 0 h 235648"/>
                <a:gd name="connsiteX13" fmla="*/ 327279 w 350043"/>
                <a:gd name="connsiteY13" fmla="*/ 24765 h 235648"/>
                <a:gd name="connsiteX14" fmla="*/ 350044 w 350043"/>
                <a:gd name="connsiteY14" fmla="*/ 92773 h 235648"/>
                <a:gd name="connsiteX15" fmla="*/ 350044 w 350043"/>
                <a:gd name="connsiteY15" fmla="*/ 235648 h 235648"/>
                <a:gd name="connsiteX16" fmla="*/ 315659 w 350043"/>
                <a:gd name="connsiteY16" fmla="*/ 235648 h 235648"/>
                <a:gd name="connsiteX17" fmla="*/ 315659 w 350043"/>
                <a:gd name="connsiteY17" fmla="*/ 101155 h 235648"/>
                <a:gd name="connsiteX18" fmla="*/ 299847 w 350043"/>
                <a:gd name="connsiteY18" fmla="*/ 49721 h 235648"/>
                <a:gd name="connsiteX19" fmla="*/ 255937 w 350043"/>
                <a:gd name="connsiteY19" fmla="*/ 31718 h 235648"/>
                <a:gd name="connsiteX20" fmla="*/ 231362 w 350043"/>
                <a:gd name="connsiteY20" fmla="*/ 36386 h 235648"/>
                <a:gd name="connsiteX21" fmla="*/ 211074 w 350043"/>
                <a:gd name="connsiteY21" fmla="*/ 50197 h 235648"/>
                <a:gd name="connsiteX22" fmla="*/ 197263 w 350043"/>
                <a:gd name="connsiteY22" fmla="*/ 72676 h 235648"/>
                <a:gd name="connsiteX23" fmla="*/ 192119 w 350043"/>
                <a:gd name="connsiteY23" fmla="*/ 102965 h 235648"/>
                <a:gd name="connsiteX24" fmla="*/ 192119 w 350043"/>
                <a:gd name="connsiteY24" fmla="*/ 235648 h 235648"/>
                <a:gd name="connsiteX25" fmla="*/ 158210 w 350043"/>
                <a:gd name="connsiteY25" fmla="*/ 235648 h 235648"/>
                <a:gd name="connsiteX26" fmla="*/ 158210 w 350043"/>
                <a:gd name="connsiteY26" fmla="*/ 100298 h 235648"/>
                <a:gd name="connsiteX27" fmla="*/ 142399 w 350043"/>
                <a:gd name="connsiteY27" fmla="*/ 49721 h 235648"/>
                <a:gd name="connsiteX28" fmla="*/ 98870 w 350043"/>
                <a:gd name="connsiteY28" fmla="*/ 31718 h 235648"/>
                <a:gd name="connsiteX29" fmla="*/ 73438 w 350043"/>
                <a:gd name="connsiteY29" fmla="*/ 37052 h 235648"/>
                <a:gd name="connsiteX30" fmla="*/ 53150 w 350043"/>
                <a:gd name="connsiteY30" fmla="*/ 52197 h 235648"/>
                <a:gd name="connsiteX31" fmla="*/ 39529 w 350043"/>
                <a:gd name="connsiteY31" fmla="*/ 75152 h 235648"/>
                <a:gd name="connsiteX32" fmla="*/ 34576 w 350043"/>
                <a:gd name="connsiteY32" fmla="*/ 104299 h 235648"/>
                <a:gd name="connsiteX33" fmla="*/ 34576 w 350043"/>
                <a:gd name="connsiteY33" fmla="*/ 235648 h 235648"/>
                <a:gd name="connsiteX34" fmla="*/ 190 w 350043"/>
                <a:gd name="connsiteY34" fmla="*/ 235648 h 235648"/>
                <a:gd name="connsiteX35" fmla="*/ 190 w 350043"/>
                <a:gd name="connsiteY35" fmla="*/ 485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0043" h="235648">
                  <a:moveTo>
                    <a:pt x="0" y="5144"/>
                  </a:moveTo>
                  <a:lnTo>
                    <a:pt x="34385" y="5144"/>
                  </a:lnTo>
                  <a:lnTo>
                    <a:pt x="34385" y="44005"/>
                  </a:lnTo>
                  <a:cubicBezTo>
                    <a:pt x="38290" y="38386"/>
                    <a:pt x="42481" y="32861"/>
                    <a:pt x="47149" y="27432"/>
                  </a:cubicBezTo>
                  <a:cubicBezTo>
                    <a:pt x="51721" y="22098"/>
                    <a:pt x="57055" y="17431"/>
                    <a:pt x="62960" y="13335"/>
                  </a:cubicBezTo>
                  <a:cubicBezTo>
                    <a:pt x="68866" y="9335"/>
                    <a:pt x="75629" y="6096"/>
                    <a:pt x="83058" y="3715"/>
                  </a:cubicBezTo>
                  <a:cubicBezTo>
                    <a:pt x="90488" y="1334"/>
                    <a:pt x="99155" y="95"/>
                    <a:pt x="108966" y="95"/>
                  </a:cubicBezTo>
                  <a:cubicBezTo>
                    <a:pt x="127730" y="95"/>
                    <a:pt x="143161" y="4477"/>
                    <a:pt x="155448" y="13240"/>
                  </a:cubicBezTo>
                  <a:cubicBezTo>
                    <a:pt x="167640" y="22003"/>
                    <a:pt x="176879" y="32956"/>
                    <a:pt x="183166" y="46006"/>
                  </a:cubicBezTo>
                  <a:cubicBezTo>
                    <a:pt x="187357" y="39719"/>
                    <a:pt x="192024" y="33814"/>
                    <a:pt x="197168" y="28194"/>
                  </a:cubicBezTo>
                  <a:cubicBezTo>
                    <a:pt x="202406" y="22574"/>
                    <a:pt x="208217" y="17621"/>
                    <a:pt x="214789" y="13430"/>
                  </a:cubicBezTo>
                  <a:cubicBezTo>
                    <a:pt x="221361" y="9239"/>
                    <a:pt x="228695" y="6001"/>
                    <a:pt x="236887" y="3620"/>
                  </a:cubicBezTo>
                  <a:cubicBezTo>
                    <a:pt x="245078" y="1238"/>
                    <a:pt x="254222" y="0"/>
                    <a:pt x="264319" y="0"/>
                  </a:cubicBezTo>
                  <a:cubicBezTo>
                    <a:pt x="291084" y="0"/>
                    <a:pt x="312039" y="8287"/>
                    <a:pt x="327279" y="24765"/>
                  </a:cubicBezTo>
                  <a:cubicBezTo>
                    <a:pt x="342519" y="41243"/>
                    <a:pt x="350044" y="63913"/>
                    <a:pt x="350044" y="92773"/>
                  </a:cubicBezTo>
                  <a:lnTo>
                    <a:pt x="350044" y="235648"/>
                  </a:lnTo>
                  <a:lnTo>
                    <a:pt x="315659" y="235648"/>
                  </a:lnTo>
                  <a:lnTo>
                    <a:pt x="315659" y="101155"/>
                  </a:lnTo>
                  <a:cubicBezTo>
                    <a:pt x="315659" y="78867"/>
                    <a:pt x="310420" y="61722"/>
                    <a:pt x="299847" y="49721"/>
                  </a:cubicBezTo>
                  <a:cubicBezTo>
                    <a:pt x="289274" y="37719"/>
                    <a:pt x="274606" y="31718"/>
                    <a:pt x="255937" y="31718"/>
                  </a:cubicBezTo>
                  <a:cubicBezTo>
                    <a:pt x="247269" y="31718"/>
                    <a:pt x="239078" y="33242"/>
                    <a:pt x="231362" y="36386"/>
                  </a:cubicBezTo>
                  <a:cubicBezTo>
                    <a:pt x="223647" y="39529"/>
                    <a:pt x="216884" y="44101"/>
                    <a:pt x="211074" y="50197"/>
                  </a:cubicBezTo>
                  <a:cubicBezTo>
                    <a:pt x="205264" y="56293"/>
                    <a:pt x="200692" y="63818"/>
                    <a:pt x="197263" y="72676"/>
                  </a:cubicBezTo>
                  <a:cubicBezTo>
                    <a:pt x="193834" y="81629"/>
                    <a:pt x="192119" y="91726"/>
                    <a:pt x="192119" y="102965"/>
                  </a:cubicBezTo>
                  <a:lnTo>
                    <a:pt x="192119" y="235648"/>
                  </a:lnTo>
                  <a:lnTo>
                    <a:pt x="158210" y="235648"/>
                  </a:lnTo>
                  <a:lnTo>
                    <a:pt x="158210" y="100298"/>
                  </a:lnTo>
                  <a:cubicBezTo>
                    <a:pt x="158210" y="78677"/>
                    <a:pt x="152971" y="61817"/>
                    <a:pt x="142399" y="49721"/>
                  </a:cubicBezTo>
                  <a:cubicBezTo>
                    <a:pt x="131826" y="37719"/>
                    <a:pt x="117348" y="31718"/>
                    <a:pt x="98870" y="31718"/>
                  </a:cubicBezTo>
                  <a:cubicBezTo>
                    <a:pt x="89630" y="31718"/>
                    <a:pt x="81153" y="33528"/>
                    <a:pt x="73438" y="37052"/>
                  </a:cubicBezTo>
                  <a:cubicBezTo>
                    <a:pt x="65722" y="40672"/>
                    <a:pt x="58960" y="45720"/>
                    <a:pt x="53150" y="52197"/>
                  </a:cubicBezTo>
                  <a:cubicBezTo>
                    <a:pt x="47339" y="58769"/>
                    <a:pt x="42767" y="66389"/>
                    <a:pt x="39529" y="75152"/>
                  </a:cubicBezTo>
                  <a:cubicBezTo>
                    <a:pt x="36290" y="83915"/>
                    <a:pt x="34576" y="93631"/>
                    <a:pt x="34576" y="104299"/>
                  </a:cubicBezTo>
                  <a:lnTo>
                    <a:pt x="34576" y="235648"/>
                  </a:lnTo>
                  <a:lnTo>
                    <a:pt x="190" y="235648"/>
                  </a:lnTo>
                  <a:lnTo>
                    <a:pt x="190" y="4858"/>
                  </a:lnTo>
                  <a:close/>
                </a:path>
              </a:pathLst>
            </a:custGeom>
            <a:solidFill>
              <a:srgbClr val="44505E"/>
            </a:solidFill>
            <a:ln w="9525" cap="flat">
              <a:noFill/>
              <a:prstDash val="solid"/>
              <a:miter/>
            </a:ln>
          </p:spPr>
          <p:txBody>
            <a:bodyPr rtlCol="0" anchor="ctr"/>
            <a:lstStyle/>
            <a:p>
              <a:endParaRPr lang="pt-BR" noProof="0"/>
            </a:p>
          </p:txBody>
        </p:sp>
        <p:sp>
          <p:nvSpPr>
            <p:cNvPr id="88" name="Freeform: Shape 49">
              <a:extLst>
                <a:ext uri="{FF2B5EF4-FFF2-40B4-BE49-F238E27FC236}">
                  <a16:creationId xmlns:a16="http://schemas.microsoft.com/office/drawing/2014/main" id="{780A3B7A-B4C0-9670-6AE7-834498C847CB}"/>
                </a:ext>
              </a:extLst>
            </p:cNvPr>
            <p:cNvSpPr/>
            <p:nvPr/>
          </p:nvSpPr>
          <p:spPr>
            <a:xfrm>
              <a:off x="6415537" y="925273"/>
              <a:ext cx="58016" cy="58448"/>
            </a:xfrm>
            <a:custGeom>
              <a:avLst/>
              <a:gdLst>
                <a:gd name="connsiteX0" fmla="*/ 95 w 230790"/>
                <a:gd name="connsiteY0" fmla="*/ 0 h 232505"/>
                <a:gd name="connsiteX1" fmla="*/ 38005 w 230790"/>
                <a:gd name="connsiteY1" fmla="*/ 0 h 232505"/>
                <a:gd name="connsiteX2" fmla="*/ 115633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3"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89" name="Freeform: Shape 50">
              <a:extLst>
                <a:ext uri="{FF2B5EF4-FFF2-40B4-BE49-F238E27FC236}">
                  <a16:creationId xmlns:a16="http://schemas.microsoft.com/office/drawing/2014/main" id="{3206EF38-59D8-2710-5668-ECC8D9CC9538}"/>
                </a:ext>
              </a:extLst>
            </p:cNvPr>
            <p:cNvSpPr/>
            <p:nvPr/>
          </p:nvSpPr>
          <p:spPr>
            <a:xfrm>
              <a:off x="6487369"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286 w 39242"/>
                <a:gd name="connsiteY5" fmla="*/ 88392 h 319182"/>
                <a:gd name="connsiteX6" fmla="*/ 36671 w 39242"/>
                <a:gd name="connsiteY6" fmla="*/ 88392 h 319182"/>
                <a:gd name="connsiteX7" fmla="*/ 36671 w 39242"/>
                <a:gd name="connsiteY7" fmla="*/ 319183 h 319182"/>
                <a:gd name="connsiteX8" fmla="*/ 2286 w 39242"/>
                <a:gd name="connsiteY8" fmla="*/ 319183 h 319182"/>
                <a:gd name="connsiteX9" fmla="*/ 2286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286" y="88392"/>
                  </a:moveTo>
                  <a:lnTo>
                    <a:pt x="36671" y="88392"/>
                  </a:lnTo>
                  <a:lnTo>
                    <a:pt x="36671" y="319183"/>
                  </a:lnTo>
                  <a:lnTo>
                    <a:pt x="2286" y="319183"/>
                  </a:lnTo>
                  <a:lnTo>
                    <a:pt x="2286" y="88392"/>
                  </a:lnTo>
                  <a:close/>
                </a:path>
              </a:pathLst>
            </a:custGeom>
            <a:solidFill>
              <a:srgbClr val="44505E"/>
            </a:solidFill>
            <a:ln w="9525" cap="flat">
              <a:noFill/>
              <a:prstDash val="solid"/>
              <a:miter/>
            </a:ln>
          </p:spPr>
          <p:txBody>
            <a:bodyPr rtlCol="0" anchor="ctr"/>
            <a:lstStyle/>
            <a:p>
              <a:endParaRPr lang="pt-BR" noProof="0"/>
            </a:p>
          </p:txBody>
        </p:sp>
        <p:sp>
          <p:nvSpPr>
            <p:cNvPr id="90" name="Freeform: Shape 51">
              <a:extLst>
                <a:ext uri="{FF2B5EF4-FFF2-40B4-BE49-F238E27FC236}">
                  <a16:creationId xmlns:a16="http://schemas.microsoft.com/office/drawing/2014/main" id="{1A8794DB-9C99-2D71-2964-CB8E7FA83014}"/>
                </a:ext>
              </a:extLst>
            </p:cNvPr>
            <p:cNvSpPr/>
            <p:nvPr/>
          </p:nvSpPr>
          <p:spPr>
            <a:xfrm>
              <a:off x="6513253" y="901353"/>
              <a:ext cx="58615" cy="83182"/>
            </a:xfrm>
            <a:custGeom>
              <a:avLst/>
              <a:gdLst>
                <a:gd name="connsiteX0" fmla="*/ 110394 w 233171"/>
                <a:gd name="connsiteY0" fmla="*/ 330898 h 330898"/>
                <a:gd name="connsiteX1" fmla="*/ 69723 w 233171"/>
                <a:gd name="connsiteY1" fmla="*/ 322897 h 330898"/>
                <a:gd name="connsiteX2" fmla="*/ 34480 w 233171"/>
                <a:gd name="connsiteY2" fmla="*/ 299466 h 330898"/>
                <a:gd name="connsiteX3" fmla="*/ 9430 w 233171"/>
                <a:gd name="connsiteY3" fmla="*/ 261938 h 330898"/>
                <a:gd name="connsiteX4" fmla="*/ 0 w 233171"/>
                <a:gd name="connsiteY4" fmla="*/ 211264 h 330898"/>
                <a:gd name="connsiteX5" fmla="*/ 0 w 233171"/>
                <a:gd name="connsiteY5" fmla="*/ 210407 h 330898"/>
                <a:gd name="connsiteX6" fmla="*/ 9430 w 233171"/>
                <a:gd name="connsiteY6" fmla="*/ 159925 h 330898"/>
                <a:gd name="connsiteX7" fmla="*/ 34480 w 233171"/>
                <a:gd name="connsiteY7" fmla="*/ 122206 h 330898"/>
                <a:gd name="connsiteX8" fmla="*/ 69723 w 233171"/>
                <a:gd name="connsiteY8" fmla="*/ 98488 h 330898"/>
                <a:gd name="connsiteX9" fmla="*/ 110394 w 233171"/>
                <a:gd name="connsiteY9" fmla="*/ 90202 h 330898"/>
                <a:gd name="connsiteX10" fmla="*/ 139827 w 233171"/>
                <a:gd name="connsiteY10" fmla="*/ 94202 h 330898"/>
                <a:gd name="connsiteX11" fmla="*/ 163925 w 233171"/>
                <a:gd name="connsiteY11" fmla="*/ 104870 h 330898"/>
                <a:gd name="connsiteX12" fmla="*/ 183356 w 233171"/>
                <a:gd name="connsiteY12" fmla="*/ 120491 h 330898"/>
                <a:gd name="connsiteX13" fmla="*/ 198787 w 233171"/>
                <a:gd name="connsiteY13" fmla="*/ 139255 h 330898"/>
                <a:gd name="connsiteX14" fmla="*/ 198787 w 233171"/>
                <a:gd name="connsiteY14" fmla="*/ 0 h 330898"/>
                <a:gd name="connsiteX15" fmla="*/ 233172 w 233171"/>
                <a:gd name="connsiteY15" fmla="*/ 0 h 330898"/>
                <a:gd name="connsiteX16" fmla="*/ 233172 w 233171"/>
                <a:gd name="connsiteY16" fmla="*/ 325850 h 330898"/>
                <a:gd name="connsiteX17" fmla="*/ 198787 w 233171"/>
                <a:gd name="connsiteY17" fmla="*/ 325850 h 330898"/>
                <a:gd name="connsiteX18" fmla="*/ 198787 w 233171"/>
                <a:gd name="connsiteY18" fmla="*/ 279463 h 330898"/>
                <a:gd name="connsiteX19" fmla="*/ 182975 w 233171"/>
                <a:gd name="connsiteY19" fmla="*/ 299085 h 330898"/>
                <a:gd name="connsiteX20" fmla="*/ 163544 w 233171"/>
                <a:gd name="connsiteY20" fmla="*/ 315658 h 330898"/>
                <a:gd name="connsiteX21" fmla="*/ 139636 w 233171"/>
                <a:gd name="connsiteY21" fmla="*/ 326803 h 330898"/>
                <a:gd name="connsiteX22" fmla="*/ 110394 w 233171"/>
                <a:gd name="connsiteY22" fmla="*/ 330803 h 330898"/>
                <a:gd name="connsiteX23" fmla="*/ 116681 w 233171"/>
                <a:gd name="connsiteY23" fmla="*/ 300133 h 330898"/>
                <a:gd name="connsiteX24" fmla="*/ 147733 w 233171"/>
                <a:gd name="connsiteY24" fmla="*/ 293656 h 330898"/>
                <a:gd name="connsiteX25" fmla="*/ 174498 w 233171"/>
                <a:gd name="connsiteY25" fmla="*/ 275368 h 330898"/>
                <a:gd name="connsiteX26" fmla="*/ 193262 w 233171"/>
                <a:gd name="connsiteY26" fmla="*/ 247269 h 330898"/>
                <a:gd name="connsiteX27" fmla="*/ 200216 w 233171"/>
                <a:gd name="connsiteY27" fmla="*/ 210883 h 330898"/>
                <a:gd name="connsiteX28" fmla="*/ 200216 w 233171"/>
                <a:gd name="connsiteY28" fmla="*/ 210026 h 330898"/>
                <a:gd name="connsiteX29" fmla="*/ 193262 w 233171"/>
                <a:gd name="connsiteY29" fmla="*/ 173641 h 330898"/>
                <a:gd name="connsiteX30" fmla="*/ 174498 w 233171"/>
                <a:gd name="connsiteY30" fmla="*/ 145732 h 330898"/>
                <a:gd name="connsiteX31" fmla="*/ 147733 w 233171"/>
                <a:gd name="connsiteY31" fmla="*/ 127635 h 330898"/>
                <a:gd name="connsiteX32" fmla="*/ 116681 w 233171"/>
                <a:gd name="connsiteY32" fmla="*/ 121158 h 330898"/>
                <a:gd name="connsiteX33" fmla="*/ 84963 w 233171"/>
                <a:gd name="connsiteY33" fmla="*/ 127159 h 330898"/>
                <a:gd name="connsiteX34" fmla="*/ 59341 w 233171"/>
                <a:gd name="connsiteY34" fmla="*/ 144589 h 330898"/>
                <a:gd name="connsiteX35" fmla="*/ 41910 w 233171"/>
                <a:gd name="connsiteY35" fmla="*/ 172498 h 330898"/>
                <a:gd name="connsiteX36" fmla="*/ 35433 w 233171"/>
                <a:gd name="connsiteY36" fmla="*/ 210026 h 330898"/>
                <a:gd name="connsiteX37" fmla="*/ 35433 w 233171"/>
                <a:gd name="connsiteY37" fmla="*/ 210883 h 330898"/>
                <a:gd name="connsiteX38" fmla="*/ 41910 w 233171"/>
                <a:gd name="connsiteY38" fmla="*/ 247936 h 330898"/>
                <a:gd name="connsiteX39" fmla="*/ 59531 w 233171"/>
                <a:gd name="connsiteY39" fmla="*/ 276034 h 330898"/>
                <a:gd name="connsiteX40" fmla="*/ 85439 w 233171"/>
                <a:gd name="connsiteY40" fmla="*/ 293941 h 330898"/>
                <a:gd name="connsiteX41" fmla="*/ 116681 w 23317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3171" h="330898">
                  <a:moveTo>
                    <a:pt x="110394" y="330898"/>
                  </a:moveTo>
                  <a:cubicBezTo>
                    <a:pt x="96393" y="330898"/>
                    <a:pt x="82868" y="328231"/>
                    <a:pt x="69723" y="322897"/>
                  </a:cubicBezTo>
                  <a:cubicBezTo>
                    <a:pt x="56674" y="317563"/>
                    <a:pt x="44863" y="309753"/>
                    <a:pt x="34480" y="299466"/>
                  </a:cubicBezTo>
                  <a:cubicBezTo>
                    <a:pt x="24003" y="289179"/>
                    <a:pt x="15716" y="276701"/>
                    <a:pt x="9430" y="261938"/>
                  </a:cubicBezTo>
                  <a:cubicBezTo>
                    <a:pt x="3143" y="247174"/>
                    <a:pt x="0" y="230314"/>
                    <a:pt x="0" y="211264"/>
                  </a:cubicBezTo>
                  <a:lnTo>
                    <a:pt x="0" y="210407"/>
                  </a:lnTo>
                  <a:cubicBezTo>
                    <a:pt x="0" y="191643"/>
                    <a:pt x="3143" y="174879"/>
                    <a:pt x="9430" y="159925"/>
                  </a:cubicBezTo>
                  <a:cubicBezTo>
                    <a:pt x="15716" y="145066"/>
                    <a:pt x="24003" y="132493"/>
                    <a:pt x="34480" y="122206"/>
                  </a:cubicBezTo>
                  <a:cubicBezTo>
                    <a:pt x="44863" y="111919"/>
                    <a:pt x="56674" y="104013"/>
                    <a:pt x="69723" y="98488"/>
                  </a:cubicBezTo>
                  <a:cubicBezTo>
                    <a:pt x="82868" y="92964"/>
                    <a:pt x="96393" y="90202"/>
                    <a:pt x="110394" y="90202"/>
                  </a:cubicBezTo>
                  <a:cubicBezTo>
                    <a:pt x="121158" y="90202"/>
                    <a:pt x="130969" y="91535"/>
                    <a:pt x="139827" y="94202"/>
                  </a:cubicBezTo>
                  <a:cubicBezTo>
                    <a:pt x="148780" y="96869"/>
                    <a:pt x="156782" y="100489"/>
                    <a:pt x="163925" y="104870"/>
                  </a:cubicBezTo>
                  <a:cubicBezTo>
                    <a:pt x="171069" y="109347"/>
                    <a:pt x="177546" y="114586"/>
                    <a:pt x="183356" y="120491"/>
                  </a:cubicBezTo>
                  <a:cubicBezTo>
                    <a:pt x="189166" y="126492"/>
                    <a:pt x="194310" y="132683"/>
                    <a:pt x="198787" y="139255"/>
                  </a:cubicBezTo>
                  <a:lnTo>
                    <a:pt x="198787" y="0"/>
                  </a:lnTo>
                  <a:lnTo>
                    <a:pt x="233172" y="0"/>
                  </a:lnTo>
                  <a:lnTo>
                    <a:pt x="233172" y="325850"/>
                  </a:lnTo>
                  <a:lnTo>
                    <a:pt x="198787" y="325850"/>
                  </a:lnTo>
                  <a:lnTo>
                    <a:pt x="198787" y="279463"/>
                  </a:lnTo>
                  <a:cubicBezTo>
                    <a:pt x="194024" y="286321"/>
                    <a:pt x="188786" y="292894"/>
                    <a:pt x="182975" y="299085"/>
                  </a:cubicBezTo>
                  <a:cubicBezTo>
                    <a:pt x="177165" y="305371"/>
                    <a:pt x="170688" y="310896"/>
                    <a:pt x="163544" y="315658"/>
                  </a:cubicBezTo>
                  <a:cubicBezTo>
                    <a:pt x="156400" y="320421"/>
                    <a:pt x="148494" y="324136"/>
                    <a:pt x="139636" y="326803"/>
                  </a:cubicBezTo>
                  <a:cubicBezTo>
                    <a:pt x="130873" y="329470"/>
                    <a:pt x="121158" y="330803"/>
                    <a:pt x="110394" y="330803"/>
                  </a:cubicBezTo>
                  <a:close/>
                  <a:moveTo>
                    <a:pt x="116681" y="300133"/>
                  </a:moveTo>
                  <a:cubicBezTo>
                    <a:pt x="127445" y="300133"/>
                    <a:pt x="137732" y="297942"/>
                    <a:pt x="147733" y="293656"/>
                  </a:cubicBezTo>
                  <a:cubicBezTo>
                    <a:pt x="157734" y="289369"/>
                    <a:pt x="166592" y="283273"/>
                    <a:pt x="174498" y="275368"/>
                  </a:cubicBezTo>
                  <a:cubicBezTo>
                    <a:pt x="182404" y="267462"/>
                    <a:pt x="188595" y="258127"/>
                    <a:pt x="193262" y="247269"/>
                  </a:cubicBezTo>
                  <a:cubicBezTo>
                    <a:pt x="197834" y="236410"/>
                    <a:pt x="200216" y="224314"/>
                    <a:pt x="200216" y="210883"/>
                  </a:cubicBezTo>
                  <a:lnTo>
                    <a:pt x="200216" y="210026"/>
                  </a:lnTo>
                  <a:cubicBezTo>
                    <a:pt x="200216" y="196596"/>
                    <a:pt x="197929" y="184499"/>
                    <a:pt x="193262" y="173641"/>
                  </a:cubicBezTo>
                  <a:cubicBezTo>
                    <a:pt x="188595" y="162782"/>
                    <a:pt x="182404" y="153448"/>
                    <a:pt x="174498" y="145732"/>
                  </a:cubicBezTo>
                  <a:cubicBezTo>
                    <a:pt x="166592" y="138017"/>
                    <a:pt x="157639" y="132016"/>
                    <a:pt x="147733" y="127635"/>
                  </a:cubicBezTo>
                  <a:cubicBezTo>
                    <a:pt x="137732" y="123349"/>
                    <a:pt x="127445" y="121158"/>
                    <a:pt x="116681" y="121158"/>
                  </a:cubicBezTo>
                  <a:cubicBezTo>
                    <a:pt x="105346" y="121158"/>
                    <a:pt x="94774" y="123158"/>
                    <a:pt x="84963" y="127159"/>
                  </a:cubicBezTo>
                  <a:cubicBezTo>
                    <a:pt x="75152" y="131159"/>
                    <a:pt x="66580" y="136969"/>
                    <a:pt x="59341" y="144589"/>
                  </a:cubicBezTo>
                  <a:cubicBezTo>
                    <a:pt x="52007" y="152114"/>
                    <a:pt x="46291" y="161449"/>
                    <a:pt x="41910" y="172498"/>
                  </a:cubicBezTo>
                  <a:cubicBezTo>
                    <a:pt x="37624" y="183451"/>
                    <a:pt x="35433" y="196024"/>
                    <a:pt x="35433" y="210026"/>
                  </a:cubicBezTo>
                  <a:lnTo>
                    <a:pt x="35433" y="210883"/>
                  </a:lnTo>
                  <a:cubicBezTo>
                    <a:pt x="35433" y="224599"/>
                    <a:pt x="37624" y="236982"/>
                    <a:pt x="41910" y="247936"/>
                  </a:cubicBezTo>
                  <a:cubicBezTo>
                    <a:pt x="46196" y="258984"/>
                    <a:pt x="52101" y="268319"/>
                    <a:pt x="59531" y="276034"/>
                  </a:cubicBezTo>
                  <a:cubicBezTo>
                    <a:pt x="66960" y="283750"/>
                    <a:pt x="75629" y="289750"/>
                    <a:pt x="85439" y="293941"/>
                  </a:cubicBezTo>
                  <a:cubicBezTo>
                    <a:pt x="95250" y="298132"/>
                    <a:pt x="105632" y="300228"/>
                    <a:pt x="116681" y="300228"/>
                  </a:cubicBezTo>
                  <a:close/>
                </a:path>
              </a:pathLst>
            </a:custGeom>
            <a:solidFill>
              <a:srgbClr val="44505E"/>
            </a:solidFill>
            <a:ln w="9525" cap="flat">
              <a:noFill/>
              <a:prstDash val="solid"/>
              <a:miter/>
            </a:ln>
          </p:spPr>
          <p:txBody>
            <a:bodyPr rtlCol="0" anchor="ctr"/>
            <a:lstStyle/>
            <a:p>
              <a:endParaRPr lang="pt-BR" noProof="0"/>
            </a:p>
          </p:txBody>
        </p:sp>
        <p:sp>
          <p:nvSpPr>
            <p:cNvPr id="91" name="Freeform: Shape 52">
              <a:extLst>
                <a:ext uri="{FF2B5EF4-FFF2-40B4-BE49-F238E27FC236}">
                  <a16:creationId xmlns:a16="http://schemas.microsoft.com/office/drawing/2014/main" id="{D21E6821-A0A9-B648-142D-7E184CB4CC06}"/>
                </a:ext>
              </a:extLst>
            </p:cNvPr>
            <p:cNvSpPr/>
            <p:nvPr/>
          </p:nvSpPr>
          <p:spPr>
            <a:xfrm>
              <a:off x="6586762"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0 w 202977"/>
                <a:gd name="connsiteY16" fmla="*/ 48196 h 239267"/>
                <a:gd name="connsiteX17" fmla="*/ 20383 w 202977"/>
                <a:gd name="connsiteY17" fmla="*/ 19907 h 239267"/>
                <a:gd name="connsiteX18" fmla="*/ 59245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0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1"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675" y="92678"/>
                    <a:pt x="84011" y="90964"/>
                    <a:pt x="98584" y="90964"/>
                  </a:cubicBezTo>
                  <a:cubicBezTo>
                    <a:pt x="113157" y="90964"/>
                    <a:pt x="126302"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0" y="33147"/>
                    <a:pt x="63436" y="36100"/>
                  </a:cubicBezTo>
                  <a:cubicBezTo>
                    <a:pt x="52292" y="39053"/>
                    <a:pt x="41338" y="43053"/>
                    <a:pt x="30670" y="48196"/>
                  </a:cubicBezTo>
                  <a:lnTo>
                    <a:pt x="20383" y="19907"/>
                  </a:lnTo>
                  <a:cubicBezTo>
                    <a:pt x="33147" y="13906"/>
                    <a:pt x="46101" y="9049"/>
                    <a:pt x="59245" y="5429"/>
                  </a:cubicBezTo>
                  <a:cubicBezTo>
                    <a:pt x="72294" y="1810"/>
                    <a:pt x="87344" y="0"/>
                    <a:pt x="104299" y="0"/>
                  </a:cubicBezTo>
                  <a:cubicBezTo>
                    <a:pt x="137064" y="0"/>
                    <a:pt x="161925" y="8477"/>
                    <a:pt x="178879" y="25432"/>
                  </a:cubicBezTo>
                  <a:cubicBezTo>
                    <a:pt x="194976"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0" y="239173"/>
                  </a:cubicBezTo>
                  <a:close/>
                  <a:moveTo>
                    <a:pt x="93154" y="211169"/>
                  </a:moveTo>
                  <a:cubicBezTo>
                    <a:pt x="103822" y="211169"/>
                    <a:pt x="113729" y="209740"/>
                    <a:pt x="122967" y="206788"/>
                  </a:cubicBezTo>
                  <a:cubicBezTo>
                    <a:pt x="132207"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4" y="119348"/>
                    <a:pt x="116871"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92" name="Freeform: Shape 53">
              <a:extLst>
                <a:ext uri="{FF2B5EF4-FFF2-40B4-BE49-F238E27FC236}">
                  <a16:creationId xmlns:a16="http://schemas.microsoft.com/office/drawing/2014/main" id="{B8374283-7F4E-9FA6-4393-315FE51DF21B}"/>
                </a:ext>
              </a:extLst>
            </p:cNvPr>
            <p:cNvSpPr/>
            <p:nvPr/>
          </p:nvSpPr>
          <p:spPr>
            <a:xfrm>
              <a:off x="6651291" y="924268"/>
              <a:ext cx="44680" cy="60195"/>
            </a:xfrm>
            <a:custGeom>
              <a:avLst/>
              <a:gdLst>
                <a:gd name="connsiteX0" fmla="*/ 95535 w 177736"/>
                <a:gd name="connsiteY0" fmla="*/ 239268 h 239458"/>
                <a:gd name="connsiteX1" fmla="*/ 45053 w 177736"/>
                <a:gd name="connsiteY1" fmla="*/ 230124 h 239458"/>
                <a:gd name="connsiteX2" fmla="*/ 0 w 177736"/>
                <a:gd name="connsiteY2" fmla="*/ 205359 h 239458"/>
                <a:gd name="connsiteX3" fmla="*/ 17430 w 177736"/>
                <a:gd name="connsiteY3" fmla="*/ 180785 h 239458"/>
                <a:gd name="connsiteX4" fmla="*/ 56483 w 177736"/>
                <a:gd name="connsiteY4" fmla="*/ 202692 h 239458"/>
                <a:gd name="connsiteX5" fmla="*/ 97345 w 177736"/>
                <a:gd name="connsiteY5" fmla="*/ 210217 h 239458"/>
                <a:gd name="connsiteX6" fmla="*/ 131730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825 w 177736"/>
                <a:gd name="connsiteY10" fmla="*/ 147066 h 239458"/>
                <a:gd name="connsiteX11" fmla="*/ 109251 w 177736"/>
                <a:gd name="connsiteY11" fmla="*/ 138779 h 239458"/>
                <a:gd name="connsiteX12" fmla="*/ 87630 w 177736"/>
                <a:gd name="connsiteY12" fmla="*/ 132112 h 239458"/>
                <a:gd name="connsiteX13" fmla="*/ 60579 w 177736"/>
                <a:gd name="connsiteY13" fmla="*/ 123444 h 239458"/>
                <a:gd name="connsiteX14" fmla="*/ 36004 w 177736"/>
                <a:gd name="connsiteY14" fmla="*/ 111633 h 239458"/>
                <a:gd name="connsiteX15" fmla="*/ 18192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59 w 177736"/>
                <a:gd name="connsiteY22" fmla="*/ 6953 h 239458"/>
                <a:gd name="connsiteX23" fmla="*/ 172878 w 177736"/>
                <a:gd name="connsiteY23" fmla="*/ 25527 h 239458"/>
                <a:gd name="connsiteX24" fmla="*/ 157257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3 w 177736"/>
                <a:gd name="connsiteY32" fmla="*/ 96203 h 239458"/>
                <a:gd name="connsiteX33" fmla="*/ 103631 w 177736"/>
                <a:gd name="connsiteY33" fmla="*/ 103346 h 239458"/>
                <a:gd name="connsiteX34" fmla="*/ 130207 w 177736"/>
                <a:gd name="connsiteY34" fmla="*/ 112300 h 239458"/>
                <a:gd name="connsiteX35" fmla="*/ 154114 w 177736"/>
                <a:gd name="connsiteY35" fmla="*/ 124778 h 239458"/>
                <a:gd name="connsiteX36" fmla="*/ 171259 w 177736"/>
                <a:gd name="connsiteY36" fmla="*/ 143066 h 239458"/>
                <a:gd name="connsiteX37" fmla="*/ 177736 w 177736"/>
                <a:gd name="connsiteY37" fmla="*/ 169450 h 239458"/>
                <a:gd name="connsiteX38" fmla="*/ 177736 w 177736"/>
                <a:gd name="connsiteY38" fmla="*/ 170307 h 239458"/>
                <a:gd name="connsiteX39" fmla="*/ 171259 w 177736"/>
                <a:gd name="connsiteY39" fmla="*/ 199549 h 239458"/>
                <a:gd name="connsiteX40" fmla="*/ 153828 w 177736"/>
                <a:gd name="connsiteY40" fmla="*/ 221171 h 239458"/>
                <a:gd name="connsiteX41" fmla="*/ 127921 w 177736"/>
                <a:gd name="connsiteY41" fmla="*/ 234791 h 239458"/>
                <a:gd name="connsiteX42" fmla="*/ 95535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5" y="239268"/>
                  </a:moveTo>
                  <a:cubicBezTo>
                    <a:pt x="78867" y="239268"/>
                    <a:pt x="62007" y="236220"/>
                    <a:pt x="45053" y="230124"/>
                  </a:cubicBezTo>
                  <a:cubicBezTo>
                    <a:pt x="28098" y="224028"/>
                    <a:pt x="13049" y="215741"/>
                    <a:pt x="0" y="205359"/>
                  </a:cubicBezTo>
                  <a:lnTo>
                    <a:pt x="17430" y="180785"/>
                  </a:lnTo>
                  <a:cubicBezTo>
                    <a:pt x="29908" y="190310"/>
                    <a:pt x="42957" y="197644"/>
                    <a:pt x="56483" y="202692"/>
                  </a:cubicBezTo>
                  <a:cubicBezTo>
                    <a:pt x="70009" y="207740"/>
                    <a:pt x="83629" y="210217"/>
                    <a:pt x="97345" y="210217"/>
                  </a:cubicBezTo>
                  <a:cubicBezTo>
                    <a:pt x="111061" y="210217"/>
                    <a:pt x="122777" y="206978"/>
                    <a:pt x="131730" y="200406"/>
                  </a:cubicBezTo>
                  <a:cubicBezTo>
                    <a:pt x="140684" y="193834"/>
                    <a:pt x="145161" y="184976"/>
                    <a:pt x="145161" y="173641"/>
                  </a:cubicBezTo>
                  <a:lnTo>
                    <a:pt x="145161" y="172784"/>
                  </a:lnTo>
                  <a:cubicBezTo>
                    <a:pt x="145161" y="167164"/>
                    <a:pt x="143541" y="162211"/>
                    <a:pt x="140494" y="158020"/>
                  </a:cubicBezTo>
                  <a:cubicBezTo>
                    <a:pt x="137350" y="153829"/>
                    <a:pt x="133159" y="150209"/>
                    <a:pt x="127825" y="147066"/>
                  </a:cubicBezTo>
                  <a:cubicBezTo>
                    <a:pt x="122491" y="143923"/>
                    <a:pt x="116300" y="141161"/>
                    <a:pt x="109251" y="138779"/>
                  </a:cubicBezTo>
                  <a:cubicBezTo>
                    <a:pt x="102298" y="136398"/>
                    <a:pt x="95059" y="134207"/>
                    <a:pt x="87630" y="132112"/>
                  </a:cubicBezTo>
                  <a:cubicBezTo>
                    <a:pt x="78676" y="129445"/>
                    <a:pt x="69722" y="126492"/>
                    <a:pt x="60579" y="123444"/>
                  </a:cubicBezTo>
                  <a:cubicBezTo>
                    <a:pt x="51530" y="120301"/>
                    <a:pt x="43339" y="116396"/>
                    <a:pt x="36004" y="111633"/>
                  </a:cubicBezTo>
                  <a:cubicBezTo>
                    <a:pt x="28670" y="106871"/>
                    <a:pt x="22764" y="100870"/>
                    <a:pt x="18192" y="93726"/>
                  </a:cubicBezTo>
                  <a:cubicBezTo>
                    <a:pt x="13525" y="86582"/>
                    <a:pt x="11239" y="77629"/>
                    <a:pt x="11239" y="66961"/>
                  </a:cubicBezTo>
                  <a:lnTo>
                    <a:pt x="11239" y="66008"/>
                  </a:lnTo>
                  <a:cubicBezTo>
                    <a:pt x="11239" y="56198"/>
                    <a:pt x="13144" y="47149"/>
                    <a:pt x="17050" y="39053"/>
                  </a:cubicBezTo>
                  <a:cubicBezTo>
                    <a:pt x="20955" y="30861"/>
                    <a:pt x="26384" y="23908"/>
                    <a:pt x="33338" y="18098"/>
                  </a:cubicBezTo>
                  <a:cubicBezTo>
                    <a:pt x="40291" y="12287"/>
                    <a:pt x="48673" y="7811"/>
                    <a:pt x="58388" y="4667"/>
                  </a:cubicBezTo>
                  <a:cubicBezTo>
                    <a:pt x="68008" y="1524"/>
                    <a:pt x="78581" y="0"/>
                    <a:pt x="89821" y="0"/>
                  </a:cubicBezTo>
                  <a:cubicBezTo>
                    <a:pt x="104108" y="0"/>
                    <a:pt x="118586" y="2286"/>
                    <a:pt x="133159" y="6953"/>
                  </a:cubicBezTo>
                  <a:cubicBezTo>
                    <a:pt x="147732" y="11621"/>
                    <a:pt x="160972" y="17717"/>
                    <a:pt x="172878" y="25527"/>
                  </a:cubicBezTo>
                  <a:lnTo>
                    <a:pt x="157257" y="51435"/>
                  </a:lnTo>
                  <a:cubicBezTo>
                    <a:pt x="146494" y="44577"/>
                    <a:pt x="135255" y="39148"/>
                    <a:pt x="123539" y="35147"/>
                  </a:cubicBezTo>
                  <a:cubicBezTo>
                    <a:pt x="111823" y="31147"/>
                    <a:pt x="100203" y="29146"/>
                    <a:pt x="88963" y="29146"/>
                  </a:cubicBezTo>
                  <a:cubicBezTo>
                    <a:pt x="75247" y="29146"/>
                    <a:pt x="64389" y="32385"/>
                    <a:pt x="56388" y="38767"/>
                  </a:cubicBezTo>
                  <a:cubicBezTo>
                    <a:pt x="48291" y="45149"/>
                    <a:pt x="44291" y="53150"/>
                    <a:pt x="44291" y="62675"/>
                  </a:cubicBezTo>
                  <a:lnTo>
                    <a:pt x="44291" y="63627"/>
                  </a:lnTo>
                  <a:cubicBezTo>
                    <a:pt x="44291" y="68961"/>
                    <a:pt x="45910" y="73628"/>
                    <a:pt x="49244" y="77724"/>
                  </a:cubicBezTo>
                  <a:cubicBezTo>
                    <a:pt x="52482" y="81725"/>
                    <a:pt x="56864" y="85249"/>
                    <a:pt x="62389" y="88202"/>
                  </a:cubicBezTo>
                  <a:cubicBezTo>
                    <a:pt x="67913" y="91154"/>
                    <a:pt x="74200" y="93821"/>
                    <a:pt x="81343" y="96203"/>
                  </a:cubicBezTo>
                  <a:cubicBezTo>
                    <a:pt x="88487" y="98584"/>
                    <a:pt x="95916" y="100965"/>
                    <a:pt x="103631" y="103346"/>
                  </a:cubicBezTo>
                  <a:cubicBezTo>
                    <a:pt x="112585" y="106013"/>
                    <a:pt x="121444" y="108966"/>
                    <a:pt x="130207" y="112300"/>
                  </a:cubicBezTo>
                  <a:cubicBezTo>
                    <a:pt x="138969" y="115538"/>
                    <a:pt x="146971" y="119729"/>
                    <a:pt x="154114" y="124778"/>
                  </a:cubicBezTo>
                  <a:cubicBezTo>
                    <a:pt x="161258" y="129826"/>
                    <a:pt x="166973" y="135922"/>
                    <a:pt x="171259" y="143066"/>
                  </a:cubicBezTo>
                  <a:cubicBezTo>
                    <a:pt x="175546" y="150209"/>
                    <a:pt x="177736" y="158972"/>
                    <a:pt x="177736" y="169450"/>
                  </a:cubicBezTo>
                  <a:lnTo>
                    <a:pt x="177736" y="170307"/>
                  </a:lnTo>
                  <a:cubicBezTo>
                    <a:pt x="177736" y="181356"/>
                    <a:pt x="175546" y="191071"/>
                    <a:pt x="171259" y="199549"/>
                  </a:cubicBezTo>
                  <a:cubicBezTo>
                    <a:pt x="166973" y="208026"/>
                    <a:pt x="161163" y="215265"/>
                    <a:pt x="153828" y="221171"/>
                  </a:cubicBezTo>
                  <a:cubicBezTo>
                    <a:pt x="146589" y="227171"/>
                    <a:pt x="137922" y="231648"/>
                    <a:pt x="127921" y="234791"/>
                  </a:cubicBezTo>
                  <a:cubicBezTo>
                    <a:pt x="117919" y="237935"/>
                    <a:pt x="107156" y="239459"/>
                    <a:pt x="95535" y="239459"/>
                  </a:cubicBezTo>
                  <a:close/>
                </a:path>
              </a:pathLst>
            </a:custGeom>
            <a:solidFill>
              <a:srgbClr val="44505E"/>
            </a:solidFill>
            <a:ln w="9525" cap="flat">
              <a:noFill/>
              <a:prstDash val="solid"/>
              <a:miter/>
            </a:ln>
          </p:spPr>
          <p:txBody>
            <a:bodyPr rtlCol="0" anchor="ctr"/>
            <a:lstStyle/>
            <a:p>
              <a:endParaRPr lang="pt-BR" noProof="0"/>
            </a:p>
          </p:txBody>
        </p:sp>
        <p:sp>
          <p:nvSpPr>
            <p:cNvPr id="93" name="Freeform: Shape 54">
              <a:extLst>
                <a:ext uri="{FF2B5EF4-FFF2-40B4-BE49-F238E27FC236}">
                  <a16:creationId xmlns:a16="http://schemas.microsoft.com/office/drawing/2014/main" id="{9936F1BB-961B-C803-F70E-910E6E9B2EE9}"/>
                </a:ext>
              </a:extLst>
            </p:cNvPr>
            <p:cNvSpPr/>
            <p:nvPr/>
          </p:nvSpPr>
          <p:spPr>
            <a:xfrm>
              <a:off x="5250320" y="846952"/>
              <a:ext cx="1459036" cy="16186"/>
            </a:xfrm>
            <a:custGeom>
              <a:avLst/>
              <a:gdLst>
                <a:gd name="connsiteX0" fmla="*/ 0 w 5804058"/>
                <a:gd name="connsiteY0" fmla="*/ 0 h 64388"/>
                <a:gd name="connsiteX1" fmla="*/ 5804059 w 5804058"/>
                <a:gd name="connsiteY1" fmla="*/ 0 h 64388"/>
                <a:gd name="connsiteX2" fmla="*/ 5804059 w 5804058"/>
                <a:gd name="connsiteY2" fmla="*/ 64389 h 64388"/>
                <a:gd name="connsiteX3" fmla="*/ 0 w 5804058"/>
                <a:gd name="connsiteY3" fmla="*/ 64389 h 64388"/>
              </a:gdLst>
              <a:ahLst/>
              <a:cxnLst>
                <a:cxn ang="0">
                  <a:pos x="connsiteX0" y="connsiteY0"/>
                </a:cxn>
                <a:cxn ang="0">
                  <a:pos x="connsiteX1" y="connsiteY1"/>
                </a:cxn>
                <a:cxn ang="0">
                  <a:pos x="connsiteX2" y="connsiteY2"/>
                </a:cxn>
                <a:cxn ang="0">
                  <a:pos x="connsiteX3" y="connsiteY3"/>
                </a:cxn>
              </a:cxnLst>
              <a:rect l="l" t="t" r="r" b="b"/>
              <a:pathLst>
                <a:path w="5804058" h="64388">
                  <a:moveTo>
                    <a:pt x="0" y="0"/>
                  </a:moveTo>
                  <a:lnTo>
                    <a:pt x="5804059" y="0"/>
                  </a:lnTo>
                  <a:lnTo>
                    <a:pt x="5804059" y="64389"/>
                  </a:lnTo>
                  <a:lnTo>
                    <a:pt x="0" y="64389"/>
                  </a:lnTo>
                  <a:close/>
                </a:path>
              </a:pathLst>
            </a:custGeom>
            <a:solidFill>
              <a:srgbClr val="44505E"/>
            </a:solidFill>
            <a:ln w="9525" cap="flat">
              <a:noFill/>
              <a:prstDash val="solid"/>
              <a:miter/>
            </a:ln>
          </p:spPr>
          <p:txBody>
            <a:bodyPr rtlCol="0" anchor="ctr"/>
            <a:lstStyle/>
            <a:p>
              <a:endParaRPr lang="pt-BR" noProof="0"/>
            </a:p>
          </p:txBody>
        </p:sp>
        <p:sp>
          <p:nvSpPr>
            <p:cNvPr id="94" name="Freeform: Shape 55">
              <a:extLst>
                <a:ext uri="{FF2B5EF4-FFF2-40B4-BE49-F238E27FC236}">
                  <a16:creationId xmlns:a16="http://schemas.microsoft.com/office/drawing/2014/main" id="{B5D6E8CA-F91E-452F-5BF6-3C71C5142BC5}"/>
                </a:ext>
              </a:extLst>
            </p:cNvPr>
            <p:cNvSpPr/>
            <p:nvPr/>
          </p:nvSpPr>
          <p:spPr>
            <a:xfrm>
              <a:off x="6902633" y="268821"/>
              <a:ext cx="273418" cy="601046"/>
            </a:xfrm>
            <a:custGeom>
              <a:avLst/>
              <a:gdLst>
                <a:gd name="connsiteX0" fmla="*/ 0 w 1087659"/>
                <a:gd name="connsiteY0" fmla="*/ 210979 h 2390965"/>
                <a:gd name="connsiteX1" fmla="*/ 125063 w 1087659"/>
                <a:gd name="connsiteY1" fmla="*/ 103442 h 2390965"/>
                <a:gd name="connsiteX2" fmla="*/ 250031 w 1087659"/>
                <a:gd name="connsiteY2" fmla="*/ 210979 h 2390965"/>
                <a:gd name="connsiteX3" fmla="*/ 250031 w 1087659"/>
                <a:gd name="connsiteY3" fmla="*/ 1922717 h 2390965"/>
                <a:gd name="connsiteX4" fmla="*/ 249841 w 1087659"/>
                <a:gd name="connsiteY4" fmla="*/ 1922717 h 2390965"/>
                <a:gd name="connsiteX5" fmla="*/ 249841 w 1087659"/>
                <a:gd name="connsiteY5" fmla="*/ 1925955 h 2390965"/>
                <a:gd name="connsiteX6" fmla="*/ 333756 w 1087659"/>
                <a:gd name="connsiteY6" fmla="*/ 2100263 h 2390965"/>
                <a:gd name="connsiteX7" fmla="*/ 335566 w 1087659"/>
                <a:gd name="connsiteY7" fmla="*/ 2101787 h 2390965"/>
                <a:gd name="connsiteX8" fmla="*/ 336042 w 1087659"/>
                <a:gd name="connsiteY8" fmla="*/ 2102168 h 2390965"/>
                <a:gd name="connsiteX9" fmla="*/ 543877 w 1087659"/>
                <a:gd name="connsiteY9" fmla="*/ 2175891 h 2390965"/>
                <a:gd name="connsiteX10" fmla="*/ 749998 w 1087659"/>
                <a:gd name="connsiteY10" fmla="*/ 2103692 h 2390965"/>
                <a:gd name="connsiteX11" fmla="*/ 751713 w 1087659"/>
                <a:gd name="connsiteY11" fmla="*/ 2102168 h 2390965"/>
                <a:gd name="connsiteX12" fmla="*/ 752189 w 1087659"/>
                <a:gd name="connsiteY12" fmla="*/ 2101787 h 2390965"/>
                <a:gd name="connsiteX13" fmla="*/ 837819 w 1087659"/>
                <a:gd name="connsiteY13" fmla="*/ 1922812 h 2390965"/>
                <a:gd name="connsiteX14" fmla="*/ 837819 w 1087659"/>
                <a:gd name="connsiteY14" fmla="*/ 107537 h 2390965"/>
                <a:gd name="connsiteX15" fmla="*/ 962787 w 1087659"/>
                <a:gd name="connsiteY15" fmla="*/ 0 h 2390965"/>
                <a:gd name="connsiteX16" fmla="*/ 1087660 w 1087659"/>
                <a:gd name="connsiteY16" fmla="*/ 107537 h 2390965"/>
                <a:gd name="connsiteX17" fmla="*/ 1087660 w 1087659"/>
                <a:gd name="connsiteY17" fmla="*/ 1922621 h 2390965"/>
                <a:gd name="connsiteX18" fmla="*/ 928307 w 1087659"/>
                <a:gd name="connsiteY18" fmla="*/ 2253234 h 2390965"/>
                <a:gd name="connsiteX19" fmla="*/ 928116 w 1087659"/>
                <a:gd name="connsiteY19" fmla="*/ 2253424 h 2390965"/>
                <a:gd name="connsiteX20" fmla="*/ 927830 w 1087659"/>
                <a:gd name="connsiteY20" fmla="*/ 2253710 h 2390965"/>
                <a:gd name="connsiteX21" fmla="*/ 927354 w 1087659"/>
                <a:gd name="connsiteY21" fmla="*/ 2254187 h 2390965"/>
                <a:gd name="connsiteX22" fmla="*/ 543783 w 1087659"/>
                <a:gd name="connsiteY22" fmla="*/ 2390966 h 2390965"/>
                <a:gd name="connsiteX23" fmla="*/ 159734 w 1087659"/>
                <a:gd name="connsiteY23" fmla="*/ 2253710 h 2390965"/>
                <a:gd name="connsiteX24" fmla="*/ 159734 w 1087659"/>
                <a:gd name="connsiteY24" fmla="*/ 2253424 h 2390965"/>
                <a:gd name="connsiteX25" fmla="*/ 159353 w 1087659"/>
                <a:gd name="connsiteY25" fmla="*/ 2253234 h 2390965"/>
                <a:gd name="connsiteX26" fmla="*/ 158877 w 1087659"/>
                <a:gd name="connsiteY26" fmla="*/ 2252948 h 2390965"/>
                <a:gd name="connsiteX27" fmla="*/ 0 w 1087659"/>
                <a:gd name="connsiteY27" fmla="*/ 1922621 h 2390965"/>
                <a:gd name="connsiteX28" fmla="*/ 0 w 1087659"/>
                <a:gd name="connsiteY28" fmla="*/ 1922621 h 2390965"/>
                <a:gd name="connsiteX29" fmla="*/ 0 w 1087659"/>
                <a:gd name="connsiteY29" fmla="*/ 210979 h 239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87659" h="2390965">
                  <a:moveTo>
                    <a:pt x="0" y="210979"/>
                  </a:moveTo>
                  <a:cubicBezTo>
                    <a:pt x="0" y="151638"/>
                    <a:pt x="56007" y="103442"/>
                    <a:pt x="125063" y="103442"/>
                  </a:cubicBezTo>
                  <a:cubicBezTo>
                    <a:pt x="194120" y="103442"/>
                    <a:pt x="250031" y="151638"/>
                    <a:pt x="250031" y="210979"/>
                  </a:cubicBezTo>
                  <a:lnTo>
                    <a:pt x="250031" y="1922717"/>
                  </a:lnTo>
                  <a:lnTo>
                    <a:pt x="249841" y="1922717"/>
                  </a:lnTo>
                  <a:lnTo>
                    <a:pt x="249841" y="1925955"/>
                  </a:lnTo>
                  <a:cubicBezTo>
                    <a:pt x="250793" y="1994059"/>
                    <a:pt x="282797" y="2055495"/>
                    <a:pt x="333756" y="2100263"/>
                  </a:cubicBezTo>
                  <a:lnTo>
                    <a:pt x="335566" y="2101787"/>
                  </a:lnTo>
                  <a:lnTo>
                    <a:pt x="336042" y="2102168"/>
                  </a:lnTo>
                  <a:cubicBezTo>
                    <a:pt x="388906" y="2147697"/>
                    <a:pt x="462343" y="2175891"/>
                    <a:pt x="543877" y="2175891"/>
                  </a:cubicBezTo>
                  <a:cubicBezTo>
                    <a:pt x="625411" y="2175891"/>
                    <a:pt x="697420" y="2148364"/>
                    <a:pt x="749998" y="2103692"/>
                  </a:cubicBezTo>
                  <a:lnTo>
                    <a:pt x="751713" y="2102168"/>
                  </a:lnTo>
                  <a:lnTo>
                    <a:pt x="752189" y="2101787"/>
                  </a:lnTo>
                  <a:cubicBezTo>
                    <a:pt x="805053" y="2056352"/>
                    <a:pt x="837819" y="1993011"/>
                    <a:pt x="837819" y="1922812"/>
                  </a:cubicBezTo>
                  <a:lnTo>
                    <a:pt x="837819" y="107537"/>
                  </a:lnTo>
                  <a:cubicBezTo>
                    <a:pt x="837819" y="48196"/>
                    <a:pt x="893731" y="0"/>
                    <a:pt x="962787" y="0"/>
                  </a:cubicBezTo>
                  <a:cubicBezTo>
                    <a:pt x="1031843" y="0"/>
                    <a:pt x="1087660" y="48196"/>
                    <a:pt x="1087660" y="107537"/>
                  </a:cubicBezTo>
                  <a:lnTo>
                    <a:pt x="1087660" y="1922621"/>
                  </a:lnTo>
                  <a:cubicBezTo>
                    <a:pt x="1087660" y="2051399"/>
                    <a:pt x="1026795" y="2168366"/>
                    <a:pt x="928307" y="2253234"/>
                  </a:cubicBezTo>
                  <a:lnTo>
                    <a:pt x="928116" y="2253424"/>
                  </a:lnTo>
                  <a:lnTo>
                    <a:pt x="927830" y="2253710"/>
                  </a:lnTo>
                  <a:lnTo>
                    <a:pt x="927354" y="2254187"/>
                  </a:lnTo>
                  <a:cubicBezTo>
                    <a:pt x="828770" y="2338673"/>
                    <a:pt x="693134" y="2390966"/>
                    <a:pt x="543783" y="2390966"/>
                  </a:cubicBezTo>
                  <a:cubicBezTo>
                    <a:pt x="394430" y="2390966"/>
                    <a:pt x="258413" y="2338483"/>
                    <a:pt x="159734" y="2253710"/>
                  </a:cubicBezTo>
                  <a:lnTo>
                    <a:pt x="159734" y="2253424"/>
                  </a:lnTo>
                  <a:cubicBezTo>
                    <a:pt x="159734" y="2253424"/>
                    <a:pt x="159353" y="2253234"/>
                    <a:pt x="159353" y="2253234"/>
                  </a:cubicBezTo>
                  <a:lnTo>
                    <a:pt x="158877" y="2252948"/>
                  </a:lnTo>
                  <a:cubicBezTo>
                    <a:pt x="60770" y="2167985"/>
                    <a:pt x="0" y="2051304"/>
                    <a:pt x="0" y="1922621"/>
                  </a:cubicBezTo>
                  <a:lnTo>
                    <a:pt x="0" y="1922621"/>
                  </a:lnTo>
                  <a:lnTo>
                    <a:pt x="0" y="210979"/>
                  </a:lnTo>
                  <a:close/>
                </a:path>
              </a:pathLst>
            </a:custGeom>
            <a:solidFill>
              <a:srgbClr val="8FC640"/>
            </a:solidFill>
            <a:ln w="9525" cap="flat">
              <a:noFill/>
              <a:prstDash val="solid"/>
              <a:miter/>
            </a:ln>
          </p:spPr>
          <p:txBody>
            <a:bodyPr rtlCol="0" anchor="ctr"/>
            <a:lstStyle/>
            <a:p>
              <a:endParaRPr lang="pt-BR" noProof="0"/>
            </a:p>
          </p:txBody>
        </p:sp>
        <p:sp>
          <p:nvSpPr>
            <p:cNvPr id="95" name="Freeform: Shape 56">
              <a:extLst>
                <a:ext uri="{FF2B5EF4-FFF2-40B4-BE49-F238E27FC236}">
                  <a16:creationId xmlns:a16="http://schemas.microsoft.com/office/drawing/2014/main" id="{76C8C83D-BE09-0069-07B4-95941FEF0CEA}"/>
                </a:ext>
              </a:extLst>
            </p:cNvPr>
            <p:cNvSpPr/>
            <p:nvPr/>
          </p:nvSpPr>
          <p:spPr>
            <a:xfrm>
              <a:off x="7013590" y="213965"/>
              <a:ext cx="54018" cy="562280"/>
            </a:xfrm>
            <a:custGeom>
              <a:avLst/>
              <a:gdLst>
                <a:gd name="connsiteX0" fmla="*/ 0 w 214883"/>
                <a:gd name="connsiteY0" fmla="*/ 107537 h 2236755"/>
                <a:gd name="connsiteX1" fmla="*/ 107537 w 214883"/>
                <a:gd name="connsiteY1" fmla="*/ 0 h 2236755"/>
                <a:gd name="connsiteX2" fmla="*/ 214884 w 214883"/>
                <a:gd name="connsiteY2" fmla="*/ 107537 h 2236755"/>
                <a:gd name="connsiteX3" fmla="*/ 214884 w 214883"/>
                <a:gd name="connsiteY3" fmla="*/ 2129219 h 2236755"/>
                <a:gd name="connsiteX4" fmla="*/ 107537 w 214883"/>
                <a:gd name="connsiteY4" fmla="*/ 2236756 h 2236755"/>
                <a:gd name="connsiteX5" fmla="*/ 0 w 214883"/>
                <a:gd name="connsiteY5" fmla="*/ 2129219 h 2236755"/>
                <a:gd name="connsiteX6" fmla="*/ 0 w 214883"/>
                <a:gd name="connsiteY6" fmla="*/ 107537 h 223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 h="2236755">
                  <a:moveTo>
                    <a:pt x="0" y="107537"/>
                  </a:moveTo>
                  <a:cubicBezTo>
                    <a:pt x="0" y="48197"/>
                    <a:pt x="48101" y="0"/>
                    <a:pt x="107537" y="0"/>
                  </a:cubicBezTo>
                  <a:cubicBezTo>
                    <a:pt x="166973" y="0"/>
                    <a:pt x="214884" y="48197"/>
                    <a:pt x="214884" y="107537"/>
                  </a:cubicBezTo>
                  <a:lnTo>
                    <a:pt x="214884" y="2129219"/>
                  </a:lnTo>
                  <a:cubicBezTo>
                    <a:pt x="214884" y="2188559"/>
                    <a:pt x="166782" y="2236756"/>
                    <a:pt x="107537" y="2236756"/>
                  </a:cubicBezTo>
                  <a:cubicBezTo>
                    <a:pt x="48291" y="2236756"/>
                    <a:pt x="0" y="2188559"/>
                    <a:pt x="0" y="2129219"/>
                  </a:cubicBezTo>
                  <a:lnTo>
                    <a:pt x="0" y="107537"/>
                  </a:lnTo>
                  <a:close/>
                </a:path>
              </a:pathLst>
            </a:custGeom>
            <a:solidFill>
              <a:srgbClr val="3698B0"/>
            </a:solidFill>
            <a:ln w="9525" cap="flat">
              <a:noFill/>
              <a:prstDash val="solid"/>
              <a:miter/>
            </a:ln>
          </p:spPr>
          <p:txBody>
            <a:bodyPr rtlCol="0" anchor="ctr"/>
            <a:lstStyle/>
            <a:p>
              <a:endParaRPr lang="pt-BR" noProof="0"/>
            </a:p>
          </p:txBody>
        </p:sp>
        <p:sp>
          <p:nvSpPr>
            <p:cNvPr id="96" name="Freeform: Shape 57">
              <a:extLst>
                <a:ext uri="{FF2B5EF4-FFF2-40B4-BE49-F238E27FC236}">
                  <a16:creationId xmlns:a16="http://schemas.microsoft.com/office/drawing/2014/main" id="{FE0C1E0B-AEC5-4929-406B-960515A78738}"/>
                </a:ext>
              </a:extLst>
            </p:cNvPr>
            <p:cNvSpPr/>
            <p:nvPr/>
          </p:nvSpPr>
          <p:spPr>
            <a:xfrm>
              <a:off x="6795770" y="332991"/>
              <a:ext cx="485994" cy="649437"/>
            </a:xfrm>
            <a:custGeom>
              <a:avLst/>
              <a:gdLst>
                <a:gd name="connsiteX0" fmla="*/ 1933290 w 1933289"/>
                <a:gd name="connsiteY0" fmla="*/ 138017 h 2583465"/>
                <a:gd name="connsiteX1" fmla="*/ 1933290 w 1933289"/>
                <a:gd name="connsiteY1" fmla="*/ 1734122 h 2583465"/>
                <a:gd name="connsiteX2" fmla="*/ 1796606 w 1933289"/>
                <a:gd name="connsiteY2" fmla="*/ 2229136 h 2583465"/>
                <a:gd name="connsiteX3" fmla="*/ 977742 w 1933289"/>
                <a:gd name="connsiteY3" fmla="*/ 2583466 h 2583465"/>
                <a:gd name="connsiteX4" fmla="*/ 955357 w 1933289"/>
                <a:gd name="connsiteY4" fmla="*/ 2583466 h 2583465"/>
                <a:gd name="connsiteX5" fmla="*/ 136589 w 1933289"/>
                <a:gd name="connsiteY5" fmla="*/ 2229136 h 2583465"/>
                <a:gd name="connsiteX6" fmla="*/ 0 w 1933289"/>
                <a:gd name="connsiteY6" fmla="*/ 1734122 h 2583465"/>
                <a:gd name="connsiteX7" fmla="*/ 0 w 1933289"/>
                <a:gd name="connsiteY7" fmla="*/ 794194 h 2583465"/>
                <a:gd name="connsiteX8" fmla="*/ 137827 w 1933289"/>
                <a:gd name="connsiteY8" fmla="*/ 656273 h 2583465"/>
                <a:gd name="connsiteX9" fmla="*/ 275463 w 1933289"/>
                <a:gd name="connsiteY9" fmla="*/ 794194 h 2583465"/>
                <a:gd name="connsiteX10" fmla="*/ 275463 w 1933289"/>
                <a:gd name="connsiteY10" fmla="*/ 1734122 h 2583465"/>
                <a:gd name="connsiteX11" fmla="*/ 354235 w 1933289"/>
                <a:gd name="connsiteY11" fmla="*/ 2059686 h 2583465"/>
                <a:gd name="connsiteX12" fmla="*/ 958215 w 1933289"/>
                <a:gd name="connsiteY12" fmla="*/ 2307527 h 2583465"/>
                <a:gd name="connsiteX13" fmla="*/ 974789 w 1933289"/>
                <a:gd name="connsiteY13" fmla="*/ 2307527 h 2583465"/>
                <a:gd name="connsiteX14" fmla="*/ 1578959 w 1933289"/>
                <a:gd name="connsiteY14" fmla="*/ 2059686 h 2583465"/>
                <a:gd name="connsiteX15" fmla="*/ 1657636 w 1933289"/>
                <a:gd name="connsiteY15" fmla="*/ 1734122 h 2583465"/>
                <a:gd name="connsiteX16" fmla="*/ 1657636 w 1933289"/>
                <a:gd name="connsiteY16" fmla="*/ 138017 h 2583465"/>
                <a:gd name="connsiteX17" fmla="*/ 1795463 w 1933289"/>
                <a:gd name="connsiteY17" fmla="*/ 0 h 2583465"/>
                <a:gd name="connsiteX18" fmla="*/ 1933290 w 1933289"/>
                <a:gd name="connsiteY18" fmla="*/ 138017 h 25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3289" h="2583465">
                  <a:moveTo>
                    <a:pt x="1933290" y="138017"/>
                  </a:moveTo>
                  <a:lnTo>
                    <a:pt x="1933290" y="1734122"/>
                  </a:lnTo>
                  <a:cubicBezTo>
                    <a:pt x="1933290" y="1870996"/>
                    <a:pt x="1919002" y="2071211"/>
                    <a:pt x="1796606" y="2229136"/>
                  </a:cubicBezTo>
                  <a:cubicBezTo>
                    <a:pt x="1634395" y="2438305"/>
                    <a:pt x="1432084" y="2578703"/>
                    <a:pt x="977742" y="2583466"/>
                  </a:cubicBezTo>
                  <a:lnTo>
                    <a:pt x="955357" y="2583466"/>
                  </a:lnTo>
                  <a:cubicBezTo>
                    <a:pt x="501015" y="2578703"/>
                    <a:pt x="298704" y="2438400"/>
                    <a:pt x="136589" y="2229136"/>
                  </a:cubicBezTo>
                  <a:cubicBezTo>
                    <a:pt x="14192" y="2071211"/>
                    <a:pt x="0" y="1870996"/>
                    <a:pt x="0" y="1734122"/>
                  </a:cubicBezTo>
                  <a:lnTo>
                    <a:pt x="0" y="794194"/>
                  </a:lnTo>
                  <a:cubicBezTo>
                    <a:pt x="0" y="718185"/>
                    <a:pt x="61436" y="656273"/>
                    <a:pt x="137827" y="656273"/>
                  </a:cubicBezTo>
                  <a:cubicBezTo>
                    <a:pt x="214217" y="656273"/>
                    <a:pt x="275463" y="718185"/>
                    <a:pt x="275463" y="794194"/>
                  </a:cubicBezTo>
                  <a:lnTo>
                    <a:pt x="275463" y="1734122"/>
                  </a:lnTo>
                  <a:cubicBezTo>
                    <a:pt x="275463" y="1887188"/>
                    <a:pt x="300324" y="1990630"/>
                    <a:pt x="354235" y="2059686"/>
                  </a:cubicBezTo>
                  <a:cubicBezTo>
                    <a:pt x="476250" y="2217611"/>
                    <a:pt x="609791" y="2304479"/>
                    <a:pt x="958215" y="2307527"/>
                  </a:cubicBezTo>
                  <a:lnTo>
                    <a:pt x="974789" y="2307527"/>
                  </a:lnTo>
                  <a:cubicBezTo>
                    <a:pt x="1323499" y="2304479"/>
                    <a:pt x="1456563" y="2217611"/>
                    <a:pt x="1578959" y="2059686"/>
                  </a:cubicBezTo>
                  <a:cubicBezTo>
                    <a:pt x="1632490" y="1990630"/>
                    <a:pt x="1657636" y="1887093"/>
                    <a:pt x="1657636" y="1734122"/>
                  </a:cubicBezTo>
                  <a:lnTo>
                    <a:pt x="1657636" y="138017"/>
                  </a:lnTo>
                  <a:cubicBezTo>
                    <a:pt x="1657636" y="61531"/>
                    <a:pt x="1719453" y="0"/>
                    <a:pt x="1795463" y="0"/>
                  </a:cubicBezTo>
                  <a:cubicBezTo>
                    <a:pt x="1871472" y="0"/>
                    <a:pt x="1933290" y="61531"/>
                    <a:pt x="1933290" y="138017"/>
                  </a:cubicBezTo>
                </a:path>
              </a:pathLst>
            </a:custGeom>
            <a:solidFill>
              <a:srgbClr val="49306E"/>
            </a:solidFill>
            <a:ln w="9525" cap="flat">
              <a:noFill/>
              <a:prstDash val="solid"/>
              <a:miter/>
            </a:ln>
          </p:spPr>
          <p:txBody>
            <a:bodyPr rtlCol="0" anchor="ctr"/>
            <a:lstStyle/>
            <a:p>
              <a:endParaRPr lang="pt-BR" noProof="0"/>
            </a:p>
          </p:txBody>
        </p:sp>
      </p:grpSp>
      <p:sp>
        <p:nvSpPr>
          <p:cNvPr id="2" name="Título 1">
            <a:extLst>
              <a:ext uri="{FF2B5EF4-FFF2-40B4-BE49-F238E27FC236}">
                <a16:creationId xmlns:a16="http://schemas.microsoft.com/office/drawing/2014/main" id="{D374E2CE-D33F-E20F-1436-E6E31BE65705}"/>
              </a:ext>
            </a:extLst>
          </p:cNvPr>
          <p:cNvSpPr txBox="1">
            <a:spLocks/>
          </p:cNvSpPr>
          <p:nvPr/>
        </p:nvSpPr>
        <p:spPr>
          <a:xfrm>
            <a:off x="2157359" y="238418"/>
            <a:ext cx="10058400" cy="631231"/>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pt-BR" sz="3600" b="1">
                <a:solidFill>
                  <a:srgbClr val="3299B1"/>
                </a:solidFill>
                <a:latin typeface="Agency FB" panose="020B0503020202020204" pitchFamily="34" charset="0"/>
              </a:rPr>
              <a:t>Dinâmica</a:t>
            </a:r>
          </a:p>
        </p:txBody>
      </p:sp>
      <p:pic>
        <p:nvPicPr>
          <p:cNvPr id="13" name="Picture 2" descr="Paciente jovem na cama de hospital com conta-gotas | Vetor Premium">
            <a:extLst>
              <a:ext uri="{FF2B5EF4-FFF2-40B4-BE49-F238E27FC236}">
                <a16:creationId xmlns:a16="http://schemas.microsoft.com/office/drawing/2014/main" id="{8ACDE4DF-7911-EF85-E873-84124C11D627}"/>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4106"/>
          <a:stretch>
            <a:fillRect/>
          </a:stretch>
        </p:blipFill>
        <p:spPr bwMode="auto">
          <a:xfrm>
            <a:off x="62882" y="1411390"/>
            <a:ext cx="2358383" cy="1846489"/>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 descr="Paciente jovem na cama de hospital com conta-gotas | Vetor Premium">
            <a:extLst>
              <a:ext uri="{FF2B5EF4-FFF2-40B4-BE49-F238E27FC236}">
                <a16:creationId xmlns:a16="http://schemas.microsoft.com/office/drawing/2014/main" id="{C0821F4C-3687-CA63-155C-C4D2DE5889D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053076" y="1411390"/>
            <a:ext cx="2459366" cy="1846489"/>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Paciente jovem na cama de hospital com conta-gotas | Vetor Premium">
            <a:extLst>
              <a:ext uri="{FF2B5EF4-FFF2-40B4-BE49-F238E27FC236}">
                <a16:creationId xmlns:a16="http://schemas.microsoft.com/office/drawing/2014/main" id="{69F9BFDC-11E7-4E31-C004-557B4FD4DFD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079631" y="1411390"/>
            <a:ext cx="2459366" cy="1846489"/>
          </a:xfrm>
          <a:prstGeom prst="rect">
            <a:avLst/>
          </a:prstGeom>
          <a:noFill/>
          <a:extLst>
            <a:ext uri="{909E8E84-426E-40DD-AFC4-6F175D3DCCD1}">
              <a14:hiddenFill xmlns:a14="http://schemas.microsoft.com/office/drawing/2010/main">
                <a:solidFill>
                  <a:srgbClr val="FFFFFF"/>
                </a:solidFill>
              </a14:hiddenFill>
            </a:ext>
          </a:extLst>
        </p:spPr>
      </p:pic>
      <p:sp>
        <p:nvSpPr>
          <p:cNvPr id="33" name="Retângulo 32">
            <a:extLst>
              <a:ext uri="{FF2B5EF4-FFF2-40B4-BE49-F238E27FC236}">
                <a16:creationId xmlns:a16="http://schemas.microsoft.com/office/drawing/2014/main" id="{1DBD6F51-FBE5-C735-F40E-8BF4268DEA87}"/>
              </a:ext>
            </a:extLst>
          </p:cNvPr>
          <p:cNvSpPr/>
          <p:nvPr/>
        </p:nvSpPr>
        <p:spPr>
          <a:xfrm>
            <a:off x="244526" y="1713581"/>
            <a:ext cx="1077686" cy="341846"/>
          </a:xfrm>
          <a:prstGeom prst="rect">
            <a:avLst/>
          </a:prstGeom>
          <a:solidFill>
            <a:schemeClr val="bg1">
              <a:lumMod val="65000"/>
            </a:schemeClr>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pt-BR"/>
              <a:t>Pct 1</a:t>
            </a:r>
          </a:p>
        </p:txBody>
      </p:sp>
      <p:sp>
        <p:nvSpPr>
          <p:cNvPr id="34" name="Retângulo 33">
            <a:extLst>
              <a:ext uri="{FF2B5EF4-FFF2-40B4-BE49-F238E27FC236}">
                <a16:creationId xmlns:a16="http://schemas.microsoft.com/office/drawing/2014/main" id="{EE10865E-0839-E296-F27C-2D24445EC90F}"/>
              </a:ext>
            </a:extLst>
          </p:cNvPr>
          <p:cNvSpPr/>
          <p:nvPr/>
        </p:nvSpPr>
        <p:spPr>
          <a:xfrm>
            <a:off x="4324816" y="1759863"/>
            <a:ext cx="1077686" cy="341846"/>
          </a:xfrm>
          <a:prstGeom prst="rect">
            <a:avLst/>
          </a:prstGeom>
          <a:solidFill>
            <a:schemeClr val="bg1">
              <a:lumMod val="65000"/>
            </a:schemeClr>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pt-BR"/>
              <a:t>Pct 2</a:t>
            </a:r>
          </a:p>
        </p:txBody>
      </p:sp>
      <p:sp>
        <p:nvSpPr>
          <p:cNvPr id="35" name="Retângulo 34">
            <a:extLst>
              <a:ext uri="{FF2B5EF4-FFF2-40B4-BE49-F238E27FC236}">
                <a16:creationId xmlns:a16="http://schemas.microsoft.com/office/drawing/2014/main" id="{6303B699-8504-17FA-0A48-108473168354}"/>
              </a:ext>
            </a:extLst>
          </p:cNvPr>
          <p:cNvSpPr/>
          <p:nvPr/>
        </p:nvSpPr>
        <p:spPr>
          <a:xfrm>
            <a:off x="8362257" y="1722547"/>
            <a:ext cx="1077686" cy="341846"/>
          </a:xfrm>
          <a:prstGeom prst="rect">
            <a:avLst/>
          </a:prstGeom>
          <a:solidFill>
            <a:schemeClr val="bg1">
              <a:lumMod val="65000"/>
            </a:schemeClr>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pt-BR"/>
              <a:t>Pct 3</a:t>
            </a:r>
          </a:p>
        </p:txBody>
      </p:sp>
      <p:graphicFrame>
        <p:nvGraphicFramePr>
          <p:cNvPr id="42" name="Tabela 41">
            <a:extLst>
              <a:ext uri="{FF2B5EF4-FFF2-40B4-BE49-F238E27FC236}">
                <a16:creationId xmlns:a16="http://schemas.microsoft.com/office/drawing/2014/main" id="{DDBBFB7F-A98A-B5A9-8C2B-6A03C7CE5904}"/>
              </a:ext>
            </a:extLst>
          </p:cNvPr>
          <p:cNvGraphicFramePr>
            <a:graphicFrameLocks noGrp="1"/>
          </p:cNvGraphicFramePr>
          <p:nvPr/>
        </p:nvGraphicFramePr>
        <p:xfrm>
          <a:off x="2222500" y="1568599"/>
          <a:ext cx="1788886" cy="1502432"/>
        </p:xfrm>
        <a:graphic>
          <a:graphicData uri="http://schemas.openxmlformats.org/drawingml/2006/table">
            <a:tbl>
              <a:tblPr firstRow="1" bandRow="1">
                <a:tableStyleId>{5940675A-B579-460E-94D1-54222C63F5DA}</a:tableStyleId>
              </a:tblPr>
              <a:tblGrid>
                <a:gridCol w="1788886">
                  <a:extLst>
                    <a:ext uri="{9D8B030D-6E8A-4147-A177-3AD203B41FA5}">
                      <a16:colId xmlns:a16="http://schemas.microsoft.com/office/drawing/2014/main" val="4227930257"/>
                    </a:ext>
                  </a:extLst>
                </a:gridCol>
              </a:tblGrid>
              <a:tr h="375608">
                <a:tc>
                  <a:txBody>
                    <a:bodyPr/>
                    <a:lstStyle/>
                    <a:p>
                      <a:pPr algn="l"/>
                      <a:r>
                        <a:rPr lang="pt-BR" sz="1600" b="1">
                          <a:solidFill>
                            <a:srgbClr val="FF0000"/>
                          </a:solidFill>
                        </a:rPr>
                        <a:t>___</a:t>
                      </a:r>
                      <a:r>
                        <a:rPr lang="pt-BR" sz="1600" b="0"/>
                        <a:t>VM-dia</a:t>
                      </a:r>
                    </a:p>
                  </a:txBody>
                  <a:tcPr anchor="ctr">
                    <a:solidFill>
                      <a:schemeClr val="bg1"/>
                    </a:solidFill>
                  </a:tcPr>
                </a:tc>
                <a:extLst>
                  <a:ext uri="{0D108BD9-81ED-4DB2-BD59-A6C34878D82A}">
                    <a16:rowId xmlns:a16="http://schemas.microsoft.com/office/drawing/2014/main" val="3621370972"/>
                  </a:ext>
                </a:extLst>
              </a:tr>
              <a:tr h="375608">
                <a:tc>
                  <a:txBody>
                    <a:bodyPr/>
                    <a:lstStyle/>
                    <a:p>
                      <a:pPr algn="l"/>
                      <a:r>
                        <a:rPr lang="pt-BR" sz="1600" b="1">
                          <a:solidFill>
                            <a:srgbClr val="FF0000"/>
                          </a:solidFill>
                        </a:rPr>
                        <a:t>___</a:t>
                      </a:r>
                      <a:r>
                        <a:rPr lang="pt-BR" sz="1600"/>
                        <a:t>CVC-dia</a:t>
                      </a:r>
                    </a:p>
                  </a:txBody>
                  <a:tcPr anchor="ctr">
                    <a:solidFill>
                      <a:schemeClr val="bg1"/>
                    </a:solidFill>
                  </a:tcPr>
                </a:tc>
                <a:extLst>
                  <a:ext uri="{0D108BD9-81ED-4DB2-BD59-A6C34878D82A}">
                    <a16:rowId xmlns:a16="http://schemas.microsoft.com/office/drawing/2014/main" val="4157850081"/>
                  </a:ext>
                </a:extLst>
              </a:tr>
              <a:tr h="375608">
                <a:tc>
                  <a:txBody>
                    <a:bodyPr/>
                    <a:lstStyle/>
                    <a:p>
                      <a:pPr algn="l"/>
                      <a:r>
                        <a:rPr lang="pt-BR" sz="1600" b="1">
                          <a:solidFill>
                            <a:srgbClr val="FF0000"/>
                          </a:solidFill>
                        </a:rPr>
                        <a:t>___</a:t>
                      </a:r>
                      <a:r>
                        <a:rPr lang="pt-BR" sz="1600"/>
                        <a:t>CVD-dia</a:t>
                      </a:r>
                    </a:p>
                  </a:txBody>
                  <a:tcPr anchor="ctr">
                    <a:solidFill>
                      <a:schemeClr val="bg1"/>
                    </a:solidFill>
                  </a:tcPr>
                </a:tc>
                <a:extLst>
                  <a:ext uri="{0D108BD9-81ED-4DB2-BD59-A6C34878D82A}">
                    <a16:rowId xmlns:a16="http://schemas.microsoft.com/office/drawing/2014/main" val="2474836016"/>
                  </a:ext>
                </a:extLst>
              </a:tr>
              <a:tr h="37560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600" b="1">
                          <a:solidFill>
                            <a:srgbClr val="FF0000"/>
                          </a:solidFill>
                        </a:rPr>
                        <a:t>___</a:t>
                      </a:r>
                      <a:r>
                        <a:rPr lang="pt-BR" sz="1600" kern="1200">
                          <a:solidFill>
                            <a:schemeClr val="tx1"/>
                          </a:solidFill>
                          <a:latin typeface="+mn-lt"/>
                          <a:ea typeface="+mn-ea"/>
                          <a:cs typeface="+mn-cs"/>
                        </a:rPr>
                        <a:t>Paciente-dia</a:t>
                      </a:r>
                    </a:p>
                  </a:txBody>
                  <a:tcPr anchor="ctr">
                    <a:solidFill>
                      <a:schemeClr val="bg1"/>
                    </a:solidFill>
                  </a:tcPr>
                </a:tc>
                <a:extLst>
                  <a:ext uri="{0D108BD9-81ED-4DB2-BD59-A6C34878D82A}">
                    <a16:rowId xmlns:a16="http://schemas.microsoft.com/office/drawing/2014/main" val="774657341"/>
                  </a:ext>
                </a:extLst>
              </a:tr>
            </a:tbl>
          </a:graphicData>
        </a:graphic>
      </p:graphicFrame>
      <p:graphicFrame>
        <p:nvGraphicFramePr>
          <p:cNvPr id="51" name="Tabela 50">
            <a:extLst>
              <a:ext uri="{FF2B5EF4-FFF2-40B4-BE49-F238E27FC236}">
                <a16:creationId xmlns:a16="http://schemas.microsoft.com/office/drawing/2014/main" id="{195D1715-1CEE-0EA6-F18B-9A7DDD5F66D1}"/>
              </a:ext>
            </a:extLst>
          </p:cNvPr>
          <p:cNvGraphicFramePr>
            <a:graphicFrameLocks noGrp="1"/>
          </p:cNvGraphicFramePr>
          <p:nvPr/>
        </p:nvGraphicFramePr>
        <p:xfrm>
          <a:off x="6313676" y="1583418"/>
          <a:ext cx="1788886" cy="1502432"/>
        </p:xfrm>
        <a:graphic>
          <a:graphicData uri="http://schemas.openxmlformats.org/drawingml/2006/table">
            <a:tbl>
              <a:tblPr firstRow="1" bandRow="1">
                <a:tableStyleId>{5940675A-B579-460E-94D1-54222C63F5DA}</a:tableStyleId>
              </a:tblPr>
              <a:tblGrid>
                <a:gridCol w="1788886">
                  <a:extLst>
                    <a:ext uri="{9D8B030D-6E8A-4147-A177-3AD203B41FA5}">
                      <a16:colId xmlns:a16="http://schemas.microsoft.com/office/drawing/2014/main" val="4227930257"/>
                    </a:ext>
                  </a:extLst>
                </a:gridCol>
              </a:tblGrid>
              <a:tr h="375608">
                <a:tc>
                  <a:txBody>
                    <a:bodyPr/>
                    <a:lstStyle/>
                    <a:p>
                      <a:pPr algn="l"/>
                      <a:r>
                        <a:rPr lang="pt-BR" sz="1600" b="1">
                          <a:solidFill>
                            <a:srgbClr val="FF0000"/>
                          </a:solidFill>
                        </a:rPr>
                        <a:t>___</a:t>
                      </a:r>
                      <a:r>
                        <a:rPr lang="pt-BR" sz="1600" b="0"/>
                        <a:t>VM-dia</a:t>
                      </a:r>
                    </a:p>
                  </a:txBody>
                  <a:tcPr anchor="ctr">
                    <a:solidFill>
                      <a:schemeClr val="bg1"/>
                    </a:solidFill>
                  </a:tcPr>
                </a:tc>
                <a:extLst>
                  <a:ext uri="{0D108BD9-81ED-4DB2-BD59-A6C34878D82A}">
                    <a16:rowId xmlns:a16="http://schemas.microsoft.com/office/drawing/2014/main" val="3621370972"/>
                  </a:ext>
                </a:extLst>
              </a:tr>
              <a:tr h="375608">
                <a:tc>
                  <a:txBody>
                    <a:bodyPr/>
                    <a:lstStyle/>
                    <a:p>
                      <a:pPr algn="l"/>
                      <a:r>
                        <a:rPr lang="pt-BR" sz="1600" b="1">
                          <a:solidFill>
                            <a:srgbClr val="FF0000"/>
                          </a:solidFill>
                        </a:rPr>
                        <a:t>___</a:t>
                      </a:r>
                      <a:r>
                        <a:rPr lang="pt-BR" sz="1600"/>
                        <a:t>CVC-dia</a:t>
                      </a:r>
                    </a:p>
                  </a:txBody>
                  <a:tcPr anchor="ctr">
                    <a:solidFill>
                      <a:schemeClr val="bg1"/>
                    </a:solidFill>
                  </a:tcPr>
                </a:tc>
                <a:extLst>
                  <a:ext uri="{0D108BD9-81ED-4DB2-BD59-A6C34878D82A}">
                    <a16:rowId xmlns:a16="http://schemas.microsoft.com/office/drawing/2014/main" val="4157850081"/>
                  </a:ext>
                </a:extLst>
              </a:tr>
              <a:tr h="375608">
                <a:tc>
                  <a:txBody>
                    <a:bodyPr/>
                    <a:lstStyle/>
                    <a:p>
                      <a:pPr algn="l"/>
                      <a:r>
                        <a:rPr lang="pt-BR" sz="1600" b="1">
                          <a:solidFill>
                            <a:srgbClr val="FF0000"/>
                          </a:solidFill>
                        </a:rPr>
                        <a:t>___</a:t>
                      </a:r>
                      <a:r>
                        <a:rPr lang="pt-BR" sz="1600"/>
                        <a:t>CVD-dia</a:t>
                      </a:r>
                    </a:p>
                  </a:txBody>
                  <a:tcPr anchor="ctr">
                    <a:solidFill>
                      <a:schemeClr val="bg1"/>
                    </a:solidFill>
                  </a:tcPr>
                </a:tc>
                <a:extLst>
                  <a:ext uri="{0D108BD9-81ED-4DB2-BD59-A6C34878D82A}">
                    <a16:rowId xmlns:a16="http://schemas.microsoft.com/office/drawing/2014/main" val="2474836016"/>
                  </a:ext>
                </a:extLst>
              </a:tr>
              <a:tr h="37560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600" b="1">
                          <a:solidFill>
                            <a:srgbClr val="FF0000"/>
                          </a:solidFill>
                        </a:rPr>
                        <a:t>___</a:t>
                      </a:r>
                      <a:r>
                        <a:rPr lang="pt-BR" sz="1600" kern="1200">
                          <a:solidFill>
                            <a:schemeClr val="tx1"/>
                          </a:solidFill>
                          <a:latin typeface="+mn-lt"/>
                          <a:ea typeface="+mn-ea"/>
                          <a:cs typeface="+mn-cs"/>
                        </a:rPr>
                        <a:t>Paciente-dia</a:t>
                      </a:r>
                    </a:p>
                  </a:txBody>
                  <a:tcPr anchor="ctr">
                    <a:solidFill>
                      <a:schemeClr val="bg1"/>
                    </a:solidFill>
                  </a:tcPr>
                </a:tc>
                <a:extLst>
                  <a:ext uri="{0D108BD9-81ED-4DB2-BD59-A6C34878D82A}">
                    <a16:rowId xmlns:a16="http://schemas.microsoft.com/office/drawing/2014/main" val="774657341"/>
                  </a:ext>
                </a:extLst>
              </a:tr>
            </a:tbl>
          </a:graphicData>
        </a:graphic>
      </p:graphicFrame>
      <p:graphicFrame>
        <p:nvGraphicFramePr>
          <p:cNvPr id="52" name="Tabela 51">
            <a:extLst>
              <a:ext uri="{FF2B5EF4-FFF2-40B4-BE49-F238E27FC236}">
                <a16:creationId xmlns:a16="http://schemas.microsoft.com/office/drawing/2014/main" id="{37E824F1-54EA-98C4-3946-BA66FB94D277}"/>
              </a:ext>
            </a:extLst>
          </p:cNvPr>
          <p:cNvGraphicFramePr>
            <a:graphicFrameLocks noGrp="1"/>
          </p:cNvGraphicFramePr>
          <p:nvPr/>
        </p:nvGraphicFramePr>
        <p:xfrm>
          <a:off x="10340231" y="1590329"/>
          <a:ext cx="1788886" cy="1502432"/>
        </p:xfrm>
        <a:graphic>
          <a:graphicData uri="http://schemas.openxmlformats.org/drawingml/2006/table">
            <a:tbl>
              <a:tblPr firstRow="1" bandRow="1">
                <a:tableStyleId>{5940675A-B579-460E-94D1-54222C63F5DA}</a:tableStyleId>
              </a:tblPr>
              <a:tblGrid>
                <a:gridCol w="1788886">
                  <a:extLst>
                    <a:ext uri="{9D8B030D-6E8A-4147-A177-3AD203B41FA5}">
                      <a16:colId xmlns:a16="http://schemas.microsoft.com/office/drawing/2014/main" val="4227930257"/>
                    </a:ext>
                  </a:extLst>
                </a:gridCol>
              </a:tblGrid>
              <a:tr h="375608">
                <a:tc>
                  <a:txBody>
                    <a:bodyPr/>
                    <a:lstStyle/>
                    <a:p>
                      <a:pPr algn="l"/>
                      <a:r>
                        <a:rPr lang="pt-BR" sz="1600" b="1">
                          <a:solidFill>
                            <a:srgbClr val="FF0000"/>
                          </a:solidFill>
                        </a:rPr>
                        <a:t>___</a:t>
                      </a:r>
                      <a:r>
                        <a:rPr lang="pt-BR" sz="1600" b="0"/>
                        <a:t>VM-dia</a:t>
                      </a:r>
                    </a:p>
                  </a:txBody>
                  <a:tcPr anchor="ctr">
                    <a:solidFill>
                      <a:schemeClr val="bg1"/>
                    </a:solidFill>
                  </a:tcPr>
                </a:tc>
                <a:extLst>
                  <a:ext uri="{0D108BD9-81ED-4DB2-BD59-A6C34878D82A}">
                    <a16:rowId xmlns:a16="http://schemas.microsoft.com/office/drawing/2014/main" val="3621370972"/>
                  </a:ext>
                </a:extLst>
              </a:tr>
              <a:tr h="375608">
                <a:tc>
                  <a:txBody>
                    <a:bodyPr/>
                    <a:lstStyle/>
                    <a:p>
                      <a:pPr algn="l"/>
                      <a:r>
                        <a:rPr lang="pt-BR" sz="1600" b="1">
                          <a:solidFill>
                            <a:srgbClr val="FF0000"/>
                          </a:solidFill>
                        </a:rPr>
                        <a:t>___</a:t>
                      </a:r>
                      <a:r>
                        <a:rPr lang="pt-BR" sz="1600"/>
                        <a:t>CVC-dia</a:t>
                      </a:r>
                    </a:p>
                  </a:txBody>
                  <a:tcPr anchor="ctr">
                    <a:solidFill>
                      <a:schemeClr val="bg1"/>
                    </a:solidFill>
                  </a:tcPr>
                </a:tc>
                <a:extLst>
                  <a:ext uri="{0D108BD9-81ED-4DB2-BD59-A6C34878D82A}">
                    <a16:rowId xmlns:a16="http://schemas.microsoft.com/office/drawing/2014/main" val="4157850081"/>
                  </a:ext>
                </a:extLst>
              </a:tr>
              <a:tr h="375608">
                <a:tc>
                  <a:txBody>
                    <a:bodyPr/>
                    <a:lstStyle/>
                    <a:p>
                      <a:pPr algn="l"/>
                      <a:r>
                        <a:rPr lang="pt-BR" sz="1600" b="1">
                          <a:solidFill>
                            <a:srgbClr val="FF0000"/>
                          </a:solidFill>
                        </a:rPr>
                        <a:t>___</a:t>
                      </a:r>
                      <a:r>
                        <a:rPr lang="pt-BR" sz="1600"/>
                        <a:t>CVD-dia</a:t>
                      </a:r>
                    </a:p>
                  </a:txBody>
                  <a:tcPr anchor="ctr">
                    <a:solidFill>
                      <a:schemeClr val="bg1"/>
                    </a:solidFill>
                  </a:tcPr>
                </a:tc>
                <a:extLst>
                  <a:ext uri="{0D108BD9-81ED-4DB2-BD59-A6C34878D82A}">
                    <a16:rowId xmlns:a16="http://schemas.microsoft.com/office/drawing/2014/main" val="2474836016"/>
                  </a:ext>
                </a:extLst>
              </a:tr>
              <a:tr h="37560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600" b="1">
                          <a:solidFill>
                            <a:srgbClr val="FF0000"/>
                          </a:solidFill>
                        </a:rPr>
                        <a:t>___</a:t>
                      </a:r>
                      <a:r>
                        <a:rPr lang="pt-BR" sz="1600" kern="1200">
                          <a:solidFill>
                            <a:schemeClr val="tx1"/>
                          </a:solidFill>
                          <a:latin typeface="+mn-lt"/>
                          <a:ea typeface="+mn-ea"/>
                          <a:cs typeface="+mn-cs"/>
                        </a:rPr>
                        <a:t>Paciente-dia</a:t>
                      </a:r>
                    </a:p>
                  </a:txBody>
                  <a:tcPr anchor="ctr">
                    <a:solidFill>
                      <a:schemeClr val="bg1"/>
                    </a:solidFill>
                  </a:tcPr>
                </a:tc>
                <a:extLst>
                  <a:ext uri="{0D108BD9-81ED-4DB2-BD59-A6C34878D82A}">
                    <a16:rowId xmlns:a16="http://schemas.microsoft.com/office/drawing/2014/main" val="774657341"/>
                  </a:ext>
                </a:extLst>
              </a:tr>
            </a:tbl>
          </a:graphicData>
        </a:graphic>
      </p:graphicFrame>
      <p:pic>
        <p:nvPicPr>
          <p:cNvPr id="1032" name="Picture 2" descr="Paciente jovem na cama de hospital com conta-gotas | Vetor Premium">
            <a:extLst>
              <a:ext uri="{FF2B5EF4-FFF2-40B4-BE49-F238E27FC236}">
                <a16:creationId xmlns:a16="http://schemas.microsoft.com/office/drawing/2014/main" id="{45C533AF-B674-8879-A576-D5C3312A23A4}"/>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973591" y="3875531"/>
            <a:ext cx="2459366" cy="1846489"/>
          </a:xfrm>
          <a:prstGeom prst="rect">
            <a:avLst/>
          </a:prstGeom>
          <a:noFill/>
          <a:extLst>
            <a:ext uri="{909E8E84-426E-40DD-AFC4-6F175D3DCCD1}">
              <a14:hiddenFill xmlns:a14="http://schemas.microsoft.com/office/drawing/2010/main">
                <a:solidFill>
                  <a:srgbClr val="FFFFFF"/>
                </a:solidFill>
              </a14:hiddenFill>
            </a:ext>
          </a:extLst>
        </p:spPr>
      </p:pic>
      <p:pic>
        <p:nvPicPr>
          <p:cNvPr id="1033" name="Picture 2" descr="Paciente jovem na cama de hospital com conta-gotas | Vetor Premium">
            <a:extLst>
              <a:ext uri="{FF2B5EF4-FFF2-40B4-BE49-F238E27FC236}">
                <a16:creationId xmlns:a16="http://schemas.microsoft.com/office/drawing/2014/main" id="{45D6B678-635E-41B7-7F14-B0BA7CC3758B}"/>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023077" y="3875531"/>
            <a:ext cx="2459366" cy="1846489"/>
          </a:xfrm>
          <a:prstGeom prst="rect">
            <a:avLst/>
          </a:prstGeom>
          <a:noFill/>
          <a:extLst>
            <a:ext uri="{909E8E84-426E-40DD-AFC4-6F175D3DCCD1}">
              <a14:hiddenFill xmlns:a14="http://schemas.microsoft.com/office/drawing/2010/main">
                <a:solidFill>
                  <a:srgbClr val="FFFFFF"/>
                </a:solidFill>
              </a14:hiddenFill>
            </a:ext>
          </a:extLst>
        </p:spPr>
      </p:pic>
      <p:sp>
        <p:nvSpPr>
          <p:cNvPr id="1035" name="Retângulo 1034">
            <a:extLst>
              <a:ext uri="{FF2B5EF4-FFF2-40B4-BE49-F238E27FC236}">
                <a16:creationId xmlns:a16="http://schemas.microsoft.com/office/drawing/2014/main" id="{E9638A43-F777-9D4B-C1EF-58DEB5926201}"/>
              </a:ext>
            </a:extLst>
          </p:cNvPr>
          <p:cNvSpPr/>
          <p:nvPr/>
        </p:nvSpPr>
        <p:spPr>
          <a:xfrm>
            <a:off x="2256217" y="4177722"/>
            <a:ext cx="1077686" cy="341846"/>
          </a:xfrm>
          <a:prstGeom prst="rect">
            <a:avLst/>
          </a:prstGeom>
          <a:solidFill>
            <a:schemeClr val="bg1">
              <a:lumMod val="65000"/>
            </a:schemeClr>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pt-BR"/>
              <a:t>Pct 4</a:t>
            </a:r>
          </a:p>
        </p:txBody>
      </p:sp>
      <p:sp>
        <p:nvSpPr>
          <p:cNvPr id="1036" name="Retângulo 1035">
            <a:extLst>
              <a:ext uri="{FF2B5EF4-FFF2-40B4-BE49-F238E27FC236}">
                <a16:creationId xmlns:a16="http://schemas.microsoft.com/office/drawing/2014/main" id="{852C8FD0-8A55-24CD-6C98-A65582FC84C3}"/>
              </a:ext>
            </a:extLst>
          </p:cNvPr>
          <p:cNvSpPr/>
          <p:nvPr/>
        </p:nvSpPr>
        <p:spPr>
          <a:xfrm>
            <a:off x="6294817" y="4224004"/>
            <a:ext cx="1077686" cy="341846"/>
          </a:xfrm>
          <a:prstGeom prst="rect">
            <a:avLst/>
          </a:prstGeom>
          <a:solidFill>
            <a:schemeClr val="bg1">
              <a:lumMod val="65000"/>
            </a:schemeClr>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pt-BR"/>
              <a:t>Pct 5</a:t>
            </a:r>
          </a:p>
        </p:txBody>
      </p:sp>
      <p:graphicFrame>
        <p:nvGraphicFramePr>
          <p:cNvPr id="1038" name="Tabela 1037">
            <a:extLst>
              <a:ext uri="{FF2B5EF4-FFF2-40B4-BE49-F238E27FC236}">
                <a16:creationId xmlns:a16="http://schemas.microsoft.com/office/drawing/2014/main" id="{24BDE4DB-571C-B2A9-A9C8-D206AF8E014B}"/>
              </a:ext>
            </a:extLst>
          </p:cNvPr>
          <p:cNvGraphicFramePr>
            <a:graphicFrameLocks noGrp="1"/>
          </p:cNvGraphicFramePr>
          <p:nvPr/>
        </p:nvGraphicFramePr>
        <p:xfrm>
          <a:off x="4234191" y="4032740"/>
          <a:ext cx="1788886" cy="1502432"/>
        </p:xfrm>
        <a:graphic>
          <a:graphicData uri="http://schemas.openxmlformats.org/drawingml/2006/table">
            <a:tbl>
              <a:tblPr firstRow="1" bandRow="1">
                <a:tableStyleId>{5940675A-B579-460E-94D1-54222C63F5DA}</a:tableStyleId>
              </a:tblPr>
              <a:tblGrid>
                <a:gridCol w="1788886">
                  <a:extLst>
                    <a:ext uri="{9D8B030D-6E8A-4147-A177-3AD203B41FA5}">
                      <a16:colId xmlns:a16="http://schemas.microsoft.com/office/drawing/2014/main" val="4227930257"/>
                    </a:ext>
                  </a:extLst>
                </a:gridCol>
              </a:tblGrid>
              <a:tr h="375608">
                <a:tc>
                  <a:txBody>
                    <a:bodyPr/>
                    <a:lstStyle/>
                    <a:p>
                      <a:pPr algn="l"/>
                      <a:r>
                        <a:rPr lang="pt-BR" sz="1600" b="1">
                          <a:solidFill>
                            <a:srgbClr val="FF0000"/>
                          </a:solidFill>
                        </a:rPr>
                        <a:t>___</a:t>
                      </a:r>
                      <a:r>
                        <a:rPr lang="pt-BR" sz="1600" b="0"/>
                        <a:t>VM-dia</a:t>
                      </a:r>
                    </a:p>
                  </a:txBody>
                  <a:tcPr anchor="ctr">
                    <a:solidFill>
                      <a:schemeClr val="bg1"/>
                    </a:solidFill>
                  </a:tcPr>
                </a:tc>
                <a:extLst>
                  <a:ext uri="{0D108BD9-81ED-4DB2-BD59-A6C34878D82A}">
                    <a16:rowId xmlns:a16="http://schemas.microsoft.com/office/drawing/2014/main" val="3621370972"/>
                  </a:ext>
                </a:extLst>
              </a:tr>
              <a:tr h="375608">
                <a:tc>
                  <a:txBody>
                    <a:bodyPr/>
                    <a:lstStyle/>
                    <a:p>
                      <a:pPr algn="l"/>
                      <a:r>
                        <a:rPr lang="pt-BR" sz="1600" b="1">
                          <a:solidFill>
                            <a:srgbClr val="FF0000"/>
                          </a:solidFill>
                        </a:rPr>
                        <a:t>___</a:t>
                      </a:r>
                      <a:r>
                        <a:rPr lang="pt-BR" sz="1600"/>
                        <a:t>CVC-dia</a:t>
                      </a:r>
                    </a:p>
                  </a:txBody>
                  <a:tcPr anchor="ctr">
                    <a:solidFill>
                      <a:schemeClr val="bg1"/>
                    </a:solidFill>
                  </a:tcPr>
                </a:tc>
                <a:extLst>
                  <a:ext uri="{0D108BD9-81ED-4DB2-BD59-A6C34878D82A}">
                    <a16:rowId xmlns:a16="http://schemas.microsoft.com/office/drawing/2014/main" val="4157850081"/>
                  </a:ext>
                </a:extLst>
              </a:tr>
              <a:tr h="375608">
                <a:tc>
                  <a:txBody>
                    <a:bodyPr/>
                    <a:lstStyle/>
                    <a:p>
                      <a:pPr algn="l"/>
                      <a:r>
                        <a:rPr lang="pt-BR" sz="1600" b="1">
                          <a:solidFill>
                            <a:srgbClr val="FF0000"/>
                          </a:solidFill>
                        </a:rPr>
                        <a:t>___</a:t>
                      </a:r>
                      <a:r>
                        <a:rPr lang="pt-BR" sz="1600"/>
                        <a:t>CVD-dia</a:t>
                      </a:r>
                    </a:p>
                  </a:txBody>
                  <a:tcPr anchor="ctr">
                    <a:solidFill>
                      <a:schemeClr val="bg1"/>
                    </a:solidFill>
                  </a:tcPr>
                </a:tc>
                <a:extLst>
                  <a:ext uri="{0D108BD9-81ED-4DB2-BD59-A6C34878D82A}">
                    <a16:rowId xmlns:a16="http://schemas.microsoft.com/office/drawing/2014/main" val="2474836016"/>
                  </a:ext>
                </a:extLst>
              </a:tr>
              <a:tr h="37560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600" b="1">
                          <a:solidFill>
                            <a:srgbClr val="FF0000"/>
                          </a:solidFill>
                        </a:rPr>
                        <a:t>___</a:t>
                      </a:r>
                      <a:r>
                        <a:rPr lang="pt-BR" sz="1600" kern="1200">
                          <a:solidFill>
                            <a:schemeClr val="tx1"/>
                          </a:solidFill>
                          <a:latin typeface="+mn-lt"/>
                          <a:ea typeface="+mn-ea"/>
                          <a:cs typeface="+mn-cs"/>
                        </a:rPr>
                        <a:t>Paciente-dia</a:t>
                      </a:r>
                    </a:p>
                  </a:txBody>
                  <a:tcPr anchor="ctr">
                    <a:solidFill>
                      <a:schemeClr val="bg1"/>
                    </a:solidFill>
                  </a:tcPr>
                </a:tc>
                <a:extLst>
                  <a:ext uri="{0D108BD9-81ED-4DB2-BD59-A6C34878D82A}">
                    <a16:rowId xmlns:a16="http://schemas.microsoft.com/office/drawing/2014/main" val="774657341"/>
                  </a:ext>
                </a:extLst>
              </a:tr>
            </a:tbl>
          </a:graphicData>
        </a:graphic>
      </p:graphicFrame>
      <p:graphicFrame>
        <p:nvGraphicFramePr>
          <p:cNvPr id="1039" name="Tabela 1038">
            <a:extLst>
              <a:ext uri="{FF2B5EF4-FFF2-40B4-BE49-F238E27FC236}">
                <a16:creationId xmlns:a16="http://schemas.microsoft.com/office/drawing/2014/main" id="{01715B23-0266-C264-77D8-4C647A27896F}"/>
              </a:ext>
            </a:extLst>
          </p:cNvPr>
          <p:cNvGraphicFramePr>
            <a:graphicFrameLocks noGrp="1"/>
          </p:cNvGraphicFramePr>
          <p:nvPr/>
        </p:nvGraphicFramePr>
        <p:xfrm>
          <a:off x="8283677" y="4047559"/>
          <a:ext cx="1788886" cy="1502432"/>
        </p:xfrm>
        <a:graphic>
          <a:graphicData uri="http://schemas.openxmlformats.org/drawingml/2006/table">
            <a:tbl>
              <a:tblPr firstRow="1" bandRow="1">
                <a:tableStyleId>{5940675A-B579-460E-94D1-54222C63F5DA}</a:tableStyleId>
              </a:tblPr>
              <a:tblGrid>
                <a:gridCol w="1788886">
                  <a:extLst>
                    <a:ext uri="{9D8B030D-6E8A-4147-A177-3AD203B41FA5}">
                      <a16:colId xmlns:a16="http://schemas.microsoft.com/office/drawing/2014/main" val="4227930257"/>
                    </a:ext>
                  </a:extLst>
                </a:gridCol>
              </a:tblGrid>
              <a:tr h="375608">
                <a:tc>
                  <a:txBody>
                    <a:bodyPr/>
                    <a:lstStyle/>
                    <a:p>
                      <a:pPr algn="l"/>
                      <a:r>
                        <a:rPr lang="pt-BR" sz="1600" b="1">
                          <a:solidFill>
                            <a:srgbClr val="FF0000"/>
                          </a:solidFill>
                        </a:rPr>
                        <a:t>___</a:t>
                      </a:r>
                      <a:r>
                        <a:rPr lang="pt-BR" sz="1600" b="0"/>
                        <a:t>VM-dia</a:t>
                      </a:r>
                    </a:p>
                  </a:txBody>
                  <a:tcPr anchor="ctr">
                    <a:solidFill>
                      <a:schemeClr val="bg1"/>
                    </a:solidFill>
                  </a:tcPr>
                </a:tc>
                <a:extLst>
                  <a:ext uri="{0D108BD9-81ED-4DB2-BD59-A6C34878D82A}">
                    <a16:rowId xmlns:a16="http://schemas.microsoft.com/office/drawing/2014/main" val="3621370972"/>
                  </a:ext>
                </a:extLst>
              </a:tr>
              <a:tr h="375608">
                <a:tc>
                  <a:txBody>
                    <a:bodyPr/>
                    <a:lstStyle/>
                    <a:p>
                      <a:pPr algn="l"/>
                      <a:r>
                        <a:rPr lang="pt-BR" sz="1600" b="1">
                          <a:solidFill>
                            <a:srgbClr val="FF0000"/>
                          </a:solidFill>
                        </a:rPr>
                        <a:t>___</a:t>
                      </a:r>
                      <a:r>
                        <a:rPr lang="pt-BR" sz="1600"/>
                        <a:t>CVC-dia</a:t>
                      </a:r>
                    </a:p>
                  </a:txBody>
                  <a:tcPr anchor="ctr">
                    <a:solidFill>
                      <a:schemeClr val="bg1"/>
                    </a:solidFill>
                  </a:tcPr>
                </a:tc>
                <a:extLst>
                  <a:ext uri="{0D108BD9-81ED-4DB2-BD59-A6C34878D82A}">
                    <a16:rowId xmlns:a16="http://schemas.microsoft.com/office/drawing/2014/main" val="4157850081"/>
                  </a:ext>
                </a:extLst>
              </a:tr>
              <a:tr h="375608">
                <a:tc>
                  <a:txBody>
                    <a:bodyPr/>
                    <a:lstStyle/>
                    <a:p>
                      <a:pPr algn="l"/>
                      <a:r>
                        <a:rPr lang="pt-BR" sz="1600" b="1">
                          <a:solidFill>
                            <a:srgbClr val="FF0000"/>
                          </a:solidFill>
                        </a:rPr>
                        <a:t>___</a:t>
                      </a:r>
                      <a:r>
                        <a:rPr lang="pt-BR" sz="1600"/>
                        <a:t>CVD-dia</a:t>
                      </a:r>
                    </a:p>
                  </a:txBody>
                  <a:tcPr anchor="ctr">
                    <a:solidFill>
                      <a:schemeClr val="bg1"/>
                    </a:solidFill>
                  </a:tcPr>
                </a:tc>
                <a:extLst>
                  <a:ext uri="{0D108BD9-81ED-4DB2-BD59-A6C34878D82A}">
                    <a16:rowId xmlns:a16="http://schemas.microsoft.com/office/drawing/2014/main" val="2474836016"/>
                  </a:ext>
                </a:extLst>
              </a:tr>
              <a:tr h="37560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600" b="1">
                          <a:solidFill>
                            <a:srgbClr val="FF0000"/>
                          </a:solidFill>
                        </a:rPr>
                        <a:t>___</a:t>
                      </a:r>
                      <a:r>
                        <a:rPr lang="pt-BR" sz="1600" kern="1200">
                          <a:solidFill>
                            <a:schemeClr val="tx1"/>
                          </a:solidFill>
                          <a:latin typeface="+mn-lt"/>
                          <a:ea typeface="+mn-ea"/>
                          <a:cs typeface="+mn-cs"/>
                        </a:rPr>
                        <a:t>Paciente-dia</a:t>
                      </a:r>
                    </a:p>
                  </a:txBody>
                  <a:tcPr anchor="ctr">
                    <a:solidFill>
                      <a:schemeClr val="bg1"/>
                    </a:solidFill>
                  </a:tcPr>
                </a:tc>
                <a:extLst>
                  <a:ext uri="{0D108BD9-81ED-4DB2-BD59-A6C34878D82A}">
                    <a16:rowId xmlns:a16="http://schemas.microsoft.com/office/drawing/2014/main" val="774657341"/>
                  </a:ext>
                </a:extLst>
              </a:tr>
            </a:tbl>
          </a:graphicData>
        </a:graphic>
      </p:graphicFrame>
      <p:graphicFrame>
        <p:nvGraphicFramePr>
          <p:cNvPr id="6" name="Tabela 5">
            <a:extLst>
              <a:ext uri="{FF2B5EF4-FFF2-40B4-BE49-F238E27FC236}">
                <a16:creationId xmlns:a16="http://schemas.microsoft.com/office/drawing/2014/main" id="{C59D00D4-C54F-E53C-AC97-4FBA5275E866}"/>
              </a:ext>
            </a:extLst>
          </p:cNvPr>
          <p:cNvGraphicFramePr>
            <a:graphicFrameLocks noGrp="1"/>
          </p:cNvGraphicFramePr>
          <p:nvPr>
            <p:extLst>
              <p:ext uri="{D42A27DB-BD31-4B8C-83A1-F6EECF244321}">
                <p14:modId xmlns:p14="http://schemas.microsoft.com/office/powerpoint/2010/main" val="412702790"/>
              </p:ext>
            </p:extLst>
          </p:nvPr>
        </p:nvGraphicFramePr>
        <p:xfrm>
          <a:off x="2219627" y="1568599"/>
          <a:ext cx="1949778" cy="1502432"/>
        </p:xfrm>
        <a:graphic>
          <a:graphicData uri="http://schemas.openxmlformats.org/drawingml/2006/table">
            <a:tbl>
              <a:tblPr firstRow="1" bandRow="1">
                <a:tableStyleId>{5940675A-B579-460E-94D1-54222C63F5DA}</a:tableStyleId>
              </a:tblPr>
              <a:tblGrid>
                <a:gridCol w="1949778">
                  <a:extLst>
                    <a:ext uri="{9D8B030D-6E8A-4147-A177-3AD203B41FA5}">
                      <a16:colId xmlns:a16="http://schemas.microsoft.com/office/drawing/2014/main" val="4227930257"/>
                    </a:ext>
                  </a:extLst>
                </a:gridCol>
              </a:tblGrid>
              <a:tr h="375608">
                <a:tc>
                  <a:txBody>
                    <a:bodyPr/>
                    <a:lstStyle/>
                    <a:p>
                      <a:pPr algn="l"/>
                      <a:r>
                        <a:rPr lang="pt-BR" sz="1600" b="1" dirty="0">
                          <a:solidFill>
                            <a:srgbClr val="FF0000"/>
                          </a:solidFill>
                        </a:rPr>
                        <a:t>1 </a:t>
                      </a:r>
                      <a:r>
                        <a:rPr lang="pt-BR" sz="1600" b="0" dirty="0"/>
                        <a:t>VM-dia</a:t>
                      </a:r>
                    </a:p>
                  </a:txBody>
                  <a:tcPr anchor="ctr">
                    <a:solidFill>
                      <a:schemeClr val="bg1"/>
                    </a:solidFill>
                  </a:tcPr>
                </a:tc>
                <a:extLst>
                  <a:ext uri="{0D108BD9-81ED-4DB2-BD59-A6C34878D82A}">
                    <a16:rowId xmlns:a16="http://schemas.microsoft.com/office/drawing/2014/main" val="3621370972"/>
                  </a:ext>
                </a:extLst>
              </a:tr>
              <a:tr h="375608">
                <a:tc>
                  <a:txBody>
                    <a:bodyPr/>
                    <a:lstStyle/>
                    <a:p>
                      <a:pPr algn="l"/>
                      <a:r>
                        <a:rPr lang="pt-BR" sz="1600" b="1" dirty="0">
                          <a:solidFill>
                            <a:srgbClr val="FF0000"/>
                          </a:solidFill>
                        </a:rPr>
                        <a:t>0 </a:t>
                      </a:r>
                      <a:r>
                        <a:rPr lang="pt-BR" sz="1600" dirty="0"/>
                        <a:t>CVC-dia</a:t>
                      </a:r>
                    </a:p>
                  </a:txBody>
                  <a:tcPr anchor="ctr">
                    <a:solidFill>
                      <a:schemeClr val="bg1"/>
                    </a:solidFill>
                  </a:tcPr>
                </a:tc>
                <a:extLst>
                  <a:ext uri="{0D108BD9-81ED-4DB2-BD59-A6C34878D82A}">
                    <a16:rowId xmlns:a16="http://schemas.microsoft.com/office/drawing/2014/main" val="4157850081"/>
                  </a:ext>
                </a:extLst>
              </a:tr>
              <a:tr h="375608">
                <a:tc>
                  <a:txBody>
                    <a:bodyPr/>
                    <a:lstStyle/>
                    <a:p>
                      <a:pPr algn="l"/>
                      <a:r>
                        <a:rPr lang="pt-BR" sz="1600" b="1">
                          <a:solidFill>
                            <a:srgbClr val="FF0000"/>
                          </a:solidFill>
                        </a:rPr>
                        <a:t>1 </a:t>
                      </a:r>
                      <a:r>
                        <a:rPr lang="pt-BR" sz="1600"/>
                        <a:t>CVD-dia</a:t>
                      </a:r>
                    </a:p>
                  </a:txBody>
                  <a:tcPr anchor="ctr">
                    <a:solidFill>
                      <a:schemeClr val="bg1"/>
                    </a:solidFill>
                  </a:tcPr>
                </a:tc>
                <a:extLst>
                  <a:ext uri="{0D108BD9-81ED-4DB2-BD59-A6C34878D82A}">
                    <a16:rowId xmlns:a16="http://schemas.microsoft.com/office/drawing/2014/main" val="2474836016"/>
                  </a:ext>
                </a:extLst>
              </a:tr>
              <a:tr h="37560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600" b="1" kern="1200" dirty="0">
                          <a:solidFill>
                            <a:srgbClr val="FF0000"/>
                          </a:solidFill>
                          <a:latin typeface="+mn-lt"/>
                          <a:ea typeface="+mn-ea"/>
                          <a:cs typeface="+mn-cs"/>
                        </a:rPr>
                        <a:t>0 </a:t>
                      </a:r>
                      <a:r>
                        <a:rPr lang="pt-BR" sz="1600" kern="1200" dirty="0">
                          <a:solidFill>
                            <a:schemeClr val="tx1"/>
                          </a:solidFill>
                          <a:latin typeface="+mn-lt"/>
                          <a:ea typeface="+mn-ea"/>
                          <a:cs typeface="+mn-cs"/>
                        </a:rPr>
                        <a:t>Paciente-dia</a:t>
                      </a:r>
                    </a:p>
                  </a:txBody>
                  <a:tcPr anchor="ctr">
                    <a:solidFill>
                      <a:schemeClr val="bg1"/>
                    </a:solidFill>
                  </a:tcPr>
                </a:tc>
                <a:extLst>
                  <a:ext uri="{0D108BD9-81ED-4DB2-BD59-A6C34878D82A}">
                    <a16:rowId xmlns:a16="http://schemas.microsoft.com/office/drawing/2014/main" val="774657341"/>
                  </a:ext>
                </a:extLst>
              </a:tr>
            </a:tbl>
          </a:graphicData>
        </a:graphic>
      </p:graphicFrame>
    </p:spTree>
    <p:extLst>
      <p:ext uri="{BB962C8B-B14F-4D97-AF65-F5344CB8AC3E}">
        <p14:creationId xmlns:p14="http://schemas.microsoft.com/office/powerpoint/2010/main" val="11746364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7" presetClass="entr" presetSubtype="1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300" fill="hold"/>
                                        <p:tgtEl>
                                          <p:spTgt spid="6"/>
                                        </p:tgtEl>
                                        <p:attrNameLst>
                                          <p:attrName>ppt_w</p:attrName>
                                        </p:attrNameLst>
                                      </p:cBhvr>
                                      <p:tavLst>
                                        <p:tav tm="0">
                                          <p:val>
                                            <p:fltVal val="0"/>
                                          </p:val>
                                        </p:tav>
                                        <p:tav tm="100000">
                                          <p:val>
                                            <p:strVal val="#ppt_w"/>
                                          </p:val>
                                        </p:tav>
                                      </p:tavLst>
                                    </p:anim>
                                    <p:anim calcmode="lin" valueType="num">
                                      <p:cBhvr>
                                        <p:cTn id="8" dur="300" fill="hold"/>
                                        <p:tgtEl>
                                          <p:spTgt spid="6"/>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B1C0A2-1E1B-1532-9E69-F41AE0EAAA11}"/>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63CF4E0C-0B00-65DD-6D72-5096ABCE46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8" progId="TCLayout.ActiveDocument.1">
                  <p:embed/>
                </p:oleObj>
              </mc:Choice>
              <mc:Fallback>
                <p:oleObj name="think-cell Slide" r:id="rId4" imgW="306" imgH="308" progId="TCLayout.ActiveDocument.1">
                  <p:embed/>
                  <p:pic>
                    <p:nvPicPr>
                      <p:cNvPr id="12" name="think-cell data - do not delete" hidden="1">
                        <a:extLst>
                          <a:ext uri="{FF2B5EF4-FFF2-40B4-BE49-F238E27FC236}">
                            <a16:creationId xmlns:a16="http://schemas.microsoft.com/office/drawing/2014/main" id="{63CF4E0C-0B00-65DD-6D72-5096ABCE46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3" name="Group 12">
            <a:extLst>
              <a:ext uri="{FF2B5EF4-FFF2-40B4-BE49-F238E27FC236}">
                <a16:creationId xmlns:a16="http://schemas.microsoft.com/office/drawing/2014/main" id="{EFCE059F-BE53-FFE6-B8E4-3F1DDDC9E6C4}"/>
              </a:ext>
            </a:extLst>
          </p:cNvPr>
          <p:cNvGrpSpPr/>
          <p:nvPr/>
        </p:nvGrpSpPr>
        <p:grpSpPr>
          <a:xfrm>
            <a:off x="304800" y="249455"/>
            <a:ext cx="1193800" cy="462985"/>
            <a:chOff x="5245100" y="211355"/>
            <a:chExt cx="2036664" cy="789869"/>
          </a:xfrm>
        </p:grpSpPr>
        <p:sp>
          <p:nvSpPr>
            <p:cNvPr id="14" name="Freeform: Shape 13">
              <a:extLst>
                <a:ext uri="{FF2B5EF4-FFF2-40B4-BE49-F238E27FC236}">
                  <a16:creationId xmlns:a16="http://schemas.microsoft.com/office/drawing/2014/main" id="{D690BCDC-60EC-4FB9-762E-3F8F81BF69AD}"/>
                </a:ext>
              </a:extLst>
            </p:cNvPr>
            <p:cNvSpPr/>
            <p:nvPr/>
          </p:nvSpPr>
          <p:spPr>
            <a:xfrm>
              <a:off x="5245100" y="308520"/>
              <a:ext cx="247894" cy="322815"/>
            </a:xfrm>
            <a:custGeom>
              <a:avLst/>
              <a:gdLst>
                <a:gd name="connsiteX0" fmla="*/ 529590 w 986123"/>
                <a:gd name="connsiteY0" fmla="*/ 1284160 h 1284160"/>
                <a:gd name="connsiteX1" fmla="*/ 249650 w 986123"/>
                <a:gd name="connsiteY1" fmla="*/ 1235107 h 1284160"/>
                <a:gd name="connsiteX2" fmla="*/ 0 w 986123"/>
                <a:gd name="connsiteY2" fmla="*/ 1084421 h 1284160"/>
                <a:gd name="connsiteX3" fmla="*/ 162306 w 986123"/>
                <a:gd name="connsiteY3" fmla="*/ 890016 h 1284160"/>
                <a:gd name="connsiteX4" fmla="*/ 337947 w 986123"/>
                <a:gd name="connsiteY4" fmla="*/ 1000601 h 1284160"/>
                <a:gd name="connsiteX5" fmla="*/ 535019 w 986123"/>
                <a:gd name="connsiteY5" fmla="*/ 1041654 h 1284160"/>
                <a:gd name="connsiteX6" fmla="*/ 667893 w 986123"/>
                <a:gd name="connsiteY6" fmla="*/ 1010412 h 1284160"/>
                <a:gd name="connsiteX7" fmla="*/ 715137 w 986123"/>
                <a:gd name="connsiteY7" fmla="*/ 923925 h 1284160"/>
                <a:gd name="connsiteX8" fmla="*/ 715137 w 986123"/>
                <a:gd name="connsiteY8" fmla="*/ 920305 h 1284160"/>
                <a:gd name="connsiteX9" fmla="*/ 705326 w 986123"/>
                <a:gd name="connsiteY9" fmla="*/ 873062 h 1284160"/>
                <a:gd name="connsiteX10" fmla="*/ 667798 w 986123"/>
                <a:gd name="connsiteY10" fmla="*/ 834676 h 1284160"/>
                <a:gd name="connsiteX11" fmla="*/ 590931 w 986123"/>
                <a:gd name="connsiteY11" fmla="*/ 798957 h 1284160"/>
                <a:gd name="connsiteX12" fmla="*/ 463106 w 986123"/>
                <a:gd name="connsiteY12" fmla="*/ 761524 h 1284160"/>
                <a:gd name="connsiteX13" fmla="*/ 291465 w 986123"/>
                <a:gd name="connsiteY13" fmla="*/ 709803 h 1284160"/>
                <a:gd name="connsiteX14" fmla="*/ 160973 w 986123"/>
                <a:gd name="connsiteY14" fmla="*/ 639318 h 1284160"/>
                <a:gd name="connsiteX15" fmla="*/ 77819 w 986123"/>
                <a:gd name="connsiteY15" fmla="*/ 535019 h 1284160"/>
                <a:gd name="connsiteX16" fmla="*/ 48292 w 986123"/>
                <a:gd name="connsiteY16" fmla="*/ 379857 h 1284160"/>
                <a:gd name="connsiteX17" fmla="*/ 48292 w 986123"/>
                <a:gd name="connsiteY17" fmla="*/ 376238 h 1284160"/>
                <a:gd name="connsiteX18" fmla="*/ 80201 w 986123"/>
                <a:gd name="connsiteY18" fmla="*/ 222028 h 1284160"/>
                <a:gd name="connsiteX19" fmla="*/ 169640 w 986123"/>
                <a:gd name="connsiteY19" fmla="*/ 103441 h 1284160"/>
                <a:gd name="connsiteX20" fmla="*/ 307181 w 986123"/>
                <a:gd name="connsiteY20" fmla="*/ 26765 h 1284160"/>
                <a:gd name="connsiteX21" fmla="*/ 483394 w 986123"/>
                <a:gd name="connsiteY21" fmla="*/ 0 h 1284160"/>
                <a:gd name="connsiteX22" fmla="*/ 735711 w 986123"/>
                <a:gd name="connsiteY22" fmla="*/ 41053 h 1284160"/>
                <a:gd name="connsiteX23" fmla="*/ 946976 w 986123"/>
                <a:gd name="connsiteY23" fmla="*/ 158687 h 1284160"/>
                <a:gd name="connsiteX24" fmla="*/ 804291 w 986123"/>
                <a:gd name="connsiteY24" fmla="*/ 365569 h 1284160"/>
                <a:gd name="connsiteX25" fmla="*/ 640271 w 986123"/>
                <a:gd name="connsiteY25" fmla="*/ 275558 h 1284160"/>
                <a:gd name="connsiteX26" fmla="*/ 479774 w 986123"/>
                <a:gd name="connsiteY26" fmla="*/ 242602 h 1284160"/>
                <a:gd name="connsiteX27" fmla="*/ 359378 w 986123"/>
                <a:gd name="connsiteY27" fmla="*/ 273844 h 1284160"/>
                <a:gd name="connsiteX28" fmla="*/ 319278 w 986123"/>
                <a:gd name="connsiteY28" fmla="*/ 351377 h 1284160"/>
                <a:gd name="connsiteX29" fmla="*/ 319278 w 986123"/>
                <a:gd name="connsiteY29" fmla="*/ 354997 h 1284160"/>
                <a:gd name="connsiteX30" fmla="*/ 330899 w 986123"/>
                <a:gd name="connsiteY30" fmla="*/ 407575 h 1284160"/>
                <a:gd name="connsiteX31" fmla="*/ 372904 w 986123"/>
                <a:gd name="connsiteY31" fmla="*/ 447675 h 1284160"/>
                <a:gd name="connsiteX32" fmla="*/ 456057 w 986123"/>
                <a:gd name="connsiteY32" fmla="*/ 481489 h 1284160"/>
                <a:gd name="connsiteX33" fmla="*/ 589217 w 986123"/>
                <a:gd name="connsiteY33" fmla="*/ 518922 h 1284160"/>
                <a:gd name="connsiteX34" fmla="*/ 758190 w 986123"/>
                <a:gd name="connsiteY34" fmla="*/ 575120 h 1284160"/>
                <a:gd name="connsiteX35" fmla="*/ 883349 w 986123"/>
                <a:gd name="connsiteY35" fmla="*/ 649986 h 1284160"/>
                <a:gd name="connsiteX36" fmla="*/ 960215 w 986123"/>
                <a:gd name="connsiteY36" fmla="*/ 752570 h 1284160"/>
                <a:gd name="connsiteX37" fmla="*/ 986123 w 986123"/>
                <a:gd name="connsiteY37" fmla="*/ 893445 h 1284160"/>
                <a:gd name="connsiteX38" fmla="*/ 986123 w 986123"/>
                <a:gd name="connsiteY38" fmla="*/ 897064 h 1284160"/>
                <a:gd name="connsiteX39" fmla="*/ 952500 w 986123"/>
                <a:gd name="connsiteY39" fmla="*/ 1062038 h 1284160"/>
                <a:gd name="connsiteX40" fmla="*/ 858584 w 986123"/>
                <a:gd name="connsiteY40" fmla="*/ 1183291 h 1284160"/>
                <a:gd name="connsiteX41" fmla="*/ 714851 w 986123"/>
                <a:gd name="connsiteY41" fmla="*/ 1258157 h 1284160"/>
                <a:gd name="connsiteX42" fmla="*/ 529685 w 986123"/>
                <a:gd name="connsiteY42" fmla="*/ 1284065 h 128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6123" h="1284160">
                  <a:moveTo>
                    <a:pt x="529590" y="1284160"/>
                  </a:moveTo>
                  <a:cubicBezTo>
                    <a:pt x="434435" y="1284160"/>
                    <a:pt x="341186" y="1267777"/>
                    <a:pt x="249650" y="1235107"/>
                  </a:cubicBezTo>
                  <a:cubicBezTo>
                    <a:pt x="158115" y="1202436"/>
                    <a:pt x="74867" y="1152239"/>
                    <a:pt x="0" y="1084421"/>
                  </a:cubicBezTo>
                  <a:lnTo>
                    <a:pt x="162306" y="890016"/>
                  </a:lnTo>
                  <a:cubicBezTo>
                    <a:pt x="219361" y="936403"/>
                    <a:pt x="277844" y="973264"/>
                    <a:pt x="337947" y="1000601"/>
                  </a:cubicBezTo>
                  <a:cubicBezTo>
                    <a:pt x="397955" y="1027938"/>
                    <a:pt x="463677" y="1041654"/>
                    <a:pt x="535019" y="1041654"/>
                  </a:cubicBezTo>
                  <a:cubicBezTo>
                    <a:pt x="592074" y="1041654"/>
                    <a:pt x="636365" y="1031272"/>
                    <a:pt x="667893" y="1010412"/>
                  </a:cubicBezTo>
                  <a:cubicBezTo>
                    <a:pt x="699421" y="989647"/>
                    <a:pt x="715137" y="960787"/>
                    <a:pt x="715137" y="923925"/>
                  </a:cubicBezTo>
                  <a:lnTo>
                    <a:pt x="715137" y="920305"/>
                  </a:lnTo>
                  <a:cubicBezTo>
                    <a:pt x="715137" y="902494"/>
                    <a:pt x="711803" y="886777"/>
                    <a:pt x="705326" y="873062"/>
                  </a:cubicBezTo>
                  <a:cubicBezTo>
                    <a:pt x="698754" y="859441"/>
                    <a:pt x="686276" y="846582"/>
                    <a:pt x="667798" y="834676"/>
                  </a:cubicBezTo>
                  <a:cubicBezTo>
                    <a:pt x="649319" y="822770"/>
                    <a:pt x="623697" y="810863"/>
                    <a:pt x="590931" y="798957"/>
                  </a:cubicBezTo>
                  <a:cubicBezTo>
                    <a:pt x="558165" y="787146"/>
                    <a:pt x="515493" y="774573"/>
                    <a:pt x="463106" y="761524"/>
                  </a:cubicBezTo>
                  <a:cubicBezTo>
                    <a:pt x="399955" y="746093"/>
                    <a:pt x="342710" y="728853"/>
                    <a:pt x="291465" y="709803"/>
                  </a:cubicBezTo>
                  <a:cubicBezTo>
                    <a:pt x="240221" y="690753"/>
                    <a:pt x="196691" y="667322"/>
                    <a:pt x="160973" y="639318"/>
                  </a:cubicBezTo>
                  <a:cubicBezTo>
                    <a:pt x="125159" y="611410"/>
                    <a:pt x="97536" y="576644"/>
                    <a:pt x="77819" y="535019"/>
                  </a:cubicBezTo>
                  <a:cubicBezTo>
                    <a:pt x="58103" y="493395"/>
                    <a:pt x="48292" y="441674"/>
                    <a:pt x="48292" y="379857"/>
                  </a:cubicBezTo>
                  <a:lnTo>
                    <a:pt x="48292" y="376238"/>
                  </a:lnTo>
                  <a:cubicBezTo>
                    <a:pt x="48292" y="319183"/>
                    <a:pt x="58865" y="267748"/>
                    <a:pt x="80201" y="222028"/>
                  </a:cubicBezTo>
                  <a:cubicBezTo>
                    <a:pt x="101441" y="176308"/>
                    <a:pt x="131255" y="136779"/>
                    <a:pt x="169640" y="103441"/>
                  </a:cubicBezTo>
                  <a:cubicBezTo>
                    <a:pt x="208026" y="70199"/>
                    <a:pt x="253841" y="44577"/>
                    <a:pt x="307181" y="26765"/>
                  </a:cubicBezTo>
                  <a:cubicBezTo>
                    <a:pt x="360426" y="8953"/>
                    <a:pt x="419195" y="0"/>
                    <a:pt x="483394" y="0"/>
                  </a:cubicBezTo>
                  <a:cubicBezTo>
                    <a:pt x="574929" y="0"/>
                    <a:pt x="659035" y="13716"/>
                    <a:pt x="735711" y="41053"/>
                  </a:cubicBezTo>
                  <a:cubicBezTo>
                    <a:pt x="812387" y="68389"/>
                    <a:pt x="882777" y="107632"/>
                    <a:pt x="946976" y="158687"/>
                  </a:cubicBezTo>
                  <a:lnTo>
                    <a:pt x="804291" y="365569"/>
                  </a:lnTo>
                  <a:cubicBezTo>
                    <a:pt x="748379" y="327565"/>
                    <a:pt x="693706" y="297561"/>
                    <a:pt x="640271" y="275558"/>
                  </a:cubicBezTo>
                  <a:cubicBezTo>
                    <a:pt x="586740" y="253555"/>
                    <a:pt x="533305" y="242602"/>
                    <a:pt x="479774" y="242602"/>
                  </a:cubicBezTo>
                  <a:cubicBezTo>
                    <a:pt x="426244" y="242602"/>
                    <a:pt x="386144" y="252984"/>
                    <a:pt x="359378" y="273844"/>
                  </a:cubicBezTo>
                  <a:cubicBezTo>
                    <a:pt x="332613" y="294608"/>
                    <a:pt x="319278" y="320516"/>
                    <a:pt x="319278" y="351377"/>
                  </a:cubicBezTo>
                  <a:lnTo>
                    <a:pt x="319278" y="354997"/>
                  </a:lnTo>
                  <a:cubicBezTo>
                    <a:pt x="319278" y="375190"/>
                    <a:pt x="323183" y="392716"/>
                    <a:pt x="330899" y="407575"/>
                  </a:cubicBezTo>
                  <a:cubicBezTo>
                    <a:pt x="338614" y="422434"/>
                    <a:pt x="352616" y="435864"/>
                    <a:pt x="372904" y="447675"/>
                  </a:cubicBezTo>
                  <a:cubicBezTo>
                    <a:pt x="393192" y="459581"/>
                    <a:pt x="420910" y="470821"/>
                    <a:pt x="456057" y="481489"/>
                  </a:cubicBezTo>
                  <a:cubicBezTo>
                    <a:pt x="491204" y="492157"/>
                    <a:pt x="535591" y="504730"/>
                    <a:pt x="589217" y="518922"/>
                  </a:cubicBezTo>
                  <a:cubicBezTo>
                    <a:pt x="652367" y="535591"/>
                    <a:pt x="708660" y="554260"/>
                    <a:pt x="758190" y="575120"/>
                  </a:cubicBezTo>
                  <a:cubicBezTo>
                    <a:pt x="807625" y="595979"/>
                    <a:pt x="849344" y="620935"/>
                    <a:pt x="883349" y="649986"/>
                  </a:cubicBezTo>
                  <a:cubicBezTo>
                    <a:pt x="917353" y="679132"/>
                    <a:pt x="942975" y="713327"/>
                    <a:pt x="960215" y="752570"/>
                  </a:cubicBezTo>
                  <a:cubicBezTo>
                    <a:pt x="977456" y="791813"/>
                    <a:pt x="986123" y="838772"/>
                    <a:pt x="986123" y="893445"/>
                  </a:cubicBezTo>
                  <a:lnTo>
                    <a:pt x="986123" y="897064"/>
                  </a:lnTo>
                  <a:cubicBezTo>
                    <a:pt x="986123" y="958882"/>
                    <a:pt x="974884" y="1013841"/>
                    <a:pt x="952500" y="1062038"/>
                  </a:cubicBezTo>
                  <a:cubicBezTo>
                    <a:pt x="930021" y="1110139"/>
                    <a:pt x="898779" y="1150620"/>
                    <a:pt x="858584" y="1183291"/>
                  </a:cubicBezTo>
                  <a:cubicBezTo>
                    <a:pt x="818388" y="1216057"/>
                    <a:pt x="770477" y="1241012"/>
                    <a:pt x="714851" y="1258157"/>
                  </a:cubicBezTo>
                  <a:cubicBezTo>
                    <a:pt x="659130" y="1275398"/>
                    <a:pt x="597503" y="1284065"/>
                    <a:pt x="529685" y="1284065"/>
                  </a:cubicBezTo>
                  <a:close/>
                </a:path>
              </a:pathLst>
            </a:custGeom>
            <a:solidFill>
              <a:srgbClr val="44505E"/>
            </a:solidFill>
            <a:ln w="9525" cap="flat">
              <a:noFill/>
              <a:prstDash val="solid"/>
              <a:miter/>
            </a:ln>
          </p:spPr>
          <p:txBody>
            <a:bodyPr rtlCol="0" anchor="ctr"/>
            <a:lstStyle/>
            <a:p>
              <a:endParaRPr lang="pt-BR" noProof="0"/>
            </a:p>
          </p:txBody>
        </p:sp>
        <p:sp>
          <p:nvSpPr>
            <p:cNvPr id="17" name="Freeform: Shape 16">
              <a:extLst>
                <a:ext uri="{FF2B5EF4-FFF2-40B4-BE49-F238E27FC236}">
                  <a16:creationId xmlns:a16="http://schemas.microsoft.com/office/drawing/2014/main" id="{07D3F2BE-D2ED-AE0B-8BAD-E325EE12DC72}"/>
                </a:ext>
              </a:extLst>
            </p:cNvPr>
            <p:cNvSpPr/>
            <p:nvPr/>
          </p:nvSpPr>
          <p:spPr>
            <a:xfrm>
              <a:off x="5492084" y="310867"/>
              <a:ext cx="332584" cy="315991"/>
            </a:xfrm>
            <a:custGeom>
              <a:avLst/>
              <a:gdLst>
                <a:gd name="connsiteX0" fmla="*/ 534924 w 1323022"/>
                <a:gd name="connsiteY0" fmla="*/ 0 h 1257014"/>
                <a:gd name="connsiteX1" fmla="*/ 788099 w 1323022"/>
                <a:gd name="connsiteY1" fmla="*/ 0 h 1257014"/>
                <a:gd name="connsiteX2" fmla="*/ 1323023 w 1323022"/>
                <a:gd name="connsiteY2" fmla="*/ 1257014 h 1257014"/>
                <a:gd name="connsiteX3" fmla="*/ 1035939 w 1323022"/>
                <a:gd name="connsiteY3" fmla="*/ 1257014 h 1257014"/>
                <a:gd name="connsiteX4" fmla="*/ 921829 w 1323022"/>
                <a:gd name="connsiteY4" fmla="*/ 977075 h 1257014"/>
                <a:gd name="connsiteX5" fmla="*/ 394049 w 1323022"/>
                <a:gd name="connsiteY5" fmla="*/ 977075 h 1257014"/>
                <a:gd name="connsiteX6" fmla="*/ 279940 w 1323022"/>
                <a:gd name="connsiteY6" fmla="*/ 1257014 h 1257014"/>
                <a:gd name="connsiteX7" fmla="*/ 0 w 1323022"/>
                <a:gd name="connsiteY7" fmla="*/ 1257014 h 1257014"/>
                <a:gd name="connsiteX8" fmla="*/ 534924 w 1323022"/>
                <a:gd name="connsiteY8" fmla="*/ 0 h 1257014"/>
                <a:gd name="connsiteX9" fmla="*/ 823817 w 1323022"/>
                <a:gd name="connsiteY9" fmla="*/ 734568 h 1257014"/>
                <a:gd name="connsiteX10" fmla="*/ 657987 w 1323022"/>
                <a:gd name="connsiteY10" fmla="*/ 329851 h 1257014"/>
                <a:gd name="connsiteX11" fmla="*/ 492157 w 1323022"/>
                <a:gd name="connsiteY11" fmla="*/ 734568 h 1257014"/>
                <a:gd name="connsiteX12" fmla="*/ 823817 w 1323022"/>
                <a:gd name="connsiteY12" fmla="*/ 734568 h 125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022" h="1257014">
                  <a:moveTo>
                    <a:pt x="534924" y="0"/>
                  </a:moveTo>
                  <a:lnTo>
                    <a:pt x="788099" y="0"/>
                  </a:lnTo>
                  <a:lnTo>
                    <a:pt x="1323023" y="1257014"/>
                  </a:lnTo>
                  <a:lnTo>
                    <a:pt x="1035939" y="1257014"/>
                  </a:lnTo>
                  <a:lnTo>
                    <a:pt x="921829" y="977075"/>
                  </a:lnTo>
                  <a:lnTo>
                    <a:pt x="394049" y="977075"/>
                  </a:lnTo>
                  <a:lnTo>
                    <a:pt x="279940" y="1257014"/>
                  </a:lnTo>
                  <a:lnTo>
                    <a:pt x="0" y="1257014"/>
                  </a:lnTo>
                  <a:lnTo>
                    <a:pt x="534924" y="0"/>
                  </a:lnTo>
                  <a:close/>
                  <a:moveTo>
                    <a:pt x="823817" y="734568"/>
                  </a:moveTo>
                  <a:lnTo>
                    <a:pt x="657987" y="329851"/>
                  </a:lnTo>
                  <a:lnTo>
                    <a:pt x="492157" y="734568"/>
                  </a:lnTo>
                  <a:lnTo>
                    <a:pt x="823817" y="734568"/>
                  </a:lnTo>
                  <a:close/>
                </a:path>
              </a:pathLst>
            </a:custGeom>
            <a:solidFill>
              <a:srgbClr val="44505E"/>
            </a:solidFill>
            <a:ln w="9525" cap="flat">
              <a:noFill/>
              <a:prstDash val="solid"/>
              <a:miter/>
            </a:ln>
          </p:spPr>
          <p:txBody>
            <a:bodyPr rtlCol="0" anchor="ctr"/>
            <a:lstStyle/>
            <a:p>
              <a:endParaRPr lang="pt-BR" noProof="0"/>
            </a:p>
          </p:txBody>
        </p:sp>
        <p:sp>
          <p:nvSpPr>
            <p:cNvPr id="18" name="Freeform: Shape 17">
              <a:extLst>
                <a:ext uri="{FF2B5EF4-FFF2-40B4-BE49-F238E27FC236}">
                  <a16:creationId xmlns:a16="http://schemas.microsoft.com/office/drawing/2014/main" id="{E1F7216A-C1F5-9ABC-053C-FF5D00C06A0C}"/>
                </a:ext>
              </a:extLst>
            </p:cNvPr>
            <p:cNvSpPr/>
            <p:nvPr/>
          </p:nvSpPr>
          <p:spPr>
            <a:xfrm>
              <a:off x="5834078" y="211355"/>
              <a:ext cx="273442" cy="420435"/>
            </a:xfrm>
            <a:custGeom>
              <a:avLst/>
              <a:gdLst>
                <a:gd name="connsiteX0" fmla="*/ 540258 w 1087754"/>
                <a:gd name="connsiteY0" fmla="*/ 1672495 h 1672494"/>
                <a:gd name="connsiteX1" fmla="*/ 144399 w 1087754"/>
                <a:gd name="connsiteY1" fmla="*/ 1533430 h 1672494"/>
                <a:gd name="connsiteX2" fmla="*/ 0 w 1087754"/>
                <a:gd name="connsiteY2" fmla="*/ 1117949 h 1672494"/>
                <a:gd name="connsiteX3" fmla="*/ 0 w 1087754"/>
                <a:gd name="connsiteY3" fmla="*/ 404717 h 1672494"/>
                <a:gd name="connsiteX4" fmla="*/ 274606 w 1087754"/>
                <a:gd name="connsiteY4" fmla="*/ 404717 h 1672494"/>
                <a:gd name="connsiteX5" fmla="*/ 274606 w 1087754"/>
                <a:gd name="connsiteY5" fmla="*/ 1110806 h 1672494"/>
                <a:gd name="connsiteX6" fmla="*/ 345948 w 1087754"/>
                <a:gd name="connsiteY6" fmla="*/ 1341692 h 1672494"/>
                <a:gd name="connsiteX7" fmla="*/ 543877 w 1087754"/>
                <a:gd name="connsiteY7" fmla="*/ 1419225 h 1672494"/>
                <a:gd name="connsiteX8" fmla="*/ 741807 w 1087754"/>
                <a:gd name="connsiteY8" fmla="*/ 1344359 h 1672494"/>
                <a:gd name="connsiteX9" fmla="*/ 813149 w 1087754"/>
                <a:gd name="connsiteY9" fmla="*/ 1119664 h 1672494"/>
                <a:gd name="connsiteX10" fmla="*/ 813149 w 1087754"/>
                <a:gd name="connsiteY10" fmla="*/ 404717 h 1672494"/>
                <a:gd name="connsiteX11" fmla="*/ 1087755 w 1087754"/>
                <a:gd name="connsiteY11" fmla="*/ 404717 h 1672494"/>
                <a:gd name="connsiteX12" fmla="*/ 1087755 w 1087754"/>
                <a:gd name="connsiteY12" fmla="*/ 1108996 h 1672494"/>
                <a:gd name="connsiteX13" fmla="*/ 1049369 w 1087754"/>
                <a:gd name="connsiteY13" fmla="*/ 1356836 h 1672494"/>
                <a:gd name="connsiteX14" fmla="*/ 939737 w 1087754"/>
                <a:gd name="connsiteY14" fmla="*/ 1532477 h 1672494"/>
                <a:gd name="connsiteX15" fmla="*/ 766763 w 1087754"/>
                <a:gd name="connsiteY15" fmla="*/ 1637729 h 1672494"/>
                <a:gd name="connsiteX16" fmla="*/ 540353 w 1087754"/>
                <a:gd name="connsiteY16" fmla="*/ 1672495 h 1672494"/>
                <a:gd name="connsiteX17" fmla="*/ 622268 w 1087754"/>
                <a:gd name="connsiteY17" fmla="*/ 0 h 1672494"/>
                <a:gd name="connsiteX18" fmla="*/ 855821 w 1087754"/>
                <a:gd name="connsiteY18" fmla="*/ 101632 h 1672494"/>
                <a:gd name="connsiteX19" fmla="*/ 627602 w 1087754"/>
                <a:gd name="connsiteY19" fmla="*/ 315563 h 1672494"/>
                <a:gd name="connsiteX20" fmla="*/ 420719 w 1087754"/>
                <a:gd name="connsiteY20" fmla="*/ 315563 h 1672494"/>
                <a:gd name="connsiteX21" fmla="*/ 622268 w 1087754"/>
                <a:gd name="connsiteY21" fmla="*/ 0 h 16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754" h="1672494">
                  <a:moveTo>
                    <a:pt x="540258" y="1672495"/>
                  </a:moveTo>
                  <a:cubicBezTo>
                    <a:pt x="372618" y="1672495"/>
                    <a:pt x="240697" y="1626108"/>
                    <a:pt x="144399" y="1533430"/>
                  </a:cubicBezTo>
                  <a:cubicBezTo>
                    <a:pt x="48101" y="1440752"/>
                    <a:pt x="0" y="1302258"/>
                    <a:pt x="0" y="1117949"/>
                  </a:cubicBezTo>
                  <a:lnTo>
                    <a:pt x="0" y="404717"/>
                  </a:lnTo>
                  <a:lnTo>
                    <a:pt x="274606" y="404717"/>
                  </a:lnTo>
                  <a:lnTo>
                    <a:pt x="274606" y="1110806"/>
                  </a:lnTo>
                  <a:cubicBezTo>
                    <a:pt x="274606" y="1213009"/>
                    <a:pt x="298418" y="1289971"/>
                    <a:pt x="345948" y="1341692"/>
                  </a:cubicBezTo>
                  <a:cubicBezTo>
                    <a:pt x="393478" y="1393412"/>
                    <a:pt x="459486" y="1419225"/>
                    <a:pt x="543877" y="1419225"/>
                  </a:cubicBezTo>
                  <a:cubicBezTo>
                    <a:pt x="628269" y="1419225"/>
                    <a:pt x="694277" y="1394270"/>
                    <a:pt x="741807" y="1344359"/>
                  </a:cubicBezTo>
                  <a:cubicBezTo>
                    <a:pt x="789337" y="1294448"/>
                    <a:pt x="813149" y="1219581"/>
                    <a:pt x="813149" y="1119664"/>
                  </a:cubicBezTo>
                  <a:lnTo>
                    <a:pt x="813149" y="404717"/>
                  </a:lnTo>
                  <a:lnTo>
                    <a:pt x="1087755" y="404717"/>
                  </a:lnTo>
                  <a:lnTo>
                    <a:pt x="1087755" y="1108996"/>
                  </a:lnTo>
                  <a:cubicBezTo>
                    <a:pt x="1087755" y="1204151"/>
                    <a:pt x="1074992" y="1286732"/>
                    <a:pt x="1049369" y="1356836"/>
                  </a:cubicBezTo>
                  <a:cubicBezTo>
                    <a:pt x="1023747" y="1426940"/>
                    <a:pt x="987266" y="1485519"/>
                    <a:pt x="939737" y="1532477"/>
                  </a:cubicBezTo>
                  <a:cubicBezTo>
                    <a:pt x="892207" y="1579436"/>
                    <a:pt x="834485" y="1614488"/>
                    <a:pt x="766763" y="1637729"/>
                  </a:cubicBezTo>
                  <a:cubicBezTo>
                    <a:pt x="699040" y="1660874"/>
                    <a:pt x="623507" y="1672495"/>
                    <a:pt x="540353" y="1672495"/>
                  </a:cubicBezTo>
                  <a:close/>
                  <a:moveTo>
                    <a:pt x="622268" y="0"/>
                  </a:moveTo>
                  <a:lnTo>
                    <a:pt x="855821" y="101632"/>
                  </a:lnTo>
                  <a:lnTo>
                    <a:pt x="627602" y="315563"/>
                  </a:lnTo>
                  <a:lnTo>
                    <a:pt x="420719" y="315563"/>
                  </a:lnTo>
                  <a:lnTo>
                    <a:pt x="622268" y="0"/>
                  </a:lnTo>
                  <a:close/>
                </a:path>
              </a:pathLst>
            </a:custGeom>
            <a:solidFill>
              <a:srgbClr val="44505E"/>
            </a:solidFill>
            <a:ln w="9525" cap="flat">
              <a:noFill/>
              <a:prstDash val="solid"/>
              <a:miter/>
            </a:ln>
          </p:spPr>
          <p:txBody>
            <a:bodyPr rtlCol="0" anchor="ctr"/>
            <a:lstStyle/>
            <a:p>
              <a:endParaRPr lang="pt-BR" noProof="0"/>
            </a:p>
          </p:txBody>
        </p:sp>
        <p:sp>
          <p:nvSpPr>
            <p:cNvPr id="19" name="Freeform: Shape 18">
              <a:extLst>
                <a:ext uri="{FF2B5EF4-FFF2-40B4-BE49-F238E27FC236}">
                  <a16:creationId xmlns:a16="http://schemas.microsoft.com/office/drawing/2014/main" id="{134351DD-870F-31B1-27EA-5350D4569448}"/>
                </a:ext>
              </a:extLst>
            </p:cNvPr>
            <p:cNvSpPr/>
            <p:nvPr/>
          </p:nvSpPr>
          <p:spPr>
            <a:xfrm>
              <a:off x="6143795" y="313094"/>
              <a:ext cx="289101" cy="313764"/>
            </a:xfrm>
            <a:custGeom>
              <a:avLst/>
              <a:gdLst>
                <a:gd name="connsiteX0" fmla="*/ 0 w 1150048"/>
                <a:gd name="connsiteY0" fmla="*/ 0 h 1248155"/>
                <a:gd name="connsiteX1" fmla="*/ 486728 w 1150048"/>
                <a:gd name="connsiteY1" fmla="*/ 0 h 1248155"/>
                <a:gd name="connsiteX2" fmla="*/ 755047 w 1150048"/>
                <a:gd name="connsiteY2" fmla="*/ 47244 h 1248155"/>
                <a:gd name="connsiteX3" fmla="*/ 965454 w 1150048"/>
                <a:gd name="connsiteY3" fmla="*/ 178308 h 1248155"/>
                <a:gd name="connsiteX4" fmla="*/ 1101852 w 1150048"/>
                <a:gd name="connsiteY4" fmla="*/ 375380 h 1248155"/>
                <a:gd name="connsiteX5" fmla="*/ 1150049 w 1150048"/>
                <a:gd name="connsiteY5" fmla="*/ 620554 h 1248155"/>
                <a:gd name="connsiteX6" fmla="*/ 1150049 w 1150048"/>
                <a:gd name="connsiteY6" fmla="*/ 624173 h 1248155"/>
                <a:gd name="connsiteX7" fmla="*/ 1101852 w 1150048"/>
                <a:gd name="connsiteY7" fmla="*/ 870204 h 1248155"/>
                <a:gd name="connsiteX8" fmla="*/ 965454 w 1150048"/>
                <a:gd name="connsiteY8" fmla="*/ 1068134 h 1248155"/>
                <a:gd name="connsiteX9" fmla="*/ 755047 w 1150048"/>
                <a:gd name="connsiteY9" fmla="*/ 1200055 h 1248155"/>
                <a:gd name="connsiteX10" fmla="*/ 486728 w 1150048"/>
                <a:gd name="connsiteY10" fmla="*/ 1248156 h 1248155"/>
                <a:gd name="connsiteX11" fmla="*/ 0 w 1150048"/>
                <a:gd name="connsiteY11" fmla="*/ 1248156 h 1248155"/>
                <a:gd name="connsiteX12" fmla="*/ 0 w 1150048"/>
                <a:gd name="connsiteY12" fmla="*/ 0 h 1248155"/>
                <a:gd name="connsiteX13" fmla="*/ 486728 w 1150048"/>
                <a:gd name="connsiteY13" fmla="*/ 1000315 h 1248155"/>
                <a:gd name="connsiteX14" fmla="*/ 640080 w 1150048"/>
                <a:gd name="connsiteY14" fmla="*/ 973550 h 1248155"/>
                <a:gd name="connsiteX15" fmla="*/ 758667 w 1150048"/>
                <a:gd name="connsiteY15" fmla="*/ 896874 h 1248155"/>
                <a:gd name="connsiteX16" fmla="*/ 835343 w 1150048"/>
                <a:gd name="connsiteY16" fmla="*/ 779240 h 1248155"/>
                <a:gd name="connsiteX17" fmla="*/ 862965 w 1150048"/>
                <a:gd name="connsiteY17" fmla="*/ 627698 h 1248155"/>
                <a:gd name="connsiteX18" fmla="*/ 862965 w 1150048"/>
                <a:gd name="connsiteY18" fmla="*/ 624078 h 1248155"/>
                <a:gd name="connsiteX19" fmla="*/ 835343 w 1150048"/>
                <a:gd name="connsiteY19" fmla="*/ 472535 h 1248155"/>
                <a:gd name="connsiteX20" fmla="*/ 758667 w 1150048"/>
                <a:gd name="connsiteY20" fmla="*/ 353092 h 1248155"/>
                <a:gd name="connsiteX21" fmla="*/ 640080 w 1150048"/>
                <a:gd name="connsiteY21" fmla="*/ 275558 h 1248155"/>
                <a:gd name="connsiteX22" fmla="*/ 486728 w 1150048"/>
                <a:gd name="connsiteY22" fmla="*/ 247936 h 1248155"/>
                <a:gd name="connsiteX23" fmla="*/ 274511 w 1150048"/>
                <a:gd name="connsiteY23" fmla="*/ 247936 h 1248155"/>
                <a:gd name="connsiteX24" fmla="*/ 274511 w 1150048"/>
                <a:gd name="connsiteY24" fmla="*/ 1000411 h 1248155"/>
                <a:gd name="connsiteX25" fmla="*/ 486728 w 1150048"/>
                <a:gd name="connsiteY25" fmla="*/ 1000411 h 124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50048" h="1248155">
                  <a:moveTo>
                    <a:pt x="0" y="0"/>
                  </a:moveTo>
                  <a:lnTo>
                    <a:pt x="486728" y="0"/>
                  </a:lnTo>
                  <a:cubicBezTo>
                    <a:pt x="584168" y="0"/>
                    <a:pt x="673608" y="15811"/>
                    <a:pt x="755047" y="47244"/>
                  </a:cubicBezTo>
                  <a:cubicBezTo>
                    <a:pt x="836486" y="78772"/>
                    <a:pt x="906590" y="122396"/>
                    <a:pt x="965454" y="178308"/>
                  </a:cubicBezTo>
                  <a:cubicBezTo>
                    <a:pt x="1024319" y="234220"/>
                    <a:pt x="1069753" y="299847"/>
                    <a:pt x="1101852" y="375380"/>
                  </a:cubicBezTo>
                  <a:cubicBezTo>
                    <a:pt x="1133951" y="450914"/>
                    <a:pt x="1150049" y="532543"/>
                    <a:pt x="1150049" y="620554"/>
                  </a:cubicBezTo>
                  <a:lnTo>
                    <a:pt x="1150049" y="624173"/>
                  </a:lnTo>
                  <a:cubicBezTo>
                    <a:pt x="1150049" y="712184"/>
                    <a:pt x="1133951" y="794195"/>
                    <a:pt x="1101852" y="870204"/>
                  </a:cubicBezTo>
                  <a:cubicBezTo>
                    <a:pt x="1069753" y="946309"/>
                    <a:pt x="1024319" y="1012222"/>
                    <a:pt x="965454" y="1068134"/>
                  </a:cubicBezTo>
                  <a:cubicBezTo>
                    <a:pt x="906590" y="1124045"/>
                    <a:pt x="836486" y="1167956"/>
                    <a:pt x="755047" y="1200055"/>
                  </a:cubicBezTo>
                  <a:cubicBezTo>
                    <a:pt x="673608" y="1232154"/>
                    <a:pt x="584168" y="1248156"/>
                    <a:pt x="486728" y="1248156"/>
                  </a:cubicBezTo>
                  <a:lnTo>
                    <a:pt x="0" y="1248156"/>
                  </a:lnTo>
                  <a:lnTo>
                    <a:pt x="0" y="0"/>
                  </a:lnTo>
                  <a:close/>
                  <a:moveTo>
                    <a:pt x="486728" y="1000315"/>
                  </a:moveTo>
                  <a:cubicBezTo>
                    <a:pt x="542639" y="1000315"/>
                    <a:pt x="593693" y="991457"/>
                    <a:pt x="640080" y="973550"/>
                  </a:cubicBezTo>
                  <a:cubicBezTo>
                    <a:pt x="686467" y="955739"/>
                    <a:pt x="725900" y="930211"/>
                    <a:pt x="758667" y="896874"/>
                  </a:cubicBezTo>
                  <a:cubicBezTo>
                    <a:pt x="791337" y="863632"/>
                    <a:pt x="816864" y="824389"/>
                    <a:pt x="835343" y="779240"/>
                  </a:cubicBezTo>
                  <a:cubicBezTo>
                    <a:pt x="853726" y="734092"/>
                    <a:pt x="862965" y="683609"/>
                    <a:pt x="862965" y="627698"/>
                  </a:cubicBezTo>
                  <a:lnTo>
                    <a:pt x="862965" y="624078"/>
                  </a:lnTo>
                  <a:cubicBezTo>
                    <a:pt x="862965" y="569404"/>
                    <a:pt x="853726" y="518827"/>
                    <a:pt x="835343" y="472535"/>
                  </a:cubicBezTo>
                  <a:cubicBezTo>
                    <a:pt x="816864" y="426149"/>
                    <a:pt x="791337" y="386334"/>
                    <a:pt x="758667" y="353092"/>
                  </a:cubicBezTo>
                  <a:cubicBezTo>
                    <a:pt x="725996" y="319849"/>
                    <a:pt x="686467" y="293941"/>
                    <a:pt x="640080" y="275558"/>
                  </a:cubicBezTo>
                  <a:cubicBezTo>
                    <a:pt x="593693" y="257175"/>
                    <a:pt x="542639" y="247936"/>
                    <a:pt x="486728" y="247936"/>
                  </a:cubicBezTo>
                  <a:lnTo>
                    <a:pt x="274511" y="247936"/>
                  </a:lnTo>
                  <a:lnTo>
                    <a:pt x="274511" y="1000411"/>
                  </a:lnTo>
                  <a:lnTo>
                    <a:pt x="486728" y="1000411"/>
                  </a:lnTo>
                  <a:close/>
                </a:path>
              </a:pathLst>
            </a:custGeom>
            <a:solidFill>
              <a:srgbClr val="44505E"/>
            </a:solidFill>
            <a:ln w="9525" cap="flat">
              <a:noFill/>
              <a:prstDash val="solid"/>
              <a:miter/>
            </a:ln>
          </p:spPr>
          <p:txBody>
            <a:bodyPr rtlCol="0" anchor="ctr"/>
            <a:lstStyle/>
            <a:p>
              <a:endParaRPr lang="pt-BR" noProof="0"/>
            </a:p>
          </p:txBody>
        </p:sp>
        <p:sp>
          <p:nvSpPr>
            <p:cNvPr id="20" name="Freeform: Shape 19">
              <a:extLst>
                <a:ext uri="{FF2B5EF4-FFF2-40B4-BE49-F238E27FC236}">
                  <a16:creationId xmlns:a16="http://schemas.microsoft.com/office/drawing/2014/main" id="{14AF4A51-CAC1-8E43-BD18-924B882EBB5B}"/>
                </a:ext>
              </a:extLst>
            </p:cNvPr>
            <p:cNvSpPr/>
            <p:nvPr/>
          </p:nvSpPr>
          <p:spPr>
            <a:xfrm>
              <a:off x="6460217" y="313094"/>
              <a:ext cx="238459" cy="313788"/>
            </a:xfrm>
            <a:custGeom>
              <a:avLst/>
              <a:gdLst>
                <a:gd name="connsiteX0" fmla="*/ 95 w 948594"/>
                <a:gd name="connsiteY0" fmla="*/ 0 h 1248251"/>
                <a:gd name="connsiteX1" fmla="*/ 939737 w 948594"/>
                <a:gd name="connsiteY1" fmla="*/ 0 h 1248251"/>
                <a:gd name="connsiteX2" fmla="*/ 939737 w 948594"/>
                <a:gd name="connsiteY2" fmla="*/ 244316 h 1248251"/>
                <a:gd name="connsiteX3" fmla="*/ 271081 w 948594"/>
                <a:gd name="connsiteY3" fmla="*/ 244316 h 1248251"/>
                <a:gd name="connsiteX4" fmla="*/ 271081 w 948594"/>
                <a:gd name="connsiteY4" fmla="*/ 497491 h 1248251"/>
                <a:gd name="connsiteX5" fmla="*/ 859441 w 948594"/>
                <a:gd name="connsiteY5" fmla="*/ 497491 h 1248251"/>
                <a:gd name="connsiteX6" fmla="*/ 859441 w 948594"/>
                <a:gd name="connsiteY6" fmla="*/ 741807 h 1248251"/>
                <a:gd name="connsiteX7" fmla="*/ 271081 w 948594"/>
                <a:gd name="connsiteY7" fmla="*/ 741807 h 1248251"/>
                <a:gd name="connsiteX8" fmla="*/ 271081 w 948594"/>
                <a:gd name="connsiteY8" fmla="*/ 1003935 h 1248251"/>
                <a:gd name="connsiteX9" fmla="*/ 948595 w 948594"/>
                <a:gd name="connsiteY9" fmla="*/ 1003935 h 1248251"/>
                <a:gd name="connsiteX10" fmla="*/ 948595 w 948594"/>
                <a:gd name="connsiteY10" fmla="*/ 1248251 h 1248251"/>
                <a:gd name="connsiteX11" fmla="*/ 0 w 948594"/>
                <a:gd name="connsiteY11" fmla="*/ 1248251 h 1248251"/>
                <a:gd name="connsiteX12" fmla="*/ 0 w 948594"/>
                <a:gd name="connsiteY12" fmla="*/ 0 h 124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594" h="1248251">
                  <a:moveTo>
                    <a:pt x="95" y="0"/>
                  </a:moveTo>
                  <a:lnTo>
                    <a:pt x="939737" y="0"/>
                  </a:lnTo>
                  <a:lnTo>
                    <a:pt x="939737" y="244316"/>
                  </a:lnTo>
                  <a:lnTo>
                    <a:pt x="271081" y="244316"/>
                  </a:lnTo>
                  <a:lnTo>
                    <a:pt x="271081" y="497491"/>
                  </a:lnTo>
                  <a:lnTo>
                    <a:pt x="859441" y="497491"/>
                  </a:lnTo>
                  <a:lnTo>
                    <a:pt x="859441" y="741807"/>
                  </a:lnTo>
                  <a:lnTo>
                    <a:pt x="271081" y="741807"/>
                  </a:lnTo>
                  <a:lnTo>
                    <a:pt x="271081" y="1003935"/>
                  </a:lnTo>
                  <a:lnTo>
                    <a:pt x="948595" y="1003935"/>
                  </a:lnTo>
                  <a:lnTo>
                    <a:pt x="948595" y="1248251"/>
                  </a:lnTo>
                  <a:lnTo>
                    <a:pt x="0" y="1248251"/>
                  </a:lnTo>
                  <a:lnTo>
                    <a:pt x="0" y="0"/>
                  </a:lnTo>
                  <a:close/>
                </a:path>
              </a:pathLst>
            </a:custGeom>
            <a:solidFill>
              <a:srgbClr val="44505E"/>
            </a:solidFill>
            <a:ln w="9525" cap="flat">
              <a:noFill/>
              <a:prstDash val="solid"/>
              <a:miter/>
            </a:ln>
          </p:spPr>
          <p:txBody>
            <a:bodyPr rtlCol="0" anchor="ctr"/>
            <a:lstStyle/>
            <a:p>
              <a:endParaRPr lang="pt-BR" noProof="0"/>
            </a:p>
          </p:txBody>
        </p:sp>
        <p:sp>
          <p:nvSpPr>
            <p:cNvPr id="21" name="Freeform: Shape 20">
              <a:extLst>
                <a:ext uri="{FF2B5EF4-FFF2-40B4-BE49-F238E27FC236}">
                  <a16:creationId xmlns:a16="http://schemas.microsoft.com/office/drawing/2014/main" id="{C867B5FD-6142-EE84-E6CF-87A3F1E59591}"/>
                </a:ext>
              </a:extLst>
            </p:cNvPr>
            <p:cNvSpPr/>
            <p:nvPr/>
          </p:nvSpPr>
          <p:spPr>
            <a:xfrm>
              <a:off x="5253193" y="699983"/>
              <a:ext cx="90796" cy="97883"/>
            </a:xfrm>
            <a:custGeom>
              <a:avLst/>
              <a:gdLst>
                <a:gd name="connsiteX0" fmla="*/ 191548 w 361187"/>
                <a:gd name="connsiteY0" fmla="*/ 389382 h 389381"/>
                <a:gd name="connsiteX1" fmla="*/ 116300 w 361187"/>
                <a:gd name="connsiteY1" fmla="*/ 375285 h 389381"/>
                <a:gd name="connsiteX2" fmla="*/ 55531 w 361187"/>
                <a:gd name="connsiteY2" fmla="*/ 335756 h 389381"/>
                <a:gd name="connsiteX3" fmla="*/ 14859 w 361187"/>
                <a:gd name="connsiteY3" fmla="*/ 274606 h 389381"/>
                <a:gd name="connsiteX4" fmla="*/ 0 w 361187"/>
                <a:gd name="connsiteY4" fmla="*/ 195834 h 389381"/>
                <a:gd name="connsiteX5" fmla="*/ 0 w 361187"/>
                <a:gd name="connsiteY5" fmla="*/ 194405 h 389381"/>
                <a:gd name="connsiteX6" fmla="*/ 13430 w 361187"/>
                <a:gd name="connsiteY6" fmla="*/ 118777 h 389381"/>
                <a:gd name="connsiteX7" fmla="*/ 51245 w 361187"/>
                <a:gd name="connsiteY7" fmla="*/ 56959 h 389381"/>
                <a:gd name="connsiteX8" fmla="*/ 108871 w 361187"/>
                <a:gd name="connsiteY8" fmla="*/ 15240 h 389381"/>
                <a:gd name="connsiteX9" fmla="*/ 182404 w 361187"/>
                <a:gd name="connsiteY9" fmla="*/ 0 h 389381"/>
                <a:gd name="connsiteX10" fmla="*/ 260509 w 361187"/>
                <a:gd name="connsiteY10" fmla="*/ 16288 h 389381"/>
                <a:gd name="connsiteX11" fmla="*/ 316325 w 361187"/>
                <a:gd name="connsiteY11" fmla="*/ 60103 h 389381"/>
                <a:gd name="connsiteX12" fmla="*/ 349853 w 361187"/>
                <a:gd name="connsiteY12" fmla="*/ 124015 h 389381"/>
                <a:gd name="connsiteX13" fmla="*/ 361188 w 361187"/>
                <a:gd name="connsiteY13" fmla="*/ 200692 h 389381"/>
                <a:gd name="connsiteX14" fmla="*/ 360807 w 361187"/>
                <a:gd name="connsiteY14" fmla="*/ 212312 h 389381"/>
                <a:gd name="connsiteX15" fmla="*/ 359759 w 361187"/>
                <a:gd name="connsiteY15" fmla="*/ 224695 h 389381"/>
                <a:gd name="connsiteX16" fmla="*/ 85534 w 361187"/>
                <a:gd name="connsiteY16" fmla="*/ 224695 h 389381"/>
                <a:gd name="connsiteX17" fmla="*/ 121920 w 361187"/>
                <a:gd name="connsiteY17" fmla="*/ 294989 h 389381"/>
                <a:gd name="connsiteX18" fmla="*/ 192977 w 361187"/>
                <a:gd name="connsiteY18" fmla="*/ 319373 h 389381"/>
                <a:gd name="connsiteX19" fmla="*/ 248126 w 361187"/>
                <a:gd name="connsiteY19" fmla="*/ 308038 h 389381"/>
                <a:gd name="connsiteX20" fmla="*/ 294037 w 361187"/>
                <a:gd name="connsiteY20" fmla="*/ 274796 h 389381"/>
                <a:gd name="connsiteX21" fmla="*/ 344234 w 361187"/>
                <a:gd name="connsiteY21" fmla="*/ 319278 h 389381"/>
                <a:gd name="connsiteX22" fmla="*/ 280226 w 361187"/>
                <a:gd name="connsiteY22" fmla="*/ 370141 h 389381"/>
                <a:gd name="connsiteX23" fmla="*/ 191548 w 361187"/>
                <a:gd name="connsiteY23" fmla="*/ 389191 h 389381"/>
                <a:gd name="connsiteX24" fmla="*/ 276320 w 361187"/>
                <a:gd name="connsiteY24" fmla="*/ 168211 h 389381"/>
                <a:gd name="connsiteX25" fmla="*/ 267176 w 361187"/>
                <a:gd name="connsiteY25" fmla="*/ 129730 h 389381"/>
                <a:gd name="connsiteX26" fmla="*/ 248126 w 361187"/>
                <a:gd name="connsiteY26" fmla="*/ 98679 h 389381"/>
                <a:gd name="connsiteX27" fmla="*/ 219551 w 361187"/>
                <a:gd name="connsiteY27" fmla="*/ 77819 h 389381"/>
                <a:gd name="connsiteX28" fmla="*/ 181737 w 361187"/>
                <a:gd name="connsiteY28" fmla="*/ 70009 h 389381"/>
                <a:gd name="connsiteX29" fmla="*/ 116396 w 361187"/>
                <a:gd name="connsiteY29" fmla="*/ 97250 h 389381"/>
                <a:gd name="connsiteX30" fmla="*/ 84963 w 361187"/>
                <a:gd name="connsiteY30" fmla="*/ 168307 h 389381"/>
                <a:gd name="connsiteX31" fmla="*/ 276511 w 361187"/>
                <a:gd name="connsiteY31" fmla="*/ 168307 h 38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187" h="389381">
                  <a:moveTo>
                    <a:pt x="191548" y="389382"/>
                  </a:moveTo>
                  <a:cubicBezTo>
                    <a:pt x="164687" y="389382"/>
                    <a:pt x="139637" y="384715"/>
                    <a:pt x="116300" y="375285"/>
                  </a:cubicBezTo>
                  <a:cubicBezTo>
                    <a:pt x="92964" y="365855"/>
                    <a:pt x="72771" y="352711"/>
                    <a:pt x="55531" y="335756"/>
                  </a:cubicBezTo>
                  <a:cubicBezTo>
                    <a:pt x="38291" y="318802"/>
                    <a:pt x="24765" y="298418"/>
                    <a:pt x="14859" y="274606"/>
                  </a:cubicBezTo>
                  <a:cubicBezTo>
                    <a:pt x="4953" y="250793"/>
                    <a:pt x="0" y="224599"/>
                    <a:pt x="0" y="195834"/>
                  </a:cubicBezTo>
                  <a:lnTo>
                    <a:pt x="0" y="194405"/>
                  </a:lnTo>
                  <a:cubicBezTo>
                    <a:pt x="0" y="167545"/>
                    <a:pt x="4477" y="142399"/>
                    <a:pt x="13430" y="118777"/>
                  </a:cubicBezTo>
                  <a:cubicBezTo>
                    <a:pt x="22384" y="95250"/>
                    <a:pt x="34957" y="74581"/>
                    <a:pt x="51245" y="56959"/>
                  </a:cubicBezTo>
                  <a:cubicBezTo>
                    <a:pt x="67532" y="39338"/>
                    <a:pt x="86677" y="25432"/>
                    <a:pt x="108871" y="15240"/>
                  </a:cubicBezTo>
                  <a:cubicBezTo>
                    <a:pt x="131064" y="5143"/>
                    <a:pt x="155543" y="0"/>
                    <a:pt x="182404" y="0"/>
                  </a:cubicBezTo>
                  <a:cubicBezTo>
                    <a:pt x="212122" y="0"/>
                    <a:pt x="238125" y="5429"/>
                    <a:pt x="260509" y="16288"/>
                  </a:cubicBezTo>
                  <a:cubicBezTo>
                    <a:pt x="282893" y="27146"/>
                    <a:pt x="301466" y="41719"/>
                    <a:pt x="316325" y="60103"/>
                  </a:cubicBezTo>
                  <a:cubicBezTo>
                    <a:pt x="331184" y="78486"/>
                    <a:pt x="342329" y="99822"/>
                    <a:pt x="349853" y="124015"/>
                  </a:cubicBezTo>
                  <a:cubicBezTo>
                    <a:pt x="357378" y="148304"/>
                    <a:pt x="361188" y="173831"/>
                    <a:pt x="361188" y="200692"/>
                  </a:cubicBezTo>
                  <a:cubicBezTo>
                    <a:pt x="361188" y="204502"/>
                    <a:pt x="361093" y="208312"/>
                    <a:pt x="360807" y="212312"/>
                  </a:cubicBezTo>
                  <a:cubicBezTo>
                    <a:pt x="360521" y="216313"/>
                    <a:pt x="360236" y="220409"/>
                    <a:pt x="359759" y="224695"/>
                  </a:cubicBezTo>
                  <a:lnTo>
                    <a:pt x="85534" y="224695"/>
                  </a:lnTo>
                  <a:cubicBezTo>
                    <a:pt x="90202" y="255365"/>
                    <a:pt x="102394" y="278797"/>
                    <a:pt x="121920" y="294989"/>
                  </a:cubicBezTo>
                  <a:cubicBezTo>
                    <a:pt x="141446" y="311277"/>
                    <a:pt x="165164" y="319373"/>
                    <a:pt x="192977" y="319373"/>
                  </a:cubicBezTo>
                  <a:cubicBezTo>
                    <a:pt x="214217" y="319373"/>
                    <a:pt x="232505" y="315563"/>
                    <a:pt x="248126" y="308038"/>
                  </a:cubicBezTo>
                  <a:cubicBezTo>
                    <a:pt x="263652" y="300514"/>
                    <a:pt x="278987" y="289465"/>
                    <a:pt x="294037" y="274796"/>
                  </a:cubicBezTo>
                  <a:lnTo>
                    <a:pt x="344234" y="319278"/>
                  </a:lnTo>
                  <a:cubicBezTo>
                    <a:pt x="326327" y="340519"/>
                    <a:pt x="304991" y="357473"/>
                    <a:pt x="280226" y="370141"/>
                  </a:cubicBezTo>
                  <a:cubicBezTo>
                    <a:pt x="255461" y="382810"/>
                    <a:pt x="225933" y="389191"/>
                    <a:pt x="191548" y="389191"/>
                  </a:cubicBezTo>
                  <a:close/>
                  <a:moveTo>
                    <a:pt x="276320" y="168211"/>
                  </a:moveTo>
                  <a:cubicBezTo>
                    <a:pt x="274892" y="154591"/>
                    <a:pt x="271844" y="141732"/>
                    <a:pt x="267176" y="129730"/>
                  </a:cubicBezTo>
                  <a:cubicBezTo>
                    <a:pt x="262414" y="117729"/>
                    <a:pt x="256127" y="107347"/>
                    <a:pt x="248126" y="98679"/>
                  </a:cubicBezTo>
                  <a:cubicBezTo>
                    <a:pt x="240125" y="89916"/>
                    <a:pt x="230600" y="82963"/>
                    <a:pt x="219551" y="77819"/>
                  </a:cubicBezTo>
                  <a:cubicBezTo>
                    <a:pt x="208502" y="72676"/>
                    <a:pt x="195834" y="70009"/>
                    <a:pt x="181737" y="70009"/>
                  </a:cubicBezTo>
                  <a:cubicBezTo>
                    <a:pt x="155353" y="70009"/>
                    <a:pt x="133541" y="79057"/>
                    <a:pt x="116396" y="97250"/>
                  </a:cubicBezTo>
                  <a:cubicBezTo>
                    <a:pt x="99155" y="115348"/>
                    <a:pt x="88678" y="139065"/>
                    <a:pt x="84963" y="168307"/>
                  </a:cubicBezTo>
                  <a:lnTo>
                    <a:pt x="276511" y="168307"/>
                  </a:lnTo>
                  <a:close/>
                </a:path>
              </a:pathLst>
            </a:custGeom>
            <a:solidFill>
              <a:srgbClr val="44505E"/>
            </a:solidFill>
            <a:ln w="9525" cap="flat">
              <a:noFill/>
              <a:prstDash val="solid"/>
              <a:miter/>
            </a:ln>
          </p:spPr>
          <p:txBody>
            <a:bodyPr rtlCol="0" anchor="ctr"/>
            <a:lstStyle/>
            <a:p>
              <a:endParaRPr lang="pt-BR" noProof="0"/>
            </a:p>
          </p:txBody>
        </p:sp>
        <p:sp>
          <p:nvSpPr>
            <p:cNvPr id="22" name="Freeform: Shape 21">
              <a:extLst>
                <a:ext uri="{FF2B5EF4-FFF2-40B4-BE49-F238E27FC236}">
                  <a16:creationId xmlns:a16="http://schemas.microsoft.com/office/drawing/2014/main" id="{128BA468-E47D-C46A-2F48-83DB7FD69264}"/>
                </a:ext>
              </a:extLst>
            </p:cNvPr>
            <p:cNvSpPr/>
            <p:nvPr/>
          </p:nvSpPr>
          <p:spPr>
            <a:xfrm>
              <a:off x="5365659"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5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8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3 w 568166"/>
                <a:gd name="connsiteY21" fmla="*/ 381000 h 381000"/>
                <a:gd name="connsiteX22" fmla="*/ 240983 w 568166"/>
                <a:gd name="connsiteY22" fmla="*/ 168783 h 381000"/>
                <a:gd name="connsiteX23" fmla="*/ 221266 w 568166"/>
                <a:gd name="connsiteY23" fmla="*/ 101822 h 381000"/>
                <a:gd name="connsiteX24" fmla="*/ 165640 w 568166"/>
                <a:gd name="connsiteY24" fmla="*/ 78581 h 381000"/>
                <a:gd name="connsiteX25" fmla="*/ 108014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70" y="48196"/>
                    <a:pt x="105918" y="40576"/>
                  </a:cubicBezTo>
                  <a:cubicBezTo>
                    <a:pt x="112967" y="32956"/>
                    <a:pt x="121063" y="26099"/>
                    <a:pt x="130207" y="19907"/>
                  </a:cubicBezTo>
                  <a:cubicBezTo>
                    <a:pt x="139351" y="13716"/>
                    <a:pt x="149733" y="8858"/>
                    <a:pt x="161163" y="5334"/>
                  </a:cubicBezTo>
                  <a:cubicBezTo>
                    <a:pt x="172688" y="1714"/>
                    <a:pt x="185452" y="0"/>
                    <a:pt x="199549" y="0"/>
                  </a:cubicBezTo>
                  <a:cubicBezTo>
                    <a:pt x="226314" y="0"/>
                    <a:pt x="248984" y="6096"/>
                    <a:pt x="267557" y="18193"/>
                  </a:cubicBezTo>
                  <a:cubicBezTo>
                    <a:pt x="286131" y="30289"/>
                    <a:pt x="300323" y="46387"/>
                    <a:pt x="310134" y="66294"/>
                  </a:cubicBezTo>
                  <a:cubicBezTo>
                    <a:pt x="325279" y="46387"/>
                    <a:pt x="343091" y="30289"/>
                    <a:pt x="363665" y="18193"/>
                  </a:cubicBezTo>
                  <a:cubicBezTo>
                    <a:pt x="384239" y="6096"/>
                    <a:pt x="408718" y="0"/>
                    <a:pt x="437007" y="0"/>
                  </a:cubicBezTo>
                  <a:cubicBezTo>
                    <a:pt x="478060"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8" y="78486"/>
                  </a:cubicBezTo>
                  <a:cubicBezTo>
                    <a:pt x="382810" y="78486"/>
                    <a:pt x="364141" y="86392"/>
                    <a:pt x="349377" y="102108"/>
                  </a:cubicBezTo>
                  <a:cubicBezTo>
                    <a:pt x="334613" y="117824"/>
                    <a:pt x="327184" y="140779"/>
                    <a:pt x="327184" y="170879"/>
                  </a:cubicBezTo>
                  <a:lnTo>
                    <a:pt x="327184" y="381000"/>
                  </a:lnTo>
                  <a:lnTo>
                    <a:pt x="240983" y="381000"/>
                  </a:lnTo>
                  <a:lnTo>
                    <a:pt x="240983" y="168783"/>
                  </a:lnTo>
                  <a:cubicBezTo>
                    <a:pt x="240983" y="139637"/>
                    <a:pt x="234410" y="117348"/>
                    <a:pt x="221266" y="101822"/>
                  </a:cubicBezTo>
                  <a:cubicBezTo>
                    <a:pt x="208121" y="86296"/>
                    <a:pt x="189643" y="78581"/>
                    <a:pt x="165640" y="78581"/>
                  </a:cubicBezTo>
                  <a:cubicBezTo>
                    <a:pt x="141637" y="78581"/>
                    <a:pt x="122492" y="86773"/>
                    <a:pt x="108014"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23" name="Freeform: Shape 22">
              <a:extLst>
                <a:ext uri="{FF2B5EF4-FFF2-40B4-BE49-F238E27FC236}">
                  <a16:creationId xmlns:a16="http://schemas.microsoft.com/office/drawing/2014/main" id="{8B5C4252-1B20-877A-29D6-EFF55402B094}"/>
                </a:ext>
              </a:extLst>
            </p:cNvPr>
            <p:cNvSpPr/>
            <p:nvPr/>
          </p:nvSpPr>
          <p:spPr>
            <a:xfrm>
              <a:off x="5587693" y="700007"/>
              <a:ext cx="84211" cy="95752"/>
            </a:xfrm>
            <a:custGeom>
              <a:avLst/>
              <a:gdLst>
                <a:gd name="connsiteX0" fmla="*/ 95 w 334994"/>
                <a:gd name="connsiteY0" fmla="*/ 7715 h 380904"/>
                <a:gd name="connsiteX1" fmla="*/ 86296 w 334994"/>
                <a:gd name="connsiteY1" fmla="*/ 7715 h 380904"/>
                <a:gd name="connsiteX2" fmla="*/ 86296 w 334994"/>
                <a:gd name="connsiteY2" fmla="*/ 66294 h 380904"/>
                <a:gd name="connsiteX3" fmla="*/ 106394 w 334994"/>
                <a:gd name="connsiteY3" fmla="*/ 40958 h 380904"/>
                <a:gd name="connsiteX4" fmla="*/ 131731 w 334994"/>
                <a:gd name="connsiteY4" fmla="*/ 19907 h 380904"/>
                <a:gd name="connsiteX5" fmla="*/ 163449 w 334994"/>
                <a:gd name="connsiteY5" fmla="*/ 5334 h 380904"/>
                <a:gd name="connsiteX6" fmla="*/ 202597 w 334994"/>
                <a:gd name="connsiteY6" fmla="*/ 0 h 380904"/>
                <a:gd name="connsiteX7" fmla="*/ 300514 w 334994"/>
                <a:gd name="connsiteY7" fmla="*/ 38862 h 380904"/>
                <a:gd name="connsiteX8" fmla="*/ 334994 w 334994"/>
                <a:gd name="connsiteY8" fmla="*/ 143446 h 380904"/>
                <a:gd name="connsiteX9" fmla="*/ 334994 w 334994"/>
                <a:gd name="connsiteY9" fmla="*/ 380905 h 380904"/>
                <a:gd name="connsiteX10" fmla="*/ 248793 w 334994"/>
                <a:gd name="connsiteY10" fmla="*/ 380905 h 380904"/>
                <a:gd name="connsiteX11" fmla="*/ 248793 w 334994"/>
                <a:gd name="connsiteY11" fmla="*/ 169450 h 380904"/>
                <a:gd name="connsiteX12" fmla="*/ 228124 w 334994"/>
                <a:gd name="connsiteY12" fmla="*/ 102108 h 380904"/>
                <a:gd name="connsiteX13" fmla="*/ 169640 w 334994"/>
                <a:gd name="connsiteY13" fmla="*/ 78486 h 380904"/>
                <a:gd name="connsiteX14" fmla="*/ 109347 w 334994"/>
                <a:gd name="connsiteY14" fmla="*/ 102775 h 380904"/>
                <a:gd name="connsiteX15" fmla="*/ 86201 w 334994"/>
                <a:gd name="connsiteY15" fmla="*/ 170783 h 380904"/>
                <a:gd name="connsiteX16" fmla="*/ 86201 w 334994"/>
                <a:gd name="connsiteY16" fmla="*/ 380905 h 380904"/>
                <a:gd name="connsiteX17" fmla="*/ 0 w 334994"/>
                <a:gd name="connsiteY17" fmla="*/ 380905 h 380904"/>
                <a:gd name="connsiteX18" fmla="*/ 0 w 334994"/>
                <a:gd name="connsiteY18" fmla="*/ 7810 h 38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94" h="380904">
                  <a:moveTo>
                    <a:pt x="95" y="7715"/>
                  </a:moveTo>
                  <a:lnTo>
                    <a:pt x="86296" y="7715"/>
                  </a:lnTo>
                  <a:lnTo>
                    <a:pt x="86296" y="66294"/>
                  </a:lnTo>
                  <a:cubicBezTo>
                    <a:pt x="92392" y="57245"/>
                    <a:pt x="99060" y="48863"/>
                    <a:pt x="106394" y="40958"/>
                  </a:cubicBezTo>
                  <a:cubicBezTo>
                    <a:pt x="113633" y="33147"/>
                    <a:pt x="122110" y="26099"/>
                    <a:pt x="131731" y="19907"/>
                  </a:cubicBezTo>
                  <a:cubicBezTo>
                    <a:pt x="141351" y="13716"/>
                    <a:pt x="151924" y="8858"/>
                    <a:pt x="163449" y="5334"/>
                  </a:cubicBezTo>
                  <a:cubicBezTo>
                    <a:pt x="174974" y="1714"/>
                    <a:pt x="188024" y="0"/>
                    <a:pt x="202597" y="0"/>
                  </a:cubicBezTo>
                  <a:cubicBezTo>
                    <a:pt x="244888" y="0"/>
                    <a:pt x="277559" y="12954"/>
                    <a:pt x="300514" y="38862"/>
                  </a:cubicBezTo>
                  <a:cubicBezTo>
                    <a:pt x="323564" y="64770"/>
                    <a:pt x="334994" y="99631"/>
                    <a:pt x="334994" y="143446"/>
                  </a:cubicBezTo>
                  <a:lnTo>
                    <a:pt x="334994" y="380905"/>
                  </a:lnTo>
                  <a:lnTo>
                    <a:pt x="248793" y="380905"/>
                  </a:lnTo>
                  <a:lnTo>
                    <a:pt x="248793" y="169450"/>
                  </a:lnTo>
                  <a:cubicBezTo>
                    <a:pt x="248793" y="140303"/>
                    <a:pt x="241935" y="117824"/>
                    <a:pt x="228124" y="102108"/>
                  </a:cubicBezTo>
                  <a:cubicBezTo>
                    <a:pt x="214313" y="86392"/>
                    <a:pt x="194881" y="78486"/>
                    <a:pt x="169640" y="78486"/>
                  </a:cubicBezTo>
                  <a:cubicBezTo>
                    <a:pt x="144399" y="78486"/>
                    <a:pt x="124777" y="86582"/>
                    <a:pt x="109347" y="102775"/>
                  </a:cubicBezTo>
                  <a:cubicBezTo>
                    <a:pt x="93917" y="118967"/>
                    <a:pt x="86201" y="141637"/>
                    <a:pt x="86201" y="170783"/>
                  </a:cubicBezTo>
                  <a:lnTo>
                    <a:pt x="86201" y="380905"/>
                  </a:lnTo>
                  <a:lnTo>
                    <a:pt x="0" y="380905"/>
                  </a:lnTo>
                  <a:lnTo>
                    <a:pt x="0" y="7810"/>
                  </a:lnTo>
                  <a:close/>
                </a:path>
              </a:pathLst>
            </a:custGeom>
            <a:solidFill>
              <a:srgbClr val="44505E"/>
            </a:solidFill>
            <a:ln w="9525" cap="flat">
              <a:noFill/>
              <a:prstDash val="solid"/>
              <a:miter/>
            </a:ln>
          </p:spPr>
          <p:txBody>
            <a:bodyPr rtlCol="0" anchor="ctr"/>
            <a:lstStyle/>
            <a:p>
              <a:endParaRPr lang="pt-BR" noProof="0"/>
            </a:p>
          </p:txBody>
        </p:sp>
        <p:sp>
          <p:nvSpPr>
            <p:cNvPr id="24" name="Freeform: Shape 23">
              <a:extLst>
                <a:ext uri="{FF2B5EF4-FFF2-40B4-BE49-F238E27FC236}">
                  <a16:creationId xmlns:a16="http://schemas.microsoft.com/office/drawing/2014/main" id="{585DD2A6-C37B-80C0-721B-28CD861F6B98}"/>
                </a:ext>
              </a:extLst>
            </p:cNvPr>
            <p:cNvSpPr/>
            <p:nvPr/>
          </p:nvSpPr>
          <p:spPr>
            <a:xfrm>
              <a:off x="5692712" y="699959"/>
              <a:ext cx="100015" cy="97908"/>
            </a:xfrm>
            <a:custGeom>
              <a:avLst/>
              <a:gdLst>
                <a:gd name="connsiteX0" fmla="*/ 197834 w 397859"/>
                <a:gd name="connsiteY0" fmla="*/ 389477 h 389477"/>
                <a:gd name="connsiteX1" fmla="*/ 119063 w 397859"/>
                <a:gd name="connsiteY1" fmla="*/ 374237 h 389477"/>
                <a:gd name="connsiteX2" fmla="*/ 56197 w 397859"/>
                <a:gd name="connsiteY2" fmla="*/ 332899 h 389477"/>
                <a:gd name="connsiteX3" fmla="*/ 14859 w 397859"/>
                <a:gd name="connsiteY3" fmla="*/ 271463 h 389477"/>
                <a:gd name="connsiteX4" fmla="*/ 0 w 397859"/>
                <a:gd name="connsiteY4" fmla="*/ 196501 h 389477"/>
                <a:gd name="connsiteX5" fmla="*/ 0 w 397859"/>
                <a:gd name="connsiteY5" fmla="*/ 195072 h 389477"/>
                <a:gd name="connsiteX6" fmla="*/ 15145 w 397859"/>
                <a:gd name="connsiteY6" fmla="*/ 119444 h 389477"/>
                <a:gd name="connsiteX7" fmla="*/ 56864 w 397859"/>
                <a:gd name="connsiteY7" fmla="*/ 57626 h 389477"/>
                <a:gd name="connsiteX8" fmla="*/ 119729 w 397859"/>
                <a:gd name="connsiteY8" fmla="*/ 15526 h 389477"/>
                <a:gd name="connsiteX9" fmla="*/ 199263 w 397859"/>
                <a:gd name="connsiteY9" fmla="*/ 0 h 389477"/>
                <a:gd name="connsiteX10" fmla="*/ 278797 w 397859"/>
                <a:gd name="connsiteY10" fmla="*/ 15240 h 389477"/>
                <a:gd name="connsiteX11" fmla="*/ 341662 w 397859"/>
                <a:gd name="connsiteY11" fmla="*/ 56959 h 389477"/>
                <a:gd name="connsiteX12" fmla="*/ 383000 w 397859"/>
                <a:gd name="connsiteY12" fmla="*/ 118396 h 389477"/>
                <a:gd name="connsiteX13" fmla="*/ 397859 w 397859"/>
                <a:gd name="connsiteY13" fmla="*/ 193643 h 389477"/>
                <a:gd name="connsiteX14" fmla="*/ 397859 w 397859"/>
                <a:gd name="connsiteY14" fmla="*/ 195072 h 389477"/>
                <a:gd name="connsiteX15" fmla="*/ 382619 w 397859"/>
                <a:gd name="connsiteY15" fmla="*/ 270034 h 389477"/>
                <a:gd name="connsiteX16" fmla="*/ 340900 w 397859"/>
                <a:gd name="connsiteY16" fmla="*/ 331851 h 389477"/>
                <a:gd name="connsiteX17" fmla="*/ 277654 w 397859"/>
                <a:gd name="connsiteY17" fmla="*/ 373856 h 389477"/>
                <a:gd name="connsiteX18" fmla="*/ 197834 w 397859"/>
                <a:gd name="connsiteY18" fmla="*/ 389382 h 389477"/>
                <a:gd name="connsiteX19" fmla="*/ 199263 w 397859"/>
                <a:gd name="connsiteY19" fmla="*/ 315278 h 389477"/>
                <a:gd name="connsiteX20" fmla="*/ 245935 w 397859"/>
                <a:gd name="connsiteY20" fmla="*/ 305753 h 389477"/>
                <a:gd name="connsiteX21" fmla="*/ 281368 w 397859"/>
                <a:gd name="connsiteY21" fmla="*/ 279940 h 389477"/>
                <a:gd name="connsiteX22" fmla="*/ 303847 w 397859"/>
                <a:gd name="connsiteY22" fmla="*/ 242125 h 389477"/>
                <a:gd name="connsiteX23" fmla="*/ 311563 w 397859"/>
                <a:gd name="connsiteY23" fmla="*/ 196501 h 389477"/>
                <a:gd name="connsiteX24" fmla="*/ 311563 w 397859"/>
                <a:gd name="connsiteY24" fmla="*/ 195072 h 389477"/>
                <a:gd name="connsiteX25" fmla="*/ 303181 w 397859"/>
                <a:gd name="connsiteY25" fmla="*/ 148400 h 389477"/>
                <a:gd name="connsiteX26" fmla="*/ 279654 w 397859"/>
                <a:gd name="connsiteY26" fmla="*/ 110204 h 389477"/>
                <a:gd name="connsiteX27" fmla="*/ 243840 w 397859"/>
                <a:gd name="connsiteY27" fmla="*/ 84392 h 389477"/>
                <a:gd name="connsiteX28" fmla="*/ 197834 w 397859"/>
                <a:gd name="connsiteY28" fmla="*/ 74867 h 389477"/>
                <a:gd name="connsiteX29" fmla="*/ 151829 w 397859"/>
                <a:gd name="connsiteY29" fmla="*/ 84392 h 389477"/>
                <a:gd name="connsiteX30" fmla="*/ 116396 w 397859"/>
                <a:gd name="connsiteY30" fmla="*/ 109823 h 389477"/>
                <a:gd name="connsiteX31" fmla="*/ 93917 w 397859"/>
                <a:gd name="connsiteY31" fmla="*/ 147638 h 389477"/>
                <a:gd name="connsiteX32" fmla="*/ 86201 w 397859"/>
                <a:gd name="connsiteY32" fmla="*/ 193548 h 389477"/>
                <a:gd name="connsiteX33" fmla="*/ 86201 w 397859"/>
                <a:gd name="connsiteY33" fmla="*/ 194977 h 389477"/>
                <a:gd name="connsiteX34" fmla="*/ 94583 w 397859"/>
                <a:gd name="connsiteY34" fmla="*/ 241268 h 389477"/>
                <a:gd name="connsiteX35" fmla="*/ 118110 w 397859"/>
                <a:gd name="connsiteY35" fmla="*/ 279463 h 389477"/>
                <a:gd name="connsiteX36" fmla="*/ 153924 w 397859"/>
                <a:gd name="connsiteY36" fmla="*/ 305562 h 389477"/>
                <a:gd name="connsiteX37" fmla="*/ 199263 w 397859"/>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859" h="389477">
                  <a:moveTo>
                    <a:pt x="197834" y="389477"/>
                  </a:moveTo>
                  <a:cubicBezTo>
                    <a:pt x="169545" y="389477"/>
                    <a:pt x="143351" y="384429"/>
                    <a:pt x="119063" y="374237"/>
                  </a:cubicBezTo>
                  <a:cubicBezTo>
                    <a:pt x="94774" y="364141"/>
                    <a:pt x="73819" y="350330"/>
                    <a:pt x="56197" y="332899"/>
                  </a:cubicBezTo>
                  <a:cubicBezTo>
                    <a:pt x="38481" y="315468"/>
                    <a:pt x="24765" y="294989"/>
                    <a:pt x="14859" y="271463"/>
                  </a:cubicBezTo>
                  <a:cubicBezTo>
                    <a:pt x="4953" y="247936"/>
                    <a:pt x="0" y="222980"/>
                    <a:pt x="0" y="196501"/>
                  </a:cubicBezTo>
                  <a:lnTo>
                    <a:pt x="0" y="195072"/>
                  </a:lnTo>
                  <a:cubicBezTo>
                    <a:pt x="0" y="168212"/>
                    <a:pt x="5048" y="143066"/>
                    <a:pt x="15145" y="119444"/>
                  </a:cubicBezTo>
                  <a:cubicBezTo>
                    <a:pt x="25241" y="95917"/>
                    <a:pt x="39148" y="75248"/>
                    <a:pt x="56864" y="57626"/>
                  </a:cubicBezTo>
                  <a:cubicBezTo>
                    <a:pt x="74581" y="39910"/>
                    <a:pt x="95536" y="25908"/>
                    <a:pt x="119729" y="15526"/>
                  </a:cubicBezTo>
                  <a:cubicBezTo>
                    <a:pt x="144018" y="5144"/>
                    <a:pt x="170497" y="0"/>
                    <a:pt x="199263" y="0"/>
                  </a:cubicBezTo>
                  <a:cubicBezTo>
                    <a:pt x="228029" y="0"/>
                    <a:pt x="254508" y="5048"/>
                    <a:pt x="278797" y="15240"/>
                  </a:cubicBezTo>
                  <a:cubicBezTo>
                    <a:pt x="303085" y="25337"/>
                    <a:pt x="324041" y="39243"/>
                    <a:pt x="341662" y="56959"/>
                  </a:cubicBezTo>
                  <a:cubicBezTo>
                    <a:pt x="359378" y="74676"/>
                    <a:pt x="373094" y="95155"/>
                    <a:pt x="383000" y="118396"/>
                  </a:cubicBezTo>
                  <a:cubicBezTo>
                    <a:pt x="392906" y="141732"/>
                    <a:pt x="397859" y="166783"/>
                    <a:pt x="397859" y="193643"/>
                  </a:cubicBezTo>
                  <a:lnTo>
                    <a:pt x="397859" y="195072"/>
                  </a:lnTo>
                  <a:cubicBezTo>
                    <a:pt x="397859" y="221456"/>
                    <a:pt x="392811" y="246412"/>
                    <a:pt x="382619" y="270034"/>
                  </a:cubicBezTo>
                  <a:cubicBezTo>
                    <a:pt x="372523" y="293561"/>
                    <a:pt x="358616" y="314230"/>
                    <a:pt x="340900" y="331851"/>
                  </a:cubicBezTo>
                  <a:cubicBezTo>
                    <a:pt x="323183" y="349472"/>
                    <a:pt x="302133" y="363569"/>
                    <a:pt x="277654" y="373856"/>
                  </a:cubicBezTo>
                  <a:cubicBezTo>
                    <a:pt x="253175" y="384238"/>
                    <a:pt x="226504" y="389382"/>
                    <a:pt x="197834" y="389382"/>
                  </a:cubicBezTo>
                  <a:close/>
                  <a:moveTo>
                    <a:pt x="199263" y="315278"/>
                  </a:moveTo>
                  <a:cubicBezTo>
                    <a:pt x="216598" y="315278"/>
                    <a:pt x="232124" y="312039"/>
                    <a:pt x="245935" y="305753"/>
                  </a:cubicBezTo>
                  <a:cubicBezTo>
                    <a:pt x="259747" y="299371"/>
                    <a:pt x="271558" y="290798"/>
                    <a:pt x="281368" y="279940"/>
                  </a:cubicBezTo>
                  <a:cubicBezTo>
                    <a:pt x="291179" y="269081"/>
                    <a:pt x="298704" y="256508"/>
                    <a:pt x="303847" y="242125"/>
                  </a:cubicBezTo>
                  <a:cubicBezTo>
                    <a:pt x="308991" y="227743"/>
                    <a:pt x="311563" y="212598"/>
                    <a:pt x="311563" y="196501"/>
                  </a:cubicBezTo>
                  <a:lnTo>
                    <a:pt x="311563" y="195072"/>
                  </a:lnTo>
                  <a:cubicBezTo>
                    <a:pt x="311563" y="178594"/>
                    <a:pt x="308800" y="163068"/>
                    <a:pt x="303181" y="148400"/>
                  </a:cubicBezTo>
                  <a:cubicBezTo>
                    <a:pt x="297561" y="133826"/>
                    <a:pt x="289750" y="121063"/>
                    <a:pt x="279654" y="110204"/>
                  </a:cubicBezTo>
                  <a:cubicBezTo>
                    <a:pt x="269558" y="99346"/>
                    <a:pt x="257651" y="90773"/>
                    <a:pt x="243840" y="84392"/>
                  </a:cubicBezTo>
                  <a:cubicBezTo>
                    <a:pt x="230029" y="78010"/>
                    <a:pt x="214693" y="74867"/>
                    <a:pt x="197834" y="74867"/>
                  </a:cubicBezTo>
                  <a:cubicBezTo>
                    <a:pt x="180975" y="74867"/>
                    <a:pt x="165640" y="78010"/>
                    <a:pt x="151829" y="84392"/>
                  </a:cubicBezTo>
                  <a:cubicBezTo>
                    <a:pt x="138017" y="90773"/>
                    <a:pt x="126206" y="99250"/>
                    <a:pt x="116396" y="109823"/>
                  </a:cubicBezTo>
                  <a:cubicBezTo>
                    <a:pt x="106585" y="120396"/>
                    <a:pt x="99060" y="133064"/>
                    <a:pt x="93917" y="147638"/>
                  </a:cubicBezTo>
                  <a:cubicBezTo>
                    <a:pt x="88773" y="162211"/>
                    <a:pt x="86201" y="177546"/>
                    <a:pt x="86201" y="193548"/>
                  </a:cubicBezTo>
                  <a:lnTo>
                    <a:pt x="86201" y="194977"/>
                  </a:lnTo>
                  <a:cubicBezTo>
                    <a:pt x="86201" y="211455"/>
                    <a:pt x="88963" y="226886"/>
                    <a:pt x="94583" y="241268"/>
                  </a:cubicBezTo>
                  <a:cubicBezTo>
                    <a:pt x="100203" y="255651"/>
                    <a:pt x="108013" y="268319"/>
                    <a:pt x="118110" y="279463"/>
                  </a:cubicBezTo>
                  <a:cubicBezTo>
                    <a:pt x="128206" y="290513"/>
                    <a:pt x="140113" y="299275"/>
                    <a:pt x="153924" y="305562"/>
                  </a:cubicBezTo>
                  <a:cubicBezTo>
                    <a:pt x="167735" y="311944"/>
                    <a:pt x="182880"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25" name="Freeform: Shape 24">
              <a:extLst>
                <a:ext uri="{FF2B5EF4-FFF2-40B4-BE49-F238E27FC236}">
                  <a16:creationId xmlns:a16="http://schemas.microsoft.com/office/drawing/2014/main" id="{D75453EE-CEE7-E0B6-CFBF-488ED3E7903E}"/>
                </a:ext>
              </a:extLst>
            </p:cNvPr>
            <p:cNvSpPr/>
            <p:nvPr/>
          </p:nvSpPr>
          <p:spPr>
            <a:xfrm>
              <a:off x="5806925"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2 w 296894"/>
                <a:gd name="connsiteY36" fmla="*/ 224980 h 386714"/>
                <a:gd name="connsiteX37" fmla="*/ 296894 w 296894"/>
                <a:gd name="connsiteY37" fmla="*/ 267938 h 386714"/>
                <a:gd name="connsiteX38" fmla="*/ 296894 w 296894"/>
                <a:gd name="connsiteY38" fmla="*/ 269367 h 386714"/>
                <a:gd name="connsiteX39" fmla="*/ 286322 w 296894"/>
                <a:gd name="connsiteY39" fmla="*/ 320897 h 386714"/>
                <a:gd name="connsiteX40" fmla="*/ 256984 w 296894"/>
                <a:gd name="connsiteY40" fmla="*/ 357188 h 386714"/>
                <a:gd name="connsiteX41" fmla="*/ 212789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8" y="298704"/>
                    <a:pt x="100013" y="306514"/>
                  </a:cubicBezTo>
                  <a:cubicBezTo>
                    <a:pt x="120967" y="314325"/>
                    <a:pt x="141161" y="318135"/>
                    <a:pt x="160401" y="318135"/>
                  </a:cubicBezTo>
                  <a:cubicBezTo>
                    <a:pt x="179642" y="318135"/>
                    <a:pt x="192976"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2" y="241078"/>
                    <a:pt x="176498" y="237553"/>
                    <a:pt x="166402" y="234220"/>
                  </a:cubicBezTo>
                  <a:cubicBezTo>
                    <a:pt x="156305" y="230886"/>
                    <a:pt x="145733" y="227647"/>
                    <a:pt x="134969" y="224314"/>
                  </a:cubicBezTo>
                  <a:cubicBezTo>
                    <a:pt x="121253" y="220599"/>
                    <a:pt x="107537" y="216122"/>
                    <a:pt x="93631" y="210884"/>
                  </a:cubicBezTo>
                  <a:cubicBezTo>
                    <a:pt x="79724" y="205740"/>
                    <a:pt x="67246" y="198977"/>
                    <a:pt x="56197" y="190786"/>
                  </a:cubicBezTo>
                  <a:cubicBezTo>
                    <a:pt x="45149" y="182594"/>
                    <a:pt x="36100" y="172307"/>
                    <a:pt x="28956" y="160115"/>
                  </a:cubicBezTo>
                  <a:cubicBezTo>
                    <a:pt x="21908"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5"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7" y="156210"/>
                    <a:pt x="180975" y="159448"/>
                  </a:cubicBezTo>
                  <a:cubicBezTo>
                    <a:pt x="194596" y="163639"/>
                    <a:pt x="208312" y="168592"/>
                    <a:pt x="222028" y="174212"/>
                  </a:cubicBezTo>
                  <a:cubicBezTo>
                    <a:pt x="235649" y="179832"/>
                    <a:pt x="248031" y="186785"/>
                    <a:pt x="259080" y="194977"/>
                  </a:cubicBezTo>
                  <a:cubicBezTo>
                    <a:pt x="270129" y="203168"/>
                    <a:pt x="279273" y="213169"/>
                    <a:pt x="286322" y="224980"/>
                  </a:cubicBezTo>
                  <a:cubicBezTo>
                    <a:pt x="293370" y="236696"/>
                    <a:pt x="296894" y="251079"/>
                    <a:pt x="296894" y="267938"/>
                  </a:cubicBezTo>
                  <a:lnTo>
                    <a:pt x="296894" y="269367"/>
                  </a:lnTo>
                  <a:cubicBezTo>
                    <a:pt x="296894" y="289084"/>
                    <a:pt x="293370" y="306229"/>
                    <a:pt x="286322" y="320897"/>
                  </a:cubicBezTo>
                  <a:cubicBezTo>
                    <a:pt x="279273" y="335470"/>
                    <a:pt x="269462" y="347567"/>
                    <a:pt x="256984" y="357188"/>
                  </a:cubicBezTo>
                  <a:cubicBezTo>
                    <a:pt x="244507" y="366808"/>
                    <a:pt x="229743" y="374142"/>
                    <a:pt x="212789"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6" name="Freeform: Shape 25">
              <a:extLst>
                <a:ext uri="{FF2B5EF4-FFF2-40B4-BE49-F238E27FC236}">
                  <a16:creationId xmlns:a16="http://schemas.microsoft.com/office/drawing/2014/main" id="{9A0C2C20-E905-7FAF-3606-FCC6A12CA284}"/>
                </a:ext>
              </a:extLst>
            </p:cNvPr>
            <p:cNvSpPr/>
            <p:nvPr/>
          </p:nvSpPr>
          <p:spPr>
            <a:xfrm>
              <a:off x="589573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6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160" y="318135"/>
                    <a:pt x="160401" y="318135"/>
                  </a:cubicBezTo>
                  <a:cubicBezTo>
                    <a:pt x="179641" y="318135"/>
                    <a:pt x="192976"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4"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792"/>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7" name="Freeform: Shape 26">
              <a:extLst>
                <a:ext uri="{FF2B5EF4-FFF2-40B4-BE49-F238E27FC236}">
                  <a16:creationId xmlns:a16="http://schemas.microsoft.com/office/drawing/2014/main" id="{22003E37-807C-56FB-E4B7-5A873237F0E2}"/>
                </a:ext>
              </a:extLst>
            </p:cNvPr>
            <p:cNvSpPr/>
            <p:nvPr/>
          </p:nvSpPr>
          <p:spPr>
            <a:xfrm>
              <a:off x="5985812" y="700558"/>
              <a:ext cx="85097" cy="97141"/>
            </a:xfrm>
            <a:custGeom>
              <a:avLst/>
              <a:gdLst>
                <a:gd name="connsiteX0" fmla="*/ 253651 w 338518"/>
                <a:gd name="connsiteY0" fmla="*/ 378619 h 386429"/>
                <a:gd name="connsiteX1" fmla="*/ 253651 w 338518"/>
                <a:gd name="connsiteY1" fmla="*/ 332708 h 386429"/>
                <a:gd name="connsiteX2" fmla="*/ 204883 w 338518"/>
                <a:gd name="connsiteY2" fmla="*/ 370904 h 386429"/>
                <a:gd name="connsiteX3" fmla="*/ 132779 w 338518"/>
                <a:gd name="connsiteY3" fmla="*/ 386429 h 386429"/>
                <a:gd name="connsiteX4" fmla="*/ 81915 w 338518"/>
                <a:gd name="connsiteY4" fmla="*/ 379000 h 386429"/>
                <a:gd name="connsiteX5" fmla="*/ 39910 w 338518"/>
                <a:gd name="connsiteY5" fmla="*/ 357092 h 386429"/>
                <a:gd name="connsiteX6" fmla="*/ 10954 w 338518"/>
                <a:gd name="connsiteY6" fmla="*/ 321088 h 386429"/>
                <a:gd name="connsiteX7" fmla="*/ 0 w 338518"/>
                <a:gd name="connsiteY7" fmla="*/ 271272 h 386429"/>
                <a:gd name="connsiteX8" fmla="*/ 0 w 338518"/>
                <a:gd name="connsiteY8" fmla="*/ 269843 h 386429"/>
                <a:gd name="connsiteX9" fmla="*/ 11335 w 338518"/>
                <a:gd name="connsiteY9" fmla="*/ 215741 h 386429"/>
                <a:gd name="connsiteX10" fmla="*/ 42767 w 338518"/>
                <a:gd name="connsiteY10" fmla="*/ 177546 h 386429"/>
                <a:gd name="connsiteX11" fmla="*/ 90773 w 338518"/>
                <a:gd name="connsiteY11" fmla="*/ 154972 h 386429"/>
                <a:gd name="connsiteX12" fmla="*/ 151162 w 338518"/>
                <a:gd name="connsiteY12" fmla="*/ 147542 h 386429"/>
                <a:gd name="connsiteX13" fmla="*/ 208788 w 338518"/>
                <a:gd name="connsiteY13" fmla="*/ 151829 h 386429"/>
                <a:gd name="connsiteX14" fmla="*/ 254413 w 338518"/>
                <a:gd name="connsiteY14" fmla="*/ 163163 h 386429"/>
                <a:gd name="connsiteX15" fmla="*/ 254413 w 338518"/>
                <a:gd name="connsiteY15" fmla="*/ 156115 h 386429"/>
                <a:gd name="connsiteX16" fmla="*/ 230696 w 338518"/>
                <a:gd name="connsiteY16" fmla="*/ 96774 h 386429"/>
                <a:gd name="connsiteX17" fmla="*/ 162496 w 338518"/>
                <a:gd name="connsiteY17" fmla="*/ 76295 h 386429"/>
                <a:gd name="connsiteX18" fmla="*/ 106013 w 338518"/>
                <a:gd name="connsiteY18" fmla="*/ 82677 h 386429"/>
                <a:gd name="connsiteX19" fmla="*/ 55816 w 338518"/>
                <a:gd name="connsiteY19" fmla="*/ 99632 h 386429"/>
                <a:gd name="connsiteX20" fmla="*/ 32480 w 338518"/>
                <a:gd name="connsiteY20" fmla="*/ 31052 h 386429"/>
                <a:gd name="connsiteX21" fmla="*/ 96107 w 338518"/>
                <a:gd name="connsiteY21" fmla="*/ 8477 h 386429"/>
                <a:gd name="connsiteX22" fmla="*/ 174593 w 338518"/>
                <a:gd name="connsiteY22" fmla="*/ 0 h 386429"/>
                <a:gd name="connsiteX23" fmla="*/ 298228 w 338518"/>
                <a:gd name="connsiteY23" fmla="*/ 41338 h 386429"/>
                <a:gd name="connsiteX24" fmla="*/ 338519 w 338518"/>
                <a:gd name="connsiteY24" fmla="*/ 157544 h 386429"/>
                <a:gd name="connsiteX25" fmla="*/ 338519 w 338518"/>
                <a:gd name="connsiteY25" fmla="*/ 378714 h 386429"/>
                <a:gd name="connsiteX26" fmla="*/ 253746 w 338518"/>
                <a:gd name="connsiteY26" fmla="*/ 378714 h 386429"/>
                <a:gd name="connsiteX27" fmla="*/ 255746 w 338518"/>
                <a:gd name="connsiteY27" fmla="*/ 222409 h 386429"/>
                <a:gd name="connsiteX28" fmla="*/ 217265 w 338518"/>
                <a:gd name="connsiteY28" fmla="*/ 211836 h 386429"/>
                <a:gd name="connsiteX29" fmla="*/ 170307 w 338518"/>
                <a:gd name="connsiteY29" fmla="*/ 207550 h 386429"/>
                <a:gd name="connsiteX30" fmla="*/ 107442 w 338518"/>
                <a:gd name="connsiteY30" fmla="*/ 223075 h 386429"/>
                <a:gd name="connsiteX31" fmla="*/ 84868 w 338518"/>
                <a:gd name="connsiteY31" fmla="*/ 265462 h 386429"/>
                <a:gd name="connsiteX32" fmla="*/ 84868 w 338518"/>
                <a:gd name="connsiteY32" fmla="*/ 266891 h 386429"/>
                <a:gd name="connsiteX33" fmla="*/ 105728 w 338518"/>
                <a:gd name="connsiteY33" fmla="*/ 307848 h 386429"/>
                <a:gd name="connsiteX34" fmla="*/ 156972 w 338518"/>
                <a:gd name="connsiteY34" fmla="*/ 321945 h 386429"/>
                <a:gd name="connsiteX35" fmla="*/ 196215 w 338518"/>
                <a:gd name="connsiteY35" fmla="*/ 316325 h 386429"/>
                <a:gd name="connsiteX36" fmla="*/ 227647 w 338518"/>
                <a:gd name="connsiteY36" fmla="*/ 300419 h 386429"/>
                <a:gd name="connsiteX37" fmla="*/ 248507 w 338518"/>
                <a:gd name="connsiteY37" fmla="*/ 275654 h 386429"/>
                <a:gd name="connsiteX38" fmla="*/ 255937 w 338518"/>
                <a:gd name="connsiteY38" fmla="*/ 243459 h 386429"/>
                <a:gd name="connsiteX39" fmla="*/ 255937 w 338518"/>
                <a:gd name="connsiteY39" fmla="*/ 222218 h 3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8518" h="386429">
                  <a:moveTo>
                    <a:pt x="253651" y="378619"/>
                  </a:moveTo>
                  <a:lnTo>
                    <a:pt x="253651" y="332708"/>
                  </a:lnTo>
                  <a:cubicBezTo>
                    <a:pt x="240887" y="347758"/>
                    <a:pt x="224695" y="360521"/>
                    <a:pt x="204883" y="370904"/>
                  </a:cubicBezTo>
                  <a:cubicBezTo>
                    <a:pt x="185071" y="381286"/>
                    <a:pt x="161068" y="386429"/>
                    <a:pt x="132779" y="386429"/>
                  </a:cubicBezTo>
                  <a:cubicBezTo>
                    <a:pt x="114871" y="386429"/>
                    <a:pt x="97917" y="383953"/>
                    <a:pt x="81915" y="379000"/>
                  </a:cubicBezTo>
                  <a:cubicBezTo>
                    <a:pt x="65913" y="374047"/>
                    <a:pt x="51911" y="366713"/>
                    <a:pt x="39910" y="357092"/>
                  </a:cubicBezTo>
                  <a:cubicBezTo>
                    <a:pt x="27908" y="347472"/>
                    <a:pt x="18193" y="335471"/>
                    <a:pt x="10954" y="321088"/>
                  </a:cubicBezTo>
                  <a:cubicBezTo>
                    <a:pt x="3620" y="306705"/>
                    <a:pt x="0" y="290132"/>
                    <a:pt x="0" y="271272"/>
                  </a:cubicBezTo>
                  <a:lnTo>
                    <a:pt x="0" y="269843"/>
                  </a:lnTo>
                  <a:cubicBezTo>
                    <a:pt x="0" y="249079"/>
                    <a:pt x="3810" y="231077"/>
                    <a:pt x="11335" y="215741"/>
                  </a:cubicBezTo>
                  <a:cubicBezTo>
                    <a:pt x="18859" y="200406"/>
                    <a:pt x="29337" y="187738"/>
                    <a:pt x="42767" y="177546"/>
                  </a:cubicBezTo>
                  <a:cubicBezTo>
                    <a:pt x="56197" y="167450"/>
                    <a:pt x="72199" y="159925"/>
                    <a:pt x="90773" y="154972"/>
                  </a:cubicBezTo>
                  <a:cubicBezTo>
                    <a:pt x="109347" y="150019"/>
                    <a:pt x="129540" y="147542"/>
                    <a:pt x="151162" y="147542"/>
                  </a:cubicBezTo>
                  <a:cubicBezTo>
                    <a:pt x="172783" y="147542"/>
                    <a:pt x="192976" y="148971"/>
                    <a:pt x="208788" y="151829"/>
                  </a:cubicBezTo>
                  <a:cubicBezTo>
                    <a:pt x="224599" y="154686"/>
                    <a:pt x="239744" y="158401"/>
                    <a:pt x="254413" y="163163"/>
                  </a:cubicBezTo>
                  <a:lnTo>
                    <a:pt x="254413" y="156115"/>
                  </a:lnTo>
                  <a:cubicBezTo>
                    <a:pt x="254413" y="130207"/>
                    <a:pt x="246507" y="110395"/>
                    <a:pt x="230696" y="96774"/>
                  </a:cubicBezTo>
                  <a:cubicBezTo>
                    <a:pt x="214884" y="83153"/>
                    <a:pt x="192214" y="76295"/>
                    <a:pt x="162496" y="76295"/>
                  </a:cubicBezTo>
                  <a:cubicBezTo>
                    <a:pt x="141351" y="76295"/>
                    <a:pt x="122491" y="78391"/>
                    <a:pt x="106013" y="82677"/>
                  </a:cubicBezTo>
                  <a:cubicBezTo>
                    <a:pt x="89535" y="86963"/>
                    <a:pt x="72771" y="92583"/>
                    <a:pt x="55816" y="99632"/>
                  </a:cubicBezTo>
                  <a:lnTo>
                    <a:pt x="32480" y="31052"/>
                  </a:lnTo>
                  <a:cubicBezTo>
                    <a:pt x="53149" y="21622"/>
                    <a:pt x="74390" y="14097"/>
                    <a:pt x="96107" y="8477"/>
                  </a:cubicBezTo>
                  <a:cubicBezTo>
                    <a:pt x="117729" y="2858"/>
                    <a:pt x="143923" y="0"/>
                    <a:pt x="174593" y="0"/>
                  </a:cubicBezTo>
                  <a:cubicBezTo>
                    <a:pt x="230124" y="0"/>
                    <a:pt x="271367" y="13811"/>
                    <a:pt x="298228" y="41338"/>
                  </a:cubicBezTo>
                  <a:cubicBezTo>
                    <a:pt x="325088" y="68866"/>
                    <a:pt x="338519" y="107633"/>
                    <a:pt x="338519" y="157544"/>
                  </a:cubicBezTo>
                  <a:lnTo>
                    <a:pt x="338519" y="378714"/>
                  </a:lnTo>
                  <a:lnTo>
                    <a:pt x="253746" y="378714"/>
                  </a:lnTo>
                  <a:close/>
                  <a:moveTo>
                    <a:pt x="255746" y="222409"/>
                  </a:moveTo>
                  <a:cubicBezTo>
                    <a:pt x="244888" y="218123"/>
                    <a:pt x="232029" y="214598"/>
                    <a:pt x="217265" y="211836"/>
                  </a:cubicBezTo>
                  <a:cubicBezTo>
                    <a:pt x="202406" y="208979"/>
                    <a:pt x="186785" y="207550"/>
                    <a:pt x="170307" y="207550"/>
                  </a:cubicBezTo>
                  <a:cubicBezTo>
                    <a:pt x="143446" y="207550"/>
                    <a:pt x="122491" y="212693"/>
                    <a:pt x="107442" y="223075"/>
                  </a:cubicBezTo>
                  <a:cubicBezTo>
                    <a:pt x="92392" y="233458"/>
                    <a:pt x="84868" y="247555"/>
                    <a:pt x="84868" y="265462"/>
                  </a:cubicBezTo>
                  <a:lnTo>
                    <a:pt x="84868" y="266891"/>
                  </a:lnTo>
                  <a:cubicBezTo>
                    <a:pt x="84868" y="284798"/>
                    <a:pt x="91821" y="298418"/>
                    <a:pt x="105728" y="307848"/>
                  </a:cubicBezTo>
                  <a:cubicBezTo>
                    <a:pt x="119634" y="317278"/>
                    <a:pt x="136684" y="321945"/>
                    <a:pt x="156972" y="321945"/>
                  </a:cubicBezTo>
                  <a:cubicBezTo>
                    <a:pt x="171069" y="321945"/>
                    <a:pt x="184213" y="320040"/>
                    <a:pt x="196215" y="316325"/>
                  </a:cubicBezTo>
                  <a:cubicBezTo>
                    <a:pt x="208216" y="312515"/>
                    <a:pt x="218694" y="307277"/>
                    <a:pt x="227647" y="300419"/>
                  </a:cubicBezTo>
                  <a:cubicBezTo>
                    <a:pt x="236601" y="293561"/>
                    <a:pt x="243554" y="285369"/>
                    <a:pt x="248507" y="275654"/>
                  </a:cubicBezTo>
                  <a:cubicBezTo>
                    <a:pt x="253460" y="266033"/>
                    <a:pt x="255937" y="255270"/>
                    <a:pt x="255937" y="243459"/>
                  </a:cubicBezTo>
                  <a:lnTo>
                    <a:pt x="255937" y="222218"/>
                  </a:lnTo>
                  <a:close/>
                </a:path>
              </a:pathLst>
            </a:custGeom>
            <a:solidFill>
              <a:srgbClr val="44505E"/>
            </a:solidFill>
            <a:ln w="9525" cap="flat">
              <a:noFill/>
              <a:prstDash val="solid"/>
              <a:miter/>
            </a:ln>
          </p:spPr>
          <p:txBody>
            <a:bodyPr rtlCol="0" anchor="ctr"/>
            <a:lstStyle/>
            <a:p>
              <a:endParaRPr lang="pt-BR" noProof="0"/>
            </a:p>
          </p:txBody>
        </p:sp>
        <p:sp>
          <p:nvSpPr>
            <p:cNvPr id="28" name="Freeform: Shape 27">
              <a:extLst>
                <a:ext uri="{FF2B5EF4-FFF2-40B4-BE49-F238E27FC236}">
                  <a16:creationId xmlns:a16="http://schemas.microsoft.com/office/drawing/2014/main" id="{0AD20EF2-9AAD-1DE7-3877-FEFF079C18F0}"/>
                </a:ext>
              </a:extLst>
            </p:cNvPr>
            <p:cNvSpPr/>
            <p:nvPr/>
          </p:nvSpPr>
          <p:spPr>
            <a:xfrm>
              <a:off x="6088843" y="700318"/>
              <a:ext cx="74610" cy="97213"/>
            </a:xfrm>
            <a:custGeom>
              <a:avLst/>
              <a:gdLst>
                <a:gd name="connsiteX0" fmla="*/ 158305 w 296799"/>
                <a:gd name="connsiteY0" fmla="*/ 386715 h 386714"/>
                <a:gd name="connsiteX1" fmla="*/ 76676 w 296799"/>
                <a:gd name="connsiteY1" fmla="*/ 372427 h 386714"/>
                <a:gd name="connsiteX2" fmla="*/ 0 w 296799"/>
                <a:gd name="connsiteY2" fmla="*/ 330327 h 386714"/>
                <a:gd name="connsiteX3" fmla="*/ 38195 w 296799"/>
                <a:gd name="connsiteY3" fmla="*/ 272224 h 386714"/>
                <a:gd name="connsiteX4" fmla="*/ 100013 w 296799"/>
                <a:gd name="connsiteY4" fmla="*/ 306514 h 386714"/>
                <a:gd name="connsiteX5" fmla="*/ 160401 w 296799"/>
                <a:gd name="connsiteY5" fmla="*/ 318135 h 386714"/>
                <a:gd name="connsiteX6" fmla="*/ 203168 w 296799"/>
                <a:gd name="connsiteY6" fmla="*/ 307181 h 386714"/>
                <a:gd name="connsiteX7" fmla="*/ 218408 w 296799"/>
                <a:gd name="connsiteY7" fmla="*/ 277939 h 386714"/>
                <a:gd name="connsiteX8" fmla="*/ 218408 w 296799"/>
                <a:gd name="connsiteY8" fmla="*/ 276511 h 386714"/>
                <a:gd name="connsiteX9" fmla="*/ 211646 w 296799"/>
                <a:gd name="connsiteY9" fmla="*/ 258223 h 386714"/>
                <a:gd name="connsiteX10" fmla="*/ 193262 w 296799"/>
                <a:gd name="connsiteY10" fmla="*/ 244792 h 386714"/>
                <a:gd name="connsiteX11" fmla="*/ 166402 w 296799"/>
                <a:gd name="connsiteY11" fmla="*/ 234220 h 386714"/>
                <a:gd name="connsiteX12" fmla="*/ 134969 w 296799"/>
                <a:gd name="connsiteY12" fmla="*/ 224314 h 386714"/>
                <a:gd name="connsiteX13" fmla="*/ 93631 w 296799"/>
                <a:gd name="connsiteY13" fmla="*/ 210884 h 386714"/>
                <a:gd name="connsiteX14" fmla="*/ 56197 w 296799"/>
                <a:gd name="connsiteY14" fmla="*/ 190786 h 386714"/>
                <a:gd name="connsiteX15" fmla="*/ 28956 w 296799"/>
                <a:gd name="connsiteY15" fmla="*/ 160115 h 386714"/>
                <a:gd name="connsiteX16" fmla="*/ 18383 w 296799"/>
                <a:gd name="connsiteY16" fmla="*/ 114967 h 386714"/>
                <a:gd name="connsiteX17" fmla="*/ 18383 w 296799"/>
                <a:gd name="connsiteY17" fmla="*/ 113538 h 386714"/>
                <a:gd name="connsiteX18" fmla="*/ 28575 w 296799"/>
                <a:gd name="connsiteY18" fmla="*/ 66294 h 386714"/>
                <a:gd name="connsiteX19" fmla="*/ 56864 w 296799"/>
                <a:gd name="connsiteY19" fmla="*/ 30385 h 386714"/>
                <a:gd name="connsiteX20" fmla="*/ 99250 w 296799"/>
                <a:gd name="connsiteY20" fmla="*/ 7810 h 386714"/>
                <a:gd name="connsiteX21" fmla="*/ 151162 w 296799"/>
                <a:gd name="connsiteY21" fmla="*/ 0 h 386714"/>
                <a:gd name="connsiteX22" fmla="*/ 222504 w 296799"/>
                <a:gd name="connsiteY22" fmla="*/ 11430 h 386714"/>
                <a:gd name="connsiteX23" fmla="*/ 288227 w 296799"/>
                <a:gd name="connsiteY23" fmla="*/ 42863 h 386714"/>
                <a:gd name="connsiteX24" fmla="*/ 254317 w 296799"/>
                <a:gd name="connsiteY24" fmla="*/ 103918 h 386714"/>
                <a:gd name="connsiteX25" fmla="*/ 199930 w 296799"/>
                <a:gd name="connsiteY25" fmla="*/ 78105 h 386714"/>
                <a:gd name="connsiteX26" fmla="*/ 149066 w 296799"/>
                <a:gd name="connsiteY26" fmla="*/ 68580 h 386714"/>
                <a:gd name="connsiteX27" fmla="*/ 110585 w 296799"/>
                <a:gd name="connsiteY27" fmla="*/ 79153 h 386714"/>
                <a:gd name="connsiteX28" fmla="*/ 96774 w 296799"/>
                <a:gd name="connsiteY28" fmla="*/ 105918 h 386714"/>
                <a:gd name="connsiteX29" fmla="*/ 96774 w 296799"/>
                <a:gd name="connsiteY29" fmla="*/ 107347 h 386714"/>
                <a:gd name="connsiteX30" fmla="*/ 103822 w 296799"/>
                <a:gd name="connsiteY30" fmla="*/ 124587 h 386714"/>
                <a:gd name="connsiteX31" fmla="*/ 122587 w 296799"/>
                <a:gd name="connsiteY31" fmla="*/ 138017 h 386714"/>
                <a:gd name="connsiteX32" fmla="*/ 149447 w 296799"/>
                <a:gd name="connsiteY32" fmla="*/ 149257 h 386714"/>
                <a:gd name="connsiteX33" fmla="*/ 180880 w 296799"/>
                <a:gd name="connsiteY33" fmla="*/ 159448 h 386714"/>
                <a:gd name="connsiteX34" fmla="*/ 221837 w 296799"/>
                <a:gd name="connsiteY34" fmla="*/ 174212 h 386714"/>
                <a:gd name="connsiteX35" fmla="*/ 258985 w 296799"/>
                <a:gd name="connsiteY35" fmla="*/ 194977 h 386714"/>
                <a:gd name="connsiteX36" fmla="*/ 286226 w 296799"/>
                <a:gd name="connsiteY36" fmla="*/ 224980 h 386714"/>
                <a:gd name="connsiteX37" fmla="*/ 296799 w 296799"/>
                <a:gd name="connsiteY37" fmla="*/ 267938 h 386714"/>
                <a:gd name="connsiteX38" fmla="*/ 296799 w 296799"/>
                <a:gd name="connsiteY38" fmla="*/ 269367 h 386714"/>
                <a:gd name="connsiteX39" fmla="*/ 286226 w 296799"/>
                <a:gd name="connsiteY39" fmla="*/ 320897 h 386714"/>
                <a:gd name="connsiteX40" fmla="*/ 256889 w 296799"/>
                <a:gd name="connsiteY40" fmla="*/ 357188 h 386714"/>
                <a:gd name="connsiteX41" fmla="*/ 212693 w 296799"/>
                <a:gd name="connsiteY41" fmla="*/ 379095 h 386714"/>
                <a:gd name="connsiteX42" fmla="*/ 158305 w 296799"/>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799"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065" y="318135"/>
                    <a:pt x="160401" y="318135"/>
                  </a:cubicBezTo>
                  <a:cubicBezTo>
                    <a:pt x="179737" y="318135"/>
                    <a:pt x="193072"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828" y="227647"/>
                    <a:pt x="134969" y="224314"/>
                  </a:cubicBezTo>
                  <a:cubicBezTo>
                    <a:pt x="121348" y="220599"/>
                    <a:pt x="107537" y="216122"/>
                    <a:pt x="93631" y="210884"/>
                  </a:cubicBezTo>
                  <a:cubicBezTo>
                    <a:pt x="79724" y="205740"/>
                    <a:pt x="67246" y="198977"/>
                    <a:pt x="56197" y="190786"/>
                  </a:cubicBezTo>
                  <a:cubicBezTo>
                    <a:pt x="45148" y="182594"/>
                    <a:pt x="36004"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874" y="0"/>
                    <a:pt x="151162" y="0"/>
                  </a:cubicBezTo>
                  <a:cubicBezTo>
                    <a:pt x="174688" y="0"/>
                    <a:pt x="198501" y="3810"/>
                    <a:pt x="222504" y="11430"/>
                  </a:cubicBezTo>
                  <a:cubicBezTo>
                    <a:pt x="246507" y="19050"/>
                    <a:pt x="268414" y="29527"/>
                    <a:pt x="288227" y="42863"/>
                  </a:cubicBezTo>
                  <a:lnTo>
                    <a:pt x="254317"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774" y="95155"/>
                    <a:pt x="96774" y="105918"/>
                  </a:cubicBezTo>
                  <a:lnTo>
                    <a:pt x="96774" y="107347"/>
                  </a:lnTo>
                  <a:cubicBezTo>
                    <a:pt x="96774" y="113919"/>
                    <a:pt x="99155" y="119634"/>
                    <a:pt x="103822" y="124587"/>
                  </a:cubicBezTo>
                  <a:cubicBezTo>
                    <a:pt x="108490" y="129540"/>
                    <a:pt x="114776" y="134017"/>
                    <a:pt x="122587" y="138017"/>
                  </a:cubicBezTo>
                  <a:cubicBezTo>
                    <a:pt x="130397" y="142018"/>
                    <a:pt x="139351" y="145732"/>
                    <a:pt x="149447" y="149257"/>
                  </a:cubicBezTo>
                  <a:cubicBezTo>
                    <a:pt x="159544" y="152781"/>
                    <a:pt x="170021" y="156210"/>
                    <a:pt x="180880" y="159448"/>
                  </a:cubicBezTo>
                  <a:cubicBezTo>
                    <a:pt x="194500" y="163639"/>
                    <a:pt x="208216" y="168592"/>
                    <a:pt x="221837" y="174212"/>
                  </a:cubicBezTo>
                  <a:cubicBezTo>
                    <a:pt x="235458" y="179832"/>
                    <a:pt x="247840" y="186785"/>
                    <a:pt x="258985" y="194977"/>
                  </a:cubicBezTo>
                  <a:cubicBezTo>
                    <a:pt x="270034" y="203168"/>
                    <a:pt x="279178" y="213169"/>
                    <a:pt x="286226" y="224980"/>
                  </a:cubicBezTo>
                  <a:cubicBezTo>
                    <a:pt x="293275" y="236696"/>
                    <a:pt x="296799" y="251079"/>
                    <a:pt x="296799" y="267938"/>
                  </a:cubicBezTo>
                  <a:lnTo>
                    <a:pt x="296799" y="269367"/>
                  </a:lnTo>
                  <a:cubicBezTo>
                    <a:pt x="296799" y="289084"/>
                    <a:pt x="293275" y="306229"/>
                    <a:pt x="286226" y="320897"/>
                  </a:cubicBezTo>
                  <a:cubicBezTo>
                    <a:pt x="279178" y="335470"/>
                    <a:pt x="269367" y="347567"/>
                    <a:pt x="256889" y="357188"/>
                  </a:cubicBezTo>
                  <a:cubicBezTo>
                    <a:pt x="244412" y="366808"/>
                    <a:pt x="229648" y="374142"/>
                    <a:pt x="212693" y="379095"/>
                  </a:cubicBezTo>
                  <a:cubicBezTo>
                    <a:pt x="195739" y="384048"/>
                    <a:pt x="177641" y="386524"/>
                    <a:pt x="158305" y="386524"/>
                  </a:cubicBezTo>
                  <a:close/>
                </a:path>
              </a:pathLst>
            </a:custGeom>
            <a:solidFill>
              <a:srgbClr val="44505E"/>
            </a:solidFill>
            <a:ln w="9525" cap="flat">
              <a:noFill/>
              <a:prstDash val="solid"/>
              <a:miter/>
            </a:ln>
          </p:spPr>
          <p:txBody>
            <a:bodyPr rtlCol="0" anchor="ctr"/>
            <a:lstStyle/>
            <a:p>
              <a:endParaRPr lang="pt-BR" noProof="0"/>
            </a:p>
          </p:txBody>
        </p:sp>
        <p:sp>
          <p:nvSpPr>
            <p:cNvPr id="29" name="Freeform: Shape 28">
              <a:extLst>
                <a:ext uri="{FF2B5EF4-FFF2-40B4-BE49-F238E27FC236}">
                  <a16:creationId xmlns:a16="http://schemas.microsoft.com/office/drawing/2014/main" id="{FE009C8E-06CD-7C3E-CC02-9CAFC7D4C225}"/>
                </a:ext>
              </a:extLst>
            </p:cNvPr>
            <p:cNvSpPr/>
            <p:nvPr/>
          </p:nvSpPr>
          <p:spPr>
            <a:xfrm>
              <a:off x="6238590"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4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7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2 w 568166"/>
                <a:gd name="connsiteY21" fmla="*/ 381000 h 381000"/>
                <a:gd name="connsiteX22" fmla="*/ 240982 w 568166"/>
                <a:gd name="connsiteY22" fmla="*/ 168783 h 381000"/>
                <a:gd name="connsiteX23" fmla="*/ 221266 w 568166"/>
                <a:gd name="connsiteY23" fmla="*/ 101822 h 381000"/>
                <a:gd name="connsiteX24" fmla="*/ 165640 w 568166"/>
                <a:gd name="connsiteY24" fmla="*/ 78581 h 381000"/>
                <a:gd name="connsiteX25" fmla="*/ 108013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69" y="48196"/>
                    <a:pt x="105918" y="40576"/>
                  </a:cubicBezTo>
                  <a:cubicBezTo>
                    <a:pt x="112966" y="32956"/>
                    <a:pt x="121063" y="26099"/>
                    <a:pt x="130207" y="19907"/>
                  </a:cubicBezTo>
                  <a:cubicBezTo>
                    <a:pt x="139351" y="13716"/>
                    <a:pt x="149638" y="8858"/>
                    <a:pt x="161163" y="5334"/>
                  </a:cubicBezTo>
                  <a:cubicBezTo>
                    <a:pt x="172688" y="1714"/>
                    <a:pt x="185452" y="0"/>
                    <a:pt x="199549" y="0"/>
                  </a:cubicBezTo>
                  <a:cubicBezTo>
                    <a:pt x="226314" y="0"/>
                    <a:pt x="248983" y="6096"/>
                    <a:pt x="267557" y="18193"/>
                  </a:cubicBezTo>
                  <a:cubicBezTo>
                    <a:pt x="286131" y="30289"/>
                    <a:pt x="300323" y="46387"/>
                    <a:pt x="310134" y="66294"/>
                  </a:cubicBezTo>
                  <a:cubicBezTo>
                    <a:pt x="325279" y="46387"/>
                    <a:pt x="343090" y="30289"/>
                    <a:pt x="363664" y="18193"/>
                  </a:cubicBezTo>
                  <a:cubicBezTo>
                    <a:pt x="384238" y="6096"/>
                    <a:pt x="408718" y="0"/>
                    <a:pt x="437007" y="0"/>
                  </a:cubicBezTo>
                  <a:cubicBezTo>
                    <a:pt x="478155"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7" y="78486"/>
                  </a:cubicBezTo>
                  <a:cubicBezTo>
                    <a:pt x="382809" y="78486"/>
                    <a:pt x="364141" y="86392"/>
                    <a:pt x="349377" y="102108"/>
                  </a:cubicBezTo>
                  <a:cubicBezTo>
                    <a:pt x="334613" y="117824"/>
                    <a:pt x="327184" y="140779"/>
                    <a:pt x="327184" y="170879"/>
                  </a:cubicBezTo>
                  <a:lnTo>
                    <a:pt x="327184" y="381000"/>
                  </a:lnTo>
                  <a:lnTo>
                    <a:pt x="240982" y="381000"/>
                  </a:lnTo>
                  <a:lnTo>
                    <a:pt x="240982" y="168783"/>
                  </a:lnTo>
                  <a:cubicBezTo>
                    <a:pt x="240982" y="139637"/>
                    <a:pt x="234410" y="117348"/>
                    <a:pt x="221266" y="101822"/>
                  </a:cubicBezTo>
                  <a:cubicBezTo>
                    <a:pt x="208121" y="86296"/>
                    <a:pt x="189547" y="78581"/>
                    <a:pt x="165640" y="78581"/>
                  </a:cubicBezTo>
                  <a:cubicBezTo>
                    <a:pt x="141732" y="78581"/>
                    <a:pt x="122491" y="86773"/>
                    <a:pt x="108013"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30" name="Freeform: Shape 29">
              <a:extLst>
                <a:ext uri="{FF2B5EF4-FFF2-40B4-BE49-F238E27FC236}">
                  <a16:creationId xmlns:a16="http://schemas.microsoft.com/office/drawing/2014/main" id="{078AB5EF-7A2F-D607-96DE-6B30745B19CD}"/>
                </a:ext>
              </a:extLst>
            </p:cNvPr>
            <p:cNvSpPr/>
            <p:nvPr/>
          </p:nvSpPr>
          <p:spPr>
            <a:xfrm>
              <a:off x="6400979" y="664258"/>
              <a:ext cx="85097" cy="133441"/>
            </a:xfrm>
            <a:custGeom>
              <a:avLst/>
              <a:gdLst>
                <a:gd name="connsiteX0" fmla="*/ 253651 w 338518"/>
                <a:gd name="connsiteY0" fmla="*/ 523018 h 530828"/>
                <a:gd name="connsiteX1" fmla="*/ 253651 w 338518"/>
                <a:gd name="connsiteY1" fmla="*/ 477107 h 530828"/>
                <a:gd name="connsiteX2" fmla="*/ 204883 w 338518"/>
                <a:gd name="connsiteY2" fmla="*/ 515303 h 530828"/>
                <a:gd name="connsiteX3" fmla="*/ 132779 w 338518"/>
                <a:gd name="connsiteY3" fmla="*/ 530828 h 530828"/>
                <a:gd name="connsiteX4" fmla="*/ 81915 w 338518"/>
                <a:gd name="connsiteY4" fmla="*/ 523399 h 530828"/>
                <a:gd name="connsiteX5" fmla="*/ 39910 w 338518"/>
                <a:gd name="connsiteY5" fmla="*/ 501491 h 530828"/>
                <a:gd name="connsiteX6" fmla="*/ 10954 w 338518"/>
                <a:gd name="connsiteY6" fmla="*/ 465487 h 530828"/>
                <a:gd name="connsiteX7" fmla="*/ 0 w 338518"/>
                <a:gd name="connsiteY7" fmla="*/ 415671 h 530828"/>
                <a:gd name="connsiteX8" fmla="*/ 0 w 338518"/>
                <a:gd name="connsiteY8" fmla="*/ 414242 h 530828"/>
                <a:gd name="connsiteX9" fmla="*/ 11335 w 338518"/>
                <a:gd name="connsiteY9" fmla="*/ 360140 h 530828"/>
                <a:gd name="connsiteX10" fmla="*/ 42767 w 338518"/>
                <a:gd name="connsiteY10" fmla="*/ 321945 h 530828"/>
                <a:gd name="connsiteX11" fmla="*/ 90773 w 338518"/>
                <a:gd name="connsiteY11" fmla="*/ 299371 h 530828"/>
                <a:gd name="connsiteX12" fmla="*/ 151162 w 338518"/>
                <a:gd name="connsiteY12" fmla="*/ 291941 h 530828"/>
                <a:gd name="connsiteX13" fmla="*/ 208788 w 338518"/>
                <a:gd name="connsiteY13" fmla="*/ 296228 h 530828"/>
                <a:gd name="connsiteX14" fmla="*/ 254413 w 338518"/>
                <a:gd name="connsiteY14" fmla="*/ 307562 h 530828"/>
                <a:gd name="connsiteX15" fmla="*/ 254413 w 338518"/>
                <a:gd name="connsiteY15" fmla="*/ 300514 h 530828"/>
                <a:gd name="connsiteX16" fmla="*/ 230696 w 338518"/>
                <a:gd name="connsiteY16" fmla="*/ 241173 h 530828"/>
                <a:gd name="connsiteX17" fmla="*/ 162496 w 338518"/>
                <a:gd name="connsiteY17" fmla="*/ 220694 h 530828"/>
                <a:gd name="connsiteX18" fmla="*/ 106013 w 338518"/>
                <a:gd name="connsiteY18" fmla="*/ 227076 h 530828"/>
                <a:gd name="connsiteX19" fmla="*/ 55817 w 338518"/>
                <a:gd name="connsiteY19" fmla="*/ 244031 h 530828"/>
                <a:gd name="connsiteX20" fmla="*/ 32480 w 338518"/>
                <a:gd name="connsiteY20" fmla="*/ 175451 h 530828"/>
                <a:gd name="connsiteX21" fmla="*/ 96107 w 338518"/>
                <a:gd name="connsiteY21" fmla="*/ 152876 h 530828"/>
                <a:gd name="connsiteX22" fmla="*/ 174593 w 338518"/>
                <a:gd name="connsiteY22" fmla="*/ 144399 h 530828"/>
                <a:gd name="connsiteX23" fmla="*/ 298228 w 338518"/>
                <a:gd name="connsiteY23" fmla="*/ 185738 h 530828"/>
                <a:gd name="connsiteX24" fmla="*/ 338519 w 338518"/>
                <a:gd name="connsiteY24" fmla="*/ 301943 h 530828"/>
                <a:gd name="connsiteX25" fmla="*/ 338519 w 338518"/>
                <a:gd name="connsiteY25" fmla="*/ 523113 h 530828"/>
                <a:gd name="connsiteX26" fmla="*/ 253746 w 338518"/>
                <a:gd name="connsiteY26" fmla="*/ 523113 h 530828"/>
                <a:gd name="connsiteX27" fmla="*/ 45911 w 338518"/>
                <a:gd name="connsiteY27" fmla="*/ 95441 h 530828"/>
                <a:gd name="connsiteX28" fmla="*/ 75248 w 338518"/>
                <a:gd name="connsiteY28" fmla="*/ 29718 h 530828"/>
                <a:gd name="connsiteX29" fmla="*/ 125063 w 338518"/>
                <a:gd name="connsiteY29" fmla="*/ 7144 h 530828"/>
                <a:gd name="connsiteX30" fmla="*/ 154019 w 338518"/>
                <a:gd name="connsiteY30" fmla="*/ 11716 h 530828"/>
                <a:gd name="connsiteX31" fmla="*/ 181261 w 338518"/>
                <a:gd name="connsiteY31" fmla="*/ 21622 h 530828"/>
                <a:gd name="connsiteX32" fmla="*/ 205645 w 338518"/>
                <a:gd name="connsiteY32" fmla="*/ 31147 h 530828"/>
                <a:gd name="connsiteX33" fmla="*/ 226790 w 338518"/>
                <a:gd name="connsiteY33" fmla="*/ 35338 h 530828"/>
                <a:gd name="connsiteX34" fmla="*/ 250127 w 338518"/>
                <a:gd name="connsiteY34" fmla="*/ 26861 h 530828"/>
                <a:gd name="connsiteX35" fmla="*/ 265652 w 338518"/>
                <a:gd name="connsiteY35" fmla="*/ 0 h 530828"/>
                <a:gd name="connsiteX36" fmla="*/ 312991 w 338518"/>
                <a:gd name="connsiteY36" fmla="*/ 14859 h 530828"/>
                <a:gd name="connsiteX37" fmla="*/ 283655 w 338518"/>
                <a:gd name="connsiteY37" fmla="*/ 79820 h 530828"/>
                <a:gd name="connsiteX38" fmla="*/ 233839 w 338518"/>
                <a:gd name="connsiteY38" fmla="*/ 102394 h 530828"/>
                <a:gd name="connsiteX39" fmla="*/ 204883 w 338518"/>
                <a:gd name="connsiteY39" fmla="*/ 98203 h 530828"/>
                <a:gd name="connsiteX40" fmla="*/ 177641 w 338518"/>
                <a:gd name="connsiteY40" fmla="*/ 88678 h 530828"/>
                <a:gd name="connsiteX41" fmla="*/ 152876 w 338518"/>
                <a:gd name="connsiteY41" fmla="*/ 78772 h 530828"/>
                <a:gd name="connsiteX42" fmla="*/ 132017 w 338518"/>
                <a:gd name="connsiteY42" fmla="*/ 74200 h 530828"/>
                <a:gd name="connsiteX43" fmla="*/ 108680 w 338518"/>
                <a:gd name="connsiteY43" fmla="*/ 82677 h 530828"/>
                <a:gd name="connsiteX44" fmla="*/ 93154 w 338518"/>
                <a:gd name="connsiteY44" fmla="*/ 109538 h 530828"/>
                <a:gd name="connsiteX45" fmla="*/ 45815 w 338518"/>
                <a:gd name="connsiteY45" fmla="*/ 95441 h 530828"/>
                <a:gd name="connsiteX46" fmla="*/ 255842 w 338518"/>
                <a:gd name="connsiteY46" fmla="*/ 366808 h 530828"/>
                <a:gd name="connsiteX47" fmla="*/ 217361 w 338518"/>
                <a:gd name="connsiteY47" fmla="*/ 356235 h 530828"/>
                <a:gd name="connsiteX48" fmla="*/ 170402 w 338518"/>
                <a:gd name="connsiteY48" fmla="*/ 351949 h 530828"/>
                <a:gd name="connsiteX49" fmla="*/ 107537 w 338518"/>
                <a:gd name="connsiteY49" fmla="*/ 367475 h 530828"/>
                <a:gd name="connsiteX50" fmla="*/ 84963 w 338518"/>
                <a:gd name="connsiteY50" fmla="*/ 409861 h 530828"/>
                <a:gd name="connsiteX51" fmla="*/ 84963 w 338518"/>
                <a:gd name="connsiteY51" fmla="*/ 411290 h 530828"/>
                <a:gd name="connsiteX52" fmla="*/ 105823 w 338518"/>
                <a:gd name="connsiteY52" fmla="*/ 452247 h 530828"/>
                <a:gd name="connsiteX53" fmla="*/ 157067 w 338518"/>
                <a:gd name="connsiteY53" fmla="*/ 466344 h 530828"/>
                <a:gd name="connsiteX54" fmla="*/ 196310 w 338518"/>
                <a:gd name="connsiteY54" fmla="*/ 460724 h 530828"/>
                <a:gd name="connsiteX55" fmla="*/ 227743 w 338518"/>
                <a:gd name="connsiteY55" fmla="*/ 444818 h 530828"/>
                <a:gd name="connsiteX56" fmla="*/ 248603 w 338518"/>
                <a:gd name="connsiteY56" fmla="*/ 420053 h 530828"/>
                <a:gd name="connsiteX57" fmla="*/ 256032 w 338518"/>
                <a:gd name="connsiteY57" fmla="*/ 387858 h 530828"/>
                <a:gd name="connsiteX58" fmla="*/ 256032 w 338518"/>
                <a:gd name="connsiteY58" fmla="*/ 366617 h 5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8518" h="530828">
                  <a:moveTo>
                    <a:pt x="253651" y="523018"/>
                  </a:moveTo>
                  <a:lnTo>
                    <a:pt x="253651" y="477107"/>
                  </a:lnTo>
                  <a:cubicBezTo>
                    <a:pt x="240887" y="492157"/>
                    <a:pt x="224695" y="504920"/>
                    <a:pt x="204883" y="515303"/>
                  </a:cubicBezTo>
                  <a:cubicBezTo>
                    <a:pt x="185071" y="525685"/>
                    <a:pt x="161068" y="530828"/>
                    <a:pt x="132779" y="530828"/>
                  </a:cubicBezTo>
                  <a:cubicBezTo>
                    <a:pt x="114871" y="530828"/>
                    <a:pt x="97917" y="528352"/>
                    <a:pt x="81915" y="523399"/>
                  </a:cubicBezTo>
                  <a:cubicBezTo>
                    <a:pt x="65913" y="518446"/>
                    <a:pt x="51911" y="511112"/>
                    <a:pt x="39910" y="501491"/>
                  </a:cubicBezTo>
                  <a:cubicBezTo>
                    <a:pt x="27908" y="491871"/>
                    <a:pt x="18193" y="479870"/>
                    <a:pt x="10954" y="465487"/>
                  </a:cubicBezTo>
                  <a:cubicBezTo>
                    <a:pt x="3620" y="451104"/>
                    <a:pt x="0" y="434531"/>
                    <a:pt x="0" y="415671"/>
                  </a:cubicBezTo>
                  <a:lnTo>
                    <a:pt x="0" y="414242"/>
                  </a:lnTo>
                  <a:cubicBezTo>
                    <a:pt x="0" y="393478"/>
                    <a:pt x="3810" y="375476"/>
                    <a:pt x="11335" y="360140"/>
                  </a:cubicBezTo>
                  <a:cubicBezTo>
                    <a:pt x="18860" y="344805"/>
                    <a:pt x="29337" y="332137"/>
                    <a:pt x="42767" y="321945"/>
                  </a:cubicBezTo>
                  <a:cubicBezTo>
                    <a:pt x="56198" y="311849"/>
                    <a:pt x="72200" y="304324"/>
                    <a:pt x="90773" y="299371"/>
                  </a:cubicBezTo>
                  <a:cubicBezTo>
                    <a:pt x="109347" y="294418"/>
                    <a:pt x="129540" y="291941"/>
                    <a:pt x="151162" y="291941"/>
                  </a:cubicBezTo>
                  <a:cubicBezTo>
                    <a:pt x="172784" y="291941"/>
                    <a:pt x="192977" y="293370"/>
                    <a:pt x="208788" y="296228"/>
                  </a:cubicBezTo>
                  <a:cubicBezTo>
                    <a:pt x="224600" y="299085"/>
                    <a:pt x="239744" y="302800"/>
                    <a:pt x="254413" y="307562"/>
                  </a:cubicBezTo>
                  <a:lnTo>
                    <a:pt x="254413" y="300514"/>
                  </a:lnTo>
                  <a:cubicBezTo>
                    <a:pt x="254413" y="274606"/>
                    <a:pt x="246507" y="254794"/>
                    <a:pt x="230696" y="241173"/>
                  </a:cubicBezTo>
                  <a:cubicBezTo>
                    <a:pt x="214884" y="227552"/>
                    <a:pt x="192215" y="220694"/>
                    <a:pt x="162496" y="220694"/>
                  </a:cubicBezTo>
                  <a:cubicBezTo>
                    <a:pt x="141351" y="220694"/>
                    <a:pt x="122492" y="222790"/>
                    <a:pt x="106013" y="227076"/>
                  </a:cubicBezTo>
                  <a:cubicBezTo>
                    <a:pt x="89535" y="231362"/>
                    <a:pt x="72771" y="236982"/>
                    <a:pt x="55817" y="244031"/>
                  </a:cubicBezTo>
                  <a:lnTo>
                    <a:pt x="32480" y="175451"/>
                  </a:lnTo>
                  <a:cubicBezTo>
                    <a:pt x="53150" y="166021"/>
                    <a:pt x="74390" y="158496"/>
                    <a:pt x="96107" y="152876"/>
                  </a:cubicBezTo>
                  <a:cubicBezTo>
                    <a:pt x="117729" y="147257"/>
                    <a:pt x="143923" y="144399"/>
                    <a:pt x="174593" y="144399"/>
                  </a:cubicBezTo>
                  <a:cubicBezTo>
                    <a:pt x="230124" y="144399"/>
                    <a:pt x="271367" y="158210"/>
                    <a:pt x="298228" y="185738"/>
                  </a:cubicBezTo>
                  <a:cubicBezTo>
                    <a:pt x="325088" y="213265"/>
                    <a:pt x="338519" y="252032"/>
                    <a:pt x="338519" y="301943"/>
                  </a:cubicBezTo>
                  <a:lnTo>
                    <a:pt x="338519" y="523113"/>
                  </a:lnTo>
                  <a:lnTo>
                    <a:pt x="253746" y="523113"/>
                  </a:lnTo>
                  <a:close/>
                  <a:moveTo>
                    <a:pt x="45911" y="95441"/>
                  </a:moveTo>
                  <a:cubicBezTo>
                    <a:pt x="53912" y="66675"/>
                    <a:pt x="63722" y="44768"/>
                    <a:pt x="75248" y="29718"/>
                  </a:cubicBezTo>
                  <a:cubicBezTo>
                    <a:pt x="86773" y="14669"/>
                    <a:pt x="103442" y="7144"/>
                    <a:pt x="125063" y="7144"/>
                  </a:cubicBezTo>
                  <a:cubicBezTo>
                    <a:pt x="134969" y="7144"/>
                    <a:pt x="144590" y="8668"/>
                    <a:pt x="154019" y="11716"/>
                  </a:cubicBezTo>
                  <a:cubicBezTo>
                    <a:pt x="163449" y="14764"/>
                    <a:pt x="172498" y="18098"/>
                    <a:pt x="181261" y="21622"/>
                  </a:cubicBezTo>
                  <a:cubicBezTo>
                    <a:pt x="189929" y="25146"/>
                    <a:pt x="198120" y="28385"/>
                    <a:pt x="205645" y="31147"/>
                  </a:cubicBezTo>
                  <a:cubicBezTo>
                    <a:pt x="213170" y="34004"/>
                    <a:pt x="220218" y="35338"/>
                    <a:pt x="226790" y="35338"/>
                  </a:cubicBezTo>
                  <a:cubicBezTo>
                    <a:pt x="237173" y="35338"/>
                    <a:pt x="244888" y="32480"/>
                    <a:pt x="250127" y="26861"/>
                  </a:cubicBezTo>
                  <a:cubicBezTo>
                    <a:pt x="255270" y="21241"/>
                    <a:pt x="260509" y="12287"/>
                    <a:pt x="265652" y="0"/>
                  </a:cubicBezTo>
                  <a:lnTo>
                    <a:pt x="312991" y="14859"/>
                  </a:lnTo>
                  <a:cubicBezTo>
                    <a:pt x="304991" y="43148"/>
                    <a:pt x="295180" y="64770"/>
                    <a:pt x="283655" y="79820"/>
                  </a:cubicBezTo>
                  <a:cubicBezTo>
                    <a:pt x="272129" y="94869"/>
                    <a:pt x="255461" y="102394"/>
                    <a:pt x="233839" y="102394"/>
                  </a:cubicBezTo>
                  <a:cubicBezTo>
                    <a:pt x="223933" y="102394"/>
                    <a:pt x="214313" y="100965"/>
                    <a:pt x="204883" y="98203"/>
                  </a:cubicBezTo>
                  <a:cubicBezTo>
                    <a:pt x="195453" y="95345"/>
                    <a:pt x="186404" y="92202"/>
                    <a:pt x="177641" y="88678"/>
                  </a:cubicBezTo>
                  <a:cubicBezTo>
                    <a:pt x="168878" y="85154"/>
                    <a:pt x="160687" y="81820"/>
                    <a:pt x="152876" y="78772"/>
                  </a:cubicBezTo>
                  <a:cubicBezTo>
                    <a:pt x="145066" y="75724"/>
                    <a:pt x="138113" y="74200"/>
                    <a:pt x="132017" y="74200"/>
                  </a:cubicBezTo>
                  <a:cubicBezTo>
                    <a:pt x="121634" y="74200"/>
                    <a:pt x="113919" y="77057"/>
                    <a:pt x="108680" y="82677"/>
                  </a:cubicBezTo>
                  <a:cubicBezTo>
                    <a:pt x="103537" y="88297"/>
                    <a:pt x="98298" y="97250"/>
                    <a:pt x="93154" y="109538"/>
                  </a:cubicBezTo>
                  <a:lnTo>
                    <a:pt x="45815" y="95441"/>
                  </a:lnTo>
                  <a:close/>
                  <a:moveTo>
                    <a:pt x="255842" y="366808"/>
                  </a:moveTo>
                  <a:cubicBezTo>
                    <a:pt x="244983" y="362522"/>
                    <a:pt x="232124" y="358997"/>
                    <a:pt x="217361" y="356235"/>
                  </a:cubicBezTo>
                  <a:cubicBezTo>
                    <a:pt x="202502" y="353378"/>
                    <a:pt x="186880" y="351949"/>
                    <a:pt x="170402" y="351949"/>
                  </a:cubicBezTo>
                  <a:cubicBezTo>
                    <a:pt x="143542" y="351949"/>
                    <a:pt x="122587" y="357092"/>
                    <a:pt x="107537" y="367475"/>
                  </a:cubicBezTo>
                  <a:cubicBezTo>
                    <a:pt x="92488" y="377857"/>
                    <a:pt x="84963" y="391954"/>
                    <a:pt x="84963" y="409861"/>
                  </a:cubicBezTo>
                  <a:lnTo>
                    <a:pt x="84963" y="411290"/>
                  </a:lnTo>
                  <a:cubicBezTo>
                    <a:pt x="84963" y="429197"/>
                    <a:pt x="91916" y="442817"/>
                    <a:pt x="105823" y="452247"/>
                  </a:cubicBezTo>
                  <a:cubicBezTo>
                    <a:pt x="119729" y="461677"/>
                    <a:pt x="136779" y="466344"/>
                    <a:pt x="157067" y="466344"/>
                  </a:cubicBezTo>
                  <a:cubicBezTo>
                    <a:pt x="171164" y="466344"/>
                    <a:pt x="184309" y="464439"/>
                    <a:pt x="196310" y="460724"/>
                  </a:cubicBezTo>
                  <a:cubicBezTo>
                    <a:pt x="208312" y="456914"/>
                    <a:pt x="218789" y="451676"/>
                    <a:pt x="227743" y="444818"/>
                  </a:cubicBezTo>
                  <a:cubicBezTo>
                    <a:pt x="236696" y="437960"/>
                    <a:pt x="243650" y="429768"/>
                    <a:pt x="248603" y="420053"/>
                  </a:cubicBezTo>
                  <a:cubicBezTo>
                    <a:pt x="253555" y="410432"/>
                    <a:pt x="256032" y="399669"/>
                    <a:pt x="256032" y="387858"/>
                  </a:cubicBezTo>
                  <a:lnTo>
                    <a:pt x="256032" y="366617"/>
                  </a:lnTo>
                  <a:close/>
                </a:path>
              </a:pathLst>
            </a:custGeom>
            <a:solidFill>
              <a:srgbClr val="44505E"/>
            </a:solidFill>
            <a:ln w="9525" cap="flat">
              <a:noFill/>
              <a:prstDash val="solid"/>
              <a:miter/>
            </a:ln>
          </p:spPr>
          <p:txBody>
            <a:bodyPr rtlCol="0" anchor="ctr"/>
            <a:lstStyle/>
            <a:p>
              <a:endParaRPr lang="pt-BR" noProof="0"/>
            </a:p>
          </p:txBody>
        </p:sp>
        <p:sp>
          <p:nvSpPr>
            <p:cNvPr id="31" name="Freeform: Shape 30">
              <a:extLst>
                <a:ext uri="{FF2B5EF4-FFF2-40B4-BE49-F238E27FC236}">
                  <a16:creationId xmlns:a16="http://schemas.microsoft.com/office/drawing/2014/main" id="{FDD184AC-9188-27FD-B7AD-DE1933858D1A}"/>
                </a:ext>
              </a:extLst>
            </p:cNvPr>
            <p:cNvSpPr/>
            <p:nvPr/>
          </p:nvSpPr>
          <p:spPr>
            <a:xfrm>
              <a:off x="6506477" y="699959"/>
              <a:ext cx="100038" cy="97908"/>
            </a:xfrm>
            <a:custGeom>
              <a:avLst/>
              <a:gdLst>
                <a:gd name="connsiteX0" fmla="*/ 197834 w 397954"/>
                <a:gd name="connsiteY0" fmla="*/ 389477 h 389477"/>
                <a:gd name="connsiteX1" fmla="*/ 119063 w 397954"/>
                <a:gd name="connsiteY1" fmla="*/ 374237 h 389477"/>
                <a:gd name="connsiteX2" fmla="*/ 56198 w 397954"/>
                <a:gd name="connsiteY2" fmla="*/ 332899 h 389477"/>
                <a:gd name="connsiteX3" fmla="*/ 14859 w 397954"/>
                <a:gd name="connsiteY3" fmla="*/ 271463 h 389477"/>
                <a:gd name="connsiteX4" fmla="*/ 0 w 397954"/>
                <a:gd name="connsiteY4" fmla="*/ 196501 h 389477"/>
                <a:gd name="connsiteX5" fmla="*/ 0 w 397954"/>
                <a:gd name="connsiteY5" fmla="*/ 195072 h 389477"/>
                <a:gd name="connsiteX6" fmla="*/ 15240 w 397954"/>
                <a:gd name="connsiteY6" fmla="*/ 119444 h 389477"/>
                <a:gd name="connsiteX7" fmla="*/ 56960 w 397954"/>
                <a:gd name="connsiteY7" fmla="*/ 57626 h 389477"/>
                <a:gd name="connsiteX8" fmla="*/ 119825 w 397954"/>
                <a:gd name="connsiteY8" fmla="*/ 15526 h 389477"/>
                <a:gd name="connsiteX9" fmla="*/ 199358 w 397954"/>
                <a:gd name="connsiteY9" fmla="*/ 0 h 389477"/>
                <a:gd name="connsiteX10" fmla="*/ 278892 w 397954"/>
                <a:gd name="connsiteY10" fmla="*/ 15240 h 389477"/>
                <a:gd name="connsiteX11" fmla="*/ 341757 w 397954"/>
                <a:gd name="connsiteY11" fmla="*/ 56959 h 389477"/>
                <a:gd name="connsiteX12" fmla="*/ 383096 w 397954"/>
                <a:gd name="connsiteY12" fmla="*/ 118396 h 389477"/>
                <a:gd name="connsiteX13" fmla="*/ 397955 w 397954"/>
                <a:gd name="connsiteY13" fmla="*/ 193643 h 389477"/>
                <a:gd name="connsiteX14" fmla="*/ 397955 w 397954"/>
                <a:gd name="connsiteY14" fmla="*/ 195072 h 389477"/>
                <a:gd name="connsiteX15" fmla="*/ 382714 w 397954"/>
                <a:gd name="connsiteY15" fmla="*/ 270034 h 389477"/>
                <a:gd name="connsiteX16" fmla="*/ 340995 w 397954"/>
                <a:gd name="connsiteY16" fmla="*/ 331851 h 389477"/>
                <a:gd name="connsiteX17" fmla="*/ 277749 w 397954"/>
                <a:gd name="connsiteY17" fmla="*/ 373856 h 389477"/>
                <a:gd name="connsiteX18" fmla="*/ 197834 w 397954"/>
                <a:gd name="connsiteY18" fmla="*/ 389382 h 389477"/>
                <a:gd name="connsiteX19" fmla="*/ 199263 w 397954"/>
                <a:gd name="connsiteY19" fmla="*/ 315278 h 389477"/>
                <a:gd name="connsiteX20" fmla="*/ 245936 w 397954"/>
                <a:gd name="connsiteY20" fmla="*/ 305753 h 389477"/>
                <a:gd name="connsiteX21" fmla="*/ 281369 w 397954"/>
                <a:gd name="connsiteY21" fmla="*/ 279940 h 389477"/>
                <a:gd name="connsiteX22" fmla="*/ 303848 w 397954"/>
                <a:gd name="connsiteY22" fmla="*/ 242125 h 389477"/>
                <a:gd name="connsiteX23" fmla="*/ 311563 w 397954"/>
                <a:gd name="connsiteY23" fmla="*/ 196501 h 389477"/>
                <a:gd name="connsiteX24" fmla="*/ 311563 w 397954"/>
                <a:gd name="connsiteY24" fmla="*/ 195072 h 389477"/>
                <a:gd name="connsiteX25" fmla="*/ 303181 w 397954"/>
                <a:gd name="connsiteY25" fmla="*/ 148400 h 389477"/>
                <a:gd name="connsiteX26" fmla="*/ 279654 w 397954"/>
                <a:gd name="connsiteY26" fmla="*/ 110204 h 389477"/>
                <a:gd name="connsiteX27" fmla="*/ 243840 w 397954"/>
                <a:gd name="connsiteY27" fmla="*/ 84392 h 389477"/>
                <a:gd name="connsiteX28" fmla="*/ 197834 w 397954"/>
                <a:gd name="connsiteY28" fmla="*/ 74867 h 389477"/>
                <a:gd name="connsiteX29" fmla="*/ 151829 w 397954"/>
                <a:gd name="connsiteY29" fmla="*/ 84392 h 389477"/>
                <a:gd name="connsiteX30" fmla="*/ 116396 w 397954"/>
                <a:gd name="connsiteY30" fmla="*/ 109823 h 389477"/>
                <a:gd name="connsiteX31" fmla="*/ 93916 w 397954"/>
                <a:gd name="connsiteY31" fmla="*/ 147638 h 389477"/>
                <a:gd name="connsiteX32" fmla="*/ 86201 w 397954"/>
                <a:gd name="connsiteY32" fmla="*/ 193548 h 389477"/>
                <a:gd name="connsiteX33" fmla="*/ 86201 w 397954"/>
                <a:gd name="connsiteY33" fmla="*/ 194977 h 389477"/>
                <a:gd name="connsiteX34" fmla="*/ 94583 w 397954"/>
                <a:gd name="connsiteY34" fmla="*/ 241268 h 389477"/>
                <a:gd name="connsiteX35" fmla="*/ 118110 w 397954"/>
                <a:gd name="connsiteY35" fmla="*/ 279463 h 389477"/>
                <a:gd name="connsiteX36" fmla="*/ 153924 w 397954"/>
                <a:gd name="connsiteY36" fmla="*/ 305562 h 389477"/>
                <a:gd name="connsiteX37" fmla="*/ 199263 w 397954"/>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954" h="389477">
                  <a:moveTo>
                    <a:pt x="197834" y="389477"/>
                  </a:moveTo>
                  <a:cubicBezTo>
                    <a:pt x="169545" y="389477"/>
                    <a:pt x="143351" y="384429"/>
                    <a:pt x="119063" y="374237"/>
                  </a:cubicBezTo>
                  <a:cubicBezTo>
                    <a:pt x="94774" y="364141"/>
                    <a:pt x="73819" y="350330"/>
                    <a:pt x="56198" y="332899"/>
                  </a:cubicBezTo>
                  <a:cubicBezTo>
                    <a:pt x="38576" y="315468"/>
                    <a:pt x="24765" y="294989"/>
                    <a:pt x="14859" y="271463"/>
                  </a:cubicBezTo>
                  <a:cubicBezTo>
                    <a:pt x="4953" y="247936"/>
                    <a:pt x="0" y="222980"/>
                    <a:pt x="0" y="196501"/>
                  </a:cubicBezTo>
                  <a:lnTo>
                    <a:pt x="0" y="195072"/>
                  </a:lnTo>
                  <a:cubicBezTo>
                    <a:pt x="0" y="168212"/>
                    <a:pt x="5049" y="143066"/>
                    <a:pt x="15240" y="119444"/>
                  </a:cubicBezTo>
                  <a:cubicBezTo>
                    <a:pt x="25337" y="95917"/>
                    <a:pt x="39243" y="75248"/>
                    <a:pt x="56960" y="57626"/>
                  </a:cubicBezTo>
                  <a:cubicBezTo>
                    <a:pt x="74676" y="39910"/>
                    <a:pt x="95631" y="25908"/>
                    <a:pt x="119825" y="15526"/>
                  </a:cubicBezTo>
                  <a:cubicBezTo>
                    <a:pt x="144113" y="5144"/>
                    <a:pt x="170593" y="0"/>
                    <a:pt x="199358" y="0"/>
                  </a:cubicBezTo>
                  <a:cubicBezTo>
                    <a:pt x="228124" y="0"/>
                    <a:pt x="254604" y="5048"/>
                    <a:pt x="278892" y="15240"/>
                  </a:cubicBezTo>
                  <a:cubicBezTo>
                    <a:pt x="303181" y="25337"/>
                    <a:pt x="324136" y="39243"/>
                    <a:pt x="341757" y="56959"/>
                  </a:cubicBezTo>
                  <a:cubicBezTo>
                    <a:pt x="359379" y="74676"/>
                    <a:pt x="373189" y="95155"/>
                    <a:pt x="383096" y="118396"/>
                  </a:cubicBezTo>
                  <a:cubicBezTo>
                    <a:pt x="393002" y="141732"/>
                    <a:pt x="397955" y="166783"/>
                    <a:pt x="397955" y="193643"/>
                  </a:cubicBezTo>
                  <a:lnTo>
                    <a:pt x="397955" y="195072"/>
                  </a:lnTo>
                  <a:cubicBezTo>
                    <a:pt x="397955" y="221456"/>
                    <a:pt x="392906" y="246412"/>
                    <a:pt x="382714" y="270034"/>
                  </a:cubicBezTo>
                  <a:cubicBezTo>
                    <a:pt x="372618" y="293561"/>
                    <a:pt x="358712" y="314230"/>
                    <a:pt x="340995" y="331851"/>
                  </a:cubicBezTo>
                  <a:cubicBezTo>
                    <a:pt x="323279" y="349472"/>
                    <a:pt x="302229" y="363569"/>
                    <a:pt x="277749" y="373856"/>
                  </a:cubicBezTo>
                  <a:cubicBezTo>
                    <a:pt x="253270" y="384238"/>
                    <a:pt x="226600" y="389382"/>
                    <a:pt x="197834" y="389382"/>
                  </a:cubicBezTo>
                  <a:close/>
                  <a:moveTo>
                    <a:pt x="199263" y="315278"/>
                  </a:moveTo>
                  <a:cubicBezTo>
                    <a:pt x="216598" y="315278"/>
                    <a:pt x="232124" y="312039"/>
                    <a:pt x="245936" y="305753"/>
                  </a:cubicBezTo>
                  <a:cubicBezTo>
                    <a:pt x="259747" y="299371"/>
                    <a:pt x="271558" y="290798"/>
                    <a:pt x="281369" y="279940"/>
                  </a:cubicBezTo>
                  <a:cubicBezTo>
                    <a:pt x="291179" y="269081"/>
                    <a:pt x="298704" y="256508"/>
                    <a:pt x="303848" y="242125"/>
                  </a:cubicBezTo>
                  <a:cubicBezTo>
                    <a:pt x="308991" y="227743"/>
                    <a:pt x="311563" y="212598"/>
                    <a:pt x="311563" y="196501"/>
                  </a:cubicBezTo>
                  <a:lnTo>
                    <a:pt x="311563" y="195072"/>
                  </a:lnTo>
                  <a:cubicBezTo>
                    <a:pt x="311563" y="178594"/>
                    <a:pt x="308706" y="163068"/>
                    <a:pt x="303181" y="148400"/>
                  </a:cubicBezTo>
                  <a:cubicBezTo>
                    <a:pt x="297561" y="133826"/>
                    <a:pt x="289750" y="121063"/>
                    <a:pt x="279654" y="110204"/>
                  </a:cubicBezTo>
                  <a:cubicBezTo>
                    <a:pt x="269557" y="99346"/>
                    <a:pt x="257651" y="90773"/>
                    <a:pt x="243840" y="84392"/>
                  </a:cubicBezTo>
                  <a:cubicBezTo>
                    <a:pt x="230029" y="78010"/>
                    <a:pt x="214694" y="74867"/>
                    <a:pt x="197834" y="74867"/>
                  </a:cubicBezTo>
                  <a:cubicBezTo>
                    <a:pt x="180975" y="74867"/>
                    <a:pt x="165640" y="78010"/>
                    <a:pt x="151829" y="84392"/>
                  </a:cubicBezTo>
                  <a:cubicBezTo>
                    <a:pt x="138017" y="90773"/>
                    <a:pt x="126206" y="99250"/>
                    <a:pt x="116396" y="109823"/>
                  </a:cubicBezTo>
                  <a:cubicBezTo>
                    <a:pt x="106585" y="120396"/>
                    <a:pt x="99060" y="133064"/>
                    <a:pt x="93916" y="147638"/>
                  </a:cubicBezTo>
                  <a:cubicBezTo>
                    <a:pt x="88773" y="162211"/>
                    <a:pt x="86201" y="177546"/>
                    <a:pt x="86201" y="193548"/>
                  </a:cubicBezTo>
                  <a:lnTo>
                    <a:pt x="86201" y="194977"/>
                  </a:lnTo>
                  <a:cubicBezTo>
                    <a:pt x="86201" y="211455"/>
                    <a:pt x="89059" y="226886"/>
                    <a:pt x="94583" y="241268"/>
                  </a:cubicBezTo>
                  <a:cubicBezTo>
                    <a:pt x="100203" y="255651"/>
                    <a:pt x="108014" y="268319"/>
                    <a:pt x="118110" y="279463"/>
                  </a:cubicBezTo>
                  <a:cubicBezTo>
                    <a:pt x="128207" y="290608"/>
                    <a:pt x="140113" y="299275"/>
                    <a:pt x="153924" y="305562"/>
                  </a:cubicBezTo>
                  <a:cubicBezTo>
                    <a:pt x="167735" y="311944"/>
                    <a:pt x="182785"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32" name="Freeform: Shape 31">
              <a:extLst>
                <a:ext uri="{FF2B5EF4-FFF2-40B4-BE49-F238E27FC236}">
                  <a16:creationId xmlns:a16="http://schemas.microsoft.com/office/drawing/2014/main" id="{6B305AF9-DEF0-0655-3D57-C1022C6ABCBE}"/>
                </a:ext>
              </a:extLst>
            </p:cNvPr>
            <p:cNvSpPr/>
            <p:nvPr/>
          </p:nvSpPr>
          <p:spPr>
            <a:xfrm>
              <a:off x="662071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1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7 w 296894"/>
                <a:gd name="connsiteY23" fmla="*/ 42863 h 386714"/>
                <a:gd name="connsiteX24" fmla="*/ 254318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7 w 296894"/>
                <a:gd name="connsiteY30" fmla="*/ 124587 h 386714"/>
                <a:gd name="connsiteX31" fmla="*/ 122682 w 296894"/>
                <a:gd name="connsiteY31" fmla="*/ 138017 h 386714"/>
                <a:gd name="connsiteX32" fmla="*/ 149543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6" y="348901"/>
                    <a:pt x="0" y="330327"/>
                  </a:cubicBezTo>
                  <a:lnTo>
                    <a:pt x="38195" y="272224"/>
                  </a:lnTo>
                  <a:cubicBezTo>
                    <a:pt x="58484" y="287274"/>
                    <a:pt x="79057" y="298704"/>
                    <a:pt x="100013" y="306514"/>
                  </a:cubicBezTo>
                  <a:cubicBezTo>
                    <a:pt x="120968" y="314325"/>
                    <a:pt x="141161" y="318135"/>
                    <a:pt x="160401" y="318135"/>
                  </a:cubicBezTo>
                  <a:cubicBezTo>
                    <a:pt x="179641" y="318135"/>
                    <a:pt x="192977"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1" y="241078"/>
                    <a:pt x="176498" y="237553"/>
                    <a:pt x="166401"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2" y="40195"/>
                    <a:pt x="56864" y="30385"/>
                  </a:cubicBezTo>
                  <a:cubicBezTo>
                    <a:pt x="68866" y="20479"/>
                    <a:pt x="82962" y="12954"/>
                    <a:pt x="99250" y="7810"/>
                  </a:cubicBezTo>
                  <a:cubicBezTo>
                    <a:pt x="115538" y="2667"/>
                    <a:pt x="132779" y="0"/>
                    <a:pt x="151162" y="0"/>
                  </a:cubicBezTo>
                  <a:cubicBezTo>
                    <a:pt x="174688" y="0"/>
                    <a:pt x="198501" y="3810"/>
                    <a:pt x="222504" y="11430"/>
                  </a:cubicBezTo>
                  <a:cubicBezTo>
                    <a:pt x="246507" y="19050"/>
                    <a:pt x="268414" y="29527"/>
                    <a:pt x="288227" y="42863"/>
                  </a:cubicBezTo>
                  <a:lnTo>
                    <a:pt x="254318"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7" y="124587"/>
                  </a:cubicBezTo>
                  <a:cubicBezTo>
                    <a:pt x="108585" y="129540"/>
                    <a:pt x="114871" y="134017"/>
                    <a:pt x="122682" y="138017"/>
                  </a:cubicBezTo>
                  <a:cubicBezTo>
                    <a:pt x="130493" y="142018"/>
                    <a:pt x="139351" y="145732"/>
                    <a:pt x="149543"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696"/>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33" name="Freeform: Shape 32">
              <a:extLst>
                <a:ext uri="{FF2B5EF4-FFF2-40B4-BE49-F238E27FC236}">
                  <a16:creationId xmlns:a16="http://schemas.microsoft.com/office/drawing/2014/main" id="{89468F7A-839E-D820-C500-DE00DC1A1D1C}"/>
                </a:ext>
              </a:extLst>
            </p:cNvPr>
            <p:cNvSpPr/>
            <p:nvPr/>
          </p:nvSpPr>
          <p:spPr>
            <a:xfrm>
              <a:off x="526693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4 w 202977"/>
                <a:gd name="connsiteY17" fmla="*/ 19907 h 239267"/>
                <a:gd name="connsiteX18" fmla="*/ 59246 w 202977"/>
                <a:gd name="connsiteY18" fmla="*/ 5429 h 239267"/>
                <a:gd name="connsiteX19" fmla="*/ 104299 w 202977"/>
                <a:gd name="connsiteY19" fmla="*/ 0 h 239267"/>
                <a:gd name="connsiteX20" fmla="*/ 178880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5 w 202977"/>
                <a:gd name="connsiteY27" fmla="*/ 211169 h 239267"/>
                <a:gd name="connsiteX28" fmla="*/ 122968 w 202977"/>
                <a:gd name="connsiteY28" fmla="*/ 206788 h 239267"/>
                <a:gd name="connsiteX29" fmla="*/ 147257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9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9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3" y="99155"/>
                    <a:pt x="58674" y="95917"/>
                  </a:cubicBezTo>
                  <a:cubicBezTo>
                    <a:pt x="70771" y="92678"/>
                    <a:pt x="84011" y="90964"/>
                    <a:pt x="98584" y="90964"/>
                  </a:cubicBezTo>
                  <a:cubicBezTo>
                    <a:pt x="113157" y="90964"/>
                    <a:pt x="126301" y="91821"/>
                    <a:pt x="137160" y="93631"/>
                  </a:cubicBezTo>
                  <a:cubicBezTo>
                    <a:pt x="148019" y="95440"/>
                    <a:pt x="158687" y="97822"/>
                    <a:pt x="169069" y="100774"/>
                  </a:cubicBezTo>
                  <a:lnTo>
                    <a:pt x="169069" y="93726"/>
                  </a:lnTo>
                  <a:cubicBezTo>
                    <a:pt x="169069" y="73342"/>
                    <a:pt x="163068" y="57912"/>
                    <a:pt x="151162" y="47339"/>
                  </a:cubicBezTo>
                  <a:cubicBezTo>
                    <a:pt x="139256" y="36862"/>
                    <a:pt x="122492" y="31623"/>
                    <a:pt x="100679" y="31623"/>
                  </a:cubicBezTo>
                  <a:cubicBezTo>
                    <a:pt x="86963" y="31623"/>
                    <a:pt x="74581" y="33147"/>
                    <a:pt x="63437" y="36100"/>
                  </a:cubicBezTo>
                  <a:cubicBezTo>
                    <a:pt x="52292" y="39053"/>
                    <a:pt x="41339" y="43053"/>
                    <a:pt x="30671" y="48196"/>
                  </a:cubicBezTo>
                  <a:lnTo>
                    <a:pt x="20384" y="19907"/>
                  </a:lnTo>
                  <a:cubicBezTo>
                    <a:pt x="33147" y="13906"/>
                    <a:pt x="46101" y="9049"/>
                    <a:pt x="59246" y="5429"/>
                  </a:cubicBezTo>
                  <a:cubicBezTo>
                    <a:pt x="72295" y="1810"/>
                    <a:pt x="87344" y="0"/>
                    <a:pt x="104299" y="0"/>
                  </a:cubicBezTo>
                  <a:cubicBezTo>
                    <a:pt x="137065" y="0"/>
                    <a:pt x="161925" y="8477"/>
                    <a:pt x="178880"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99" y="239173"/>
                    <a:pt x="86011" y="239173"/>
                  </a:cubicBezTo>
                  <a:close/>
                  <a:moveTo>
                    <a:pt x="93155" y="211169"/>
                  </a:moveTo>
                  <a:cubicBezTo>
                    <a:pt x="103823" y="211169"/>
                    <a:pt x="113728" y="209740"/>
                    <a:pt x="122968" y="206788"/>
                  </a:cubicBezTo>
                  <a:cubicBezTo>
                    <a:pt x="132207" y="203835"/>
                    <a:pt x="140208" y="199644"/>
                    <a:pt x="147257"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9" y="121444"/>
                  </a:cubicBezTo>
                  <a:cubicBezTo>
                    <a:pt x="129445" y="119348"/>
                    <a:pt x="116776"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244" y="190500"/>
                    <a:pt x="47435" y="195358"/>
                    <a:pt x="52769" y="199263"/>
                  </a:cubicBezTo>
                  <a:cubicBezTo>
                    <a:pt x="58103" y="203073"/>
                    <a:pt x="64294" y="206026"/>
                    <a:pt x="71247" y="208121"/>
                  </a:cubicBezTo>
                  <a:cubicBezTo>
                    <a:pt x="78200" y="210217"/>
                    <a:pt x="85535"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34" name="Freeform: Shape 33">
              <a:extLst>
                <a:ext uri="{FF2B5EF4-FFF2-40B4-BE49-F238E27FC236}">
                  <a16:creationId xmlns:a16="http://schemas.microsoft.com/office/drawing/2014/main" id="{E8F0E593-8DF9-439C-0EE3-6CC2C5599B4B}"/>
                </a:ext>
              </a:extLst>
            </p:cNvPr>
            <p:cNvSpPr/>
            <p:nvPr/>
          </p:nvSpPr>
          <p:spPr>
            <a:xfrm>
              <a:off x="5331227"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9" y="303276"/>
                    <a:pt x="71438" y="300895"/>
                  </a:cubicBezTo>
                  <a:cubicBezTo>
                    <a:pt x="63437"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2"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5" name="Freeform: Shape 34">
              <a:extLst>
                <a:ext uri="{FF2B5EF4-FFF2-40B4-BE49-F238E27FC236}">
                  <a16:creationId xmlns:a16="http://schemas.microsoft.com/office/drawing/2014/main" id="{B010FA93-4D16-EACB-F346-B2BC35B1E3DC}"/>
                </a:ext>
              </a:extLst>
            </p:cNvPr>
            <p:cNvSpPr/>
            <p:nvPr/>
          </p:nvSpPr>
          <p:spPr>
            <a:xfrm>
              <a:off x="5381845"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191 w 39242"/>
                <a:gd name="connsiteY5" fmla="*/ 88392 h 319182"/>
                <a:gd name="connsiteX6" fmla="*/ 36576 w 39242"/>
                <a:gd name="connsiteY6" fmla="*/ 88392 h 319182"/>
                <a:gd name="connsiteX7" fmla="*/ 36576 w 39242"/>
                <a:gd name="connsiteY7" fmla="*/ 319183 h 319182"/>
                <a:gd name="connsiteX8" fmla="*/ 2191 w 39242"/>
                <a:gd name="connsiteY8" fmla="*/ 319183 h 319182"/>
                <a:gd name="connsiteX9" fmla="*/ 2191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191" y="88392"/>
                  </a:moveTo>
                  <a:lnTo>
                    <a:pt x="36576" y="88392"/>
                  </a:lnTo>
                  <a:lnTo>
                    <a:pt x="36576" y="319183"/>
                  </a:lnTo>
                  <a:lnTo>
                    <a:pt x="2191" y="319183"/>
                  </a:lnTo>
                  <a:lnTo>
                    <a:pt x="2191" y="88392"/>
                  </a:lnTo>
                  <a:close/>
                </a:path>
              </a:pathLst>
            </a:custGeom>
            <a:solidFill>
              <a:srgbClr val="44505E"/>
            </a:solidFill>
            <a:ln w="9525" cap="flat">
              <a:noFill/>
              <a:prstDash val="solid"/>
              <a:miter/>
            </a:ln>
          </p:spPr>
          <p:txBody>
            <a:bodyPr rtlCol="0" anchor="ctr"/>
            <a:lstStyle/>
            <a:p>
              <a:endParaRPr lang="pt-BR" noProof="0"/>
            </a:p>
          </p:txBody>
        </p:sp>
        <p:sp>
          <p:nvSpPr>
            <p:cNvPr id="36" name="Freeform: Shape 35">
              <a:extLst>
                <a:ext uri="{FF2B5EF4-FFF2-40B4-BE49-F238E27FC236}">
                  <a16:creationId xmlns:a16="http://schemas.microsoft.com/office/drawing/2014/main" id="{0E1DFF9E-2E7F-07A2-4BD6-80BB417AF411}"/>
                </a:ext>
              </a:extLst>
            </p:cNvPr>
            <p:cNvSpPr/>
            <p:nvPr/>
          </p:nvSpPr>
          <p:spPr>
            <a:xfrm>
              <a:off x="5406076"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8" y="303276"/>
                    <a:pt x="71438" y="300895"/>
                  </a:cubicBezTo>
                  <a:cubicBezTo>
                    <a:pt x="63436"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1"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7" name="Freeform: Shape 36">
              <a:extLst>
                <a:ext uri="{FF2B5EF4-FFF2-40B4-BE49-F238E27FC236}">
                  <a16:creationId xmlns:a16="http://schemas.microsoft.com/office/drawing/2014/main" id="{A9DC6E3F-7AA6-8BEA-3640-A0EAEDBFD18E}"/>
                </a:ext>
              </a:extLst>
            </p:cNvPr>
            <p:cNvSpPr/>
            <p:nvPr/>
          </p:nvSpPr>
          <p:spPr>
            <a:xfrm>
              <a:off x="5455545" y="925297"/>
              <a:ext cx="50594" cy="59238"/>
            </a:xfrm>
            <a:custGeom>
              <a:avLst/>
              <a:gdLst>
                <a:gd name="connsiteX0" fmla="*/ 88392 w 201263"/>
                <a:gd name="connsiteY0" fmla="*/ 235648 h 235648"/>
                <a:gd name="connsiteX1" fmla="*/ 51149 w 201263"/>
                <a:gd name="connsiteY1" fmla="*/ 228981 h 235648"/>
                <a:gd name="connsiteX2" fmla="*/ 23431 w 201263"/>
                <a:gd name="connsiteY2" fmla="*/ 210026 h 235648"/>
                <a:gd name="connsiteX3" fmla="*/ 6001 w 201263"/>
                <a:gd name="connsiteY3" fmla="*/ 180784 h 235648"/>
                <a:gd name="connsiteX4" fmla="*/ 0 w 201263"/>
                <a:gd name="connsiteY4" fmla="*/ 143256 h 235648"/>
                <a:gd name="connsiteX5" fmla="*/ 0 w 201263"/>
                <a:gd name="connsiteY5" fmla="*/ 0 h 235648"/>
                <a:gd name="connsiteX6" fmla="*/ 34385 w 201263"/>
                <a:gd name="connsiteY6" fmla="*/ 0 h 235648"/>
                <a:gd name="connsiteX7" fmla="*/ 34385 w 201263"/>
                <a:gd name="connsiteY7" fmla="*/ 134493 h 235648"/>
                <a:gd name="connsiteX8" fmla="*/ 50864 w 201263"/>
                <a:gd name="connsiteY8" fmla="*/ 185261 h 235648"/>
                <a:gd name="connsiteX9" fmla="*/ 98203 w 201263"/>
                <a:gd name="connsiteY9" fmla="*/ 203930 h 235648"/>
                <a:gd name="connsiteX10" fmla="*/ 125635 w 201263"/>
                <a:gd name="connsiteY10" fmla="*/ 198787 h 235648"/>
                <a:gd name="connsiteX11" fmla="*/ 147542 w 201263"/>
                <a:gd name="connsiteY11" fmla="*/ 184118 h 235648"/>
                <a:gd name="connsiteX12" fmla="*/ 162020 w 201263"/>
                <a:gd name="connsiteY12" fmla="*/ 161163 h 235648"/>
                <a:gd name="connsiteX13" fmla="*/ 167354 w 201263"/>
                <a:gd name="connsiteY13" fmla="*/ 131826 h 235648"/>
                <a:gd name="connsiteX14" fmla="*/ 167354 w 201263"/>
                <a:gd name="connsiteY14" fmla="*/ 0 h 235648"/>
                <a:gd name="connsiteX15" fmla="*/ 201263 w 201263"/>
                <a:gd name="connsiteY15" fmla="*/ 0 h 235648"/>
                <a:gd name="connsiteX16" fmla="*/ 201263 w 201263"/>
                <a:gd name="connsiteY16" fmla="*/ 230791 h 235648"/>
                <a:gd name="connsiteX17" fmla="*/ 167354 w 201263"/>
                <a:gd name="connsiteY17" fmla="*/ 230791 h 235648"/>
                <a:gd name="connsiteX18" fmla="*/ 167354 w 201263"/>
                <a:gd name="connsiteY18" fmla="*/ 190595 h 235648"/>
                <a:gd name="connsiteX19" fmla="*/ 136969 w 201263"/>
                <a:gd name="connsiteY19" fmla="*/ 222504 h 235648"/>
                <a:gd name="connsiteX20" fmla="*/ 88297 w 201263"/>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263" h="235648">
                  <a:moveTo>
                    <a:pt x="88392" y="235648"/>
                  </a:moveTo>
                  <a:cubicBezTo>
                    <a:pt x="74390" y="235648"/>
                    <a:pt x="62008" y="233363"/>
                    <a:pt x="51149" y="228981"/>
                  </a:cubicBezTo>
                  <a:cubicBezTo>
                    <a:pt x="40291" y="224504"/>
                    <a:pt x="31052" y="218218"/>
                    <a:pt x="23431"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864" y="185261"/>
                  </a:cubicBezTo>
                  <a:cubicBezTo>
                    <a:pt x="61913" y="197739"/>
                    <a:pt x="77629" y="203930"/>
                    <a:pt x="98203" y="203930"/>
                  </a:cubicBezTo>
                  <a:cubicBezTo>
                    <a:pt x="108014" y="203930"/>
                    <a:pt x="117158" y="202216"/>
                    <a:pt x="125635" y="198787"/>
                  </a:cubicBezTo>
                  <a:cubicBezTo>
                    <a:pt x="134112" y="195358"/>
                    <a:pt x="141351" y="190500"/>
                    <a:pt x="147542" y="184118"/>
                  </a:cubicBezTo>
                  <a:cubicBezTo>
                    <a:pt x="153638" y="177736"/>
                    <a:pt x="158496" y="170116"/>
                    <a:pt x="162020" y="161163"/>
                  </a:cubicBezTo>
                  <a:cubicBezTo>
                    <a:pt x="165640" y="152305"/>
                    <a:pt x="167354" y="142494"/>
                    <a:pt x="167354" y="131826"/>
                  </a:cubicBezTo>
                  <a:lnTo>
                    <a:pt x="167354" y="0"/>
                  </a:lnTo>
                  <a:lnTo>
                    <a:pt x="201263" y="0"/>
                  </a:lnTo>
                  <a:lnTo>
                    <a:pt x="201263" y="230791"/>
                  </a:lnTo>
                  <a:lnTo>
                    <a:pt x="167354" y="230791"/>
                  </a:lnTo>
                  <a:lnTo>
                    <a:pt x="167354" y="190595"/>
                  </a:lnTo>
                  <a:cubicBezTo>
                    <a:pt x="159639" y="203073"/>
                    <a:pt x="149447" y="213741"/>
                    <a:pt x="136969" y="222504"/>
                  </a:cubicBezTo>
                  <a:cubicBezTo>
                    <a:pt x="124492" y="231267"/>
                    <a:pt x="108299" y="235648"/>
                    <a:pt x="88297" y="235648"/>
                  </a:cubicBezTo>
                  <a:close/>
                </a:path>
              </a:pathLst>
            </a:custGeom>
            <a:solidFill>
              <a:srgbClr val="44505E"/>
            </a:solidFill>
            <a:ln w="9525" cap="flat">
              <a:noFill/>
              <a:prstDash val="solid"/>
              <a:miter/>
            </a:ln>
          </p:spPr>
          <p:txBody>
            <a:bodyPr rtlCol="0" anchor="ctr"/>
            <a:lstStyle/>
            <a:p>
              <a:endParaRPr lang="pt-BR" noProof="0"/>
            </a:p>
          </p:txBody>
        </p:sp>
        <p:sp>
          <p:nvSpPr>
            <p:cNvPr id="38" name="Freeform: Shape 37">
              <a:extLst>
                <a:ext uri="{FF2B5EF4-FFF2-40B4-BE49-F238E27FC236}">
                  <a16:creationId xmlns:a16="http://schemas.microsoft.com/office/drawing/2014/main" id="{7AF3DAE5-4F03-84BB-6E2C-AA3FBFEF0237}"/>
                </a:ext>
              </a:extLst>
            </p:cNvPr>
            <p:cNvSpPr/>
            <p:nvPr/>
          </p:nvSpPr>
          <p:spPr>
            <a:xfrm>
              <a:off x="5522205" y="901353"/>
              <a:ext cx="58567" cy="83182"/>
            </a:xfrm>
            <a:custGeom>
              <a:avLst/>
              <a:gdLst>
                <a:gd name="connsiteX0" fmla="*/ 110204 w 232981"/>
                <a:gd name="connsiteY0" fmla="*/ 330898 h 330898"/>
                <a:gd name="connsiteX1" fmla="*/ 69628 w 232981"/>
                <a:gd name="connsiteY1" fmla="*/ 322897 h 330898"/>
                <a:gd name="connsiteX2" fmla="*/ 34385 w 232981"/>
                <a:gd name="connsiteY2" fmla="*/ 299466 h 330898"/>
                <a:gd name="connsiteX3" fmla="*/ 9334 w 232981"/>
                <a:gd name="connsiteY3" fmla="*/ 261938 h 330898"/>
                <a:gd name="connsiteX4" fmla="*/ 0 w 232981"/>
                <a:gd name="connsiteY4" fmla="*/ 211264 h 330898"/>
                <a:gd name="connsiteX5" fmla="*/ 0 w 232981"/>
                <a:gd name="connsiteY5" fmla="*/ 210407 h 330898"/>
                <a:gd name="connsiteX6" fmla="*/ 9334 w 232981"/>
                <a:gd name="connsiteY6" fmla="*/ 159925 h 330898"/>
                <a:gd name="connsiteX7" fmla="*/ 34385 w 232981"/>
                <a:gd name="connsiteY7" fmla="*/ 122206 h 330898"/>
                <a:gd name="connsiteX8" fmla="*/ 69628 w 232981"/>
                <a:gd name="connsiteY8" fmla="*/ 98488 h 330898"/>
                <a:gd name="connsiteX9" fmla="*/ 110204 w 232981"/>
                <a:gd name="connsiteY9" fmla="*/ 90202 h 330898"/>
                <a:gd name="connsiteX10" fmla="*/ 139636 w 232981"/>
                <a:gd name="connsiteY10" fmla="*/ 94202 h 330898"/>
                <a:gd name="connsiteX11" fmla="*/ 163735 w 232981"/>
                <a:gd name="connsiteY11" fmla="*/ 104870 h 330898"/>
                <a:gd name="connsiteX12" fmla="*/ 183166 w 232981"/>
                <a:gd name="connsiteY12" fmla="*/ 120491 h 330898"/>
                <a:gd name="connsiteX13" fmla="*/ 198596 w 232981"/>
                <a:gd name="connsiteY13" fmla="*/ 139255 h 330898"/>
                <a:gd name="connsiteX14" fmla="*/ 198596 w 232981"/>
                <a:gd name="connsiteY14" fmla="*/ 0 h 330898"/>
                <a:gd name="connsiteX15" fmla="*/ 232981 w 232981"/>
                <a:gd name="connsiteY15" fmla="*/ 0 h 330898"/>
                <a:gd name="connsiteX16" fmla="*/ 232981 w 232981"/>
                <a:gd name="connsiteY16" fmla="*/ 325850 h 330898"/>
                <a:gd name="connsiteX17" fmla="*/ 198596 w 232981"/>
                <a:gd name="connsiteY17" fmla="*/ 325850 h 330898"/>
                <a:gd name="connsiteX18" fmla="*/ 198596 w 232981"/>
                <a:gd name="connsiteY18" fmla="*/ 279463 h 330898"/>
                <a:gd name="connsiteX19" fmla="*/ 182785 w 232981"/>
                <a:gd name="connsiteY19" fmla="*/ 299085 h 330898"/>
                <a:gd name="connsiteX20" fmla="*/ 163354 w 232981"/>
                <a:gd name="connsiteY20" fmla="*/ 315658 h 330898"/>
                <a:gd name="connsiteX21" fmla="*/ 139446 w 232981"/>
                <a:gd name="connsiteY21" fmla="*/ 326803 h 330898"/>
                <a:gd name="connsiteX22" fmla="*/ 110204 w 232981"/>
                <a:gd name="connsiteY22" fmla="*/ 330803 h 330898"/>
                <a:gd name="connsiteX23" fmla="*/ 116491 w 232981"/>
                <a:gd name="connsiteY23" fmla="*/ 300133 h 330898"/>
                <a:gd name="connsiteX24" fmla="*/ 147542 w 232981"/>
                <a:gd name="connsiteY24" fmla="*/ 293656 h 330898"/>
                <a:gd name="connsiteX25" fmla="*/ 174307 w 232981"/>
                <a:gd name="connsiteY25" fmla="*/ 275368 h 330898"/>
                <a:gd name="connsiteX26" fmla="*/ 193072 w 232981"/>
                <a:gd name="connsiteY26" fmla="*/ 247269 h 330898"/>
                <a:gd name="connsiteX27" fmla="*/ 200025 w 232981"/>
                <a:gd name="connsiteY27" fmla="*/ 210883 h 330898"/>
                <a:gd name="connsiteX28" fmla="*/ 200025 w 232981"/>
                <a:gd name="connsiteY28" fmla="*/ 210026 h 330898"/>
                <a:gd name="connsiteX29" fmla="*/ 193072 w 232981"/>
                <a:gd name="connsiteY29" fmla="*/ 173641 h 330898"/>
                <a:gd name="connsiteX30" fmla="*/ 174307 w 232981"/>
                <a:gd name="connsiteY30" fmla="*/ 145732 h 330898"/>
                <a:gd name="connsiteX31" fmla="*/ 147542 w 232981"/>
                <a:gd name="connsiteY31" fmla="*/ 127635 h 330898"/>
                <a:gd name="connsiteX32" fmla="*/ 116491 w 232981"/>
                <a:gd name="connsiteY32" fmla="*/ 121158 h 330898"/>
                <a:gd name="connsiteX33" fmla="*/ 84772 w 232981"/>
                <a:gd name="connsiteY33" fmla="*/ 127159 h 330898"/>
                <a:gd name="connsiteX34" fmla="*/ 59150 w 232981"/>
                <a:gd name="connsiteY34" fmla="*/ 144589 h 330898"/>
                <a:gd name="connsiteX35" fmla="*/ 41719 w 232981"/>
                <a:gd name="connsiteY35" fmla="*/ 172498 h 330898"/>
                <a:gd name="connsiteX36" fmla="*/ 35242 w 232981"/>
                <a:gd name="connsiteY36" fmla="*/ 210026 h 330898"/>
                <a:gd name="connsiteX37" fmla="*/ 35242 w 232981"/>
                <a:gd name="connsiteY37" fmla="*/ 210883 h 330898"/>
                <a:gd name="connsiteX38" fmla="*/ 41719 w 232981"/>
                <a:gd name="connsiteY38" fmla="*/ 247936 h 330898"/>
                <a:gd name="connsiteX39" fmla="*/ 59341 w 232981"/>
                <a:gd name="connsiteY39" fmla="*/ 276034 h 330898"/>
                <a:gd name="connsiteX40" fmla="*/ 85249 w 232981"/>
                <a:gd name="connsiteY40" fmla="*/ 293941 h 330898"/>
                <a:gd name="connsiteX41" fmla="*/ 116491 w 23298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30898">
                  <a:moveTo>
                    <a:pt x="110204" y="330898"/>
                  </a:moveTo>
                  <a:cubicBezTo>
                    <a:pt x="96202" y="330898"/>
                    <a:pt x="82677" y="328231"/>
                    <a:pt x="69628" y="322897"/>
                  </a:cubicBezTo>
                  <a:cubicBezTo>
                    <a:pt x="56578" y="317563"/>
                    <a:pt x="44767" y="309753"/>
                    <a:pt x="34385" y="299466"/>
                  </a:cubicBezTo>
                  <a:cubicBezTo>
                    <a:pt x="24003" y="289179"/>
                    <a:pt x="15621" y="276701"/>
                    <a:pt x="9334" y="261938"/>
                  </a:cubicBezTo>
                  <a:cubicBezTo>
                    <a:pt x="3048" y="247174"/>
                    <a:pt x="0" y="230314"/>
                    <a:pt x="0" y="211264"/>
                  </a:cubicBezTo>
                  <a:lnTo>
                    <a:pt x="0" y="210407"/>
                  </a:lnTo>
                  <a:cubicBezTo>
                    <a:pt x="0" y="191643"/>
                    <a:pt x="3143" y="174879"/>
                    <a:pt x="9334" y="159925"/>
                  </a:cubicBezTo>
                  <a:cubicBezTo>
                    <a:pt x="15621" y="145066"/>
                    <a:pt x="23908" y="132493"/>
                    <a:pt x="34385" y="122206"/>
                  </a:cubicBezTo>
                  <a:cubicBezTo>
                    <a:pt x="44767" y="111919"/>
                    <a:pt x="56578" y="104013"/>
                    <a:pt x="69628" y="98488"/>
                  </a:cubicBezTo>
                  <a:cubicBezTo>
                    <a:pt x="82677" y="92964"/>
                    <a:pt x="96298" y="90202"/>
                    <a:pt x="110204" y="90202"/>
                  </a:cubicBezTo>
                  <a:cubicBezTo>
                    <a:pt x="120967" y="90202"/>
                    <a:pt x="130778" y="91535"/>
                    <a:pt x="139636" y="94202"/>
                  </a:cubicBezTo>
                  <a:cubicBezTo>
                    <a:pt x="148590" y="96869"/>
                    <a:pt x="156591" y="100489"/>
                    <a:pt x="163735" y="104870"/>
                  </a:cubicBezTo>
                  <a:cubicBezTo>
                    <a:pt x="170878" y="109347"/>
                    <a:pt x="177356" y="114586"/>
                    <a:pt x="183166" y="120491"/>
                  </a:cubicBezTo>
                  <a:cubicBezTo>
                    <a:pt x="188976" y="126492"/>
                    <a:pt x="194119" y="132683"/>
                    <a:pt x="198596" y="139255"/>
                  </a:cubicBezTo>
                  <a:lnTo>
                    <a:pt x="198596" y="0"/>
                  </a:lnTo>
                  <a:lnTo>
                    <a:pt x="232981" y="0"/>
                  </a:lnTo>
                  <a:lnTo>
                    <a:pt x="232981" y="325850"/>
                  </a:lnTo>
                  <a:lnTo>
                    <a:pt x="198596" y="325850"/>
                  </a:lnTo>
                  <a:lnTo>
                    <a:pt x="198596" y="279463"/>
                  </a:lnTo>
                  <a:cubicBezTo>
                    <a:pt x="193834" y="286321"/>
                    <a:pt x="188595" y="292894"/>
                    <a:pt x="182785" y="299085"/>
                  </a:cubicBezTo>
                  <a:cubicBezTo>
                    <a:pt x="176974" y="305371"/>
                    <a:pt x="170498" y="310896"/>
                    <a:pt x="163354" y="315658"/>
                  </a:cubicBezTo>
                  <a:cubicBezTo>
                    <a:pt x="156210" y="320421"/>
                    <a:pt x="148209" y="324136"/>
                    <a:pt x="139446" y="326803"/>
                  </a:cubicBezTo>
                  <a:cubicBezTo>
                    <a:pt x="130683" y="329470"/>
                    <a:pt x="120967" y="330803"/>
                    <a:pt x="110204" y="330803"/>
                  </a:cubicBezTo>
                  <a:close/>
                  <a:moveTo>
                    <a:pt x="116491" y="300133"/>
                  </a:moveTo>
                  <a:cubicBezTo>
                    <a:pt x="127159" y="300133"/>
                    <a:pt x="137541" y="297942"/>
                    <a:pt x="147542" y="293656"/>
                  </a:cubicBezTo>
                  <a:cubicBezTo>
                    <a:pt x="157544" y="289369"/>
                    <a:pt x="166402" y="283273"/>
                    <a:pt x="174307" y="275368"/>
                  </a:cubicBezTo>
                  <a:cubicBezTo>
                    <a:pt x="182213" y="267462"/>
                    <a:pt x="188404" y="258127"/>
                    <a:pt x="193072" y="247269"/>
                  </a:cubicBezTo>
                  <a:cubicBezTo>
                    <a:pt x="197644" y="236410"/>
                    <a:pt x="200025" y="224314"/>
                    <a:pt x="200025" y="210883"/>
                  </a:cubicBezTo>
                  <a:lnTo>
                    <a:pt x="200025" y="210026"/>
                  </a:lnTo>
                  <a:cubicBezTo>
                    <a:pt x="200025" y="196596"/>
                    <a:pt x="197739" y="184499"/>
                    <a:pt x="193072" y="173641"/>
                  </a:cubicBezTo>
                  <a:cubicBezTo>
                    <a:pt x="188500" y="162782"/>
                    <a:pt x="182213" y="153448"/>
                    <a:pt x="174307" y="145732"/>
                  </a:cubicBezTo>
                  <a:cubicBezTo>
                    <a:pt x="166402" y="138017"/>
                    <a:pt x="157448" y="132016"/>
                    <a:pt x="147542" y="127635"/>
                  </a:cubicBezTo>
                  <a:cubicBezTo>
                    <a:pt x="137541" y="123349"/>
                    <a:pt x="127254" y="121158"/>
                    <a:pt x="116491" y="121158"/>
                  </a:cubicBezTo>
                  <a:cubicBezTo>
                    <a:pt x="105156" y="121158"/>
                    <a:pt x="94583" y="123158"/>
                    <a:pt x="84772" y="127159"/>
                  </a:cubicBezTo>
                  <a:cubicBezTo>
                    <a:pt x="74962" y="131159"/>
                    <a:pt x="66389" y="136969"/>
                    <a:pt x="59150" y="144589"/>
                  </a:cubicBezTo>
                  <a:cubicBezTo>
                    <a:pt x="51816" y="152114"/>
                    <a:pt x="46101" y="161449"/>
                    <a:pt x="41719" y="172498"/>
                  </a:cubicBezTo>
                  <a:cubicBezTo>
                    <a:pt x="37433" y="183451"/>
                    <a:pt x="35242" y="196024"/>
                    <a:pt x="35242" y="210026"/>
                  </a:cubicBezTo>
                  <a:lnTo>
                    <a:pt x="35242" y="210883"/>
                  </a:lnTo>
                  <a:cubicBezTo>
                    <a:pt x="35242" y="224599"/>
                    <a:pt x="37433" y="236982"/>
                    <a:pt x="41719" y="247936"/>
                  </a:cubicBezTo>
                  <a:cubicBezTo>
                    <a:pt x="46006" y="258984"/>
                    <a:pt x="51911" y="268319"/>
                    <a:pt x="59341" y="276034"/>
                  </a:cubicBezTo>
                  <a:cubicBezTo>
                    <a:pt x="66770" y="283750"/>
                    <a:pt x="75438" y="289750"/>
                    <a:pt x="85249" y="293941"/>
                  </a:cubicBezTo>
                  <a:cubicBezTo>
                    <a:pt x="95059" y="298132"/>
                    <a:pt x="105442" y="300228"/>
                    <a:pt x="116491" y="300228"/>
                  </a:cubicBezTo>
                  <a:close/>
                </a:path>
              </a:pathLst>
            </a:custGeom>
            <a:solidFill>
              <a:srgbClr val="44505E"/>
            </a:solidFill>
            <a:ln w="9525" cap="flat">
              <a:noFill/>
              <a:prstDash val="solid"/>
              <a:miter/>
            </a:ln>
          </p:spPr>
          <p:txBody>
            <a:bodyPr rtlCol="0" anchor="ctr"/>
            <a:lstStyle/>
            <a:p>
              <a:endParaRPr lang="pt-BR" noProof="0"/>
            </a:p>
          </p:txBody>
        </p:sp>
        <p:sp>
          <p:nvSpPr>
            <p:cNvPr id="39" name="Freeform: Shape 38">
              <a:extLst>
                <a:ext uri="{FF2B5EF4-FFF2-40B4-BE49-F238E27FC236}">
                  <a16:creationId xmlns:a16="http://schemas.microsoft.com/office/drawing/2014/main" id="{9D964F92-3F71-2D63-9005-B9CF0F99D288}"/>
                </a:ext>
              </a:extLst>
            </p:cNvPr>
            <p:cNvSpPr/>
            <p:nvPr/>
          </p:nvSpPr>
          <p:spPr>
            <a:xfrm>
              <a:off x="5596504"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6963 w 218217"/>
                <a:gd name="connsiteY3" fmla="*/ 206026 h 241077"/>
                <a:gd name="connsiteX4" fmla="*/ 116015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8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1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452 w 218217"/>
                <a:gd name="connsiteY25" fmla="*/ 106299 h 241077"/>
                <a:gd name="connsiteX26" fmla="*/ 176784 w 218217"/>
                <a:gd name="connsiteY26" fmla="*/ 76771 h 241077"/>
                <a:gd name="connsiteX27" fmla="*/ 162306 w 218217"/>
                <a:gd name="connsiteY27" fmla="*/ 52101 h 241077"/>
                <a:gd name="connsiteX28" fmla="*/ 140018 w 218217"/>
                <a:gd name="connsiteY28" fmla="*/ 35242 h 241077"/>
                <a:gd name="connsiteX29" fmla="*/ 109919 w 218217"/>
                <a:gd name="connsiteY29" fmla="*/ 29051 h 241077"/>
                <a:gd name="connsiteX30" fmla="*/ 82201 w 218217"/>
                <a:gd name="connsiteY30" fmla="*/ 34766 h 241077"/>
                <a:gd name="connsiteX31" fmla="*/ 59436 w 218217"/>
                <a:gd name="connsiteY31" fmla="*/ 50959 h 241077"/>
                <a:gd name="connsiteX32" fmla="*/ 43148 w 218217"/>
                <a:gd name="connsiteY32" fmla="*/ 75628 h 241077"/>
                <a:gd name="connsiteX33" fmla="*/ 34862 w 218217"/>
                <a:gd name="connsiteY33" fmla="*/ 106204 h 241077"/>
                <a:gd name="connsiteX34" fmla="*/ 183547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724" y="202597"/>
                    <a:pt x="86963" y="206026"/>
                  </a:cubicBezTo>
                  <a:cubicBezTo>
                    <a:pt x="96203" y="209455"/>
                    <a:pt x="105823" y="211169"/>
                    <a:pt x="116015" y="211169"/>
                  </a:cubicBezTo>
                  <a:cubicBezTo>
                    <a:pt x="132112" y="211169"/>
                    <a:pt x="145828" y="208216"/>
                    <a:pt x="157353" y="202216"/>
                  </a:cubicBezTo>
                  <a:cubicBezTo>
                    <a:pt x="168783" y="196310"/>
                    <a:pt x="179261" y="188404"/>
                    <a:pt x="188786" y="178594"/>
                  </a:cubicBezTo>
                  <a:lnTo>
                    <a:pt x="210217" y="197834"/>
                  </a:lnTo>
                  <a:cubicBezTo>
                    <a:pt x="198596" y="210979"/>
                    <a:pt x="185357" y="221361"/>
                    <a:pt x="170498" y="229267"/>
                  </a:cubicBezTo>
                  <a:cubicBezTo>
                    <a:pt x="155639"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679" y="0"/>
                    <a:pt x="110681"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452" y="106299"/>
                  </a:moveTo>
                  <a:cubicBezTo>
                    <a:pt x="182594" y="95917"/>
                    <a:pt x="180308" y="86106"/>
                    <a:pt x="176784" y="76771"/>
                  </a:cubicBezTo>
                  <a:cubicBezTo>
                    <a:pt x="173165" y="67437"/>
                    <a:pt x="168402" y="59245"/>
                    <a:pt x="162306" y="52101"/>
                  </a:cubicBezTo>
                  <a:cubicBezTo>
                    <a:pt x="156210" y="44958"/>
                    <a:pt x="148781" y="39338"/>
                    <a:pt x="140018" y="35242"/>
                  </a:cubicBezTo>
                  <a:cubicBezTo>
                    <a:pt x="131254" y="31147"/>
                    <a:pt x="121158" y="29051"/>
                    <a:pt x="109919" y="29051"/>
                  </a:cubicBezTo>
                  <a:cubicBezTo>
                    <a:pt x="100108" y="29051"/>
                    <a:pt x="90869" y="30956"/>
                    <a:pt x="82201" y="34766"/>
                  </a:cubicBezTo>
                  <a:cubicBezTo>
                    <a:pt x="73533" y="38671"/>
                    <a:pt x="66008" y="44005"/>
                    <a:pt x="59436" y="50959"/>
                  </a:cubicBezTo>
                  <a:cubicBezTo>
                    <a:pt x="52864" y="57912"/>
                    <a:pt x="47435" y="66103"/>
                    <a:pt x="43148" y="75628"/>
                  </a:cubicBezTo>
                  <a:cubicBezTo>
                    <a:pt x="38862" y="85058"/>
                    <a:pt x="36100" y="95345"/>
                    <a:pt x="34862" y="106204"/>
                  </a:cubicBezTo>
                  <a:lnTo>
                    <a:pt x="183547" y="106204"/>
                  </a:lnTo>
                  <a:close/>
                </a:path>
              </a:pathLst>
            </a:custGeom>
            <a:solidFill>
              <a:srgbClr val="44505E"/>
            </a:solidFill>
            <a:ln w="9525" cap="flat">
              <a:noFill/>
              <a:prstDash val="solid"/>
              <a:miter/>
            </a:ln>
          </p:spPr>
          <p:txBody>
            <a:bodyPr rtlCol="0" anchor="ctr"/>
            <a:lstStyle/>
            <a:p>
              <a:endParaRPr lang="pt-BR" noProof="0"/>
            </a:p>
          </p:txBody>
        </p:sp>
        <p:sp>
          <p:nvSpPr>
            <p:cNvPr id="40" name="Freeform: Shape 39">
              <a:extLst>
                <a:ext uri="{FF2B5EF4-FFF2-40B4-BE49-F238E27FC236}">
                  <a16:creationId xmlns:a16="http://schemas.microsoft.com/office/drawing/2014/main" id="{9E2E38C9-4875-0C0A-F989-2A10F80E1DFE}"/>
                </a:ext>
              </a:extLst>
            </p:cNvPr>
            <p:cNvSpPr/>
            <p:nvPr/>
          </p:nvSpPr>
          <p:spPr>
            <a:xfrm>
              <a:off x="5661680" y="924268"/>
              <a:ext cx="44656" cy="60195"/>
            </a:xfrm>
            <a:custGeom>
              <a:avLst/>
              <a:gdLst>
                <a:gd name="connsiteX0" fmla="*/ 95536 w 177641"/>
                <a:gd name="connsiteY0" fmla="*/ 239268 h 239458"/>
                <a:gd name="connsiteX1" fmla="*/ 45053 w 177641"/>
                <a:gd name="connsiteY1" fmla="*/ 230124 h 239458"/>
                <a:gd name="connsiteX2" fmla="*/ 0 w 177641"/>
                <a:gd name="connsiteY2" fmla="*/ 205359 h 239458"/>
                <a:gd name="connsiteX3" fmla="*/ 17431 w 177641"/>
                <a:gd name="connsiteY3" fmla="*/ 180785 h 239458"/>
                <a:gd name="connsiteX4" fmla="*/ 56483 w 177641"/>
                <a:gd name="connsiteY4" fmla="*/ 202692 h 239458"/>
                <a:gd name="connsiteX5" fmla="*/ 97346 w 177641"/>
                <a:gd name="connsiteY5" fmla="*/ 210217 h 239458"/>
                <a:gd name="connsiteX6" fmla="*/ 131731 w 177641"/>
                <a:gd name="connsiteY6" fmla="*/ 200406 h 239458"/>
                <a:gd name="connsiteX7" fmla="*/ 145161 w 177641"/>
                <a:gd name="connsiteY7" fmla="*/ 173641 h 239458"/>
                <a:gd name="connsiteX8" fmla="*/ 145161 w 177641"/>
                <a:gd name="connsiteY8" fmla="*/ 172784 h 239458"/>
                <a:gd name="connsiteX9" fmla="*/ 140494 w 177641"/>
                <a:gd name="connsiteY9" fmla="*/ 158020 h 239458"/>
                <a:gd name="connsiteX10" fmla="*/ 127730 w 177641"/>
                <a:gd name="connsiteY10" fmla="*/ 147066 h 239458"/>
                <a:gd name="connsiteX11" fmla="*/ 109157 w 177641"/>
                <a:gd name="connsiteY11" fmla="*/ 138779 h 239458"/>
                <a:gd name="connsiteX12" fmla="*/ 87535 w 177641"/>
                <a:gd name="connsiteY12" fmla="*/ 132112 h 239458"/>
                <a:gd name="connsiteX13" fmla="*/ 60484 w 177641"/>
                <a:gd name="connsiteY13" fmla="*/ 123444 h 239458"/>
                <a:gd name="connsiteX14" fmla="*/ 35909 w 177641"/>
                <a:gd name="connsiteY14" fmla="*/ 111633 h 239458"/>
                <a:gd name="connsiteX15" fmla="*/ 18098 w 177641"/>
                <a:gd name="connsiteY15" fmla="*/ 93726 h 239458"/>
                <a:gd name="connsiteX16" fmla="*/ 11144 w 177641"/>
                <a:gd name="connsiteY16" fmla="*/ 66961 h 239458"/>
                <a:gd name="connsiteX17" fmla="*/ 11144 w 177641"/>
                <a:gd name="connsiteY17" fmla="*/ 66008 h 239458"/>
                <a:gd name="connsiteX18" fmla="*/ 16954 w 177641"/>
                <a:gd name="connsiteY18" fmla="*/ 39053 h 239458"/>
                <a:gd name="connsiteX19" fmla="*/ 33242 w 177641"/>
                <a:gd name="connsiteY19" fmla="*/ 18098 h 239458"/>
                <a:gd name="connsiteX20" fmla="*/ 58293 w 177641"/>
                <a:gd name="connsiteY20" fmla="*/ 4667 h 239458"/>
                <a:gd name="connsiteX21" fmla="*/ 89725 w 177641"/>
                <a:gd name="connsiteY21" fmla="*/ 0 h 239458"/>
                <a:gd name="connsiteX22" fmla="*/ 133064 w 177641"/>
                <a:gd name="connsiteY22" fmla="*/ 6953 h 239458"/>
                <a:gd name="connsiteX23" fmla="*/ 172784 w 177641"/>
                <a:gd name="connsiteY23" fmla="*/ 25527 h 239458"/>
                <a:gd name="connsiteX24" fmla="*/ 157163 w 177641"/>
                <a:gd name="connsiteY24" fmla="*/ 51435 h 239458"/>
                <a:gd name="connsiteX25" fmla="*/ 123444 w 177641"/>
                <a:gd name="connsiteY25" fmla="*/ 35147 h 239458"/>
                <a:gd name="connsiteX26" fmla="*/ 88868 w 177641"/>
                <a:gd name="connsiteY26" fmla="*/ 29146 h 239458"/>
                <a:gd name="connsiteX27" fmla="*/ 56293 w 177641"/>
                <a:gd name="connsiteY27" fmla="*/ 38767 h 239458"/>
                <a:gd name="connsiteX28" fmla="*/ 44196 w 177641"/>
                <a:gd name="connsiteY28" fmla="*/ 62675 h 239458"/>
                <a:gd name="connsiteX29" fmla="*/ 44196 w 177641"/>
                <a:gd name="connsiteY29" fmla="*/ 63627 h 239458"/>
                <a:gd name="connsiteX30" fmla="*/ 49149 w 177641"/>
                <a:gd name="connsiteY30" fmla="*/ 77724 h 239458"/>
                <a:gd name="connsiteX31" fmla="*/ 62294 w 177641"/>
                <a:gd name="connsiteY31" fmla="*/ 88202 h 239458"/>
                <a:gd name="connsiteX32" fmla="*/ 81248 w 177641"/>
                <a:gd name="connsiteY32" fmla="*/ 96203 h 239458"/>
                <a:gd name="connsiteX33" fmla="*/ 103537 w 177641"/>
                <a:gd name="connsiteY33" fmla="*/ 103346 h 239458"/>
                <a:gd name="connsiteX34" fmla="*/ 130112 w 177641"/>
                <a:gd name="connsiteY34" fmla="*/ 112300 h 239458"/>
                <a:gd name="connsiteX35" fmla="*/ 154019 w 177641"/>
                <a:gd name="connsiteY35" fmla="*/ 124778 h 239458"/>
                <a:gd name="connsiteX36" fmla="*/ 171164 w 177641"/>
                <a:gd name="connsiteY36" fmla="*/ 143066 h 239458"/>
                <a:gd name="connsiteX37" fmla="*/ 177641 w 177641"/>
                <a:gd name="connsiteY37" fmla="*/ 169450 h 239458"/>
                <a:gd name="connsiteX38" fmla="*/ 177641 w 177641"/>
                <a:gd name="connsiteY38" fmla="*/ 170307 h 239458"/>
                <a:gd name="connsiteX39" fmla="*/ 171164 w 177641"/>
                <a:gd name="connsiteY39" fmla="*/ 199549 h 239458"/>
                <a:gd name="connsiteX40" fmla="*/ 153734 w 177641"/>
                <a:gd name="connsiteY40" fmla="*/ 221171 h 239458"/>
                <a:gd name="connsiteX41" fmla="*/ 127825 w 177641"/>
                <a:gd name="connsiteY41" fmla="*/ 234791 h 239458"/>
                <a:gd name="connsiteX42" fmla="*/ 95441 w 177641"/>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641" h="239458">
                  <a:moveTo>
                    <a:pt x="95536" y="239268"/>
                  </a:moveTo>
                  <a:cubicBezTo>
                    <a:pt x="78867" y="239268"/>
                    <a:pt x="62008" y="236220"/>
                    <a:pt x="45053" y="230124"/>
                  </a:cubicBezTo>
                  <a:cubicBezTo>
                    <a:pt x="28099" y="224028"/>
                    <a:pt x="13049" y="215741"/>
                    <a:pt x="0" y="205359"/>
                  </a:cubicBezTo>
                  <a:lnTo>
                    <a:pt x="17431" y="180785"/>
                  </a:lnTo>
                  <a:cubicBezTo>
                    <a:pt x="29908"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542" y="162211"/>
                    <a:pt x="140494" y="158020"/>
                  </a:cubicBezTo>
                  <a:cubicBezTo>
                    <a:pt x="137350" y="153829"/>
                    <a:pt x="133160" y="150209"/>
                    <a:pt x="127730" y="147066"/>
                  </a:cubicBezTo>
                  <a:cubicBezTo>
                    <a:pt x="122396" y="143923"/>
                    <a:pt x="116205" y="141161"/>
                    <a:pt x="109157" y="138779"/>
                  </a:cubicBezTo>
                  <a:cubicBezTo>
                    <a:pt x="102203" y="136398"/>
                    <a:pt x="94964" y="134207"/>
                    <a:pt x="87535" y="132112"/>
                  </a:cubicBezTo>
                  <a:cubicBezTo>
                    <a:pt x="78581" y="129445"/>
                    <a:pt x="69628" y="126492"/>
                    <a:pt x="60484" y="123444"/>
                  </a:cubicBezTo>
                  <a:cubicBezTo>
                    <a:pt x="51435" y="120301"/>
                    <a:pt x="43244" y="116396"/>
                    <a:pt x="35909" y="111633"/>
                  </a:cubicBezTo>
                  <a:cubicBezTo>
                    <a:pt x="28575" y="106871"/>
                    <a:pt x="22670" y="100870"/>
                    <a:pt x="18098" y="93726"/>
                  </a:cubicBezTo>
                  <a:cubicBezTo>
                    <a:pt x="13525" y="86582"/>
                    <a:pt x="11144" y="77629"/>
                    <a:pt x="11144" y="66961"/>
                  </a:cubicBezTo>
                  <a:lnTo>
                    <a:pt x="11144" y="66008"/>
                  </a:lnTo>
                  <a:cubicBezTo>
                    <a:pt x="11144" y="56198"/>
                    <a:pt x="13049" y="47149"/>
                    <a:pt x="16954" y="39053"/>
                  </a:cubicBezTo>
                  <a:cubicBezTo>
                    <a:pt x="20860" y="30861"/>
                    <a:pt x="26289" y="23908"/>
                    <a:pt x="33242" y="18098"/>
                  </a:cubicBezTo>
                  <a:cubicBezTo>
                    <a:pt x="40196" y="12287"/>
                    <a:pt x="48578" y="7811"/>
                    <a:pt x="58293" y="4667"/>
                  </a:cubicBezTo>
                  <a:cubicBezTo>
                    <a:pt x="67913" y="1524"/>
                    <a:pt x="78486" y="0"/>
                    <a:pt x="89725" y="0"/>
                  </a:cubicBezTo>
                  <a:cubicBezTo>
                    <a:pt x="104013" y="0"/>
                    <a:pt x="118396" y="2286"/>
                    <a:pt x="133064" y="6953"/>
                  </a:cubicBezTo>
                  <a:cubicBezTo>
                    <a:pt x="147638" y="11621"/>
                    <a:pt x="160877" y="17717"/>
                    <a:pt x="172784" y="25527"/>
                  </a:cubicBezTo>
                  <a:lnTo>
                    <a:pt x="157163" y="51435"/>
                  </a:lnTo>
                  <a:cubicBezTo>
                    <a:pt x="146399" y="44577"/>
                    <a:pt x="135255" y="39148"/>
                    <a:pt x="123444" y="35147"/>
                  </a:cubicBezTo>
                  <a:cubicBezTo>
                    <a:pt x="111728" y="31147"/>
                    <a:pt x="100203" y="29146"/>
                    <a:pt x="88868" y="29146"/>
                  </a:cubicBezTo>
                  <a:cubicBezTo>
                    <a:pt x="75152" y="29146"/>
                    <a:pt x="64294" y="32385"/>
                    <a:pt x="56293" y="38767"/>
                  </a:cubicBezTo>
                  <a:cubicBezTo>
                    <a:pt x="48292" y="45149"/>
                    <a:pt x="44196" y="53150"/>
                    <a:pt x="44196" y="62675"/>
                  </a:cubicBezTo>
                  <a:lnTo>
                    <a:pt x="44196" y="63627"/>
                  </a:lnTo>
                  <a:cubicBezTo>
                    <a:pt x="44196" y="68961"/>
                    <a:pt x="45815" y="73628"/>
                    <a:pt x="49149" y="77724"/>
                  </a:cubicBezTo>
                  <a:cubicBezTo>
                    <a:pt x="52388" y="81725"/>
                    <a:pt x="56769" y="85249"/>
                    <a:pt x="62294" y="88202"/>
                  </a:cubicBezTo>
                  <a:cubicBezTo>
                    <a:pt x="67818" y="91154"/>
                    <a:pt x="74104" y="93821"/>
                    <a:pt x="81248" y="96203"/>
                  </a:cubicBezTo>
                  <a:cubicBezTo>
                    <a:pt x="88392" y="98584"/>
                    <a:pt x="95821" y="100965"/>
                    <a:pt x="103537" y="103346"/>
                  </a:cubicBezTo>
                  <a:cubicBezTo>
                    <a:pt x="112490" y="106013"/>
                    <a:pt x="121349" y="108966"/>
                    <a:pt x="130112" y="112300"/>
                  </a:cubicBezTo>
                  <a:cubicBezTo>
                    <a:pt x="138875" y="115538"/>
                    <a:pt x="146875" y="119729"/>
                    <a:pt x="154019" y="124778"/>
                  </a:cubicBezTo>
                  <a:cubicBezTo>
                    <a:pt x="161163" y="129826"/>
                    <a:pt x="166878" y="135922"/>
                    <a:pt x="171164" y="143066"/>
                  </a:cubicBezTo>
                  <a:cubicBezTo>
                    <a:pt x="175450" y="150209"/>
                    <a:pt x="177641" y="158972"/>
                    <a:pt x="177641" y="169450"/>
                  </a:cubicBezTo>
                  <a:lnTo>
                    <a:pt x="177641" y="170307"/>
                  </a:lnTo>
                  <a:cubicBezTo>
                    <a:pt x="177641" y="181356"/>
                    <a:pt x="175450" y="191071"/>
                    <a:pt x="171164" y="199549"/>
                  </a:cubicBezTo>
                  <a:cubicBezTo>
                    <a:pt x="166878" y="208026"/>
                    <a:pt x="161068" y="215265"/>
                    <a:pt x="153734" y="221171"/>
                  </a:cubicBezTo>
                  <a:cubicBezTo>
                    <a:pt x="146495" y="227171"/>
                    <a:pt x="137827" y="231648"/>
                    <a:pt x="127825" y="234791"/>
                  </a:cubicBezTo>
                  <a:cubicBezTo>
                    <a:pt x="117824" y="237935"/>
                    <a:pt x="107061" y="239459"/>
                    <a:pt x="95441" y="239459"/>
                  </a:cubicBezTo>
                  <a:close/>
                </a:path>
              </a:pathLst>
            </a:custGeom>
            <a:solidFill>
              <a:srgbClr val="44505E"/>
            </a:solidFill>
            <a:ln w="9525" cap="flat">
              <a:noFill/>
              <a:prstDash val="solid"/>
              <a:miter/>
            </a:ln>
          </p:spPr>
          <p:txBody>
            <a:bodyPr rtlCol="0" anchor="ctr"/>
            <a:lstStyle/>
            <a:p>
              <a:endParaRPr lang="pt-BR" noProof="0"/>
            </a:p>
          </p:txBody>
        </p:sp>
        <p:sp>
          <p:nvSpPr>
            <p:cNvPr id="41" name="Freeform: Shape 40">
              <a:extLst>
                <a:ext uri="{FF2B5EF4-FFF2-40B4-BE49-F238E27FC236}">
                  <a16:creationId xmlns:a16="http://schemas.microsoft.com/office/drawing/2014/main" id="{8B3A6339-5C4A-492A-F104-F2D2FB44F779}"/>
                </a:ext>
              </a:extLst>
            </p:cNvPr>
            <p:cNvSpPr/>
            <p:nvPr/>
          </p:nvSpPr>
          <p:spPr>
            <a:xfrm>
              <a:off x="5752668" y="924028"/>
              <a:ext cx="58567" cy="77196"/>
            </a:xfrm>
            <a:custGeom>
              <a:avLst/>
              <a:gdLst>
                <a:gd name="connsiteX0" fmla="*/ 198596 w 232981"/>
                <a:gd name="connsiteY0" fmla="*/ 189357 h 307085"/>
                <a:gd name="connsiteX1" fmla="*/ 182785 w 232981"/>
                <a:gd name="connsiteY1" fmla="*/ 208978 h 307085"/>
                <a:gd name="connsiteX2" fmla="*/ 163354 w 232981"/>
                <a:gd name="connsiteY2" fmla="*/ 225552 h 307085"/>
                <a:gd name="connsiteX3" fmla="*/ 139446 w 232981"/>
                <a:gd name="connsiteY3" fmla="*/ 236696 h 307085"/>
                <a:gd name="connsiteX4" fmla="*/ 110204 w 232981"/>
                <a:gd name="connsiteY4" fmla="*/ 240697 h 307085"/>
                <a:gd name="connsiteX5" fmla="*/ 69628 w 232981"/>
                <a:gd name="connsiteY5" fmla="*/ 232696 h 307085"/>
                <a:gd name="connsiteX6" fmla="*/ 34385 w 232981"/>
                <a:gd name="connsiteY6" fmla="*/ 209264 h 307085"/>
                <a:gd name="connsiteX7" fmla="*/ 9335 w 232981"/>
                <a:gd name="connsiteY7" fmla="*/ 171736 h 307085"/>
                <a:gd name="connsiteX8" fmla="*/ 0 w 232981"/>
                <a:gd name="connsiteY8" fmla="*/ 121063 h 307085"/>
                <a:gd name="connsiteX9" fmla="*/ 0 w 232981"/>
                <a:gd name="connsiteY9" fmla="*/ 120205 h 307085"/>
                <a:gd name="connsiteX10" fmla="*/ 9335 w 232981"/>
                <a:gd name="connsiteY10" fmla="*/ 69723 h 307085"/>
                <a:gd name="connsiteX11" fmla="*/ 34385 w 232981"/>
                <a:gd name="connsiteY11" fmla="*/ 32004 h 307085"/>
                <a:gd name="connsiteX12" fmla="*/ 69628 w 232981"/>
                <a:gd name="connsiteY12" fmla="*/ 8287 h 307085"/>
                <a:gd name="connsiteX13" fmla="*/ 110204 w 232981"/>
                <a:gd name="connsiteY13" fmla="*/ 0 h 307085"/>
                <a:gd name="connsiteX14" fmla="*/ 139637 w 232981"/>
                <a:gd name="connsiteY14" fmla="*/ 4000 h 307085"/>
                <a:gd name="connsiteX15" fmla="*/ 163735 w 232981"/>
                <a:gd name="connsiteY15" fmla="*/ 14668 h 307085"/>
                <a:gd name="connsiteX16" fmla="*/ 183166 w 232981"/>
                <a:gd name="connsiteY16" fmla="*/ 30289 h 307085"/>
                <a:gd name="connsiteX17" fmla="*/ 198596 w 232981"/>
                <a:gd name="connsiteY17" fmla="*/ 49054 h 307085"/>
                <a:gd name="connsiteX18" fmla="*/ 198596 w 232981"/>
                <a:gd name="connsiteY18" fmla="*/ 4858 h 307085"/>
                <a:gd name="connsiteX19" fmla="*/ 232982 w 232981"/>
                <a:gd name="connsiteY19" fmla="*/ 4858 h 307085"/>
                <a:gd name="connsiteX20" fmla="*/ 232982 w 232981"/>
                <a:gd name="connsiteY20" fmla="*/ 307086 h 307085"/>
                <a:gd name="connsiteX21" fmla="*/ 198596 w 232981"/>
                <a:gd name="connsiteY21" fmla="*/ 307086 h 307085"/>
                <a:gd name="connsiteX22" fmla="*/ 198596 w 232981"/>
                <a:gd name="connsiteY22" fmla="*/ 189262 h 307085"/>
                <a:gd name="connsiteX23" fmla="*/ 116491 w 232981"/>
                <a:gd name="connsiteY23" fmla="*/ 209931 h 307085"/>
                <a:gd name="connsiteX24" fmla="*/ 147542 w 232981"/>
                <a:gd name="connsiteY24" fmla="*/ 203454 h 307085"/>
                <a:gd name="connsiteX25" fmla="*/ 174308 w 232981"/>
                <a:gd name="connsiteY25" fmla="*/ 185166 h 307085"/>
                <a:gd name="connsiteX26" fmla="*/ 193072 w 232981"/>
                <a:gd name="connsiteY26" fmla="*/ 157067 h 307085"/>
                <a:gd name="connsiteX27" fmla="*/ 200025 w 232981"/>
                <a:gd name="connsiteY27" fmla="*/ 120682 h 307085"/>
                <a:gd name="connsiteX28" fmla="*/ 200025 w 232981"/>
                <a:gd name="connsiteY28" fmla="*/ 119824 h 307085"/>
                <a:gd name="connsiteX29" fmla="*/ 193072 w 232981"/>
                <a:gd name="connsiteY29" fmla="*/ 83439 h 307085"/>
                <a:gd name="connsiteX30" fmla="*/ 174308 w 232981"/>
                <a:gd name="connsiteY30" fmla="*/ 55531 h 307085"/>
                <a:gd name="connsiteX31" fmla="*/ 147542 w 232981"/>
                <a:gd name="connsiteY31" fmla="*/ 37433 h 307085"/>
                <a:gd name="connsiteX32" fmla="*/ 116491 w 232981"/>
                <a:gd name="connsiteY32" fmla="*/ 30956 h 307085"/>
                <a:gd name="connsiteX33" fmla="*/ 84773 w 232981"/>
                <a:gd name="connsiteY33" fmla="*/ 36957 h 307085"/>
                <a:gd name="connsiteX34" fmla="*/ 59150 w 232981"/>
                <a:gd name="connsiteY34" fmla="*/ 54388 h 307085"/>
                <a:gd name="connsiteX35" fmla="*/ 41720 w 232981"/>
                <a:gd name="connsiteY35" fmla="*/ 82296 h 307085"/>
                <a:gd name="connsiteX36" fmla="*/ 35242 w 232981"/>
                <a:gd name="connsiteY36" fmla="*/ 119824 h 307085"/>
                <a:gd name="connsiteX37" fmla="*/ 35242 w 232981"/>
                <a:gd name="connsiteY37" fmla="*/ 120682 h 307085"/>
                <a:gd name="connsiteX38" fmla="*/ 41720 w 232981"/>
                <a:gd name="connsiteY38" fmla="*/ 157734 h 307085"/>
                <a:gd name="connsiteX39" fmla="*/ 59341 w 232981"/>
                <a:gd name="connsiteY39" fmla="*/ 185833 h 307085"/>
                <a:gd name="connsiteX40" fmla="*/ 85249 w 232981"/>
                <a:gd name="connsiteY40" fmla="*/ 203740 h 307085"/>
                <a:gd name="connsiteX41" fmla="*/ 116491 w 232981"/>
                <a:gd name="connsiteY41" fmla="*/ 210026 h 30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07085">
                  <a:moveTo>
                    <a:pt x="198596" y="189357"/>
                  </a:moveTo>
                  <a:cubicBezTo>
                    <a:pt x="193834" y="196215"/>
                    <a:pt x="188595" y="202787"/>
                    <a:pt x="182785" y="208978"/>
                  </a:cubicBezTo>
                  <a:cubicBezTo>
                    <a:pt x="176975" y="215265"/>
                    <a:pt x="170498" y="220789"/>
                    <a:pt x="163354" y="225552"/>
                  </a:cubicBezTo>
                  <a:cubicBezTo>
                    <a:pt x="156210" y="230314"/>
                    <a:pt x="148209" y="234029"/>
                    <a:pt x="139446" y="236696"/>
                  </a:cubicBezTo>
                  <a:cubicBezTo>
                    <a:pt x="130683" y="239363"/>
                    <a:pt x="120967" y="240697"/>
                    <a:pt x="110204" y="240697"/>
                  </a:cubicBezTo>
                  <a:cubicBezTo>
                    <a:pt x="96203" y="240697"/>
                    <a:pt x="82677" y="238030"/>
                    <a:pt x="69628" y="232696"/>
                  </a:cubicBezTo>
                  <a:cubicBezTo>
                    <a:pt x="56579" y="227362"/>
                    <a:pt x="44767" y="219551"/>
                    <a:pt x="34385" y="209264"/>
                  </a:cubicBezTo>
                  <a:cubicBezTo>
                    <a:pt x="24003" y="198977"/>
                    <a:pt x="15621" y="186499"/>
                    <a:pt x="9335" y="171736"/>
                  </a:cubicBezTo>
                  <a:cubicBezTo>
                    <a:pt x="3048" y="156972"/>
                    <a:pt x="0" y="140113"/>
                    <a:pt x="0" y="121063"/>
                  </a:cubicBezTo>
                  <a:lnTo>
                    <a:pt x="0" y="120205"/>
                  </a:lnTo>
                  <a:cubicBezTo>
                    <a:pt x="0" y="101441"/>
                    <a:pt x="3143" y="84677"/>
                    <a:pt x="9335" y="69723"/>
                  </a:cubicBezTo>
                  <a:cubicBezTo>
                    <a:pt x="15621" y="54864"/>
                    <a:pt x="23908" y="42291"/>
                    <a:pt x="34385" y="32004"/>
                  </a:cubicBezTo>
                  <a:cubicBezTo>
                    <a:pt x="44767" y="21717"/>
                    <a:pt x="56579" y="13811"/>
                    <a:pt x="69628" y="8287"/>
                  </a:cubicBezTo>
                  <a:cubicBezTo>
                    <a:pt x="82677" y="2762"/>
                    <a:pt x="96298" y="0"/>
                    <a:pt x="110204" y="0"/>
                  </a:cubicBezTo>
                  <a:cubicBezTo>
                    <a:pt x="120967" y="0"/>
                    <a:pt x="130778" y="1333"/>
                    <a:pt x="139637" y="4000"/>
                  </a:cubicBezTo>
                  <a:cubicBezTo>
                    <a:pt x="148590" y="6667"/>
                    <a:pt x="156591" y="10287"/>
                    <a:pt x="163735" y="14668"/>
                  </a:cubicBezTo>
                  <a:cubicBezTo>
                    <a:pt x="170879" y="19145"/>
                    <a:pt x="177356" y="24384"/>
                    <a:pt x="183166" y="30289"/>
                  </a:cubicBezTo>
                  <a:cubicBezTo>
                    <a:pt x="188976" y="36290"/>
                    <a:pt x="194120" y="42481"/>
                    <a:pt x="198596" y="49054"/>
                  </a:cubicBezTo>
                  <a:lnTo>
                    <a:pt x="198596" y="4858"/>
                  </a:lnTo>
                  <a:lnTo>
                    <a:pt x="232982" y="4858"/>
                  </a:lnTo>
                  <a:lnTo>
                    <a:pt x="232982" y="307086"/>
                  </a:lnTo>
                  <a:lnTo>
                    <a:pt x="198596" y="307086"/>
                  </a:lnTo>
                  <a:lnTo>
                    <a:pt x="198596" y="189262"/>
                  </a:lnTo>
                  <a:close/>
                  <a:moveTo>
                    <a:pt x="116491" y="209931"/>
                  </a:moveTo>
                  <a:cubicBezTo>
                    <a:pt x="127159" y="209931"/>
                    <a:pt x="137541" y="207740"/>
                    <a:pt x="147542" y="203454"/>
                  </a:cubicBezTo>
                  <a:cubicBezTo>
                    <a:pt x="157544" y="199168"/>
                    <a:pt x="166402" y="193072"/>
                    <a:pt x="174308" y="185166"/>
                  </a:cubicBezTo>
                  <a:cubicBezTo>
                    <a:pt x="182213" y="177260"/>
                    <a:pt x="188404" y="167926"/>
                    <a:pt x="193072" y="157067"/>
                  </a:cubicBezTo>
                  <a:cubicBezTo>
                    <a:pt x="197739" y="146209"/>
                    <a:pt x="200025" y="134112"/>
                    <a:pt x="200025" y="120682"/>
                  </a:cubicBezTo>
                  <a:lnTo>
                    <a:pt x="200025" y="119824"/>
                  </a:lnTo>
                  <a:cubicBezTo>
                    <a:pt x="200025" y="106394"/>
                    <a:pt x="197739" y="94297"/>
                    <a:pt x="193072" y="83439"/>
                  </a:cubicBezTo>
                  <a:cubicBezTo>
                    <a:pt x="188500" y="72580"/>
                    <a:pt x="182213" y="63246"/>
                    <a:pt x="174308" y="55531"/>
                  </a:cubicBezTo>
                  <a:cubicBezTo>
                    <a:pt x="166402" y="47815"/>
                    <a:pt x="157544" y="41815"/>
                    <a:pt x="147542" y="37433"/>
                  </a:cubicBezTo>
                  <a:cubicBezTo>
                    <a:pt x="137541" y="33147"/>
                    <a:pt x="127254" y="30956"/>
                    <a:pt x="116491" y="30956"/>
                  </a:cubicBezTo>
                  <a:cubicBezTo>
                    <a:pt x="105156" y="30956"/>
                    <a:pt x="94583" y="32956"/>
                    <a:pt x="84773" y="36957"/>
                  </a:cubicBezTo>
                  <a:cubicBezTo>
                    <a:pt x="74962" y="40957"/>
                    <a:pt x="66389" y="46767"/>
                    <a:pt x="59150" y="54388"/>
                  </a:cubicBezTo>
                  <a:cubicBezTo>
                    <a:pt x="51816" y="61913"/>
                    <a:pt x="46101" y="71247"/>
                    <a:pt x="41720" y="82296"/>
                  </a:cubicBezTo>
                  <a:cubicBezTo>
                    <a:pt x="37433" y="93250"/>
                    <a:pt x="35242" y="105823"/>
                    <a:pt x="35242" y="119824"/>
                  </a:cubicBezTo>
                  <a:lnTo>
                    <a:pt x="35242" y="120682"/>
                  </a:lnTo>
                  <a:cubicBezTo>
                    <a:pt x="35242" y="134398"/>
                    <a:pt x="37433" y="146780"/>
                    <a:pt x="41720" y="157734"/>
                  </a:cubicBezTo>
                  <a:cubicBezTo>
                    <a:pt x="46006" y="168783"/>
                    <a:pt x="51911" y="178117"/>
                    <a:pt x="59341" y="185833"/>
                  </a:cubicBezTo>
                  <a:cubicBezTo>
                    <a:pt x="66770" y="193548"/>
                    <a:pt x="75438" y="199549"/>
                    <a:pt x="85249" y="203740"/>
                  </a:cubicBezTo>
                  <a:cubicBezTo>
                    <a:pt x="95060" y="207931"/>
                    <a:pt x="105442" y="210026"/>
                    <a:pt x="116491" y="210026"/>
                  </a:cubicBezTo>
                  <a:close/>
                </a:path>
              </a:pathLst>
            </a:custGeom>
            <a:solidFill>
              <a:srgbClr val="44505E"/>
            </a:solidFill>
            <a:ln w="9525" cap="flat">
              <a:noFill/>
              <a:prstDash val="solid"/>
              <a:miter/>
            </a:ln>
          </p:spPr>
          <p:txBody>
            <a:bodyPr rtlCol="0" anchor="ctr"/>
            <a:lstStyle/>
            <a:p>
              <a:endParaRPr lang="pt-BR" noProof="0"/>
            </a:p>
          </p:txBody>
        </p:sp>
        <p:sp>
          <p:nvSpPr>
            <p:cNvPr id="42" name="Freeform: Shape 41">
              <a:extLst>
                <a:ext uri="{FF2B5EF4-FFF2-40B4-BE49-F238E27FC236}">
                  <a16:creationId xmlns:a16="http://schemas.microsoft.com/office/drawing/2014/main" id="{E1729C75-5CB1-B2B6-DFE5-08E155C111AA}"/>
                </a:ext>
              </a:extLst>
            </p:cNvPr>
            <p:cNvSpPr/>
            <p:nvPr/>
          </p:nvSpPr>
          <p:spPr>
            <a:xfrm>
              <a:off x="5829624" y="925297"/>
              <a:ext cx="50618" cy="59238"/>
            </a:xfrm>
            <a:custGeom>
              <a:avLst/>
              <a:gdLst>
                <a:gd name="connsiteX0" fmla="*/ 88392 w 201358"/>
                <a:gd name="connsiteY0" fmla="*/ 235648 h 235648"/>
                <a:gd name="connsiteX1" fmla="*/ 51149 w 201358"/>
                <a:gd name="connsiteY1" fmla="*/ 228981 h 235648"/>
                <a:gd name="connsiteX2" fmla="*/ 23432 w 201358"/>
                <a:gd name="connsiteY2" fmla="*/ 210026 h 235648"/>
                <a:gd name="connsiteX3" fmla="*/ 6001 w 201358"/>
                <a:gd name="connsiteY3" fmla="*/ 180784 h 235648"/>
                <a:gd name="connsiteX4" fmla="*/ 0 w 201358"/>
                <a:gd name="connsiteY4" fmla="*/ 143256 h 235648"/>
                <a:gd name="connsiteX5" fmla="*/ 0 w 201358"/>
                <a:gd name="connsiteY5" fmla="*/ 0 h 235648"/>
                <a:gd name="connsiteX6" fmla="*/ 34385 w 201358"/>
                <a:gd name="connsiteY6" fmla="*/ 0 h 235648"/>
                <a:gd name="connsiteX7" fmla="*/ 34385 w 201358"/>
                <a:gd name="connsiteY7" fmla="*/ 134493 h 235648"/>
                <a:gd name="connsiteX8" fmla="*/ 50959 w 201358"/>
                <a:gd name="connsiteY8" fmla="*/ 185261 h 235648"/>
                <a:gd name="connsiteX9" fmla="*/ 98298 w 201358"/>
                <a:gd name="connsiteY9" fmla="*/ 203930 h 235648"/>
                <a:gd name="connsiteX10" fmla="*/ 125730 w 201358"/>
                <a:gd name="connsiteY10" fmla="*/ 198787 h 235648"/>
                <a:gd name="connsiteX11" fmla="*/ 147638 w 201358"/>
                <a:gd name="connsiteY11" fmla="*/ 184118 h 235648"/>
                <a:gd name="connsiteX12" fmla="*/ 162116 w 201358"/>
                <a:gd name="connsiteY12" fmla="*/ 161163 h 235648"/>
                <a:gd name="connsiteX13" fmla="*/ 167450 w 201358"/>
                <a:gd name="connsiteY13" fmla="*/ 131826 h 235648"/>
                <a:gd name="connsiteX14" fmla="*/ 167450 w 201358"/>
                <a:gd name="connsiteY14" fmla="*/ 0 h 235648"/>
                <a:gd name="connsiteX15" fmla="*/ 201359 w 201358"/>
                <a:gd name="connsiteY15" fmla="*/ 0 h 235648"/>
                <a:gd name="connsiteX16" fmla="*/ 201359 w 201358"/>
                <a:gd name="connsiteY16" fmla="*/ 230791 h 235648"/>
                <a:gd name="connsiteX17" fmla="*/ 167450 w 201358"/>
                <a:gd name="connsiteY17" fmla="*/ 230791 h 235648"/>
                <a:gd name="connsiteX18" fmla="*/ 167450 w 201358"/>
                <a:gd name="connsiteY18" fmla="*/ 190595 h 235648"/>
                <a:gd name="connsiteX19" fmla="*/ 137065 w 201358"/>
                <a:gd name="connsiteY19" fmla="*/ 222504 h 235648"/>
                <a:gd name="connsiteX20" fmla="*/ 88392 w 201358"/>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358" h="235648">
                  <a:moveTo>
                    <a:pt x="88392" y="235648"/>
                  </a:moveTo>
                  <a:cubicBezTo>
                    <a:pt x="74390" y="235648"/>
                    <a:pt x="62008" y="233363"/>
                    <a:pt x="51149" y="228981"/>
                  </a:cubicBezTo>
                  <a:cubicBezTo>
                    <a:pt x="40291" y="224504"/>
                    <a:pt x="31052" y="218218"/>
                    <a:pt x="23432"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959" y="185261"/>
                  </a:cubicBezTo>
                  <a:cubicBezTo>
                    <a:pt x="61913" y="197739"/>
                    <a:pt x="77724" y="203930"/>
                    <a:pt x="98298" y="203930"/>
                  </a:cubicBezTo>
                  <a:cubicBezTo>
                    <a:pt x="108109" y="203930"/>
                    <a:pt x="117253" y="202216"/>
                    <a:pt x="125730" y="198787"/>
                  </a:cubicBezTo>
                  <a:cubicBezTo>
                    <a:pt x="134207" y="195358"/>
                    <a:pt x="141446" y="190500"/>
                    <a:pt x="147638" y="184118"/>
                  </a:cubicBezTo>
                  <a:cubicBezTo>
                    <a:pt x="153734" y="177736"/>
                    <a:pt x="158591" y="170116"/>
                    <a:pt x="162116" y="161163"/>
                  </a:cubicBezTo>
                  <a:cubicBezTo>
                    <a:pt x="165735" y="152305"/>
                    <a:pt x="167450" y="142494"/>
                    <a:pt x="167450" y="131826"/>
                  </a:cubicBezTo>
                  <a:lnTo>
                    <a:pt x="167450" y="0"/>
                  </a:lnTo>
                  <a:lnTo>
                    <a:pt x="201359" y="0"/>
                  </a:lnTo>
                  <a:lnTo>
                    <a:pt x="201359" y="230791"/>
                  </a:lnTo>
                  <a:lnTo>
                    <a:pt x="167450" y="230791"/>
                  </a:lnTo>
                  <a:lnTo>
                    <a:pt x="167450" y="190595"/>
                  </a:lnTo>
                  <a:cubicBezTo>
                    <a:pt x="159734" y="203073"/>
                    <a:pt x="149543" y="213741"/>
                    <a:pt x="137065" y="222504"/>
                  </a:cubicBezTo>
                  <a:cubicBezTo>
                    <a:pt x="124587" y="231267"/>
                    <a:pt x="108395" y="235648"/>
                    <a:pt x="88392" y="235648"/>
                  </a:cubicBezTo>
                  <a:close/>
                </a:path>
              </a:pathLst>
            </a:custGeom>
            <a:solidFill>
              <a:srgbClr val="44505E"/>
            </a:solidFill>
            <a:ln w="9525" cap="flat">
              <a:noFill/>
              <a:prstDash val="solid"/>
              <a:miter/>
            </a:ln>
          </p:spPr>
          <p:txBody>
            <a:bodyPr rtlCol="0" anchor="ctr"/>
            <a:lstStyle/>
            <a:p>
              <a:endParaRPr lang="pt-BR" noProof="0"/>
            </a:p>
          </p:txBody>
        </p:sp>
        <p:sp>
          <p:nvSpPr>
            <p:cNvPr id="43" name="Freeform: Shape 42">
              <a:extLst>
                <a:ext uri="{FF2B5EF4-FFF2-40B4-BE49-F238E27FC236}">
                  <a16:creationId xmlns:a16="http://schemas.microsoft.com/office/drawing/2014/main" id="{05D2C19C-EDFF-2A0D-439E-A60216F3A6F4}"/>
                </a:ext>
              </a:extLst>
            </p:cNvPr>
            <p:cNvSpPr/>
            <p:nvPr/>
          </p:nvSpPr>
          <p:spPr>
            <a:xfrm>
              <a:off x="5896069"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7059 w 218217"/>
                <a:gd name="connsiteY3" fmla="*/ 206026 h 241077"/>
                <a:gd name="connsiteX4" fmla="*/ 116110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7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0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356 w 218217"/>
                <a:gd name="connsiteY25" fmla="*/ 106299 h 241077"/>
                <a:gd name="connsiteX26" fmla="*/ 176689 w 218217"/>
                <a:gd name="connsiteY26" fmla="*/ 76771 h 241077"/>
                <a:gd name="connsiteX27" fmla="*/ 162211 w 218217"/>
                <a:gd name="connsiteY27" fmla="*/ 52101 h 241077"/>
                <a:gd name="connsiteX28" fmla="*/ 139922 w 218217"/>
                <a:gd name="connsiteY28" fmla="*/ 35242 h 241077"/>
                <a:gd name="connsiteX29" fmla="*/ 109823 w 218217"/>
                <a:gd name="connsiteY29" fmla="*/ 29051 h 241077"/>
                <a:gd name="connsiteX30" fmla="*/ 82105 w 218217"/>
                <a:gd name="connsiteY30" fmla="*/ 34766 h 241077"/>
                <a:gd name="connsiteX31" fmla="*/ 59341 w 218217"/>
                <a:gd name="connsiteY31" fmla="*/ 50959 h 241077"/>
                <a:gd name="connsiteX32" fmla="*/ 43053 w 218217"/>
                <a:gd name="connsiteY32" fmla="*/ 75628 h 241077"/>
                <a:gd name="connsiteX33" fmla="*/ 34766 w 218217"/>
                <a:gd name="connsiteY33" fmla="*/ 106204 h 241077"/>
                <a:gd name="connsiteX34" fmla="*/ 183356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819" y="202597"/>
                    <a:pt x="87059" y="206026"/>
                  </a:cubicBezTo>
                  <a:cubicBezTo>
                    <a:pt x="96298" y="209455"/>
                    <a:pt x="105918" y="211169"/>
                    <a:pt x="116110" y="211169"/>
                  </a:cubicBezTo>
                  <a:cubicBezTo>
                    <a:pt x="132207" y="211169"/>
                    <a:pt x="145923" y="208216"/>
                    <a:pt x="157353" y="202216"/>
                  </a:cubicBezTo>
                  <a:cubicBezTo>
                    <a:pt x="168783" y="196310"/>
                    <a:pt x="179261" y="188404"/>
                    <a:pt x="188786" y="178594"/>
                  </a:cubicBezTo>
                  <a:lnTo>
                    <a:pt x="210217" y="197834"/>
                  </a:lnTo>
                  <a:cubicBezTo>
                    <a:pt x="198596" y="210979"/>
                    <a:pt x="185356" y="221361"/>
                    <a:pt x="170497" y="229267"/>
                  </a:cubicBezTo>
                  <a:cubicBezTo>
                    <a:pt x="155638"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583" y="0"/>
                    <a:pt x="110680"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356" y="106299"/>
                  </a:moveTo>
                  <a:cubicBezTo>
                    <a:pt x="182499" y="95917"/>
                    <a:pt x="180213" y="86106"/>
                    <a:pt x="176689" y="76771"/>
                  </a:cubicBezTo>
                  <a:cubicBezTo>
                    <a:pt x="173069" y="67437"/>
                    <a:pt x="168307" y="59245"/>
                    <a:pt x="162211" y="52101"/>
                  </a:cubicBezTo>
                  <a:cubicBezTo>
                    <a:pt x="156115" y="44958"/>
                    <a:pt x="148685" y="39338"/>
                    <a:pt x="139922" y="35242"/>
                  </a:cubicBezTo>
                  <a:cubicBezTo>
                    <a:pt x="131159" y="31147"/>
                    <a:pt x="121063" y="29051"/>
                    <a:pt x="109823" y="29051"/>
                  </a:cubicBezTo>
                  <a:cubicBezTo>
                    <a:pt x="100013" y="29051"/>
                    <a:pt x="90773" y="30956"/>
                    <a:pt x="82105" y="34766"/>
                  </a:cubicBezTo>
                  <a:cubicBezTo>
                    <a:pt x="73438" y="38671"/>
                    <a:pt x="65913" y="44005"/>
                    <a:pt x="59341" y="50959"/>
                  </a:cubicBezTo>
                  <a:cubicBezTo>
                    <a:pt x="52769" y="57912"/>
                    <a:pt x="47339" y="66103"/>
                    <a:pt x="43053" y="75628"/>
                  </a:cubicBezTo>
                  <a:cubicBezTo>
                    <a:pt x="38767" y="85058"/>
                    <a:pt x="36004" y="95345"/>
                    <a:pt x="34766" y="106204"/>
                  </a:cubicBezTo>
                  <a:lnTo>
                    <a:pt x="183356" y="106204"/>
                  </a:lnTo>
                  <a:close/>
                </a:path>
              </a:pathLst>
            </a:custGeom>
            <a:solidFill>
              <a:srgbClr val="44505E"/>
            </a:solidFill>
            <a:ln w="9525" cap="flat">
              <a:noFill/>
              <a:prstDash val="solid"/>
              <a:miter/>
            </a:ln>
          </p:spPr>
          <p:txBody>
            <a:bodyPr rtlCol="0" anchor="ctr"/>
            <a:lstStyle/>
            <a:p>
              <a:endParaRPr lang="pt-BR" noProof="0"/>
            </a:p>
          </p:txBody>
        </p:sp>
        <p:sp>
          <p:nvSpPr>
            <p:cNvPr id="44" name="Freeform: Shape 43">
              <a:extLst>
                <a:ext uri="{FF2B5EF4-FFF2-40B4-BE49-F238E27FC236}">
                  <a16:creationId xmlns:a16="http://schemas.microsoft.com/office/drawing/2014/main" id="{7B78F79A-2AE8-E3CD-52B9-FAB2433E7DE7}"/>
                </a:ext>
              </a:extLst>
            </p:cNvPr>
            <p:cNvSpPr/>
            <p:nvPr/>
          </p:nvSpPr>
          <p:spPr>
            <a:xfrm>
              <a:off x="5994910" y="924268"/>
              <a:ext cx="44680" cy="60195"/>
            </a:xfrm>
            <a:custGeom>
              <a:avLst/>
              <a:gdLst>
                <a:gd name="connsiteX0" fmla="*/ 95536 w 177736"/>
                <a:gd name="connsiteY0" fmla="*/ 239268 h 239458"/>
                <a:gd name="connsiteX1" fmla="*/ 45053 w 177736"/>
                <a:gd name="connsiteY1" fmla="*/ 230124 h 239458"/>
                <a:gd name="connsiteX2" fmla="*/ 0 w 177736"/>
                <a:gd name="connsiteY2" fmla="*/ 205359 h 239458"/>
                <a:gd name="connsiteX3" fmla="*/ 17431 w 177736"/>
                <a:gd name="connsiteY3" fmla="*/ 180785 h 239458"/>
                <a:gd name="connsiteX4" fmla="*/ 56483 w 177736"/>
                <a:gd name="connsiteY4" fmla="*/ 202692 h 239458"/>
                <a:gd name="connsiteX5" fmla="*/ 97346 w 177736"/>
                <a:gd name="connsiteY5" fmla="*/ 210217 h 239458"/>
                <a:gd name="connsiteX6" fmla="*/ 131731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730 w 177736"/>
                <a:gd name="connsiteY10" fmla="*/ 147066 h 239458"/>
                <a:gd name="connsiteX11" fmla="*/ 109252 w 177736"/>
                <a:gd name="connsiteY11" fmla="*/ 138779 h 239458"/>
                <a:gd name="connsiteX12" fmla="*/ 87630 w 177736"/>
                <a:gd name="connsiteY12" fmla="*/ 132112 h 239458"/>
                <a:gd name="connsiteX13" fmla="*/ 60674 w 177736"/>
                <a:gd name="connsiteY13" fmla="*/ 123444 h 239458"/>
                <a:gd name="connsiteX14" fmla="*/ 36100 w 177736"/>
                <a:gd name="connsiteY14" fmla="*/ 111633 h 239458"/>
                <a:gd name="connsiteX15" fmla="*/ 18193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60 w 177736"/>
                <a:gd name="connsiteY22" fmla="*/ 6953 h 239458"/>
                <a:gd name="connsiteX23" fmla="*/ 172879 w 177736"/>
                <a:gd name="connsiteY23" fmla="*/ 25527 h 239458"/>
                <a:gd name="connsiteX24" fmla="*/ 157258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4 w 177736"/>
                <a:gd name="connsiteY32" fmla="*/ 96203 h 239458"/>
                <a:gd name="connsiteX33" fmla="*/ 103632 w 177736"/>
                <a:gd name="connsiteY33" fmla="*/ 103346 h 239458"/>
                <a:gd name="connsiteX34" fmla="*/ 130207 w 177736"/>
                <a:gd name="connsiteY34" fmla="*/ 112300 h 239458"/>
                <a:gd name="connsiteX35" fmla="*/ 154114 w 177736"/>
                <a:gd name="connsiteY35" fmla="*/ 124778 h 239458"/>
                <a:gd name="connsiteX36" fmla="*/ 171260 w 177736"/>
                <a:gd name="connsiteY36" fmla="*/ 143066 h 239458"/>
                <a:gd name="connsiteX37" fmla="*/ 177737 w 177736"/>
                <a:gd name="connsiteY37" fmla="*/ 169450 h 239458"/>
                <a:gd name="connsiteX38" fmla="*/ 177737 w 177736"/>
                <a:gd name="connsiteY38" fmla="*/ 170307 h 239458"/>
                <a:gd name="connsiteX39" fmla="*/ 171260 w 177736"/>
                <a:gd name="connsiteY39" fmla="*/ 199549 h 239458"/>
                <a:gd name="connsiteX40" fmla="*/ 153829 w 177736"/>
                <a:gd name="connsiteY40" fmla="*/ 221171 h 239458"/>
                <a:gd name="connsiteX41" fmla="*/ 127921 w 177736"/>
                <a:gd name="connsiteY41" fmla="*/ 234791 h 239458"/>
                <a:gd name="connsiteX42" fmla="*/ 95536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6" y="239268"/>
                  </a:moveTo>
                  <a:cubicBezTo>
                    <a:pt x="78867" y="239268"/>
                    <a:pt x="62008" y="236220"/>
                    <a:pt x="45053" y="230124"/>
                  </a:cubicBezTo>
                  <a:cubicBezTo>
                    <a:pt x="28099" y="224028"/>
                    <a:pt x="13049" y="215741"/>
                    <a:pt x="0" y="205359"/>
                  </a:cubicBezTo>
                  <a:lnTo>
                    <a:pt x="17431" y="180785"/>
                  </a:lnTo>
                  <a:cubicBezTo>
                    <a:pt x="29909"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637" y="162211"/>
                    <a:pt x="140494" y="158020"/>
                  </a:cubicBezTo>
                  <a:cubicBezTo>
                    <a:pt x="137351" y="153829"/>
                    <a:pt x="133160" y="150209"/>
                    <a:pt x="127730" y="147066"/>
                  </a:cubicBezTo>
                  <a:cubicBezTo>
                    <a:pt x="122396" y="143923"/>
                    <a:pt x="116205" y="141161"/>
                    <a:pt x="109252" y="138779"/>
                  </a:cubicBezTo>
                  <a:cubicBezTo>
                    <a:pt x="102299" y="136398"/>
                    <a:pt x="95060" y="134207"/>
                    <a:pt x="87630" y="132112"/>
                  </a:cubicBezTo>
                  <a:cubicBezTo>
                    <a:pt x="78677" y="129445"/>
                    <a:pt x="69723" y="126492"/>
                    <a:pt x="60674" y="123444"/>
                  </a:cubicBezTo>
                  <a:cubicBezTo>
                    <a:pt x="51626" y="120301"/>
                    <a:pt x="43434" y="116396"/>
                    <a:pt x="36100" y="111633"/>
                  </a:cubicBezTo>
                  <a:cubicBezTo>
                    <a:pt x="28766" y="106871"/>
                    <a:pt x="22860" y="100870"/>
                    <a:pt x="18193" y="93726"/>
                  </a:cubicBezTo>
                  <a:cubicBezTo>
                    <a:pt x="13621" y="86582"/>
                    <a:pt x="11239" y="77629"/>
                    <a:pt x="11239" y="66961"/>
                  </a:cubicBezTo>
                  <a:lnTo>
                    <a:pt x="11239" y="66008"/>
                  </a:lnTo>
                  <a:cubicBezTo>
                    <a:pt x="11239" y="56198"/>
                    <a:pt x="13145" y="47149"/>
                    <a:pt x="17050" y="39053"/>
                  </a:cubicBezTo>
                  <a:cubicBezTo>
                    <a:pt x="20860" y="30861"/>
                    <a:pt x="26289" y="23908"/>
                    <a:pt x="33338" y="18098"/>
                  </a:cubicBezTo>
                  <a:cubicBezTo>
                    <a:pt x="40291" y="12287"/>
                    <a:pt x="48673" y="7811"/>
                    <a:pt x="58388" y="4667"/>
                  </a:cubicBezTo>
                  <a:cubicBezTo>
                    <a:pt x="68009" y="1524"/>
                    <a:pt x="78581" y="0"/>
                    <a:pt x="89821" y="0"/>
                  </a:cubicBezTo>
                  <a:cubicBezTo>
                    <a:pt x="104108" y="0"/>
                    <a:pt x="118491" y="2286"/>
                    <a:pt x="133160" y="6953"/>
                  </a:cubicBezTo>
                  <a:cubicBezTo>
                    <a:pt x="147733" y="11621"/>
                    <a:pt x="160972" y="17717"/>
                    <a:pt x="172879" y="25527"/>
                  </a:cubicBezTo>
                  <a:lnTo>
                    <a:pt x="157258" y="51435"/>
                  </a:lnTo>
                  <a:cubicBezTo>
                    <a:pt x="146495" y="44577"/>
                    <a:pt x="135350" y="39148"/>
                    <a:pt x="123539" y="35147"/>
                  </a:cubicBezTo>
                  <a:cubicBezTo>
                    <a:pt x="111824" y="31147"/>
                    <a:pt x="100298" y="29146"/>
                    <a:pt x="88963" y="29146"/>
                  </a:cubicBezTo>
                  <a:cubicBezTo>
                    <a:pt x="75247" y="29146"/>
                    <a:pt x="64389" y="32385"/>
                    <a:pt x="56388" y="38767"/>
                  </a:cubicBezTo>
                  <a:cubicBezTo>
                    <a:pt x="48387" y="45149"/>
                    <a:pt x="44291" y="53150"/>
                    <a:pt x="44291" y="62675"/>
                  </a:cubicBezTo>
                  <a:lnTo>
                    <a:pt x="44291" y="63627"/>
                  </a:lnTo>
                  <a:cubicBezTo>
                    <a:pt x="44291" y="68961"/>
                    <a:pt x="45911" y="73628"/>
                    <a:pt x="49244" y="77724"/>
                  </a:cubicBezTo>
                  <a:cubicBezTo>
                    <a:pt x="52483" y="81725"/>
                    <a:pt x="56960" y="85249"/>
                    <a:pt x="62389" y="88202"/>
                  </a:cubicBezTo>
                  <a:cubicBezTo>
                    <a:pt x="67913" y="91154"/>
                    <a:pt x="74200" y="93821"/>
                    <a:pt x="81344" y="96203"/>
                  </a:cubicBezTo>
                  <a:cubicBezTo>
                    <a:pt x="88487" y="98584"/>
                    <a:pt x="95917" y="100965"/>
                    <a:pt x="103632" y="103346"/>
                  </a:cubicBezTo>
                  <a:cubicBezTo>
                    <a:pt x="112586" y="106013"/>
                    <a:pt x="121444" y="108966"/>
                    <a:pt x="130207" y="112300"/>
                  </a:cubicBezTo>
                  <a:cubicBezTo>
                    <a:pt x="138970" y="115538"/>
                    <a:pt x="146971" y="119729"/>
                    <a:pt x="154114" y="124778"/>
                  </a:cubicBezTo>
                  <a:cubicBezTo>
                    <a:pt x="161258" y="129826"/>
                    <a:pt x="166973" y="135922"/>
                    <a:pt x="171260" y="143066"/>
                  </a:cubicBezTo>
                  <a:cubicBezTo>
                    <a:pt x="175546" y="150209"/>
                    <a:pt x="177737" y="158972"/>
                    <a:pt x="177737" y="169450"/>
                  </a:cubicBezTo>
                  <a:lnTo>
                    <a:pt x="177737" y="170307"/>
                  </a:lnTo>
                  <a:cubicBezTo>
                    <a:pt x="177737" y="181356"/>
                    <a:pt x="175546" y="191071"/>
                    <a:pt x="171260" y="199549"/>
                  </a:cubicBezTo>
                  <a:cubicBezTo>
                    <a:pt x="166973" y="208026"/>
                    <a:pt x="161163" y="215265"/>
                    <a:pt x="153829" y="221171"/>
                  </a:cubicBezTo>
                  <a:cubicBezTo>
                    <a:pt x="146495" y="227171"/>
                    <a:pt x="137922" y="231648"/>
                    <a:pt x="127921" y="234791"/>
                  </a:cubicBezTo>
                  <a:cubicBezTo>
                    <a:pt x="117920" y="237935"/>
                    <a:pt x="107156" y="239459"/>
                    <a:pt x="95536" y="239459"/>
                  </a:cubicBezTo>
                  <a:close/>
                </a:path>
              </a:pathLst>
            </a:custGeom>
            <a:solidFill>
              <a:srgbClr val="44505E"/>
            </a:solidFill>
            <a:ln w="9525" cap="flat">
              <a:noFill/>
              <a:prstDash val="solid"/>
              <a:miter/>
            </a:ln>
          </p:spPr>
          <p:txBody>
            <a:bodyPr rtlCol="0" anchor="ctr"/>
            <a:lstStyle/>
            <a:p>
              <a:endParaRPr lang="pt-BR" noProof="0"/>
            </a:p>
          </p:txBody>
        </p:sp>
        <p:sp>
          <p:nvSpPr>
            <p:cNvPr id="45" name="Freeform: Shape 44">
              <a:extLst>
                <a:ext uri="{FF2B5EF4-FFF2-40B4-BE49-F238E27FC236}">
                  <a16:creationId xmlns:a16="http://schemas.microsoft.com/office/drawing/2014/main" id="{6F6CD8D3-F7D4-B022-C4B1-347FCC59D9E9}"/>
                </a:ext>
              </a:extLst>
            </p:cNvPr>
            <p:cNvSpPr/>
            <p:nvPr/>
          </p:nvSpPr>
          <p:spPr>
            <a:xfrm>
              <a:off x="605122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4 w 202977"/>
                <a:gd name="connsiteY30" fmla="*/ 174593 h 239267"/>
                <a:gd name="connsiteX31" fmla="*/ 169735 w 202977"/>
                <a:gd name="connsiteY31" fmla="*/ 149447 h 239267"/>
                <a:gd name="connsiteX32" fmla="*/ 169735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0" y="90964"/>
                    <a:pt x="98584" y="90964"/>
                  </a:cubicBezTo>
                  <a:cubicBezTo>
                    <a:pt x="113157" y="90964"/>
                    <a:pt x="126301"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1" y="33147"/>
                    <a:pt x="63436" y="36100"/>
                  </a:cubicBezTo>
                  <a:cubicBezTo>
                    <a:pt x="52292" y="39053"/>
                    <a:pt x="41338" y="43053"/>
                    <a:pt x="30671" y="48196"/>
                  </a:cubicBezTo>
                  <a:lnTo>
                    <a:pt x="20383" y="19907"/>
                  </a:lnTo>
                  <a:cubicBezTo>
                    <a:pt x="33147" y="13906"/>
                    <a:pt x="46101" y="9049"/>
                    <a:pt x="59246" y="5429"/>
                  </a:cubicBezTo>
                  <a:cubicBezTo>
                    <a:pt x="72295"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1" y="239173"/>
                  </a:cubicBezTo>
                  <a:close/>
                  <a:moveTo>
                    <a:pt x="93154" y="211169"/>
                  </a:moveTo>
                  <a:cubicBezTo>
                    <a:pt x="103822" y="211169"/>
                    <a:pt x="113728" y="209740"/>
                    <a:pt x="122967" y="206788"/>
                  </a:cubicBezTo>
                  <a:cubicBezTo>
                    <a:pt x="132207" y="203835"/>
                    <a:pt x="140208" y="199644"/>
                    <a:pt x="147256" y="194120"/>
                  </a:cubicBezTo>
                  <a:cubicBezTo>
                    <a:pt x="154209" y="188595"/>
                    <a:pt x="159734" y="182118"/>
                    <a:pt x="163734" y="174593"/>
                  </a:cubicBezTo>
                  <a:cubicBezTo>
                    <a:pt x="167735" y="167068"/>
                    <a:pt x="169735" y="158687"/>
                    <a:pt x="169735" y="149447"/>
                  </a:cubicBezTo>
                  <a:lnTo>
                    <a:pt x="169735" y="128111"/>
                  </a:lnTo>
                  <a:cubicBezTo>
                    <a:pt x="161163" y="125730"/>
                    <a:pt x="151352" y="123539"/>
                    <a:pt x="140398" y="121444"/>
                  </a:cubicBezTo>
                  <a:cubicBezTo>
                    <a:pt x="129445" y="119348"/>
                    <a:pt x="116872"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46" name="Freeform: Shape 45">
              <a:extLst>
                <a:ext uri="{FF2B5EF4-FFF2-40B4-BE49-F238E27FC236}">
                  <a16:creationId xmlns:a16="http://schemas.microsoft.com/office/drawing/2014/main" id="{552E7FAB-AEB9-4775-6CF9-B71E0EAA084E}"/>
                </a:ext>
              </a:extLst>
            </p:cNvPr>
            <p:cNvSpPr/>
            <p:nvPr/>
          </p:nvSpPr>
          <p:spPr>
            <a:xfrm>
              <a:off x="6121359" y="901377"/>
              <a:ext cx="8644" cy="81913"/>
            </a:xfrm>
            <a:custGeom>
              <a:avLst/>
              <a:gdLst>
                <a:gd name="connsiteX0" fmla="*/ 0 w 34385"/>
                <a:gd name="connsiteY0" fmla="*/ 0 h 325850"/>
                <a:gd name="connsiteX1" fmla="*/ 34385 w 34385"/>
                <a:gd name="connsiteY1" fmla="*/ 0 h 325850"/>
                <a:gd name="connsiteX2" fmla="*/ 34385 w 34385"/>
                <a:gd name="connsiteY2" fmla="*/ 325850 h 325850"/>
                <a:gd name="connsiteX3" fmla="*/ 0 w 34385"/>
                <a:gd name="connsiteY3" fmla="*/ 325850 h 325850"/>
                <a:gd name="connsiteX4" fmla="*/ 0 w 34385"/>
                <a:gd name="connsiteY4" fmla="*/ 0 h 32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 h="325850">
                  <a:moveTo>
                    <a:pt x="0" y="0"/>
                  </a:moveTo>
                  <a:lnTo>
                    <a:pt x="34385" y="0"/>
                  </a:lnTo>
                  <a:lnTo>
                    <a:pt x="34385" y="325850"/>
                  </a:lnTo>
                  <a:lnTo>
                    <a:pt x="0" y="325850"/>
                  </a:lnTo>
                  <a:lnTo>
                    <a:pt x="0" y="0"/>
                  </a:lnTo>
                  <a:close/>
                </a:path>
              </a:pathLst>
            </a:custGeom>
            <a:solidFill>
              <a:srgbClr val="44505E"/>
            </a:solidFill>
            <a:ln w="9525" cap="flat">
              <a:noFill/>
              <a:prstDash val="solid"/>
              <a:miter/>
            </a:ln>
          </p:spPr>
          <p:txBody>
            <a:bodyPr rtlCol="0" anchor="ctr"/>
            <a:lstStyle/>
            <a:p>
              <a:endParaRPr lang="pt-BR" noProof="0"/>
            </a:p>
          </p:txBody>
        </p:sp>
        <p:sp>
          <p:nvSpPr>
            <p:cNvPr id="47" name="Freeform: Shape 46">
              <a:extLst>
                <a:ext uri="{FF2B5EF4-FFF2-40B4-BE49-F238E27FC236}">
                  <a16:creationId xmlns:a16="http://schemas.microsoft.com/office/drawing/2014/main" id="{73200BCF-E66E-8708-006F-89DA328FAB57}"/>
                </a:ext>
              </a:extLst>
            </p:cNvPr>
            <p:cNvSpPr/>
            <p:nvPr/>
          </p:nvSpPr>
          <p:spPr>
            <a:xfrm>
              <a:off x="6144346" y="925273"/>
              <a:ext cx="58016" cy="58448"/>
            </a:xfrm>
            <a:custGeom>
              <a:avLst/>
              <a:gdLst>
                <a:gd name="connsiteX0" fmla="*/ 95 w 230790"/>
                <a:gd name="connsiteY0" fmla="*/ 0 h 232505"/>
                <a:gd name="connsiteX1" fmla="*/ 38005 w 230790"/>
                <a:gd name="connsiteY1" fmla="*/ 0 h 232505"/>
                <a:gd name="connsiteX2" fmla="*/ 115634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4"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48" name="Freeform: Shape 47">
              <a:extLst>
                <a:ext uri="{FF2B5EF4-FFF2-40B4-BE49-F238E27FC236}">
                  <a16:creationId xmlns:a16="http://schemas.microsoft.com/office/drawing/2014/main" id="{A6ADCEBE-E8BB-341E-8280-C1B6168FC69A}"/>
                </a:ext>
              </a:extLst>
            </p:cNvPr>
            <p:cNvSpPr/>
            <p:nvPr/>
          </p:nvSpPr>
          <p:spPr>
            <a:xfrm>
              <a:off x="621155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8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338 w 202977"/>
                <a:gd name="connsiteY36" fmla="*/ 164497 h 239267"/>
                <a:gd name="connsiteX37" fmla="*/ 35338 w 202977"/>
                <a:gd name="connsiteY37" fmla="*/ 165449 h 239267"/>
                <a:gd name="connsiteX38" fmla="*/ 40005 w 202977"/>
                <a:gd name="connsiteY38" fmla="*/ 184785 h 239267"/>
                <a:gd name="connsiteX39" fmla="*/ 52673 w 202977"/>
                <a:gd name="connsiteY39" fmla="*/ 199263 h 239267"/>
                <a:gd name="connsiteX40" fmla="*/ 71152 w 202977"/>
                <a:gd name="connsiteY40" fmla="*/ 208121 h 239267"/>
                <a:gd name="connsiteX41" fmla="*/ 93154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438" y="239268"/>
                    <a:pt x="64961"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1" y="90964"/>
                    <a:pt x="98584" y="90964"/>
                  </a:cubicBezTo>
                  <a:cubicBezTo>
                    <a:pt x="113157" y="90964"/>
                    <a:pt x="126302" y="91821"/>
                    <a:pt x="137160" y="93631"/>
                  </a:cubicBezTo>
                  <a:cubicBezTo>
                    <a:pt x="148019" y="95440"/>
                    <a:pt x="158687" y="97822"/>
                    <a:pt x="169069" y="100774"/>
                  </a:cubicBezTo>
                  <a:lnTo>
                    <a:pt x="169069" y="93726"/>
                  </a:lnTo>
                  <a:cubicBezTo>
                    <a:pt x="169069" y="73342"/>
                    <a:pt x="163068" y="57912"/>
                    <a:pt x="151162" y="47339"/>
                  </a:cubicBezTo>
                  <a:cubicBezTo>
                    <a:pt x="139255" y="36862"/>
                    <a:pt x="122491" y="31623"/>
                    <a:pt x="100679" y="31623"/>
                  </a:cubicBezTo>
                  <a:cubicBezTo>
                    <a:pt x="86963" y="31623"/>
                    <a:pt x="74581" y="33147"/>
                    <a:pt x="63437" y="36100"/>
                  </a:cubicBezTo>
                  <a:cubicBezTo>
                    <a:pt x="52292" y="39053"/>
                    <a:pt x="41338" y="43053"/>
                    <a:pt x="30671" y="48196"/>
                  </a:cubicBezTo>
                  <a:lnTo>
                    <a:pt x="20383" y="19907"/>
                  </a:lnTo>
                  <a:cubicBezTo>
                    <a:pt x="33147" y="13906"/>
                    <a:pt x="46101" y="9049"/>
                    <a:pt x="59246" y="5429"/>
                  </a:cubicBezTo>
                  <a:cubicBezTo>
                    <a:pt x="72390"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04" y="239173"/>
                    <a:pt x="86011" y="239173"/>
                  </a:cubicBezTo>
                  <a:close/>
                  <a:moveTo>
                    <a:pt x="93154" y="211169"/>
                  </a:moveTo>
                  <a:cubicBezTo>
                    <a:pt x="103822" y="211169"/>
                    <a:pt x="113824" y="209740"/>
                    <a:pt x="122968" y="206788"/>
                  </a:cubicBezTo>
                  <a:cubicBezTo>
                    <a:pt x="132112"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5" y="119348"/>
                    <a:pt x="116777" y="118300"/>
                    <a:pt x="102584" y="118300"/>
                  </a:cubicBezTo>
                  <a:cubicBezTo>
                    <a:pt x="81248" y="118300"/>
                    <a:pt x="64675" y="122491"/>
                    <a:pt x="52959" y="130969"/>
                  </a:cubicBezTo>
                  <a:cubicBezTo>
                    <a:pt x="41243" y="139446"/>
                    <a:pt x="35338" y="150590"/>
                    <a:pt x="35338" y="164497"/>
                  </a:cubicBezTo>
                  <a:lnTo>
                    <a:pt x="35338" y="165449"/>
                  </a:lnTo>
                  <a:cubicBezTo>
                    <a:pt x="35338" y="172498"/>
                    <a:pt x="36862" y="178975"/>
                    <a:pt x="40005" y="184785"/>
                  </a:cubicBezTo>
                  <a:cubicBezTo>
                    <a:pt x="43148" y="190500"/>
                    <a:pt x="47339" y="195358"/>
                    <a:pt x="52673" y="199263"/>
                  </a:cubicBezTo>
                  <a:cubicBezTo>
                    <a:pt x="58007" y="203073"/>
                    <a:pt x="64198" y="206026"/>
                    <a:pt x="71152" y="208121"/>
                  </a:cubicBezTo>
                  <a:cubicBezTo>
                    <a:pt x="78105" y="210217"/>
                    <a:pt x="85439" y="211169"/>
                    <a:pt x="93154" y="211169"/>
                  </a:cubicBezTo>
                  <a:close/>
                </a:path>
              </a:pathLst>
            </a:custGeom>
            <a:solidFill>
              <a:srgbClr val="44505E"/>
            </a:solidFill>
            <a:ln w="9525" cap="flat">
              <a:noFill/>
              <a:prstDash val="solid"/>
              <a:miter/>
            </a:ln>
          </p:spPr>
          <p:txBody>
            <a:bodyPr rtlCol="0" anchor="ctr"/>
            <a:lstStyle/>
            <a:p>
              <a:endParaRPr lang="pt-BR" noProof="0"/>
            </a:p>
          </p:txBody>
        </p:sp>
        <p:sp>
          <p:nvSpPr>
            <p:cNvPr id="49" name="Freeform: Shape 48">
              <a:extLst>
                <a:ext uri="{FF2B5EF4-FFF2-40B4-BE49-F238E27FC236}">
                  <a16:creationId xmlns:a16="http://schemas.microsoft.com/office/drawing/2014/main" id="{E3271548-4849-904C-1DB4-4A4DE95B5D25}"/>
                </a:ext>
              </a:extLst>
            </p:cNvPr>
            <p:cNvSpPr/>
            <p:nvPr/>
          </p:nvSpPr>
          <p:spPr>
            <a:xfrm>
              <a:off x="6280899" y="923980"/>
              <a:ext cx="87995" cy="59238"/>
            </a:xfrm>
            <a:custGeom>
              <a:avLst/>
              <a:gdLst>
                <a:gd name="connsiteX0" fmla="*/ 0 w 350043"/>
                <a:gd name="connsiteY0" fmla="*/ 5144 h 235648"/>
                <a:gd name="connsiteX1" fmla="*/ 34385 w 350043"/>
                <a:gd name="connsiteY1" fmla="*/ 5144 h 235648"/>
                <a:gd name="connsiteX2" fmla="*/ 34385 w 350043"/>
                <a:gd name="connsiteY2" fmla="*/ 44005 h 235648"/>
                <a:gd name="connsiteX3" fmla="*/ 47149 w 350043"/>
                <a:gd name="connsiteY3" fmla="*/ 27432 h 235648"/>
                <a:gd name="connsiteX4" fmla="*/ 62960 w 350043"/>
                <a:gd name="connsiteY4" fmla="*/ 13335 h 235648"/>
                <a:gd name="connsiteX5" fmla="*/ 83058 w 350043"/>
                <a:gd name="connsiteY5" fmla="*/ 3715 h 235648"/>
                <a:gd name="connsiteX6" fmla="*/ 108966 w 350043"/>
                <a:gd name="connsiteY6" fmla="*/ 95 h 235648"/>
                <a:gd name="connsiteX7" fmla="*/ 155448 w 350043"/>
                <a:gd name="connsiteY7" fmla="*/ 13240 h 235648"/>
                <a:gd name="connsiteX8" fmla="*/ 183166 w 350043"/>
                <a:gd name="connsiteY8" fmla="*/ 46006 h 235648"/>
                <a:gd name="connsiteX9" fmla="*/ 197168 w 350043"/>
                <a:gd name="connsiteY9" fmla="*/ 28194 h 235648"/>
                <a:gd name="connsiteX10" fmla="*/ 214789 w 350043"/>
                <a:gd name="connsiteY10" fmla="*/ 13430 h 235648"/>
                <a:gd name="connsiteX11" fmla="*/ 236887 w 350043"/>
                <a:gd name="connsiteY11" fmla="*/ 3620 h 235648"/>
                <a:gd name="connsiteX12" fmla="*/ 264319 w 350043"/>
                <a:gd name="connsiteY12" fmla="*/ 0 h 235648"/>
                <a:gd name="connsiteX13" fmla="*/ 327279 w 350043"/>
                <a:gd name="connsiteY13" fmla="*/ 24765 h 235648"/>
                <a:gd name="connsiteX14" fmla="*/ 350044 w 350043"/>
                <a:gd name="connsiteY14" fmla="*/ 92773 h 235648"/>
                <a:gd name="connsiteX15" fmla="*/ 350044 w 350043"/>
                <a:gd name="connsiteY15" fmla="*/ 235648 h 235648"/>
                <a:gd name="connsiteX16" fmla="*/ 315659 w 350043"/>
                <a:gd name="connsiteY16" fmla="*/ 235648 h 235648"/>
                <a:gd name="connsiteX17" fmla="*/ 315659 w 350043"/>
                <a:gd name="connsiteY17" fmla="*/ 101155 h 235648"/>
                <a:gd name="connsiteX18" fmla="*/ 299847 w 350043"/>
                <a:gd name="connsiteY18" fmla="*/ 49721 h 235648"/>
                <a:gd name="connsiteX19" fmla="*/ 255937 w 350043"/>
                <a:gd name="connsiteY19" fmla="*/ 31718 h 235648"/>
                <a:gd name="connsiteX20" fmla="*/ 231362 w 350043"/>
                <a:gd name="connsiteY20" fmla="*/ 36386 h 235648"/>
                <a:gd name="connsiteX21" fmla="*/ 211074 w 350043"/>
                <a:gd name="connsiteY21" fmla="*/ 50197 h 235648"/>
                <a:gd name="connsiteX22" fmla="*/ 197263 w 350043"/>
                <a:gd name="connsiteY22" fmla="*/ 72676 h 235648"/>
                <a:gd name="connsiteX23" fmla="*/ 192119 w 350043"/>
                <a:gd name="connsiteY23" fmla="*/ 102965 h 235648"/>
                <a:gd name="connsiteX24" fmla="*/ 192119 w 350043"/>
                <a:gd name="connsiteY24" fmla="*/ 235648 h 235648"/>
                <a:gd name="connsiteX25" fmla="*/ 158210 w 350043"/>
                <a:gd name="connsiteY25" fmla="*/ 235648 h 235648"/>
                <a:gd name="connsiteX26" fmla="*/ 158210 w 350043"/>
                <a:gd name="connsiteY26" fmla="*/ 100298 h 235648"/>
                <a:gd name="connsiteX27" fmla="*/ 142399 w 350043"/>
                <a:gd name="connsiteY27" fmla="*/ 49721 h 235648"/>
                <a:gd name="connsiteX28" fmla="*/ 98870 w 350043"/>
                <a:gd name="connsiteY28" fmla="*/ 31718 h 235648"/>
                <a:gd name="connsiteX29" fmla="*/ 73438 w 350043"/>
                <a:gd name="connsiteY29" fmla="*/ 37052 h 235648"/>
                <a:gd name="connsiteX30" fmla="*/ 53150 w 350043"/>
                <a:gd name="connsiteY30" fmla="*/ 52197 h 235648"/>
                <a:gd name="connsiteX31" fmla="*/ 39529 w 350043"/>
                <a:gd name="connsiteY31" fmla="*/ 75152 h 235648"/>
                <a:gd name="connsiteX32" fmla="*/ 34576 w 350043"/>
                <a:gd name="connsiteY32" fmla="*/ 104299 h 235648"/>
                <a:gd name="connsiteX33" fmla="*/ 34576 w 350043"/>
                <a:gd name="connsiteY33" fmla="*/ 235648 h 235648"/>
                <a:gd name="connsiteX34" fmla="*/ 190 w 350043"/>
                <a:gd name="connsiteY34" fmla="*/ 235648 h 235648"/>
                <a:gd name="connsiteX35" fmla="*/ 190 w 350043"/>
                <a:gd name="connsiteY35" fmla="*/ 485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0043" h="235648">
                  <a:moveTo>
                    <a:pt x="0" y="5144"/>
                  </a:moveTo>
                  <a:lnTo>
                    <a:pt x="34385" y="5144"/>
                  </a:lnTo>
                  <a:lnTo>
                    <a:pt x="34385" y="44005"/>
                  </a:lnTo>
                  <a:cubicBezTo>
                    <a:pt x="38290" y="38386"/>
                    <a:pt x="42481" y="32861"/>
                    <a:pt x="47149" y="27432"/>
                  </a:cubicBezTo>
                  <a:cubicBezTo>
                    <a:pt x="51721" y="22098"/>
                    <a:pt x="57055" y="17431"/>
                    <a:pt x="62960" y="13335"/>
                  </a:cubicBezTo>
                  <a:cubicBezTo>
                    <a:pt x="68866" y="9335"/>
                    <a:pt x="75629" y="6096"/>
                    <a:pt x="83058" y="3715"/>
                  </a:cubicBezTo>
                  <a:cubicBezTo>
                    <a:pt x="90488" y="1334"/>
                    <a:pt x="99155" y="95"/>
                    <a:pt x="108966" y="95"/>
                  </a:cubicBezTo>
                  <a:cubicBezTo>
                    <a:pt x="127730" y="95"/>
                    <a:pt x="143161" y="4477"/>
                    <a:pt x="155448" y="13240"/>
                  </a:cubicBezTo>
                  <a:cubicBezTo>
                    <a:pt x="167640" y="22003"/>
                    <a:pt x="176879" y="32956"/>
                    <a:pt x="183166" y="46006"/>
                  </a:cubicBezTo>
                  <a:cubicBezTo>
                    <a:pt x="187357" y="39719"/>
                    <a:pt x="192024" y="33814"/>
                    <a:pt x="197168" y="28194"/>
                  </a:cubicBezTo>
                  <a:cubicBezTo>
                    <a:pt x="202406" y="22574"/>
                    <a:pt x="208217" y="17621"/>
                    <a:pt x="214789" y="13430"/>
                  </a:cubicBezTo>
                  <a:cubicBezTo>
                    <a:pt x="221361" y="9239"/>
                    <a:pt x="228695" y="6001"/>
                    <a:pt x="236887" y="3620"/>
                  </a:cubicBezTo>
                  <a:cubicBezTo>
                    <a:pt x="245078" y="1238"/>
                    <a:pt x="254222" y="0"/>
                    <a:pt x="264319" y="0"/>
                  </a:cubicBezTo>
                  <a:cubicBezTo>
                    <a:pt x="291084" y="0"/>
                    <a:pt x="312039" y="8287"/>
                    <a:pt x="327279" y="24765"/>
                  </a:cubicBezTo>
                  <a:cubicBezTo>
                    <a:pt x="342519" y="41243"/>
                    <a:pt x="350044" y="63913"/>
                    <a:pt x="350044" y="92773"/>
                  </a:cubicBezTo>
                  <a:lnTo>
                    <a:pt x="350044" y="235648"/>
                  </a:lnTo>
                  <a:lnTo>
                    <a:pt x="315659" y="235648"/>
                  </a:lnTo>
                  <a:lnTo>
                    <a:pt x="315659" y="101155"/>
                  </a:lnTo>
                  <a:cubicBezTo>
                    <a:pt x="315659" y="78867"/>
                    <a:pt x="310420" y="61722"/>
                    <a:pt x="299847" y="49721"/>
                  </a:cubicBezTo>
                  <a:cubicBezTo>
                    <a:pt x="289274" y="37719"/>
                    <a:pt x="274606" y="31718"/>
                    <a:pt x="255937" y="31718"/>
                  </a:cubicBezTo>
                  <a:cubicBezTo>
                    <a:pt x="247269" y="31718"/>
                    <a:pt x="239078" y="33242"/>
                    <a:pt x="231362" y="36386"/>
                  </a:cubicBezTo>
                  <a:cubicBezTo>
                    <a:pt x="223647" y="39529"/>
                    <a:pt x="216884" y="44101"/>
                    <a:pt x="211074" y="50197"/>
                  </a:cubicBezTo>
                  <a:cubicBezTo>
                    <a:pt x="205264" y="56293"/>
                    <a:pt x="200692" y="63818"/>
                    <a:pt x="197263" y="72676"/>
                  </a:cubicBezTo>
                  <a:cubicBezTo>
                    <a:pt x="193834" y="81629"/>
                    <a:pt x="192119" y="91726"/>
                    <a:pt x="192119" y="102965"/>
                  </a:cubicBezTo>
                  <a:lnTo>
                    <a:pt x="192119" y="235648"/>
                  </a:lnTo>
                  <a:lnTo>
                    <a:pt x="158210" y="235648"/>
                  </a:lnTo>
                  <a:lnTo>
                    <a:pt x="158210" y="100298"/>
                  </a:lnTo>
                  <a:cubicBezTo>
                    <a:pt x="158210" y="78677"/>
                    <a:pt x="152971" y="61817"/>
                    <a:pt x="142399" y="49721"/>
                  </a:cubicBezTo>
                  <a:cubicBezTo>
                    <a:pt x="131826" y="37719"/>
                    <a:pt x="117348" y="31718"/>
                    <a:pt x="98870" y="31718"/>
                  </a:cubicBezTo>
                  <a:cubicBezTo>
                    <a:pt x="89630" y="31718"/>
                    <a:pt x="81153" y="33528"/>
                    <a:pt x="73438" y="37052"/>
                  </a:cubicBezTo>
                  <a:cubicBezTo>
                    <a:pt x="65722" y="40672"/>
                    <a:pt x="58960" y="45720"/>
                    <a:pt x="53150" y="52197"/>
                  </a:cubicBezTo>
                  <a:cubicBezTo>
                    <a:pt x="47339" y="58769"/>
                    <a:pt x="42767" y="66389"/>
                    <a:pt x="39529" y="75152"/>
                  </a:cubicBezTo>
                  <a:cubicBezTo>
                    <a:pt x="36290" y="83915"/>
                    <a:pt x="34576" y="93631"/>
                    <a:pt x="34576" y="104299"/>
                  </a:cubicBezTo>
                  <a:lnTo>
                    <a:pt x="34576" y="235648"/>
                  </a:lnTo>
                  <a:lnTo>
                    <a:pt x="190" y="235648"/>
                  </a:lnTo>
                  <a:lnTo>
                    <a:pt x="190" y="4858"/>
                  </a:lnTo>
                  <a:close/>
                </a:path>
              </a:pathLst>
            </a:custGeom>
            <a:solidFill>
              <a:srgbClr val="44505E"/>
            </a:solidFill>
            <a:ln w="9525" cap="flat">
              <a:noFill/>
              <a:prstDash val="solid"/>
              <a:miter/>
            </a:ln>
          </p:spPr>
          <p:txBody>
            <a:bodyPr rtlCol="0" anchor="ctr"/>
            <a:lstStyle/>
            <a:p>
              <a:endParaRPr lang="pt-BR" noProof="0"/>
            </a:p>
          </p:txBody>
        </p:sp>
        <p:sp>
          <p:nvSpPr>
            <p:cNvPr id="50" name="Freeform: Shape 49">
              <a:extLst>
                <a:ext uri="{FF2B5EF4-FFF2-40B4-BE49-F238E27FC236}">
                  <a16:creationId xmlns:a16="http://schemas.microsoft.com/office/drawing/2014/main" id="{87D056FB-0BC5-EA7F-81B6-49F9582083E3}"/>
                </a:ext>
              </a:extLst>
            </p:cNvPr>
            <p:cNvSpPr/>
            <p:nvPr/>
          </p:nvSpPr>
          <p:spPr>
            <a:xfrm>
              <a:off x="6415537" y="925273"/>
              <a:ext cx="58016" cy="58448"/>
            </a:xfrm>
            <a:custGeom>
              <a:avLst/>
              <a:gdLst>
                <a:gd name="connsiteX0" fmla="*/ 95 w 230790"/>
                <a:gd name="connsiteY0" fmla="*/ 0 h 232505"/>
                <a:gd name="connsiteX1" fmla="*/ 38005 w 230790"/>
                <a:gd name="connsiteY1" fmla="*/ 0 h 232505"/>
                <a:gd name="connsiteX2" fmla="*/ 115633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3"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51" name="Freeform: Shape 50">
              <a:extLst>
                <a:ext uri="{FF2B5EF4-FFF2-40B4-BE49-F238E27FC236}">
                  <a16:creationId xmlns:a16="http://schemas.microsoft.com/office/drawing/2014/main" id="{7511F7AA-1C63-C87F-0329-7C77D58CC372}"/>
                </a:ext>
              </a:extLst>
            </p:cNvPr>
            <p:cNvSpPr/>
            <p:nvPr/>
          </p:nvSpPr>
          <p:spPr>
            <a:xfrm>
              <a:off x="6487369"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286 w 39242"/>
                <a:gd name="connsiteY5" fmla="*/ 88392 h 319182"/>
                <a:gd name="connsiteX6" fmla="*/ 36671 w 39242"/>
                <a:gd name="connsiteY6" fmla="*/ 88392 h 319182"/>
                <a:gd name="connsiteX7" fmla="*/ 36671 w 39242"/>
                <a:gd name="connsiteY7" fmla="*/ 319183 h 319182"/>
                <a:gd name="connsiteX8" fmla="*/ 2286 w 39242"/>
                <a:gd name="connsiteY8" fmla="*/ 319183 h 319182"/>
                <a:gd name="connsiteX9" fmla="*/ 2286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286" y="88392"/>
                  </a:moveTo>
                  <a:lnTo>
                    <a:pt x="36671" y="88392"/>
                  </a:lnTo>
                  <a:lnTo>
                    <a:pt x="36671" y="319183"/>
                  </a:lnTo>
                  <a:lnTo>
                    <a:pt x="2286" y="319183"/>
                  </a:lnTo>
                  <a:lnTo>
                    <a:pt x="2286" y="88392"/>
                  </a:lnTo>
                  <a:close/>
                </a:path>
              </a:pathLst>
            </a:custGeom>
            <a:solidFill>
              <a:srgbClr val="44505E"/>
            </a:solidFill>
            <a:ln w="9525" cap="flat">
              <a:noFill/>
              <a:prstDash val="solid"/>
              <a:miter/>
            </a:ln>
          </p:spPr>
          <p:txBody>
            <a:bodyPr rtlCol="0" anchor="ctr"/>
            <a:lstStyle/>
            <a:p>
              <a:endParaRPr lang="pt-BR" noProof="0"/>
            </a:p>
          </p:txBody>
        </p:sp>
        <p:sp>
          <p:nvSpPr>
            <p:cNvPr id="52" name="Freeform: Shape 51">
              <a:extLst>
                <a:ext uri="{FF2B5EF4-FFF2-40B4-BE49-F238E27FC236}">
                  <a16:creationId xmlns:a16="http://schemas.microsoft.com/office/drawing/2014/main" id="{B6C4B586-FA45-F407-4B8B-0D2891B580CA}"/>
                </a:ext>
              </a:extLst>
            </p:cNvPr>
            <p:cNvSpPr/>
            <p:nvPr/>
          </p:nvSpPr>
          <p:spPr>
            <a:xfrm>
              <a:off x="6513253" y="901353"/>
              <a:ext cx="58615" cy="83182"/>
            </a:xfrm>
            <a:custGeom>
              <a:avLst/>
              <a:gdLst>
                <a:gd name="connsiteX0" fmla="*/ 110394 w 233171"/>
                <a:gd name="connsiteY0" fmla="*/ 330898 h 330898"/>
                <a:gd name="connsiteX1" fmla="*/ 69723 w 233171"/>
                <a:gd name="connsiteY1" fmla="*/ 322897 h 330898"/>
                <a:gd name="connsiteX2" fmla="*/ 34480 w 233171"/>
                <a:gd name="connsiteY2" fmla="*/ 299466 h 330898"/>
                <a:gd name="connsiteX3" fmla="*/ 9430 w 233171"/>
                <a:gd name="connsiteY3" fmla="*/ 261938 h 330898"/>
                <a:gd name="connsiteX4" fmla="*/ 0 w 233171"/>
                <a:gd name="connsiteY4" fmla="*/ 211264 h 330898"/>
                <a:gd name="connsiteX5" fmla="*/ 0 w 233171"/>
                <a:gd name="connsiteY5" fmla="*/ 210407 h 330898"/>
                <a:gd name="connsiteX6" fmla="*/ 9430 w 233171"/>
                <a:gd name="connsiteY6" fmla="*/ 159925 h 330898"/>
                <a:gd name="connsiteX7" fmla="*/ 34480 w 233171"/>
                <a:gd name="connsiteY7" fmla="*/ 122206 h 330898"/>
                <a:gd name="connsiteX8" fmla="*/ 69723 w 233171"/>
                <a:gd name="connsiteY8" fmla="*/ 98488 h 330898"/>
                <a:gd name="connsiteX9" fmla="*/ 110394 w 233171"/>
                <a:gd name="connsiteY9" fmla="*/ 90202 h 330898"/>
                <a:gd name="connsiteX10" fmla="*/ 139827 w 233171"/>
                <a:gd name="connsiteY10" fmla="*/ 94202 h 330898"/>
                <a:gd name="connsiteX11" fmla="*/ 163925 w 233171"/>
                <a:gd name="connsiteY11" fmla="*/ 104870 h 330898"/>
                <a:gd name="connsiteX12" fmla="*/ 183356 w 233171"/>
                <a:gd name="connsiteY12" fmla="*/ 120491 h 330898"/>
                <a:gd name="connsiteX13" fmla="*/ 198787 w 233171"/>
                <a:gd name="connsiteY13" fmla="*/ 139255 h 330898"/>
                <a:gd name="connsiteX14" fmla="*/ 198787 w 233171"/>
                <a:gd name="connsiteY14" fmla="*/ 0 h 330898"/>
                <a:gd name="connsiteX15" fmla="*/ 233172 w 233171"/>
                <a:gd name="connsiteY15" fmla="*/ 0 h 330898"/>
                <a:gd name="connsiteX16" fmla="*/ 233172 w 233171"/>
                <a:gd name="connsiteY16" fmla="*/ 325850 h 330898"/>
                <a:gd name="connsiteX17" fmla="*/ 198787 w 233171"/>
                <a:gd name="connsiteY17" fmla="*/ 325850 h 330898"/>
                <a:gd name="connsiteX18" fmla="*/ 198787 w 233171"/>
                <a:gd name="connsiteY18" fmla="*/ 279463 h 330898"/>
                <a:gd name="connsiteX19" fmla="*/ 182975 w 233171"/>
                <a:gd name="connsiteY19" fmla="*/ 299085 h 330898"/>
                <a:gd name="connsiteX20" fmla="*/ 163544 w 233171"/>
                <a:gd name="connsiteY20" fmla="*/ 315658 h 330898"/>
                <a:gd name="connsiteX21" fmla="*/ 139636 w 233171"/>
                <a:gd name="connsiteY21" fmla="*/ 326803 h 330898"/>
                <a:gd name="connsiteX22" fmla="*/ 110394 w 233171"/>
                <a:gd name="connsiteY22" fmla="*/ 330803 h 330898"/>
                <a:gd name="connsiteX23" fmla="*/ 116681 w 233171"/>
                <a:gd name="connsiteY23" fmla="*/ 300133 h 330898"/>
                <a:gd name="connsiteX24" fmla="*/ 147733 w 233171"/>
                <a:gd name="connsiteY24" fmla="*/ 293656 h 330898"/>
                <a:gd name="connsiteX25" fmla="*/ 174498 w 233171"/>
                <a:gd name="connsiteY25" fmla="*/ 275368 h 330898"/>
                <a:gd name="connsiteX26" fmla="*/ 193262 w 233171"/>
                <a:gd name="connsiteY26" fmla="*/ 247269 h 330898"/>
                <a:gd name="connsiteX27" fmla="*/ 200216 w 233171"/>
                <a:gd name="connsiteY27" fmla="*/ 210883 h 330898"/>
                <a:gd name="connsiteX28" fmla="*/ 200216 w 233171"/>
                <a:gd name="connsiteY28" fmla="*/ 210026 h 330898"/>
                <a:gd name="connsiteX29" fmla="*/ 193262 w 233171"/>
                <a:gd name="connsiteY29" fmla="*/ 173641 h 330898"/>
                <a:gd name="connsiteX30" fmla="*/ 174498 w 233171"/>
                <a:gd name="connsiteY30" fmla="*/ 145732 h 330898"/>
                <a:gd name="connsiteX31" fmla="*/ 147733 w 233171"/>
                <a:gd name="connsiteY31" fmla="*/ 127635 h 330898"/>
                <a:gd name="connsiteX32" fmla="*/ 116681 w 233171"/>
                <a:gd name="connsiteY32" fmla="*/ 121158 h 330898"/>
                <a:gd name="connsiteX33" fmla="*/ 84963 w 233171"/>
                <a:gd name="connsiteY33" fmla="*/ 127159 h 330898"/>
                <a:gd name="connsiteX34" fmla="*/ 59341 w 233171"/>
                <a:gd name="connsiteY34" fmla="*/ 144589 h 330898"/>
                <a:gd name="connsiteX35" fmla="*/ 41910 w 233171"/>
                <a:gd name="connsiteY35" fmla="*/ 172498 h 330898"/>
                <a:gd name="connsiteX36" fmla="*/ 35433 w 233171"/>
                <a:gd name="connsiteY36" fmla="*/ 210026 h 330898"/>
                <a:gd name="connsiteX37" fmla="*/ 35433 w 233171"/>
                <a:gd name="connsiteY37" fmla="*/ 210883 h 330898"/>
                <a:gd name="connsiteX38" fmla="*/ 41910 w 233171"/>
                <a:gd name="connsiteY38" fmla="*/ 247936 h 330898"/>
                <a:gd name="connsiteX39" fmla="*/ 59531 w 233171"/>
                <a:gd name="connsiteY39" fmla="*/ 276034 h 330898"/>
                <a:gd name="connsiteX40" fmla="*/ 85439 w 233171"/>
                <a:gd name="connsiteY40" fmla="*/ 293941 h 330898"/>
                <a:gd name="connsiteX41" fmla="*/ 116681 w 23317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3171" h="330898">
                  <a:moveTo>
                    <a:pt x="110394" y="330898"/>
                  </a:moveTo>
                  <a:cubicBezTo>
                    <a:pt x="96393" y="330898"/>
                    <a:pt x="82868" y="328231"/>
                    <a:pt x="69723" y="322897"/>
                  </a:cubicBezTo>
                  <a:cubicBezTo>
                    <a:pt x="56674" y="317563"/>
                    <a:pt x="44863" y="309753"/>
                    <a:pt x="34480" y="299466"/>
                  </a:cubicBezTo>
                  <a:cubicBezTo>
                    <a:pt x="24003" y="289179"/>
                    <a:pt x="15716" y="276701"/>
                    <a:pt x="9430" y="261938"/>
                  </a:cubicBezTo>
                  <a:cubicBezTo>
                    <a:pt x="3143" y="247174"/>
                    <a:pt x="0" y="230314"/>
                    <a:pt x="0" y="211264"/>
                  </a:cubicBezTo>
                  <a:lnTo>
                    <a:pt x="0" y="210407"/>
                  </a:lnTo>
                  <a:cubicBezTo>
                    <a:pt x="0" y="191643"/>
                    <a:pt x="3143" y="174879"/>
                    <a:pt x="9430" y="159925"/>
                  </a:cubicBezTo>
                  <a:cubicBezTo>
                    <a:pt x="15716" y="145066"/>
                    <a:pt x="24003" y="132493"/>
                    <a:pt x="34480" y="122206"/>
                  </a:cubicBezTo>
                  <a:cubicBezTo>
                    <a:pt x="44863" y="111919"/>
                    <a:pt x="56674" y="104013"/>
                    <a:pt x="69723" y="98488"/>
                  </a:cubicBezTo>
                  <a:cubicBezTo>
                    <a:pt x="82868" y="92964"/>
                    <a:pt x="96393" y="90202"/>
                    <a:pt x="110394" y="90202"/>
                  </a:cubicBezTo>
                  <a:cubicBezTo>
                    <a:pt x="121158" y="90202"/>
                    <a:pt x="130969" y="91535"/>
                    <a:pt x="139827" y="94202"/>
                  </a:cubicBezTo>
                  <a:cubicBezTo>
                    <a:pt x="148780" y="96869"/>
                    <a:pt x="156782" y="100489"/>
                    <a:pt x="163925" y="104870"/>
                  </a:cubicBezTo>
                  <a:cubicBezTo>
                    <a:pt x="171069" y="109347"/>
                    <a:pt x="177546" y="114586"/>
                    <a:pt x="183356" y="120491"/>
                  </a:cubicBezTo>
                  <a:cubicBezTo>
                    <a:pt x="189166" y="126492"/>
                    <a:pt x="194310" y="132683"/>
                    <a:pt x="198787" y="139255"/>
                  </a:cubicBezTo>
                  <a:lnTo>
                    <a:pt x="198787" y="0"/>
                  </a:lnTo>
                  <a:lnTo>
                    <a:pt x="233172" y="0"/>
                  </a:lnTo>
                  <a:lnTo>
                    <a:pt x="233172" y="325850"/>
                  </a:lnTo>
                  <a:lnTo>
                    <a:pt x="198787" y="325850"/>
                  </a:lnTo>
                  <a:lnTo>
                    <a:pt x="198787" y="279463"/>
                  </a:lnTo>
                  <a:cubicBezTo>
                    <a:pt x="194024" y="286321"/>
                    <a:pt x="188786" y="292894"/>
                    <a:pt x="182975" y="299085"/>
                  </a:cubicBezTo>
                  <a:cubicBezTo>
                    <a:pt x="177165" y="305371"/>
                    <a:pt x="170688" y="310896"/>
                    <a:pt x="163544" y="315658"/>
                  </a:cubicBezTo>
                  <a:cubicBezTo>
                    <a:pt x="156400" y="320421"/>
                    <a:pt x="148494" y="324136"/>
                    <a:pt x="139636" y="326803"/>
                  </a:cubicBezTo>
                  <a:cubicBezTo>
                    <a:pt x="130873" y="329470"/>
                    <a:pt x="121158" y="330803"/>
                    <a:pt x="110394" y="330803"/>
                  </a:cubicBezTo>
                  <a:close/>
                  <a:moveTo>
                    <a:pt x="116681" y="300133"/>
                  </a:moveTo>
                  <a:cubicBezTo>
                    <a:pt x="127445" y="300133"/>
                    <a:pt x="137732" y="297942"/>
                    <a:pt x="147733" y="293656"/>
                  </a:cubicBezTo>
                  <a:cubicBezTo>
                    <a:pt x="157734" y="289369"/>
                    <a:pt x="166592" y="283273"/>
                    <a:pt x="174498" y="275368"/>
                  </a:cubicBezTo>
                  <a:cubicBezTo>
                    <a:pt x="182404" y="267462"/>
                    <a:pt x="188595" y="258127"/>
                    <a:pt x="193262" y="247269"/>
                  </a:cubicBezTo>
                  <a:cubicBezTo>
                    <a:pt x="197834" y="236410"/>
                    <a:pt x="200216" y="224314"/>
                    <a:pt x="200216" y="210883"/>
                  </a:cubicBezTo>
                  <a:lnTo>
                    <a:pt x="200216" y="210026"/>
                  </a:lnTo>
                  <a:cubicBezTo>
                    <a:pt x="200216" y="196596"/>
                    <a:pt x="197929" y="184499"/>
                    <a:pt x="193262" y="173641"/>
                  </a:cubicBezTo>
                  <a:cubicBezTo>
                    <a:pt x="188595" y="162782"/>
                    <a:pt x="182404" y="153448"/>
                    <a:pt x="174498" y="145732"/>
                  </a:cubicBezTo>
                  <a:cubicBezTo>
                    <a:pt x="166592" y="138017"/>
                    <a:pt x="157639" y="132016"/>
                    <a:pt x="147733" y="127635"/>
                  </a:cubicBezTo>
                  <a:cubicBezTo>
                    <a:pt x="137732" y="123349"/>
                    <a:pt x="127445" y="121158"/>
                    <a:pt x="116681" y="121158"/>
                  </a:cubicBezTo>
                  <a:cubicBezTo>
                    <a:pt x="105346" y="121158"/>
                    <a:pt x="94774" y="123158"/>
                    <a:pt x="84963" y="127159"/>
                  </a:cubicBezTo>
                  <a:cubicBezTo>
                    <a:pt x="75152" y="131159"/>
                    <a:pt x="66580" y="136969"/>
                    <a:pt x="59341" y="144589"/>
                  </a:cubicBezTo>
                  <a:cubicBezTo>
                    <a:pt x="52007" y="152114"/>
                    <a:pt x="46291" y="161449"/>
                    <a:pt x="41910" y="172498"/>
                  </a:cubicBezTo>
                  <a:cubicBezTo>
                    <a:pt x="37624" y="183451"/>
                    <a:pt x="35433" y="196024"/>
                    <a:pt x="35433" y="210026"/>
                  </a:cubicBezTo>
                  <a:lnTo>
                    <a:pt x="35433" y="210883"/>
                  </a:lnTo>
                  <a:cubicBezTo>
                    <a:pt x="35433" y="224599"/>
                    <a:pt x="37624" y="236982"/>
                    <a:pt x="41910" y="247936"/>
                  </a:cubicBezTo>
                  <a:cubicBezTo>
                    <a:pt x="46196" y="258984"/>
                    <a:pt x="52101" y="268319"/>
                    <a:pt x="59531" y="276034"/>
                  </a:cubicBezTo>
                  <a:cubicBezTo>
                    <a:pt x="66960" y="283750"/>
                    <a:pt x="75629" y="289750"/>
                    <a:pt x="85439" y="293941"/>
                  </a:cubicBezTo>
                  <a:cubicBezTo>
                    <a:pt x="95250" y="298132"/>
                    <a:pt x="105632" y="300228"/>
                    <a:pt x="116681" y="300228"/>
                  </a:cubicBezTo>
                  <a:close/>
                </a:path>
              </a:pathLst>
            </a:custGeom>
            <a:solidFill>
              <a:srgbClr val="44505E"/>
            </a:solidFill>
            <a:ln w="9525" cap="flat">
              <a:noFill/>
              <a:prstDash val="solid"/>
              <a:miter/>
            </a:ln>
          </p:spPr>
          <p:txBody>
            <a:bodyPr rtlCol="0" anchor="ctr"/>
            <a:lstStyle/>
            <a:p>
              <a:endParaRPr lang="pt-BR" noProof="0"/>
            </a:p>
          </p:txBody>
        </p:sp>
        <p:sp>
          <p:nvSpPr>
            <p:cNvPr id="53" name="Freeform: Shape 52">
              <a:extLst>
                <a:ext uri="{FF2B5EF4-FFF2-40B4-BE49-F238E27FC236}">
                  <a16:creationId xmlns:a16="http://schemas.microsoft.com/office/drawing/2014/main" id="{E2C78067-2644-2B5B-B738-3C555A210F9B}"/>
                </a:ext>
              </a:extLst>
            </p:cNvPr>
            <p:cNvSpPr/>
            <p:nvPr/>
          </p:nvSpPr>
          <p:spPr>
            <a:xfrm>
              <a:off x="6586762"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0 w 202977"/>
                <a:gd name="connsiteY16" fmla="*/ 48196 h 239267"/>
                <a:gd name="connsiteX17" fmla="*/ 20383 w 202977"/>
                <a:gd name="connsiteY17" fmla="*/ 19907 h 239267"/>
                <a:gd name="connsiteX18" fmla="*/ 59245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0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1"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675" y="92678"/>
                    <a:pt x="84011" y="90964"/>
                    <a:pt x="98584" y="90964"/>
                  </a:cubicBezTo>
                  <a:cubicBezTo>
                    <a:pt x="113157" y="90964"/>
                    <a:pt x="126302"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0" y="33147"/>
                    <a:pt x="63436" y="36100"/>
                  </a:cubicBezTo>
                  <a:cubicBezTo>
                    <a:pt x="52292" y="39053"/>
                    <a:pt x="41338" y="43053"/>
                    <a:pt x="30670" y="48196"/>
                  </a:cubicBezTo>
                  <a:lnTo>
                    <a:pt x="20383" y="19907"/>
                  </a:lnTo>
                  <a:cubicBezTo>
                    <a:pt x="33147" y="13906"/>
                    <a:pt x="46101" y="9049"/>
                    <a:pt x="59245" y="5429"/>
                  </a:cubicBezTo>
                  <a:cubicBezTo>
                    <a:pt x="72294" y="1810"/>
                    <a:pt x="87344" y="0"/>
                    <a:pt x="104299" y="0"/>
                  </a:cubicBezTo>
                  <a:cubicBezTo>
                    <a:pt x="137064" y="0"/>
                    <a:pt x="161925" y="8477"/>
                    <a:pt x="178879" y="25432"/>
                  </a:cubicBezTo>
                  <a:cubicBezTo>
                    <a:pt x="194976"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0" y="239173"/>
                  </a:cubicBezTo>
                  <a:close/>
                  <a:moveTo>
                    <a:pt x="93154" y="211169"/>
                  </a:moveTo>
                  <a:cubicBezTo>
                    <a:pt x="103822" y="211169"/>
                    <a:pt x="113729" y="209740"/>
                    <a:pt x="122967" y="206788"/>
                  </a:cubicBezTo>
                  <a:cubicBezTo>
                    <a:pt x="132207"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4" y="119348"/>
                    <a:pt x="116871"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54" name="Freeform: Shape 53">
              <a:extLst>
                <a:ext uri="{FF2B5EF4-FFF2-40B4-BE49-F238E27FC236}">
                  <a16:creationId xmlns:a16="http://schemas.microsoft.com/office/drawing/2014/main" id="{A380A83B-3D38-2CBC-130B-81EE73572D47}"/>
                </a:ext>
              </a:extLst>
            </p:cNvPr>
            <p:cNvSpPr/>
            <p:nvPr/>
          </p:nvSpPr>
          <p:spPr>
            <a:xfrm>
              <a:off x="6651291" y="924268"/>
              <a:ext cx="44680" cy="60195"/>
            </a:xfrm>
            <a:custGeom>
              <a:avLst/>
              <a:gdLst>
                <a:gd name="connsiteX0" fmla="*/ 95535 w 177736"/>
                <a:gd name="connsiteY0" fmla="*/ 239268 h 239458"/>
                <a:gd name="connsiteX1" fmla="*/ 45053 w 177736"/>
                <a:gd name="connsiteY1" fmla="*/ 230124 h 239458"/>
                <a:gd name="connsiteX2" fmla="*/ 0 w 177736"/>
                <a:gd name="connsiteY2" fmla="*/ 205359 h 239458"/>
                <a:gd name="connsiteX3" fmla="*/ 17430 w 177736"/>
                <a:gd name="connsiteY3" fmla="*/ 180785 h 239458"/>
                <a:gd name="connsiteX4" fmla="*/ 56483 w 177736"/>
                <a:gd name="connsiteY4" fmla="*/ 202692 h 239458"/>
                <a:gd name="connsiteX5" fmla="*/ 97345 w 177736"/>
                <a:gd name="connsiteY5" fmla="*/ 210217 h 239458"/>
                <a:gd name="connsiteX6" fmla="*/ 131730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825 w 177736"/>
                <a:gd name="connsiteY10" fmla="*/ 147066 h 239458"/>
                <a:gd name="connsiteX11" fmla="*/ 109251 w 177736"/>
                <a:gd name="connsiteY11" fmla="*/ 138779 h 239458"/>
                <a:gd name="connsiteX12" fmla="*/ 87630 w 177736"/>
                <a:gd name="connsiteY12" fmla="*/ 132112 h 239458"/>
                <a:gd name="connsiteX13" fmla="*/ 60579 w 177736"/>
                <a:gd name="connsiteY13" fmla="*/ 123444 h 239458"/>
                <a:gd name="connsiteX14" fmla="*/ 36004 w 177736"/>
                <a:gd name="connsiteY14" fmla="*/ 111633 h 239458"/>
                <a:gd name="connsiteX15" fmla="*/ 18192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59 w 177736"/>
                <a:gd name="connsiteY22" fmla="*/ 6953 h 239458"/>
                <a:gd name="connsiteX23" fmla="*/ 172878 w 177736"/>
                <a:gd name="connsiteY23" fmla="*/ 25527 h 239458"/>
                <a:gd name="connsiteX24" fmla="*/ 157257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3 w 177736"/>
                <a:gd name="connsiteY32" fmla="*/ 96203 h 239458"/>
                <a:gd name="connsiteX33" fmla="*/ 103631 w 177736"/>
                <a:gd name="connsiteY33" fmla="*/ 103346 h 239458"/>
                <a:gd name="connsiteX34" fmla="*/ 130207 w 177736"/>
                <a:gd name="connsiteY34" fmla="*/ 112300 h 239458"/>
                <a:gd name="connsiteX35" fmla="*/ 154114 w 177736"/>
                <a:gd name="connsiteY35" fmla="*/ 124778 h 239458"/>
                <a:gd name="connsiteX36" fmla="*/ 171259 w 177736"/>
                <a:gd name="connsiteY36" fmla="*/ 143066 h 239458"/>
                <a:gd name="connsiteX37" fmla="*/ 177736 w 177736"/>
                <a:gd name="connsiteY37" fmla="*/ 169450 h 239458"/>
                <a:gd name="connsiteX38" fmla="*/ 177736 w 177736"/>
                <a:gd name="connsiteY38" fmla="*/ 170307 h 239458"/>
                <a:gd name="connsiteX39" fmla="*/ 171259 w 177736"/>
                <a:gd name="connsiteY39" fmla="*/ 199549 h 239458"/>
                <a:gd name="connsiteX40" fmla="*/ 153828 w 177736"/>
                <a:gd name="connsiteY40" fmla="*/ 221171 h 239458"/>
                <a:gd name="connsiteX41" fmla="*/ 127921 w 177736"/>
                <a:gd name="connsiteY41" fmla="*/ 234791 h 239458"/>
                <a:gd name="connsiteX42" fmla="*/ 95535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5" y="239268"/>
                  </a:moveTo>
                  <a:cubicBezTo>
                    <a:pt x="78867" y="239268"/>
                    <a:pt x="62007" y="236220"/>
                    <a:pt x="45053" y="230124"/>
                  </a:cubicBezTo>
                  <a:cubicBezTo>
                    <a:pt x="28098" y="224028"/>
                    <a:pt x="13049" y="215741"/>
                    <a:pt x="0" y="205359"/>
                  </a:cubicBezTo>
                  <a:lnTo>
                    <a:pt x="17430" y="180785"/>
                  </a:lnTo>
                  <a:cubicBezTo>
                    <a:pt x="29908" y="190310"/>
                    <a:pt x="42957" y="197644"/>
                    <a:pt x="56483" y="202692"/>
                  </a:cubicBezTo>
                  <a:cubicBezTo>
                    <a:pt x="70009" y="207740"/>
                    <a:pt x="83629" y="210217"/>
                    <a:pt x="97345" y="210217"/>
                  </a:cubicBezTo>
                  <a:cubicBezTo>
                    <a:pt x="111061" y="210217"/>
                    <a:pt x="122777" y="206978"/>
                    <a:pt x="131730" y="200406"/>
                  </a:cubicBezTo>
                  <a:cubicBezTo>
                    <a:pt x="140684" y="193834"/>
                    <a:pt x="145161" y="184976"/>
                    <a:pt x="145161" y="173641"/>
                  </a:cubicBezTo>
                  <a:lnTo>
                    <a:pt x="145161" y="172784"/>
                  </a:lnTo>
                  <a:cubicBezTo>
                    <a:pt x="145161" y="167164"/>
                    <a:pt x="143541" y="162211"/>
                    <a:pt x="140494" y="158020"/>
                  </a:cubicBezTo>
                  <a:cubicBezTo>
                    <a:pt x="137350" y="153829"/>
                    <a:pt x="133159" y="150209"/>
                    <a:pt x="127825" y="147066"/>
                  </a:cubicBezTo>
                  <a:cubicBezTo>
                    <a:pt x="122491" y="143923"/>
                    <a:pt x="116300" y="141161"/>
                    <a:pt x="109251" y="138779"/>
                  </a:cubicBezTo>
                  <a:cubicBezTo>
                    <a:pt x="102298" y="136398"/>
                    <a:pt x="95059" y="134207"/>
                    <a:pt x="87630" y="132112"/>
                  </a:cubicBezTo>
                  <a:cubicBezTo>
                    <a:pt x="78676" y="129445"/>
                    <a:pt x="69722" y="126492"/>
                    <a:pt x="60579" y="123444"/>
                  </a:cubicBezTo>
                  <a:cubicBezTo>
                    <a:pt x="51530" y="120301"/>
                    <a:pt x="43339" y="116396"/>
                    <a:pt x="36004" y="111633"/>
                  </a:cubicBezTo>
                  <a:cubicBezTo>
                    <a:pt x="28670" y="106871"/>
                    <a:pt x="22764" y="100870"/>
                    <a:pt x="18192" y="93726"/>
                  </a:cubicBezTo>
                  <a:cubicBezTo>
                    <a:pt x="13525" y="86582"/>
                    <a:pt x="11239" y="77629"/>
                    <a:pt x="11239" y="66961"/>
                  </a:cubicBezTo>
                  <a:lnTo>
                    <a:pt x="11239" y="66008"/>
                  </a:lnTo>
                  <a:cubicBezTo>
                    <a:pt x="11239" y="56198"/>
                    <a:pt x="13144" y="47149"/>
                    <a:pt x="17050" y="39053"/>
                  </a:cubicBezTo>
                  <a:cubicBezTo>
                    <a:pt x="20955" y="30861"/>
                    <a:pt x="26384" y="23908"/>
                    <a:pt x="33338" y="18098"/>
                  </a:cubicBezTo>
                  <a:cubicBezTo>
                    <a:pt x="40291" y="12287"/>
                    <a:pt x="48673" y="7811"/>
                    <a:pt x="58388" y="4667"/>
                  </a:cubicBezTo>
                  <a:cubicBezTo>
                    <a:pt x="68008" y="1524"/>
                    <a:pt x="78581" y="0"/>
                    <a:pt x="89821" y="0"/>
                  </a:cubicBezTo>
                  <a:cubicBezTo>
                    <a:pt x="104108" y="0"/>
                    <a:pt x="118586" y="2286"/>
                    <a:pt x="133159" y="6953"/>
                  </a:cubicBezTo>
                  <a:cubicBezTo>
                    <a:pt x="147732" y="11621"/>
                    <a:pt x="160972" y="17717"/>
                    <a:pt x="172878" y="25527"/>
                  </a:cubicBezTo>
                  <a:lnTo>
                    <a:pt x="157257" y="51435"/>
                  </a:lnTo>
                  <a:cubicBezTo>
                    <a:pt x="146494" y="44577"/>
                    <a:pt x="135255" y="39148"/>
                    <a:pt x="123539" y="35147"/>
                  </a:cubicBezTo>
                  <a:cubicBezTo>
                    <a:pt x="111823" y="31147"/>
                    <a:pt x="100203" y="29146"/>
                    <a:pt x="88963" y="29146"/>
                  </a:cubicBezTo>
                  <a:cubicBezTo>
                    <a:pt x="75247" y="29146"/>
                    <a:pt x="64389" y="32385"/>
                    <a:pt x="56388" y="38767"/>
                  </a:cubicBezTo>
                  <a:cubicBezTo>
                    <a:pt x="48291" y="45149"/>
                    <a:pt x="44291" y="53150"/>
                    <a:pt x="44291" y="62675"/>
                  </a:cubicBezTo>
                  <a:lnTo>
                    <a:pt x="44291" y="63627"/>
                  </a:lnTo>
                  <a:cubicBezTo>
                    <a:pt x="44291" y="68961"/>
                    <a:pt x="45910" y="73628"/>
                    <a:pt x="49244" y="77724"/>
                  </a:cubicBezTo>
                  <a:cubicBezTo>
                    <a:pt x="52482" y="81725"/>
                    <a:pt x="56864" y="85249"/>
                    <a:pt x="62389" y="88202"/>
                  </a:cubicBezTo>
                  <a:cubicBezTo>
                    <a:pt x="67913" y="91154"/>
                    <a:pt x="74200" y="93821"/>
                    <a:pt x="81343" y="96203"/>
                  </a:cubicBezTo>
                  <a:cubicBezTo>
                    <a:pt x="88487" y="98584"/>
                    <a:pt x="95916" y="100965"/>
                    <a:pt x="103631" y="103346"/>
                  </a:cubicBezTo>
                  <a:cubicBezTo>
                    <a:pt x="112585" y="106013"/>
                    <a:pt x="121444" y="108966"/>
                    <a:pt x="130207" y="112300"/>
                  </a:cubicBezTo>
                  <a:cubicBezTo>
                    <a:pt x="138969" y="115538"/>
                    <a:pt x="146971" y="119729"/>
                    <a:pt x="154114" y="124778"/>
                  </a:cubicBezTo>
                  <a:cubicBezTo>
                    <a:pt x="161258" y="129826"/>
                    <a:pt x="166973" y="135922"/>
                    <a:pt x="171259" y="143066"/>
                  </a:cubicBezTo>
                  <a:cubicBezTo>
                    <a:pt x="175546" y="150209"/>
                    <a:pt x="177736" y="158972"/>
                    <a:pt x="177736" y="169450"/>
                  </a:cubicBezTo>
                  <a:lnTo>
                    <a:pt x="177736" y="170307"/>
                  </a:lnTo>
                  <a:cubicBezTo>
                    <a:pt x="177736" y="181356"/>
                    <a:pt x="175546" y="191071"/>
                    <a:pt x="171259" y="199549"/>
                  </a:cubicBezTo>
                  <a:cubicBezTo>
                    <a:pt x="166973" y="208026"/>
                    <a:pt x="161163" y="215265"/>
                    <a:pt x="153828" y="221171"/>
                  </a:cubicBezTo>
                  <a:cubicBezTo>
                    <a:pt x="146589" y="227171"/>
                    <a:pt x="137922" y="231648"/>
                    <a:pt x="127921" y="234791"/>
                  </a:cubicBezTo>
                  <a:cubicBezTo>
                    <a:pt x="117919" y="237935"/>
                    <a:pt x="107156" y="239459"/>
                    <a:pt x="95535" y="239459"/>
                  </a:cubicBezTo>
                  <a:close/>
                </a:path>
              </a:pathLst>
            </a:custGeom>
            <a:solidFill>
              <a:srgbClr val="44505E"/>
            </a:solidFill>
            <a:ln w="9525" cap="flat">
              <a:noFill/>
              <a:prstDash val="solid"/>
              <a:miter/>
            </a:ln>
          </p:spPr>
          <p:txBody>
            <a:bodyPr rtlCol="0" anchor="ctr"/>
            <a:lstStyle/>
            <a:p>
              <a:endParaRPr lang="pt-BR" noProof="0"/>
            </a:p>
          </p:txBody>
        </p:sp>
        <p:sp>
          <p:nvSpPr>
            <p:cNvPr id="55" name="Freeform: Shape 54">
              <a:extLst>
                <a:ext uri="{FF2B5EF4-FFF2-40B4-BE49-F238E27FC236}">
                  <a16:creationId xmlns:a16="http://schemas.microsoft.com/office/drawing/2014/main" id="{D353EF25-8A2D-B42A-F47E-20607068B19D}"/>
                </a:ext>
              </a:extLst>
            </p:cNvPr>
            <p:cNvSpPr/>
            <p:nvPr/>
          </p:nvSpPr>
          <p:spPr>
            <a:xfrm>
              <a:off x="5250320" y="846952"/>
              <a:ext cx="1459036" cy="16186"/>
            </a:xfrm>
            <a:custGeom>
              <a:avLst/>
              <a:gdLst>
                <a:gd name="connsiteX0" fmla="*/ 0 w 5804058"/>
                <a:gd name="connsiteY0" fmla="*/ 0 h 64388"/>
                <a:gd name="connsiteX1" fmla="*/ 5804059 w 5804058"/>
                <a:gd name="connsiteY1" fmla="*/ 0 h 64388"/>
                <a:gd name="connsiteX2" fmla="*/ 5804059 w 5804058"/>
                <a:gd name="connsiteY2" fmla="*/ 64389 h 64388"/>
                <a:gd name="connsiteX3" fmla="*/ 0 w 5804058"/>
                <a:gd name="connsiteY3" fmla="*/ 64389 h 64388"/>
              </a:gdLst>
              <a:ahLst/>
              <a:cxnLst>
                <a:cxn ang="0">
                  <a:pos x="connsiteX0" y="connsiteY0"/>
                </a:cxn>
                <a:cxn ang="0">
                  <a:pos x="connsiteX1" y="connsiteY1"/>
                </a:cxn>
                <a:cxn ang="0">
                  <a:pos x="connsiteX2" y="connsiteY2"/>
                </a:cxn>
                <a:cxn ang="0">
                  <a:pos x="connsiteX3" y="connsiteY3"/>
                </a:cxn>
              </a:cxnLst>
              <a:rect l="l" t="t" r="r" b="b"/>
              <a:pathLst>
                <a:path w="5804058" h="64388">
                  <a:moveTo>
                    <a:pt x="0" y="0"/>
                  </a:moveTo>
                  <a:lnTo>
                    <a:pt x="5804059" y="0"/>
                  </a:lnTo>
                  <a:lnTo>
                    <a:pt x="5804059" y="64389"/>
                  </a:lnTo>
                  <a:lnTo>
                    <a:pt x="0" y="64389"/>
                  </a:lnTo>
                  <a:close/>
                </a:path>
              </a:pathLst>
            </a:custGeom>
            <a:solidFill>
              <a:srgbClr val="44505E"/>
            </a:solidFill>
            <a:ln w="9525" cap="flat">
              <a:noFill/>
              <a:prstDash val="solid"/>
              <a:miter/>
            </a:ln>
          </p:spPr>
          <p:txBody>
            <a:bodyPr rtlCol="0" anchor="ctr"/>
            <a:lstStyle/>
            <a:p>
              <a:endParaRPr lang="pt-BR" noProof="0"/>
            </a:p>
          </p:txBody>
        </p:sp>
        <p:sp>
          <p:nvSpPr>
            <p:cNvPr id="56" name="Freeform: Shape 55">
              <a:extLst>
                <a:ext uri="{FF2B5EF4-FFF2-40B4-BE49-F238E27FC236}">
                  <a16:creationId xmlns:a16="http://schemas.microsoft.com/office/drawing/2014/main" id="{C0BA96CB-2211-EBAB-78F1-6FE1AB6CFBC3}"/>
                </a:ext>
              </a:extLst>
            </p:cNvPr>
            <p:cNvSpPr/>
            <p:nvPr/>
          </p:nvSpPr>
          <p:spPr>
            <a:xfrm>
              <a:off x="6902633" y="268821"/>
              <a:ext cx="273418" cy="601046"/>
            </a:xfrm>
            <a:custGeom>
              <a:avLst/>
              <a:gdLst>
                <a:gd name="connsiteX0" fmla="*/ 0 w 1087659"/>
                <a:gd name="connsiteY0" fmla="*/ 210979 h 2390965"/>
                <a:gd name="connsiteX1" fmla="*/ 125063 w 1087659"/>
                <a:gd name="connsiteY1" fmla="*/ 103442 h 2390965"/>
                <a:gd name="connsiteX2" fmla="*/ 250031 w 1087659"/>
                <a:gd name="connsiteY2" fmla="*/ 210979 h 2390965"/>
                <a:gd name="connsiteX3" fmla="*/ 250031 w 1087659"/>
                <a:gd name="connsiteY3" fmla="*/ 1922717 h 2390965"/>
                <a:gd name="connsiteX4" fmla="*/ 249841 w 1087659"/>
                <a:gd name="connsiteY4" fmla="*/ 1922717 h 2390965"/>
                <a:gd name="connsiteX5" fmla="*/ 249841 w 1087659"/>
                <a:gd name="connsiteY5" fmla="*/ 1925955 h 2390965"/>
                <a:gd name="connsiteX6" fmla="*/ 333756 w 1087659"/>
                <a:gd name="connsiteY6" fmla="*/ 2100263 h 2390965"/>
                <a:gd name="connsiteX7" fmla="*/ 335566 w 1087659"/>
                <a:gd name="connsiteY7" fmla="*/ 2101787 h 2390965"/>
                <a:gd name="connsiteX8" fmla="*/ 336042 w 1087659"/>
                <a:gd name="connsiteY8" fmla="*/ 2102168 h 2390965"/>
                <a:gd name="connsiteX9" fmla="*/ 543877 w 1087659"/>
                <a:gd name="connsiteY9" fmla="*/ 2175891 h 2390965"/>
                <a:gd name="connsiteX10" fmla="*/ 749998 w 1087659"/>
                <a:gd name="connsiteY10" fmla="*/ 2103692 h 2390965"/>
                <a:gd name="connsiteX11" fmla="*/ 751713 w 1087659"/>
                <a:gd name="connsiteY11" fmla="*/ 2102168 h 2390965"/>
                <a:gd name="connsiteX12" fmla="*/ 752189 w 1087659"/>
                <a:gd name="connsiteY12" fmla="*/ 2101787 h 2390965"/>
                <a:gd name="connsiteX13" fmla="*/ 837819 w 1087659"/>
                <a:gd name="connsiteY13" fmla="*/ 1922812 h 2390965"/>
                <a:gd name="connsiteX14" fmla="*/ 837819 w 1087659"/>
                <a:gd name="connsiteY14" fmla="*/ 107537 h 2390965"/>
                <a:gd name="connsiteX15" fmla="*/ 962787 w 1087659"/>
                <a:gd name="connsiteY15" fmla="*/ 0 h 2390965"/>
                <a:gd name="connsiteX16" fmla="*/ 1087660 w 1087659"/>
                <a:gd name="connsiteY16" fmla="*/ 107537 h 2390965"/>
                <a:gd name="connsiteX17" fmla="*/ 1087660 w 1087659"/>
                <a:gd name="connsiteY17" fmla="*/ 1922621 h 2390965"/>
                <a:gd name="connsiteX18" fmla="*/ 928307 w 1087659"/>
                <a:gd name="connsiteY18" fmla="*/ 2253234 h 2390965"/>
                <a:gd name="connsiteX19" fmla="*/ 928116 w 1087659"/>
                <a:gd name="connsiteY19" fmla="*/ 2253424 h 2390965"/>
                <a:gd name="connsiteX20" fmla="*/ 927830 w 1087659"/>
                <a:gd name="connsiteY20" fmla="*/ 2253710 h 2390965"/>
                <a:gd name="connsiteX21" fmla="*/ 927354 w 1087659"/>
                <a:gd name="connsiteY21" fmla="*/ 2254187 h 2390965"/>
                <a:gd name="connsiteX22" fmla="*/ 543783 w 1087659"/>
                <a:gd name="connsiteY22" fmla="*/ 2390966 h 2390965"/>
                <a:gd name="connsiteX23" fmla="*/ 159734 w 1087659"/>
                <a:gd name="connsiteY23" fmla="*/ 2253710 h 2390965"/>
                <a:gd name="connsiteX24" fmla="*/ 159734 w 1087659"/>
                <a:gd name="connsiteY24" fmla="*/ 2253424 h 2390965"/>
                <a:gd name="connsiteX25" fmla="*/ 159353 w 1087659"/>
                <a:gd name="connsiteY25" fmla="*/ 2253234 h 2390965"/>
                <a:gd name="connsiteX26" fmla="*/ 158877 w 1087659"/>
                <a:gd name="connsiteY26" fmla="*/ 2252948 h 2390965"/>
                <a:gd name="connsiteX27" fmla="*/ 0 w 1087659"/>
                <a:gd name="connsiteY27" fmla="*/ 1922621 h 2390965"/>
                <a:gd name="connsiteX28" fmla="*/ 0 w 1087659"/>
                <a:gd name="connsiteY28" fmla="*/ 1922621 h 2390965"/>
                <a:gd name="connsiteX29" fmla="*/ 0 w 1087659"/>
                <a:gd name="connsiteY29" fmla="*/ 210979 h 239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87659" h="2390965">
                  <a:moveTo>
                    <a:pt x="0" y="210979"/>
                  </a:moveTo>
                  <a:cubicBezTo>
                    <a:pt x="0" y="151638"/>
                    <a:pt x="56007" y="103442"/>
                    <a:pt x="125063" y="103442"/>
                  </a:cubicBezTo>
                  <a:cubicBezTo>
                    <a:pt x="194120" y="103442"/>
                    <a:pt x="250031" y="151638"/>
                    <a:pt x="250031" y="210979"/>
                  </a:cubicBezTo>
                  <a:lnTo>
                    <a:pt x="250031" y="1922717"/>
                  </a:lnTo>
                  <a:lnTo>
                    <a:pt x="249841" y="1922717"/>
                  </a:lnTo>
                  <a:lnTo>
                    <a:pt x="249841" y="1925955"/>
                  </a:lnTo>
                  <a:cubicBezTo>
                    <a:pt x="250793" y="1994059"/>
                    <a:pt x="282797" y="2055495"/>
                    <a:pt x="333756" y="2100263"/>
                  </a:cubicBezTo>
                  <a:lnTo>
                    <a:pt x="335566" y="2101787"/>
                  </a:lnTo>
                  <a:lnTo>
                    <a:pt x="336042" y="2102168"/>
                  </a:lnTo>
                  <a:cubicBezTo>
                    <a:pt x="388906" y="2147697"/>
                    <a:pt x="462343" y="2175891"/>
                    <a:pt x="543877" y="2175891"/>
                  </a:cubicBezTo>
                  <a:cubicBezTo>
                    <a:pt x="625411" y="2175891"/>
                    <a:pt x="697420" y="2148364"/>
                    <a:pt x="749998" y="2103692"/>
                  </a:cubicBezTo>
                  <a:lnTo>
                    <a:pt x="751713" y="2102168"/>
                  </a:lnTo>
                  <a:lnTo>
                    <a:pt x="752189" y="2101787"/>
                  </a:lnTo>
                  <a:cubicBezTo>
                    <a:pt x="805053" y="2056352"/>
                    <a:pt x="837819" y="1993011"/>
                    <a:pt x="837819" y="1922812"/>
                  </a:cubicBezTo>
                  <a:lnTo>
                    <a:pt x="837819" y="107537"/>
                  </a:lnTo>
                  <a:cubicBezTo>
                    <a:pt x="837819" y="48196"/>
                    <a:pt x="893731" y="0"/>
                    <a:pt x="962787" y="0"/>
                  </a:cubicBezTo>
                  <a:cubicBezTo>
                    <a:pt x="1031843" y="0"/>
                    <a:pt x="1087660" y="48196"/>
                    <a:pt x="1087660" y="107537"/>
                  </a:cubicBezTo>
                  <a:lnTo>
                    <a:pt x="1087660" y="1922621"/>
                  </a:lnTo>
                  <a:cubicBezTo>
                    <a:pt x="1087660" y="2051399"/>
                    <a:pt x="1026795" y="2168366"/>
                    <a:pt x="928307" y="2253234"/>
                  </a:cubicBezTo>
                  <a:lnTo>
                    <a:pt x="928116" y="2253424"/>
                  </a:lnTo>
                  <a:lnTo>
                    <a:pt x="927830" y="2253710"/>
                  </a:lnTo>
                  <a:lnTo>
                    <a:pt x="927354" y="2254187"/>
                  </a:lnTo>
                  <a:cubicBezTo>
                    <a:pt x="828770" y="2338673"/>
                    <a:pt x="693134" y="2390966"/>
                    <a:pt x="543783" y="2390966"/>
                  </a:cubicBezTo>
                  <a:cubicBezTo>
                    <a:pt x="394430" y="2390966"/>
                    <a:pt x="258413" y="2338483"/>
                    <a:pt x="159734" y="2253710"/>
                  </a:cubicBezTo>
                  <a:lnTo>
                    <a:pt x="159734" y="2253424"/>
                  </a:lnTo>
                  <a:cubicBezTo>
                    <a:pt x="159734" y="2253424"/>
                    <a:pt x="159353" y="2253234"/>
                    <a:pt x="159353" y="2253234"/>
                  </a:cubicBezTo>
                  <a:lnTo>
                    <a:pt x="158877" y="2252948"/>
                  </a:lnTo>
                  <a:cubicBezTo>
                    <a:pt x="60770" y="2167985"/>
                    <a:pt x="0" y="2051304"/>
                    <a:pt x="0" y="1922621"/>
                  </a:cubicBezTo>
                  <a:lnTo>
                    <a:pt x="0" y="1922621"/>
                  </a:lnTo>
                  <a:lnTo>
                    <a:pt x="0" y="210979"/>
                  </a:lnTo>
                  <a:close/>
                </a:path>
              </a:pathLst>
            </a:custGeom>
            <a:solidFill>
              <a:srgbClr val="8FC640"/>
            </a:solidFill>
            <a:ln w="9525" cap="flat">
              <a:noFill/>
              <a:prstDash val="solid"/>
              <a:miter/>
            </a:ln>
          </p:spPr>
          <p:txBody>
            <a:bodyPr rtlCol="0" anchor="ctr"/>
            <a:lstStyle/>
            <a:p>
              <a:endParaRPr lang="pt-BR" noProof="0"/>
            </a:p>
          </p:txBody>
        </p:sp>
        <p:sp>
          <p:nvSpPr>
            <p:cNvPr id="57" name="Freeform: Shape 56">
              <a:extLst>
                <a:ext uri="{FF2B5EF4-FFF2-40B4-BE49-F238E27FC236}">
                  <a16:creationId xmlns:a16="http://schemas.microsoft.com/office/drawing/2014/main" id="{9092EB9D-F4B8-530E-0DAD-7E739607A0FE}"/>
                </a:ext>
              </a:extLst>
            </p:cNvPr>
            <p:cNvSpPr/>
            <p:nvPr/>
          </p:nvSpPr>
          <p:spPr>
            <a:xfrm>
              <a:off x="7013590" y="213965"/>
              <a:ext cx="54018" cy="562280"/>
            </a:xfrm>
            <a:custGeom>
              <a:avLst/>
              <a:gdLst>
                <a:gd name="connsiteX0" fmla="*/ 0 w 214883"/>
                <a:gd name="connsiteY0" fmla="*/ 107537 h 2236755"/>
                <a:gd name="connsiteX1" fmla="*/ 107537 w 214883"/>
                <a:gd name="connsiteY1" fmla="*/ 0 h 2236755"/>
                <a:gd name="connsiteX2" fmla="*/ 214884 w 214883"/>
                <a:gd name="connsiteY2" fmla="*/ 107537 h 2236755"/>
                <a:gd name="connsiteX3" fmla="*/ 214884 w 214883"/>
                <a:gd name="connsiteY3" fmla="*/ 2129219 h 2236755"/>
                <a:gd name="connsiteX4" fmla="*/ 107537 w 214883"/>
                <a:gd name="connsiteY4" fmla="*/ 2236756 h 2236755"/>
                <a:gd name="connsiteX5" fmla="*/ 0 w 214883"/>
                <a:gd name="connsiteY5" fmla="*/ 2129219 h 2236755"/>
                <a:gd name="connsiteX6" fmla="*/ 0 w 214883"/>
                <a:gd name="connsiteY6" fmla="*/ 107537 h 223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 h="2236755">
                  <a:moveTo>
                    <a:pt x="0" y="107537"/>
                  </a:moveTo>
                  <a:cubicBezTo>
                    <a:pt x="0" y="48197"/>
                    <a:pt x="48101" y="0"/>
                    <a:pt x="107537" y="0"/>
                  </a:cubicBezTo>
                  <a:cubicBezTo>
                    <a:pt x="166973" y="0"/>
                    <a:pt x="214884" y="48197"/>
                    <a:pt x="214884" y="107537"/>
                  </a:cubicBezTo>
                  <a:lnTo>
                    <a:pt x="214884" y="2129219"/>
                  </a:lnTo>
                  <a:cubicBezTo>
                    <a:pt x="214884" y="2188559"/>
                    <a:pt x="166782" y="2236756"/>
                    <a:pt x="107537" y="2236756"/>
                  </a:cubicBezTo>
                  <a:cubicBezTo>
                    <a:pt x="48291" y="2236756"/>
                    <a:pt x="0" y="2188559"/>
                    <a:pt x="0" y="2129219"/>
                  </a:cubicBezTo>
                  <a:lnTo>
                    <a:pt x="0" y="107537"/>
                  </a:lnTo>
                  <a:close/>
                </a:path>
              </a:pathLst>
            </a:custGeom>
            <a:solidFill>
              <a:srgbClr val="3698B0"/>
            </a:solidFill>
            <a:ln w="9525" cap="flat">
              <a:noFill/>
              <a:prstDash val="solid"/>
              <a:miter/>
            </a:ln>
          </p:spPr>
          <p:txBody>
            <a:bodyPr rtlCol="0" anchor="ctr"/>
            <a:lstStyle/>
            <a:p>
              <a:endParaRPr lang="pt-BR" noProof="0"/>
            </a:p>
          </p:txBody>
        </p:sp>
        <p:sp>
          <p:nvSpPr>
            <p:cNvPr id="58" name="Freeform: Shape 57">
              <a:extLst>
                <a:ext uri="{FF2B5EF4-FFF2-40B4-BE49-F238E27FC236}">
                  <a16:creationId xmlns:a16="http://schemas.microsoft.com/office/drawing/2014/main" id="{AAF484B9-C2CA-98F1-E246-E5E79F99E9DE}"/>
                </a:ext>
              </a:extLst>
            </p:cNvPr>
            <p:cNvSpPr/>
            <p:nvPr/>
          </p:nvSpPr>
          <p:spPr>
            <a:xfrm>
              <a:off x="6795770" y="332991"/>
              <a:ext cx="485994" cy="649437"/>
            </a:xfrm>
            <a:custGeom>
              <a:avLst/>
              <a:gdLst>
                <a:gd name="connsiteX0" fmla="*/ 1933290 w 1933289"/>
                <a:gd name="connsiteY0" fmla="*/ 138017 h 2583465"/>
                <a:gd name="connsiteX1" fmla="*/ 1933290 w 1933289"/>
                <a:gd name="connsiteY1" fmla="*/ 1734122 h 2583465"/>
                <a:gd name="connsiteX2" fmla="*/ 1796606 w 1933289"/>
                <a:gd name="connsiteY2" fmla="*/ 2229136 h 2583465"/>
                <a:gd name="connsiteX3" fmla="*/ 977742 w 1933289"/>
                <a:gd name="connsiteY3" fmla="*/ 2583466 h 2583465"/>
                <a:gd name="connsiteX4" fmla="*/ 955357 w 1933289"/>
                <a:gd name="connsiteY4" fmla="*/ 2583466 h 2583465"/>
                <a:gd name="connsiteX5" fmla="*/ 136589 w 1933289"/>
                <a:gd name="connsiteY5" fmla="*/ 2229136 h 2583465"/>
                <a:gd name="connsiteX6" fmla="*/ 0 w 1933289"/>
                <a:gd name="connsiteY6" fmla="*/ 1734122 h 2583465"/>
                <a:gd name="connsiteX7" fmla="*/ 0 w 1933289"/>
                <a:gd name="connsiteY7" fmla="*/ 794194 h 2583465"/>
                <a:gd name="connsiteX8" fmla="*/ 137827 w 1933289"/>
                <a:gd name="connsiteY8" fmla="*/ 656273 h 2583465"/>
                <a:gd name="connsiteX9" fmla="*/ 275463 w 1933289"/>
                <a:gd name="connsiteY9" fmla="*/ 794194 h 2583465"/>
                <a:gd name="connsiteX10" fmla="*/ 275463 w 1933289"/>
                <a:gd name="connsiteY10" fmla="*/ 1734122 h 2583465"/>
                <a:gd name="connsiteX11" fmla="*/ 354235 w 1933289"/>
                <a:gd name="connsiteY11" fmla="*/ 2059686 h 2583465"/>
                <a:gd name="connsiteX12" fmla="*/ 958215 w 1933289"/>
                <a:gd name="connsiteY12" fmla="*/ 2307527 h 2583465"/>
                <a:gd name="connsiteX13" fmla="*/ 974789 w 1933289"/>
                <a:gd name="connsiteY13" fmla="*/ 2307527 h 2583465"/>
                <a:gd name="connsiteX14" fmla="*/ 1578959 w 1933289"/>
                <a:gd name="connsiteY14" fmla="*/ 2059686 h 2583465"/>
                <a:gd name="connsiteX15" fmla="*/ 1657636 w 1933289"/>
                <a:gd name="connsiteY15" fmla="*/ 1734122 h 2583465"/>
                <a:gd name="connsiteX16" fmla="*/ 1657636 w 1933289"/>
                <a:gd name="connsiteY16" fmla="*/ 138017 h 2583465"/>
                <a:gd name="connsiteX17" fmla="*/ 1795463 w 1933289"/>
                <a:gd name="connsiteY17" fmla="*/ 0 h 2583465"/>
                <a:gd name="connsiteX18" fmla="*/ 1933290 w 1933289"/>
                <a:gd name="connsiteY18" fmla="*/ 138017 h 25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3289" h="2583465">
                  <a:moveTo>
                    <a:pt x="1933290" y="138017"/>
                  </a:moveTo>
                  <a:lnTo>
                    <a:pt x="1933290" y="1734122"/>
                  </a:lnTo>
                  <a:cubicBezTo>
                    <a:pt x="1933290" y="1870996"/>
                    <a:pt x="1919002" y="2071211"/>
                    <a:pt x="1796606" y="2229136"/>
                  </a:cubicBezTo>
                  <a:cubicBezTo>
                    <a:pt x="1634395" y="2438305"/>
                    <a:pt x="1432084" y="2578703"/>
                    <a:pt x="977742" y="2583466"/>
                  </a:cubicBezTo>
                  <a:lnTo>
                    <a:pt x="955357" y="2583466"/>
                  </a:lnTo>
                  <a:cubicBezTo>
                    <a:pt x="501015" y="2578703"/>
                    <a:pt x="298704" y="2438400"/>
                    <a:pt x="136589" y="2229136"/>
                  </a:cubicBezTo>
                  <a:cubicBezTo>
                    <a:pt x="14192" y="2071211"/>
                    <a:pt x="0" y="1870996"/>
                    <a:pt x="0" y="1734122"/>
                  </a:cubicBezTo>
                  <a:lnTo>
                    <a:pt x="0" y="794194"/>
                  </a:lnTo>
                  <a:cubicBezTo>
                    <a:pt x="0" y="718185"/>
                    <a:pt x="61436" y="656273"/>
                    <a:pt x="137827" y="656273"/>
                  </a:cubicBezTo>
                  <a:cubicBezTo>
                    <a:pt x="214217" y="656273"/>
                    <a:pt x="275463" y="718185"/>
                    <a:pt x="275463" y="794194"/>
                  </a:cubicBezTo>
                  <a:lnTo>
                    <a:pt x="275463" y="1734122"/>
                  </a:lnTo>
                  <a:cubicBezTo>
                    <a:pt x="275463" y="1887188"/>
                    <a:pt x="300324" y="1990630"/>
                    <a:pt x="354235" y="2059686"/>
                  </a:cubicBezTo>
                  <a:cubicBezTo>
                    <a:pt x="476250" y="2217611"/>
                    <a:pt x="609791" y="2304479"/>
                    <a:pt x="958215" y="2307527"/>
                  </a:cubicBezTo>
                  <a:lnTo>
                    <a:pt x="974789" y="2307527"/>
                  </a:lnTo>
                  <a:cubicBezTo>
                    <a:pt x="1323499" y="2304479"/>
                    <a:pt x="1456563" y="2217611"/>
                    <a:pt x="1578959" y="2059686"/>
                  </a:cubicBezTo>
                  <a:cubicBezTo>
                    <a:pt x="1632490" y="1990630"/>
                    <a:pt x="1657636" y="1887093"/>
                    <a:pt x="1657636" y="1734122"/>
                  </a:cubicBezTo>
                  <a:lnTo>
                    <a:pt x="1657636" y="138017"/>
                  </a:lnTo>
                  <a:cubicBezTo>
                    <a:pt x="1657636" y="61531"/>
                    <a:pt x="1719453" y="0"/>
                    <a:pt x="1795463" y="0"/>
                  </a:cubicBezTo>
                  <a:cubicBezTo>
                    <a:pt x="1871472" y="0"/>
                    <a:pt x="1933290" y="61531"/>
                    <a:pt x="1933290" y="138017"/>
                  </a:cubicBezTo>
                </a:path>
              </a:pathLst>
            </a:custGeom>
            <a:solidFill>
              <a:srgbClr val="49306E"/>
            </a:solidFill>
            <a:ln w="9525" cap="flat">
              <a:noFill/>
              <a:prstDash val="solid"/>
              <a:miter/>
            </a:ln>
          </p:spPr>
          <p:txBody>
            <a:bodyPr rtlCol="0" anchor="ctr"/>
            <a:lstStyle/>
            <a:p>
              <a:endParaRPr lang="pt-BR" noProof="0"/>
            </a:p>
          </p:txBody>
        </p:sp>
      </p:grpSp>
      <p:sp>
        <p:nvSpPr>
          <p:cNvPr id="5" name="Rectangle 3">
            <a:extLst>
              <a:ext uri="{FF2B5EF4-FFF2-40B4-BE49-F238E27FC236}">
                <a16:creationId xmlns:a16="http://schemas.microsoft.com/office/drawing/2014/main" id="{09244179-7F8C-EAE1-7B9B-B033D99E6822}"/>
              </a:ext>
            </a:extLst>
          </p:cNvPr>
          <p:cNvSpPr>
            <a:spLocks noChangeArrowheads="1"/>
          </p:cNvSpPr>
          <p:nvPr/>
        </p:nvSpPr>
        <p:spPr bwMode="auto">
          <a:xfrm>
            <a:off x="428153" y="692497"/>
            <a:ext cx="264816" cy="2862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p:txBody>
      </p:sp>
      <p:sp>
        <p:nvSpPr>
          <p:cNvPr id="3" name="Seta: para Baixo 2">
            <a:extLst>
              <a:ext uri="{FF2B5EF4-FFF2-40B4-BE49-F238E27FC236}">
                <a16:creationId xmlns:a16="http://schemas.microsoft.com/office/drawing/2014/main" id="{C1077D61-47CE-7046-976F-D613FC98B8ED}"/>
              </a:ext>
            </a:extLst>
          </p:cNvPr>
          <p:cNvSpPr/>
          <p:nvPr/>
        </p:nvSpPr>
        <p:spPr>
          <a:xfrm rot="16200000">
            <a:off x="5159159" y="1911456"/>
            <a:ext cx="457200" cy="542417"/>
          </a:xfrm>
          <a:prstGeom prst="downArrow">
            <a:avLst/>
          </a:prstGeom>
          <a:solidFill>
            <a:srgbClr val="D9D9D9"/>
          </a:solidFill>
          <a:ln w="19050">
            <a:solidFill>
              <a:srgbClr val="7F3D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lgn="just">
              <a:buFont typeface="Arial" panose="020B0604020202020204" pitchFamily="34" charset="0"/>
              <a:buChar char="•"/>
            </a:pPr>
            <a:endParaRPr lang="pt-BR"/>
          </a:p>
        </p:txBody>
      </p:sp>
      <p:sp>
        <p:nvSpPr>
          <p:cNvPr id="4" name="Seta: para Baixo 3">
            <a:extLst>
              <a:ext uri="{FF2B5EF4-FFF2-40B4-BE49-F238E27FC236}">
                <a16:creationId xmlns:a16="http://schemas.microsoft.com/office/drawing/2014/main" id="{8DC23956-ED99-885E-700D-D942CABF29E6}"/>
              </a:ext>
            </a:extLst>
          </p:cNvPr>
          <p:cNvSpPr/>
          <p:nvPr/>
        </p:nvSpPr>
        <p:spPr>
          <a:xfrm rot="16200000">
            <a:off x="11059783" y="6044763"/>
            <a:ext cx="457200" cy="542417"/>
          </a:xfrm>
          <a:prstGeom prst="downArrow">
            <a:avLst/>
          </a:prstGeom>
          <a:solidFill>
            <a:srgbClr val="D9D9D9"/>
          </a:solidFill>
          <a:ln w="19050">
            <a:solidFill>
              <a:srgbClr val="7F3D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lgn="just">
              <a:buFont typeface="Arial" panose="020B0604020202020204" pitchFamily="34" charset="0"/>
              <a:buChar char="•"/>
            </a:pPr>
            <a:endParaRPr lang="pt-BR"/>
          </a:p>
        </p:txBody>
      </p:sp>
      <p:pic>
        <p:nvPicPr>
          <p:cNvPr id="6" name="Picture 2" descr="Vetores de Ilustração Em Vetor De Uma Pessoa Abrindo Um ...">
            <a:extLst>
              <a:ext uri="{FF2B5EF4-FFF2-40B4-BE49-F238E27FC236}">
                <a16:creationId xmlns:a16="http://schemas.microsoft.com/office/drawing/2014/main" id="{314F4ACA-721D-9F32-660B-07400322BA4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2931" y="1895513"/>
            <a:ext cx="3891100" cy="3367736"/>
          </a:xfrm>
          <a:prstGeom prst="rect">
            <a:avLst/>
          </a:prstGeom>
          <a:noFill/>
          <a:extLst>
            <a:ext uri="{909E8E84-426E-40DD-AFC4-6F175D3DCCD1}">
              <a14:hiddenFill xmlns:a14="http://schemas.microsoft.com/office/drawing/2010/main">
                <a:solidFill>
                  <a:srgbClr val="FFFFFF"/>
                </a:solidFill>
              </a14:hiddenFill>
            </a:ext>
          </a:extLst>
        </p:spPr>
      </p:pic>
      <p:sp>
        <p:nvSpPr>
          <p:cNvPr id="9" name="CaixaDeTexto 8">
            <a:extLst>
              <a:ext uri="{FF2B5EF4-FFF2-40B4-BE49-F238E27FC236}">
                <a16:creationId xmlns:a16="http://schemas.microsoft.com/office/drawing/2014/main" id="{5824D84D-D42C-C823-0839-88F34EA9B796}"/>
              </a:ext>
            </a:extLst>
          </p:cNvPr>
          <p:cNvSpPr txBox="1"/>
          <p:nvPr/>
        </p:nvSpPr>
        <p:spPr>
          <a:xfrm>
            <a:off x="1642373" y="3117252"/>
            <a:ext cx="1741715" cy="461665"/>
          </a:xfrm>
          <a:prstGeom prst="rect">
            <a:avLst/>
          </a:prstGeom>
          <a:noFill/>
        </p:spPr>
        <p:txBody>
          <a:bodyPr wrap="square" rtlCol="0">
            <a:spAutoFit/>
          </a:bodyPr>
          <a:lstStyle/>
          <a:p>
            <a:r>
              <a:rPr lang="pt-BR" sz="2400" b="1" noProof="0"/>
              <a:t>Envelope 3</a:t>
            </a:r>
          </a:p>
        </p:txBody>
      </p:sp>
      <p:sp>
        <p:nvSpPr>
          <p:cNvPr id="7" name="CaixaDeTexto 6">
            <a:extLst>
              <a:ext uri="{FF2B5EF4-FFF2-40B4-BE49-F238E27FC236}">
                <a16:creationId xmlns:a16="http://schemas.microsoft.com/office/drawing/2014/main" id="{736D6516-59B2-B34A-A8AE-7272B9FF76B0}"/>
              </a:ext>
            </a:extLst>
          </p:cNvPr>
          <p:cNvSpPr txBox="1"/>
          <p:nvPr/>
        </p:nvSpPr>
        <p:spPr>
          <a:xfrm>
            <a:off x="5837402" y="1838004"/>
            <a:ext cx="6021043" cy="2862322"/>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pt-BR" sz="2000" b="1" dirty="0"/>
              <a:t>Hemocultura sangue periférico: </a:t>
            </a:r>
            <a:r>
              <a:rPr lang="pt-BR" sz="2000" i="1" dirty="0"/>
              <a:t>Candida </a:t>
            </a:r>
            <a:r>
              <a:rPr lang="pt-BR" sz="2000" dirty="0"/>
              <a:t>spp</a:t>
            </a:r>
          </a:p>
          <a:p>
            <a:endParaRPr lang="pt-BR" sz="2000" i="1" dirty="0"/>
          </a:p>
          <a:p>
            <a:pPr marL="285750" indent="-285750">
              <a:buFont typeface="Arial" panose="020B0604020202020204" pitchFamily="34" charset="0"/>
              <a:buChar char="•"/>
            </a:pPr>
            <a:r>
              <a:rPr lang="pt-BR" sz="2000" dirty="0"/>
              <a:t>Persiste com piora do padrão respiratório</a:t>
            </a:r>
          </a:p>
          <a:p>
            <a:endParaRPr lang="pt-BR" sz="2000" dirty="0"/>
          </a:p>
          <a:p>
            <a:pPr marL="285750" indent="-285750">
              <a:buFont typeface="Arial" panose="020B0604020202020204" pitchFamily="34" charset="0"/>
              <a:buChar char="•"/>
            </a:pPr>
            <a:r>
              <a:rPr lang="pt-BR" sz="2000" dirty="0"/>
              <a:t>Necessidade de aumentos dos parâmetros ventilatórios</a:t>
            </a:r>
          </a:p>
          <a:p>
            <a:pPr marL="285750" indent="-285750">
              <a:buFont typeface="Arial" panose="020B0604020202020204" pitchFamily="34" charset="0"/>
              <a:buChar char="•"/>
            </a:pPr>
            <a:endParaRPr lang="pt-BR" sz="2000" dirty="0"/>
          </a:p>
          <a:p>
            <a:pPr marL="285750" indent="-285750">
              <a:buFont typeface="Arial" panose="020B0604020202020204" pitchFamily="34" charset="0"/>
              <a:buChar char="•"/>
            </a:pPr>
            <a:r>
              <a:rPr lang="pt-BR" sz="2000" dirty="0"/>
              <a:t>Raio X: sem novas alterações</a:t>
            </a:r>
          </a:p>
          <a:p>
            <a:endParaRPr lang="pt-BR" sz="2000" i="1" dirty="0"/>
          </a:p>
        </p:txBody>
      </p:sp>
    </p:spTree>
    <p:extLst>
      <p:ext uri="{BB962C8B-B14F-4D97-AF65-F5344CB8AC3E}">
        <p14:creationId xmlns:p14="http://schemas.microsoft.com/office/powerpoint/2010/main" val="19202007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4EB4DE-54E5-19C8-BE99-01C5E909A5BD}"/>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04AB520B-B79F-A8E5-5919-51419AF2FE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8" progId="TCLayout.ActiveDocument.1">
                  <p:embed/>
                </p:oleObj>
              </mc:Choice>
              <mc:Fallback>
                <p:oleObj name="think-cell Slide" r:id="rId4" imgW="306" imgH="308" progId="TCLayout.ActiveDocument.1">
                  <p:embed/>
                  <p:pic>
                    <p:nvPicPr>
                      <p:cNvPr id="12" name="think-cell data - do not delete" hidden="1">
                        <a:extLst>
                          <a:ext uri="{FF2B5EF4-FFF2-40B4-BE49-F238E27FC236}">
                            <a16:creationId xmlns:a16="http://schemas.microsoft.com/office/drawing/2014/main" id="{04AB520B-B79F-A8E5-5919-51419AF2FE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3" name="Group 12">
            <a:extLst>
              <a:ext uri="{FF2B5EF4-FFF2-40B4-BE49-F238E27FC236}">
                <a16:creationId xmlns:a16="http://schemas.microsoft.com/office/drawing/2014/main" id="{A6383451-A5F0-BE47-05F6-21B79B52C294}"/>
              </a:ext>
            </a:extLst>
          </p:cNvPr>
          <p:cNvGrpSpPr/>
          <p:nvPr/>
        </p:nvGrpSpPr>
        <p:grpSpPr>
          <a:xfrm>
            <a:off x="304800" y="249455"/>
            <a:ext cx="1193800" cy="462985"/>
            <a:chOff x="5245100" y="211355"/>
            <a:chExt cx="2036664" cy="789869"/>
          </a:xfrm>
        </p:grpSpPr>
        <p:sp>
          <p:nvSpPr>
            <p:cNvPr id="14" name="Freeform: Shape 13">
              <a:extLst>
                <a:ext uri="{FF2B5EF4-FFF2-40B4-BE49-F238E27FC236}">
                  <a16:creationId xmlns:a16="http://schemas.microsoft.com/office/drawing/2014/main" id="{51041EAB-E474-71EB-B4C3-DE9E9796BB51}"/>
                </a:ext>
              </a:extLst>
            </p:cNvPr>
            <p:cNvSpPr/>
            <p:nvPr/>
          </p:nvSpPr>
          <p:spPr>
            <a:xfrm>
              <a:off x="5245100" y="308520"/>
              <a:ext cx="247894" cy="322815"/>
            </a:xfrm>
            <a:custGeom>
              <a:avLst/>
              <a:gdLst>
                <a:gd name="connsiteX0" fmla="*/ 529590 w 986123"/>
                <a:gd name="connsiteY0" fmla="*/ 1284160 h 1284160"/>
                <a:gd name="connsiteX1" fmla="*/ 249650 w 986123"/>
                <a:gd name="connsiteY1" fmla="*/ 1235107 h 1284160"/>
                <a:gd name="connsiteX2" fmla="*/ 0 w 986123"/>
                <a:gd name="connsiteY2" fmla="*/ 1084421 h 1284160"/>
                <a:gd name="connsiteX3" fmla="*/ 162306 w 986123"/>
                <a:gd name="connsiteY3" fmla="*/ 890016 h 1284160"/>
                <a:gd name="connsiteX4" fmla="*/ 337947 w 986123"/>
                <a:gd name="connsiteY4" fmla="*/ 1000601 h 1284160"/>
                <a:gd name="connsiteX5" fmla="*/ 535019 w 986123"/>
                <a:gd name="connsiteY5" fmla="*/ 1041654 h 1284160"/>
                <a:gd name="connsiteX6" fmla="*/ 667893 w 986123"/>
                <a:gd name="connsiteY6" fmla="*/ 1010412 h 1284160"/>
                <a:gd name="connsiteX7" fmla="*/ 715137 w 986123"/>
                <a:gd name="connsiteY7" fmla="*/ 923925 h 1284160"/>
                <a:gd name="connsiteX8" fmla="*/ 715137 w 986123"/>
                <a:gd name="connsiteY8" fmla="*/ 920305 h 1284160"/>
                <a:gd name="connsiteX9" fmla="*/ 705326 w 986123"/>
                <a:gd name="connsiteY9" fmla="*/ 873062 h 1284160"/>
                <a:gd name="connsiteX10" fmla="*/ 667798 w 986123"/>
                <a:gd name="connsiteY10" fmla="*/ 834676 h 1284160"/>
                <a:gd name="connsiteX11" fmla="*/ 590931 w 986123"/>
                <a:gd name="connsiteY11" fmla="*/ 798957 h 1284160"/>
                <a:gd name="connsiteX12" fmla="*/ 463106 w 986123"/>
                <a:gd name="connsiteY12" fmla="*/ 761524 h 1284160"/>
                <a:gd name="connsiteX13" fmla="*/ 291465 w 986123"/>
                <a:gd name="connsiteY13" fmla="*/ 709803 h 1284160"/>
                <a:gd name="connsiteX14" fmla="*/ 160973 w 986123"/>
                <a:gd name="connsiteY14" fmla="*/ 639318 h 1284160"/>
                <a:gd name="connsiteX15" fmla="*/ 77819 w 986123"/>
                <a:gd name="connsiteY15" fmla="*/ 535019 h 1284160"/>
                <a:gd name="connsiteX16" fmla="*/ 48292 w 986123"/>
                <a:gd name="connsiteY16" fmla="*/ 379857 h 1284160"/>
                <a:gd name="connsiteX17" fmla="*/ 48292 w 986123"/>
                <a:gd name="connsiteY17" fmla="*/ 376238 h 1284160"/>
                <a:gd name="connsiteX18" fmla="*/ 80201 w 986123"/>
                <a:gd name="connsiteY18" fmla="*/ 222028 h 1284160"/>
                <a:gd name="connsiteX19" fmla="*/ 169640 w 986123"/>
                <a:gd name="connsiteY19" fmla="*/ 103441 h 1284160"/>
                <a:gd name="connsiteX20" fmla="*/ 307181 w 986123"/>
                <a:gd name="connsiteY20" fmla="*/ 26765 h 1284160"/>
                <a:gd name="connsiteX21" fmla="*/ 483394 w 986123"/>
                <a:gd name="connsiteY21" fmla="*/ 0 h 1284160"/>
                <a:gd name="connsiteX22" fmla="*/ 735711 w 986123"/>
                <a:gd name="connsiteY22" fmla="*/ 41053 h 1284160"/>
                <a:gd name="connsiteX23" fmla="*/ 946976 w 986123"/>
                <a:gd name="connsiteY23" fmla="*/ 158687 h 1284160"/>
                <a:gd name="connsiteX24" fmla="*/ 804291 w 986123"/>
                <a:gd name="connsiteY24" fmla="*/ 365569 h 1284160"/>
                <a:gd name="connsiteX25" fmla="*/ 640271 w 986123"/>
                <a:gd name="connsiteY25" fmla="*/ 275558 h 1284160"/>
                <a:gd name="connsiteX26" fmla="*/ 479774 w 986123"/>
                <a:gd name="connsiteY26" fmla="*/ 242602 h 1284160"/>
                <a:gd name="connsiteX27" fmla="*/ 359378 w 986123"/>
                <a:gd name="connsiteY27" fmla="*/ 273844 h 1284160"/>
                <a:gd name="connsiteX28" fmla="*/ 319278 w 986123"/>
                <a:gd name="connsiteY28" fmla="*/ 351377 h 1284160"/>
                <a:gd name="connsiteX29" fmla="*/ 319278 w 986123"/>
                <a:gd name="connsiteY29" fmla="*/ 354997 h 1284160"/>
                <a:gd name="connsiteX30" fmla="*/ 330899 w 986123"/>
                <a:gd name="connsiteY30" fmla="*/ 407575 h 1284160"/>
                <a:gd name="connsiteX31" fmla="*/ 372904 w 986123"/>
                <a:gd name="connsiteY31" fmla="*/ 447675 h 1284160"/>
                <a:gd name="connsiteX32" fmla="*/ 456057 w 986123"/>
                <a:gd name="connsiteY32" fmla="*/ 481489 h 1284160"/>
                <a:gd name="connsiteX33" fmla="*/ 589217 w 986123"/>
                <a:gd name="connsiteY33" fmla="*/ 518922 h 1284160"/>
                <a:gd name="connsiteX34" fmla="*/ 758190 w 986123"/>
                <a:gd name="connsiteY34" fmla="*/ 575120 h 1284160"/>
                <a:gd name="connsiteX35" fmla="*/ 883349 w 986123"/>
                <a:gd name="connsiteY35" fmla="*/ 649986 h 1284160"/>
                <a:gd name="connsiteX36" fmla="*/ 960215 w 986123"/>
                <a:gd name="connsiteY36" fmla="*/ 752570 h 1284160"/>
                <a:gd name="connsiteX37" fmla="*/ 986123 w 986123"/>
                <a:gd name="connsiteY37" fmla="*/ 893445 h 1284160"/>
                <a:gd name="connsiteX38" fmla="*/ 986123 w 986123"/>
                <a:gd name="connsiteY38" fmla="*/ 897064 h 1284160"/>
                <a:gd name="connsiteX39" fmla="*/ 952500 w 986123"/>
                <a:gd name="connsiteY39" fmla="*/ 1062038 h 1284160"/>
                <a:gd name="connsiteX40" fmla="*/ 858584 w 986123"/>
                <a:gd name="connsiteY40" fmla="*/ 1183291 h 1284160"/>
                <a:gd name="connsiteX41" fmla="*/ 714851 w 986123"/>
                <a:gd name="connsiteY41" fmla="*/ 1258157 h 1284160"/>
                <a:gd name="connsiteX42" fmla="*/ 529685 w 986123"/>
                <a:gd name="connsiteY42" fmla="*/ 1284065 h 128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6123" h="1284160">
                  <a:moveTo>
                    <a:pt x="529590" y="1284160"/>
                  </a:moveTo>
                  <a:cubicBezTo>
                    <a:pt x="434435" y="1284160"/>
                    <a:pt x="341186" y="1267777"/>
                    <a:pt x="249650" y="1235107"/>
                  </a:cubicBezTo>
                  <a:cubicBezTo>
                    <a:pt x="158115" y="1202436"/>
                    <a:pt x="74867" y="1152239"/>
                    <a:pt x="0" y="1084421"/>
                  </a:cubicBezTo>
                  <a:lnTo>
                    <a:pt x="162306" y="890016"/>
                  </a:lnTo>
                  <a:cubicBezTo>
                    <a:pt x="219361" y="936403"/>
                    <a:pt x="277844" y="973264"/>
                    <a:pt x="337947" y="1000601"/>
                  </a:cubicBezTo>
                  <a:cubicBezTo>
                    <a:pt x="397955" y="1027938"/>
                    <a:pt x="463677" y="1041654"/>
                    <a:pt x="535019" y="1041654"/>
                  </a:cubicBezTo>
                  <a:cubicBezTo>
                    <a:pt x="592074" y="1041654"/>
                    <a:pt x="636365" y="1031272"/>
                    <a:pt x="667893" y="1010412"/>
                  </a:cubicBezTo>
                  <a:cubicBezTo>
                    <a:pt x="699421" y="989647"/>
                    <a:pt x="715137" y="960787"/>
                    <a:pt x="715137" y="923925"/>
                  </a:cubicBezTo>
                  <a:lnTo>
                    <a:pt x="715137" y="920305"/>
                  </a:lnTo>
                  <a:cubicBezTo>
                    <a:pt x="715137" y="902494"/>
                    <a:pt x="711803" y="886777"/>
                    <a:pt x="705326" y="873062"/>
                  </a:cubicBezTo>
                  <a:cubicBezTo>
                    <a:pt x="698754" y="859441"/>
                    <a:pt x="686276" y="846582"/>
                    <a:pt x="667798" y="834676"/>
                  </a:cubicBezTo>
                  <a:cubicBezTo>
                    <a:pt x="649319" y="822770"/>
                    <a:pt x="623697" y="810863"/>
                    <a:pt x="590931" y="798957"/>
                  </a:cubicBezTo>
                  <a:cubicBezTo>
                    <a:pt x="558165" y="787146"/>
                    <a:pt x="515493" y="774573"/>
                    <a:pt x="463106" y="761524"/>
                  </a:cubicBezTo>
                  <a:cubicBezTo>
                    <a:pt x="399955" y="746093"/>
                    <a:pt x="342710" y="728853"/>
                    <a:pt x="291465" y="709803"/>
                  </a:cubicBezTo>
                  <a:cubicBezTo>
                    <a:pt x="240221" y="690753"/>
                    <a:pt x="196691" y="667322"/>
                    <a:pt x="160973" y="639318"/>
                  </a:cubicBezTo>
                  <a:cubicBezTo>
                    <a:pt x="125159" y="611410"/>
                    <a:pt x="97536" y="576644"/>
                    <a:pt x="77819" y="535019"/>
                  </a:cubicBezTo>
                  <a:cubicBezTo>
                    <a:pt x="58103" y="493395"/>
                    <a:pt x="48292" y="441674"/>
                    <a:pt x="48292" y="379857"/>
                  </a:cubicBezTo>
                  <a:lnTo>
                    <a:pt x="48292" y="376238"/>
                  </a:lnTo>
                  <a:cubicBezTo>
                    <a:pt x="48292" y="319183"/>
                    <a:pt x="58865" y="267748"/>
                    <a:pt x="80201" y="222028"/>
                  </a:cubicBezTo>
                  <a:cubicBezTo>
                    <a:pt x="101441" y="176308"/>
                    <a:pt x="131255" y="136779"/>
                    <a:pt x="169640" y="103441"/>
                  </a:cubicBezTo>
                  <a:cubicBezTo>
                    <a:pt x="208026" y="70199"/>
                    <a:pt x="253841" y="44577"/>
                    <a:pt x="307181" y="26765"/>
                  </a:cubicBezTo>
                  <a:cubicBezTo>
                    <a:pt x="360426" y="8953"/>
                    <a:pt x="419195" y="0"/>
                    <a:pt x="483394" y="0"/>
                  </a:cubicBezTo>
                  <a:cubicBezTo>
                    <a:pt x="574929" y="0"/>
                    <a:pt x="659035" y="13716"/>
                    <a:pt x="735711" y="41053"/>
                  </a:cubicBezTo>
                  <a:cubicBezTo>
                    <a:pt x="812387" y="68389"/>
                    <a:pt x="882777" y="107632"/>
                    <a:pt x="946976" y="158687"/>
                  </a:cubicBezTo>
                  <a:lnTo>
                    <a:pt x="804291" y="365569"/>
                  </a:lnTo>
                  <a:cubicBezTo>
                    <a:pt x="748379" y="327565"/>
                    <a:pt x="693706" y="297561"/>
                    <a:pt x="640271" y="275558"/>
                  </a:cubicBezTo>
                  <a:cubicBezTo>
                    <a:pt x="586740" y="253555"/>
                    <a:pt x="533305" y="242602"/>
                    <a:pt x="479774" y="242602"/>
                  </a:cubicBezTo>
                  <a:cubicBezTo>
                    <a:pt x="426244" y="242602"/>
                    <a:pt x="386144" y="252984"/>
                    <a:pt x="359378" y="273844"/>
                  </a:cubicBezTo>
                  <a:cubicBezTo>
                    <a:pt x="332613" y="294608"/>
                    <a:pt x="319278" y="320516"/>
                    <a:pt x="319278" y="351377"/>
                  </a:cubicBezTo>
                  <a:lnTo>
                    <a:pt x="319278" y="354997"/>
                  </a:lnTo>
                  <a:cubicBezTo>
                    <a:pt x="319278" y="375190"/>
                    <a:pt x="323183" y="392716"/>
                    <a:pt x="330899" y="407575"/>
                  </a:cubicBezTo>
                  <a:cubicBezTo>
                    <a:pt x="338614" y="422434"/>
                    <a:pt x="352616" y="435864"/>
                    <a:pt x="372904" y="447675"/>
                  </a:cubicBezTo>
                  <a:cubicBezTo>
                    <a:pt x="393192" y="459581"/>
                    <a:pt x="420910" y="470821"/>
                    <a:pt x="456057" y="481489"/>
                  </a:cubicBezTo>
                  <a:cubicBezTo>
                    <a:pt x="491204" y="492157"/>
                    <a:pt x="535591" y="504730"/>
                    <a:pt x="589217" y="518922"/>
                  </a:cubicBezTo>
                  <a:cubicBezTo>
                    <a:pt x="652367" y="535591"/>
                    <a:pt x="708660" y="554260"/>
                    <a:pt x="758190" y="575120"/>
                  </a:cubicBezTo>
                  <a:cubicBezTo>
                    <a:pt x="807625" y="595979"/>
                    <a:pt x="849344" y="620935"/>
                    <a:pt x="883349" y="649986"/>
                  </a:cubicBezTo>
                  <a:cubicBezTo>
                    <a:pt x="917353" y="679132"/>
                    <a:pt x="942975" y="713327"/>
                    <a:pt x="960215" y="752570"/>
                  </a:cubicBezTo>
                  <a:cubicBezTo>
                    <a:pt x="977456" y="791813"/>
                    <a:pt x="986123" y="838772"/>
                    <a:pt x="986123" y="893445"/>
                  </a:cubicBezTo>
                  <a:lnTo>
                    <a:pt x="986123" y="897064"/>
                  </a:lnTo>
                  <a:cubicBezTo>
                    <a:pt x="986123" y="958882"/>
                    <a:pt x="974884" y="1013841"/>
                    <a:pt x="952500" y="1062038"/>
                  </a:cubicBezTo>
                  <a:cubicBezTo>
                    <a:pt x="930021" y="1110139"/>
                    <a:pt x="898779" y="1150620"/>
                    <a:pt x="858584" y="1183291"/>
                  </a:cubicBezTo>
                  <a:cubicBezTo>
                    <a:pt x="818388" y="1216057"/>
                    <a:pt x="770477" y="1241012"/>
                    <a:pt x="714851" y="1258157"/>
                  </a:cubicBezTo>
                  <a:cubicBezTo>
                    <a:pt x="659130" y="1275398"/>
                    <a:pt x="597503" y="1284065"/>
                    <a:pt x="529685" y="1284065"/>
                  </a:cubicBezTo>
                  <a:close/>
                </a:path>
              </a:pathLst>
            </a:custGeom>
            <a:solidFill>
              <a:srgbClr val="44505E"/>
            </a:solidFill>
            <a:ln w="9525" cap="flat">
              <a:noFill/>
              <a:prstDash val="solid"/>
              <a:miter/>
            </a:ln>
          </p:spPr>
          <p:txBody>
            <a:bodyPr rtlCol="0" anchor="ctr"/>
            <a:lstStyle/>
            <a:p>
              <a:endParaRPr lang="pt-BR" noProof="0"/>
            </a:p>
          </p:txBody>
        </p:sp>
        <p:sp>
          <p:nvSpPr>
            <p:cNvPr id="17" name="Freeform: Shape 16">
              <a:extLst>
                <a:ext uri="{FF2B5EF4-FFF2-40B4-BE49-F238E27FC236}">
                  <a16:creationId xmlns:a16="http://schemas.microsoft.com/office/drawing/2014/main" id="{9555D73F-8350-8DD9-93E6-8BA903CDBB0A}"/>
                </a:ext>
              </a:extLst>
            </p:cNvPr>
            <p:cNvSpPr/>
            <p:nvPr/>
          </p:nvSpPr>
          <p:spPr>
            <a:xfrm>
              <a:off x="5492084" y="310867"/>
              <a:ext cx="332584" cy="315991"/>
            </a:xfrm>
            <a:custGeom>
              <a:avLst/>
              <a:gdLst>
                <a:gd name="connsiteX0" fmla="*/ 534924 w 1323022"/>
                <a:gd name="connsiteY0" fmla="*/ 0 h 1257014"/>
                <a:gd name="connsiteX1" fmla="*/ 788099 w 1323022"/>
                <a:gd name="connsiteY1" fmla="*/ 0 h 1257014"/>
                <a:gd name="connsiteX2" fmla="*/ 1323023 w 1323022"/>
                <a:gd name="connsiteY2" fmla="*/ 1257014 h 1257014"/>
                <a:gd name="connsiteX3" fmla="*/ 1035939 w 1323022"/>
                <a:gd name="connsiteY3" fmla="*/ 1257014 h 1257014"/>
                <a:gd name="connsiteX4" fmla="*/ 921829 w 1323022"/>
                <a:gd name="connsiteY4" fmla="*/ 977075 h 1257014"/>
                <a:gd name="connsiteX5" fmla="*/ 394049 w 1323022"/>
                <a:gd name="connsiteY5" fmla="*/ 977075 h 1257014"/>
                <a:gd name="connsiteX6" fmla="*/ 279940 w 1323022"/>
                <a:gd name="connsiteY6" fmla="*/ 1257014 h 1257014"/>
                <a:gd name="connsiteX7" fmla="*/ 0 w 1323022"/>
                <a:gd name="connsiteY7" fmla="*/ 1257014 h 1257014"/>
                <a:gd name="connsiteX8" fmla="*/ 534924 w 1323022"/>
                <a:gd name="connsiteY8" fmla="*/ 0 h 1257014"/>
                <a:gd name="connsiteX9" fmla="*/ 823817 w 1323022"/>
                <a:gd name="connsiteY9" fmla="*/ 734568 h 1257014"/>
                <a:gd name="connsiteX10" fmla="*/ 657987 w 1323022"/>
                <a:gd name="connsiteY10" fmla="*/ 329851 h 1257014"/>
                <a:gd name="connsiteX11" fmla="*/ 492157 w 1323022"/>
                <a:gd name="connsiteY11" fmla="*/ 734568 h 1257014"/>
                <a:gd name="connsiteX12" fmla="*/ 823817 w 1323022"/>
                <a:gd name="connsiteY12" fmla="*/ 734568 h 125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022" h="1257014">
                  <a:moveTo>
                    <a:pt x="534924" y="0"/>
                  </a:moveTo>
                  <a:lnTo>
                    <a:pt x="788099" y="0"/>
                  </a:lnTo>
                  <a:lnTo>
                    <a:pt x="1323023" y="1257014"/>
                  </a:lnTo>
                  <a:lnTo>
                    <a:pt x="1035939" y="1257014"/>
                  </a:lnTo>
                  <a:lnTo>
                    <a:pt x="921829" y="977075"/>
                  </a:lnTo>
                  <a:lnTo>
                    <a:pt x="394049" y="977075"/>
                  </a:lnTo>
                  <a:lnTo>
                    <a:pt x="279940" y="1257014"/>
                  </a:lnTo>
                  <a:lnTo>
                    <a:pt x="0" y="1257014"/>
                  </a:lnTo>
                  <a:lnTo>
                    <a:pt x="534924" y="0"/>
                  </a:lnTo>
                  <a:close/>
                  <a:moveTo>
                    <a:pt x="823817" y="734568"/>
                  </a:moveTo>
                  <a:lnTo>
                    <a:pt x="657987" y="329851"/>
                  </a:lnTo>
                  <a:lnTo>
                    <a:pt x="492157" y="734568"/>
                  </a:lnTo>
                  <a:lnTo>
                    <a:pt x="823817" y="734568"/>
                  </a:lnTo>
                  <a:close/>
                </a:path>
              </a:pathLst>
            </a:custGeom>
            <a:solidFill>
              <a:srgbClr val="44505E"/>
            </a:solidFill>
            <a:ln w="9525" cap="flat">
              <a:noFill/>
              <a:prstDash val="solid"/>
              <a:miter/>
            </a:ln>
          </p:spPr>
          <p:txBody>
            <a:bodyPr rtlCol="0" anchor="ctr"/>
            <a:lstStyle/>
            <a:p>
              <a:endParaRPr lang="pt-BR" noProof="0"/>
            </a:p>
          </p:txBody>
        </p:sp>
        <p:sp>
          <p:nvSpPr>
            <p:cNvPr id="18" name="Freeform: Shape 17">
              <a:extLst>
                <a:ext uri="{FF2B5EF4-FFF2-40B4-BE49-F238E27FC236}">
                  <a16:creationId xmlns:a16="http://schemas.microsoft.com/office/drawing/2014/main" id="{AA344983-50AC-6F45-0953-F8C82942790F}"/>
                </a:ext>
              </a:extLst>
            </p:cNvPr>
            <p:cNvSpPr/>
            <p:nvPr/>
          </p:nvSpPr>
          <p:spPr>
            <a:xfrm>
              <a:off x="5834078" y="211355"/>
              <a:ext cx="273442" cy="420435"/>
            </a:xfrm>
            <a:custGeom>
              <a:avLst/>
              <a:gdLst>
                <a:gd name="connsiteX0" fmla="*/ 540258 w 1087754"/>
                <a:gd name="connsiteY0" fmla="*/ 1672495 h 1672494"/>
                <a:gd name="connsiteX1" fmla="*/ 144399 w 1087754"/>
                <a:gd name="connsiteY1" fmla="*/ 1533430 h 1672494"/>
                <a:gd name="connsiteX2" fmla="*/ 0 w 1087754"/>
                <a:gd name="connsiteY2" fmla="*/ 1117949 h 1672494"/>
                <a:gd name="connsiteX3" fmla="*/ 0 w 1087754"/>
                <a:gd name="connsiteY3" fmla="*/ 404717 h 1672494"/>
                <a:gd name="connsiteX4" fmla="*/ 274606 w 1087754"/>
                <a:gd name="connsiteY4" fmla="*/ 404717 h 1672494"/>
                <a:gd name="connsiteX5" fmla="*/ 274606 w 1087754"/>
                <a:gd name="connsiteY5" fmla="*/ 1110806 h 1672494"/>
                <a:gd name="connsiteX6" fmla="*/ 345948 w 1087754"/>
                <a:gd name="connsiteY6" fmla="*/ 1341692 h 1672494"/>
                <a:gd name="connsiteX7" fmla="*/ 543877 w 1087754"/>
                <a:gd name="connsiteY7" fmla="*/ 1419225 h 1672494"/>
                <a:gd name="connsiteX8" fmla="*/ 741807 w 1087754"/>
                <a:gd name="connsiteY8" fmla="*/ 1344359 h 1672494"/>
                <a:gd name="connsiteX9" fmla="*/ 813149 w 1087754"/>
                <a:gd name="connsiteY9" fmla="*/ 1119664 h 1672494"/>
                <a:gd name="connsiteX10" fmla="*/ 813149 w 1087754"/>
                <a:gd name="connsiteY10" fmla="*/ 404717 h 1672494"/>
                <a:gd name="connsiteX11" fmla="*/ 1087755 w 1087754"/>
                <a:gd name="connsiteY11" fmla="*/ 404717 h 1672494"/>
                <a:gd name="connsiteX12" fmla="*/ 1087755 w 1087754"/>
                <a:gd name="connsiteY12" fmla="*/ 1108996 h 1672494"/>
                <a:gd name="connsiteX13" fmla="*/ 1049369 w 1087754"/>
                <a:gd name="connsiteY13" fmla="*/ 1356836 h 1672494"/>
                <a:gd name="connsiteX14" fmla="*/ 939737 w 1087754"/>
                <a:gd name="connsiteY14" fmla="*/ 1532477 h 1672494"/>
                <a:gd name="connsiteX15" fmla="*/ 766763 w 1087754"/>
                <a:gd name="connsiteY15" fmla="*/ 1637729 h 1672494"/>
                <a:gd name="connsiteX16" fmla="*/ 540353 w 1087754"/>
                <a:gd name="connsiteY16" fmla="*/ 1672495 h 1672494"/>
                <a:gd name="connsiteX17" fmla="*/ 622268 w 1087754"/>
                <a:gd name="connsiteY17" fmla="*/ 0 h 1672494"/>
                <a:gd name="connsiteX18" fmla="*/ 855821 w 1087754"/>
                <a:gd name="connsiteY18" fmla="*/ 101632 h 1672494"/>
                <a:gd name="connsiteX19" fmla="*/ 627602 w 1087754"/>
                <a:gd name="connsiteY19" fmla="*/ 315563 h 1672494"/>
                <a:gd name="connsiteX20" fmla="*/ 420719 w 1087754"/>
                <a:gd name="connsiteY20" fmla="*/ 315563 h 1672494"/>
                <a:gd name="connsiteX21" fmla="*/ 622268 w 1087754"/>
                <a:gd name="connsiteY21" fmla="*/ 0 h 16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754" h="1672494">
                  <a:moveTo>
                    <a:pt x="540258" y="1672495"/>
                  </a:moveTo>
                  <a:cubicBezTo>
                    <a:pt x="372618" y="1672495"/>
                    <a:pt x="240697" y="1626108"/>
                    <a:pt x="144399" y="1533430"/>
                  </a:cubicBezTo>
                  <a:cubicBezTo>
                    <a:pt x="48101" y="1440752"/>
                    <a:pt x="0" y="1302258"/>
                    <a:pt x="0" y="1117949"/>
                  </a:cubicBezTo>
                  <a:lnTo>
                    <a:pt x="0" y="404717"/>
                  </a:lnTo>
                  <a:lnTo>
                    <a:pt x="274606" y="404717"/>
                  </a:lnTo>
                  <a:lnTo>
                    <a:pt x="274606" y="1110806"/>
                  </a:lnTo>
                  <a:cubicBezTo>
                    <a:pt x="274606" y="1213009"/>
                    <a:pt x="298418" y="1289971"/>
                    <a:pt x="345948" y="1341692"/>
                  </a:cubicBezTo>
                  <a:cubicBezTo>
                    <a:pt x="393478" y="1393412"/>
                    <a:pt x="459486" y="1419225"/>
                    <a:pt x="543877" y="1419225"/>
                  </a:cubicBezTo>
                  <a:cubicBezTo>
                    <a:pt x="628269" y="1419225"/>
                    <a:pt x="694277" y="1394270"/>
                    <a:pt x="741807" y="1344359"/>
                  </a:cubicBezTo>
                  <a:cubicBezTo>
                    <a:pt x="789337" y="1294448"/>
                    <a:pt x="813149" y="1219581"/>
                    <a:pt x="813149" y="1119664"/>
                  </a:cubicBezTo>
                  <a:lnTo>
                    <a:pt x="813149" y="404717"/>
                  </a:lnTo>
                  <a:lnTo>
                    <a:pt x="1087755" y="404717"/>
                  </a:lnTo>
                  <a:lnTo>
                    <a:pt x="1087755" y="1108996"/>
                  </a:lnTo>
                  <a:cubicBezTo>
                    <a:pt x="1087755" y="1204151"/>
                    <a:pt x="1074992" y="1286732"/>
                    <a:pt x="1049369" y="1356836"/>
                  </a:cubicBezTo>
                  <a:cubicBezTo>
                    <a:pt x="1023747" y="1426940"/>
                    <a:pt x="987266" y="1485519"/>
                    <a:pt x="939737" y="1532477"/>
                  </a:cubicBezTo>
                  <a:cubicBezTo>
                    <a:pt x="892207" y="1579436"/>
                    <a:pt x="834485" y="1614488"/>
                    <a:pt x="766763" y="1637729"/>
                  </a:cubicBezTo>
                  <a:cubicBezTo>
                    <a:pt x="699040" y="1660874"/>
                    <a:pt x="623507" y="1672495"/>
                    <a:pt x="540353" y="1672495"/>
                  </a:cubicBezTo>
                  <a:close/>
                  <a:moveTo>
                    <a:pt x="622268" y="0"/>
                  </a:moveTo>
                  <a:lnTo>
                    <a:pt x="855821" y="101632"/>
                  </a:lnTo>
                  <a:lnTo>
                    <a:pt x="627602" y="315563"/>
                  </a:lnTo>
                  <a:lnTo>
                    <a:pt x="420719" y="315563"/>
                  </a:lnTo>
                  <a:lnTo>
                    <a:pt x="622268" y="0"/>
                  </a:lnTo>
                  <a:close/>
                </a:path>
              </a:pathLst>
            </a:custGeom>
            <a:solidFill>
              <a:srgbClr val="44505E"/>
            </a:solidFill>
            <a:ln w="9525" cap="flat">
              <a:noFill/>
              <a:prstDash val="solid"/>
              <a:miter/>
            </a:ln>
          </p:spPr>
          <p:txBody>
            <a:bodyPr rtlCol="0" anchor="ctr"/>
            <a:lstStyle/>
            <a:p>
              <a:endParaRPr lang="pt-BR" noProof="0"/>
            </a:p>
          </p:txBody>
        </p:sp>
        <p:sp>
          <p:nvSpPr>
            <p:cNvPr id="19" name="Freeform: Shape 18">
              <a:extLst>
                <a:ext uri="{FF2B5EF4-FFF2-40B4-BE49-F238E27FC236}">
                  <a16:creationId xmlns:a16="http://schemas.microsoft.com/office/drawing/2014/main" id="{723EEEA2-BFCD-9213-7FC3-8DC806E18439}"/>
                </a:ext>
              </a:extLst>
            </p:cNvPr>
            <p:cNvSpPr/>
            <p:nvPr/>
          </p:nvSpPr>
          <p:spPr>
            <a:xfrm>
              <a:off x="6143795" y="313094"/>
              <a:ext cx="289101" cy="313764"/>
            </a:xfrm>
            <a:custGeom>
              <a:avLst/>
              <a:gdLst>
                <a:gd name="connsiteX0" fmla="*/ 0 w 1150048"/>
                <a:gd name="connsiteY0" fmla="*/ 0 h 1248155"/>
                <a:gd name="connsiteX1" fmla="*/ 486728 w 1150048"/>
                <a:gd name="connsiteY1" fmla="*/ 0 h 1248155"/>
                <a:gd name="connsiteX2" fmla="*/ 755047 w 1150048"/>
                <a:gd name="connsiteY2" fmla="*/ 47244 h 1248155"/>
                <a:gd name="connsiteX3" fmla="*/ 965454 w 1150048"/>
                <a:gd name="connsiteY3" fmla="*/ 178308 h 1248155"/>
                <a:gd name="connsiteX4" fmla="*/ 1101852 w 1150048"/>
                <a:gd name="connsiteY4" fmla="*/ 375380 h 1248155"/>
                <a:gd name="connsiteX5" fmla="*/ 1150049 w 1150048"/>
                <a:gd name="connsiteY5" fmla="*/ 620554 h 1248155"/>
                <a:gd name="connsiteX6" fmla="*/ 1150049 w 1150048"/>
                <a:gd name="connsiteY6" fmla="*/ 624173 h 1248155"/>
                <a:gd name="connsiteX7" fmla="*/ 1101852 w 1150048"/>
                <a:gd name="connsiteY7" fmla="*/ 870204 h 1248155"/>
                <a:gd name="connsiteX8" fmla="*/ 965454 w 1150048"/>
                <a:gd name="connsiteY8" fmla="*/ 1068134 h 1248155"/>
                <a:gd name="connsiteX9" fmla="*/ 755047 w 1150048"/>
                <a:gd name="connsiteY9" fmla="*/ 1200055 h 1248155"/>
                <a:gd name="connsiteX10" fmla="*/ 486728 w 1150048"/>
                <a:gd name="connsiteY10" fmla="*/ 1248156 h 1248155"/>
                <a:gd name="connsiteX11" fmla="*/ 0 w 1150048"/>
                <a:gd name="connsiteY11" fmla="*/ 1248156 h 1248155"/>
                <a:gd name="connsiteX12" fmla="*/ 0 w 1150048"/>
                <a:gd name="connsiteY12" fmla="*/ 0 h 1248155"/>
                <a:gd name="connsiteX13" fmla="*/ 486728 w 1150048"/>
                <a:gd name="connsiteY13" fmla="*/ 1000315 h 1248155"/>
                <a:gd name="connsiteX14" fmla="*/ 640080 w 1150048"/>
                <a:gd name="connsiteY14" fmla="*/ 973550 h 1248155"/>
                <a:gd name="connsiteX15" fmla="*/ 758667 w 1150048"/>
                <a:gd name="connsiteY15" fmla="*/ 896874 h 1248155"/>
                <a:gd name="connsiteX16" fmla="*/ 835343 w 1150048"/>
                <a:gd name="connsiteY16" fmla="*/ 779240 h 1248155"/>
                <a:gd name="connsiteX17" fmla="*/ 862965 w 1150048"/>
                <a:gd name="connsiteY17" fmla="*/ 627698 h 1248155"/>
                <a:gd name="connsiteX18" fmla="*/ 862965 w 1150048"/>
                <a:gd name="connsiteY18" fmla="*/ 624078 h 1248155"/>
                <a:gd name="connsiteX19" fmla="*/ 835343 w 1150048"/>
                <a:gd name="connsiteY19" fmla="*/ 472535 h 1248155"/>
                <a:gd name="connsiteX20" fmla="*/ 758667 w 1150048"/>
                <a:gd name="connsiteY20" fmla="*/ 353092 h 1248155"/>
                <a:gd name="connsiteX21" fmla="*/ 640080 w 1150048"/>
                <a:gd name="connsiteY21" fmla="*/ 275558 h 1248155"/>
                <a:gd name="connsiteX22" fmla="*/ 486728 w 1150048"/>
                <a:gd name="connsiteY22" fmla="*/ 247936 h 1248155"/>
                <a:gd name="connsiteX23" fmla="*/ 274511 w 1150048"/>
                <a:gd name="connsiteY23" fmla="*/ 247936 h 1248155"/>
                <a:gd name="connsiteX24" fmla="*/ 274511 w 1150048"/>
                <a:gd name="connsiteY24" fmla="*/ 1000411 h 1248155"/>
                <a:gd name="connsiteX25" fmla="*/ 486728 w 1150048"/>
                <a:gd name="connsiteY25" fmla="*/ 1000411 h 124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50048" h="1248155">
                  <a:moveTo>
                    <a:pt x="0" y="0"/>
                  </a:moveTo>
                  <a:lnTo>
                    <a:pt x="486728" y="0"/>
                  </a:lnTo>
                  <a:cubicBezTo>
                    <a:pt x="584168" y="0"/>
                    <a:pt x="673608" y="15811"/>
                    <a:pt x="755047" y="47244"/>
                  </a:cubicBezTo>
                  <a:cubicBezTo>
                    <a:pt x="836486" y="78772"/>
                    <a:pt x="906590" y="122396"/>
                    <a:pt x="965454" y="178308"/>
                  </a:cubicBezTo>
                  <a:cubicBezTo>
                    <a:pt x="1024319" y="234220"/>
                    <a:pt x="1069753" y="299847"/>
                    <a:pt x="1101852" y="375380"/>
                  </a:cubicBezTo>
                  <a:cubicBezTo>
                    <a:pt x="1133951" y="450914"/>
                    <a:pt x="1150049" y="532543"/>
                    <a:pt x="1150049" y="620554"/>
                  </a:cubicBezTo>
                  <a:lnTo>
                    <a:pt x="1150049" y="624173"/>
                  </a:lnTo>
                  <a:cubicBezTo>
                    <a:pt x="1150049" y="712184"/>
                    <a:pt x="1133951" y="794195"/>
                    <a:pt x="1101852" y="870204"/>
                  </a:cubicBezTo>
                  <a:cubicBezTo>
                    <a:pt x="1069753" y="946309"/>
                    <a:pt x="1024319" y="1012222"/>
                    <a:pt x="965454" y="1068134"/>
                  </a:cubicBezTo>
                  <a:cubicBezTo>
                    <a:pt x="906590" y="1124045"/>
                    <a:pt x="836486" y="1167956"/>
                    <a:pt x="755047" y="1200055"/>
                  </a:cubicBezTo>
                  <a:cubicBezTo>
                    <a:pt x="673608" y="1232154"/>
                    <a:pt x="584168" y="1248156"/>
                    <a:pt x="486728" y="1248156"/>
                  </a:cubicBezTo>
                  <a:lnTo>
                    <a:pt x="0" y="1248156"/>
                  </a:lnTo>
                  <a:lnTo>
                    <a:pt x="0" y="0"/>
                  </a:lnTo>
                  <a:close/>
                  <a:moveTo>
                    <a:pt x="486728" y="1000315"/>
                  </a:moveTo>
                  <a:cubicBezTo>
                    <a:pt x="542639" y="1000315"/>
                    <a:pt x="593693" y="991457"/>
                    <a:pt x="640080" y="973550"/>
                  </a:cubicBezTo>
                  <a:cubicBezTo>
                    <a:pt x="686467" y="955739"/>
                    <a:pt x="725900" y="930211"/>
                    <a:pt x="758667" y="896874"/>
                  </a:cubicBezTo>
                  <a:cubicBezTo>
                    <a:pt x="791337" y="863632"/>
                    <a:pt x="816864" y="824389"/>
                    <a:pt x="835343" y="779240"/>
                  </a:cubicBezTo>
                  <a:cubicBezTo>
                    <a:pt x="853726" y="734092"/>
                    <a:pt x="862965" y="683609"/>
                    <a:pt x="862965" y="627698"/>
                  </a:cubicBezTo>
                  <a:lnTo>
                    <a:pt x="862965" y="624078"/>
                  </a:lnTo>
                  <a:cubicBezTo>
                    <a:pt x="862965" y="569404"/>
                    <a:pt x="853726" y="518827"/>
                    <a:pt x="835343" y="472535"/>
                  </a:cubicBezTo>
                  <a:cubicBezTo>
                    <a:pt x="816864" y="426149"/>
                    <a:pt x="791337" y="386334"/>
                    <a:pt x="758667" y="353092"/>
                  </a:cubicBezTo>
                  <a:cubicBezTo>
                    <a:pt x="725996" y="319849"/>
                    <a:pt x="686467" y="293941"/>
                    <a:pt x="640080" y="275558"/>
                  </a:cubicBezTo>
                  <a:cubicBezTo>
                    <a:pt x="593693" y="257175"/>
                    <a:pt x="542639" y="247936"/>
                    <a:pt x="486728" y="247936"/>
                  </a:cubicBezTo>
                  <a:lnTo>
                    <a:pt x="274511" y="247936"/>
                  </a:lnTo>
                  <a:lnTo>
                    <a:pt x="274511" y="1000411"/>
                  </a:lnTo>
                  <a:lnTo>
                    <a:pt x="486728" y="1000411"/>
                  </a:lnTo>
                  <a:close/>
                </a:path>
              </a:pathLst>
            </a:custGeom>
            <a:solidFill>
              <a:srgbClr val="44505E"/>
            </a:solidFill>
            <a:ln w="9525" cap="flat">
              <a:noFill/>
              <a:prstDash val="solid"/>
              <a:miter/>
            </a:ln>
          </p:spPr>
          <p:txBody>
            <a:bodyPr rtlCol="0" anchor="ctr"/>
            <a:lstStyle/>
            <a:p>
              <a:endParaRPr lang="pt-BR" noProof="0"/>
            </a:p>
          </p:txBody>
        </p:sp>
        <p:sp>
          <p:nvSpPr>
            <p:cNvPr id="20" name="Freeform: Shape 19">
              <a:extLst>
                <a:ext uri="{FF2B5EF4-FFF2-40B4-BE49-F238E27FC236}">
                  <a16:creationId xmlns:a16="http://schemas.microsoft.com/office/drawing/2014/main" id="{D73F46A7-9304-DC17-6480-BFE1C33292C1}"/>
                </a:ext>
              </a:extLst>
            </p:cNvPr>
            <p:cNvSpPr/>
            <p:nvPr/>
          </p:nvSpPr>
          <p:spPr>
            <a:xfrm>
              <a:off x="6460217" y="313094"/>
              <a:ext cx="238459" cy="313788"/>
            </a:xfrm>
            <a:custGeom>
              <a:avLst/>
              <a:gdLst>
                <a:gd name="connsiteX0" fmla="*/ 95 w 948594"/>
                <a:gd name="connsiteY0" fmla="*/ 0 h 1248251"/>
                <a:gd name="connsiteX1" fmla="*/ 939737 w 948594"/>
                <a:gd name="connsiteY1" fmla="*/ 0 h 1248251"/>
                <a:gd name="connsiteX2" fmla="*/ 939737 w 948594"/>
                <a:gd name="connsiteY2" fmla="*/ 244316 h 1248251"/>
                <a:gd name="connsiteX3" fmla="*/ 271081 w 948594"/>
                <a:gd name="connsiteY3" fmla="*/ 244316 h 1248251"/>
                <a:gd name="connsiteX4" fmla="*/ 271081 w 948594"/>
                <a:gd name="connsiteY4" fmla="*/ 497491 h 1248251"/>
                <a:gd name="connsiteX5" fmla="*/ 859441 w 948594"/>
                <a:gd name="connsiteY5" fmla="*/ 497491 h 1248251"/>
                <a:gd name="connsiteX6" fmla="*/ 859441 w 948594"/>
                <a:gd name="connsiteY6" fmla="*/ 741807 h 1248251"/>
                <a:gd name="connsiteX7" fmla="*/ 271081 w 948594"/>
                <a:gd name="connsiteY7" fmla="*/ 741807 h 1248251"/>
                <a:gd name="connsiteX8" fmla="*/ 271081 w 948594"/>
                <a:gd name="connsiteY8" fmla="*/ 1003935 h 1248251"/>
                <a:gd name="connsiteX9" fmla="*/ 948595 w 948594"/>
                <a:gd name="connsiteY9" fmla="*/ 1003935 h 1248251"/>
                <a:gd name="connsiteX10" fmla="*/ 948595 w 948594"/>
                <a:gd name="connsiteY10" fmla="*/ 1248251 h 1248251"/>
                <a:gd name="connsiteX11" fmla="*/ 0 w 948594"/>
                <a:gd name="connsiteY11" fmla="*/ 1248251 h 1248251"/>
                <a:gd name="connsiteX12" fmla="*/ 0 w 948594"/>
                <a:gd name="connsiteY12" fmla="*/ 0 h 124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594" h="1248251">
                  <a:moveTo>
                    <a:pt x="95" y="0"/>
                  </a:moveTo>
                  <a:lnTo>
                    <a:pt x="939737" y="0"/>
                  </a:lnTo>
                  <a:lnTo>
                    <a:pt x="939737" y="244316"/>
                  </a:lnTo>
                  <a:lnTo>
                    <a:pt x="271081" y="244316"/>
                  </a:lnTo>
                  <a:lnTo>
                    <a:pt x="271081" y="497491"/>
                  </a:lnTo>
                  <a:lnTo>
                    <a:pt x="859441" y="497491"/>
                  </a:lnTo>
                  <a:lnTo>
                    <a:pt x="859441" y="741807"/>
                  </a:lnTo>
                  <a:lnTo>
                    <a:pt x="271081" y="741807"/>
                  </a:lnTo>
                  <a:lnTo>
                    <a:pt x="271081" y="1003935"/>
                  </a:lnTo>
                  <a:lnTo>
                    <a:pt x="948595" y="1003935"/>
                  </a:lnTo>
                  <a:lnTo>
                    <a:pt x="948595" y="1248251"/>
                  </a:lnTo>
                  <a:lnTo>
                    <a:pt x="0" y="1248251"/>
                  </a:lnTo>
                  <a:lnTo>
                    <a:pt x="0" y="0"/>
                  </a:lnTo>
                  <a:close/>
                </a:path>
              </a:pathLst>
            </a:custGeom>
            <a:solidFill>
              <a:srgbClr val="44505E"/>
            </a:solidFill>
            <a:ln w="9525" cap="flat">
              <a:noFill/>
              <a:prstDash val="solid"/>
              <a:miter/>
            </a:ln>
          </p:spPr>
          <p:txBody>
            <a:bodyPr rtlCol="0" anchor="ctr"/>
            <a:lstStyle/>
            <a:p>
              <a:endParaRPr lang="pt-BR" noProof="0"/>
            </a:p>
          </p:txBody>
        </p:sp>
        <p:sp>
          <p:nvSpPr>
            <p:cNvPr id="21" name="Freeform: Shape 20">
              <a:extLst>
                <a:ext uri="{FF2B5EF4-FFF2-40B4-BE49-F238E27FC236}">
                  <a16:creationId xmlns:a16="http://schemas.microsoft.com/office/drawing/2014/main" id="{6946F625-1B5F-A385-E870-BB7AEEEDF5A5}"/>
                </a:ext>
              </a:extLst>
            </p:cNvPr>
            <p:cNvSpPr/>
            <p:nvPr/>
          </p:nvSpPr>
          <p:spPr>
            <a:xfrm>
              <a:off x="5253193" y="699983"/>
              <a:ext cx="90796" cy="97883"/>
            </a:xfrm>
            <a:custGeom>
              <a:avLst/>
              <a:gdLst>
                <a:gd name="connsiteX0" fmla="*/ 191548 w 361187"/>
                <a:gd name="connsiteY0" fmla="*/ 389382 h 389381"/>
                <a:gd name="connsiteX1" fmla="*/ 116300 w 361187"/>
                <a:gd name="connsiteY1" fmla="*/ 375285 h 389381"/>
                <a:gd name="connsiteX2" fmla="*/ 55531 w 361187"/>
                <a:gd name="connsiteY2" fmla="*/ 335756 h 389381"/>
                <a:gd name="connsiteX3" fmla="*/ 14859 w 361187"/>
                <a:gd name="connsiteY3" fmla="*/ 274606 h 389381"/>
                <a:gd name="connsiteX4" fmla="*/ 0 w 361187"/>
                <a:gd name="connsiteY4" fmla="*/ 195834 h 389381"/>
                <a:gd name="connsiteX5" fmla="*/ 0 w 361187"/>
                <a:gd name="connsiteY5" fmla="*/ 194405 h 389381"/>
                <a:gd name="connsiteX6" fmla="*/ 13430 w 361187"/>
                <a:gd name="connsiteY6" fmla="*/ 118777 h 389381"/>
                <a:gd name="connsiteX7" fmla="*/ 51245 w 361187"/>
                <a:gd name="connsiteY7" fmla="*/ 56959 h 389381"/>
                <a:gd name="connsiteX8" fmla="*/ 108871 w 361187"/>
                <a:gd name="connsiteY8" fmla="*/ 15240 h 389381"/>
                <a:gd name="connsiteX9" fmla="*/ 182404 w 361187"/>
                <a:gd name="connsiteY9" fmla="*/ 0 h 389381"/>
                <a:gd name="connsiteX10" fmla="*/ 260509 w 361187"/>
                <a:gd name="connsiteY10" fmla="*/ 16288 h 389381"/>
                <a:gd name="connsiteX11" fmla="*/ 316325 w 361187"/>
                <a:gd name="connsiteY11" fmla="*/ 60103 h 389381"/>
                <a:gd name="connsiteX12" fmla="*/ 349853 w 361187"/>
                <a:gd name="connsiteY12" fmla="*/ 124015 h 389381"/>
                <a:gd name="connsiteX13" fmla="*/ 361188 w 361187"/>
                <a:gd name="connsiteY13" fmla="*/ 200692 h 389381"/>
                <a:gd name="connsiteX14" fmla="*/ 360807 w 361187"/>
                <a:gd name="connsiteY14" fmla="*/ 212312 h 389381"/>
                <a:gd name="connsiteX15" fmla="*/ 359759 w 361187"/>
                <a:gd name="connsiteY15" fmla="*/ 224695 h 389381"/>
                <a:gd name="connsiteX16" fmla="*/ 85534 w 361187"/>
                <a:gd name="connsiteY16" fmla="*/ 224695 h 389381"/>
                <a:gd name="connsiteX17" fmla="*/ 121920 w 361187"/>
                <a:gd name="connsiteY17" fmla="*/ 294989 h 389381"/>
                <a:gd name="connsiteX18" fmla="*/ 192977 w 361187"/>
                <a:gd name="connsiteY18" fmla="*/ 319373 h 389381"/>
                <a:gd name="connsiteX19" fmla="*/ 248126 w 361187"/>
                <a:gd name="connsiteY19" fmla="*/ 308038 h 389381"/>
                <a:gd name="connsiteX20" fmla="*/ 294037 w 361187"/>
                <a:gd name="connsiteY20" fmla="*/ 274796 h 389381"/>
                <a:gd name="connsiteX21" fmla="*/ 344234 w 361187"/>
                <a:gd name="connsiteY21" fmla="*/ 319278 h 389381"/>
                <a:gd name="connsiteX22" fmla="*/ 280226 w 361187"/>
                <a:gd name="connsiteY22" fmla="*/ 370141 h 389381"/>
                <a:gd name="connsiteX23" fmla="*/ 191548 w 361187"/>
                <a:gd name="connsiteY23" fmla="*/ 389191 h 389381"/>
                <a:gd name="connsiteX24" fmla="*/ 276320 w 361187"/>
                <a:gd name="connsiteY24" fmla="*/ 168211 h 389381"/>
                <a:gd name="connsiteX25" fmla="*/ 267176 w 361187"/>
                <a:gd name="connsiteY25" fmla="*/ 129730 h 389381"/>
                <a:gd name="connsiteX26" fmla="*/ 248126 w 361187"/>
                <a:gd name="connsiteY26" fmla="*/ 98679 h 389381"/>
                <a:gd name="connsiteX27" fmla="*/ 219551 w 361187"/>
                <a:gd name="connsiteY27" fmla="*/ 77819 h 389381"/>
                <a:gd name="connsiteX28" fmla="*/ 181737 w 361187"/>
                <a:gd name="connsiteY28" fmla="*/ 70009 h 389381"/>
                <a:gd name="connsiteX29" fmla="*/ 116396 w 361187"/>
                <a:gd name="connsiteY29" fmla="*/ 97250 h 389381"/>
                <a:gd name="connsiteX30" fmla="*/ 84963 w 361187"/>
                <a:gd name="connsiteY30" fmla="*/ 168307 h 389381"/>
                <a:gd name="connsiteX31" fmla="*/ 276511 w 361187"/>
                <a:gd name="connsiteY31" fmla="*/ 168307 h 38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187" h="389381">
                  <a:moveTo>
                    <a:pt x="191548" y="389382"/>
                  </a:moveTo>
                  <a:cubicBezTo>
                    <a:pt x="164687" y="389382"/>
                    <a:pt x="139637" y="384715"/>
                    <a:pt x="116300" y="375285"/>
                  </a:cubicBezTo>
                  <a:cubicBezTo>
                    <a:pt x="92964" y="365855"/>
                    <a:pt x="72771" y="352711"/>
                    <a:pt x="55531" y="335756"/>
                  </a:cubicBezTo>
                  <a:cubicBezTo>
                    <a:pt x="38291" y="318802"/>
                    <a:pt x="24765" y="298418"/>
                    <a:pt x="14859" y="274606"/>
                  </a:cubicBezTo>
                  <a:cubicBezTo>
                    <a:pt x="4953" y="250793"/>
                    <a:pt x="0" y="224599"/>
                    <a:pt x="0" y="195834"/>
                  </a:cubicBezTo>
                  <a:lnTo>
                    <a:pt x="0" y="194405"/>
                  </a:lnTo>
                  <a:cubicBezTo>
                    <a:pt x="0" y="167545"/>
                    <a:pt x="4477" y="142399"/>
                    <a:pt x="13430" y="118777"/>
                  </a:cubicBezTo>
                  <a:cubicBezTo>
                    <a:pt x="22384" y="95250"/>
                    <a:pt x="34957" y="74581"/>
                    <a:pt x="51245" y="56959"/>
                  </a:cubicBezTo>
                  <a:cubicBezTo>
                    <a:pt x="67532" y="39338"/>
                    <a:pt x="86677" y="25432"/>
                    <a:pt x="108871" y="15240"/>
                  </a:cubicBezTo>
                  <a:cubicBezTo>
                    <a:pt x="131064" y="5143"/>
                    <a:pt x="155543" y="0"/>
                    <a:pt x="182404" y="0"/>
                  </a:cubicBezTo>
                  <a:cubicBezTo>
                    <a:pt x="212122" y="0"/>
                    <a:pt x="238125" y="5429"/>
                    <a:pt x="260509" y="16288"/>
                  </a:cubicBezTo>
                  <a:cubicBezTo>
                    <a:pt x="282893" y="27146"/>
                    <a:pt x="301466" y="41719"/>
                    <a:pt x="316325" y="60103"/>
                  </a:cubicBezTo>
                  <a:cubicBezTo>
                    <a:pt x="331184" y="78486"/>
                    <a:pt x="342329" y="99822"/>
                    <a:pt x="349853" y="124015"/>
                  </a:cubicBezTo>
                  <a:cubicBezTo>
                    <a:pt x="357378" y="148304"/>
                    <a:pt x="361188" y="173831"/>
                    <a:pt x="361188" y="200692"/>
                  </a:cubicBezTo>
                  <a:cubicBezTo>
                    <a:pt x="361188" y="204502"/>
                    <a:pt x="361093" y="208312"/>
                    <a:pt x="360807" y="212312"/>
                  </a:cubicBezTo>
                  <a:cubicBezTo>
                    <a:pt x="360521" y="216313"/>
                    <a:pt x="360236" y="220409"/>
                    <a:pt x="359759" y="224695"/>
                  </a:cubicBezTo>
                  <a:lnTo>
                    <a:pt x="85534" y="224695"/>
                  </a:lnTo>
                  <a:cubicBezTo>
                    <a:pt x="90202" y="255365"/>
                    <a:pt x="102394" y="278797"/>
                    <a:pt x="121920" y="294989"/>
                  </a:cubicBezTo>
                  <a:cubicBezTo>
                    <a:pt x="141446" y="311277"/>
                    <a:pt x="165164" y="319373"/>
                    <a:pt x="192977" y="319373"/>
                  </a:cubicBezTo>
                  <a:cubicBezTo>
                    <a:pt x="214217" y="319373"/>
                    <a:pt x="232505" y="315563"/>
                    <a:pt x="248126" y="308038"/>
                  </a:cubicBezTo>
                  <a:cubicBezTo>
                    <a:pt x="263652" y="300514"/>
                    <a:pt x="278987" y="289465"/>
                    <a:pt x="294037" y="274796"/>
                  </a:cubicBezTo>
                  <a:lnTo>
                    <a:pt x="344234" y="319278"/>
                  </a:lnTo>
                  <a:cubicBezTo>
                    <a:pt x="326327" y="340519"/>
                    <a:pt x="304991" y="357473"/>
                    <a:pt x="280226" y="370141"/>
                  </a:cubicBezTo>
                  <a:cubicBezTo>
                    <a:pt x="255461" y="382810"/>
                    <a:pt x="225933" y="389191"/>
                    <a:pt x="191548" y="389191"/>
                  </a:cubicBezTo>
                  <a:close/>
                  <a:moveTo>
                    <a:pt x="276320" y="168211"/>
                  </a:moveTo>
                  <a:cubicBezTo>
                    <a:pt x="274892" y="154591"/>
                    <a:pt x="271844" y="141732"/>
                    <a:pt x="267176" y="129730"/>
                  </a:cubicBezTo>
                  <a:cubicBezTo>
                    <a:pt x="262414" y="117729"/>
                    <a:pt x="256127" y="107347"/>
                    <a:pt x="248126" y="98679"/>
                  </a:cubicBezTo>
                  <a:cubicBezTo>
                    <a:pt x="240125" y="89916"/>
                    <a:pt x="230600" y="82963"/>
                    <a:pt x="219551" y="77819"/>
                  </a:cubicBezTo>
                  <a:cubicBezTo>
                    <a:pt x="208502" y="72676"/>
                    <a:pt x="195834" y="70009"/>
                    <a:pt x="181737" y="70009"/>
                  </a:cubicBezTo>
                  <a:cubicBezTo>
                    <a:pt x="155353" y="70009"/>
                    <a:pt x="133541" y="79057"/>
                    <a:pt x="116396" y="97250"/>
                  </a:cubicBezTo>
                  <a:cubicBezTo>
                    <a:pt x="99155" y="115348"/>
                    <a:pt x="88678" y="139065"/>
                    <a:pt x="84963" y="168307"/>
                  </a:cubicBezTo>
                  <a:lnTo>
                    <a:pt x="276511" y="168307"/>
                  </a:lnTo>
                  <a:close/>
                </a:path>
              </a:pathLst>
            </a:custGeom>
            <a:solidFill>
              <a:srgbClr val="44505E"/>
            </a:solidFill>
            <a:ln w="9525" cap="flat">
              <a:noFill/>
              <a:prstDash val="solid"/>
              <a:miter/>
            </a:ln>
          </p:spPr>
          <p:txBody>
            <a:bodyPr rtlCol="0" anchor="ctr"/>
            <a:lstStyle/>
            <a:p>
              <a:endParaRPr lang="pt-BR" noProof="0"/>
            </a:p>
          </p:txBody>
        </p:sp>
        <p:sp>
          <p:nvSpPr>
            <p:cNvPr id="22" name="Freeform: Shape 21">
              <a:extLst>
                <a:ext uri="{FF2B5EF4-FFF2-40B4-BE49-F238E27FC236}">
                  <a16:creationId xmlns:a16="http://schemas.microsoft.com/office/drawing/2014/main" id="{82D32145-3D76-AB1C-6E44-64AE885BB2F4}"/>
                </a:ext>
              </a:extLst>
            </p:cNvPr>
            <p:cNvSpPr/>
            <p:nvPr/>
          </p:nvSpPr>
          <p:spPr>
            <a:xfrm>
              <a:off x="5365659"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5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8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3 w 568166"/>
                <a:gd name="connsiteY21" fmla="*/ 381000 h 381000"/>
                <a:gd name="connsiteX22" fmla="*/ 240983 w 568166"/>
                <a:gd name="connsiteY22" fmla="*/ 168783 h 381000"/>
                <a:gd name="connsiteX23" fmla="*/ 221266 w 568166"/>
                <a:gd name="connsiteY23" fmla="*/ 101822 h 381000"/>
                <a:gd name="connsiteX24" fmla="*/ 165640 w 568166"/>
                <a:gd name="connsiteY24" fmla="*/ 78581 h 381000"/>
                <a:gd name="connsiteX25" fmla="*/ 108014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70" y="48196"/>
                    <a:pt x="105918" y="40576"/>
                  </a:cubicBezTo>
                  <a:cubicBezTo>
                    <a:pt x="112967" y="32956"/>
                    <a:pt x="121063" y="26099"/>
                    <a:pt x="130207" y="19907"/>
                  </a:cubicBezTo>
                  <a:cubicBezTo>
                    <a:pt x="139351" y="13716"/>
                    <a:pt x="149733" y="8858"/>
                    <a:pt x="161163" y="5334"/>
                  </a:cubicBezTo>
                  <a:cubicBezTo>
                    <a:pt x="172688" y="1714"/>
                    <a:pt x="185452" y="0"/>
                    <a:pt x="199549" y="0"/>
                  </a:cubicBezTo>
                  <a:cubicBezTo>
                    <a:pt x="226314" y="0"/>
                    <a:pt x="248984" y="6096"/>
                    <a:pt x="267557" y="18193"/>
                  </a:cubicBezTo>
                  <a:cubicBezTo>
                    <a:pt x="286131" y="30289"/>
                    <a:pt x="300323" y="46387"/>
                    <a:pt x="310134" y="66294"/>
                  </a:cubicBezTo>
                  <a:cubicBezTo>
                    <a:pt x="325279" y="46387"/>
                    <a:pt x="343091" y="30289"/>
                    <a:pt x="363665" y="18193"/>
                  </a:cubicBezTo>
                  <a:cubicBezTo>
                    <a:pt x="384239" y="6096"/>
                    <a:pt x="408718" y="0"/>
                    <a:pt x="437007" y="0"/>
                  </a:cubicBezTo>
                  <a:cubicBezTo>
                    <a:pt x="478060"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8" y="78486"/>
                  </a:cubicBezTo>
                  <a:cubicBezTo>
                    <a:pt x="382810" y="78486"/>
                    <a:pt x="364141" y="86392"/>
                    <a:pt x="349377" y="102108"/>
                  </a:cubicBezTo>
                  <a:cubicBezTo>
                    <a:pt x="334613" y="117824"/>
                    <a:pt x="327184" y="140779"/>
                    <a:pt x="327184" y="170879"/>
                  </a:cubicBezTo>
                  <a:lnTo>
                    <a:pt x="327184" y="381000"/>
                  </a:lnTo>
                  <a:lnTo>
                    <a:pt x="240983" y="381000"/>
                  </a:lnTo>
                  <a:lnTo>
                    <a:pt x="240983" y="168783"/>
                  </a:lnTo>
                  <a:cubicBezTo>
                    <a:pt x="240983" y="139637"/>
                    <a:pt x="234410" y="117348"/>
                    <a:pt x="221266" y="101822"/>
                  </a:cubicBezTo>
                  <a:cubicBezTo>
                    <a:pt x="208121" y="86296"/>
                    <a:pt x="189643" y="78581"/>
                    <a:pt x="165640" y="78581"/>
                  </a:cubicBezTo>
                  <a:cubicBezTo>
                    <a:pt x="141637" y="78581"/>
                    <a:pt x="122492" y="86773"/>
                    <a:pt x="108014"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23" name="Freeform: Shape 22">
              <a:extLst>
                <a:ext uri="{FF2B5EF4-FFF2-40B4-BE49-F238E27FC236}">
                  <a16:creationId xmlns:a16="http://schemas.microsoft.com/office/drawing/2014/main" id="{1C5AA2CB-A072-6530-EE42-01EB951697B9}"/>
                </a:ext>
              </a:extLst>
            </p:cNvPr>
            <p:cNvSpPr/>
            <p:nvPr/>
          </p:nvSpPr>
          <p:spPr>
            <a:xfrm>
              <a:off x="5587693" y="700007"/>
              <a:ext cx="84211" cy="95752"/>
            </a:xfrm>
            <a:custGeom>
              <a:avLst/>
              <a:gdLst>
                <a:gd name="connsiteX0" fmla="*/ 95 w 334994"/>
                <a:gd name="connsiteY0" fmla="*/ 7715 h 380904"/>
                <a:gd name="connsiteX1" fmla="*/ 86296 w 334994"/>
                <a:gd name="connsiteY1" fmla="*/ 7715 h 380904"/>
                <a:gd name="connsiteX2" fmla="*/ 86296 w 334994"/>
                <a:gd name="connsiteY2" fmla="*/ 66294 h 380904"/>
                <a:gd name="connsiteX3" fmla="*/ 106394 w 334994"/>
                <a:gd name="connsiteY3" fmla="*/ 40958 h 380904"/>
                <a:gd name="connsiteX4" fmla="*/ 131731 w 334994"/>
                <a:gd name="connsiteY4" fmla="*/ 19907 h 380904"/>
                <a:gd name="connsiteX5" fmla="*/ 163449 w 334994"/>
                <a:gd name="connsiteY5" fmla="*/ 5334 h 380904"/>
                <a:gd name="connsiteX6" fmla="*/ 202597 w 334994"/>
                <a:gd name="connsiteY6" fmla="*/ 0 h 380904"/>
                <a:gd name="connsiteX7" fmla="*/ 300514 w 334994"/>
                <a:gd name="connsiteY7" fmla="*/ 38862 h 380904"/>
                <a:gd name="connsiteX8" fmla="*/ 334994 w 334994"/>
                <a:gd name="connsiteY8" fmla="*/ 143446 h 380904"/>
                <a:gd name="connsiteX9" fmla="*/ 334994 w 334994"/>
                <a:gd name="connsiteY9" fmla="*/ 380905 h 380904"/>
                <a:gd name="connsiteX10" fmla="*/ 248793 w 334994"/>
                <a:gd name="connsiteY10" fmla="*/ 380905 h 380904"/>
                <a:gd name="connsiteX11" fmla="*/ 248793 w 334994"/>
                <a:gd name="connsiteY11" fmla="*/ 169450 h 380904"/>
                <a:gd name="connsiteX12" fmla="*/ 228124 w 334994"/>
                <a:gd name="connsiteY12" fmla="*/ 102108 h 380904"/>
                <a:gd name="connsiteX13" fmla="*/ 169640 w 334994"/>
                <a:gd name="connsiteY13" fmla="*/ 78486 h 380904"/>
                <a:gd name="connsiteX14" fmla="*/ 109347 w 334994"/>
                <a:gd name="connsiteY14" fmla="*/ 102775 h 380904"/>
                <a:gd name="connsiteX15" fmla="*/ 86201 w 334994"/>
                <a:gd name="connsiteY15" fmla="*/ 170783 h 380904"/>
                <a:gd name="connsiteX16" fmla="*/ 86201 w 334994"/>
                <a:gd name="connsiteY16" fmla="*/ 380905 h 380904"/>
                <a:gd name="connsiteX17" fmla="*/ 0 w 334994"/>
                <a:gd name="connsiteY17" fmla="*/ 380905 h 380904"/>
                <a:gd name="connsiteX18" fmla="*/ 0 w 334994"/>
                <a:gd name="connsiteY18" fmla="*/ 7810 h 38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94" h="380904">
                  <a:moveTo>
                    <a:pt x="95" y="7715"/>
                  </a:moveTo>
                  <a:lnTo>
                    <a:pt x="86296" y="7715"/>
                  </a:lnTo>
                  <a:lnTo>
                    <a:pt x="86296" y="66294"/>
                  </a:lnTo>
                  <a:cubicBezTo>
                    <a:pt x="92392" y="57245"/>
                    <a:pt x="99060" y="48863"/>
                    <a:pt x="106394" y="40958"/>
                  </a:cubicBezTo>
                  <a:cubicBezTo>
                    <a:pt x="113633" y="33147"/>
                    <a:pt x="122110" y="26099"/>
                    <a:pt x="131731" y="19907"/>
                  </a:cubicBezTo>
                  <a:cubicBezTo>
                    <a:pt x="141351" y="13716"/>
                    <a:pt x="151924" y="8858"/>
                    <a:pt x="163449" y="5334"/>
                  </a:cubicBezTo>
                  <a:cubicBezTo>
                    <a:pt x="174974" y="1714"/>
                    <a:pt x="188024" y="0"/>
                    <a:pt x="202597" y="0"/>
                  </a:cubicBezTo>
                  <a:cubicBezTo>
                    <a:pt x="244888" y="0"/>
                    <a:pt x="277559" y="12954"/>
                    <a:pt x="300514" y="38862"/>
                  </a:cubicBezTo>
                  <a:cubicBezTo>
                    <a:pt x="323564" y="64770"/>
                    <a:pt x="334994" y="99631"/>
                    <a:pt x="334994" y="143446"/>
                  </a:cubicBezTo>
                  <a:lnTo>
                    <a:pt x="334994" y="380905"/>
                  </a:lnTo>
                  <a:lnTo>
                    <a:pt x="248793" y="380905"/>
                  </a:lnTo>
                  <a:lnTo>
                    <a:pt x="248793" y="169450"/>
                  </a:lnTo>
                  <a:cubicBezTo>
                    <a:pt x="248793" y="140303"/>
                    <a:pt x="241935" y="117824"/>
                    <a:pt x="228124" y="102108"/>
                  </a:cubicBezTo>
                  <a:cubicBezTo>
                    <a:pt x="214313" y="86392"/>
                    <a:pt x="194881" y="78486"/>
                    <a:pt x="169640" y="78486"/>
                  </a:cubicBezTo>
                  <a:cubicBezTo>
                    <a:pt x="144399" y="78486"/>
                    <a:pt x="124777" y="86582"/>
                    <a:pt x="109347" y="102775"/>
                  </a:cubicBezTo>
                  <a:cubicBezTo>
                    <a:pt x="93917" y="118967"/>
                    <a:pt x="86201" y="141637"/>
                    <a:pt x="86201" y="170783"/>
                  </a:cubicBezTo>
                  <a:lnTo>
                    <a:pt x="86201" y="380905"/>
                  </a:lnTo>
                  <a:lnTo>
                    <a:pt x="0" y="380905"/>
                  </a:lnTo>
                  <a:lnTo>
                    <a:pt x="0" y="7810"/>
                  </a:lnTo>
                  <a:close/>
                </a:path>
              </a:pathLst>
            </a:custGeom>
            <a:solidFill>
              <a:srgbClr val="44505E"/>
            </a:solidFill>
            <a:ln w="9525" cap="flat">
              <a:noFill/>
              <a:prstDash val="solid"/>
              <a:miter/>
            </a:ln>
          </p:spPr>
          <p:txBody>
            <a:bodyPr rtlCol="0" anchor="ctr"/>
            <a:lstStyle/>
            <a:p>
              <a:endParaRPr lang="pt-BR" noProof="0"/>
            </a:p>
          </p:txBody>
        </p:sp>
        <p:sp>
          <p:nvSpPr>
            <p:cNvPr id="24" name="Freeform: Shape 23">
              <a:extLst>
                <a:ext uri="{FF2B5EF4-FFF2-40B4-BE49-F238E27FC236}">
                  <a16:creationId xmlns:a16="http://schemas.microsoft.com/office/drawing/2014/main" id="{75DF0F6D-DF62-76C4-C5C6-061E03C1AE86}"/>
                </a:ext>
              </a:extLst>
            </p:cNvPr>
            <p:cNvSpPr/>
            <p:nvPr/>
          </p:nvSpPr>
          <p:spPr>
            <a:xfrm>
              <a:off x="5692712" y="699959"/>
              <a:ext cx="100015" cy="97908"/>
            </a:xfrm>
            <a:custGeom>
              <a:avLst/>
              <a:gdLst>
                <a:gd name="connsiteX0" fmla="*/ 197834 w 397859"/>
                <a:gd name="connsiteY0" fmla="*/ 389477 h 389477"/>
                <a:gd name="connsiteX1" fmla="*/ 119063 w 397859"/>
                <a:gd name="connsiteY1" fmla="*/ 374237 h 389477"/>
                <a:gd name="connsiteX2" fmla="*/ 56197 w 397859"/>
                <a:gd name="connsiteY2" fmla="*/ 332899 h 389477"/>
                <a:gd name="connsiteX3" fmla="*/ 14859 w 397859"/>
                <a:gd name="connsiteY3" fmla="*/ 271463 h 389477"/>
                <a:gd name="connsiteX4" fmla="*/ 0 w 397859"/>
                <a:gd name="connsiteY4" fmla="*/ 196501 h 389477"/>
                <a:gd name="connsiteX5" fmla="*/ 0 w 397859"/>
                <a:gd name="connsiteY5" fmla="*/ 195072 h 389477"/>
                <a:gd name="connsiteX6" fmla="*/ 15145 w 397859"/>
                <a:gd name="connsiteY6" fmla="*/ 119444 h 389477"/>
                <a:gd name="connsiteX7" fmla="*/ 56864 w 397859"/>
                <a:gd name="connsiteY7" fmla="*/ 57626 h 389477"/>
                <a:gd name="connsiteX8" fmla="*/ 119729 w 397859"/>
                <a:gd name="connsiteY8" fmla="*/ 15526 h 389477"/>
                <a:gd name="connsiteX9" fmla="*/ 199263 w 397859"/>
                <a:gd name="connsiteY9" fmla="*/ 0 h 389477"/>
                <a:gd name="connsiteX10" fmla="*/ 278797 w 397859"/>
                <a:gd name="connsiteY10" fmla="*/ 15240 h 389477"/>
                <a:gd name="connsiteX11" fmla="*/ 341662 w 397859"/>
                <a:gd name="connsiteY11" fmla="*/ 56959 h 389477"/>
                <a:gd name="connsiteX12" fmla="*/ 383000 w 397859"/>
                <a:gd name="connsiteY12" fmla="*/ 118396 h 389477"/>
                <a:gd name="connsiteX13" fmla="*/ 397859 w 397859"/>
                <a:gd name="connsiteY13" fmla="*/ 193643 h 389477"/>
                <a:gd name="connsiteX14" fmla="*/ 397859 w 397859"/>
                <a:gd name="connsiteY14" fmla="*/ 195072 h 389477"/>
                <a:gd name="connsiteX15" fmla="*/ 382619 w 397859"/>
                <a:gd name="connsiteY15" fmla="*/ 270034 h 389477"/>
                <a:gd name="connsiteX16" fmla="*/ 340900 w 397859"/>
                <a:gd name="connsiteY16" fmla="*/ 331851 h 389477"/>
                <a:gd name="connsiteX17" fmla="*/ 277654 w 397859"/>
                <a:gd name="connsiteY17" fmla="*/ 373856 h 389477"/>
                <a:gd name="connsiteX18" fmla="*/ 197834 w 397859"/>
                <a:gd name="connsiteY18" fmla="*/ 389382 h 389477"/>
                <a:gd name="connsiteX19" fmla="*/ 199263 w 397859"/>
                <a:gd name="connsiteY19" fmla="*/ 315278 h 389477"/>
                <a:gd name="connsiteX20" fmla="*/ 245935 w 397859"/>
                <a:gd name="connsiteY20" fmla="*/ 305753 h 389477"/>
                <a:gd name="connsiteX21" fmla="*/ 281368 w 397859"/>
                <a:gd name="connsiteY21" fmla="*/ 279940 h 389477"/>
                <a:gd name="connsiteX22" fmla="*/ 303847 w 397859"/>
                <a:gd name="connsiteY22" fmla="*/ 242125 h 389477"/>
                <a:gd name="connsiteX23" fmla="*/ 311563 w 397859"/>
                <a:gd name="connsiteY23" fmla="*/ 196501 h 389477"/>
                <a:gd name="connsiteX24" fmla="*/ 311563 w 397859"/>
                <a:gd name="connsiteY24" fmla="*/ 195072 h 389477"/>
                <a:gd name="connsiteX25" fmla="*/ 303181 w 397859"/>
                <a:gd name="connsiteY25" fmla="*/ 148400 h 389477"/>
                <a:gd name="connsiteX26" fmla="*/ 279654 w 397859"/>
                <a:gd name="connsiteY26" fmla="*/ 110204 h 389477"/>
                <a:gd name="connsiteX27" fmla="*/ 243840 w 397859"/>
                <a:gd name="connsiteY27" fmla="*/ 84392 h 389477"/>
                <a:gd name="connsiteX28" fmla="*/ 197834 w 397859"/>
                <a:gd name="connsiteY28" fmla="*/ 74867 h 389477"/>
                <a:gd name="connsiteX29" fmla="*/ 151829 w 397859"/>
                <a:gd name="connsiteY29" fmla="*/ 84392 h 389477"/>
                <a:gd name="connsiteX30" fmla="*/ 116396 w 397859"/>
                <a:gd name="connsiteY30" fmla="*/ 109823 h 389477"/>
                <a:gd name="connsiteX31" fmla="*/ 93917 w 397859"/>
                <a:gd name="connsiteY31" fmla="*/ 147638 h 389477"/>
                <a:gd name="connsiteX32" fmla="*/ 86201 w 397859"/>
                <a:gd name="connsiteY32" fmla="*/ 193548 h 389477"/>
                <a:gd name="connsiteX33" fmla="*/ 86201 w 397859"/>
                <a:gd name="connsiteY33" fmla="*/ 194977 h 389477"/>
                <a:gd name="connsiteX34" fmla="*/ 94583 w 397859"/>
                <a:gd name="connsiteY34" fmla="*/ 241268 h 389477"/>
                <a:gd name="connsiteX35" fmla="*/ 118110 w 397859"/>
                <a:gd name="connsiteY35" fmla="*/ 279463 h 389477"/>
                <a:gd name="connsiteX36" fmla="*/ 153924 w 397859"/>
                <a:gd name="connsiteY36" fmla="*/ 305562 h 389477"/>
                <a:gd name="connsiteX37" fmla="*/ 199263 w 397859"/>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859" h="389477">
                  <a:moveTo>
                    <a:pt x="197834" y="389477"/>
                  </a:moveTo>
                  <a:cubicBezTo>
                    <a:pt x="169545" y="389477"/>
                    <a:pt x="143351" y="384429"/>
                    <a:pt x="119063" y="374237"/>
                  </a:cubicBezTo>
                  <a:cubicBezTo>
                    <a:pt x="94774" y="364141"/>
                    <a:pt x="73819" y="350330"/>
                    <a:pt x="56197" y="332899"/>
                  </a:cubicBezTo>
                  <a:cubicBezTo>
                    <a:pt x="38481" y="315468"/>
                    <a:pt x="24765" y="294989"/>
                    <a:pt x="14859" y="271463"/>
                  </a:cubicBezTo>
                  <a:cubicBezTo>
                    <a:pt x="4953" y="247936"/>
                    <a:pt x="0" y="222980"/>
                    <a:pt x="0" y="196501"/>
                  </a:cubicBezTo>
                  <a:lnTo>
                    <a:pt x="0" y="195072"/>
                  </a:lnTo>
                  <a:cubicBezTo>
                    <a:pt x="0" y="168212"/>
                    <a:pt x="5048" y="143066"/>
                    <a:pt x="15145" y="119444"/>
                  </a:cubicBezTo>
                  <a:cubicBezTo>
                    <a:pt x="25241" y="95917"/>
                    <a:pt x="39148" y="75248"/>
                    <a:pt x="56864" y="57626"/>
                  </a:cubicBezTo>
                  <a:cubicBezTo>
                    <a:pt x="74581" y="39910"/>
                    <a:pt x="95536" y="25908"/>
                    <a:pt x="119729" y="15526"/>
                  </a:cubicBezTo>
                  <a:cubicBezTo>
                    <a:pt x="144018" y="5144"/>
                    <a:pt x="170497" y="0"/>
                    <a:pt x="199263" y="0"/>
                  </a:cubicBezTo>
                  <a:cubicBezTo>
                    <a:pt x="228029" y="0"/>
                    <a:pt x="254508" y="5048"/>
                    <a:pt x="278797" y="15240"/>
                  </a:cubicBezTo>
                  <a:cubicBezTo>
                    <a:pt x="303085" y="25337"/>
                    <a:pt x="324041" y="39243"/>
                    <a:pt x="341662" y="56959"/>
                  </a:cubicBezTo>
                  <a:cubicBezTo>
                    <a:pt x="359378" y="74676"/>
                    <a:pt x="373094" y="95155"/>
                    <a:pt x="383000" y="118396"/>
                  </a:cubicBezTo>
                  <a:cubicBezTo>
                    <a:pt x="392906" y="141732"/>
                    <a:pt x="397859" y="166783"/>
                    <a:pt x="397859" y="193643"/>
                  </a:cubicBezTo>
                  <a:lnTo>
                    <a:pt x="397859" y="195072"/>
                  </a:lnTo>
                  <a:cubicBezTo>
                    <a:pt x="397859" y="221456"/>
                    <a:pt x="392811" y="246412"/>
                    <a:pt x="382619" y="270034"/>
                  </a:cubicBezTo>
                  <a:cubicBezTo>
                    <a:pt x="372523" y="293561"/>
                    <a:pt x="358616" y="314230"/>
                    <a:pt x="340900" y="331851"/>
                  </a:cubicBezTo>
                  <a:cubicBezTo>
                    <a:pt x="323183" y="349472"/>
                    <a:pt x="302133" y="363569"/>
                    <a:pt x="277654" y="373856"/>
                  </a:cubicBezTo>
                  <a:cubicBezTo>
                    <a:pt x="253175" y="384238"/>
                    <a:pt x="226504" y="389382"/>
                    <a:pt x="197834" y="389382"/>
                  </a:cubicBezTo>
                  <a:close/>
                  <a:moveTo>
                    <a:pt x="199263" y="315278"/>
                  </a:moveTo>
                  <a:cubicBezTo>
                    <a:pt x="216598" y="315278"/>
                    <a:pt x="232124" y="312039"/>
                    <a:pt x="245935" y="305753"/>
                  </a:cubicBezTo>
                  <a:cubicBezTo>
                    <a:pt x="259747" y="299371"/>
                    <a:pt x="271558" y="290798"/>
                    <a:pt x="281368" y="279940"/>
                  </a:cubicBezTo>
                  <a:cubicBezTo>
                    <a:pt x="291179" y="269081"/>
                    <a:pt x="298704" y="256508"/>
                    <a:pt x="303847" y="242125"/>
                  </a:cubicBezTo>
                  <a:cubicBezTo>
                    <a:pt x="308991" y="227743"/>
                    <a:pt x="311563" y="212598"/>
                    <a:pt x="311563" y="196501"/>
                  </a:cubicBezTo>
                  <a:lnTo>
                    <a:pt x="311563" y="195072"/>
                  </a:lnTo>
                  <a:cubicBezTo>
                    <a:pt x="311563" y="178594"/>
                    <a:pt x="308800" y="163068"/>
                    <a:pt x="303181" y="148400"/>
                  </a:cubicBezTo>
                  <a:cubicBezTo>
                    <a:pt x="297561" y="133826"/>
                    <a:pt x="289750" y="121063"/>
                    <a:pt x="279654" y="110204"/>
                  </a:cubicBezTo>
                  <a:cubicBezTo>
                    <a:pt x="269558" y="99346"/>
                    <a:pt x="257651" y="90773"/>
                    <a:pt x="243840" y="84392"/>
                  </a:cubicBezTo>
                  <a:cubicBezTo>
                    <a:pt x="230029" y="78010"/>
                    <a:pt x="214693" y="74867"/>
                    <a:pt x="197834" y="74867"/>
                  </a:cubicBezTo>
                  <a:cubicBezTo>
                    <a:pt x="180975" y="74867"/>
                    <a:pt x="165640" y="78010"/>
                    <a:pt x="151829" y="84392"/>
                  </a:cubicBezTo>
                  <a:cubicBezTo>
                    <a:pt x="138017" y="90773"/>
                    <a:pt x="126206" y="99250"/>
                    <a:pt x="116396" y="109823"/>
                  </a:cubicBezTo>
                  <a:cubicBezTo>
                    <a:pt x="106585" y="120396"/>
                    <a:pt x="99060" y="133064"/>
                    <a:pt x="93917" y="147638"/>
                  </a:cubicBezTo>
                  <a:cubicBezTo>
                    <a:pt x="88773" y="162211"/>
                    <a:pt x="86201" y="177546"/>
                    <a:pt x="86201" y="193548"/>
                  </a:cubicBezTo>
                  <a:lnTo>
                    <a:pt x="86201" y="194977"/>
                  </a:lnTo>
                  <a:cubicBezTo>
                    <a:pt x="86201" y="211455"/>
                    <a:pt x="88963" y="226886"/>
                    <a:pt x="94583" y="241268"/>
                  </a:cubicBezTo>
                  <a:cubicBezTo>
                    <a:pt x="100203" y="255651"/>
                    <a:pt x="108013" y="268319"/>
                    <a:pt x="118110" y="279463"/>
                  </a:cubicBezTo>
                  <a:cubicBezTo>
                    <a:pt x="128206" y="290513"/>
                    <a:pt x="140113" y="299275"/>
                    <a:pt x="153924" y="305562"/>
                  </a:cubicBezTo>
                  <a:cubicBezTo>
                    <a:pt x="167735" y="311944"/>
                    <a:pt x="182880"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25" name="Freeform: Shape 24">
              <a:extLst>
                <a:ext uri="{FF2B5EF4-FFF2-40B4-BE49-F238E27FC236}">
                  <a16:creationId xmlns:a16="http://schemas.microsoft.com/office/drawing/2014/main" id="{5ABECB0E-867B-23EE-611F-D47BC967FBDC}"/>
                </a:ext>
              </a:extLst>
            </p:cNvPr>
            <p:cNvSpPr/>
            <p:nvPr/>
          </p:nvSpPr>
          <p:spPr>
            <a:xfrm>
              <a:off x="5806925"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2 w 296894"/>
                <a:gd name="connsiteY36" fmla="*/ 224980 h 386714"/>
                <a:gd name="connsiteX37" fmla="*/ 296894 w 296894"/>
                <a:gd name="connsiteY37" fmla="*/ 267938 h 386714"/>
                <a:gd name="connsiteX38" fmla="*/ 296894 w 296894"/>
                <a:gd name="connsiteY38" fmla="*/ 269367 h 386714"/>
                <a:gd name="connsiteX39" fmla="*/ 286322 w 296894"/>
                <a:gd name="connsiteY39" fmla="*/ 320897 h 386714"/>
                <a:gd name="connsiteX40" fmla="*/ 256984 w 296894"/>
                <a:gd name="connsiteY40" fmla="*/ 357188 h 386714"/>
                <a:gd name="connsiteX41" fmla="*/ 212789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8" y="298704"/>
                    <a:pt x="100013" y="306514"/>
                  </a:cubicBezTo>
                  <a:cubicBezTo>
                    <a:pt x="120967" y="314325"/>
                    <a:pt x="141161" y="318135"/>
                    <a:pt x="160401" y="318135"/>
                  </a:cubicBezTo>
                  <a:cubicBezTo>
                    <a:pt x="179642" y="318135"/>
                    <a:pt x="192976"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2" y="241078"/>
                    <a:pt x="176498" y="237553"/>
                    <a:pt x="166402" y="234220"/>
                  </a:cubicBezTo>
                  <a:cubicBezTo>
                    <a:pt x="156305" y="230886"/>
                    <a:pt x="145733" y="227647"/>
                    <a:pt x="134969" y="224314"/>
                  </a:cubicBezTo>
                  <a:cubicBezTo>
                    <a:pt x="121253" y="220599"/>
                    <a:pt x="107537" y="216122"/>
                    <a:pt x="93631" y="210884"/>
                  </a:cubicBezTo>
                  <a:cubicBezTo>
                    <a:pt x="79724" y="205740"/>
                    <a:pt x="67246" y="198977"/>
                    <a:pt x="56197" y="190786"/>
                  </a:cubicBezTo>
                  <a:cubicBezTo>
                    <a:pt x="45149" y="182594"/>
                    <a:pt x="36100" y="172307"/>
                    <a:pt x="28956" y="160115"/>
                  </a:cubicBezTo>
                  <a:cubicBezTo>
                    <a:pt x="21908"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5"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7" y="156210"/>
                    <a:pt x="180975" y="159448"/>
                  </a:cubicBezTo>
                  <a:cubicBezTo>
                    <a:pt x="194596" y="163639"/>
                    <a:pt x="208312" y="168592"/>
                    <a:pt x="222028" y="174212"/>
                  </a:cubicBezTo>
                  <a:cubicBezTo>
                    <a:pt x="235649" y="179832"/>
                    <a:pt x="248031" y="186785"/>
                    <a:pt x="259080" y="194977"/>
                  </a:cubicBezTo>
                  <a:cubicBezTo>
                    <a:pt x="270129" y="203168"/>
                    <a:pt x="279273" y="213169"/>
                    <a:pt x="286322" y="224980"/>
                  </a:cubicBezTo>
                  <a:cubicBezTo>
                    <a:pt x="293370" y="236696"/>
                    <a:pt x="296894" y="251079"/>
                    <a:pt x="296894" y="267938"/>
                  </a:cubicBezTo>
                  <a:lnTo>
                    <a:pt x="296894" y="269367"/>
                  </a:lnTo>
                  <a:cubicBezTo>
                    <a:pt x="296894" y="289084"/>
                    <a:pt x="293370" y="306229"/>
                    <a:pt x="286322" y="320897"/>
                  </a:cubicBezTo>
                  <a:cubicBezTo>
                    <a:pt x="279273" y="335470"/>
                    <a:pt x="269462" y="347567"/>
                    <a:pt x="256984" y="357188"/>
                  </a:cubicBezTo>
                  <a:cubicBezTo>
                    <a:pt x="244507" y="366808"/>
                    <a:pt x="229743" y="374142"/>
                    <a:pt x="212789"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6" name="Freeform: Shape 25">
              <a:extLst>
                <a:ext uri="{FF2B5EF4-FFF2-40B4-BE49-F238E27FC236}">
                  <a16:creationId xmlns:a16="http://schemas.microsoft.com/office/drawing/2014/main" id="{13E3A888-8134-8F26-024E-56658FAE3B76}"/>
                </a:ext>
              </a:extLst>
            </p:cNvPr>
            <p:cNvSpPr/>
            <p:nvPr/>
          </p:nvSpPr>
          <p:spPr>
            <a:xfrm>
              <a:off x="589573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6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160" y="318135"/>
                    <a:pt x="160401" y="318135"/>
                  </a:cubicBezTo>
                  <a:cubicBezTo>
                    <a:pt x="179641" y="318135"/>
                    <a:pt x="192976"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4"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792"/>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7" name="Freeform: Shape 26">
              <a:extLst>
                <a:ext uri="{FF2B5EF4-FFF2-40B4-BE49-F238E27FC236}">
                  <a16:creationId xmlns:a16="http://schemas.microsoft.com/office/drawing/2014/main" id="{B6382948-55A6-1769-E497-B00C520C10C6}"/>
                </a:ext>
              </a:extLst>
            </p:cNvPr>
            <p:cNvSpPr/>
            <p:nvPr/>
          </p:nvSpPr>
          <p:spPr>
            <a:xfrm>
              <a:off x="5985812" y="700558"/>
              <a:ext cx="85097" cy="97141"/>
            </a:xfrm>
            <a:custGeom>
              <a:avLst/>
              <a:gdLst>
                <a:gd name="connsiteX0" fmla="*/ 253651 w 338518"/>
                <a:gd name="connsiteY0" fmla="*/ 378619 h 386429"/>
                <a:gd name="connsiteX1" fmla="*/ 253651 w 338518"/>
                <a:gd name="connsiteY1" fmla="*/ 332708 h 386429"/>
                <a:gd name="connsiteX2" fmla="*/ 204883 w 338518"/>
                <a:gd name="connsiteY2" fmla="*/ 370904 h 386429"/>
                <a:gd name="connsiteX3" fmla="*/ 132779 w 338518"/>
                <a:gd name="connsiteY3" fmla="*/ 386429 h 386429"/>
                <a:gd name="connsiteX4" fmla="*/ 81915 w 338518"/>
                <a:gd name="connsiteY4" fmla="*/ 379000 h 386429"/>
                <a:gd name="connsiteX5" fmla="*/ 39910 w 338518"/>
                <a:gd name="connsiteY5" fmla="*/ 357092 h 386429"/>
                <a:gd name="connsiteX6" fmla="*/ 10954 w 338518"/>
                <a:gd name="connsiteY6" fmla="*/ 321088 h 386429"/>
                <a:gd name="connsiteX7" fmla="*/ 0 w 338518"/>
                <a:gd name="connsiteY7" fmla="*/ 271272 h 386429"/>
                <a:gd name="connsiteX8" fmla="*/ 0 w 338518"/>
                <a:gd name="connsiteY8" fmla="*/ 269843 h 386429"/>
                <a:gd name="connsiteX9" fmla="*/ 11335 w 338518"/>
                <a:gd name="connsiteY9" fmla="*/ 215741 h 386429"/>
                <a:gd name="connsiteX10" fmla="*/ 42767 w 338518"/>
                <a:gd name="connsiteY10" fmla="*/ 177546 h 386429"/>
                <a:gd name="connsiteX11" fmla="*/ 90773 w 338518"/>
                <a:gd name="connsiteY11" fmla="*/ 154972 h 386429"/>
                <a:gd name="connsiteX12" fmla="*/ 151162 w 338518"/>
                <a:gd name="connsiteY12" fmla="*/ 147542 h 386429"/>
                <a:gd name="connsiteX13" fmla="*/ 208788 w 338518"/>
                <a:gd name="connsiteY13" fmla="*/ 151829 h 386429"/>
                <a:gd name="connsiteX14" fmla="*/ 254413 w 338518"/>
                <a:gd name="connsiteY14" fmla="*/ 163163 h 386429"/>
                <a:gd name="connsiteX15" fmla="*/ 254413 w 338518"/>
                <a:gd name="connsiteY15" fmla="*/ 156115 h 386429"/>
                <a:gd name="connsiteX16" fmla="*/ 230696 w 338518"/>
                <a:gd name="connsiteY16" fmla="*/ 96774 h 386429"/>
                <a:gd name="connsiteX17" fmla="*/ 162496 w 338518"/>
                <a:gd name="connsiteY17" fmla="*/ 76295 h 386429"/>
                <a:gd name="connsiteX18" fmla="*/ 106013 w 338518"/>
                <a:gd name="connsiteY18" fmla="*/ 82677 h 386429"/>
                <a:gd name="connsiteX19" fmla="*/ 55816 w 338518"/>
                <a:gd name="connsiteY19" fmla="*/ 99632 h 386429"/>
                <a:gd name="connsiteX20" fmla="*/ 32480 w 338518"/>
                <a:gd name="connsiteY20" fmla="*/ 31052 h 386429"/>
                <a:gd name="connsiteX21" fmla="*/ 96107 w 338518"/>
                <a:gd name="connsiteY21" fmla="*/ 8477 h 386429"/>
                <a:gd name="connsiteX22" fmla="*/ 174593 w 338518"/>
                <a:gd name="connsiteY22" fmla="*/ 0 h 386429"/>
                <a:gd name="connsiteX23" fmla="*/ 298228 w 338518"/>
                <a:gd name="connsiteY23" fmla="*/ 41338 h 386429"/>
                <a:gd name="connsiteX24" fmla="*/ 338519 w 338518"/>
                <a:gd name="connsiteY24" fmla="*/ 157544 h 386429"/>
                <a:gd name="connsiteX25" fmla="*/ 338519 w 338518"/>
                <a:gd name="connsiteY25" fmla="*/ 378714 h 386429"/>
                <a:gd name="connsiteX26" fmla="*/ 253746 w 338518"/>
                <a:gd name="connsiteY26" fmla="*/ 378714 h 386429"/>
                <a:gd name="connsiteX27" fmla="*/ 255746 w 338518"/>
                <a:gd name="connsiteY27" fmla="*/ 222409 h 386429"/>
                <a:gd name="connsiteX28" fmla="*/ 217265 w 338518"/>
                <a:gd name="connsiteY28" fmla="*/ 211836 h 386429"/>
                <a:gd name="connsiteX29" fmla="*/ 170307 w 338518"/>
                <a:gd name="connsiteY29" fmla="*/ 207550 h 386429"/>
                <a:gd name="connsiteX30" fmla="*/ 107442 w 338518"/>
                <a:gd name="connsiteY30" fmla="*/ 223075 h 386429"/>
                <a:gd name="connsiteX31" fmla="*/ 84868 w 338518"/>
                <a:gd name="connsiteY31" fmla="*/ 265462 h 386429"/>
                <a:gd name="connsiteX32" fmla="*/ 84868 w 338518"/>
                <a:gd name="connsiteY32" fmla="*/ 266891 h 386429"/>
                <a:gd name="connsiteX33" fmla="*/ 105728 w 338518"/>
                <a:gd name="connsiteY33" fmla="*/ 307848 h 386429"/>
                <a:gd name="connsiteX34" fmla="*/ 156972 w 338518"/>
                <a:gd name="connsiteY34" fmla="*/ 321945 h 386429"/>
                <a:gd name="connsiteX35" fmla="*/ 196215 w 338518"/>
                <a:gd name="connsiteY35" fmla="*/ 316325 h 386429"/>
                <a:gd name="connsiteX36" fmla="*/ 227647 w 338518"/>
                <a:gd name="connsiteY36" fmla="*/ 300419 h 386429"/>
                <a:gd name="connsiteX37" fmla="*/ 248507 w 338518"/>
                <a:gd name="connsiteY37" fmla="*/ 275654 h 386429"/>
                <a:gd name="connsiteX38" fmla="*/ 255937 w 338518"/>
                <a:gd name="connsiteY38" fmla="*/ 243459 h 386429"/>
                <a:gd name="connsiteX39" fmla="*/ 255937 w 338518"/>
                <a:gd name="connsiteY39" fmla="*/ 222218 h 3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8518" h="386429">
                  <a:moveTo>
                    <a:pt x="253651" y="378619"/>
                  </a:moveTo>
                  <a:lnTo>
                    <a:pt x="253651" y="332708"/>
                  </a:lnTo>
                  <a:cubicBezTo>
                    <a:pt x="240887" y="347758"/>
                    <a:pt x="224695" y="360521"/>
                    <a:pt x="204883" y="370904"/>
                  </a:cubicBezTo>
                  <a:cubicBezTo>
                    <a:pt x="185071" y="381286"/>
                    <a:pt x="161068" y="386429"/>
                    <a:pt x="132779" y="386429"/>
                  </a:cubicBezTo>
                  <a:cubicBezTo>
                    <a:pt x="114871" y="386429"/>
                    <a:pt x="97917" y="383953"/>
                    <a:pt x="81915" y="379000"/>
                  </a:cubicBezTo>
                  <a:cubicBezTo>
                    <a:pt x="65913" y="374047"/>
                    <a:pt x="51911" y="366713"/>
                    <a:pt x="39910" y="357092"/>
                  </a:cubicBezTo>
                  <a:cubicBezTo>
                    <a:pt x="27908" y="347472"/>
                    <a:pt x="18193" y="335471"/>
                    <a:pt x="10954" y="321088"/>
                  </a:cubicBezTo>
                  <a:cubicBezTo>
                    <a:pt x="3620" y="306705"/>
                    <a:pt x="0" y="290132"/>
                    <a:pt x="0" y="271272"/>
                  </a:cubicBezTo>
                  <a:lnTo>
                    <a:pt x="0" y="269843"/>
                  </a:lnTo>
                  <a:cubicBezTo>
                    <a:pt x="0" y="249079"/>
                    <a:pt x="3810" y="231077"/>
                    <a:pt x="11335" y="215741"/>
                  </a:cubicBezTo>
                  <a:cubicBezTo>
                    <a:pt x="18859" y="200406"/>
                    <a:pt x="29337" y="187738"/>
                    <a:pt x="42767" y="177546"/>
                  </a:cubicBezTo>
                  <a:cubicBezTo>
                    <a:pt x="56197" y="167450"/>
                    <a:pt x="72199" y="159925"/>
                    <a:pt x="90773" y="154972"/>
                  </a:cubicBezTo>
                  <a:cubicBezTo>
                    <a:pt x="109347" y="150019"/>
                    <a:pt x="129540" y="147542"/>
                    <a:pt x="151162" y="147542"/>
                  </a:cubicBezTo>
                  <a:cubicBezTo>
                    <a:pt x="172783" y="147542"/>
                    <a:pt x="192976" y="148971"/>
                    <a:pt x="208788" y="151829"/>
                  </a:cubicBezTo>
                  <a:cubicBezTo>
                    <a:pt x="224599" y="154686"/>
                    <a:pt x="239744" y="158401"/>
                    <a:pt x="254413" y="163163"/>
                  </a:cubicBezTo>
                  <a:lnTo>
                    <a:pt x="254413" y="156115"/>
                  </a:lnTo>
                  <a:cubicBezTo>
                    <a:pt x="254413" y="130207"/>
                    <a:pt x="246507" y="110395"/>
                    <a:pt x="230696" y="96774"/>
                  </a:cubicBezTo>
                  <a:cubicBezTo>
                    <a:pt x="214884" y="83153"/>
                    <a:pt x="192214" y="76295"/>
                    <a:pt x="162496" y="76295"/>
                  </a:cubicBezTo>
                  <a:cubicBezTo>
                    <a:pt x="141351" y="76295"/>
                    <a:pt x="122491" y="78391"/>
                    <a:pt x="106013" y="82677"/>
                  </a:cubicBezTo>
                  <a:cubicBezTo>
                    <a:pt x="89535" y="86963"/>
                    <a:pt x="72771" y="92583"/>
                    <a:pt x="55816" y="99632"/>
                  </a:cubicBezTo>
                  <a:lnTo>
                    <a:pt x="32480" y="31052"/>
                  </a:lnTo>
                  <a:cubicBezTo>
                    <a:pt x="53149" y="21622"/>
                    <a:pt x="74390" y="14097"/>
                    <a:pt x="96107" y="8477"/>
                  </a:cubicBezTo>
                  <a:cubicBezTo>
                    <a:pt x="117729" y="2858"/>
                    <a:pt x="143923" y="0"/>
                    <a:pt x="174593" y="0"/>
                  </a:cubicBezTo>
                  <a:cubicBezTo>
                    <a:pt x="230124" y="0"/>
                    <a:pt x="271367" y="13811"/>
                    <a:pt x="298228" y="41338"/>
                  </a:cubicBezTo>
                  <a:cubicBezTo>
                    <a:pt x="325088" y="68866"/>
                    <a:pt x="338519" y="107633"/>
                    <a:pt x="338519" y="157544"/>
                  </a:cubicBezTo>
                  <a:lnTo>
                    <a:pt x="338519" y="378714"/>
                  </a:lnTo>
                  <a:lnTo>
                    <a:pt x="253746" y="378714"/>
                  </a:lnTo>
                  <a:close/>
                  <a:moveTo>
                    <a:pt x="255746" y="222409"/>
                  </a:moveTo>
                  <a:cubicBezTo>
                    <a:pt x="244888" y="218123"/>
                    <a:pt x="232029" y="214598"/>
                    <a:pt x="217265" y="211836"/>
                  </a:cubicBezTo>
                  <a:cubicBezTo>
                    <a:pt x="202406" y="208979"/>
                    <a:pt x="186785" y="207550"/>
                    <a:pt x="170307" y="207550"/>
                  </a:cubicBezTo>
                  <a:cubicBezTo>
                    <a:pt x="143446" y="207550"/>
                    <a:pt x="122491" y="212693"/>
                    <a:pt x="107442" y="223075"/>
                  </a:cubicBezTo>
                  <a:cubicBezTo>
                    <a:pt x="92392" y="233458"/>
                    <a:pt x="84868" y="247555"/>
                    <a:pt x="84868" y="265462"/>
                  </a:cubicBezTo>
                  <a:lnTo>
                    <a:pt x="84868" y="266891"/>
                  </a:lnTo>
                  <a:cubicBezTo>
                    <a:pt x="84868" y="284798"/>
                    <a:pt x="91821" y="298418"/>
                    <a:pt x="105728" y="307848"/>
                  </a:cubicBezTo>
                  <a:cubicBezTo>
                    <a:pt x="119634" y="317278"/>
                    <a:pt x="136684" y="321945"/>
                    <a:pt x="156972" y="321945"/>
                  </a:cubicBezTo>
                  <a:cubicBezTo>
                    <a:pt x="171069" y="321945"/>
                    <a:pt x="184213" y="320040"/>
                    <a:pt x="196215" y="316325"/>
                  </a:cubicBezTo>
                  <a:cubicBezTo>
                    <a:pt x="208216" y="312515"/>
                    <a:pt x="218694" y="307277"/>
                    <a:pt x="227647" y="300419"/>
                  </a:cubicBezTo>
                  <a:cubicBezTo>
                    <a:pt x="236601" y="293561"/>
                    <a:pt x="243554" y="285369"/>
                    <a:pt x="248507" y="275654"/>
                  </a:cubicBezTo>
                  <a:cubicBezTo>
                    <a:pt x="253460" y="266033"/>
                    <a:pt x="255937" y="255270"/>
                    <a:pt x="255937" y="243459"/>
                  </a:cubicBezTo>
                  <a:lnTo>
                    <a:pt x="255937" y="222218"/>
                  </a:lnTo>
                  <a:close/>
                </a:path>
              </a:pathLst>
            </a:custGeom>
            <a:solidFill>
              <a:srgbClr val="44505E"/>
            </a:solidFill>
            <a:ln w="9525" cap="flat">
              <a:noFill/>
              <a:prstDash val="solid"/>
              <a:miter/>
            </a:ln>
          </p:spPr>
          <p:txBody>
            <a:bodyPr rtlCol="0" anchor="ctr"/>
            <a:lstStyle/>
            <a:p>
              <a:endParaRPr lang="pt-BR" noProof="0"/>
            </a:p>
          </p:txBody>
        </p:sp>
        <p:sp>
          <p:nvSpPr>
            <p:cNvPr id="28" name="Freeform: Shape 27">
              <a:extLst>
                <a:ext uri="{FF2B5EF4-FFF2-40B4-BE49-F238E27FC236}">
                  <a16:creationId xmlns:a16="http://schemas.microsoft.com/office/drawing/2014/main" id="{1B65CE3F-FD2B-811E-EF86-8C45658F22CB}"/>
                </a:ext>
              </a:extLst>
            </p:cNvPr>
            <p:cNvSpPr/>
            <p:nvPr/>
          </p:nvSpPr>
          <p:spPr>
            <a:xfrm>
              <a:off x="6088843" y="700318"/>
              <a:ext cx="74610" cy="97213"/>
            </a:xfrm>
            <a:custGeom>
              <a:avLst/>
              <a:gdLst>
                <a:gd name="connsiteX0" fmla="*/ 158305 w 296799"/>
                <a:gd name="connsiteY0" fmla="*/ 386715 h 386714"/>
                <a:gd name="connsiteX1" fmla="*/ 76676 w 296799"/>
                <a:gd name="connsiteY1" fmla="*/ 372427 h 386714"/>
                <a:gd name="connsiteX2" fmla="*/ 0 w 296799"/>
                <a:gd name="connsiteY2" fmla="*/ 330327 h 386714"/>
                <a:gd name="connsiteX3" fmla="*/ 38195 w 296799"/>
                <a:gd name="connsiteY3" fmla="*/ 272224 h 386714"/>
                <a:gd name="connsiteX4" fmla="*/ 100013 w 296799"/>
                <a:gd name="connsiteY4" fmla="*/ 306514 h 386714"/>
                <a:gd name="connsiteX5" fmla="*/ 160401 w 296799"/>
                <a:gd name="connsiteY5" fmla="*/ 318135 h 386714"/>
                <a:gd name="connsiteX6" fmla="*/ 203168 w 296799"/>
                <a:gd name="connsiteY6" fmla="*/ 307181 h 386714"/>
                <a:gd name="connsiteX7" fmla="*/ 218408 w 296799"/>
                <a:gd name="connsiteY7" fmla="*/ 277939 h 386714"/>
                <a:gd name="connsiteX8" fmla="*/ 218408 w 296799"/>
                <a:gd name="connsiteY8" fmla="*/ 276511 h 386714"/>
                <a:gd name="connsiteX9" fmla="*/ 211646 w 296799"/>
                <a:gd name="connsiteY9" fmla="*/ 258223 h 386714"/>
                <a:gd name="connsiteX10" fmla="*/ 193262 w 296799"/>
                <a:gd name="connsiteY10" fmla="*/ 244792 h 386714"/>
                <a:gd name="connsiteX11" fmla="*/ 166402 w 296799"/>
                <a:gd name="connsiteY11" fmla="*/ 234220 h 386714"/>
                <a:gd name="connsiteX12" fmla="*/ 134969 w 296799"/>
                <a:gd name="connsiteY12" fmla="*/ 224314 h 386714"/>
                <a:gd name="connsiteX13" fmla="*/ 93631 w 296799"/>
                <a:gd name="connsiteY13" fmla="*/ 210884 h 386714"/>
                <a:gd name="connsiteX14" fmla="*/ 56197 w 296799"/>
                <a:gd name="connsiteY14" fmla="*/ 190786 h 386714"/>
                <a:gd name="connsiteX15" fmla="*/ 28956 w 296799"/>
                <a:gd name="connsiteY15" fmla="*/ 160115 h 386714"/>
                <a:gd name="connsiteX16" fmla="*/ 18383 w 296799"/>
                <a:gd name="connsiteY16" fmla="*/ 114967 h 386714"/>
                <a:gd name="connsiteX17" fmla="*/ 18383 w 296799"/>
                <a:gd name="connsiteY17" fmla="*/ 113538 h 386714"/>
                <a:gd name="connsiteX18" fmla="*/ 28575 w 296799"/>
                <a:gd name="connsiteY18" fmla="*/ 66294 h 386714"/>
                <a:gd name="connsiteX19" fmla="*/ 56864 w 296799"/>
                <a:gd name="connsiteY19" fmla="*/ 30385 h 386714"/>
                <a:gd name="connsiteX20" fmla="*/ 99250 w 296799"/>
                <a:gd name="connsiteY20" fmla="*/ 7810 h 386714"/>
                <a:gd name="connsiteX21" fmla="*/ 151162 w 296799"/>
                <a:gd name="connsiteY21" fmla="*/ 0 h 386714"/>
                <a:gd name="connsiteX22" fmla="*/ 222504 w 296799"/>
                <a:gd name="connsiteY22" fmla="*/ 11430 h 386714"/>
                <a:gd name="connsiteX23" fmla="*/ 288227 w 296799"/>
                <a:gd name="connsiteY23" fmla="*/ 42863 h 386714"/>
                <a:gd name="connsiteX24" fmla="*/ 254317 w 296799"/>
                <a:gd name="connsiteY24" fmla="*/ 103918 h 386714"/>
                <a:gd name="connsiteX25" fmla="*/ 199930 w 296799"/>
                <a:gd name="connsiteY25" fmla="*/ 78105 h 386714"/>
                <a:gd name="connsiteX26" fmla="*/ 149066 w 296799"/>
                <a:gd name="connsiteY26" fmla="*/ 68580 h 386714"/>
                <a:gd name="connsiteX27" fmla="*/ 110585 w 296799"/>
                <a:gd name="connsiteY27" fmla="*/ 79153 h 386714"/>
                <a:gd name="connsiteX28" fmla="*/ 96774 w 296799"/>
                <a:gd name="connsiteY28" fmla="*/ 105918 h 386714"/>
                <a:gd name="connsiteX29" fmla="*/ 96774 w 296799"/>
                <a:gd name="connsiteY29" fmla="*/ 107347 h 386714"/>
                <a:gd name="connsiteX30" fmla="*/ 103822 w 296799"/>
                <a:gd name="connsiteY30" fmla="*/ 124587 h 386714"/>
                <a:gd name="connsiteX31" fmla="*/ 122587 w 296799"/>
                <a:gd name="connsiteY31" fmla="*/ 138017 h 386714"/>
                <a:gd name="connsiteX32" fmla="*/ 149447 w 296799"/>
                <a:gd name="connsiteY32" fmla="*/ 149257 h 386714"/>
                <a:gd name="connsiteX33" fmla="*/ 180880 w 296799"/>
                <a:gd name="connsiteY33" fmla="*/ 159448 h 386714"/>
                <a:gd name="connsiteX34" fmla="*/ 221837 w 296799"/>
                <a:gd name="connsiteY34" fmla="*/ 174212 h 386714"/>
                <a:gd name="connsiteX35" fmla="*/ 258985 w 296799"/>
                <a:gd name="connsiteY35" fmla="*/ 194977 h 386714"/>
                <a:gd name="connsiteX36" fmla="*/ 286226 w 296799"/>
                <a:gd name="connsiteY36" fmla="*/ 224980 h 386714"/>
                <a:gd name="connsiteX37" fmla="*/ 296799 w 296799"/>
                <a:gd name="connsiteY37" fmla="*/ 267938 h 386714"/>
                <a:gd name="connsiteX38" fmla="*/ 296799 w 296799"/>
                <a:gd name="connsiteY38" fmla="*/ 269367 h 386714"/>
                <a:gd name="connsiteX39" fmla="*/ 286226 w 296799"/>
                <a:gd name="connsiteY39" fmla="*/ 320897 h 386714"/>
                <a:gd name="connsiteX40" fmla="*/ 256889 w 296799"/>
                <a:gd name="connsiteY40" fmla="*/ 357188 h 386714"/>
                <a:gd name="connsiteX41" fmla="*/ 212693 w 296799"/>
                <a:gd name="connsiteY41" fmla="*/ 379095 h 386714"/>
                <a:gd name="connsiteX42" fmla="*/ 158305 w 296799"/>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799"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065" y="318135"/>
                    <a:pt x="160401" y="318135"/>
                  </a:cubicBezTo>
                  <a:cubicBezTo>
                    <a:pt x="179737" y="318135"/>
                    <a:pt x="193072"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828" y="227647"/>
                    <a:pt x="134969" y="224314"/>
                  </a:cubicBezTo>
                  <a:cubicBezTo>
                    <a:pt x="121348" y="220599"/>
                    <a:pt x="107537" y="216122"/>
                    <a:pt x="93631" y="210884"/>
                  </a:cubicBezTo>
                  <a:cubicBezTo>
                    <a:pt x="79724" y="205740"/>
                    <a:pt x="67246" y="198977"/>
                    <a:pt x="56197" y="190786"/>
                  </a:cubicBezTo>
                  <a:cubicBezTo>
                    <a:pt x="45148" y="182594"/>
                    <a:pt x="36004"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874" y="0"/>
                    <a:pt x="151162" y="0"/>
                  </a:cubicBezTo>
                  <a:cubicBezTo>
                    <a:pt x="174688" y="0"/>
                    <a:pt x="198501" y="3810"/>
                    <a:pt x="222504" y="11430"/>
                  </a:cubicBezTo>
                  <a:cubicBezTo>
                    <a:pt x="246507" y="19050"/>
                    <a:pt x="268414" y="29527"/>
                    <a:pt x="288227" y="42863"/>
                  </a:cubicBezTo>
                  <a:lnTo>
                    <a:pt x="254317"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774" y="95155"/>
                    <a:pt x="96774" y="105918"/>
                  </a:cubicBezTo>
                  <a:lnTo>
                    <a:pt x="96774" y="107347"/>
                  </a:lnTo>
                  <a:cubicBezTo>
                    <a:pt x="96774" y="113919"/>
                    <a:pt x="99155" y="119634"/>
                    <a:pt x="103822" y="124587"/>
                  </a:cubicBezTo>
                  <a:cubicBezTo>
                    <a:pt x="108490" y="129540"/>
                    <a:pt x="114776" y="134017"/>
                    <a:pt x="122587" y="138017"/>
                  </a:cubicBezTo>
                  <a:cubicBezTo>
                    <a:pt x="130397" y="142018"/>
                    <a:pt x="139351" y="145732"/>
                    <a:pt x="149447" y="149257"/>
                  </a:cubicBezTo>
                  <a:cubicBezTo>
                    <a:pt x="159544" y="152781"/>
                    <a:pt x="170021" y="156210"/>
                    <a:pt x="180880" y="159448"/>
                  </a:cubicBezTo>
                  <a:cubicBezTo>
                    <a:pt x="194500" y="163639"/>
                    <a:pt x="208216" y="168592"/>
                    <a:pt x="221837" y="174212"/>
                  </a:cubicBezTo>
                  <a:cubicBezTo>
                    <a:pt x="235458" y="179832"/>
                    <a:pt x="247840" y="186785"/>
                    <a:pt x="258985" y="194977"/>
                  </a:cubicBezTo>
                  <a:cubicBezTo>
                    <a:pt x="270034" y="203168"/>
                    <a:pt x="279178" y="213169"/>
                    <a:pt x="286226" y="224980"/>
                  </a:cubicBezTo>
                  <a:cubicBezTo>
                    <a:pt x="293275" y="236696"/>
                    <a:pt x="296799" y="251079"/>
                    <a:pt x="296799" y="267938"/>
                  </a:cubicBezTo>
                  <a:lnTo>
                    <a:pt x="296799" y="269367"/>
                  </a:lnTo>
                  <a:cubicBezTo>
                    <a:pt x="296799" y="289084"/>
                    <a:pt x="293275" y="306229"/>
                    <a:pt x="286226" y="320897"/>
                  </a:cubicBezTo>
                  <a:cubicBezTo>
                    <a:pt x="279178" y="335470"/>
                    <a:pt x="269367" y="347567"/>
                    <a:pt x="256889" y="357188"/>
                  </a:cubicBezTo>
                  <a:cubicBezTo>
                    <a:pt x="244412" y="366808"/>
                    <a:pt x="229648" y="374142"/>
                    <a:pt x="212693" y="379095"/>
                  </a:cubicBezTo>
                  <a:cubicBezTo>
                    <a:pt x="195739" y="384048"/>
                    <a:pt x="177641" y="386524"/>
                    <a:pt x="158305" y="386524"/>
                  </a:cubicBezTo>
                  <a:close/>
                </a:path>
              </a:pathLst>
            </a:custGeom>
            <a:solidFill>
              <a:srgbClr val="44505E"/>
            </a:solidFill>
            <a:ln w="9525" cap="flat">
              <a:noFill/>
              <a:prstDash val="solid"/>
              <a:miter/>
            </a:ln>
          </p:spPr>
          <p:txBody>
            <a:bodyPr rtlCol="0" anchor="ctr"/>
            <a:lstStyle/>
            <a:p>
              <a:endParaRPr lang="pt-BR" noProof="0"/>
            </a:p>
          </p:txBody>
        </p:sp>
        <p:sp>
          <p:nvSpPr>
            <p:cNvPr id="29" name="Freeform: Shape 28">
              <a:extLst>
                <a:ext uri="{FF2B5EF4-FFF2-40B4-BE49-F238E27FC236}">
                  <a16:creationId xmlns:a16="http://schemas.microsoft.com/office/drawing/2014/main" id="{0B9973D3-E513-6588-D278-F3607FD320BD}"/>
                </a:ext>
              </a:extLst>
            </p:cNvPr>
            <p:cNvSpPr/>
            <p:nvPr/>
          </p:nvSpPr>
          <p:spPr>
            <a:xfrm>
              <a:off x="6238590"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4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7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2 w 568166"/>
                <a:gd name="connsiteY21" fmla="*/ 381000 h 381000"/>
                <a:gd name="connsiteX22" fmla="*/ 240982 w 568166"/>
                <a:gd name="connsiteY22" fmla="*/ 168783 h 381000"/>
                <a:gd name="connsiteX23" fmla="*/ 221266 w 568166"/>
                <a:gd name="connsiteY23" fmla="*/ 101822 h 381000"/>
                <a:gd name="connsiteX24" fmla="*/ 165640 w 568166"/>
                <a:gd name="connsiteY24" fmla="*/ 78581 h 381000"/>
                <a:gd name="connsiteX25" fmla="*/ 108013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69" y="48196"/>
                    <a:pt x="105918" y="40576"/>
                  </a:cubicBezTo>
                  <a:cubicBezTo>
                    <a:pt x="112966" y="32956"/>
                    <a:pt x="121063" y="26099"/>
                    <a:pt x="130207" y="19907"/>
                  </a:cubicBezTo>
                  <a:cubicBezTo>
                    <a:pt x="139351" y="13716"/>
                    <a:pt x="149638" y="8858"/>
                    <a:pt x="161163" y="5334"/>
                  </a:cubicBezTo>
                  <a:cubicBezTo>
                    <a:pt x="172688" y="1714"/>
                    <a:pt x="185452" y="0"/>
                    <a:pt x="199549" y="0"/>
                  </a:cubicBezTo>
                  <a:cubicBezTo>
                    <a:pt x="226314" y="0"/>
                    <a:pt x="248983" y="6096"/>
                    <a:pt x="267557" y="18193"/>
                  </a:cubicBezTo>
                  <a:cubicBezTo>
                    <a:pt x="286131" y="30289"/>
                    <a:pt x="300323" y="46387"/>
                    <a:pt x="310134" y="66294"/>
                  </a:cubicBezTo>
                  <a:cubicBezTo>
                    <a:pt x="325279" y="46387"/>
                    <a:pt x="343090" y="30289"/>
                    <a:pt x="363664" y="18193"/>
                  </a:cubicBezTo>
                  <a:cubicBezTo>
                    <a:pt x="384238" y="6096"/>
                    <a:pt x="408718" y="0"/>
                    <a:pt x="437007" y="0"/>
                  </a:cubicBezTo>
                  <a:cubicBezTo>
                    <a:pt x="478155"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7" y="78486"/>
                  </a:cubicBezTo>
                  <a:cubicBezTo>
                    <a:pt x="382809" y="78486"/>
                    <a:pt x="364141" y="86392"/>
                    <a:pt x="349377" y="102108"/>
                  </a:cubicBezTo>
                  <a:cubicBezTo>
                    <a:pt x="334613" y="117824"/>
                    <a:pt x="327184" y="140779"/>
                    <a:pt x="327184" y="170879"/>
                  </a:cubicBezTo>
                  <a:lnTo>
                    <a:pt x="327184" y="381000"/>
                  </a:lnTo>
                  <a:lnTo>
                    <a:pt x="240982" y="381000"/>
                  </a:lnTo>
                  <a:lnTo>
                    <a:pt x="240982" y="168783"/>
                  </a:lnTo>
                  <a:cubicBezTo>
                    <a:pt x="240982" y="139637"/>
                    <a:pt x="234410" y="117348"/>
                    <a:pt x="221266" y="101822"/>
                  </a:cubicBezTo>
                  <a:cubicBezTo>
                    <a:pt x="208121" y="86296"/>
                    <a:pt x="189547" y="78581"/>
                    <a:pt x="165640" y="78581"/>
                  </a:cubicBezTo>
                  <a:cubicBezTo>
                    <a:pt x="141732" y="78581"/>
                    <a:pt x="122491" y="86773"/>
                    <a:pt x="108013"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30" name="Freeform: Shape 29">
              <a:extLst>
                <a:ext uri="{FF2B5EF4-FFF2-40B4-BE49-F238E27FC236}">
                  <a16:creationId xmlns:a16="http://schemas.microsoft.com/office/drawing/2014/main" id="{982CDE6E-FAEE-6D12-F0E7-EC160640A37F}"/>
                </a:ext>
              </a:extLst>
            </p:cNvPr>
            <p:cNvSpPr/>
            <p:nvPr/>
          </p:nvSpPr>
          <p:spPr>
            <a:xfrm>
              <a:off x="6400979" y="664258"/>
              <a:ext cx="85097" cy="133441"/>
            </a:xfrm>
            <a:custGeom>
              <a:avLst/>
              <a:gdLst>
                <a:gd name="connsiteX0" fmla="*/ 253651 w 338518"/>
                <a:gd name="connsiteY0" fmla="*/ 523018 h 530828"/>
                <a:gd name="connsiteX1" fmla="*/ 253651 w 338518"/>
                <a:gd name="connsiteY1" fmla="*/ 477107 h 530828"/>
                <a:gd name="connsiteX2" fmla="*/ 204883 w 338518"/>
                <a:gd name="connsiteY2" fmla="*/ 515303 h 530828"/>
                <a:gd name="connsiteX3" fmla="*/ 132779 w 338518"/>
                <a:gd name="connsiteY3" fmla="*/ 530828 h 530828"/>
                <a:gd name="connsiteX4" fmla="*/ 81915 w 338518"/>
                <a:gd name="connsiteY4" fmla="*/ 523399 h 530828"/>
                <a:gd name="connsiteX5" fmla="*/ 39910 w 338518"/>
                <a:gd name="connsiteY5" fmla="*/ 501491 h 530828"/>
                <a:gd name="connsiteX6" fmla="*/ 10954 w 338518"/>
                <a:gd name="connsiteY6" fmla="*/ 465487 h 530828"/>
                <a:gd name="connsiteX7" fmla="*/ 0 w 338518"/>
                <a:gd name="connsiteY7" fmla="*/ 415671 h 530828"/>
                <a:gd name="connsiteX8" fmla="*/ 0 w 338518"/>
                <a:gd name="connsiteY8" fmla="*/ 414242 h 530828"/>
                <a:gd name="connsiteX9" fmla="*/ 11335 w 338518"/>
                <a:gd name="connsiteY9" fmla="*/ 360140 h 530828"/>
                <a:gd name="connsiteX10" fmla="*/ 42767 w 338518"/>
                <a:gd name="connsiteY10" fmla="*/ 321945 h 530828"/>
                <a:gd name="connsiteX11" fmla="*/ 90773 w 338518"/>
                <a:gd name="connsiteY11" fmla="*/ 299371 h 530828"/>
                <a:gd name="connsiteX12" fmla="*/ 151162 w 338518"/>
                <a:gd name="connsiteY12" fmla="*/ 291941 h 530828"/>
                <a:gd name="connsiteX13" fmla="*/ 208788 w 338518"/>
                <a:gd name="connsiteY13" fmla="*/ 296228 h 530828"/>
                <a:gd name="connsiteX14" fmla="*/ 254413 w 338518"/>
                <a:gd name="connsiteY14" fmla="*/ 307562 h 530828"/>
                <a:gd name="connsiteX15" fmla="*/ 254413 w 338518"/>
                <a:gd name="connsiteY15" fmla="*/ 300514 h 530828"/>
                <a:gd name="connsiteX16" fmla="*/ 230696 w 338518"/>
                <a:gd name="connsiteY16" fmla="*/ 241173 h 530828"/>
                <a:gd name="connsiteX17" fmla="*/ 162496 w 338518"/>
                <a:gd name="connsiteY17" fmla="*/ 220694 h 530828"/>
                <a:gd name="connsiteX18" fmla="*/ 106013 w 338518"/>
                <a:gd name="connsiteY18" fmla="*/ 227076 h 530828"/>
                <a:gd name="connsiteX19" fmla="*/ 55817 w 338518"/>
                <a:gd name="connsiteY19" fmla="*/ 244031 h 530828"/>
                <a:gd name="connsiteX20" fmla="*/ 32480 w 338518"/>
                <a:gd name="connsiteY20" fmla="*/ 175451 h 530828"/>
                <a:gd name="connsiteX21" fmla="*/ 96107 w 338518"/>
                <a:gd name="connsiteY21" fmla="*/ 152876 h 530828"/>
                <a:gd name="connsiteX22" fmla="*/ 174593 w 338518"/>
                <a:gd name="connsiteY22" fmla="*/ 144399 h 530828"/>
                <a:gd name="connsiteX23" fmla="*/ 298228 w 338518"/>
                <a:gd name="connsiteY23" fmla="*/ 185738 h 530828"/>
                <a:gd name="connsiteX24" fmla="*/ 338519 w 338518"/>
                <a:gd name="connsiteY24" fmla="*/ 301943 h 530828"/>
                <a:gd name="connsiteX25" fmla="*/ 338519 w 338518"/>
                <a:gd name="connsiteY25" fmla="*/ 523113 h 530828"/>
                <a:gd name="connsiteX26" fmla="*/ 253746 w 338518"/>
                <a:gd name="connsiteY26" fmla="*/ 523113 h 530828"/>
                <a:gd name="connsiteX27" fmla="*/ 45911 w 338518"/>
                <a:gd name="connsiteY27" fmla="*/ 95441 h 530828"/>
                <a:gd name="connsiteX28" fmla="*/ 75248 w 338518"/>
                <a:gd name="connsiteY28" fmla="*/ 29718 h 530828"/>
                <a:gd name="connsiteX29" fmla="*/ 125063 w 338518"/>
                <a:gd name="connsiteY29" fmla="*/ 7144 h 530828"/>
                <a:gd name="connsiteX30" fmla="*/ 154019 w 338518"/>
                <a:gd name="connsiteY30" fmla="*/ 11716 h 530828"/>
                <a:gd name="connsiteX31" fmla="*/ 181261 w 338518"/>
                <a:gd name="connsiteY31" fmla="*/ 21622 h 530828"/>
                <a:gd name="connsiteX32" fmla="*/ 205645 w 338518"/>
                <a:gd name="connsiteY32" fmla="*/ 31147 h 530828"/>
                <a:gd name="connsiteX33" fmla="*/ 226790 w 338518"/>
                <a:gd name="connsiteY33" fmla="*/ 35338 h 530828"/>
                <a:gd name="connsiteX34" fmla="*/ 250127 w 338518"/>
                <a:gd name="connsiteY34" fmla="*/ 26861 h 530828"/>
                <a:gd name="connsiteX35" fmla="*/ 265652 w 338518"/>
                <a:gd name="connsiteY35" fmla="*/ 0 h 530828"/>
                <a:gd name="connsiteX36" fmla="*/ 312991 w 338518"/>
                <a:gd name="connsiteY36" fmla="*/ 14859 h 530828"/>
                <a:gd name="connsiteX37" fmla="*/ 283655 w 338518"/>
                <a:gd name="connsiteY37" fmla="*/ 79820 h 530828"/>
                <a:gd name="connsiteX38" fmla="*/ 233839 w 338518"/>
                <a:gd name="connsiteY38" fmla="*/ 102394 h 530828"/>
                <a:gd name="connsiteX39" fmla="*/ 204883 w 338518"/>
                <a:gd name="connsiteY39" fmla="*/ 98203 h 530828"/>
                <a:gd name="connsiteX40" fmla="*/ 177641 w 338518"/>
                <a:gd name="connsiteY40" fmla="*/ 88678 h 530828"/>
                <a:gd name="connsiteX41" fmla="*/ 152876 w 338518"/>
                <a:gd name="connsiteY41" fmla="*/ 78772 h 530828"/>
                <a:gd name="connsiteX42" fmla="*/ 132017 w 338518"/>
                <a:gd name="connsiteY42" fmla="*/ 74200 h 530828"/>
                <a:gd name="connsiteX43" fmla="*/ 108680 w 338518"/>
                <a:gd name="connsiteY43" fmla="*/ 82677 h 530828"/>
                <a:gd name="connsiteX44" fmla="*/ 93154 w 338518"/>
                <a:gd name="connsiteY44" fmla="*/ 109538 h 530828"/>
                <a:gd name="connsiteX45" fmla="*/ 45815 w 338518"/>
                <a:gd name="connsiteY45" fmla="*/ 95441 h 530828"/>
                <a:gd name="connsiteX46" fmla="*/ 255842 w 338518"/>
                <a:gd name="connsiteY46" fmla="*/ 366808 h 530828"/>
                <a:gd name="connsiteX47" fmla="*/ 217361 w 338518"/>
                <a:gd name="connsiteY47" fmla="*/ 356235 h 530828"/>
                <a:gd name="connsiteX48" fmla="*/ 170402 w 338518"/>
                <a:gd name="connsiteY48" fmla="*/ 351949 h 530828"/>
                <a:gd name="connsiteX49" fmla="*/ 107537 w 338518"/>
                <a:gd name="connsiteY49" fmla="*/ 367475 h 530828"/>
                <a:gd name="connsiteX50" fmla="*/ 84963 w 338518"/>
                <a:gd name="connsiteY50" fmla="*/ 409861 h 530828"/>
                <a:gd name="connsiteX51" fmla="*/ 84963 w 338518"/>
                <a:gd name="connsiteY51" fmla="*/ 411290 h 530828"/>
                <a:gd name="connsiteX52" fmla="*/ 105823 w 338518"/>
                <a:gd name="connsiteY52" fmla="*/ 452247 h 530828"/>
                <a:gd name="connsiteX53" fmla="*/ 157067 w 338518"/>
                <a:gd name="connsiteY53" fmla="*/ 466344 h 530828"/>
                <a:gd name="connsiteX54" fmla="*/ 196310 w 338518"/>
                <a:gd name="connsiteY54" fmla="*/ 460724 h 530828"/>
                <a:gd name="connsiteX55" fmla="*/ 227743 w 338518"/>
                <a:gd name="connsiteY55" fmla="*/ 444818 h 530828"/>
                <a:gd name="connsiteX56" fmla="*/ 248603 w 338518"/>
                <a:gd name="connsiteY56" fmla="*/ 420053 h 530828"/>
                <a:gd name="connsiteX57" fmla="*/ 256032 w 338518"/>
                <a:gd name="connsiteY57" fmla="*/ 387858 h 530828"/>
                <a:gd name="connsiteX58" fmla="*/ 256032 w 338518"/>
                <a:gd name="connsiteY58" fmla="*/ 366617 h 5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8518" h="530828">
                  <a:moveTo>
                    <a:pt x="253651" y="523018"/>
                  </a:moveTo>
                  <a:lnTo>
                    <a:pt x="253651" y="477107"/>
                  </a:lnTo>
                  <a:cubicBezTo>
                    <a:pt x="240887" y="492157"/>
                    <a:pt x="224695" y="504920"/>
                    <a:pt x="204883" y="515303"/>
                  </a:cubicBezTo>
                  <a:cubicBezTo>
                    <a:pt x="185071" y="525685"/>
                    <a:pt x="161068" y="530828"/>
                    <a:pt x="132779" y="530828"/>
                  </a:cubicBezTo>
                  <a:cubicBezTo>
                    <a:pt x="114871" y="530828"/>
                    <a:pt x="97917" y="528352"/>
                    <a:pt x="81915" y="523399"/>
                  </a:cubicBezTo>
                  <a:cubicBezTo>
                    <a:pt x="65913" y="518446"/>
                    <a:pt x="51911" y="511112"/>
                    <a:pt x="39910" y="501491"/>
                  </a:cubicBezTo>
                  <a:cubicBezTo>
                    <a:pt x="27908" y="491871"/>
                    <a:pt x="18193" y="479870"/>
                    <a:pt x="10954" y="465487"/>
                  </a:cubicBezTo>
                  <a:cubicBezTo>
                    <a:pt x="3620" y="451104"/>
                    <a:pt x="0" y="434531"/>
                    <a:pt x="0" y="415671"/>
                  </a:cubicBezTo>
                  <a:lnTo>
                    <a:pt x="0" y="414242"/>
                  </a:lnTo>
                  <a:cubicBezTo>
                    <a:pt x="0" y="393478"/>
                    <a:pt x="3810" y="375476"/>
                    <a:pt x="11335" y="360140"/>
                  </a:cubicBezTo>
                  <a:cubicBezTo>
                    <a:pt x="18860" y="344805"/>
                    <a:pt x="29337" y="332137"/>
                    <a:pt x="42767" y="321945"/>
                  </a:cubicBezTo>
                  <a:cubicBezTo>
                    <a:pt x="56198" y="311849"/>
                    <a:pt x="72200" y="304324"/>
                    <a:pt x="90773" y="299371"/>
                  </a:cubicBezTo>
                  <a:cubicBezTo>
                    <a:pt x="109347" y="294418"/>
                    <a:pt x="129540" y="291941"/>
                    <a:pt x="151162" y="291941"/>
                  </a:cubicBezTo>
                  <a:cubicBezTo>
                    <a:pt x="172784" y="291941"/>
                    <a:pt x="192977" y="293370"/>
                    <a:pt x="208788" y="296228"/>
                  </a:cubicBezTo>
                  <a:cubicBezTo>
                    <a:pt x="224600" y="299085"/>
                    <a:pt x="239744" y="302800"/>
                    <a:pt x="254413" y="307562"/>
                  </a:cubicBezTo>
                  <a:lnTo>
                    <a:pt x="254413" y="300514"/>
                  </a:lnTo>
                  <a:cubicBezTo>
                    <a:pt x="254413" y="274606"/>
                    <a:pt x="246507" y="254794"/>
                    <a:pt x="230696" y="241173"/>
                  </a:cubicBezTo>
                  <a:cubicBezTo>
                    <a:pt x="214884" y="227552"/>
                    <a:pt x="192215" y="220694"/>
                    <a:pt x="162496" y="220694"/>
                  </a:cubicBezTo>
                  <a:cubicBezTo>
                    <a:pt x="141351" y="220694"/>
                    <a:pt x="122492" y="222790"/>
                    <a:pt x="106013" y="227076"/>
                  </a:cubicBezTo>
                  <a:cubicBezTo>
                    <a:pt x="89535" y="231362"/>
                    <a:pt x="72771" y="236982"/>
                    <a:pt x="55817" y="244031"/>
                  </a:cubicBezTo>
                  <a:lnTo>
                    <a:pt x="32480" y="175451"/>
                  </a:lnTo>
                  <a:cubicBezTo>
                    <a:pt x="53150" y="166021"/>
                    <a:pt x="74390" y="158496"/>
                    <a:pt x="96107" y="152876"/>
                  </a:cubicBezTo>
                  <a:cubicBezTo>
                    <a:pt x="117729" y="147257"/>
                    <a:pt x="143923" y="144399"/>
                    <a:pt x="174593" y="144399"/>
                  </a:cubicBezTo>
                  <a:cubicBezTo>
                    <a:pt x="230124" y="144399"/>
                    <a:pt x="271367" y="158210"/>
                    <a:pt x="298228" y="185738"/>
                  </a:cubicBezTo>
                  <a:cubicBezTo>
                    <a:pt x="325088" y="213265"/>
                    <a:pt x="338519" y="252032"/>
                    <a:pt x="338519" y="301943"/>
                  </a:cubicBezTo>
                  <a:lnTo>
                    <a:pt x="338519" y="523113"/>
                  </a:lnTo>
                  <a:lnTo>
                    <a:pt x="253746" y="523113"/>
                  </a:lnTo>
                  <a:close/>
                  <a:moveTo>
                    <a:pt x="45911" y="95441"/>
                  </a:moveTo>
                  <a:cubicBezTo>
                    <a:pt x="53912" y="66675"/>
                    <a:pt x="63722" y="44768"/>
                    <a:pt x="75248" y="29718"/>
                  </a:cubicBezTo>
                  <a:cubicBezTo>
                    <a:pt x="86773" y="14669"/>
                    <a:pt x="103442" y="7144"/>
                    <a:pt x="125063" y="7144"/>
                  </a:cubicBezTo>
                  <a:cubicBezTo>
                    <a:pt x="134969" y="7144"/>
                    <a:pt x="144590" y="8668"/>
                    <a:pt x="154019" y="11716"/>
                  </a:cubicBezTo>
                  <a:cubicBezTo>
                    <a:pt x="163449" y="14764"/>
                    <a:pt x="172498" y="18098"/>
                    <a:pt x="181261" y="21622"/>
                  </a:cubicBezTo>
                  <a:cubicBezTo>
                    <a:pt x="189929" y="25146"/>
                    <a:pt x="198120" y="28385"/>
                    <a:pt x="205645" y="31147"/>
                  </a:cubicBezTo>
                  <a:cubicBezTo>
                    <a:pt x="213170" y="34004"/>
                    <a:pt x="220218" y="35338"/>
                    <a:pt x="226790" y="35338"/>
                  </a:cubicBezTo>
                  <a:cubicBezTo>
                    <a:pt x="237173" y="35338"/>
                    <a:pt x="244888" y="32480"/>
                    <a:pt x="250127" y="26861"/>
                  </a:cubicBezTo>
                  <a:cubicBezTo>
                    <a:pt x="255270" y="21241"/>
                    <a:pt x="260509" y="12287"/>
                    <a:pt x="265652" y="0"/>
                  </a:cubicBezTo>
                  <a:lnTo>
                    <a:pt x="312991" y="14859"/>
                  </a:lnTo>
                  <a:cubicBezTo>
                    <a:pt x="304991" y="43148"/>
                    <a:pt x="295180" y="64770"/>
                    <a:pt x="283655" y="79820"/>
                  </a:cubicBezTo>
                  <a:cubicBezTo>
                    <a:pt x="272129" y="94869"/>
                    <a:pt x="255461" y="102394"/>
                    <a:pt x="233839" y="102394"/>
                  </a:cubicBezTo>
                  <a:cubicBezTo>
                    <a:pt x="223933" y="102394"/>
                    <a:pt x="214313" y="100965"/>
                    <a:pt x="204883" y="98203"/>
                  </a:cubicBezTo>
                  <a:cubicBezTo>
                    <a:pt x="195453" y="95345"/>
                    <a:pt x="186404" y="92202"/>
                    <a:pt x="177641" y="88678"/>
                  </a:cubicBezTo>
                  <a:cubicBezTo>
                    <a:pt x="168878" y="85154"/>
                    <a:pt x="160687" y="81820"/>
                    <a:pt x="152876" y="78772"/>
                  </a:cubicBezTo>
                  <a:cubicBezTo>
                    <a:pt x="145066" y="75724"/>
                    <a:pt x="138113" y="74200"/>
                    <a:pt x="132017" y="74200"/>
                  </a:cubicBezTo>
                  <a:cubicBezTo>
                    <a:pt x="121634" y="74200"/>
                    <a:pt x="113919" y="77057"/>
                    <a:pt x="108680" y="82677"/>
                  </a:cubicBezTo>
                  <a:cubicBezTo>
                    <a:pt x="103537" y="88297"/>
                    <a:pt x="98298" y="97250"/>
                    <a:pt x="93154" y="109538"/>
                  </a:cubicBezTo>
                  <a:lnTo>
                    <a:pt x="45815" y="95441"/>
                  </a:lnTo>
                  <a:close/>
                  <a:moveTo>
                    <a:pt x="255842" y="366808"/>
                  </a:moveTo>
                  <a:cubicBezTo>
                    <a:pt x="244983" y="362522"/>
                    <a:pt x="232124" y="358997"/>
                    <a:pt x="217361" y="356235"/>
                  </a:cubicBezTo>
                  <a:cubicBezTo>
                    <a:pt x="202502" y="353378"/>
                    <a:pt x="186880" y="351949"/>
                    <a:pt x="170402" y="351949"/>
                  </a:cubicBezTo>
                  <a:cubicBezTo>
                    <a:pt x="143542" y="351949"/>
                    <a:pt x="122587" y="357092"/>
                    <a:pt x="107537" y="367475"/>
                  </a:cubicBezTo>
                  <a:cubicBezTo>
                    <a:pt x="92488" y="377857"/>
                    <a:pt x="84963" y="391954"/>
                    <a:pt x="84963" y="409861"/>
                  </a:cubicBezTo>
                  <a:lnTo>
                    <a:pt x="84963" y="411290"/>
                  </a:lnTo>
                  <a:cubicBezTo>
                    <a:pt x="84963" y="429197"/>
                    <a:pt x="91916" y="442817"/>
                    <a:pt x="105823" y="452247"/>
                  </a:cubicBezTo>
                  <a:cubicBezTo>
                    <a:pt x="119729" y="461677"/>
                    <a:pt x="136779" y="466344"/>
                    <a:pt x="157067" y="466344"/>
                  </a:cubicBezTo>
                  <a:cubicBezTo>
                    <a:pt x="171164" y="466344"/>
                    <a:pt x="184309" y="464439"/>
                    <a:pt x="196310" y="460724"/>
                  </a:cubicBezTo>
                  <a:cubicBezTo>
                    <a:pt x="208312" y="456914"/>
                    <a:pt x="218789" y="451676"/>
                    <a:pt x="227743" y="444818"/>
                  </a:cubicBezTo>
                  <a:cubicBezTo>
                    <a:pt x="236696" y="437960"/>
                    <a:pt x="243650" y="429768"/>
                    <a:pt x="248603" y="420053"/>
                  </a:cubicBezTo>
                  <a:cubicBezTo>
                    <a:pt x="253555" y="410432"/>
                    <a:pt x="256032" y="399669"/>
                    <a:pt x="256032" y="387858"/>
                  </a:cubicBezTo>
                  <a:lnTo>
                    <a:pt x="256032" y="366617"/>
                  </a:lnTo>
                  <a:close/>
                </a:path>
              </a:pathLst>
            </a:custGeom>
            <a:solidFill>
              <a:srgbClr val="44505E"/>
            </a:solidFill>
            <a:ln w="9525" cap="flat">
              <a:noFill/>
              <a:prstDash val="solid"/>
              <a:miter/>
            </a:ln>
          </p:spPr>
          <p:txBody>
            <a:bodyPr rtlCol="0" anchor="ctr"/>
            <a:lstStyle/>
            <a:p>
              <a:endParaRPr lang="pt-BR" noProof="0"/>
            </a:p>
          </p:txBody>
        </p:sp>
        <p:sp>
          <p:nvSpPr>
            <p:cNvPr id="31" name="Freeform: Shape 30">
              <a:extLst>
                <a:ext uri="{FF2B5EF4-FFF2-40B4-BE49-F238E27FC236}">
                  <a16:creationId xmlns:a16="http://schemas.microsoft.com/office/drawing/2014/main" id="{D26C4898-0419-F456-61D5-D0C7DF92200F}"/>
                </a:ext>
              </a:extLst>
            </p:cNvPr>
            <p:cNvSpPr/>
            <p:nvPr/>
          </p:nvSpPr>
          <p:spPr>
            <a:xfrm>
              <a:off x="6506477" y="699959"/>
              <a:ext cx="100038" cy="97908"/>
            </a:xfrm>
            <a:custGeom>
              <a:avLst/>
              <a:gdLst>
                <a:gd name="connsiteX0" fmla="*/ 197834 w 397954"/>
                <a:gd name="connsiteY0" fmla="*/ 389477 h 389477"/>
                <a:gd name="connsiteX1" fmla="*/ 119063 w 397954"/>
                <a:gd name="connsiteY1" fmla="*/ 374237 h 389477"/>
                <a:gd name="connsiteX2" fmla="*/ 56198 w 397954"/>
                <a:gd name="connsiteY2" fmla="*/ 332899 h 389477"/>
                <a:gd name="connsiteX3" fmla="*/ 14859 w 397954"/>
                <a:gd name="connsiteY3" fmla="*/ 271463 h 389477"/>
                <a:gd name="connsiteX4" fmla="*/ 0 w 397954"/>
                <a:gd name="connsiteY4" fmla="*/ 196501 h 389477"/>
                <a:gd name="connsiteX5" fmla="*/ 0 w 397954"/>
                <a:gd name="connsiteY5" fmla="*/ 195072 h 389477"/>
                <a:gd name="connsiteX6" fmla="*/ 15240 w 397954"/>
                <a:gd name="connsiteY6" fmla="*/ 119444 h 389477"/>
                <a:gd name="connsiteX7" fmla="*/ 56960 w 397954"/>
                <a:gd name="connsiteY7" fmla="*/ 57626 h 389477"/>
                <a:gd name="connsiteX8" fmla="*/ 119825 w 397954"/>
                <a:gd name="connsiteY8" fmla="*/ 15526 h 389477"/>
                <a:gd name="connsiteX9" fmla="*/ 199358 w 397954"/>
                <a:gd name="connsiteY9" fmla="*/ 0 h 389477"/>
                <a:gd name="connsiteX10" fmla="*/ 278892 w 397954"/>
                <a:gd name="connsiteY10" fmla="*/ 15240 h 389477"/>
                <a:gd name="connsiteX11" fmla="*/ 341757 w 397954"/>
                <a:gd name="connsiteY11" fmla="*/ 56959 h 389477"/>
                <a:gd name="connsiteX12" fmla="*/ 383096 w 397954"/>
                <a:gd name="connsiteY12" fmla="*/ 118396 h 389477"/>
                <a:gd name="connsiteX13" fmla="*/ 397955 w 397954"/>
                <a:gd name="connsiteY13" fmla="*/ 193643 h 389477"/>
                <a:gd name="connsiteX14" fmla="*/ 397955 w 397954"/>
                <a:gd name="connsiteY14" fmla="*/ 195072 h 389477"/>
                <a:gd name="connsiteX15" fmla="*/ 382714 w 397954"/>
                <a:gd name="connsiteY15" fmla="*/ 270034 h 389477"/>
                <a:gd name="connsiteX16" fmla="*/ 340995 w 397954"/>
                <a:gd name="connsiteY16" fmla="*/ 331851 h 389477"/>
                <a:gd name="connsiteX17" fmla="*/ 277749 w 397954"/>
                <a:gd name="connsiteY17" fmla="*/ 373856 h 389477"/>
                <a:gd name="connsiteX18" fmla="*/ 197834 w 397954"/>
                <a:gd name="connsiteY18" fmla="*/ 389382 h 389477"/>
                <a:gd name="connsiteX19" fmla="*/ 199263 w 397954"/>
                <a:gd name="connsiteY19" fmla="*/ 315278 h 389477"/>
                <a:gd name="connsiteX20" fmla="*/ 245936 w 397954"/>
                <a:gd name="connsiteY20" fmla="*/ 305753 h 389477"/>
                <a:gd name="connsiteX21" fmla="*/ 281369 w 397954"/>
                <a:gd name="connsiteY21" fmla="*/ 279940 h 389477"/>
                <a:gd name="connsiteX22" fmla="*/ 303848 w 397954"/>
                <a:gd name="connsiteY22" fmla="*/ 242125 h 389477"/>
                <a:gd name="connsiteX23" fmla="*/ 311563 w 397954"/>
                <a:gd name="connsiteY23" fmla="*/ 196501 h 389477"/>
                <a:gd name="connsiteX24" fmla="*/ 311563 w 397954"/>
                <a:gd name="connsiteY24" fmla="*/ 195072 h 389477"/>
                <a:gd name="connsiteX25" fmla="*/ 303181 w 397954"/>
                <a:gd name="connsiteY25" fmla="*/ 148400 h 389477"/>
                <a:gd name="connsiteX26" fmla="*/ 279654 w 397954"/>
                <a:gd name="connsiteY26" fmla="*/ 110204 h 389477"/>
                <a:gd name="connsiteX27" fmla="*/ 243840 w 397954"/>
                <a:gd name="connsiteY27" fmla="*/ 84392 h 389477"/>
                <a:gd name="connsiteX28" fmla="*/ 197834 w 397954"/>
                <a:gd name="connsiteY28" fmla="*/ 74867 h 389477"/>
                <a:gd name="connsiteX29" fmla="*/ 151829 w 397954"/>
                <a:gd name="connsiteY29" fmla="*/ 84392 h 389477"/>
                <a:gd name="connsiteX30" fmla="*/ 116396 w 397954"/>
                <a:gd name="connsiteY30" fmla="*/ 109823 h 389477"/>
                <a:gd name="connsiteX31" fmla="*/ 93916 w 397954"/>
                <a:gd name="connsiteY31" fmla="*/ 147638 h 389477"/>
                <a:gd name="connsiteX32" fmla="*/ 86201 w 397954"/>
                <a:gd name="connsiteY32" fmla="*/ 193548 h 389477"/>
                <a:gd name="connsiteX33" fmla="*/ 86201 w 397954"/>
                <a:gd name="connsiteY33" fmla="*/ 194977 h 389477"/>
                <a:gd name="connsiteX34" fmla="*/ 94583 w 397954"/>
                <a:gd name="connsiteY34" fmla="*/ 241268 h 389477"/>
                <a:gd name="connsiteX35" fmla="*/ 118110 w 397954"/>
                <a:gd name="connsiteY35" fmla="*/ 279463 h 389477"/>
                <a:gd name="connsiteX36" fmla="*/ 153924 w 397954"/>
                <a:gd name="connsiteY36" fmla="*/ 305562 h 389477"/>
                <a:gd name="connsiteX37" fmla="*/ 199263 w 397954"/>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954" h="389477">
                  <a:moveTo>
                    <a:pt x="197834" y="389477"/>
                  </a:moveTo>
                  <a:cubicBezTo>
                    <a:pt x="169545" y="389477"/>
                    <a:pt x="143351" y="384429"/>
                    <a:pt x="119063" y="374237"/>
                  </a:cubicBezTo>
                  <a:cubicBezTo>
                    <a:pt x="94774" y="364141"/>
                    <a:pt x="73819" y="350330"/>
                    <a:pt x="56198" y="332899"/>
                  </a:cubicBezTo>
                  <a:cubicBezTo>
                    <a:pt x="38576" y="315468"/>
                    <a:pt x="24765" y="294989"/>
                    <a:pt x="14859" y="271463"/>
                  </a:cubicBezTo>
                  <a:cubicBezTo>
                    <a:pt x="4953" y="247936"/>
                    <a:pt x="0" y="222980"/>
                    <a:pt x="0" y="196501"/>
                  </a:cubicBezTo>
                  <a:lnTo>
                    <a:pt x="0" y="195072"/>
                  </a:lnTo>
                  <a:cubicBezTo>
                    <a:pt x="0" y="168212"/>
                    <a:pt x="5049" y="143066"/>
                    <a:pt x="15240" y="119444"/>
                  </a:cubicBezTo>
                  <a:cubicBezTo>
                    <a:pt x="25337" y="95917"/>
                    <a:pt x="39243" y="75248"/>
                    <a:pt x="56960" y="57626"/>
                  </a:cubicBezTo>
                  <a:cubicBezTo>
                    <a:pt x="74676" y="39910"/>
                    <a:pt x="95631" y="25908"/>
                    <a:pt x="119825" y="15526"/>
                  </a:cubicBezTo>
                  <a:cubicBezTo>
                    <a:pt x="144113" y="5144"/>
                    <a:pt x="170593" y="0"/>
                    <a:pt x="199358" y="0"/>
                  </a:cubicBezTo>
                  <a:cubicBezTo>
                    <a:pt x="228124" y="0"/>
                    <a:pt x="254604" y="5048"/>
                    <a:pt x="278892" y="15240"/>
                  </a:cubicBezTo>
                  <a:cubicBezTo>
                    <a:pt x="303181" y="25337"/>
                    <a:pt x="324136" y="39243"/>
                    <a:pt x="341757" y="56959"/>
                  </a:cubicBezTo>
                  <a:cubicBezTo>
                    <a:pt x="359379" y="74676"/>
                    <a:pt x="373189" y="95155"/>
                    <a:pt x="383096" y="118396"/>
                  </a:cubicBezTo>
                  <a:cubicBezTo>
                    <a:pt x="393002" y="141732"/>
                    <a:pt x="397955" y="166783"/>
                    <a:pt x="397955" y="193643"/>
                  </a:cubicBezTo>
                  <a:lnTo>
                    <a:pt x="397955" y="195072"/>
                  </a:lnTo>
                  <a:cubicBezTo>
                    <a:pt x="397955" y="221456"/>
                    <a:pt x="392906" y="246412"/>
                    <a:pt x="382714" y="270034"/>
                  </a:cubicBezTo>
                  <a:cubicBezTo>
                    <a:pt x="372618" y="293561"/>
                    <a:pt x="358712" y="314230"/>
                    <a:pt x="340995" y="331851"/>
                  </a:cubicBezTo>
                  <a:cubicBezTo>
                    <a:pt x="323279" y="349472"/>
                    <a:pt x="302229" y="363569"/>
                    <a:pt x="277749" y="373856"/>
                  </a:cubicBezTo>
                  <a:cubicBezTo>
                    <a:pt x="253270" y="384238"/>
                    <a:pt x="226600" y="389382"/>
                    <a:pt x="197834" y="389382"/>
                  </a:cubicBezTo>
                  <a:close/>
                  <a:moveTo>
                    <a:pt x="199263" y="315278"/>
                  </a:moveTo>
                  <a:cubicBezTo>
                    <a:pt x="216598" y="315278"/>
                    <a:pt x="232124" y="312039"/>
                    <a:pt x="245936" y="305753"/>
                  </a:cubicBezTo>
                  <a:cubicBezTo>
                    <a:pt x="259747" y="299371"/>
                    <a:pt x="271558" y="290798"/>
                    <a:pt x="281369" y="279940"/>
                  </a:cubicBezTo>
                  <a:cubicBezTo>
                    <a:pt x="291179" y="269081"/>
                    <a:pt x="298704" y="256508"/>
                    <a:pt x="303848" y="242125"/>
                  </a:cubicBezTo>
                  <a:cubicBezTo>
                    <a:pt x="308991" y="227743"/>
                    <a:pt x="311563" y="212598"/>
                    <a:pt x="311563" y="196501"/>
                  </a:cubicBezTo>
                  <a:lnTo>
                    <a:pt x="311563" y="195072"/>
                  </a:lnTo>
                  <a:cubicBezTo>
                    <a:pt x="311563" y="178594"/>
                    <a:pt x="308706" y="163068"/>
                    <a:pt x="303181" y="148400"/>
                  </a:cubicBezTo>
                  <a:cubicBezTo>
                    <a:pt x="297561" y="133826"/>
                    <a:pt x="289750" y="121063"/>
                    <a:pt x="279654" y="110204"/>
                  </a:cubicBezTo>
                  <a:cubicBezTo>
                    <a:pt x="269557" y="99346"/>
                    <a:pt x="257651" y="90773"/>
                    <a:pt x="243840" y="84392"/>
                  </a:cubicBezTo>
                  <a:cubicBezTo>
                    <a:pt x="230029" y="78010"/>
                    <a:pt x="214694" y="74867"/>
                    <a:pt x="197834" y="74867"/>
                  </a:cubicBezTo>
                  <a:cubicBezTo>
                    <a:pt x="180975" y="74867"/>
                    <a:pt x="165640" y="78010"/>
                    <a:pt x="151829" y="84392"/>
                  </a:cubicBezTo>
                  <a:cubicBezTo>
                    <a:pt x="138017" y="90773"/>
                    <a:pt x="126206" y="99250"/>
                    <a:pt x="116396" y="109823"/>
                  </a:cubicBezTo>
                  <a:cubicBezTo>
                    <a:pt x="106585" y="120396"/>
                    <a:pt x="99060" y="133064"/>
                    <a:pt x="93916" y="147638"/>
                  </a:cubicBezTo>
                  <a:cubicBezTo>
                    <a:pt x="88773" y="162211"/>
                    <a:pt x="86201" y="177546"/>
                    <a:pt x="86201" y="193548"/>
                  </a:cubicBezTo>
                  <a:lnTo>
                    <a:pt x="86201" y="194977"/>
                  </a:lnTo>
                  <a:cubicBezTo>
                    <a:pt x="86201" y="211455"/>
                    <a:pt x="89059" y="226886"/>
                    <a:pt x="94583" y="241268"/>
                  </a:cubicBezTo>
                  <a:cubicBezTo>
                    <a:pt x="100203" y="255651"/>
                    <a:pt x="108014" y="268319"/>
                    <a:pt x="118110" y="279463"/>
                  </a:cubicBezTo>
                  <a:cubicBezTo>
                    <a:pt x="128207" y="290608"/>
                    <a:pt x="140113" y="299275"/>
                    <a:pt x="153924" y="305562"/>
                  </a:cubicBezTo>
                  <a:cubicBezTo>
                    <a:pt x="167735" y="311944"/>
                    <a:pt x="182785"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32" name="Freeform: Shape 31">
              <a:extLst>
                <a:ext uri="{FF2B5EF4-FFF2-40B4-BE49-F238E27FC236}">
                  <a16:creationId xmlns:a16="http://schemas.microsoft.com/office/drawing/2014/main" id="{3E9845B7-F4E0-6E0F-19F9-1353ECF8CCAA}"/>
                </a:ext>
              </a:extLst>
            </p:cNvPr>
            <p:cNvSpPr/>
            <p:nvPr/>
          </p:nvSpPr>
          <p:spPr>
            <a:xfrm>
              <a:off x="662071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1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7 w 296894"/>
                <a:gd name="connsiteY23" fmla="*/ 42863 h 386714"/>
                <a:gd name="connsiteX24" fmla="*/ 254318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7 w 296894"/>
                <a:gd name="connsiteY30" fmla="*/ 124587 h 386714"/>
                <a:gd name="connsiteX31" fmla="*/ 122682 w 296894"/>
                <a:gd name="connsiteY31" fmla="*/ 138017 h 386714"/>
                <a:gd name="connsiteX32" fmla="*/ 149543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6" y="348901"/>
                    <a:pt x="0" y="330327"/>
                  </a:cubicBezTo>
                  <a:lnTo>
                    <a:pt x="38195" y="272224"/>
                  </a:lnTo>
                  <a:cubicBezTo>
                    <a:pt x="58484" y="287274"/>
                    <a:pt x="79057" y="298704"/>
                    <a:pt x="100013" y="306514"/>
                  </a:cubicBezTo>
                  <a:cubicBezTo>
                    <a:pt x="120968" y="314325"/>
                    <a:pt x="141161" y="318135"/>
                    <a:pt x="160401" y="318135"/>
                  </a:cubicBezTo>
                  <a:cubicBezTo>
                    <a:pt x="179641" y="318135"/>
                    <a:pt x="192977"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1" y="241078"/>
                    <a:pt x="176498" y="237553"/>
                    <a:pt x="166401"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2" y="40195"/>
                    <a:pt x="56864" y="30385"/>
                  </a:cubicBezTo>
                  <a:cubicBezTo>
                    <a:pt x="68866" y="20479"/>
                    <a:pt x="82962" y="12954"/>
                    <a:pt x="99250" y="7810"/>
                  </a:cubicBezTo>
                  <a:cubicBezTo>
                    <a:pt x="115538" y="2667"/>
                    <a:pt x="132779" y="0"/>
                    <a:pt x="151162" y="0"/>
                  </a:cubicBezTo>
                  <a:cubicBezTo>
                    <a:pt x="174688" y="0"/>
                    <a:pt x="198501" y="3810"/>
                    <a:pt x="222504" y="11430"/>
                  </a:cubicBezTo>
                  <a:cubicBezTo>
                    <a:pt x="246507" y="19050"/>
                    <a:pt x="268414" y="29527"/>
                    <a:pt x="288227" y="42863"/>
                  </a:cubicBezTo>
                  <a:lnTo>
                    <a:pt x="254318"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7" y="124587"/>
                  </a:cubicBezTo>
                  <a:cubicBezTo>
                    <a:pt x="108585" y="129540"/>
                    <a:pt x="114871" y="134017"/>
                    <a:pt x="122682" y="138017"/>
                  </a:cubicBezTo>
                  <a:cubicBezTo>
                    <a:pt x="130493" y="142018"/>
                    <a:pt x="139351" y="145732"/>
                    <a:pt x="149543"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696"/>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33" name="Freeform: Shape 32">
              <a:extLst>
                <a:ext uri="{FF2B5EF4-FFF2-40B4-BE49-F238E27FC236}">
                  <a16:creationId xmlns:a16="http://schemas.microsoft.com/office/drawing/2014/main" id="{37A7EC33-63F4-2147-A760-DE3D338DCD2D}"/>
                </a:ext>
              </a:extLst>
            </p:cNvPr>
            <p:cNvSpPr/>
            <p:nvPr/>
          </p:nvSpPr>
          <p:spPr>
            <a:xfrm>
              <a:off x="526693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4 w 202977"/>
                <a:gd name="connsiteY17" fmla="*/ 19907 h 239267"/>
                <a:gd name="connsiteX18" fmla="*/ 59246 w 202977"/>
                <a:gd name="connsiteY18" fmla="*/ 5429 h 239267"/>
                <a:gd name="connsiteX19" fmla="*/ 104299 w 202977"/>
                <a:gd name="connsiteY19" fmla="*/ 0 h 239267"/>
                <a:gd name="connsiteX20" fmla="*/ 178880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5 w 202977"/>
                <a:gd name="connsiteY27" fmla="*/ 211169 h 239267"/>
                <a:gd name="connsiteX28" fmla="*/ 122968 w 202977"/>
                <a:gd name="connsiteY28" fmla="*/ 206788 h 239267"/>
                <a:gd name="connsiteX29" fmla="*/ 147257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9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9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3" y="99155"/>
                    <a:pt x="58674" y="95917"/>
                  </a:cubicBezTo>
                  <a:cubicBezTo>
                    <a:pt x="70771" y="92678"/>
                    <a:pt x="84011" y="90964"/>
                    <a:pt x="98584" y="90964"/>
                  </a:cubicBezTo>
                  <a:cubicBezTo>
                    <a:pt x="113157" y="90964"/>
                    <a:pt x="126301" y="91821"/>
                    <a:pt x="137160" y="93631"/>
                  </a:cubicBezTo>
                  <a:cubicBezTo>
                    <a:pt x="148019" y="95440"/>
                    <a:pt x="158687" y="97822"/>
                    <a:pt x="169069" y="100774"/>
                  </a:cubicBezTo>
                  <a:lnTo>
                    <a:pt x="169069" y="93726"/>
                  </a:lnTo>
                  <a:cubicBezTo>
                    <a:pt x="169069" y="73342"/>
                    <a:pt x="163068" y="57912"/>
                    <a:pt x="151162" y="47339"/>
                  </a:cubicBezTo>
                  <a:cubicBezTo>
                    <a:pt x="139256" y="36862"/>
                    <a:pt x="122492" y="31623"/>
                    <a:pt x="100679" y="31623"/>
                  </a:cubicBezTo>
                  <a:cubicBezTo>
                    <a:pt x="86963" y="31623"/>
                    <a:pt x="74581" y="33147"/>
                    <a:pt x="63437" y="36100"/>
                  </a:cubicBezTo>
                  <a:cubicBezTo>
                    <a:pt x="52292" y="39053"/>
                    <a:pt x="41339" y="43053"/>
                    <a:pt x="30671" y="48196"/>
                  </a:cubicBezTo>
                  <a:lnTo>
                    <a:pt x="20384" y="19907"/>
                  </a:lnTo>
                  <a:cubicBezTo>
                    <a:pt x="33147" y="13906"/>
                    <a:pt x="46101" y="9049"/>
                    <a:pt x="59246" y="5429"/>
                  </a:cubicBezTo>
                  <a:cubicBezTo>
                    <a:pt x="72295" y="1810"/>
                    <a:pt x="87344" y="0"/>
                    <a:pt x="104299" y="0"/>
                  </a:cubicBezTo>
                  <a:cubicBezTo>
                    <a:pt x="137065" y="0"/>
                    <a:pt x="161925" y="8477"/>
                    <a:pt x="178880"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99" y="239173"/>
                    <a:pt x="86011" y="239173"/>
                  </a:cubicBezTo>
                  <a:close/>
                  <a:moveTo>
                    <a:pt x="93155" y="211169"/>
                  </a:moveTo>
                  <a:cubicBezTo>
                    <a:pt x="103823" y="211169"/>
                    <a:pt x="113728" y="209740"/>
                    <a:pt x="122968" y="206788"/>
                  </a:cubicBezTo>
                  <a:cubicBezTo>
                    <a:pt x="132207" y="203835"/>
                    <a:pt x="140208" y="199644"/>
                    <a:pt x="147257"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9" y="121444"/>
                  </a:cubicBezTo>
                  <a:cubicBezTo>
                    <a:pt x="129445" y="119348"/>
                    <a:pt x="116776"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244" y="190500"/>
                    <a:pt x="47435" y="195358"/>
                    <a:pt x="52769" y="199263"/>
                  </a:cubicBezTo>
                  <a:cubicBezTo>
                    <a:pt x="58103" y="203073"/>
                    <a:pt x="64294" y="206026"/>
                    <a:pt x="71247" y="208121"/>
                  </a:cubicBezTo>
                  <a:cubicBezTo>
                    <a:pt x="78200" y="210217"/>
                    <a:pt x="85535"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34" name="Freeform: Shape 33">
              <a:extLst>
                <a:ext uri="{FF2B5EF4-FFF2-40B4-BE49-F238E27FC236}">
                  <a16:creationId xmlns:a16="http://schemas.microsoft.com/office/drawing/2014/main" id="{7C8C2520-5A36-D5A5-FC53-2E76BC4F3186}"/>
                </a:ext>
              </a:extLst>
            </p:cNvPr>
            <p:cNvSpPr/>
            <p:nvPr/>
          </p:nvSpPr>
          <p:spPr>
            <a:xfrm>
              <a:off x="5331227"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9" y="303276"/>
                    <a:pt x="71438" y="300895"/>
                  </a:cubicBezTo>
                  <a:cubicBezTo>
                    <a:pt x="63437"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2"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5" name="Freeform: Shape 34">
              <a:extLst>
                <a:ext uri="{FF2B5EF4-FFF2-40B4-BE49-F238E27FC236}">
                  <a16:creationId xmlns:a16="http://schemas.microsoft.com/office/drawing/2014/main" id="{15014C07-58A7-0C7F-2F16-38782D0FD281}"/>
                </a:ext>
              </a:extLst>
            </p:cNvPr>
            <p:cNvSpPr/>
            <p:nvPr/>
          </p:nvSpPr>
          <p:spPr>
            <a:xfrm>
              <a:off x="5381845"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191 w 39242"/>
                <a:gd name="connsiteY5" fmla="*/ 88392 h 319182"/>
                <a:gd name="connsiteX6" fmla="*/ 36576 w 39242"/>
                <a:gd name="connsiteY6" fmla="*/ 88392 h 319182"/>
                <a:gd name="connsiteX7" fmla="*/ 36576 w 39242"/>
                <a:gd name="connsiteY7" fmla="*/ 319183 h 319182"/>
                <a:gd name="connsiteX8" fmla="*/ 2191 w 39242"/>
                <a:gd name="connsiteY8" fmla="*/ 319183 h 319182"/>
                <a:gd name="connsiteX9" fmla="*/ 2191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191" y="88392"/>
                  </a:moveTo>
                  <a:lnTo>
                    <a:pt x="36576" y="88392"/>
                  </a:lnTo>
                  <a:lnTo>
                    <a:pt x="36576" y="319183"/>
                  </a:lnTo>
                  <a:lnTo>
                    <a:pt x="2191" y="319183"/>
                  </a:lnTo>
                  <a:lnTo>
                    <a:pt x="2191" y="88392"/>
                  </a:lnTo>
                  <a:close/>
                </a:path>
              </a:pathLst>
            </a:custGeom>
            <a:solidFill>
              <a:srgbClr val="44505E"/>
            </a:solidFill>
            <a:ln w="9525" cap="flat">
              <a:noFill/>
              <a:prstDash val="solid"/>
              <a:miter/>
            </a:ln>
          </p:spPr>
          <p:txBody>
            <a:bodyPr rtlCol="0" anchor="ctr"/>
            <a:lstStyle/>
            <a:p>
              <a:endParaRPr lang="pt-BR" noProof="0"/>
            </a:p>
          </p:txBody>
        </p:sp>
        <p:sp>
          <p:nvSpPr>
            <p:cNvPr id="36" name="Freeform: Shape 35">
              <a:extLst>
                <a:ext uri="{FF2B5EF4-FFF2-40B4-BE49-F238E27FC236}">
                  <a16:creationId xmlns:a16="http://schemas.microsoft.com/office/drawing/2014/main" id="{F564632B-F55C-531B-4BA9-B6F4A67A1565}"/>
                </a:ext>
              </a:extLst>
            </p:cNvPr>
            <p:cNvSpPr/>
            <p:nvPr/>
          </p:nvSpPr>
          <p:spPr>
            <a:xfrm>
              <a:off x="5406076"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8" y="303276"/>
                    <a:pt x="71438" y="300895"/>
                  </a:cubicBezTo>
                  <a:cubicBezTo>
                    <a:pt x="63436"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1"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7" name="Freeform: Shape 36">
              <a:extLst>
                <a:ext uri="{FF2B5EF4-FFF2-40B4-BE49-F238E27FC236}">
                  <a16:creationId xmlns:a16="http://schemas.microsoft.com/office/drawing/2014/main" id="{690613A3-990F-BEEA-7D00-A5D3E33D5951}"/>
                </a:ext>
              </a:extLst>
            </p:cNvPr>
            <p:cNvSpPr/>
            <p:nvPr/>
          </p:nvSpPr>
          <p:spPr>
            <a:xfrm>
              <a:off x="5455545" y="925297"/>
              <a:ext cx="50594" cy="59238"/>
            </a:xfrm>
            <a:custGeom>
              <a:avLst/>
              <a:gdLst>
                <a:gd name="connsiteX0" fmla="*/ 88392 w 201263"/>
                <a:gd name="connsiteY0" fmla="*/ 235648 h 235648"/>
                <a:gd name="connsiteX1" fmla="*/ 51149 w 201263"/>
                <a:gd name="connsiteY1" fmla="*/ 228981 h 235648"/>
                <a:gd name="connsiteX2" fmla="*/ 23431 w 201263"/>
                <a:gd name="connsiteY2" fmla="*/ 210026 h 235648"/>
                <a:gd name="connsiteX3" fmla="*/ 6001 w 201263"/>
                <a:gd name="connsiteY3" fmla="*/ 180784 h 235648"/>
                <a:gd name="connsiteX4" fmla="*/ 0 w 201263"/>
                <a:gd name="connsiteY4" fmla="*/ 143256 h 235648"/>
                <a:gd name="connsiteX5" fmla="*/ 0 w 201263"/>
                <a:gd name="connsiteY5" fmla="*/ 0 h 235648"/>
                <a:gd name="connsiteX6" fmla="*/ 34385 w 201263"/>
                <a:gd name="connsiteY6" fmla="*/ 0 h 235648"/>
                <a:gd name="connsiteX7" fmla="*/ 34385 w 201263"/>
                <a:gd name="connsiteY7" fmla="*/ 134493 h 235648"/>
                <a:gd name="connsiteX8" fmla="*/ 50864 w 201263"/>
                <a:gd name="connsiteY8" fmla="*/ 185261 h 235648"/>
                <a:gd name="connsiteX9" fmla="*/ 98203 w 201263"/>
                <a:gd name="connsiteY9" fmla="*/ 203930 h 235648"/>
                <a:gd name="connsiteX10" fmla="*/ 125635 w 201263"/>
                <a:gd name="connsiteY10" fmla="*/ 198787 h 235648"/>
                <a:gd name="connsiteX11" fmla="*/ 147542 w 201263"/>
                <a:gd name="connsiteY11" fmla="*/ 184118 h 235648"/>
                <a:gd name="connsiteX12" fmla="*/ 162020 w 201263"/>
                <a:gd name="connsiteY12" fmla="*/ 161163 h 235648"/>
                <a:gd name="connsiteX13" fmla="*/ 167354 w 201263"/>
                <a:gd name="connsiteY13" fmla="*/ 131826 h 235648"/>
                <a:gd name="connsiteX14" fmla="*/ 167354 w 201263"/>
                <a:gd name="connsiteY14" fmla="*/ 0 h 235648"/>
                <a:gd name="connsiteX15" fmla="*/ 201263 w 201263"/>
                <a:gd name="connsiteY15" fmla="*/ 0 h 235648"/>
                <a:gd name="connsiteX16" fmla="*/ 201263 w 201263"/>
                <a:gd name="connsiteY16" fmla="*/ 230791 h 235648"/>
                <a:gd name="connsiteX17" fmla="*/ 167354 w 201263"/>
                <a:gd name="connsiteY17" fmla="*/ 230791 h 235648"/>
                <a:gd name="connsiteX18" fmla="*/ 167354 w 201263"/>
                <a:gd name="connsiteY18" fmla="*/ 190595 h 235648"/>
                <a:gd name="connsiteX19" fmla="*/ 136969 w 201263"/>
                <a:gd name="connsiteY19" fmla="*/ 222504 h 235648"/>
                <a:gd name="connsiteX20" fmla="*/ 88297 w 201263"/>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263" h="235648">
                  <a:moveTo>
                    <a:pt x="88392" y="235648"/>
                  </a:moveTo>
                  <a:cubicBezTo>
                    <a:pt x="74390" y="235648"/>
                    <a:pt x="62008" y="233363"/>
                    <a:pt x="51149" y="228981"/>
                  </a:cubicBezTo>
                  <a:cubicBezTo>
                    <a:pt x="40291" y="224504"/>
                    <a:pt x="31052" y="218218"/>
                    <a:pt x="23431"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864" y="185261"/>
                  </a:cubicBezTo>
                  <a:cubicBezTo>
                    <a:pt x="61913" y="197739"/>
                    <a:pt x="77629" y="203930"/>
                    <a:pt x="98203" y="203930"/>
                  </a:cubicBezTo>
                  <a:cubicBezTo>
                    <a:pt x="108014" y="203930"/>
                    <a:pt x="117158" y="202216"/>
                    <a:pt x="125635" y="198787"/>
                  </a:cubicBezTo>
                  <a:cubicBezTo>
                    <a:pt x="134112" y="195358"/>
                    <a:pt x="141351" y="190500"/>
                    <a:pt x="147542" y="184118"/>
                  </a:cubicBezTo>
                  <a:cubicBezTo>
                    <a:pt x="153638" y="177736"/>
                    <a:pt x="158496" y="170116"/>
                    <a:pt x="162020" y="161163"/>
                  </a:cubicBezTo>
                  <a:cubicBezTo>
                    <a:pt x="165640" y="152305"/>
                    <a:pt x="167354" y="142494"/>
                    <a:pt x="167354" y="131826"/>
                  </a:cubicBezTo>
                  <a:lnTo>
                    <a:pt x="167354" y="0"/>
                  </a:lnTo>
                  <a:lnTo>
                    <a:pt x="201263" y="0"/>
                  </a:lnTo>
                  <a:lnTo>
                    <a:pt x="201263" y="230791"/>
                  </a:lnTo>
                  <a:lnTo>
                    <a:pt x="167354" y="230791"/>
                  </a:lnTo>
                  <a:lnTo>
                    <a:pt x="167354" y="190595"/>
                  </a:lnTo>
                  <a:cubicBezTo>
                    <a:pt x="159639" y="203073"/>
                    <a:pt x="149447" y="213741"/>
                    <a:pt x="136969" y="222504"/>
                  </a:cubicBezTo>
                  <a:cubicBezTo>
                    <a:pt x="124492" y="231267"/>
                    <a:pt x="108299" y="235648"/>
                    <a:pt x="88297" y="235648"/>
                  </a:cubicBezTo>
                  <a:close/>
                </a:path>
              </a:pathLst>
            </a:custGeom>
            <a:solidFill>
              <a:srgbClr val="44505E"/>
            </a:solidFill>
            <a:ln w="9525" cap="flat">
              <a:noFill/>
              <a:prstDash val="solid"/>
              <a:miter/>
            </a:ln>
          </p:spPr>
          <p:txBody>
            <a:bodyPr rtlCol="0" anchor="ctr"/>
            <a:lstStyle/>
            <a:p>
              <a:endParaRPr lang="pt-BR" noProof="0"/>
            </a:p>
          </p:txBody>
        </p:sp>
        <p:sp>
          <p:nvSpPr>
            <p:cNvPr id="38" name="Freeform: Shape 37">
              <a:extLst>
                <a:ext uri="{FF2B5EF4-FFF2-40B4-BE49-F238E27FC236}">
                  <a16:creationId xmlns:a16="http://schemas.microsoft.com/office/drawing/2014/main" id="{21046FFC-809A-A965-1F9E-F860DEA72F3E}"/>
                </a:ext>
              </a:extLst>
            </p:cNvPr>
            <p:cNvSpPr/>
            <p:nvPr/>
          </p:nvSpPr>
          <p:spPr>
            <a:xfrm>
              <a:off x="5522205" y="901353"/>
              <a:ext cx="58567" cy="83182"/>
            </a:xfrm>
            <a:custGeom>
              <a:avLst/>
              <a:gdLst>
                <a:gd name="connsiteX0" fmla="*/ 110204 w 232981"/>
                <a:gd name="connsiteY0" fmla="*/ 330898 h 330898"/>
                <a:gd name="connsiteX1" fmla="*/ 69628 w 232981"/>
                <a:gd name="connsiteY1" fmla="*/ 322897 h 330898"/>
                <a:gd name="connsiteX2" fmla="*/ 34385 w 232981"/>
                <a:gd name="connsiteY2" fmla="*/ 299466 h 330898"/>
                <a:gd name="connsiteX3" fmla="*/ 9334 w 232981"/>
                <a:gd name="connsiteY3" fmla="*/ 261938 h 330898"/>
                <a:gd name="connsiteX4" fmla="*/ 0 w 232981"/>
                <a:gd name="connsiteY4" fmla="*/ 211264 h 330898"/>
                <a:gd name="connsiteX5" fmla="*/ 0 w 232981"/>
                <a:gd name="connsiteY5" fmla="*/ 210407 h 330898"/>
                <a:gd name="connsiteX6" fmla="*/ 9334 w 232981"/>
                <a:gd name="connsiteY6" fmla="*/ 159925 h 330898"/>
                <a:gd name="connsiteX7" fmla="*/ 34385 w 232981"/>
                <a:gd name="connsiteY7" fmla="*/ 122206 h 330898"/>
                <a:gd name="connsiteX8" fmla="*/ 69628 w 232981"/>
                <a:gd name="connsiteY8" fmla="*/ 98488 h 330898"/>
                <a:gd name="connsiteX9" fmla="*/ 110204 w 232981"/>
                <a:gd name="connsiteY9" fmla="*/ 90202 h 330898"/>
                <a:gd name="connsiteX10" fmla="*/ 139636 w 232981"/>
                <a:gd name="connsiteY10" fmla="*/ 94202 h 330898"/>
                <a:gd name="connsiteX11" fmla="*/ 163735 w 232981"/>
                <a:gd name="connsiteY11" fmla="*/ 104870 h 330898"/>
                <a:gd name="connsiteX12" fmla="*/ 183166 w 232981"/>
                <a:gd name="connsiteY12" fmla="*/ 120491 h 330898"/>
                <a:gd name="connsiteX13" fmla="*/ 198596 w 232981"/>
                <a:gd name="connsiteY13" fmla="*/ 139255 h 330898"/>
                <a:gd name="connsiteX14" fmla="*/ 198596 w 232981"/>
                <a:gd name="connsiteY14" fmla="*/ 0 h 330898"/>
                <a:gd name="connsiteX15" fmla="*/ 232981 w 232981"/>
                <a:gd name="connsiteY15" fmla="*/ 0 h 330898"/>
                <a:gd name="connsiteX16" fmla="*/ 232981 w 232981"/>
                <a:gd name="connsiteY16" fmla="*/ 325850 h 330898"/>
                <a:gd name="connsiteX17" fmla="*/ 198596 w 232981"/>
                <a:gd name="connsiteY17" fmla="*/ 325850 h 330898"/>
                <a:gd name="connsiteX18" fmla="*/ 198596 w 232981"/>
                <a:gd name="connsiteY18" fmla="*/ 279463 h 330898"/>
                <a:gd name="connsiteX19" fmla="*/ 182785 w 232981"/>
                <a:gd name="connsiteY19" fmla="*/ 299085 h 330898"/>
                <a:gd name="connsiteX20" fmla="*/ 163354 w 232981"/>
                <a:gd name="connsiteY20" fmla="*/ 315658 h 330898"/>
                <a:gd name="connsiteX21" fmla="*/ 139446 w 232981"/>
                <a:gd name="connsiteY21" fmla="*/ 326803 h 330898"/>
                <a:gd name="connsiteX22" fmla="*/ 110204 w 232981"/>
                <a:gd name="connsiteY22" fmla="*/ 330803 h 330898"/>
                <a:gd name="connsiteX23" fmla="*/ 116491 w 232981"/>
                <a:gd name="connsiteY23" fmla="*/ 300133 h 330898"/>
                <a:gd name="connsiteX24" fmla="*/ 147542 w 232981"/>
                <a:gd name="connsiteY24" fmla="*/ 293656 h 330898"/>
                <a:gd name="connsiteX25" fmla="*/ 174307 w 232981"/>
                <a:gd name="connsiteY25" fmla="*/ 275368 h 330898"/>
                <a:gd name="connsiteX26" fmla="*/ 193072 w 232981"/>
                <a:gd name="connsiteY26" fmla="*/ 247269 h 330898"/>
                <a:gd name="connsiteX27" fmla="*/ 200025 w 232981"/>
                <a:gd name="connsiteY27" fmla="*/ 210883 h 330898"/>
                <a:gd name="connsiteX28" fmla="*/ 200025 w 232981"/>
                <a:gd name="connsiteY28" fmla="*/ 210026 h 330898"/>
                <a:gd name="connsiteX29" fmla="*/ 193072 w 232981"/>
                <a:gd name="connsiteY29" fmla="*/ 173641 h 330898"/>
                <a:gd name="connsiteX30" fmla="*/ 174307 w 232981"/>
                <a:gd name="connsiteY30" fmla="*/ 145732 h 330898"/>
                <a:gd name="connsiteX31" fmla="*/ 147542 w 232981"/>
                <a:gd name="connsiteY31" fmla="*/ 127635 h 330898"/>
                <a:gd name="connsiteX32" fmla="*/ 116491 w 232981"/>
                <a:gd name="connsiteY32" fmla="*/ 121158 h 330898"/>
                <a:gd name="connsiteX33" fmla="*/ 84772 w 232981"/>
                <a:gd name="connsiteY33" fmla="*/ 127159 h 330898"/>
                <a:gd name="connsiteX34" fmla="*/ 59150 w 232981"/>
                <a:gd name="connsiteY34" fmla="*/ 144589 h 330898"/>
                <a:gd name="connsiteX35" fmla="*/ 41719 w 232981"/>
                <a:gd name="connsiteY35" fmla="*/ 172498 h 330898"/>
                <a:gd name="connsiteX36" fmla="*/ 35242 w 232981"/>
                <a:gd name="connsiteY36" fmla="*/ 210026 h 330898"/>
                <a:gd name="connsiteX37" fmla="*/ 35242 w 232981"/>
                <a:gd name="connsiteY37" fmla="*/ 210883 h 330898"/>
                <a:gd name="connsiteX38" fmla="*/ 41719 w 232981"/>
                <a:gd name="connsiteY38" fmla="*/ 247936 h 330898"/>
                <a:gd name="connsiteX39" fmla="*/ 59341 w 232981"/>
                <a:gd name="connsiteY39" fmla="*/ 276034 h 330898"/>
                <a:gd name="connsiteX40" fmla="*/ 85249 w 232981"/>
                <a:gd name="connsiteY40" fmla="*/ 293941 h 330898"/>
                <a:gd name="connsiteX41" fmla="*/ 116491 w 23298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30898">
                  <a:moveTo>
                    <a:pt x="110204" y="330898"/>
                  </a:moveTo>
                  <a:cubicBezTo>
                    <a:pt x="96202" y="330898"/>
                    <a:pt x="82677" y="328231"/>
                    <a:pt x="69628" y="322897"/>
                  </a:cubicBezTo>
                  <a:cubicBezTo>
                    <a:pt x="56578" y="317563"/>
                    <a:pt x="44767" y="309753"/>
                    <a:pt x="34385" y="299466"/>
                  </a:cubicBezTo>
                  <a:cubicBezTo>
                    <a:pt x="24003" y="289179"/>
                    <a:pt x="15621" y="276701"/>
                    <a:pt x="9334" y="261938"/>
                  </a:cubicBezTo>
                  <a:cubicBezTo>
                    <a:pt x="3048" y="247174"/>
                    <a:pt x="0" y="230314"/>
                    <a:pt x="0" y="211264"/>
                  </a:cubicBezTo>
                  <a:lnTo>
                    <a:pt x="0" y="210407"/>
                  </a:lnTo>
                  <a:cubicBezTo>
                    <a:pt x="0" y="191643"/>
                    <a:pt x="3143" y="174879"/>
                    <a:pt x="9334" y="159925"/>
                  </a:cubicBezTo>
                  <a:cubicBezTo>
                    <a:pt x="15621" y="145066"/>
                    <a:pt x="23908" y="132493"/>
                    <a:pt x="34385" y="122206"/>
                  </a:cubicBezTo>
                  <a:cubicBezTo>
                    <a:pt x="44767" y="111919"/>
                    <a:pt x="56578" y="104013"/>
                    <a:pt x="69628" y="98488"/>
                  </a:cubicBezTo>
                  <a:cubicBezTo>
                    <a:pt x="82677" y="92964"/>
                    <a:pt x="96298" y="90202"/>
                    <a:pt x="110204" y="90202"/>
                  </a:cubicBezTo>
                  <a:cubicBezTo>
                    <a:pt x="120967" y="90202"/>
                    <a:pt x="130778" y="91535"/>
                    <a:pt x="139636" y="94202"/>
                  </a:cubicBezTo>
                  <a:cubicBezTo>
                    <a:pt x="148590" y="96869"/>
                    <a:pt x="156591" y="100489"/>
                    <a:pt x="163735" y="104870"/>
                  </a:cubicBezTo>
                  <a:cubicBezTo>
                    <a:pt x="170878" y="109347"/>
                    <a:pt x="177356" y="114586"/>
                    <a:pt x="183166" y="120491"/>
                  </a:cubicBezTo>
                  <a:cubicBezTo>
                    <a:pt x="188976" y="126492"/>
                    <a:pt x="194119" y="132683"/>
                    <a:pt x="198596" y="139255"/>
                  </a:cubicBezTo>
                  <a:lnTo>
                    <a:pt x="198596" y="0"/>
                  </a:lnTo>
                  <a:lnTo>
                    <a:pt x="232981" y="0"/>
                  </a:lnTo>
                  <a:lnTo>
                    <a:pt x="232981" y="325850"/>
                  </a:lnTo>
                  <a:lnTo>
                    <a:pt x="198596" y="325850"/>
                  </a:lnTo>
                  <a:lnTo>
                    <a:pt x="198596" y="279463"/>
                  </a:lnTo>
                  <a:cubicBezTo>
                    <a:pt x="193834" y="286321"/>
                    <a:pt x="188595" y="292894"/>
                    <a:pt x="182785" y="299085"/>
                  </a:cubicBezTo>
                  <a:cubicBezTo>
                    <a:pt x="176974" y="305371"/>
                    <a:pt x="170498" y="310896"/>
                    <a:pt x="163354" y="315658"/>
                  </a:cubicBezTo>
                  <a:cubicBezTo>
                    <a:pt x="156210" y="320421"/>
                    <a:pt x="148209" y="324136"/>
                    <a:pt x="139446" y="326803"/>
                  </a:cubicBezTo>
                  <a:cubicBezTo>
                    <a:pt x="130683" y="329470"/>
                    <a:pt x="120967" y="330803"/>
                    <a:pt x="110204" y="330803"/>
                  </a:cubicBezTo>
                  <a:close/>
                  <a:moveTo>
                    <a:pt x="116491" y="300133"/>
                  </a:moveTo>
                  <a:cubicBezTo>
                    <a:pt x="127159" y="300133"/>
                    <a:pt x="137541" y="297942"/>
                    <a:pt x="147542" y="293656"/>
                  </a:cubicBezTo>
                  <a:cubicBezTo>
                    <a:pt x="157544" y="289369"/>
                    <a:pt x="166402" y="283273"/>
                    <a:pt x="174307" y="275368"/>
                  </a:cubicBezTo>
                  <a:cubicBezTo>
                    <a:pt x="182213" y="267462"/>
                    <a:pt x="188404" y="258127"/>
                    <a:pt x="193072" y="247269"/>
                  </a:cubicBezTo>
                  <a:cubicBezTo>
                    <a:pt x="197644" y="236410"/>
                    <a:pt x="200025" y="224314"/>
                    <a:pt x="200025" y="210883"/>
                  </a:cubicBezTo>
                  <a:lnTo>
                    <a:pt x="200025" y="210026"/>
                  </a:lnTo>
                  <a:cubicBezTo>
                    <a:pt x="200025" y="196596"/>
                    <a:pt x="197739" y="184499"/>
                    <a:pt x="193072" y="173641"/>
                  </a:cubicBezTo>
                  <a:cubicBezTo>
                    <a:pt x="188500" y="162782"/>
                    <a:pt x="182213" y="153448"/>
                    <a:pt x="174307" y="145732"/>
                  </a:cubicBezTo>
                  <a:cubicBezTo>
                    <a:pt x="166402" y="138017"/>
                    <a:pt x="157448" y="132016"/>
                    <a:pt x="147542" y="127635"/>
                  </a:cubicBezTo>
                  <a:cubicBezTo>
                    <a:pt x="137541" y="123349"/>
                    <a:pt x="127254" y="121158"/>
                    <a:pt x="116491" y="121158"/>
                  </a:cubicBezTo>
                  <a:cubicBezTo>
                    <a:pt x="105156" y="121158"/>
                    <a:pt x="94583" y="123158"/>
                    <a:pt x="84772" y="127159"/>
                  </a:cubicBezTo>
                  <a:cubicBezTo>
                    <a:pt x="74962" y="131159"/>
                    <a:pt x="66389" y="136969"/>
                    <a:pt x="59150" y="144589"/>
                  </a:cubicBezTo>
                  <a:cubicBezTo>
                    <a:pt x="51816" y="152114"/>
                    <a:pt x="46101" y="161449"/>
                    <a:pt x="41719" y="172498"/>
                  </a:cubicBezTo>
                  <a:cubicBezTo>
                    <a:pt x="37433" y="183451"/>
                    <a:pt x="35242" y="196024"/>
                    <a:pt x="35242" y="210026"/>
                  </a:cubicBezTo>
                  <a:lnTo>
                    <a:pt x="35242" y="210883"/>
                  </a:lnTo>
                  <a:cubicBezTo>
                    <a:pt x="35242" y="224599"/>
                    <a:pt x="37433" y="236982"/>
                    <a:pt x="41719" y="247936"/>
                  </a:cubicBezTo>
                  <a:cubicBezTo>
                    <a:pt x="46006" y="258984"/>
                    <a:pt x="51911" y="268319"/>
                    <a:pt x="59341" y="276034"/>
                  </a:cubicBezTo>
                  <a:cubicBezTo>
                    <a:pt x="66770" y="283750"/>
                    <a:pt x="75438" y="289750"/>
                    <a:pt x="85249" y="293941"/>
                  </a:cubicBezTo>
                  <a:cubicBezTo>
                    <a:pt x="95059" y="298132"/>
                    <a:pt x="105442" y="300228"/>
                    <a:pt x="116491" y="300228"/>
                  </a:cubicBezTo>
                  <a:close/>
                </a:path>
              </a:pathLst>
            </a:custGeom>
            <a:solidFill>
              <a:srgbClr val="44505E"/>
            </a:solidFill>
            <a:ln w="9525" cap="flat">
              <a:noFill/>
              <a:prstDash val="solid"/>
              <a:miter/>
            </a:ln>
          </p:spPr>
          <p:txBody>
            <a:bodyPr rtlCol="0" anchor="ctr"/>
            <a:lstStyle/>
            <a:p>
              <a:endParaRPr lang="pt-BR" noProof="0"/>
            </a:p>
          </p:txBody>
        </p:sp>
        <p:sp>
          <p:nvSpPr>
            <p:cNvPr id="39" name="Freeform: Shape 38">
              <a:extLst>
                <a:ext uri="{FF2B5EF4-FFF2-40B4-BE49-F238E27FC236}">
                  <a16:creationId xmlns:a16="http://schemas.microsoft.com/office/drawing/2014/main" id="{DE2D373D-04BF-5E3A-1710-A915CF711404}"/>
                </a:ext>
              </a:extLst>
            </p:cNvPr>
            <p:cNvSpPr/>
            <p:nvPr/>
          </p:nvSpPr>
          <p:spPr>
            <a:xfrm>
              <a:off x="5596504"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6963 w 218217"/>
                <a:gd name="connsiteY3" fmla="*/ 206026 h 241077"/>
                <a:gd name="connsiteX4" fmla="*/ 116015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8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1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452 w 218217"/>
                <a:gd name="connsiteY25" fmla="*/ 106299 h 241077"/>
                <a:gd name="connsiteX26" fmla="*/ 176784 w 218217"/>
                <a:gd name="connsiteY26" fmla="*/ 76771 h 241077"/>
                <a:gd name="connsiteX27" fmla="*/ 162306 w 218217"/>
                <a:gd name="connsiteY27" fmla="*/ 52101 h 241077"/>
                <a:gd name="connsiteX28" fmla="*/ 140018 w 218217"/>
                <a:gd name="connsiteY28" fmla="*/ 35242 h 241077"/>
                <a:gd name="connsiteX29" fmla="*/ 109919 w 218217"/>
                <a:gd name="connsiteY29" fmla="*/ 29051 h 241077"/>
                <a:gd name="connsiteX30" fmla="*/ 82201 w 218217"/>
                <a:gd name="connsiteY30" fmla="*/ 34766 h 241077"/>
                <a:gd name="connsiteX31" fmla="*/ 59436 w 218217"/>
                <a:gd name="connsiteY31" fmla="*/ 50959 h 241077"/>
                <a:gd name="connsiteX32" fmla="*/ 43148 w 218217"/>
                <a:gd name="connsiteY32" fmla="*/ 75628 h 241077"/>
                <a:gd name="connsiteX33" fmla="*/ 34862 w 218217"/>
                <a:gd name="connsiteY33" fmla="*/ 106204 h 241077"/>
                <a:gd name="connsiteX34" fmla="*/ 183547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724" y="202597"/>
                    <a:pt x="86963" y="206026"/>
                  </a:cubicBezTo>
                  <a:cubicBezTo>
                    <a:pt x="96203" y="209455"/>
                    <a:pt x="105823" y="211169"/>
                    <a:pt x="116015" y="211169"/>
                  </a:cubicBezTo>
                  <a:cubicBezTo>
                    <a:pt x="132112" y="211169"/>
                    <a:pt x="145828" y="208216"/>
                    <a:pt x="157353" y="202216"/>
                  </a:cubicBezTo>
                  <a:cubicBezTo>
                    <a:pt x="168783" y="196310"/>
                    <a:pt x="179261" y="188404"/>
                    <a:pt x="188786" y="178594"/>
                  </a:cubicBezTo>
                  <a:lnTo>
                    <a:pt x="210217" y="197834"/>
                  </a:lnTo>
                  <a:cubicBezTo>
                    <a:pt x="198596" y="210979"/>
                    <a:pt x="185357" y="221361"/>
                    <a:pt x="170498" y="229267"/>
                  </a:cubicBezTo>
                  <a:cubicBezTo>
                    <a:pt x="155639"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679" y="0"/>
                    <a:pt x="110681"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452" y="106299"/>
                  </a:moveTo>
                  <a:cubicBezTo>
                    <a:pt x="182594" y="95917"/>
                    <a:pt x="180308" y="86106"/>
                    <a:pt x="176784" y="76771"/>
                  </a:cubicBezTo>
                  <a:cubicBezTo>
                    <a:pt x="173165" y="67437"/>
                    <a:pt x="168402" y="59245"/>
                    <a:pt x="162306" y="52101"/>
                  </a:cubicBezTo>
                  <a:cubicBezTo>
                    <a:pt x="156210" y="44958"/>
                    <a:pt x="148781" y="39338"/>
                    <a:pt x="140018" y="35242"/>
                  </a:cubicBezTo>
                  <a:cubicBezTo>
                    <a:pt x="131254" y="31147"/>
                    <a:pt x="121158" y="29051"/>
                    <a:pt x="109919" y="29051"/>
                  </a:cubicBezTo>
                  <a:cubicBezTo>
                    <a:pt x="100108" y="29051"/>
                    <a:pt x="90869" y="30956"/>
                    <a:pt x="82201" y="34766"/>
                  </a:cubicBezTo>
                  <a:cubicBezTo>
                    <a:pt x="73533" y="38671"/>
                    <a:pt x="66008" y="44005"/>
                    <a:pt x="59436" y="50959"/>
                  </a:cubicBezTo>
                  <a:cubicBezTo>
                    <a:pt x="52864" y="57912"/>
                    <a:pt x="47435" y="66103"/>
                    <a:pt x="43148" y="75628"/>
                  </a:cubicBezTo>
                  <a:cubicBezTo>
                    <a:pt x="38862" y="85058"/>
                    <a:pt x="36100" y="95345"/>
                    <a:pt x="34862" y="106204"/>
                  </a:cubicBezTo>
                  <a:lnTo>
                    <a:pt x="183547" y="106204"/>
                  </a:lnTo>
                  <a:close/>
                </a:path>
              </a:pathLst>
            </a:custGeom>
            <a:solidFill>
              <a:srgbClr val="44505E"/>
            </a:solidFill>
            <a:ln w="9525" cap="flat">
              <a:noFill/>
              <a:prstDash val="solid"/>
              <a:miter/>
            </a:ln>
          </p:spPr>
          <p:txBody>
            <a:bodyPr rtlCol="0" anchor="ctr"/>
            <a:lstStyle/>
            <a:p>
              <a:endParaRPr lang="pt-BR" noProof="0"/>
            </a:p>
          </p:txBody>
        </p:sp>
        <p:sp>
          <p:nvSpPr>
            <p:cNvPr id="40" name="Freeform: Shape 39">
              <a:extLst>
                <a:ext uri="{FF2B5EF4-FFF2-40B4-BE49-F238E27FC236}">
                  <a16:creationId xmlns:a16="http://schemas.microsoft.com/office/drawing/2014/main" id="{3039943F-1D34-C621-DFBC-19103841D9A0}"/>
                </a:ext>
              </a:extLst>
            </p:cNvPr>
            <p:cNvSpPr/>
            <p:nvPr/>
          </p:nvSpPr>
          <p:spPr>
            <a:xfrm>
              <a:off x="5661680" y="924268"/>
              <a:ext cx="44656" cy="60195"/>
            </a:xfrm>
            <a:custGeom>
              <a:avLst/>
              <a:gdLst>
                <a:gd name="connsiteX0" fmla="*/ 95536 w 177641"/>
                <a:gd name="connsiteY0" fmla="*/ 239268 h 239458"/>
                <a:gd name="connsiteX1" fmla="*/ 45053 w 177641"/>
                <a:gd name="connsiteY1" fmla="*/ 230124 h 239458"/>
                <a:gd name="connsiteX2" fmla="*/ 0 w 177641"/>
                <a:gd name="connsiteY2" fmla="*/ 205359 h 239458"/>
                <a:gd name="connsiteX3" fmla="*/ 17431 w 177641"/>
                <a:gd name="connsiteY3" fmla="*/ 180785 h 239458"/>
                <a:gd name="connsiteX4" fmla="*/ 56483 w 177641"/>
                <a:gd name="connsiteY4" fmla="*/ 202692 h 239458"/>
                <a:gd name="connsiteX5" fmla="*/ 97346 w 177641"/>
                <a:gd name="connsiteY5" fmla="*/ 210217 h 239458"/>
                <a:gd name="connsiteX6" fmla="*/ 131731 w 177641"/>
                <a:gd name="connsiteY6" fmla="*/ 200406 h 239458"/>
                <a:gd name="connsiteX7" fmla="*/ 145161 w 177641"/>
                <a:gd name="connsiteY7" fmla="*/ 173641 h 239458"/>
                <a:gd name="connsiteX8" fmla="*/ 145161 w 177641"/>
                <a:gd name="connsiteY8" fmla="*/ 172784 h 239458"/>
                <a:gd name="connsiteX9" fmla="*/ 140494 w 177641"/>
                <a:gd name="connsiteY9" fmla="*/ 158020 h 239458"/>
                <a:gd name="connsiteX10" fmla="*/ 127730 w 177641"/>
                <a:gd name="connsiteY10" fmla="*/ 147066 h 239458"/>
                <a:gd name="connsiteX11" fmla="*/ 109157 w 177641"/>
                <a:gd name="connsiteY11" fmla="*/ 138779 h 239458"/>
                <a:gd name="connsiteX12" fmla="*/ 87535 w 177641"/>
                <a:gd name="connsiteY12" fmla="*/ 132112 h 239458"/>
                <a:gd name="connsiteX13" fmla="*/ 60484 w 177641"/>
                <a:gd name="connsiteY13" fmla="*/ 123444 h 239458"/>
                <a:gd name="connsiteX14" fmla="*/ 35909 w 177641"/>
                <a:gd name="connsiteY14" fmla="*/ 111633 h 239458"/>
                <a:gd name="connsiteX15" fmla="*/ 18098 w 177641"/>
                <a:gd name="connsiteY15" fmla="*/ 93726 h 239458"/>
                <a:gd name="connsiteX16" fmla="*/ 11144 w 177641"/>
                <a:gd name="connsiteY16" fmla="*/ 66961 h 239458"/>
                <a:gd name="connsiteX17" fmla="*/ 11144 w 177641"/>
                <a:gd name="connsiteY17" fmla="*/ 66008 h 239458"/>
                <a:gd name="connsiteX18" fmla="*/ 16954 w 177641"/>
                <a:gd name="connsiteY18" fmla="*/ 39053 h 239458"/>
                <a:gd name="connsiteX19" fmla="*/ 33242 w 177641"/>
                <a:gd name="connsiteY19" fmla="*/ 18098 h 239458"/>
                <a:gd name="connsiteX20" fmla="*/ 58293 w 177641"/>
                <a:gd name="connsiteY20" fmla="*/ 4667 h 239458"/>
                <a:gd name="connsiteX21" fmla="*/ 89725 w 177641"/>
                <a:gd name="connsiteY21" fmla="*/ 0 h 239458"/>
                <a:gd name="connsiteX22" fmla="*/ 133064 w 177641"/>
                <a:gd name="connsiteY22" fmla="*/ 6953 h 239458"/>
                <a:gd name="connsiteX23" fmla="*/ 172784 w 177641"/>
                <a:gd name="connsiteY23" fmla="*/ 25527 h 239458"/>
                <a:gd name="connsiteX24" fmla="*/ 157163 w 177641"/>
                <a:gd name="connsiteY24" fmla="*/ 51435 h 239458"/>
                <a:gd name="connsiteX25" fmla="*/ 123444 w 177641"/>
                <a:gd name="connsiteY25" fmla="*/ 35147 h 239458"/>
                <a:gd name="connsiteX26" fmla="*/ 88868 w 177641"/>
                <a:gd name="connsiteY26" fmla="*/ 29146 h 239458"/>
                <a:gd name="connsiteX27" fmla="*/ 56293 w 177641"/>
                <a:gd name="connsiteY27" fmla="*/ 38767 h 239458"/>
                <a:gd name="connsiteX28" fmla="*/ 44196 w 177641"/>
                <a:gd name="connsiteY28" fmla="*/ 62675 h 239458"/>
                <a:gd name="connsiteX29" fmla="*/ 44196 w 177641"/>
                <a:gd name="connsiteY29" fmla="*/ 63627 h 239458"/>
                <a:gd name="connsiteX30" fmla="*/ 49149 w 177641"/>
                <a:gd name="connsiteY30" fmla="*/ 77724 h 239458"/>
                <a:gd name="connsiteX31" fmla="*/ 62294 w 177641"/>
                <a:gd name="connsiteY31" fmla="*/ 88202 h 239458"/>
                <a:gd name="connsiteX32" fmla="*/ 81248 w 177641"/>
                <a:gd name="connsiteY32" fmla="*/ 96203 h 239458"/>
                <a:gd name="connsiteX33" fmla="*/ 103537 w 177641"/>
                <a:gd name="connsiteY33" fmla="*/ 103346 h 239458"/>
                <a:gd name="connsiteX34" fmla="*/ 130112 w 177641"/>
                <a:gd name="connsiteY34" fmla="*/ 112300 h 239458"/>
                <a:gd name="connsiteX35" fmla="*/ 154019 w 177641"/>
                <a:gd name="connsiteY35" fmla="*/ 124778 h 239458"/>
                <a:gd name="connsiteX36" fmla="*/ 171164 w 177641"/>
                <a:gd name="connsiteY36" fmla="*/ 143066 h 239458"/>
                <a:gd name="connsiteX37" fmla="*/ 177641 w 177641"/>
                <a:gd name="connsiteY37" fmla="*/ 169450 h 239458"/>
                <a:gd name="connsiteX38" fmla="*/ 177641 w 177641"/>
                <a:gd name="connsiteY38" fmla="*/ 170307 h 239458"/>
                <a:gd name="connsiteX39" fmla="*/ 171164 w 177641"/>
                <a:gd name="connsiteY39" fmla="*/ 199549 h 239458"/>
                <a:gd name="connsiteX40" fmla="*/ 153734 w 177641"/>
                <a:gd name="connsiteY40" fmla="*/ 221171 h 239458"/>
                <a:gd name="connsiteX41" fmla="*/ 127825 w 177641"/>
                <a:gd name="connsiteY41" fmla="*/ 234791 h 239458"/>
                <a:gd name="connsiteX42" fmla="*/ 95441 w 177641"/>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641" h="239458">
                  <a:moveTo>
                    <a:pt x="95536" y="239268"/>
                  </a:moveTo>
                  <a:cubicBezTo>
                    <a:pt x="78867" y="239268"/>
                    <a:pt x="62008" y="236220"/>
                    <a:pt x="45053" y="230124"/>
                  </a:cubicBezTo>
                  <a:cubicBezTo>
                    <a:pt x="28099" y="224028"/>
                    <a:pt x="13049" y="215741"/>
                    <a:pt x="0" y="205359"/>
                  </a:cubicBezTo>
                  <a:lnTo>
                    <a:pt x="17431" y="180785"/>
                  </a:lnTo>
                  <a:cubicBezTo>
                    <a:pt x="29908"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542" y="162211"/>
                    <a:pt x="140494" y="158020"/>
                  </a:cubicBezTo>
                  <a:cubicBezTo>
                    <a:pt x="137350" y="153829"/>
                    <a:pt x="133160" y="150209"/>
                    <a:pt x="127730" y="147066"/>
                  </a:cubicBezTo>
                  <a:cubicBezTo>
                    <a:pt x="122396" y="143923"/>
                    <a:pt x="116205" y="141161"/>
                    <a:pt x="109157" y="138779"/>
                  </a:cubicBezTo>
                  <a:cubicBezTo>
                    <a:pt x="102203" y="136398"/>
                    <a:pt x="94964" y="134207"/>
                    <a:pt x="87535" y="132112"/>
                  </a:cubicBezTo>
                  <a:cubicBezTo>
                    <a:pt x="78581" y="129445"/>
                    <a:pt x="69628" y="126492"/>
                    <a:pt x="60484" y="123444"/>
                  </a:cubicBezTo>
                  <a:cubicBezTo>
                    <a:pt x="51435" y="120301"/>
                    <a:pt x="43244" y="116396"/>
                    <a:pt x="35909" y="111633"/>
                  </a:cubicBezTo>
                  <a:cubicBezTo>
                    <a:pt x="28575" y="106871"/>
                    <a:pt x="22670" y="100870"/>
                    <a:pt x="18098" y="93726"/>
                  </a:cubicBezTo>
                  <a:cubicBezTo>
                    <a:pt x="13525" y="86582"/>
                    <a:pt x="11144" y="77629"/>
                    <a:pt x="11144" y="66961"/>
                  </a:cubicBezTo>
                  <a:lnTo>
                    <a:pt x="11144" y="66008"/>
                  </a:lnTo>
                  <a:cubicBezTo>
                    <a:pt x="11144" y="56198"/>
                    <a:pt x="13049" y="47149"/>
                    <a:pt x="16954" y="39053"/>
                  </a:cubicBezTo>
                  <a:cubicBezTo>
                    <a:pt x="20860" y="30861"/>
                    <a:pt x="26289" y="23908"/>
                    <a:pt x="33242" y="18098"/>
                  </a:cubicBezTo>
                  <a:cubicBezTo>
                    <a:pt x="40196" y="12287"/>
                    <a:pt x="48578" y="7811"/>
                    <a:pt x="58293" y="4667"/>
                  </a:cubicBezTo>
                  <a:cubicBezTo>
                    <a:pt x="67913" y="1524"/>
                    <a:pt x="78486" y="0"/>
                    <a:pt x="89725" y="0"/>
                  </a:cubicBezTo>
                  <a:cubicBezTo>
                    <a:pt x="104013" y="0"/>
                    <a:pt x="118396" y="2286"/>
                    <a:pt x="133064" y="6953"/>
                  </a:cubicBezTo>
                  <a:cubicBezTo>
                    <a:pt x="147638" y="11621"/>
                    <a:pt x="160877" y="17717"/>
                    <a:pt x="172784" y="25527"/>
                  </a:cubicBezTo>
                  <a:lnTo>
                    <a:pt x="157163" y="51435"/>
                  </a:lnTo>
                  <a:cubicBezTo>
                    <a:pt x="146399" y="44577"/>
                    <a:pt x="135255" y="39148"/>
                    <a:pt x="123444" y="35147"/>
                  </a:cubicBezTo>
                  <a:cubicBezTo>
                    <a:pt x="111728" y="31147"/>
                    <a:pt x="100203" y="29146"/>
                    <a:pt x="88868" y="29146"/>
                  </a:cubicBezTo>
                  <a:cubicBezTo>
                    <a:pt x="75152" y="29146"/>
                    <a:pt x="64294" y="32385"/>
                    <a:pt x="56293" y="38767"/>
                  </a:cubicBezTo>
                  <a:cubicBezTo>
                    <a:pt x="48292" y="45149"/>
                    <a:pt x="44196" y="53150"/>
                    <a:pt x="44196" y="62675"/>
                  </a:cubicBezTo>
                  <a:lnTo>
                    <a:pt x="44196" y="63627"/>
                  </a:lnTo>
                  <a:cubicBezTo>
                    <a:pt x="44196" y="68961"/>
                    <a:pt x="45815" y="73628"/>
                    <a:pt x="49149" y="77724"/>
                  </a:cubicBezTo>
                  <a:cubicBezTo>
                    <a:pt x="52388" y="81725"/>
                    <a:pt x="56769" y="85249"/>
                    <a:pt x="62294" y="88202"/>
                  </a:cubicBezTo>
                  <a:cubicBezTo>
                    <a:pt x="67818" y="91154"/>
                    <a:pt x="74104" y="93821"/>
                    <a:pt x="81248" y="96203"/>
                  </a:cubicBezTo>
                  <a:cubicBezTo>
                    <a:pt x="88392" y="98584"/>
                    <a:pt x="95821" y="100965"/>
                    <a:pt x="103537" y="103346"/>
                  </a:cubicBezTo>
                  <a:cubicBezTo>
                    <a:pt x="112490" y="106013"/>
                    <a:pt x="121349" y="108966"/>
                    <a:pt x="130112" y="112300"/>
                  </a:cubicBezTo>
                  <a:cubicBezTo>
                    <a:pt x="138875" y="115538"/>
                    <a:pt x="146875" y="119729"/>
                    <a:pt x="154019" y="124778"/>
                  </a:cubicBezTo>
                  <a:cubicBezTo>
                    <a:pt x="161163" y="129826"/>
                    <a:pt x="166878" y="135922"/>
                    <a:pt x="171164" y="143066"/>
                  </a:cubicBezTo>
                  <a:cubicBezTo>
                    <a:pt x="175450" y="150209"/>
                    <a:pt x="177641" y="158972"/>
                    <a:pt x="177641" y="169450"/>
                  </a:cubicBezTo>
                  <a:lnTo>
                    <a:pt x="177641" y="170307"/>
                  </a:lnTo>
                  <a:cubicBezTo>
                    <a:pt x="177641" y="181356"/>
                    <a:pt x="175450" y="191071"/>
                    <a:pt x="171164" y="199549"/>
                  </a:cubicBezTo>
                  <a:cubicBezTo>
                    <a:pt x="166878" y="208026"/>
                    <a:pt x="161068" y="215265"/>
                    <a:pt x="153734" y="221171"/>
                  </a:cubicBezTo>
                  <a:cubicBezTo>
                    <a:pt x="146495" y="227171"/>
                    <a:pt x="137827" y="231648"/>
                    <a:pt x="127825" y="234791"/>
                  </a:cubicBezTo>
                  <a:cubicBezTo>
                    <a:pt x="117824" y="237935"/>
                    <a:pt x="107061" y="239459"/>
                    <a:pt x="95441" y="239459"/>
                  </a:cubicBezTo>
                  <a:close/>
                </a:path>
              </a:pathLst>
            </a:custGeom>
            <a:solidFill>
              <a:srgbClr val="44505E"/>
            </a:solidFill>
            <a:ln w="9525" cap="flat">
              <a:noFill/>
              <a:prstDash val="solid"/>
              <a:miter/>
            </a:ln>
          </p:spPr>
          <p:txBody>
            <a:bodyPr rtlCol="0" anchor="ctr"/>
            <a:lstStyle/>
            <a:p>
              <a:endParaRPr lang="pt-BR" noProof="0"/>
            </a:p>
          </p:txBody>
        </p:sp>
        <p:sp>
          <p:nvSpPr>
            <p:cNvPr id="41" name="Freeform: Shape 40">
              <a:extLst>
                <a:ext uri="{FF2B5EF4-FFF2-40B4-BE49-F238E27FC236}">
                  <a16:creationId xmlns:a16="http://schemas.microsoft.com/office/drawing/2014/main" id="{A4797721-BA92-BBD1-F80A-5E89442A4111}"/>
                </a:ext>
              </a:extLst>
            </p:cNvPr>
            <p:cNvSpPr/>
            <p:nvPr/>
          </p:nvSpPr>
          <p:spPr>
            <a:xfrm>
              <a:off x="5752668" y="924028"/>
              <a:ext cx="58567" cy="77196"/>
            </a:xfrm>
            <a:custGeom>
              <a:avLst/>
              <a:gdLst>
                <a:gd name="connsiteX0" fmla="*/ 198596 w 232981"/>
                <a:gd name="connsiteY0" fmla="*/ 189357 h 307085"/>
                <a:gd name="connsiteX1" fmla="*/ 182785 w 232981"/>
                <a:gd name="connsiteY1" fmla="*/ 208978 h 307085"/>
                <a:gd name="connsiteX2" fmla="*/ 163354 w 232981"/>
                <a:gd name="connsiteY2" fmla="*/ 225552 h 307085"/>
                <a:gd name="connsiteX3" fmla="*/ 139446 w 232981"/>
                <a:gd name="connsiteY3" fmla="*/ 236696 h 307085"/>
                <a:gd name="connsiteX4" fmla="*/ 110204 w 232981"/>
                <a:gd name="connsiteY4" fmla="*/ 240697 h 307085"/>
                <a:gd name="connsiteX5" fmla="*/ 69628 w 232981"/>
                <a:gd name="connsiteY5" fmla="*/ 232696 h 307085"/>
                <a:gd name="connsiteX6" fmla="*/ 34385 w 232981"/>
                <a:gd name="connsiteY6" fmla="*/ 209264 h 307085"/>
                <a:gd name="connsiteX7" fmla="*/ 9335 w 232981"/>
                <a:gd name="connsiteY7" fmla="*/ 171736 h 307085"/>
                <a:gd name="connsiteX8" fmla="*/ 0 w 232981"/>
                <a:gd name="connsiteY8" fmla="*/ 121063 h 307085"/>
                <a:gd name="connsiteX9" fmla="*/ 0 w 232981"/>
                <a:gd name="connsiteY9" fmla="*/ 120205 h 307085"/>
                <a:gd name="connsiteX10" fmla="*/ 9335 w 232981"/>
                <a:gd name="connsiteY10" fmla="*/ 69723 h 307085"/>
                <a:gd name="connsiteX11" fmla="*/ 34385 w 232981"/>
                <a:gd name="connsiteY11" fmla="*/ 32004 h 307085"/>
                <a:gd name="connsiteX12" fmla="*/ 69628 w 232981"/>
                <a:gd name="connsiteY12" fmla="*/ 8287 h 307085"/>
                <a:gd name="connsiteX13" fmla="*/ 110204 w 232981"/>
                <a:gd name="connsiteY13" fmla="*/ 0 h 307085"/>
                <a:gd name="connsiteX14" fmla="*/ 139637 w 232981"/>
                <a:gd name="connsiteY14" fmla="*/ 4000 h 307085"/>
                <a:gd name="connsiteX15" fmla="*/ 163735 w 232981"/>
                <a:gd name="connsiteY15" fmla="*/ 14668 h 307085"/>
                <a:gd name="connsiteX16" fmla="*/ 183166 w 232981"/>
                <a:gd name="connsiteY16" fmla="*/ 30289 h 307085"/>
                <a:gd name="connsiteX17" fmla="*/ 198596 w 232981"/>
                <a:gd name="connsiteY17" fmla="*/ 49054 h 307085"/>
                <a:gd name="connsiteX18" fmla="*/ 198596 w 232981"/>
                <a:gd name="connsiteY18" fmla="*/ 4858 h 307085"/>
                <a:gd name="connsiteX19" fmla="*/ 232982 w 232981"/>
                <a:gd name="connsiteY19" fmla="*/ 4858 h 307085"/>
                <a:gd name="connsiteX20" fmla="*/ 232982 w 232981"/>
                <a:gd name="connsiteY20" fmla="*/ 307086 h 307085"/>
                <a:gd name="connsiteX21" fmla="*/ 198596 w 232981"/>
                <a:gd name="connsiteY21" fmla="*/ 307086 h 307085"/>
                <a:gd name="connsiteX22" fmla="*/ 198596 w 232981"/>
                <a:gd name="connsiteY22" fmla="*/ 189262 h 307085"/>
                <a:gd name="connsiteX23" fmla="*/ 116491 w 232981"/>
                <a:gd name="connsiteY23" fmla="*/ 209931 h 307085"/>
                <a:gd name="connsiteX24" fmla="*/ 147542 w 232981"/>
                <a:gd name="connsiteY24" fmla="*/ 203454 h 307085"/>
                <a:gd name="connsiteX25" fmla="*/ 174308 w 232981"/>
                <a:gd name="connsiteY25" fmla="*/ 185166 h 307085"/>
                <a:gd name="connsiteX26" fmla="*/ 193072 w 232981"/>
                <a:gd name="connsiteY26" fmla="*/ 157067 h 307085"/>
                <a:gd name="connsiteX27" fmla="*/ 200025 w 232981"/>
                <a:gd name="connsiteY27" fmla="*/ 120682 h 307085"/>
                <a:gd name="connsiteX28" fmla="*/ 200025 w 232981"/>
                <a:gd name="connsiteY28" fmla="*/ 119824 h 307085"/>
                <a:gd name="connsiteX29" fmla="*/ 193072 w 232981"/>
                <a:gd name="connsiteY29" fmla="*/ 83439 h 307085"/>
                <a:gd name="connsiteX30" fmla="*/ 174308 w 232981"/>
                <a:gd name="connsiteY30" fmla="*/ 55531 h 307085"/>
                <a:gd name="connsiteX31" fmla="*/ 147542 w 232981"/>
                <a:gd name="connsiteY31" fmla="*/ 37433 h 307085"/>
                <a:gd name="connsiteX32" fmla="*/ 116491 w 232981"/>
                <a:gd name="connsiteY32" fmla="*/ 30956 h 307085"/>
                <a:gd name="connsiteX33" fmla="*/ 84773 w 232981"/>
                <a:gd name="connsiteY33" fmla="*/ 36957 h 307085"/>
                <a:gd name="connsiteX34" fmla="*/ 59150 w 232981"/>
                <a:gd name="connsiteY34" fmla="*/ 54388 h 307085"/>
                <a:gd name="connsiteX35" fmla="*/ 41720 w 232981"/>
                <a:gd name="connsiteY35" fmla="*/ 82296 h 307085"/>
                <a:gd name="connsiteX36" fmla="*/ 35242 w 232981"/>
                <a:gd name="connsiteY36" fmla="*/ 119824 h 307085"/>
                <a:gd name="connsiteX37" fmla="*/ 35242 w 232981"/>
                <a:gd name="connsiteY37" fmla="*/ 120682 h 307085"/>
                <a:gd name="connsiteX38" fmla="*/ 41720 w 232981"/>
                <a:gd name="connsiteY38" fmla="*/ 157734 h 307085"/>
                <a:gd name="connsiteX39" fmla="*/ 59341 w 232981"/>
                <a:gd name="connsiteY39" fmla="*/ 185833 h 307085"/>
                <a:gd name="connsiteX40" fmla="*/ 85249 w 232981"/>
                <a:gd name="connsiteY40" fmla="*/ 203740 h 307085"/>
                <a:gd name="connsiteX41" fmla="*/ 116491 w 232981"/>
                <a:gd name="connsiteY41" fmla="*/ 210026 h 30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07085">
                  <a:moveTo>
                    <a:pt x="198596" y="189357"/>
                  </a:moveTo>
                  <a:cubicBezTo>
                    <a:pt x="193834" y="196215"/>
                    <a:pt x="188595" y="202787"/>
                    <a:pt x="182785" y="208978"/>
                  </a:cubicBezTo>
                  <a:cubicBezTo>
                    <a:pt x="176975" y="215265"/>
                    <a:pt x="170498" y="220789"/>
                    <a:pt x="163354" y="225552"/>
                  </a:cubicBezTo>
                  <a:cubicBezTo>
                    <a:pt x="156210" y="230314"/>
                    <a:pt x="148209" y="234029"/>
                    <a:pt x="139446" y="236696"/>
                  </a:cubicBezTo>
                  <a:cubicBezTo>
                    <a:pt x="130683" y="239363"/>
                    <a:pt x="120967" y="240697"/>
                    <a:pt x="110204" y="240697"/>
                  </a:cubicBezTo>
                  <a:cubicBezTo>
                    <a:pt x="96203" y="240697"/>
                    <a:pt x="82677" y="238030"/>
                    <a:pt x="69628" y="232696"/>
                  </a:cubicBezTo>
                  <a:cubicBezTo>
                    <a:pt x="56579" y="227362"/>
                    <a:pt x="44767" y="219551"/>
                    <a:pt x="34385" y="209264"/>
                  </a:cubicBezTo>
                  <a:cubicBezTo>
                    <a:pt x="24003" y="198977"/>
                    <a:pt x="15621" y="186499"/>
                    <a:pt x="9335" y="171736"/>
                  </a:cubicBezTo>
                  <a:cubicBezTo>
                    <a:pt x="3048" y="156972"/>
                    <a:pt x="0" y="140113"/>
                    <a:pt x="0" y="121063"/>
                  </a:cubicBezTo>
                  <a:lnTo>
                    <a:pt x="0" y="120205"/>
                  </a:lnTo>
                  <a:cubicBezTo>
                    <a:pt x="0" y="101441"/>
                    <a:pt x="3143" y="84677"/>
                    <a:pt x="9335" y="69723"/>
                  </a:cubicBezTo>
                  <a:cubicBezTo>
                    <a:pt x="15621" y="54864"/>
                    <a:pt x="23908" y="42291"/>
                    <a:pt x="34385" y="32004"/>
                  </a:cubicBezTo>
                  <a:cubicBezTo>
                    <a:pt x="44767" y="21717"/>
                    <a:pt x="56579" y="13811"/>
                    <a:pt x="69628" y="8287"/>
                  </a:cubicBezTo>
                  <a:cubicBezTo>
                    <a:pt x="82677" y="2762"/>
                    <a:pt x="96298" y="0"/>
                    <a:pt x="110204" y="0"/>
                  </a:cubicBezTo>
                  <a:cubicBezTo>
                    <a:pt x="120967" y="0"/>
                    <a:pt x="130778" y="1333"/>
                    <a:pt x="139637" y="4000"/>
                  </a:cubicBezTo>
                  <a:cubicBezTo>
                    <a:pt x="148590" y="6667"/>
                    <a:pt x="156591" y="10287"/>
                    <a:pt x="163735" y="14668"/>
                  </a:cubicBezTo>
                  <a:cubicBezTo>
                    <a:pt x="170879" y="19145"/>
                    <a:pt x="177356" y="24384"/>
                    <a:pt x="183166" y="30289"/>
                  </a:cubicBezTo>
                  <a:cubicBezTo>
                    <a:pt x="188976" y="36290"/>
                    <a:pt x="194120" y="42481"/>
                    <a:pt x="198596" y="49054"/>
                  </a:cubicBezTo>
                  <a:lnTo>
                    <a:pt x="198596" y="4858"/>
                  </a:lnTo>
                  <a:lnTo>
                    <a:pt x="232982" y="4858"/>
                  </a:lnTo>
                  <a:lnTo>
                    <a:pt x="232982" y="307086"/>
                  </a:lnTo>
                  <a:lnTo>
                    <a:pt x="198596" y="307086"/>
                  </a:lnTo>
                  <a:lnTo>
                    <a:pt x="198596" y="189262"/>
                  </a:lnTo>
                  <a:close/>
                  <a:moveTo>
                    <a:pt x="116491" y="209931"/>
                  </a:moveTo>
                  <a:cubicBezTo>
                    <a:pt x="127159" y="209931"/>
                    <a:pt x="137541" y="207740"/>
                    <a:pt x="147542" y="203454"/>
                  </a:cubicBezTo>
                  <a:cubicBezTo>
                    <a:pt x="157544" y="199168"/>
                    <a:pt x="166402" y="193072"/>
                    <a:pt x="174308" y="185166"/>
                  </a:cubicBezTo>
                  <a:cubicBezTo>
                    <a:pt x="182213" y="177260"/>
                    <a:pt x="188404" y="167926"/>
                    <a:pt x="193072" y="157067"/>
                  </a:cubicBezTo>
                  <a:cubicBezTo>
                    <a:pt x="197739" y="146209"/>
                    <a:pt x="200025" y="134112"/>
                    <a:pt x="200025" y="120682"/>
                  </a:cubicBezTo>
                  <a:lnTo>
                    <a:pt x="200025" y="119824"/>
                  </a:lnTo>
                  <a:cubicBezTo>
                    <a:pt x="200025" y="106394"/>
                    <a:pt x="197739" y="94297"/>
                    <a:pt x="193072" y="83439"/>
                  </a:cubicBezTo>
                  <a:cubicBezTo>
                    <a:pt x="188500" y="72580"/>
                    <a:pt x="182213" y="63246"/>
                    <a:pt x="174308" y="55531"/>
                  </a:cubicBezTo>
                  <a:cubicBezTo>
                    <a:pt x="166402" y="47815"/>
                    <a:pt x="157544" y="41815"/>
                    <a:pt x="147542" y="37433"/>
                  </a:cubicBezTo>
                  <a:cubicBezTo>
                    <a:pt x="137541" y="33147"/>
                    <a:pt x="127254" y="30956"/>
                    <a:pt x="116491" y="30956"/>
                  </a:cubicBezTo>
                  <a:cubicBezTo>
                    <a:pt x="105156" y="30956"/>
                    <a:pt x="94583" y="32956"/>
                    <a:pt x="84773" y="36957"/>
                  </a:cubicBezTo>
                  <a:cubicBezTo>
                    <a:pt x="74962" y="40957"/>
                    <a:pt x="66389" y="46767"/>
                    <a:pt x="59150" y="54388"/>
                  </a:cubicBezTo>
                  <a:cubicBezTo>
                    <a:pt x="51816" y="61913"/>
                    <a:pt x="46101" y="71247"/>
                    <a:pt x="41720" y="82296"/>
                  </a:cubicBezTo>
                  <a:cubicBezTo>
                    <a:pt x="37433" y="93250"/>
                    <a:pt x="35242" y="105823"/>
                    <a:pt x="35242" y="119824"/>
                  </a:cubicBezTo>
                  <a:lnTo>
                    <a:pt x="35242" y="120682"/>
                  </a:lnTo>
                  <a:cubicBezTo>
                    <a:pt x="35242" y="134398"/>
                    <a:pt x="37433" y="146780"/>
                    <a:pt x="41720" y="157734"/>
                  </a:cubicBezTo>
                  <a:cubicBezTo>
                    <a:pt x="46006" y="168783"/>
                    <a:pt x="51911" y="178117"/>
                    <a:pt x="59341" y="185833"/>
                  </a:cubicBezTo>
                  <a:cubicBezTo>
                    <a:pt x="66770" y="193548"/>
                    <a:pt x="75438" y="199549"/>
                    <a:pt x="85249" y="203740"/>
                  </a:cubicBezTo>
                  <a:cubicBezTo>
                    <a:pt x="95060" y="207931"/>
                    <a:pt x="105442" y="210026"/>
                    <a:pt x="116491" y="210026"/>
                  </a:cubicBezTo>
                  <a:close/>
                </a:path>
              </a:pathLst>
            </a:custGeom>
            <a:solidFill>
              <a:srgbClr val="44505E"/>
            </a:solidFill>
            <a:ln w="9525" cap="flat">
              <a:noFill/>
              <a:prstDash val="solid"/>
              <a:miter/>
            </a:ln>
          </p:spPr>
          <p:txBody>
            <a:bodyPr rtlCol="0" anchor="ctr"/>
            <a:lstStyle/>
            <a:p>
              <a:endParaRPr lang="pt-BR" noProof="0"/>
            </a:p>
          </p:txBody>
        </p:sp>
        <p:sp>
          <p:nvSpPr>
            <p:cNvPr id="42" name="Freeform: Shape 41">
              <a:extLst>
                <a:ext uri="{FF2B5EF4-FFF2-40B4-BE49-F238E27FC236}">
                  <a16:creationId xmlns:a16="http://schemas.microsoft.com/office/drawing/2014/main" id="{80DB635F-B4AD-CC16-6BC4-63D8BFABB08B}"/>
                </a:ext>
              </a:extLst>
            </p:cNvPr>
            <p:cNvSpPr/>
            <p:nvPr/>
          </p:nvSpPr>
          <p:spPr>
            <a:xfrm>
              <a:off x="5829624" y="925297"/>
              <a:ext cx="50618" cy="59238"/>
            </a:xfrm>
            <a:custGeom>
              <a:avLst/>
              <a:gdLst>
                <a:gd name="connsiteX0" fmla="*/ 88392 w 201358"/>
                <a:gd name="connsiteY0" fmla="*/ 235648 h 235648"/>
                <a:gd name="connsiteX1" fmla="*/ 51149 w 201358"/>
                <a:gd name="connsiteY1" fmla="*/ 228981 h 235648"/>
                <a:gd name="connsiteX2" fmla="*/ 23432 w 201358"/>
                <a:gd name="connsiteY2" fmla="*/ 210026 h 235648"/>
                <a:gd name="connsiteX3" fmla="*/ 6001 w 201358"/>
                <a:gd name="connsiteY3" fmla="*/ 180784 h 235648"/>
                <a:gd name="connsiteX4" fmla="*/ 0 w 201358"/>
                <a:gd name="connsiteY4" fmla="*/ 143256 h 235648"/>
                <a:gd name="connsiteX5" fmla="*/ 0 w 201358"/>
                <a:gd name="connsiteY5" fmla="*/ 0 h 235648"/>
                <a:gd name="connsiteX6" fmla="*/ 34385 w 201358"/>
                <a:gd name="connsiteY6" fmla="*/ 0 h 235648"/>
                <a:gd name="connsiteX7" fmla="*/ 34385 w 201358"/>
                <a:gd name="connsiteY7" fmla="*/ 134493 h 235648"/>
                <a:gd name="connsiteX8" fmla="*/ 50959 w 201358"/>
                <a:gd name="connsiteY8" fmla="*/ 185261 h 235648"/>
                <a:gd name="connsiteX9" fmla="*/ 98298 w 201358"/>
                <a:gd name="connsiteY9" fmla="*/ 203930 h 235648"/>
                <a:gd name="connsiteX10" fmla="*/ 125730 w 201358"/>
                <a:gd name="connsiteY10" fmla="*/ 198787 h 235648"/>
                <a:gd name="connsiteX11" fmla="*/ 147638 w 201358"/>
                <a:gd name="connsiteY11" fmla="*/ 184118 h 235648"/>
                <a:gd name="connsiteX12" fmla="*/ 162116 w 201358"/>
                <a:gd name="connsiteY12" fmla="*/ 161163 h 235648"/>
                <a:gd name="connsiteX13" fmla="*/ 167450 w 201358"/>
                <a:gd name="connsiteY13" fmla="*/ 131826 h 235648"/>
                <a:gd name="connsiteX14" fmla="*/ 167450 w 201358"/>
                <a:gd name="connsiteY14" fmla="*/ 0 h 235648"/>
                <a:gd name="connsiteX15" fmla="*/ 201359 w 201358"/>
                <a:gd name="connsiteY15" fmla="*/ 0 h 235648"/>
                <a:gd name="connsiteX16" fmla="*/ 201359 w 201358"/>
                <a:gd name="connsiteY16" fmla="*/ 230791 h 235648"/>
                <a:gd name="connsiteX17" fmla="*/ 167450 w 201358"/>
                <a:gd name="connsiteY17" fmla="*/ 230791 h 235648"/>
                <a:gd name="connsiteX18" fmla="*/ 167450 w 201358"/>
                <a:gd name="connsiteY18" fmla="*/ 190595 h 235648"/>
                <a:gd name="connsiteX19" fmla="*/ 137065 w 201358"/>
                <a:gd name="connsiteY19" fmla="*/ 222504 h 235648"/>
                <a:gd name="connsiteX20" fmla="*/ 88392 w 201358"/>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358" h="235648">
                  <a:moveTo>
                    <a:pt x="88392" y="235648"/>
                  </a:moveTo>
                  <a:cubicBezTo>
                    <a:pt x="74390" y="235648"/>
                    <a:pt x="62008" y="233363"/>
                    <a:pt x="51149" y="228981"/>
                  </a:cubicBezTo>
                  <a:cubicBezTo>
                    <a:pt x="40291" y="224504"/>
                    <a:pt x="31052" y="218218"/>
                    <a:pt x="23432"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959" y="185261"/>
                  </a:cubicBezTo>
                  <a:cubicBezTo>
                    <a:pt x="61913" y="197739"/>
                    <a:pt x="77724" y="203930"/>
                    <a:pt x="98298" y="203930"/>
                  </a:cubicBezTo>
                  <a:cubicBezTo>
                    <a:pt x="108109" y="203930"/>
                    <a:pt x="117253" y="202216"/>
                    <a:pt x="125730" y="198787"/>
                  </a:cubicBezTo>
                  <a:cubicBezTo>
                    <a:pt x="134207" y="195358"/>
                    <a:pt x="141446" y="190500"/>
                    <a:pt x="147638" y="184118"/>
                  </a:cubicBezTo>
                  <a:cubicBezTo>
                    <a:pt x="153734" y="177736"/>
                    <a:pt x="158591" y="170116"/>
                    <a:pt x="162116" y="161163"/>
                  </a:cubicBezTo>
                  <a:cubicBezTo>
                    <a:pt x="165735" y="152305"/>
                    <a:pt x="167450" y="142494"/>
                    <a:pt x="167450" y="131826"/>
                  </a:cubicBezTo>
                  <a:lnTo>
                    <a:pt x="167450" y="0"/>
                  </a:lnTo>
                  <a:lnTo>
                    <a:pt x="201359" y="0"/>
                  </a:lnTo>
                  <a:lnTo>
                    <a:pt x="201359" y="230791"/>
                  </a:lnTo>
                  <a:lnTo>
                    <a:pt x="167450" y="230791"/>
                  </a:lnTo>
                  <a:lnTo>
                    <a:pt x="167450" y="190595"/>
                  </a:lnTo>
                  <a:cubicBezTo>
                    <a:pt x="159734" y="203073"/>
                    <a:pt x="149543" y="213741"/>
                    <a:pt x="137065" y="222504"/>
                  </a:cubicBezTo>
                  <a:cubicBezTo>
                    <a:pt x="124587" y="231267"/>
                    <a:pt x="108395" y="235648"/>
                    <a:pt x="88392" y="235648"/>
                  </a:cubicBezTo>
                  <a:close/>
                </a:path>
              </a:pathLst>
            </a:custGeom>
            <a:solidFill>
              <a:srgbClr val="44505E"/>
            </a:solidFill>
            <a:ln w="9525" cap="flat">
              <a:noFill/>
              <a:prstDash val="solid"/>
              <a:miter/>
            </a:ln>
          </p:spPr>
          <p:txBody>
            <a:bodyPr rtlCol="0" anchor="ctr"/>
            <a:lstStyle/>
            <a:p>
              <a:endParaRPr lang="pt-BR" noProof="0"/>
            </a:p>
          </p:txBody>
        </p:sp>
        <p:sp>
          <p:nvSpPr>
            <p:cNvPr id="43" name="Freeform: Shape 42">
              <a:extLst>
                <a:ext uri="{FF2B5EF4-FFF2-40B4-BE49-F238E27FC236}">
                  <a16:creationId xmlns:a16="http://schemas.microsoft.com/office/drawing/2014/main" id="{796A75BA-1C12-EA6D-E0E7-B876B34ACF3A}"/>
                </a:ext>
              </a:extLst>
            </p:cNvPr>
            <p:cNvSpPr/>
            <p:nvPr/>
          </p:nvSpPr>
          <p:spPr>
            <a:xfrm>
              <a:off x="5896069"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7059 w 218217"/>
                <a:gd name="connsiteY3" fmla="*/ 206026 h 241077"/>
                <a:gd name="connsiteX4" fmla="*/ 116110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7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0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356 w 218217"/>
                <a:gd name="connsiteY25" fmla="*/ 106299 h 241077"/>
                <a:gd name="connsiteX26" fmla="*/ 176689 w 218217"/>
                <a:gd name="connsiteY26" fmla="*/ 76771 h 241077"/>
                <a:gd name="connsiteX27" fmla="*/ 162211 w 218217"/>
                <a:gd name="connsiteY27" fmla="*/ 52101 h 241077"/>
                <a:gd name="connsiteX28" fmla="*/ 139922 w 218217"/>
                <a:gd name="connsiteY28" fmla="*/ 35242 h 241077"/>
                <a:gd name="connsiteX29" fmla="*/ 109823 w 218217"/>
                <a:gd name="connsiteY29" fmla="*/ 29051 h 241077"/>
                <a:gd name="connsiteX30" fmla="*/ 82105 w 218217"/>
                <a:gd name="connsiteY30" fmla="*/ 34766 h 241077"/>
                <a:gd name="connsiteX31" fmla="*/ 59341 w 218217"/>
                <a:gd name="connsiteY31" fmla="*/ 50959 h 241077"/>
                <a:gd name="connsiteX32" fmla="*/ 43053 w 218217"/>
                <a:gd name="connsiteY32" fmla="*/ 75628 h 241077"/>
                <a:gd name="connsiteX33" fmla="*/ 34766 w 218217"/>
                <a:gd name="connsiteY33" fmla="*/ 106204 h 241077"/>
                <a:gd name="connsiteX34" fmla="*/ 183356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819" y="202597"/>
                    <a:pt x="87059" y="206026"/>
                  </a:cubicBezTo>
                  <a:cubicBezTo>
                    <a:pt x="96298" y="209455"/>
                    <a:pt x="105918" y="211169"/>
                    <a:pt x="116110" y="211169"/>
                  </a:cubicBezTo>
                  <a:cubicBezTo>
                    <a:pt x="132207" y="211169"/>
                    <a:pt x="145923" y="208216"/>
                    <a:pt x="157353" y="202216"/>
                  </a:cubicBezTo>
                  <a:cubicBezTo>
                    <a:pt x="168783" y="196310"/>
                    <a:pt x="179261" y="188404"/>
                    <a:pt x="188786" y="178594"/>
                  </a:cubicBezTo>
                  <a:lnTo>
                    <a:pt x="210217" y="197834"/>
                  </a:lnTo>
                  <a:cubicBezTo>
                    <a:pt x="198596" y="210979"/>
                    <a:pt x="185356" y="221361"/>
                    <a:pt x="170497" y="229267"/>
                  </a:cubicBezTo>
                  <a:cubicBezTo>
                    <a:pt x="155638"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583" y="0"/>
                    <a:pt x="110680"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356" y="106299"/>
                  </a:moveTo>
                  <a:cubicBezTo>
                    <a:pt x="182499" y="95917"/>
                    <a:pt x="180213" y="86106"/>
                    <a:pt x="176689" y="76771"/>
                  </a:cubicBezTo>
                  <a:cubicBezTo>
                    <a:pt x="173069" y="67437"/>
                    <a:pt x="168307" y="59245"/>
                    <a:pt x="162211" y="52101"/>
                  </a:cubicBezTo>
                  <a:cubicBezTo>
                    <a:pt x="156115" y="44958"/>
                    <a:pt x="148685" y="39338"/>
                    <a:pt x="139922" y="35242"/>
                  </a:cubicBezTo>
                  <a:cubicBezTo>
                    <a:pt x="131159" y="31147"/>
                    <a:pt x="121063" y="29051"/>
                    <a:pt x="109823" y="29051"/>
                  </a:cubicBezTo>
                  <a:cubicBezTo>
                    <a:pt x="100013" y="29051"/>
                    <a:pt x="90773" y="30956"/>
                    <a:pt x="82105" y="34766"/>
                  </a:cubicBezTo>
                  <a:cubicBezTo>
                    <a:pt x="73438" y="38671"/>
                    <a:pt x="65913" y="44005"/>
                    <a:pt x="59341" y="50959"/>
                  </a:cubicBezTo>
                  <a:cubicBezTo>
                    <a:pt x="52769" y="57912"/>
                    <a:pt x="47339" y="66103"/>
                    <a:pt x="43053" y="75628"/>
                  </a:cubicBezTo>
                  <a:cubicBezTo>
                    <a:pt x="38767" y="85058"/>
                    <a:pt x="36004" y="95345"/>
                    <a:pt x="34766" y="106204"/>
                  </a:cubicBezTo>
                  <a:lnTo>
                    <a:pt x="183356" y="106204"/>
                  </a:lnTo>
                  <a:close/>
                </a:path>
              </a:pathLst>
            </a:custGeom>
            <a:solidFill>
              <a:srgbClr val="44505E"/>
            </a:solidFill>
            <a:ln w="9525" cap="flat">
              <a:noFill/>
              <a:prstDash val="solid"/>
              <a:miter/>
            </a:ln>
          </p:spPr>
          <p:txBody>
            <a:bodyPr rtlCol="0" anchor="ctr"/>
            <a:lstStyle/>
            <a:p>
              <a:endParaRPr lang="pt-BR" noProof="0"/>
            </a:p>
          </p:txBody>
        </p:sp>
        <p:sp>
          <p:nvSpPr>
            <p:cNvPr id="44" name="Freeform: Shape 43">
              <a:extLst>
                <a:ext uri="{FF2B5EF4-FFF2-40B4-BE49-F238E27FC236}">
                  <a16:creationId xmlns:a16="http://schemas.microsoft.com/office/drawing/2014/main" id="{DC0372A6-A58C-56C1-B29F-85F952773AE0}"/>
                </a:ext>
              </a:extLst>
            </p:cNvPr>
            <p:cNvSpPr/>
            <p:nvPr/>
          </p:nvSpPr>
          <p:spPr>
            <a:xfrm>
              <a:off x="5994910" y="924268"/>
              <a:ext cx="44680" cy="60195"/>
            </a:xfrm>
            <a:custGeom>
              <a:avLst/>
              <a:gdLst>
                <a:gd name="connsiteX0" fmla="*/ 95536 w 177736"/>
                <a:gd name="connsiteY0" fmla="*/ 239268 h 239458"/>
                <a:gd name="connsiteX1" fmla="*/ 45053 w 177736"/>
                <a:gd name="connsiteY1" fmla="*/ 230124 h 239458"/>
                <a:gd name="connsiteX2" fmla="*/ 0 w 177736"/>
                <a:gd name="connsiteY2" fmla="*/ 205359 h 239458"/>
                <a:gd name="connsiteX3" fmla="*/ 17431 w 177736"/>
                <a:gd name="connsiteY3" fmla="*/ 180785 h 239458"/>
                <a:gd name="connsiteX4" fmla="*/ 56483 w 177736"/>
                <a:gd name="connsiteY4" fmla="*/ 202692 h 239458"/>
                <a:gd name="connsiteX5" fmla="*/ 97346 w 177736"/>
                <a:gd name="connsiteY5" fmla="*/ 210217 h 239458"/>
                <a:gd name="connsiteX6" fmla="*/ 131731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730 w 177736"/>
                <a:gd name="connsiteY10" fmla="*/ 147066 h 239458"/>
                <a:gd name="connsiteX11" fmla="*/ 109252 w 177736"/>
                <a:gd name="connsiteY11" fmla="*/ 138779 h 239458"/>
                <a:gd name="connsiteX12" fmla="*/ 87630 w 177736"/>
                <a:gd name="connsiteY12" fmla="*/ 132112 h 239458"/>
                <a:gd name="connsiteX13" fmla="*/ 60674 w 177736"/>
                <a:gd name="connsiteY13" fmla="*/ 123444 h 239458"/>
                <a:gd name="connsiteX14" fmla="*/ 36100 w 177736"/>
                <a:gd name="connsiteY14" fmla="*/ 111633 h 239458"/>
                <a:gd name="connsiteX15" fmla="*/ 18193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60 w 177736"/>
                <a:gd name="connsiteY22" fmla="*/ 6953 h 239458"/>
                <a:gd name="connsiteX23" fmla="*/ 172879 w 177736"/>
                <a:gd name="connsiteY23" fmla="*/ 25527 h 239458"/>
                <a:gd name="connsiteX24" fmla="*/ 157258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4 w 177736"/>
                <a:gd name="connsiteY32" fmla="*/ 96203 h 239458"/>
                <a:gd name="connsiteX33" fmla="*/ 103632 w 177736"/>
                <a:gd name="connsiteY33" fmla="*/ 103346 h 239458"/>
                <a:gd name="connsiteX34" fmla="*/ 130207 w 177736"/>
                <a:gd name="connsiteY34" fmla="*/ 112300 h 239458"/>
                <a:gd name="connsiteX35" fmla="*/ 154114 w 177736"/>
                <a:gd name="connsiteY35" fmla="*/ 124778 h 239458"/>
                <a:gd name="connsiteX36" fmla="*/ 171260 w 177736"/>
                <a:gd name="connsiteY36" fmla="*/ 143066 h 239458"/>
                <a:gd name="connsiteX37" fmla="*/ 177737 w 177736"/>
                <a:gd name="connsiteY37" fmla="*/ 169450 h 239458"/>
                <a:gd name="connsiteX38" fmla="*/ 177737 w 177736"/>
                <a:gd name="connsiteY38" fmla="*/ 170307 h 239458"/>
                <a:gd name="connsiteX39" fmla="*/ 171260 w 177736"/>
                <a:gd name="connsiteY39" fmla="*/ 199549 h 239458"/>
                <a:gd name="connsiteX40" fmla="*/ 153829 w 177736"/>
                <a:gd name="connsiteY40" fmla="*/ 221171 h 239458"/>
                <a:gd name="connsiteX41" fmla="*/ 127921 w 177736"/>
                <a:gd name="connsiteY41" fmla="*/ 234791 h 239458"/>
                <a:gd name="connsiteX42" fmla="*/ 95536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6" y="239268"/>
                  </a:moveTo>
                  <a:cubicBezTo>
                    <a:pt x="78867" y="239268"/>
                    <a:pt x="62008" y="236220"/>
                    <a:pt x="45053" y="230124"/>
                  </a:cubicBezTo>
                  <a:cubicBezTo>
                    <a:pt x="28099" y="224028"/>
                    <a:pt x="13049" y="215741"/>
                    <a:pt x="0" y="205359"/>
                  </a:cubicBezTo>
                  <a:lnTo>
                    <a:pt x="17431" y="180785"/>
                  </a:lnTo>
                  <a:cubicBezTo>
                    <a:pt x="29909"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637" y="162211"/>
                    <a:pt x="140494" y="158020"/>
                  </a:cubicBezTo>
                  <a:cubicBezTo>
                    <a:pt x="137351" y="153829"/>
                    <a:pt x="133160" y="150209"/>
                    <a:pt x="127730" y="147066"/>
                  </a:cubicBezTo>
                  <a:cubicBezTo>
                    <a:pt x="122396" y="143923"/>
                    <a:pt x="116205" y="141161"/>
                    <a:pt x="109252" y="138779"/>
                  </a:cubicBezTo>
                  <a:cubicBezTo>
                    <a:pt x="102299" y="136398"/>
                    <a:pt x="95060" y="134207"/>
                    <a:pt x="87630" y="132112"/>
                  </a:cubicBezTo>
                  <a:cubicBezTo>
                    <a:pt x="78677" y="129445"/>
                    <a:pt x="69723" y="126492"/>
                    <a:pt x="60674" y="123444"/>
                  </a:cubicBezTo>
                  <a:cubicBezTo>
                    <a:pt x="51626" y="120301"/>
                    <a:pt x="43434" y="116396"/>
                    <a:pt x="36100" y="111633"/>
                  </a:cubicBezTo>
                  <a:cubicBezTo>
                    <a:pt x="28766" y="106871"/>
                    <a:pt x="22860" y="100870"/>
                    <a:pt x="18193" y="93726"/>
                  </a:cubicBezTo>
                  <a:cubicBezTo>
                    <a:pt x="13621" y="86582"/>
                    <a:pt x="11239" y="77629"/>
                    <a:pt x="11239" y="66961"/>
                  </a:cubicBezTo>
                  <a:lnTo>
                    <a:pt x="11239" y="66008"/>
                  </a:lnTo>
                  <a:cubicBezTo>
                    <a:pt x="11239" y="56198"/>
                    <a:pt x="13145" y="47149"/>
                    <a:pt x="17050" y="39053"/>
                  </a:cubicBezTo>
                  <a:cubicBezTo>
                    <a:pt x="20860" y="30861"/>
                    <a:pt x="26289" y="23908"/>
                    <a:pt x="33338" y="18098"/>
                  </a:cubicBezTo>
                  <a:cubicBezTo>
                    <a:pt x="40291" y="12287"/>
                    <a:pt x="48673" y="7811"/>
                    <a:pt x="58388" y="4667"/>
                  </a:cubicBezTo>
                  <a:cubicBezTo>
                    <a:pt x="68009" y="1524"/>
                    <a:pt x="78581" y="0"/>
                    <a:pt x="89821" y="0"/>
                  </a:cubicBezTo>
                  <a:cubicBezTo>
                    <a:pt x="104108" y="0"/>
                    <a:pt x="118491" y="2286"/>
                    <a:pt x="133160" y="6953"/>
                  </a:cubicBezTo>
                  <a:cubicBezTo>
                    <a:pt x="147733" y="11621"/>
                    <a:pt x="160972" y="17717"/>
                    <a:pt x="172879" y="25527"/>
                  </a:cubicBezTo>
                  <a:lnTo>
                    <a:pt x="157258" y="51435"/>
                  </a:lnTo>
                  <a:cubicBezTo>
                    <a:pt x="146495" y="44577"/>
                    <a:pt x="135350" y="39148"/>
                    <a:pt x="123539" y="35147"/>
                  </a:cubicBezTo>
                  <a:cubicBezTo>
                    <a:pt x="111824" y="31147"/>
                    <a:pt x="100298" y="29146"/>
                    <a:pt x="88963" y="29146"/>
                  </a:cubicBezTo>
                  <a:cubicBezTo>
                    <a:pt x="75247" y="29146"/>
                    <a:pt x="64389" y="32385"/>
                    <a:pt x="56388" y="38767"/>
                  </a:cubicBezTo>
                  <a:cubicBezTo>
                    <a:pt x="48387" y="45149"/>
                    <a:pt x="44291" y="53150"/>
                    <a:pt x="44291" y="62675"/>
                  </a:cubicBezTo>
                  <a:lnTo>
                    <a:pt x="44291" y="63627"/>
                  </a:lnTo>
                  <a:cubicBezTo>
                    <a:pt x="44291" y="68961"/>
                    <a:pt x="45911" y="73628"/>
                    <a:pt x="49244" y="77724"/>
                  </a:cubicBezTo>
                  <a:cubicBezTo>
                    <a:pt x="52483" y="81725"/>
                    <a:pt x="56960" y="85249"/>
                    <a:pt x="62389" y="88202"/>
                  </a:cubicBezTo>
                  <a:cubicBezTo>
                    <a:pt x="67913" y="91154"/>
                    <a:pt x="74200" y="93821"/>
                    <a:pt x="81344" y="96203"/>
                  </a:cubicBezTo>
                  <a:cubicBezTo>
                    <a:pt x="88487" y="98584"/>
                    <a:pt x="95917" y="100965"/>
                    <a:pt x="103632" y="103346"/>
                  </a:cubicBezTo>
                  <a:cubicBezTo>
                    <a:pt x="112586" y="106013"/>
                    <a:pt x="121444" y="108966"/>
                    <a:pt x="130207" y="112300"/>
                  </a:cubicBezTo>
                  <a:cubicBezTo>
                    <a:pt x="138970" y="115538"/>
                    <a:pt x="146971" y="119729"/>
                    <a:pt x="154114" y="124778"/>
                  </a:cubicBezTo>
                  <a:cubicBezTo>
                    <a:pt x="161258" y="129826"/>
                    <a:pt x="166973" y="135922"/>
                    <a:pt x="171260" y="143066"/>
                  </a:cubicBezTo>
                  <a:cubicBezTo>
                    <a:pt x="175546" y="150209"/>
                    <a:pt x="177737" y="158972"/>
                    <a:pt x="177737" y="169450"/>
                  </a:cubicBezTo>
                  <a:lnTo>
                    <a:pt x="177737" y="170307"/>
                  </a:lnTo>
                  <a:cubicBezTo>
                    <a:pt x="177737" y="181356"/>
                    <a:pt x="175546" y="191071"/>
                    <a:pt x="171260" y="199549"/>
                  </a:cubicBezTo>
                  <a:cubicBezTo>
                    <a:pt x="166973" y="208026"/>
                    <a:pt x="161163" y="215265"/>
                    <a:pt x="153829" y="221171"/>
                  </a:cubicBezTo>
                  <a:cubicBezTo>
                    <a:pt x="146495" y="227171"/>
                    <a:pt x="137922" y="231648"/>
                    <a:pt x="127921" y="234791"/>
                  </a:cubicBezTo>
                  <a:cubicBezTo>
                    <a:pt x="117920" y="237935"/>
                    <a:pt x="107156" y="239459"/>
                    <a:pt x="95536" y="239459"/>
                  </a:cubicBezTo>
                  <a:close/>
                </a:path>
              </a:pathLst>
            </a:custGeom>
            <a:solidFill>
              <a:srgbClr val="44505E"/>
            </a:solidFill>
            <a:ln w="9525" cap="flat">
              <a:noFill/>
              <a:prstDash val="solid"/>
              <a:miter/>
            </a:ln>
          </p:spPr>
          <p:txBody>
            <a:bodyPr rtlCol="0" anchor="ctr"/>
            <a:lstStyle/>
            <a:p>
              <a:endParaRPr lang="pt-BR" noProof="0"/>
            </a:p>
          </p:txBody>
        </p:sp>
        <p:sp>
          <p:nvSpPr>
            <p:cNvPr id="45" name="Freeform: Shape 44">
              <a:extLst>
                <a:ext uri="{FF2B5EF4-FFF2-40B4-BE49-F238E27FC236}">
                  <a16:creationId xmlns:a16="http://schemas.microsoft.com/office/drawing/2014/main" id="{A4CC74E1-F105-23FD-5E85-CD3B5CC3CD74}"/>
                </a:ext>
              </a:extLst>
            </p:cNvPr>
            <p:cNvSpPr/>
            <p:nvPr/>
          </p:nvSpPr>
          <p:spPr>
            <a:xfrm>
              <a:off x="605122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4 w 202977"/>
                <a:gd name="connsiteY30" fmla="*/ 174593 h 239267"/>
                <a:gd name="connsiteX31" fmla="*/ 169735 w 202977"/>
                <a:gd name="connsiteY31" fmla="*/ 149447 h 239267"/>
                <a:gd name="connsiteX32" fmla="*/ 169735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0" y="90964"/>
                    <a:pt x="98584" y="90964"/>
                  </a:cubicBezTo>
                  <a:cubicBezTo>
                    <a:pt x="113157" y="90964"/>
                    <a:pt x="126301"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1" y="33147"/>
                    <a:pt x="63436" y="36100"/>
                  </a:cubicBezTo>
                  <a:cubicBezTo>
                    <a:pt x="52292" y="39053"/>
                    <a:pt x="41338" y="43053"/>
                    <a:pt x="30671" y="48196"/>
                  </a:cubicBezTo>
                  <a:lnTo>
                    <a:pt x="20383" y="19907"/>
                  </a:lnTo>
                  <a:cubicBezTo>
                    <a:pt x="33147" y="13906"/>
                    <a:pt x="46101" y="9049"/>
                    <a:pt x="59246" y="5429"/>
                  </a:cubicBezTo>
                  <a:cubicBezTo>
                    <a:pt x="72295"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1" y="239173"/>
                  </a:cubicBezTo>
                  <a:close/>
                  <a:moveTo>
                    <a:pt x="93154" y="211169"/>
                  </a:moveTo>
                  <a:cubicBezTo>
                    <a:pt x="103822" y="211169"/>
                    <a:pt x="113728" y="209740"/>
                    <a:pt x="122967" y="206788"/>
                  </a:cubicBezTo>
                  <a:cubicBezTo>
                    <a:pt x="132207" y="203835"/>
                    <a:pt x="140208" y="199644"/>
                    <a:pt x="147256" y="194120"/>
                  </a:cubicBezTo>
                  <a:cubicBezTo>
                    <a:pt x="154209" y="188595"/>
                    <a:pt x="159734" y="182118"/>
                    <a:pt x="163734" y="174593"/>
                  </a:cubicBezTo>
                  <a:cubicBezTo>
                    <a:pt x="167735" y="167068"/>
                    <a:pt x="169735" y="158687"/>
                    <a:pt x="169735" y="149447"/>
                  </a:cubicBezTo>
                  <a:lnTo>
                    <a:pt x="169735" y="128111"/>
                  </a:lnTo>
                  <a:cubicBezTo>
                    <a:pt x="161163" y="125730"/>
                    <a:pt x="151352" y="123539"/>
                    <a:pt x="140398" y="121444"/>
                  </a:cubicBezTo>
                  <a:cubicBezTo>
                    <a:pt x="129445" y="119348"/>
                    <a:pt x="116872"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46" name="Freeform: Shape 45">
              <a:extLst>
                <a:ext uri="{FF2B5EF4-FFF2-40B4-BE49-F238E27FC236}">
                  <a16:creationId xmlns:a16="http://schemas.microsoft.com/office/drawing/2014/main" id="{7741785F-5CE3-FCAD-E167-A6B01F5EE739}"/>
                </a:ext>
              </a:extLst>
            </p:cNvPr>
            <p:cNvSpPr/>
            <p:nvPr/>
          </p:nvSpPr>
          <p:spPr>
            <a:xfrm>
              <a:off x="6121359" y="901377"/>
              <a:ext cx="8644" cy="81913"/>
            </a:xfrm>
            <a:custGeom>
              <a:avLst/>
              <a:gdLst>
                <a:gd name="connsiteX0" fmla="*/ 0 w 34385"/>
                <a:gd name="connsiteY0" fmla="*/ 0 h 325850"/>
                <a:gd name="connsiteX1" fmla="*/ 34385 w 34385"/>
                <a:gd name="connsiteY1" fmla="*/ 0 h 325850"/>
                <a:gd name="connsiteX2" fmla="*/ 34385 w 34385"/>
                <a:gd name="connsiteY2" fmla="*/ 325850 h 325850"/>
                <a:gd name="connsiteX3" fmla="*/ 0 w 34385"/>
                <a:gd name="connsiteY3" fmla="*/ 325850 h 325850"/>
                <a:gd name="connsiteX4" fmla="*/ 0 w 34385"/>
                <a:gd name="connsiteY4" fmla="*/ 0 h 32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 h="325850">
                  <a:moveTo>
                    <a:pt x="0" y="0"/>
                  </a:moveTo>
                  <a:lnTo>
                    <a:pt x="34385" y="0"/>
                  </a:lnTo>
                  <a:lnTo>
                    <a:pt x="34385" y="325850"/>
                  </a:lnTo>
                  <a:lnTo>
                    <a:pt x="0" y="325850"/>
                  </a:lnTo>
                  <a:lnTo>
                    <a:pt x="0" y="0"/>
                  </a:lnTo>
                  <a:close/>
                </a:path>
              </a:pathLst>
            </a:custGeom>
            <a:solidFill>
              <a:srgbClr val="44505E"/>
            </a:solidFill>
            <a:ln w="9525" cap="flat">
              <a:noFill/>
              <a:prstDash val="solid"/>
              <a:miter/>
            </a:ln>
          </p:spPr>
          <p:txBody>
            <a:bodyPr rtlCol="0" anchor="ctr"/>
            <a:lstStyle/>
            <a:p>
              <a:endParaRPr lang="pt-BR" noProof="0"/>
            </a:p>
          </p:txBody>
        </p:sp>
        <p:sp>
          <p:nvSpPr>
            <p:cNvPr id="47" name="Freeform: Shape 46">
              <a:extLst>
                <a:ext uri="{FF2B5EF4-FFF2-40B4-BE49-F238E27FC236}">
                  <a16:creationId xmlns:a16="http://schemas.microsoft.com/office/drawing/2014/main" id="{8DAF6CF4-CF25-D112-C107-5E92E8226D77}"/>
                </a:ext>
              </a:extLst>
            </p:cNvPr>
            <p:cNvSpPr/>
            <p:nvPr/>
          </p:nvSpPr>
          <p:spPr>
            <a:xfrm>
              <a:off x="6144346" y="925273"/>
              <a:ext cx="58016" cy="58448"/>
            </a:xfrm>
            <a:custGeom>
              <a:avLst/>
              <a:gdLst>
                <a:gd name="connsiteX0" fmla="*/ 95 w 230790"/>
                <a:gd name="connsiteY0" fmla="*/ 0 h 232505"/>
                <a:gd name="connsiteX1" fmla="*/ 38005 w 230790"/>
                <a:gd name="connsiteY1" fmla="*/ 0 h 232505"/>
                <a:gd name="connsiteX2" fmla="*/ 115634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4"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48" name="Freeform: Shape 47">
              <a:extLst>
                <a:ext uri="{FF2B5EF4-FFF2-40B4-BE49-F238E27FC236}">
                  <a16:creationId xmlns:a16="http://schemas.microsoft.com/office/drawing/2014/main" id="{DA5CB994-3ADC-1E1C-5980-725E67BDAB83}"/>
                </a:ext>
              </a:extLst>
            </p:cNvPr>
            <p:cNvSpPr/>
            <p:nvPr/>
          </p:nvSpPr>
          <p:spPr>
            <a:xfrm>
              <a:off x="621155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8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338 w 202977"/>
                <a:gd name="connsiteY36" fmla="*/ 164497 h 239267"/>
                <a:gd name="connsiteX37" fmla="*/ 35338 w 202977"/>
                <a:gd name="connsiteY37" fmla="*/ 165449 h 239267"/>
                <a:gd name="connsiteX38" fmla="*/ 40005 w 202977"/>
                <a:gd name="connsiteY38" fmla="*/ 184785 h 239267"/>
                <a:gd name="connsiteX39" fmla="*/ 52673 w 202977"/>
                <a:gd name="connsiteY39" fmla="*/ 199263 h 239267"/>
                <a:gd name="connsiteX40" fmla="*/ 71152 w 202977"/>
                <a:gd name="connsiteY40" fmla="*/ 208121 h 239267"/>
                <a:gd name="connsiteX41" fmla="*/ 93154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438" y="239268"/>
                    <a:pt x="64961"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1" y="90964"/>
                    <a:pt x="98584" y="90964"/>
                  </a:cubicBezTo>
                  <a:cubicBezTo>
                    <a:pt x="113157" y="90964"/>
                    <a:pt x="126302" y="91821"/>
                    <a:pt x="137160" y="93631"/>
                  </a:cubicBezTo>
                  <a:cubicBezTo>
                    <a:pt x="148019" y="95440"/>
                    <a:pt x="158687" y="97822"/>
                    <a:pt x="169069" y="100774"/>
                  </a:cubicBezTo>
                  <a:lnTo>
                    <a:pt x="169069" y="93726"/>
                  </a:lnTo>
                  <a:cubicBezTo>
                    <a:pt x="169069" y="73342"/>
                    <a:pt x="163068" y="57912"/>
                    <a:pt x="151162" y="47339"/>
                  </a:cubicBezTo>
                  <a:cubicBezTo>
                    <a:pt x="139255" y="36862"/>
                    <a:pt x="122491" y="31623"/>
                    <a:pt x="100679" y="31623"/>
                  </a:cubicBezTo>
                  <a:cubicBezTo>
                    <a:pt x="86963" y="31623"/>
                    <a:pt x="74581" y="33147"/>
                    <a:pt x="63437" y="36100"/>
                  </a:cubicBezTo>
                  <a:cubicBezTo>
                    <a:pt x="52292" y="39053"/>
                    <a:pt x="41338" y="43053"/>
                    <a:pt x="30671" y="48196"/>
                  </a:cubicBezTo>
                  <a:lnTo>
                    <a:pt x="20383" y="19907"/>
                  </a:lnTo>
                  <a:cubicBezTo>
                    <a:pt x="33147" y="13906"/>
                    <a:pt x="46101" y="9049"/>
                    <a:pt x="59246" y="5429"/>
                  </a:cubicBezTo>
                  <a:cubicBezTo>
                    <a:pt x="72390"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04" y="239173"/>
                    <a:pt x="86011" y="239173"/>
                  </a:cubicBezTo>
                  <a:close/>
                  <a:moveTo>
                    <a:pt x="93154" y="211169"/>
                  </a:moveTo>
                  <a:cubicBezTo>
                    <a:pt x="103822" y="211169"/>
                    <a:pt x="113824" y="209740"/>
                    <a:pt x="122968" y="206788"/>
                  </a:cubicBezTo>
                  <a:cubicBezTo>
                    <a:pt x="132112"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5" y="119348"/>
                    <a:pt x="116777" y="118300"/>
                    <a:pt x="102584" y="118300"/>
                  </a:cubicBezTo>
                  <a:cubicBezTo>
                    <a:pt x="81248" y="118300"/>
                    <a:pt x="64675" y="122491"/>
                    <a:pt x="52959" y="130969"/>
                  </a:cubicBezTo>
                  <a:cubicBezTo>
                    <a:pt x="41243" y="139446"/>
                    <a:pt x="35338" y="150590"/>
                    <a:pt x="35338" y="164497"/>
                  </a:cubicBezTo>
                  <a:lnTo>
                    <a:pt x="35338" y="165449"/>
                  </a:lnTo>
                  <a:cubicBezTo>
                    <a:pt x="35338" y="172498"/>
                    <a:pt x="36862" y="178975"/>
                    <a:pt x="40005" y="184785"/>
                  </a:cubicBezTo>
                  <a:cubicBezTo>
                    <a:pt x="43148" y="190500"/>
                    <a:pt x="47339" y="195358"/>
                    <a:pt x="52673" y="199263"/>
                  </a:cubicBezTo>
                  <a:cubicBezTo>
                    <a:pt x="58007" y="203073"/>
                    <a:pt x="64198" y="206026"/>
                    <a:pt x="71152" y="208121"/>
                  </a:cubicBezTo>
                  <a:cubicBezTo>
                    <a:pt x="78105" y="210217"/>
                    <a:pt x="85439" y="211169"/>
                    <a:pt x="93154" y="211169"/>
                  </a:cubicBezTo>
                  <a:close/>
                </a:path>
              </a:pathLst>
            </a:custGeom>
            <a:solidFill>
              <a:srgbClr val="44505E"/>
            </a:solidFill>
            <a:ln w="9525" cap="flat">
              <a:noFill/>
              <a:prstDash val="solid"/>
              <a:miter/>
            </a:ln>
          </p:spPr>
          <p:txBody>
            <a:bodyPr rtlCol="0" anchor="ctr"/>
            <a:lstStyle/>
            <a:p>
              <a:endParaRPr lang="pt-BR" noProof="0"/>
            </a:p>
          </p:txBody>
        </p:sp>
        <p:sp>
          <p:nvSpPr>
            <p:cNvPr id="49" name="Freeform: Shape 48">
              <a:extLst>
                <a:ext uri="{FF2B5EF4-FFF2-40B4-BE49-F238E27FC236}">
                  <a16:creationId xmlns:a16="http://schemas.microsoft.com/office/drawing/2014/main" id="{BB4126E9-B50A-A055-C998-69C48DD9AA5A}"/>
                </a:ext>
              </a:extLst>
            </p:cNvPr>
            <p:cNvSpPr/>
            <p:nvPr/>
          </p:nvSpPr>
          <p:spPr>
            <a:xfrm>
              <a:off x="6280899" y="923980"/>
              <a:ext cx="87995" cy="59238"/>
            </a:xfrm>
            <a:custGeom>
              <a:avLst/>
              <a:gdLst>
                <a:gd name="connsiteX0" fmla="*/ 0 w 350043"/>
                <a:gd name="connsiteY0" fmla="*/ 5144 h 235648"/>
                <a:gd name="connsiteX1" fmla="*/ 34385 w 350043"/>
                <a:gd name="connsiteY1" fmla="*/ 5144 h 235648"/>
                <a:gd name="connsiteX2" fmla="*/ 34385 w 350043"/>
                <a:gd name="connsiteY2" fmla="*/ 44005 h 235648"/>
                <a:gd name="connsiteX3" fmla="*/ 47149 w 350043"/>
                <a:gd name="connsiteY3" fmla="*/ 27432 h 235648"/>
                <a:gd name="connsiteX4" fmla="*/ 62960 w 350043"/>
                <a:gd name="connsiteY4" fmla="*/ 13335 h 235648"/>
                <a:gd name="connsiteX5" fmla="*/ 83058 w 350043"/>
                <a:gd name="connsiteY5" fmla="*/ 3715 h 235648"/>
                <a:gd name="connsiteX6" fmla="*/ 108966 w 350043"/>
                <a:gd name="connsiteY6" fmla="*/ 95 h 235648"/>
                <a:gd name="connsiteX7" fmla="*/ 155448 w 350043"/>
                <a:gd name="connsiteY7" fmla="*/ 13240 h 235648"/>
                <a:gd name="connsiteX8" fmla="*/ 183166 w 350043"/>
                <a:gd name="connsiteY8" fmla="*/ 46006 h 235648"/>
                <a:gd name="connsiteX9" fmla="*/ 197168 w 350043"/>
                <a:gd name="connsiteY9" fmla="*/ 28194 h 235648"/>
                <a:gd name="connsiteX10" fmla="*/ 214789 w 350043"/>
                <a:gd name="connsiteY10" fmla="*/ 13430 h 235648"/>
                <a:gd name="connsiteX11" fmla="*/ 236887 w 350043"/>
                <a:gd name="connsiteY11" fmla="*/ 3620 h 235648"/>
                <a:gd name="connsiteX12" fmla="*/ 264319 w 350043"/>
                <a:gd name="connsiteY12" fmla="*/ 0 h 235648"/>
                <a:gd name="connsiteX13" fmla="*/ 327279 w 350043"/>
                <a:gd name="connsiteY13" fmla="*/ 24765 h 235648"/>
                <a:gd name="connsiteX14" fmla="*/ 350044 w 350043"/>
                <a:gd name="connsiteY14" fmla="*/ 92773 h 235648"/>
                <a:gd name="connsiteX15" fmla="*/ 350044 w 350043"/>
                <a:gd name="connsiteY15" fmla="*/ 235648 h 235648"/>
                <a:gd name="connsiteX16" fmla="*/ 315659 w 350043"/>
                <a:gd name="connsiteY16" fmla="*/ 235648 h 235648"/>
                <a:gd name="connsiteX17" fmla="*/ 315659 w 350043"/>
                <a:gd name="connsiteY17" fmla="*/ 101155 h 235648"/>
                <a:gd name="connsiteX18" fmla="*/ 299847 w 350043"/>
                <a:gd name="connsiteY18" fmla="*/ 49721 h 235648"/>
                <a:gd name="connsiteX19" fmla="*/ 255937 w 350043"/>
                <a:gd name="connsiteY19" fmla="*/ 31718 h 235648"/>
                <a:gd name="connsiteX20" fmla="*/ 231362 w 350043"/>
                <a:gd name="connsiteY20" fmla="*/ 36386 h 235648"/>
                <a:gd name="connsiteX21" fmla="*/ 211074 w 350043"/>
                <a:gd name="connsiteY21" fmla="*/ 50197 h 235648"/>
                <a:gd name="connsiteX22" fmla="*/ 197263 w 350043"/>
                <a:gd name="connsiteY22" fmla="*/ 72676 h 235648"/>
                <a:gd name="connsiteX23" fmla="*/ 192119 w 350043"/>
                <a:gd name="connsiteY23" fmla="*/ 102965 h 235648"/>
                <a:gd name="connsiteX24" fmla="*/ 192119 w 350043"/>
                <a:gd name="connsiteY24" fmla="*/ 235648 h 235648"/>
                <a:gd name="connsiteX25" fmla="*/ 158210 w 350043"/>
                <a:gd name="connsiteY25" fmla="*/ 235648 h 235648"/>
                <a:gd name="connsiteX26" fmla="*/ 158210 w 350043"/>
                <a:gd name="connsiteY26" fmla="*/ 100298 h 235648"/>
                <a:gd name="connsiteX27" fmla="*/ 142399 w 350043"/>
                <a:gd name="connsiteY27" fmla="*/ 49721 h 235648"/>
                <a:gd name="connsiteX28" fmla="*/ 98870 w 350043"/>
                <a:gd name="connsiteY28" fmla="*/ 31718 h 235648"/>
                <a:gd name="connsiteX29" fmla="*/ 73438 w 350043"/>
                <a:gd name="connsiteY29" fmla="*/ 37052 h 235648"/>
                <a:gd name="connsiteX30" fmla="*/ 53150 w 350043"/>
                <a:gd name="connsiteY30" fmla="*/ 52197 h 235648"/>
                <a:gd name="connsiteX31" fmla="*/ 39529 w 350043"/>
                <a:gd name="connsiteY31" fmla="*/ 75152 h 235648"/>
                <a:gd name="connsiteX32" fmla="*/ 34576 w 350043"/>
                <a:gd name="connsiteY32" fmla="*/ 104299 h 235648"/>
                <a:gd name="connsiteX33" fmla="*/ 34576 w 350043"/>
                <a:gd name="connsiteY33" fmla="*/ 235648 h 235648"/>
                <a:gd name="connsiteX34" fmla="*/ 190 w 350043"/>
                <a:gd name="connsiteY34" fmla="*/ 235648 h 235648"/>
                <a:gd name="connsiteX35" fmla="*/ 190 w 350043"/>
                <a:gd name="connsiteY35" fmla="*/ 485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0043" h="235648">
                  <a:moveTo>
                    <a:pt x="0" y="5144"/>
                  </a:moveTo>
                  <a:lnTo>
                    <a:pt x="34385" y="5144"/>
                  </a:lnTo>
                  <a:lnTo>
                    <a:pt x="34385" y="44005"/>
                  </a:lnTo>
                  <a:cubicBezTo>
                    <a:pt x="38290" y="38386"/>
                    <a:pt x="42481" y="32861"/>
                    <a:pt x="47149" y="27432"/>
                  </a:cubicBezTo>
                  <a:cubicBezTo>
                    <a:pt x="51721" y="22098"/>
                    <a:pt x="57055" y="17431"/>
                    <a:pt x="62960" y="13335"/>
                  </a:cubicBezTo>
                  <a:cubicBezTo>
                    <a:pt x="68866" y="9335"/>
                    <a:pt x="75629" y="6096"/>
                    <a:pt x="83058" y="3715"/>
                  </a:cubicBezTo>
                  <a:cubicBezTo>
                    <a:pt x="90488" y="1334"/>
                    <a:pt x="99155" y="95"/>
                    <a:pt x="108966" y="95"/>
                  </a:cubicBezTo>
                  <a:cubicBezTo>
                    <a:pt x="127730" y="95"/>
                    <a:pt x="143161" y="4477"/>
                    <a:pt x="155448" y="13240"/>
                  </a:cubicBezTo>
                  <a:cubicBezTo>
                    <a:pt x="167640" y="22003"/>
                    <a:pt x="176879" y="32956"/>
                    <a:pt x="183166" y="46006"/>
                  </a:cubicBezTo>
                  <a:cubicBezTo>
                    <a:pt x="187357" y="39719"/>
                    <a:pt x="192024" y="33814"/>
                    <a:pt x="197168" y="28194"/>
                  </a:cubicBezTo>
                  <a:cubicBezTo>
                    <a:pt x="202406" y="22574"/>
                    <a:pt x="208217" y="17621"/>
                    <a:pt x="214789" y="13430"/>
                  </a:cubicBezTo>
                  <a:cubicBezTo>
                    <a:pt x="221361" y="9239"/>
                    <a:pt x="228695" y="6001"/>
                    <a:pt x="236887" y="3620"/>
                  </a:cubicBezTo>
                  <a:cubicBezTo>
                    <a:pt x="245078" y="1238"/>
                    <a:pt x="254222" y="0"/>
                    <a:pt x="264319" y="0"/>
                  </a:cubicBezTo>
                  <a:cubicBezTo>
                    <a:pt x="291084" y="0"/>
                    <a:pt x="312039" y="8287"/>
                    <a:pt x="327279" y="24765"/>
                  </a:cubicBezTo>
                  <a:cubicBezTo>
                    <a:pt x="342519" y="41243"/>
                    <a:pt x="350044" y="63913"/>
                    <a:pt x="350044" y="92773"/>
                  </a:cubicBezTo>
                  <a:lnTo>
                    <a:pt x="350044" y="235648"/>
                  </a:lnTo>
                  <a:lnTo>
                    <a:pt x="315659" y="235648"/>
                  </a:lnTo>
                  <a:lnTo>
                    <a:pt x="315659" y="101155"/>
                  </a:lnTo>
                  <a:cubicBezTo>
                    <a:pt x="315659" y="78867"/>
                    <a:pt x="310420" y="61722"/>
                    <a:pt x="299847" y="49721"/>
                  </a:cubicBezTo>
                  <a:cubicBezTo>
                    <a:pt x="289274" y="37719"/>
                    <a:pt x="274606" y="31718"/>
                    <a:pt x="255937" y="31718"/>
                  </a:cubicBezTo>
                  <a:cubicBezTo>
                    <a:pt x="247269" y="31718"/>
                    <a:pt x="239078" y="33242"/>
                    <a:pt x="231362" y="36386"/>
                  </a:cubicBezTo>
                  <a:cubicBezTo>
                    <a:pt x="223647" y="39529"/>
                    <a:pt x="216884" y="44101"/>
                    <a:pt x="211074" y="50197"/>
                  </a:cubicBezTo>
                  <a:cubicBezTo>
                    <a:pt x="205264" y="56293"/>
                    <a:pt x="200692" y="63818"/>
                    <a:pt x="197263" y="72676"/>
                  </a:cubicBezTo>
                  <a:cubicBezTo>
                    <a:pt x="193834" y="81629"/>
                    <a:pt x="192119" y="91726"/>
                    <a:pt x="192119" y="102965"/>
                  </a:cubicBezTo>
                  <a:lnTo>
                    <a:pt x="192119" y="235648"/>
                  </a:lnTo>
                  <a:lnTo>
                    <a:pt x="158210" y="235648"/>
                  </a:lnTo>
                  <a:lnTo>
                    <a:pt x="158210" y="100298"/>
                  </a:lnTo>
                  <a:cubicBezTo>
                    <a:pt x="158210" y="78677"/>
                    <a:pt x="152971" y="61817"/>
                    <a:pt x="142399" y="49721"/>
                  </a:cubicBezTo>
                  <a:cubicBezTo>
                    <a:pt x="131826" y="37719"/>
                    <a:pt x="117348" y="31718"/>
                    <a:pt x="98870" y="31718"/>
                  </a:cubicBezTo>
                  <a:cubicBezTo>
                    <a:pt x="89630" y="31718"/>
                    <a:pt x="81153" y="33528"/>
                    <a:pt x="73438" y="37052"/>
                  </a:cubicBezTo>
                  <a:cubicBezTo>
                    <a:pt x="65722" y="40672"/>
                    <a:pt x="58960" y="45720"/>
                    <a:pt x="53150" y="52197"/>
                  </a:cubicBezTo>
                  <a:cubicBezTo>
                    <a:pt x="47339" y="58769"/>
                    <a:pt x="42767" y="66389"/>
                    <a:pt x="39529" y="75152"/>
                  </a:cubicBezTo>
                  <a:cubicBezTo>
                    <a:pt x="36290" y="83915"/>
                    <a:pt x="34576" y="93631"/>
                    <a:pt x="34576" y="104299"/>
                  </a:cubicBezTo>
                  <a:lnTo>
                    <a:pt x="34576" y="235648"/>
                  </a:lnTo>
                  <a:lnTo>
                    <a:pt x="190" y="235648"/>
                  </a:lnTo>
                  <a:lnTo>
                    <a:pt x="190" y="4858"/>
                  </a:lnTo>
                  <a:close/>
                </a:path>
              </a:pathLst>
            </a:custGeom>
            <a:solidFill>
              <a:srgbClr val="44505E"/>
            </a:solidFill>
            <a:ln w="9525" cap="flat">
              <a:noFill/>
              <a:prstDash val="solid"/>
              <a:miter/>
            </a:ln>
          </p:spPr>
          <p:txBody>
            <a:bodyPr rtlCol="0" anchor="ctr"/>
            <a:lstStyle/>
            <a:p>
              <a:endParaRPr lang="pt-BR" noProof="0"/>
            </a:p>
          </p:txBody>
        </p:sp>
        <p:sp>
          <p:nvSpPr>
            <p:cNvPr id="50" name="Freeform: Shape 49">
              <a:extLst>
                <a:ext uri="{FF2B5EF4-FFF2-40B4-BE49-F238E27FC236}">
                  <a16:creationId xmlns:a16="http://schemas.microsoft.com/office/drawing/2014/main" id="{C4220802-8A07-CBF3-0849-ADC3A4016CE0}"/>
                </a:ext>
              </a:extLst>
            </p:cNvPr>
            <p:cNvSpPr/>
            <p:nvPr/>
          </p:nvSpPr>
          <p:spPr>
            <a:xfrm>
              <a:off x="6415537" y="925273"/>
              <a:ext cx="58016" cy="58448"/>
            </a:xfrm>
            <a:custGeom>
              <a:avLst/>
              <a:gdLst>
                <a:gd name="connsiteX0" fmla="*/ 95 w 230790"/>
                <a:gd name="connsiteY0" fmla="*/ 0 h 232505"/>
                <a:gd name="connsiteX1" fmla="*/ 38005 w 230790"/>
                <a:gd name="connsiteY1" fmla="*/ 0 h 232505"/>
                <a:gd name="connsiteX2" fmla="*/ 115633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3"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51" name="Freeform: Shape 50">
              <a:extLst>
                <a:ext uri="{FF2B5EF4-FFF2-40B4-BE49-F238E27FC236}">
                  <a16:creationId xmlns:a16="http://schemas.microsoft.com/office/drawing/2014/main" id="{AF0DBF7D-34A7-7E43-FF44-A5E69440C41C}"/>
                </a:ext>
              </a:extLst>
            </p:cNvPr>
            <p:cNvSpPr/>
            <p:nvPr/>
          </p:nvSpPr>
          <p:spPr>
            <a:xfrm>
              <a:off x="6487369"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286 w 39242"/>
                <a:gd name="connsiteY5" fmla="*/ 88392 h 319182"/>
                <a:gd name="connsiteX6" fmla="*/ 36671 w 39242"/>
                <a:gd name="connsiteY6" fmla="*/ 88392 h 319182"/>
                <a:gd name="connsiteX7" fmla="*/ 36671 w 39242"/>
                <a:gd name="connsiteY7" fmla="*/ 319183 h 319182"/>
                <a:gd name="connsiteX8" fmla="*/ 2286 w 39242"/>
                <a:gd name="connsiteY8" fmla="*/ 319183 h 319182"/>
                <a:gd name="connsiteX9" fmla="*/ 2286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286" y="88392"/>
                  </a:moveTo>
                  <a:lnTo>
                    <a:pt x="36671" y="88392"/>
                  </a:lnTo>
                  <a:lnTo>
                    <a:pt x="36671" y="319183"/>
                  </a:lnTo>
                  <a:lnTo>
                    <a:pt x="2286" y="319183"/>
                  </a:lnTo>
                  <a:lnTo>
                    <a:pt x="2286" y="88392"/>
                  </a:lnTo>
                  <a:close/>
                </a:path>
              </a:pathLst>
            </a:custGeom>
            <a:solidFill>
              <a:srgbClr val="44505E"/>
            </a:solidFill>
            <a:ln w="9525" cap="flat">
              <a:noFill/>
              <a:prstDash val="solid"/>
              <a:miter/>
            </a:ln>
          </p:spPr>
          <p:txBody>
            <a:bodyPr rtlCol="0" anchor="ctr"/>
            <a:lstStyle/>
            <a:p>
              <a:endParaRPr lang="pt-BR" noProof="0"/>
            </a:p>
          </p:txBody>
        </p:sp>
        <p:sp>
          <p:nvSpPr>
            <p:cNvPr id="52" name="Freeform: Shape 51">
              <a:extLst>
                <a:ext uri="{FF2B5EF4-FFF2-40B4-BE49-F238E27FC236}">
                  <a16:creationId xmlns:a16="http://schemas.microsoft.com/office/drawing/2014/main" id="{08232C51-28D9-F6FD-2130-2988EDF37A9F}"/>
                </a:ext>
              </a:extLst>
            </p:cNvPr>
            <p:cNvSpPr/>
            <p:nvPr/>
          </p:nvSpPr>
          <p:spPr>
            <a:xfrm>
              <a:off x="6513253" y="901353"/>
              <a:ext cx="58615" cy="83182"/>
            </a:xfrm>
            <a:custGeom>
              <a:avLst/>
              <a:gdLst>
                <a:gd name="connsiteX0" fmla="*/ 110394 w 233171"/>
                <a:gd name="connsiteY0" fmla="*/ 330898 h 330898"/>
                <a:gd name="connsiteX1" fmla="*/ 69723 w 233171"/>
                <a:gd name="connsiteY1" fmla="*/ 322897 h 330898"/>
                <a:gd name="connsiteX2" fmla="*/ 34480 w 233171"/>
                <a:gd name="connsiteY2" fmla="*/ 299466 h 330898"/>
                <a:gd name="connsiteX3" fmla="*/ 9430 w 233171"/>
                <a:gd name="connsiteY3" fmla="*/ 261938 h 330898"/>
                <a:gd name="connsiteX4" fmla="*/ 0 w 233171"/>
                <a:gd name="connsiteY4" fmla="*/ 211264 h 330898"/>
                <a:gd name="connsiteX5" fmla="*/ 0 w 233171"/>
                <a:gd name="connsiteY5" fmla="*/ 210407 h 330898"/>
                <a:gd name="connsiteX6" fmla="*/ 9430 w 233171"/>
                <a:gd name="connsiteY6" fmla="*/ 159925 h 330898"/>
                <a:gd name="connsiteX7" fmla="*/ 34480 w 233171"/>
                <a:gd name="connsiteY7" fmla="*/ 122206 h 330898"/>
                <a:gd name="connsiteX8" fmla="*/ 69723 w 233171"/>
                <a:gd name="connsiteY8" fmla="*/ 98488 h 330898"/>
                <a:gd name="connsiteX9" fmla="*/ 110394 w 233171"/>
                <a:gd name="connsiteY9" fmla="*/ 90202 h 330898"/>
                <a:gd name="connsiteX10" fmla="*/ 139827 w 233171"/>
                <a:gd name="connsiteY10" fmla="*/ 94202 h 330898"/>
                <a:gd name="connsiteX11" fmla="*/ 163925 w 233171"/>
                <a:gd name="connsiteY11" fmla="*/ 104870 h 330898"/>
                <a:gd name="connsiteX12" fmla="*/ 183356 w 233171"/>
                <a:gd name="connsiteY12" fmla="*/ 120491 h 330898"/>
                <a:gd name="connsiteX13" fmla="*/ 198787 w 233171"/>
                <a:gd name="connsiteY13" fmla="*/ 139255 h 330898"/>
                <a:gd name="connsiteX14" fmla="*/ 198787 w 233171"/>
                <a:gd name="connsiteY14" fmla="*/ 0 h 330898"/>
                <a:gd name="connsiteX15" fmla="*/ 233172 w 233171"/>
                <a:gd name="connsiteY15" fmla="*/ 0 h 330898"/>
                <a:gd name="connsiteX16" fmla="*/ 233172 w 233171"/>
                <a:gd name="connsiteY16" fmla="*/ 325850 h 330898"/>
                <a:gd name="connsiteX17" fmla="*/ 198787 w 233171"/>
                <a:gd name="connsiteY17" fmla="*/ 325850 h 330898"/>
                <a:gd name="connsiteX18" fmla="*/ 198787 w 233171"/>
                <a:gd name="connsiteY18" fmla="*/ 279463 h 330898"/>
                <a:gd name="connsiteX19" fmla="*/ 182975 w 233171"/>
                <a:gd name="connsiteY19" fmla="*/ 299085 h 330898"/>
                <a:gd name="connsiteX20" fmla="*/ 163544 w 233171"/>
                <a:gd name="connsiteY20" fmla="*/ 315658 h 330898"/>
                <a:gd name="connsiteX21" fmla="*/ 139636 w 233171"/>
                <a:gd name="connsiteY21" fmla="*/ 326803 h 330898"/>
                <a:gd name="connsiteX22" fmla="*/ 110394 w 233171"/>
                <a:gd name="connsiteY22" fmla="*/ 330803 h 330898"/>
                <a:gd name="connsiteX23" fmla="*/ 116681 w 233171"/>
                <a:gd name="connsiteY23" fmla="*/ 300133 h 330898"/>
                <a:gd name="connsiteX24" fmla="*/ 147733 w 233171"/>
                <a:gd name="connsiteY24" fmla="*/ 293656 h 330898"/>
                <a:gd name="connsiteX25" fmla="*/ 174498 w 233171"/>
                <a:gd name="connsiteY25" fmla="*/ 275368 h 330898"/>
                <a:gd name="connsiteX26" fmla="*/ 193262 w 233171"/>
                <a:gd name="connsiteY26" fmla="*/ 247269 h 330898"/>
                <a:gd name="connsiteX27" fmla="*/ 200216 w 233171"/>
                <a:gd name="connsiteY27" fmla="*/ 210883 h 330898"/>
                <a:gd name="connsiteX28" fmla="*/ 200216 w 233171"/>
                <a:gd name="connsiteY28" fmla="*/ 210026 h 330898"/>
                <a:gd name="connsiteX29" fmla="*/ 193262 w 233171"/>
                <a:gd name="connsiteY29" fmla="*/ 173641 h 330898"/>
                <a:gd name="connsiteX30" fmla="*/ 174498 w 233171"/>
                <a:gd name="connsiteY30" fmla="*/ 145732 h 330898"/>
                <a:gd name="connsiteX31" fmla="*/ 147733 w 233171"/>
                <a:gd name="connsiteY31" fmla="*/ 127635 h 330898"/>
                <a:gd name="connsiteX32" fmla="*/ 116681 w 233171"/>
                <a:gd name="connsiteY32" fmla="*/ 121158 h 330898"/>
                <a:gd name="connsiteX33" fmla="*/ 84963 w 233171"/>
                <a:gd name="connsiteY33" fmla="*/ 127159 h 330898"/>
                <a:gd name="connsiteX34" fmla="*/ 59341 w 233171"/>
                <a:gd name="connsiteY34" fmla="*/ 144589 h 330898"/>
                <a:gd name="connsiteX35" fmla="*/ 41910 w 233171"/>
                <a:gd name="connsiteY35" fmla="*/ 172498 h 330898"/>
                <a:gd name="connsiteX36" fmla="*/ 35433 w 233171"/>
                <a:gd name="connsiteY36" fmla="*/ 210026 h 330898"/>
                <a:gd name="connsiteX37" fmla="*/ 35433 w 233171"/>
                <a:gd name="connsiteY37" fmla="*/ 210883 h 330898"/>
                <a:gd name="connsiteX38" fmla="*/ 41910 w 233171"/>
                <a:gd name="connsiteY38" fmla="*/ 247936 h 330898"/>
                <a:gd name="connsiteX39" fmla="*/ 59531 w 233171"/>
                <a:gd name="connsiteY39" fmla="*/ 276034 h 330898"/>
                <a:gd name="connsiteX40" fmla="*/ 85439 w 233171"/>
                <a:gd name="connsiteY40" fmla="*/ 293941 h 330898"/>
                <a:gd name="connsiteX41" fmla="*/ 116681 w 23317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3171" h="330898">
                  <a:moveTo>
                    <a:pt x="110394" y="330898"/>
                  </a:moveTo>
                  <a:cubicBezTo>
                    <a:pt x="96393" y="330898"/>
                    <a:pt x="82868" y="328231"/>
                    <a:pt x="69723" y="322897"/>
                  </a:cubicBezTo>
                  <a:cubicBezTo>
                    <a:pt x="56674" y="317563"/>
                    <a:pt x="44863" y="309753"/>
                    <a:pt x="34480" y="299466"/>
                  </a:cubicBezTo>
                  <a:cubicBezTo>
                    <a:pt x="24003" y="289179"/>
                    <a:pt x="15716" y="276701"/>
                    <a:pt x="9430" y="261938"/>
                  </a:cubicBezTo>
                  <a:cubicBezTo>
                    <a:pt x="3143" y="247174"/>
                    <a:pt x="0" y="230314"/>
                    <a:pt x="0" y="211264"/>
                  </a:cubicBezTo>
                  <a:lnTo>
                    <a:pt x="0" y="210407"/>
                  </a:lnTo>
                  <a:cubicBezTo>
                    <a:pt x="0" y="191643"/>
                    <a:pt x="3143" y="174879"/>
                    <a:pt x="9430" y="159925"/>
                  </a:cubicBezTo>
                  <a:cubicBezTo>
                    <a:pt x="15716" y="145066"/>
                    <a:pt x="24003" y="132493"/>
                    <a:pt x="34480" y="122206"/>
                  </a:cubicBezTo>
                  <a:cubicBezTo>
                    <a:pt x="44863" y="111919"/>
                    <a:pt x="56674" y="104013"/>
                    <a:pt x="69723" y="98488"/>
                  </a:cubicBezTo>
                  <a:cubicBezTo>
                    <a:pt x="82868" y="92964"/>
                    <a:pt x="96393" y="90202"/>
                    <a:pt x="110394" y="90202"/>
                  </a:cubicBezTo>
                  <a:cubicBezTo>
                    <a:pt x="121158" y="90202"/>
                    <a:pt x="130969" y="91535"/>
                    <a:pt x="139827" y="94202"/>
                  </a:cubicBezTo>
                  <a:cubicBezTo>
                    <a:pt x="148780" y="96869"/>
                    <a:pt x="156782" y="100489"/>
                    <a:pt x="163925" y="104870"/>
                  </a:cubicBezTo>
                  <a:cubicBezTo>
                    <a:pt x="171069" y="109347"/>
                    <a:pt x="177546" y="114586"/>
                    <a:pt x="183356" y="120491"/>
                  </a:cubicBezTo>
                  <a:cubicBezTo>
                    <a:pt x="189166" y="126492"/>
                    <a:pt x="194310" y="132683"/>
                    <a:pt x="198787" y="139255"/>
                  </a:cubicBezTo>
                  <a:lnTo>
                    <a:pt x="198787" y="0"/>
                  </a:lnTo>
                  <a:lnTo>
                    <a:pt x="233172" y="0"/>
                  </a:lnTo>
                  <a:lnTo>
                    <a:pt x="233172" y="325850"/>
                  </a:lnTo>
                  <a:lnTo>
                    <a:pt x="198787" y="325850"/>
                  </a:lnTo>
                  <a:lnTo>
                    <a:pt x="198787" y="279463"/>
                  </a:lnTo>
                  <a:cubicBezTo>
                    <a:pt x="194024" y="286321"/>
                    <a:pt x="188786" y="292894"/>
                    <a:pt x="182975" y="299085"/>
                  </a:cubicBezTo>
                  <a:cubicBezTo>
                    <a:pt x="177165" y="305371"/>
                    <a:pt x="170688" y="310896"/>
                    <a:pt x="163544" y="315658"/>
                  </a:cubicBezTo>
                  <a:cubicBezTo>
                    <a:pt x="156400" y="320421"/>
                    <a:pt x="148494" y="324136"/>
                    <a:pt x="139636" y="326803"/>
                  </a:cubicBezTo>
                  <a:cubicBezTo>
                    <a:pt x="130873" y="329470"/>
                    <a:pt x="121158" y="330803"/>
                    <a:pt x="110394" y="330803"/>
                  </a:cubicBezTo>
                  <a:close/>
                  <a:moveTo>
                    <a:pt x="116681" y="300133"/>
                  </a:moveTo>
                  <a:cubicBezTo>
                    <a:pt x="127445" y="300133"/>
                    <a:pt x="137732" y="297942"/>
                    <a:pt x="147733" y="293656"/>
                  </a:cubicBezTo>
                  <a:cubicBezTo>
                    <a:pt x="157734" y="289369"/>
                    <a:pt x="166592" y="283273"/>
                    <a:pt x="174498" y="275368"/>
                  </a:cubicBezTo>
                  <a:cubicBezTo>
                    <a:pt x="182404" y="267462"/>
                    <a:pt x="188595" y="258127"/>
                    <a:pt x="193262" y="247269"/>
                  </a:cubicBezTo>
                  <a:cubicBezTo>
                    <a:pt x="197834" y="236410"/>
                    <a:pt x="200216" y="224314"/>
                    <a:pt x="200216" y="210883"/>
                  </a:cubicBezTo>
                  <a:lnTo>
                    <a:pt x="200216" y="210026"/>
                  </a:lnTo>
                  <a:cubicBezTo>
                    <a:pt x="200216" y="196596"/>
                    <a:pt x="197929" y="184499"/>
                    <a:pt x="193262" y="173641"/>
                  </a:cubicBezTo>
                  <a:cubicBezTo>
                    <a:pt x="188595" y="162782"/>
                    <a:pt x="182404" y="153448"/>
                    <a:pt x="174498" y="145732"/>
                  </a:cubicBezTo>
                  <a:cubicBezTo>
                    <a:pt x="166592" y="138017"/>
                    <a:pt x="157639" y="132016"/>
                    <a:pt x="147733" y="127635"/>
                  </a:cubicBezTo>
                  <a:cubicBezTo>
                    <a:pt x="137732" y="123349"/>
                    <a:pt x="127445" y="121158"/>
                    <a:pt x="116681" y="121158"/>
                  </a:cubicBezTo>
                  <a:cubicBezTo>
                    <a:pt x="105346" y="121158"/>
                    <a:pt x="94774" y="123158"/>
                    <a:pt x="84963" y="127159"/>
                  </a:cubicBezTo>
                  <a:cubicBezTo>
                    <a:pt x="75152" y="131159"/>
                    <a:pt x="66580" y="136969"/>
                    <a:pt x="59341" y="144589"/>
                  </a:cubicBezTo>
                  <a:cubicBezTo>
                    <a:pt x="52007" y="152114"/>
                    <a:pt x="46291" y="161449"/>
                    <a:pt x="41910" y="172498"/>
                  </a:cubicBezTo>
                  <a:cubicBezTo>
                    <a:pt x="37624" y="183451"/>
                    <a:pt x="35433" y="196024"/>
                    <a:pt x="35433" y="210026"/>
                  </a:cubicBezTo>
                  <a:lnTo>
                    <a:pt x="35433" y="210883"/>
                  </a:lnTo>
                  <a:cubicBezTo>
                    <a:pt x="35433" y="224599"/>
                    <a:pt x="37624" y="236982"/>
                    <a:pt x="41910" y="247936"/>
                  </a:cubicBezTo>
                  <a:cubicBezTo>
                    <a:pt x="46196" y="258984"/>
                    <a:pt x="52101" y="268319"/>
                    <a:pt x="59531" y="276034"/>
                  </a:cubicBezTo>
                  <a:cubicBezTo>
                    <a:pt x="66960" y="283750"/>
                    <a:pt x="75629" y="289750"/>
                    <a:pt x="85439" y="293941"/>
                  </a:cubicBezTo>
                  <a:cubicBezTo>
                    <a:pt x="95250" y="298132"/>
                    <a:pt x="105632" y="300228"/>
                    <a:pt x="116681" y="300228"/>
                  </a:cubicBezTo>
                  <a:close/>
                </a:path>
              </a:pathLst>
            </a:custGeom>
            <a:solidFill>
              <a:srgbClr val="44505E"/>
            </a:solidFill>
            <a:ln w="9525" cap="flat">
              <a:noFill/>
              <a:prstDash val="solid"/>
              <a:miter/>
            </a:ln>
          </p:spPr>
          <p:txBody>
            <a:bodyPr rtlCol="0" anchor="ctr"/>
            <a:lstStyle/>
            <a:p>
              <a:endParaRPr lang="pt-BR" noProof="0"/>
            </a:p>
          </p:txBody>
        </p:sp>
        <p:sp>
          <p:nvSpPr>
            <p:cNvPr id="53" name="Freeform: Shape 52">
              <a:extLst>
                <a:ext uri="{FF2B5EF4-FFF2-40B4-BE49-F238E27FC236}">
                  <a16:creationId xmlns:a16="http://schemas.microsoft.com/office/drawing/2014/main" id="{FF6C99DC-678B-4992-CB99-E559838619E3}"/>
                </a:ext>
              </a:extLst>
            </p:cNvPr>
            <p:cNvSpPr/>
            <p:nvPr/>
          </p:nvSpPr>
          <p:spPr>
            <a:xfrm>
              <a:off x="6586762"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0 w 202977"/>
                <a:gd name="connsiteY16" fmla="*/ 48196 h 239267"/>
                <a:gd name="connsiteX17" fmla="*/ 20383 w 202977"/>
                <a:gd name="connsiteY17" fmla="*/ 19907 h 239267"/>
                <a:gd name="connsiteX18" fmla="*/ 59245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0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1"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675" y="92678"/>
                    <a:pt x="84011" y="90964"/>
                    <a:pt x="98584" y="90964"/>
                  </a:cubicBezTo>
                  <a:cubicBezTo>
                    <a:pt x="113157" y="90964"/>
                    <a:pt x="126302"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0" y="33147"/>
                    <a:pt x="63436" y="36100"/>
                  </a:cubicBezTo>
                  <a:cubicBezTo>
                    <a:pt x="52292" y="39053"/>
                    <a:pt x="41338" y="43053"/>
                    <a:pt x="30670" y="48196"/>
                  </a:cubicBezTo>
                  <a:lnTo>
                    <a:pt x="20383" y="19907"/>
                  </a:lnTo>
                  <a:cubicBezTo>
                    <a:pt x="33147" y="13906"/>
                    <a:pt x="46101" y="9049"/>
                    <a:pt x="59245" y="5429"/>
                  </a:cubicBezTo>
                  <a:cubicBezTo>
                    <a:pt x="72294" y="1810"/>
                    <a:pt x="87344" y="0"/>
                    <a:pt x="104299" y="0"/>
                  </a:cubicBezTo>
                  <a:cubicBezTo>
                    <a:pt x="137064" y="0"/>
                    <a:pt x="161925" y="8477"/>
                    <a:pt x="178879" y="25432"/>
                  </a:cubicBezTo>
                  <a:cubicBezTo>
                    <a:pt x="194976"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0" y="239173"/>
                  </a:cubicBezTo>
                  <a:close/>
                  <a:moveTo>
                    <a:pt x="93154" y="211169"/>
                  </a:moveTo>
                  <a:cubicBezTo>
                    <a:pt x="103822" y="211169"/>
                    <a:pt x="113729" y="209740"/>
                    <a:pt x="122967" y="206788"/>
                  </a:cubicBezTo>
                  <a:cubicBezTo>
                    <a:pt x="132207"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4" y="119348"/>
                    <a:pt x="116871"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54" name="Freeform: Shape 53">
              <a:extLst>
                <a:ext uri="{FF2B5EF4-FFF2-40B4-BE49-F238E27FC236}">
                  <a16:creationId xmlns:a16="http://schemas.microsoft.com/office/drawing/2014/main" id="{B5006989-C64F-A040-2328-D1233857976C}"/>
                </a:ext>
              </a:extLst>
            </p:cNvPr>
            <p:cNvSpPr/>
            <p:nvPr/>
          </p:nvSpPr>
          <p:spPr>
            <a:xfrm>
              <a:off x="6651291" y="924268"/>
              <a:ext cx="44680" cy="60195"/>
            </a:xfrm>
            <a:custGeom>
              <a:avLst/>
              <a:gdLst>
                <a:gd name="connsiteX0" fmla="*/ 95535 w 177736"/>
                <a:gd name="connsiteY0" fmla="*/ 239268 h 239458"/>
                <a:gd name="connsiteX1" fmla="*/ 45053 w 177736"/>
                <a:gd name="connsiteY1" fmla="*/ 230124 h 239458"/>
                <a:gd name="connsiteX2" fmla="*/ 0 w 177736"/>
                <a:gd name="connsiteY2" fmla="*/ 205359 h 239458"/>
                <a:gd name="connsiteX3" fmla="*/ 17430 w 177736"/>
                <a:gd name="connsiteY3" fmla="*/ 180785 h 239458"/>
                <a:gd name="connsiteX4" fmla="*/ 56483 w 177736"/>
                <a:gd name="connsiteY4" fmla="*/ 202692 h 239458"/>
                <a:gd name="connsiteX5" fmla="*/ 97345 w 177736"/>
                <a:gd name="connsiteY5" fmla="*/ 210217 h 239458"/>
                <a:gd name="connsiteX6" fmla="*/ 131730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825 w 177736"/>
                <a:gd name="connsiteY10" fmla="*/ 147066 h 239458"/>
                <a:gd name="connsiteX11" fmla="*/ 109251 w 177736"/>
                <a:gd name="connsiteY11" fmla="*/ 138779 h 239458"/>
                <a:gd name="connsiteX12" fmla="*/ 87630 w 177736"/>
                <a:gd name="connsiteY12" fmla="*/ 132112 h 239458"/>
                <a:gd name="connsiteX13" fmla="*/ 60579 w 177736"/>
                <a:gd name="connsiteY13" fmla="*/ 123444 h 239458"/>
                <a:gd name="connsiteX14" fmla="*/ 36004 w 177736"/>
                <a:gd name="connsiteY14" fmla="*/ 111633 h 239458"/>
                <a:gd name="connsiteX15" fmla="*/ 18192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59 w 177736"/>
                <a:gd name="connsiteY22" fmla="*/ 6953 h 239458"/>
                <a:gd name="connsiteX23" fmla="*/ 172878 w 177736"/>
                <a:gd name="connsiteY23" fmla="*/ 25527 h 239458"/>
                <a:gd name="connsiteX24" fmla="*/ 157257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3 w 177736"/>
                <a:gd name="connsiteY32" fmla="*/ 96203 h 239458"/>
                <a:gd name="connsiteX33" fmla="*/ 103631 w 177736"/>
                <a:gd name="connsiteY33" fmla="*/ 103346 h 239458"/>
                <a:gd name="connsiteX34" fmla="*/ 130207 w 177736"/>
                <a:gd name="connsiteY34" fmla="*/ 112300 h 239458"/>
                <a:gd name="connsiteX35" fmla="*/ 154114 w 177736"/>
                <a:gd name="connsiteY35" fmla="*/ 124778 h 239458"/>
                <a:gd name="connsiteX36" fmla="*/ 171259 w 177736"/>
                <a:gd name="connsiteY36" fmla="*/ 143066 h 239458"/>
                <a:gd name="connsiteX37" fmla="*/ 177736 w 177736"/>
                <a:gd name="connsiteY37" fmla="*/ 169450 h 239458"/>
                <a:gd name="connsiteX38" fmla="*/ 177736 w 177736"/>
                <a:gd name="connsiteY38" fmla="*/ 170307 h 239458"/>
                <a:gd name="connsiteX39" fmla="*/ 171259 w 177736"/>
                <a:gd name="connsiteY39" fmla="*/ 199549 h 239458"/>
                <a:gd name="connsiteX40" fmla="*/ 153828 w 177736"/>
                <a:gd name="connsiteY40" fmla="*/ 221171 h 239458"/>
                <a:gd name="connsiteX41" fmla="*/ 127921 w 177736"/>
                <a:gd name="connsiteY41" fmla="*/ 234791 h 239458"/>
                <a:gd name="connsiteX42" fmla="*/ 95535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5" y="239268"/>
                  </a:moveTo>
                  <a:cubicBezTo>
                    <a:pt x="78867" y="239268"/>
                    <a:pt x="62007" y="236220"/>
                    <a:pt x="45053" y="230124"/>
                  </a:cubicBezTo>
                  <a:cubicBezTo>
                    <a:pt x="28098" y="224028"/>
                    <a:pt x="13049" y="215741"/>
                    <a:pt x="0" y="205359"/>
                  </a:cubicBezTo>
                  <a:lnTo>
                    <a:pt x="17430" y="180785"/>
                  </a:lnTo>
                  <a:cubicBezTo>
                    <a:pt x="29908" y="190310"/>
                    <a:pt x="42957" y="197644"/>
                    <a:pt x="56483" y="202692"/>
                  </a:cubicBezTo>
                  <a:cubicBezTo>
                    <a:pt x="70009" y="207740"/>
                    <a:pt x="83629" y="210217"/>
                    <a:pt x="97345" y="210217"/>
                  </a:cubicBezTo>
                  <a:cubicBezTo>
                    <a:pt x="111061" y="210217"/>
                    <a:pt x="122777" y="206978"/>
                    <a:pt x="131730" y="200406"/>
                  </a:cubicBezTo>
                  <a:cubicBezTo>
                    <a:pt x="140684" y="193834"/>
                    <a:pt x="145161" y="184976"/>
                    <a:pt x="145161" y="173641"/>
                  </a:cubicBezTo>
                  <a:lnTo>
                    <a:pt x="145161" y="172784"/>
                  </a:lnTo>
                  <a:cubicBezTo>
                    <a:pt x="145161" y="167164"/>
                    <a:pt x="143541" y="162211"/>
                    <a:pt x="140494" y="158020"/>
                  </a:cubicBezTo>
                  <a:cubicBezTo>
                    <a:pt x="137350" y="153829"/>
                    <a:pt x="133159" y="150209"/>
                    <a:pt x="127825" y="147066"/>
                  </a:cubicBezTo>
                  <a:cubicBezTo>
                    <a:pt x="122491" y="143923"/>
                    <a:pt x="116300" y="141161"/>
                    <a:pt x="109251" y="138779"/>
                  </a:cubicBezTo>
                  <a:cubicBezTo>
                    <a:pt x="102298" y="136398"/>
                    <a:pt x="95059" y="134207"/>
                    <a:pt x="87630" y="132112"/>
                  </a:cubicBezTo>
                  <a:cubicBezTo>
                    <a:pt x="78676" y="129445"/>
                    <a:pt x="69722" y="126492"/>
                    <a:pt x="60579" y="123444"/>
                  </a:cubicBezTo>
                  <a:cubicBezTo>
                    <a:pt x="51530" y="120301"/>
                    <a:pt x="43339" y="116396"/>
                    <a:pt x="36004" y="111633"/>
                  </a:cubicBezTo>
                  <a:cubicBezTo>
                    <a:pt x="28670" y="106871"/>
                    <a:pt x="22764" y="100870"/>
                    <a:pt x="18192" y="93726"/>
                  </a:cubicBezTo>
                  <a:cubicBezTo>
                    <a:pt x="13525" y="86582"/>
                    <a:pt x="11239" y="77629"/>
                    <a:pt x="11239" y="66961"/>
                  </a:cubicBezTo>
                  <a:lnTo>
                    <a:pt x="11239" y="66008"/>
                  </a:lnTo>
                  <a:cubicBezTo>
                    <a:pt x="11239" y="56198"/>
                    <a:pt x="13144" y="47149"/>
                    <a:pt x="17050" y="39053"/>
                  </a:cubicBezTo>
                  <a:cubicBezTo>
                    <a:pt x="20955" y="30861"/>
                    <a:pt x="26384" y="23908"/>
                    <a:pt x="33338" y="18098"/>
                  </a:cubicBezTo>
                  <a:cubicBezTo>
                    <a:pt x="40291" y="12287"/>
                    <a:pt x="48673" y="7811"/>
                    <a:pt x="58388" y="4667"/>
                  </a:cubicBezTo>
                  <a:cubicBezTo>
                    <a:pt x="68008" y="1524"/>
                    <a:pt x="78581" y="0"/>
                    <a:pt x="89821" y="0"/>
                  </a:cubicBezTo>
                  <a:cubicBezTo>
                    <a:pt x="104108" y="0"/>
                    <a:pt x="118586" y="2286"/>
                    <a:pt x="133159" y="6953"/>
                  </a:cubicBezTo>
                  <a:cubicBezTo>
                    <a:pt x="147732" y="11621"/>
                    <a:pt x="160972" y="17717"/>
                    <a:pt x="172878" y="25527"/>
                  </a:cubicBezTo>
                  <a:lnTo>
                    <a:pt x="157257" y="51435"/>
                  </a:lnTo>
                  <a:cubicBezTo>
                    <a:pt x="146494" y="44577"/>
                    <a:pt x="135255" y="39148"/>
                    <a:pt x="123539" y="35147"/>
                  </a:cubicBezTo>
                  <a:cubicBezTo>
                    <a:pt x="111823" y="31147"/>
                    <a:pt x="100203" y="29146"/>
                    <a:pt x="88963" y="29146"/>
                  </a:cubicBezTo>
                  <a:cubicBezTo>
                    <a:pt x="75247" y="29146"/>
                    <a:pt x="64389" y="32385"/>
                    <a:pt x="56388" y="38767"/>
                  </a:cubicBezTo>
                  <a:cubicBezTo>
                    <a:pt x="48291" y="45149"/>
                    <a:pt x="44291" y="53150"/>
                    <a:pt x="44291" y="62675"/>
                  </a:cubicBezTo>
                  <a:lnTo>
                    <a:pt x="44291" y="63627"/>
                  </a:lnTo>
                  <a:cubicBezTo>
                    <a:pt x="44291" y="68961"/>
                    <a:pt x="45910" y="73628"/>
                    <a:pt x="49244" y="77724"/>
                  </a:cubicBezTo>
                  <a:cubicBezTo>
                    <a:pt x="52482" y="81725"/>
                    <a:pt x="56864" y="85249"/>
                    <a:pt x="62389" y="88202"/>
                  </a:cubicBezTo>
                  <a:cubicBezTo>
                    <a:pt x="67913" y="91154"/>
                    <a:pt x="74200" y="93821"/>
                    <a:pt x="81343" y="96203"/>
                  </a:cubicBezTo>
                  <a:cubicBezTo>
                    <a:pt x="88487" y="98584"/>
                    <a:pt x="95916" y="100965"/>
                    <a:pt x="103631" y="103346"/>
                  </a:cubicBezTo>
                  <a:cubicBezTo>
                    <a:pt x="112585" y="106013"/>
                    <a:pt x="121444" y="108966"/>
                    <a:pt x="130207" y="112300"/>
                  </a:cubicBezTo>
                  <a:cubicBezTo>
                    <a:pt x="138969" y="115538"/>
                    <a:pt x="146971" y="119729"/>
                    <a:pt x="154114" y="124778"/>
                  </a:cubicBezTo>
                  <a:cubicBezTo>
                    <a:pt x="161258" y="129826"/>
                    <a:pt x="166973" y="135922"/>
                    <a:pt x="171259" y="143066"/>
                  </a:cubicBezTo>
                  <a:cubicBezTo>
                    <a:pt x="175546" y="150209"/>
                    <a:pt x="177736" y="158972"/>
                    <a:pt x="177736" y="169450"/>
                  </a:cubicBezTo>
                  <a:lnTo>
                    <a:pt x="177736" y="170307"/>
                  </a:lnTo>
                  <a:cubicBezTo>
                    <a:pt x="177736" y="181356"/>
                    <a:pt x="175546" y="191071"/>
                    <a:pt x="171259" y="199549"/>
                  </a:cubicBezTo>
                  <a:cubicBezTo>
                    <a:pt x="166973" y="208026"/>
                    <a:pt x="161163" y="215265"/>
                    <a:pt x="153828" y="221171"/>
                  </a:cubicBezTo>
                  <a:cubicBezTo>
                    <a:pt x="146589" y="227171"/>
                    <a:pt x="137922" y="231648"/>
                    <a:pt x="127921" y="234791"/>
                  </a:cubicBezTo>
                  <a:cubicBezTo>
                    <a:pt x="117919" y="237935"/>
                    <a:pt x="107156" y="239459"/>
                    <a:pt x="95535" y="239459"/>
                  </a:cubicBezTo>
                  <a:close/>
                </a:path>
              </a:pathLst>
            </a:custGeom>
            <a:solidFill>
              <a:srgbClr val="44505E"/>
            </a:solidFill>
            <a:ln w="9525" cap="flat">
              <a:noFill/>
              <a:prstDash val="solid"/>
              <a:miter/>
            </a:ln>
          </p:spPr>
          <p:txBody>
            <a:bodyPr rtlCol="0" anchor="ctr"/>
            <a:lstStyle/>
            <a:p>
              <a:endParaRPr lang="pt-BR" noProof="0"/>
            </a:p>
          </p:txBody>
        </p:sp>
        <p:sp>
          <p:nvSpPr>
            <p:cNvPr id="55" name="Freeform: Shape 54">
              <a:extLst>
                <a:ext uri="{FF2B5EF4-FFF2-40B4-BE49-F238E27FC236}">
                  <a16:creationId xmlns:a16="http://schemas.microsoft.com/office/drawing/2014/main" id="{06E7AE6A-6474-D555-008E-C70023E38EF6}"/>
                </a:ext>
              </a:extLst>
            </p:cNvPr>
            <p:cNvSpPr/>
            <p:nvPr/>
          </p:nvSpPr>
          <p:spPr>
            <a:xfrm>
              <a:off x="5250320" y="846952"/>
              <a:ext cx="1459036" cy="16186"/>
            </a:xfrm>
            <a:custGeom>
              <a:avLst/>
              <a:gdLst>
                <a:gd name="connsiteX0" fmla="*/ 0 w 5804058"/>
                <a:gd name="connsiteY0" fmla="*/ 0 h 64388"/>
                <a:gd name="connsiteX1" fmla="*/ 5804059 w 5804058"/>
                <a:gd name="connsiteY1" fmla="*/ 0 h 64388"/>
                <a:gd name="connsiteX2" fmla="*/ 5804059 w 5804058"/>
                <a:gd name="connsiteY2" fmla="*/ 64389 h 64388"/>
                <a:gd name="connsiteX3" fmla="*/ 0 w 5804058"/>
                <a:gd name="connsiteY3" fmla="*/ 64389 h 64388"/>
              </a:gdLst>
              <a:ahLst/>
              <a:cxnLst>
                <a:cxn ang="0">
                  <a:pos x="connsiteX0" y="connsiteY0"/>
                </a:cxn>
                <a:cxn ang="0">
                  <a:pos x="connsiteX1" y="connsiteY1"/>
                </a:cxn>
                <a:cxn ang="0">
                  <a:pos x="connsiteX2" y="connsiteY2"/>
                </a:cxn>
                <a:cxn ang="0">
                  <a:pos x="connsiteX3" y="connsiteY3"/>
                </a:cxn>
              </a:cxnLst>
              <a:rect l="l" t="t" r="r" b="b"/>
              <a:pathLst>
                <a:path w="5804058" h="64388">
                  <a:moveTo>
                    <a:pt x="0" y="0"/>
                  </a:moveTo>
                  <a:lnTo>
                    <a:pt x="5804059" y="0"/>
                  </a:lnTo>
                  <a:lnTo>
                    <a:pt x="5804059" y="64389"/>
                  </a:lnTo>
                  <a:lnTo>
                    <a:pt x="0" y="64389"/>
                  </a:lnTo>
                  <a:close/>
                </a:path>
              </a:pathLst>
            </a:custGeom>
            <a:solidFill>
              <a:srgbClr val="44505E"/>
            </a:solidFill>
            <a:ln w="9525" cap="flat">
              <a:noFill/>
              <a:prstDash val="solid"/>
              <a:miter/>
            </a:ln>
          </p:spPr>
          <p:txBody>
            <a:bodyPr rtlCol="0" anchor="ctr"/>
            <a:lstStyle/>
            <a:p>
              <a:endParaRPr lang="pt-BR" noProof="0"/>
            </a:p>
          </p:txBody>
        </p:sp>
        <p:sp>
          <p:nvSpPr>
            <p:cNvPr id="56" name="Freeform: Shape 55">
              <a:extLst>
                <a:ext uri="{FF2B5EF4-FFF2-40B4-BE49-F238E27FC236}">
                  <a16:creationId xmlns:a16="http://schemas.microsoft.com/office/drawing/2014/main" id="{5790489B-D041-FAA7-E93F-EA464A4E56AE}"/>
                </a:ext>
              </a:extLst>
            </p:cNvPr>
            <p:cNvSpPr/>
            <p:nvPr/>
          </p:nvSpPr>
          <p:spPr>
            <a:xfrm>
              <a:off x="6902633" y="268821"/>
              <a:ext cx="273418" cy="601046"/>
            </a:xfrm>
            <a:custGeom>
              <a:avLst/>
              <a:gdLst>
                <a:gd name="connsiteX0" fmla="*/ 0 w 1087659"/>
                <a:gd name="connsiteY0" fmla="*/ 210979 h 2390965"/>
                <a:gd name="connsiteX1" fmla="*/ 125063 w 1087659"/>
                <a:gd name="connsiteY1" fmla="*/ 103442 h 2390965"/>
                <a:gd name="connsiteX2" fmla="*/ 250031 w 1087659"/>
                <a:gd name="connsiteY2" fmla="*/ 210979 h 2390965"/>
                <a:gd name="connsiteX3" fmla="*/ 250031 w 1087659"/>
                <a:gd name="connsiteY3" fmla="*/ 1922717 h 2390965"/>
                <a:gd name="connsiteX4" fmla="*/ 249841 w 1087659"/>
                <a:gd name="connsiteY4" fmla="*/ 1922717 h 2390965"/>
                <a:gd name="connsiteX5" fmla="*/ 249841 w 1087659"/>
                <a:gd name="connsiteY5" fmla="*/ 1925955 h 2390965"/>
                <a:gd name="connsiteX6" fmla="*/ 333756 w 1087659"/>
                <a:gd name="connsiteY6" fmla="*/ 2100263 h 2390965"/>
                <a:gd name="connsiteX7" fmla="*/ 335566 w 1087659"/>
                <a:gd name="connsiteY7" fmla="*/ 2101787 h 2390965"/>
                <a:gd name="connsiteX8" fmla="*/ 336042 w 1087659"/>
                <a:gd name="connsiteY8" fmla="*/ 2102168 h 2390965"/>
                <a:gd name="connsiteX9" fmla="*/ 543877 w 1087659"/>
                <a:gd name="connsiteY9" fmla="*/ 2175891 h 2390965"/>
                <a:gd name="connsiteX10" fmla="*/ 749998 w 1087659"/>
                <a:gd name="connsiteY10" fmla="*/ 2103692 h 2390965"/>
                <a:gd name="connsiteX11" fmla="*/ 751713 w 1087659"/>
                <a:gd name="connsiteY11" fmla="*/ 2102168 h 2390965"/>
                <a:gd name="connsiteX12" fmla="*/ 752189 w 1087659"/>
                <a:gd name="connsiteY12" fmla="*/ 2101787 h 2390965"/>
                <a:gd name="connsiteX13" fmla="*/ 837819 w 1087659"/>
                <a:gd name="connsiteY13" fmla="*/ 1922812 h 2390965"/>
                <a:gd name="connsiteX14" fmla="*/ 837819 w 1087659"/>
                <a:gd name="connsiteY14" fmla="*/ 107537 h 2390965"/>
                <a:gd name="connsiteX15" fmla="*/ 962787 w 1087659"/>
                <a:gd name="connsiteY15" fmla="*/ 0 h 2390965"/>
                <a:gd name="connsiteX16" fmla="*/ 1087660 w 1087659"/>
                <a:gd name="connsiteY16" fmla="*/ 107537 h 2390965"/>
                <a:gd name="connsiteX17" fmla="*/ 1087660 w 1087659"/>
                <a:gd name="connsiteY17" fmla="*/ 1922621 h 2390965"/>
                <a:gd name="connsiteX18" fmla="*/ 928307 w 1087659"/>
                <a:gd name="connsiteY18" fmla="*/ 2253234 h 2390965"/>
                <a:gd name="connsiteX19" fmla="*/ 928116 w 1087659"/>
                <a:gd name="connsiteY19" fmla="*/ 2253424 h 2390965"/>
                <a:gd name="connsiteX20" fmla="*/ 927830 w 1087659"/>
                <a:gd name="connsiteY20" fmla="*/ 2253710 h 2390965"/>
                <a:gd name="connsiteX21" fmla="*/ 927354 w 1087659"/>
                <a:gd name="connsiteY21" fmla="*/ 2254187 h 2390965"/>
                <a:gd name="connsiteX22" fmla="*/ 543783 w 1087659"/>
                <a:gd name="connsiteY22" fmla="*/ 2390966 h 2390965"/>
                <a:gd name="connsiteX23" fmla="*/ 159734 w 1087659"/>
                <a:gd name="connsiteY23" fmla="*/ 2253710 h 2390965"/>
                <a:gd name="connsiteX24" fmla="*/ 159734 w 1087659"/>
                <a:gd name="connsiteY24" fmla="*/ 2253424 h 2390965"/>
                <a:gd name="connsiteX25" fmla="*/ 159353 w 1087659"/>
                <a:gd name="connsiteY25" fmla="*/ 2253234 h 2390965"/>
                <a:gd name="connsiteX26" fmla="*/ 158877 w 1087659"/>
                <a:gd name="connsiteY26" fmla="*/ 2252948 h 2390965"/>
                <a:gd name="connsiteX27" fmla="*/ 0 w 1087659"/>
                <a:gd name="connsiteY27" fmla="*/ 1922621 h 2390965"/>
                <a:gd name="connsiteX28" fmla="*/ 0 w 1087659"/>
                <a:gd name="connsiteY28" fmla="*/ 1922621 h 2390965"/>
                <a:gd name="connsiteX29" fmla="*/ 0 w 1087659"/>
                <a:gd name="connsiteY29" fmla="*/ 210979 h 239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87659" h="2390965">
                  <a:moveTo>
                    <a:pt x="0" y="210979"/>
                  </a:moveTo>
                  <a:cubicBezTo>
                    <a:pt x="0" y="151638"/>
                    <a:pt x="56007" y="103442"/>
                    <a:pt x="125063" y="103442"/>
                  </a:cubicBezTo>
                  <a:cubicBezTo>
                    <a:pt x="194120" y="103442"/>
                    <a:pt x="250031" y="151638"/>
                    <a:pt x="250031" y="210979"/>
                  </a:cubicBezTo>
                  <a:lnTo>
                    <a:pt x="250031" y="1922717"/>
                  </a:lnTo>
                  <a:lnTo>
                    <a:pt x="249841" y="1922717"/>
                  </a:lnTo>
                  <a:lnTo>
                    <a:pt x="249841" y="1925955"/>
                  </a:lnTo>
                  <a:cubicBezTo>
                    <a:pt x="250793" y="1994059"/>
                    <a:pt x="282797" y="2055495"/>
                    <a:pt x="333756" y="2100263"/>
                  </a:cubicBezTo>
                  <a:lnTo>
                    <a:pt x="335566" y="2101787"/>
                  </a:lnTo>
                  <a:lnTo>
                    <a:pt x="336042" y="2102168"/>
                  </a:lnTo>
                  <a:cubicBezTo>
                    <a:pt x="388906" y="2147697"/>
                    <a:pt x="462343" y="2175891"/>
                    <a:pt x="543877" y="2175891"/>
                  </a:cubicBezTo>
                  <a:cubicBezTo>
                    <a:pt x="625411" y="2175891"/>
                    <a:pt x="697420" y="2148364"/>
                    <a:pt x="749998" y="2103692"/>
                  </a:cubicBezTo>
                  <a:lnTo>
                    <a:pt x="751713" y="2102168"/>
                  </a:lnTo>
                  <a:lnTo>
                    <a:pt x="752189" y="2101787"/>
                  </a:lnTo>
                  <a:cubicBezTo>
                    <a:pt x="805053" y="2056352"/>
                    <a:pt x="837819" y="1993011"/>
                    <a:pt x="837819" y="1922812"/>
                  </a:cubicBezTo>
                  <a:lnTo>
                    <a:pt x="837819" y="107537"/>
                  </a:lnTo>
                  <a:cubicBezTo>
                    <a:pt x="837819" y="48196"/>
                    <a:pt x="893731" y="0"/>
                    <a:pt x="962787" y="0"/>
                  </a:cubicBezTo>
                  <a:cubicBezTo>
                    <a:pt x="1031843" y="0"/>
                    <a:pt x="1087660" y="48196"/>
                    <a:pt x="1087660" y="107537"/>
                  </a:cubicBezTo>
                  <a:lnTo>
                    <a:pt x="1087660" y="1922621"/>
                  </a:lnTo>
                  <a:cubicBezTo>
                    <a:pt x="1087660" y="2051399"/>
                    <a:pt x="1026795" y="2168366"/>
                    <a:pt x="928307" y="2253234"/>
                  </a:cubicBezTo>
                  <a:lnTo>
                    <a:pt x="928116" y="2253424"/>
                  </a:lnTo>
                  <a:lnTo>
                    <a:pt x="927830" y="2253710"/>
                  </a:lnTo>
                  <a:lnTo>
                    <a:pt x="927354" y="2254187"/>
                  </a:lnTo>
                  <a:cubicBezTo>
                    <a:pt x="828770" y="2338673"/>
                    <a:pt x="693134" y="2390966"/>
                    <a:pt x="543783" y="2390966"/>
                  </a:cubicBezTo>
                  <a:cubicBezTo>
                    <a:pt x="394430" y="2390966"/>
                    <a:pt x="258413" y="2338483"/>
                    <a:pt x="159734" y="2253710"/>
                  </a:cubicBezTo>
                  <a:lnTo>
                    <a:pt x="159734" y="2253424"/>
                  </a:lnTo>
                  <a:cubicBezTo>
                    <a:pt x="159734" y="2253424"/>
                    <a:pt x="159353" y="2253234"/>
                    <a:pt x="159353" y="2253234"/>
                  </a:cubicBezTo>
                  <a:lnTo>
                    <a:pt x="158877" y="2252948"/>
                  </a:lnTo>
                  <a:cubicBezTo>
                    <a:pt x="60770" y="2167985"/>
                    <a:pt x="0" y="2051304"/>
                    <a:pt x="0" y="1922621"/>
                  </a:cubicBezTo>
                  <a:lnTo>
                    <a:pt x="0" y="1922621"/>
                  </a:lnTo>
                  <a:lnTo>
                    <a:pt x="0" y="210979"/>
                  </a:lnTo>
                  <a:close/>
                </a:path>
              </a:pathLst>
            </a:custGeom>
            <a:solidFill>
              <a:srgbClr val="8FC640"/>
            </a:solidFill>
            <a:ln w="9525" cap="flat">
              <a:noFill/>
              <a:prstDash val="solid"/>
              <a:miter/>
            </a:ln>
          </p:spPr>
          <p:txBody>
            <a:bodyPr rtlCol="0" anchor="ctr"/>
            <a:lstStyle/>
            <a:p>
              <a:endParaRPr lang="pt-BR" noProof="0"/>
            </a:p>
          </p:txBody>
        </p:sp>
        <p:sp>
          <p:nvSpPr>
            <p:cNvPr id="57" name="Freeform: Shape 56">
              <a:extLst>
                <a:ext uri="{FF2B5EF4-FFF2-40B4-BE49-F238E27FC236}">
                  <a16:creationId xmlns:a16="http://schemas.microsoft.com/office/drawing/2014/main" id="{D69D942F-483F-5408-C30D-9CE525A797E6}"/>
                </a:ext>
              </a:extLst>
            </p:cNvPr>
            <p:cNvSpPr/>
            <p:nvPr/>
          </p:nvSpPr>
          <p:spPr>
            <a:xfrm>
              <a:off x="7013590" y="213965"/>
              <a:ext cx="54018" cy="562280"/>
            </a:xfrm>
            <a:custGeom>
              <a:avLst/>
              <a:gdLst>
                <a:gd name="connsiteX0" fmla="*/ 0 w 214883"/>
                <a:gd name="connsiteY0" fmla="*/ 107537 h 2236755"/>
                <a:gd name="connsiteX1" fmla="*/ 107537 w 214883"/>
                <a:gd name="connsiteY1" fmla="*/ 0 h 2236755"/>
                <a:gd name="connsiteX2" fmla="*/ 214884 w 214883"/>
                <a:gd name="connsiteY2" fmla="*/ 107537 h 2236755"/>
                <a:gd name="connsiteX3" fmla="*/ 214884 w 214883"/>
                <a:gd name="connsiteY3" fmla="*/ 2129219 h 2236755"/>
                <a:gd name="connsiteX4" fmla="*/ 107537 w 214883"/>
                <a:gd name="connsiteY4" fmla="*/ 2236756 h 2236755"/>
                <a:gd name="connsiteX5" fmla="*/ 0 w 214883"/>
                <a:gd name="connsiteY5" fmla="*/ 2129219 h 2236755"/>
                <a:gd name="connsiteX6" fmla="*/ 0 w 214883"/>
                <a:gd name="connsiteY6" fmla="*/ 107537 h 223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 h="2236755">
                  <a:moveTo>
                    <a:pt x="0" y="107537"/>
                  </a:moveTo>
                  <a:cubicBezTo>
                    <a:pt x="0" y="48197"/>
                    <a:pt x="48101" y="0"/>
                    <a:pt x="107537" y="0"/>
                  </a:cubicBezTo>
                  <a:cubicBezTo>
                    <a:pt x="166973" y="0"/>
                    <a:pt x="214884" y="48197"/>
                    <a:pt x="214884" y="107537"/>
                  </a:cubicBezTo>
                  <a:lnTo>
                    <a:pt x="214884" y="2129219"/>
                  </a:lnTo>
                  <a:cubicBezTo>
                    <a:pt x="214884" y="2188559"/>
                    <a:pt x="166782" y="2236756"/>
                    <a:pt x="107537" y="2236756"/>
                  </a:cubicBezTo>
                  <a:cubicBezTo>
                    <a:pt x="48291" y="2236756"/>
                    <a:pt x="0" y="2188559"/>
                    <a:pt x="0" y="2129219"/>
                  </a:cubicBezTo>
                  <a:lnTo>
                    <a:pt x="0" y="107537"/>
                  </a:lnTo>
                  <a:close/>
                </a:path>
              </a:pathLst>
            </a:custGeom>
            <a:solidFill>
              <a:srgbClr val="3698B0"/>
            </a:solidFill>
            <a:ln w="9525" cap="flat">
              <a:noFill/>
              <a:prstDash val="solid"/>
              <a:miter/>
            </a:ln>
          </p:spPr>
          <p:txBody>
            <a:bodyPr rtlCol="0" anchor="ctr"/>
            <a:lstStyle/>
            <a:p>
              <a:endParaRPr lang="pt-BR" noProof="0"/>
            </a:p>
          </p:txBody>
        </p:sp>
        <p:sp>
          <p:nvSpPr>
            <p:cNvPr id="58" name="Freeform: Shape 57">
              <a:extLst>
                <a:ext uri="{FF2B5EF4-FFF2-40B4-BE49-F238E27FC236}">
                  <a16:creationId xmlns:a16="http://schemas.microsoft.com/office/drawing/2014/main" id="{320BD57D-5A94-E587-7E16-91B8D2EE2A35}"/>
                </a:ext>
              </a:extLst>
            </p:cNvPr>
            <p:cNvSpPr/>
            <p:nvPr/>
          </p:nvSpPr>
          <p:spPr>
            <a:xfrm>
              <a:off x="6795770" y="332991"/>
              <a:ext cx="485994" cy="649437"/>
            </a:xfrm>
            <a:custGeom>
              <a:avLst/>
              <a:gdLst>
                <a:gd name="connsiteX0" fmla="*/ 1933290 w 1933289"/>
                <a:gd name="connsiteY0" fmla="*/ 138017 h 2583465"/>
                <a:gd name="connsiteX1" fmla="*/ 1933290 w 1933289"/>
                <a:gd name="connsiteY1" fmla="*/ 1734122 h 2583465"/>
                <a:gd name="connsiteX2" fmla="*/ 1796606 w 1933289"/>
                <a:gd name="connsiteY2" fmla="*/ 2229136 h 2583465"/>
                <a:gd name="connsiteX3" fmla="*/ 977742 w 1933289"/>
                <a:gd name="connsiteY3" fmla="*/ 2583466 h 2583465"/>
                <a:gd name="connsiteX4" fmla="*/ 955357 w 1933289"/>
                <a:gd name="connsiteY4" fmla="*/ 2583466 h 2583465"/>
                <a:gd name="connsiteX5" fmla="*/ 136589 w 1933289"/>
                <a:gd name="connsiteY5" fmla="*/ 2229136 h 2583465"/>
                <a:gd name="connsiteX6" fmla="*/ 0 w 1933289"/>
                <a:gd name="connsiteY6" fmla="*/ 1734122 h 2583465"/>
                <a:gd name="connsiteX7" fmla="*/ 0 w 1933289"/>
                <a:gd name="connsiteY7" fmla="*/ 794194 h 2583465"/>
                <a:gd name="connsiteX8" fmla="*/ 137827 w 1933289"/>
                <a:gd name="connsiteY8" fmla="*/ 656273 h 2583465"/>
                <a:gd name="connsiteX9" fmla="*/ 275463 w 1933289"/>
                <a:gd name="connsiteY9" fmla="*/ 794194 h 2583465"/>
                <a:gd name="connsiteX10" fmla="*/ 275463 w 1933289"/>
                <a:gd name="connsiteY10" fmla="*/ 1734122 h 2583465"/>
                <a:gd name="connsiteX11" fmla="*/ 354235 w 1933289"/>
                <a:gd name="connsiteY11" fmla="*/ 2059686 h 2583465"/>
                <a:gd name="connsiteX12" fmla="*/ 958215 w 1933289"/>
                <a:gd name="connsiteY12" fmla="*/ 2307527 h 2583465"/>
                <a:gd name="connsiteX13" fmla="*/ 974789 w 1933289"/>
                <a:gd name="connsiteY13" fmla="*/ 2307527 h 2583465"/>
                <a:gd name="connsiteX14" fmla="*/ 1578959 w 1933289"/>
                <a:gd name="connsiteY14" fmla="*/ 2059686 h 2583465"/>
                <a:gd name="connsiteX15" fmla="*/ 1657636 w 1933289"/>
                <a:gd name="connsiteY15" fmla="*/ 1734122 h 2583465"/>
                <a:gd name="connsiteX16" fmla="*/ 1657636 w 1933289"/>
                <a:gd name="connsiteY16" fmla="*/ 138017 h 2583465"/>
                <a:gd name="connsiteX17" fmla="*/ 1795463 w 1933289"/>
                <a:gd name="connsiteY17" fmla="*/ 0 h 2583465"/>
                <a:gd name="connsiteX18" fmla="*/ 1933290 w 1933289"/>
                <a:gd name="connsiteY18" fmla="*/ 138017 h 25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3289" h="2583465">
                  <a:moveTo>
                    <a:pt x="1933290" y="138017"/>
                  </a:moveTo>
                  <a:lnTo>
                    <a:pt x="1933290" y="1734122"/>
                  </a:lnTo>
                  <a:cubicBezTo>
                    <a:pt x="1933290" y="1870996"/>
                    <a:pt x="1919002" y="2071211"/>
                    <a:pt x="1796606" y="2229136"/>
                  </a:cubicBezTo>
                  <a:cubicBezTo>
                    <a:pt x="1634395" y="2438305"/>
                    <a:pt x="1432084" y="2578703"/>
                    <a:pt x="977742" y="2583466"/>
                  </a:cubicBezTo>
                  <a:lnTo>
                    <a:pt x="955357" y="2583466"/>
                  </a:lnTo>
                  <a:cubicBezTo>
                    <a:pt x="501015" y="2578703"/>
                    <a:pt x="298704" y="2438400"/>
                    <a:pt x="136589" y="2229136"/>
                  </a:cubicBezTo>
                  <a:cubicBezTo>
                    <a:pt x="14192" y="2071211"/>
                    <a:pt x="0" y="1870996"/>
                    <a:pt x="0" y="1734122"/>
                  </a:cubicBezTo>
                  <a:lnTo>
                    <a:pt x="0" y="794194"/>
                  </a:lnTo>
                  <a:cubicBezTo>
                    <a:pt x="0" y="718185"/>
                    <a:pt x="61436" y="656273"/>
                    <a:pt x="137827" y="656273"/>
                  </a:cubicBezTo>
                  <a:cubicBezTo>
                    <a:pt x="214217" y="656273"/>
                    <a:pt x="275463" y="718185"/>
                    <a:pt x="275463" y="794194"/>
                  </a:cubicBezTo>
                  <a:lnTo>
                    <a:pt x="275463" y="1734122"/>
                  </a:lnTo>
                  <a:cubicBezTo>
                    <a:pt x="275463" y="1887188"/>
                    <a:pt x="300324" y="1990630"/>
                    <a:pt x="354235" y="2059686"/>
                  </a:cubicBezTo>
                  <a:cubicBezTo>
                    <a:pt x="476250" y="2217611"/>
                    <a:pt x="609791" y="2304479"/>
                    <a:pt x="958215" y="2307527"/>
                  </a:cubicBezTo>
                  <a:lnTo>
                    <a:pt x="974789" y="2307527"/>
                  </a:lnTo>
                  <a:cubicBezTo>
                    <a:pt x="1323499" y="2304479"/>
                    <a:pt x="1456563" y="2217611"/>
                    <a:pt x="1578959" y="2059686"/>
                  </a:cubicBezTo>
                  <a:cubicBezTo>
                    <a:pt x="1632490" y="1990630"/>
                    <a:pt x="1657636" y="1887093"/>
                    <a:pt x="1657636" y="1734122"/>
                  </a:cubicBezTo>
                  <a:lnTo>
                    <a:pt x="1657636" y="138017"/>
                  </a:lnTo>
                  <a:cubicBezTo>
                    <a:pt x="1657636" y="61531"/>
                    <a:pt x="1719453" y="0"/>
                    <a:pt x="1795463" y="0"/>
                  </a:cubicBezTo>
                  <a:cubicBezTo>
                    <a:pt x="1871472" y="0"/>
                    <a:pt x="1933290" y="61531"/>
                    <a:pt x="1933290" y="138017"/>
                  </a:cubicBezTo>
                </a:path>
              </a:pathLst>
            </a:custGeom>
            <a:solidFill>
              <a:srgbClr val="49306E"/>
            </a:solidFill>
            <a:ln w="9525" cap="flat">
              <a:noFill/>
              <a:prstDash val="solid"/>
              <a:miter/>
            </a:ln>
          </p:spPr>
          <p:txBody>
            <a:bodyPr rtlCol="0" anchor="ctr"/>
            <a:lstStyle/>
            <a:p>
              <a:endParaRPr lang="pt-BR" noProof="0"/>
            </a:p>
          </p:txBody>
        </p:sp>
      </p:grpSp>
      <p:sp>
        <p:nvSpPr>
          <p:cNvPr id="8" name="CaixaDeTexto 7">
            <a:extLst>
              <a:ext uri="{FF2B5EF4-FFF2-40B4-BE49-F238E27FC236}">
                <a16:creationId xmlns:a16="http://schemas.microsoft.com/office/drawing/2014/main" id="{328C73AE-775B-675F-667A-DBF59C178BE8}"/>
              </a:ext>
            </a:extLst>
          </p:cNvPr>
          <p:cNvSpPr txBox="1"/>
          <p:nvPr/>
        </p:nvSpPr>
        <p:spPr>
          <a:xfrm>
            <a:off x="2519500" y="361172"/>
            <a:ext cx="1741715" cy="461665"/>
          </a:xfrm>
          <a:prstGeom prst="rect">
            <a:avLst/>
          </a:prstGeom>
          <a:noFill/>
        </p:spPr>
        <p:txBody>
          <a:bodyPr wrap="square" rtlCol="0">
            <a:spAutoFit/>
          </a:bodyPr>
          <a:lstStyle/>
          <a:p>
            <a:r>
              <a:rPr lang="pt-BR" sz="2400" b="1" noProof="0"/>
              <a:t>Discussão</a:t>
            </a:r>
          </a:p>
        </p:txBody>
      </p:sp>
      <p:pic>
        <p:nvPicPr>
          <p:cNvPr id="7" name="Imagem 6" descr="322 Stick Figure With Thought Bubble Stock Photos, Pictures &amp; Royalty-Free  Images - iStock">
            <a:extLst>
              <a:ext uri="{FF2B5EF4-FFF2-40B4-BE49-F238E27FC236}">
                <a16:creationId xmlns:a16="http://schemas.microsoft.com/office/drawing/2014/main" id="{AC544E1B-C555-80CA-2449-590AAFEC277C}"/>
              </a:ext>
            </a:extLst>
          </p:cNvPr>
          <p:cNvPicPr>
            <a:picLocks noChangeAspect="1"/>
          </p:cNvPicPr>
          <p:nvPr/>
        </p:nvPicPr>
        <p:blipFill>
          <a:blip r:embed="rId6"/>
          <a:stretch>
            <a:fillRect/>
          </a:stretch>
        </p:blipFill>
        <p:spPr>
          <a:xfrm>
            <a:off x="-1492" y="1518516"/>
            <a:ext cx="4467225" cy="5391150"/>
          </a:xfrm>
          <a:prstGeom prst="rect">
            <a:avLst/>
          </a:prstGeom>
        </p:spPr>
      </p:pic>
      <p:sp>
        <p:nvSpPr>
          <p:cNvPr id="10" name="CaixaDeTexto 60">
            <a:extLst>
              <a:ext uri="{FF2B5EF4-FFF2-40B4-BE49-F238E27FC236}">
                <a16:creationId xmlns:a16="http://schemas.microsoft.com/office/drawing/2014/main" id="{92BE8060-7D9D-8CEB-3A06-FECA648A7B81}"/>
              </a:ext>
            </a:extLst>
          </p:cNvPr>
          <p:cNvSpPr txBox="1"/>
          <p:nvPr/>
        </p:nvSpPr>
        <p:spPr>
          <a:xfrm>
            <a:off x="5417344" y="2647237"/>
            <a:ext cx="6774655" cy="1569660"/>
          </a:xfrm>
          <a:prstGeom prst="rect">
            <a:avLst/>
          </a:prstGeom>
          <a:noFill/>
        </p:spPr>
        <p:txBody>
          <a:bodyPr wrap="square" lIns="91440" tIns="45720" rIns="91440" bIns="45720" rtlCol="0" anchor="t">
            <a:spAutoFit/>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r>
              <a:rPr lang="pt-BR" sz="3200" b="1" noProof="0">
                <a:solidFill>
                  <a:srgbClr val="46326A"/>
                </a:solidFill>
              </a:rPr>
              <a:t>Esse quadro fecha critérios IRAS?</a:t>
            </a:r>
            <a:endParaRPr lang="pt-BR" sz="3200" b="1" noProof="0" dirty="0">
              <a:solidFill>
                <a:srgbClr val="46326A"/>
              </a:solidFill>
            </a:endParaRPr>
          </a:p>
          <a:p>
            <a:pPr lvl="0" algn="ctr"/>
            <a:endParaRPr lang="pt-BR" sz="3200" b="1" noProof="0" dirty="0">
              <a:solidFill>
                <a:srgbClr val="46326A"/>
              </a:solidFill>
            </a:endParaRPr>
          </a:p>
          <a:p>
            <a:pPr lvl="0" algn="ctr"/>
            <a:r>
              <a:rPr lang="pt-BR" sz="3200" b="1" noProof="0">
                <a:solidFill>
                  <a:srgbClr val="46326A"/>
                </a:solidFill>
              </a:rPr>
              <a:t>Qual?</a:t>
            </a:r>
            <a:endParaRPr lang="pt-BR" sz="3200" b="1" noProof="0" dirty="0">
              <a:solidFill>
                <a:srgbClr val="46326A"/>
              </a:solidFill>
            </a:endParaRPr>
          </a:p>
        </p:txBody>
      </p:sp>
      <p:sp>
        <p:nvSpPr>
          <p:cNvPr id="15" name="CaixaDeTexto 66">
            <a:extLst>
              <a:ext uri="{FF2B5EF4-FFF2-40B4-BE49-F238E27FC236}">
                <a16:creationId xmlns:a16="http://schemas.microsoft.com/office/drawing/2014/main" id="{70BB9082-E005-8C36-FB26-DB2AA3958E32}"/>
              </a:ext>
            </a:extLst>
          </p:cNvPr>
          <p:cNvSpPr txBox="1"/>
          <p:nvPr/>
        </p:nvSpPr>
        <p:spPr>
          <a:xfrm>
            <a:off x="-418381" y="2605459"/>
            <a:ext cx="6201408" cy="1323439"/>
          </a:xfrm>
          <a:prstGeom prst="rect">
            <a:avLst/>
          </a:prstGeom>
          <a:noFill/>
        </p:spPr>
        <p:txBody>
          <a:bodyPr wrap="square" lIns="91440" tIns="45720" rIns="91440" bIns="45720" rtlCol="0" anchor="t">
            <a:spAutoFit/>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r>
              <a:rPr lang="pt-BR" sz="2800" b="1" noProof="0">
                <a:solidFill>
                  <a:srgbClr val="9DC457"/>
                </a:solidFill>
              </a:rPr>
              <a:t>E agora</a:t>
            </a:r>
            <a:r>
              <a:rPr lang="pt-BR" sz="3200" b="1" noProof="0">
                <a:solidFill>
                  <a:srgbClr val="9DC457"/>
                </a:solidFill>
              </a:rPr>
              <a:t>?</a:t>
            </a:r>
          </a:p>
          <a:p>
            <a:pPr lvl="0" algn="ctr"/>
            <a:endParaRPr lang="pt-BR" sz="2400" noProof="0" dirty="0">
              <a:solidFill>
                <a:srgbClr val="9DC457"/>
              </a:solidFill>
            </a:endParaRPr>
          </a:p>
          <a:p>
            <a:pPr lvl="0" algn="ctr"/>
            <a:endParaRPr lang="pt-BR" sz="2400" noProof="0" dirty="0">
              <a:solidFill>
                <a:srgbClr val="9DC457"/>
              </a:solidFill>
            </a:endParaRPr>
          </a:p>
        </p:txBody>
      </p:sp>
    </p:spTree>
    <p:extLst>
      <p:ext uri="{BB962C8B-B14F-4D97-AF65-F5344CB8AC3E}">
        <p14:creationId xmlns:p14="http://schemas.microsoft.com/office/powerpoint/2010/main" val="236415056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82E494-489D-95A6-489B-8516B827D990}"/>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DC5C1A7-7349-0116-9337-C9889BC85B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8" progId="TCLayout.ActiveDocument.1">
                  <p:embed/>
                </p:oleObj>
              </mc:Choice>
              <mc:Fallback>
                <p:oleObj name="think-cell Slide" r:id="rId4" imgW="306" imgH="308" progId="TCLayout.ActiveDocument.1">
                  <p:embed/>
                  <p:pic>
                    <p:nvPicPr>
                      <p:cNvPr id="12" name="think-cell data - do not delete" hidden="1">
                        <a:extLst>
                          <a:ext uri="{FF2B5EF4-FFF2-40B4-BE49-F238E27FC236}">
                            <a16:creationId xmlns:a16="http://schemas.microsoft.com/office/drawing/2014/main" id="{CDC5C1A7-7349-0116-9337-C9889BC85B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3" name="Group 12">
            <a:extLst>
              <a:ext uri="{FF2B5EF4-FFF2-40B4-BE49-F238E27FC236}">
                <a16:creationId xmlns:a16="http://schemas.microsoft.com/office/drawing/2014/main" id="{AA6D36CD-7394-7062-349E-D5E5C9507357}"/>
              </a:ext>
            </a:extLst>
          </p:cNvPr>
          <p:cNvGrpSpPr/>
          <p:nvPr/>
        </p:nvGrpSpPr>
        <p:grpSpPr>
          <a:xfrm>
            <a:off x="304800" y="249455"/>
            <a:ext cx="1193800" cy="462985"/>
            <a:chOff x="5245100" y="211355"/>
            <a:chExt cx="2036664" cy="789869"/>
          </a:xfrm>
        </p:grpSpPr>
        <p:sp>
          <p:nvSpPr>
            <p:cNvPr id="14" name="Freeform: Shape 13">
              <a:extLst>
                <a:ext uri="{FF2B5EF4-FFF2-40B4-BE49-F238E27FC236}">
                  <a16:creationId xmlns:a16="http://schemas.microsoft.com/office/drawing/2014/main" id="{7602C0D2-87C1-82A2-5568-258255EC7996}"/>
                </a:ext>
              </a:extLst>
            </p:cNvPr>
            <p:cNvSpPr/>
            <p:nvPr/>
          </p:nvSpPr>
          <p:spPr>
            <a:xfrm>
              <a:off x="5245100" y="308520"/>
              <a:ext cx="247894" cy="322815"/>
            </a:xfrm>
            <a:custGeom>
              <a:avLst/>
              <a:gdLst>
                <a:gd name="connsiteX0" fmla="*/ 529590 w 986123"/>
                <a:gd name="connsiteY0" fmla="*/ 1284160 h 1284160"/>
                <a:gd name="connsiteX1" fmla="*/ 249650 w 986123"/>
                <a:gd name="connsiteY1" fmla="*/ 1235107 h 1284160"/>
                <a:gd name="connsiteX2" fmla="*/ 0 w 986123"/>
                <a:gd name="connsiteY2" fmla="*/ 1084421 h 1284160"/>
                <a:gd name="connsiteX3" fmla="*/ 162306 w 986123"/>
                <a:gd name="connsiteY3" fmla="*/ 890016 h 1284160"/>
                <a:gd name="connsiteX4" fmla="*/ 337947 w 986123"/>
                <a:gd name="connsiteY4" fmla="*/ 1000601 h 1284160"/>
                <a:gd name="connsiteX5" fmla="*/ 535019 w 986123"/>
                <a:gd name="connsiteY5" fmla="*/ 1041654 h 1284160"/>
                <a:gd name="connsiteX6" fmla="*/ 667893 w 986123"/>
                <a:gd name="connsiteY6" fmla="*/ 1010412 h 1284160"/>
                <a:gd name="connsiteX7" fmla="*/ 715137 w 986123"/>
                <a:gd name="connsiteY7" fmla="*/ 923925 h 1284160"/>
                <a:gd name="connsiteX8" fmla="*/ 715137 w 986123"/>
                <a:gd name="connsiteY8" fmla="*/ 920305 h 1284160"/>
                <a:gd name="connsiteX9" fmla="*/ 705326 w 986123"/>
                <a:gd name="connsiteY9" fmla="*/ 873062 h 1284160"/>
                <a:gd name="connsiteX10" fmla="*/ 667798 w 986123"/>
                <a:gd name="connsiteY10" fmla="*/ 834676 h 1284160"/>
                <a:gd name="connsiteX11" fmla="*/ 590931 w 986123"/>
                <a:gd name="connsiteY11" fmla="*/ 798957 h 1284160"/>
                <a:gd name="connsiteX12" fmla="*/ 463106 w 986123"/>
                <a:gd name="connsiteY12" fmla="*/ 761524 h 1284160"/>
                <a:gd name="connsiteX13" fmla="*/ 291465 w 986123"/>
                <a:gd name="connsiteY13" fmla="*/ 709803 h 1284160"/>
                <a:gd name="connsiteX14" fmla="*/ 160973 w 986123"/>
                <a:gd name="connsiteY14" fmla="*/ 639318 h 1284160"/>
                <a:gd name="connsiteX15" fmla="*/ 77819 w 986123"/>
                <a:gd name="connsiteY15" fmla="*/ 535019 h 1284160"/>
                <a:gd name="connsiteX16" fmla="*/ 48292 w 986123"/>
                <a:gd name="connsiteY16" fmla="*/ 379857 h 1284160"/>
                <a:gd name="connsiteX17" fmla="*/ 48292 w 986123"/>
                <a:gd name="connsiteY17" fmla="*/ 376238 h 1284160"/>
                <a:gd name="connsiteX18" fmla="*/ 80201 w 986123"/>
                <a:gd name="connsiteY18" fmla="*/ 222028 h 1284160"/>
                <a:gd name="connsiteX19" fmla="*/ 169640 w 986123"/>
                <a:gd name="connsiteY19" fmla="*/ 103441 h 1284160"/>
                <a:gd name="connsiteX20" fmla="*/ 307181 w 986123"/>
                <a:gd name="connsiteY20" fmla="*/ 26765 h 1284160"/>
                <a:gd name="connsiteX21" fmla="*/ 483394 w 986123"/>
                <a:gd name="connsiteY21" fmla="*/ 0 h 1284160"/>
                <a:gd name="connsiteX22" fmla="*/ 735711 w 986123"/>
                <a:gd name="connsiteY22" fmla="*/ 41053 h 1284160"/>
                <a:gd name="connsiteX23" fmla="*/ 946976 w 986123"/>
                <a:gd name="connsiteY23" fmla="*/ 158687 h 1284160"/>
                <a:gd name="connsiteX24" fmla="*/ 804291 w 986123"/>
                <a:gd name="connsiteY24" fmla="*/ 365569 h 1284160"/>
                <a:gd name="connsiteX25" fmla="*/ 640271 w 986123"/>
                <a:gd name="connsiteY25" fmla="*/ 275558 h 1284160"/>
                <a:gd name="connsiteX26" fmla="*/ 479774 w 986123"/>
                <a:gd name="connsiteY26" fmla="*/ 242602 h 1284160"/>
                <a:gd name="connsiteX27" fmla="*/ 359378 w 986123"/>
                <a:gd name="connsiteY27" fmla="*/ 273844 h 1284160"/>
                <a:gd name="connsiteX28" fmla="*/ 319278 w 986123"/>
                <a:gd name="connsiteY28" fmla="*/ 351377 h 1284160"/>
                <a:gd name="connsiteX29" fmla="*/ 319278 w 986123"/>
                <a:gd name="connsiteY29" fmla="*/ 354997 h 1284160"/>
                <a:gd name="connsiteX30" fmla="*/ 330899 w 986123"/>
                <a:gd name="connsiteY30" fmla="*/ 407575 h 1284160"/>
                <a:gd name="connsiteX31" fmla="*/ 372904 w 986123"/>
                <a:gd name="connsiteY31" fmla="*/ 447675 h 1284160"/>
                <a:gd name="connsiteX32" fmla="*/ 456057 w 986123"/>
                <a:gd name="connsiteY32" fmla="*/ 481489 h 1284160"/>
                <a:gd name="connsiteX33" fmla="*/ 589217 w 986123"/>
                <a:gd name="connsiteY33" fmla="*/ 518922 h 1284160"/>
                <a:gd name="connsiteX34" fmla="*/ 758190 w 986123"/>
                <a:gd name="connsiteY34" fmla="*/ 575120 h 1284160"/>
                <a:gd name="connsiteX35" fmla="*/ 883349 w 986123"/>
                <a:gd name="connsiteY35" fmla="*/ 649986 h 1284160"/>
                <a:gd name="connsiteX36" fmla="*/ 960215 w 986123"/>
                <a:gd name="connsiteY36" fmla="*/ 752570 h 1284160"/>
                <a:gd name="connsiteX37" fmla="*/ 986123 w 986123"/>
                <a:gd name="connsiteY37" fmla="*/ 893445 h 1284160"/>
                <a:gd name="connsiteX38" fmla="*/ 986123 w 986123"/>
                <a:gd name="connsiteY38" fmla="*/ 897064 h 1284160"/>
                <a:gd name="connsiteX39" fmla="*/ 952500 w 986123"/>
                <a:gd name="connsiteY39" fmla="*/ 1062038 h 1284160"/>
                <a:gd name="connsiteX40" fmla="*/ 858584 w 986123"/>
                <a:gd name="connsiteY40" fmla="*/ 1183291 h 1284160"/>
                <a:gd name="connsiteX41" fmla="*/ 714851 w 986123"/>
                <a:gd name="connsiteY41" fmla="*/ 1258157 h 1284160"/>
                <a:gd name="connsiteX42" fmla="*/ 529685 w 986123"/>
                <a:gd name="connsiteY42" fmla="*/ 1284065 h 128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6123" h="1284160">
                  <a:moveTo>
                    <a:pt x="529590" y="1284160"/>
                  </a:moveTo>
                  <a:cubicBezTo>
                    <a:pt x="434435" y="1284160"/>
                    <a:pt x="341186" y="1267777"/>
                    <a:pt x="249650" y="1235107"/>
                  </a:cubicBezTo>
                  <a:cubicBezTo>
                    <a:pt x="158115" y="1202436"/>
                    <a:pt x="74867" y="1152239"/>
                    <a:pt x="0" y="1084421"/>
                  </a:cubicBezTo>
                  <a:lnTo>
                    <a:pt x="162306" y="890016"/>
                  </a:lnTo>
                  <a:cubicBezTo>
                    <a:pt x="219361" y="936403"/>
                    <a:pt x="277844" y="973264"/>
                    <a:pt x="337947" y="1000601"/>
                  </a:cubicBezTo>
                  <a:cubicBezTo>
                    <a:pt x="397955" y="1027938"/>
                    <a:pt x="463677" y="1041654"/>
                    <a:pt x="535019" y="1041654"/>
                  </a:cubicBezTo>
                  <a:cubicBezTo>
                    <a:pt x="592074" y="1041654"/>
                    <a:pt x="636365" y="1031272"/>
                    <a:pt x="667893" y="1010412"/>
                  </a:cubicBezTo>
                  <a:cubicBezTo>
                    <a:pt x="699421" y="989647"/>
                    <a:pt x="715137" y="960787"/>
                    <a:pt x="715137" y="923925"/>
                  </a:cubicBezTo>
                  <a:lnTo>
                    <a:pt x="715137" y="920305"/>
                  </a:lnTo>
                  <a:cubicBezTo>
                    <a:pt x="715137" y="902494"/>
                    <a:pt x="711803" y="886777"/>
                    <a:pt x="705326" y="873062"/>
                  </a:cubicBezTo>
                  <a:cubicBezTo>
                    <a:pt x="698754" y="859441"/>
                    <a:pt x="686276" y="846582"/>
                    <a:pt x="667798" y="834676"/>
                  </a:cubicBezTo>
                  <a:cubicBezTo>
                    <a:pt x="649319" y="822770"/>
                    <a:pt x="623697" y="810863"/>
                    <a:pt x="590931" y="798957"/>
                  </a:cubicBezTo>
                  <a:cubicBezTo>
                    <a:pt x="558165" y="787146"/>
                    <a:pt x="515493" y="774573"/>
                    <a:pt x="463106" y="761524"/>
                  </a:cubicBezTo>
                  <a:cubicBezTo>
                    <a:pt x="399955" y="746093"/>
                    <a:pt x="342710" y="728853"/>
                    <a:pt x="291465" y="709803"/>
                  </a:cubicBezTo>
                  <a:cubicBezTo>
                    <a:pt x="240221" y="690753"/>
                    <a:pt x="196691" y="667322"/>
                    <a:pt x="160973" y="639318"/>
                  </a:cubicBezTo>
                  <a:cubicBezTo>
                    <a:pt x="125159" y="611410"/>
                    <a:pt x="97536" y="576644"/>
                    <a:pt x="77819" y="535019"/>
                  </a:cubicBezTo>
                  <a:cubicBezTo>
                    <a:pt x="58103" y="493395"/>
                    <a:pt x="48292" y="441674"/>
                    <a:pt x="48292" y="379857"/>
                  </a:cubicBezTo>
                  <a:lnTo>
                    <a:pt x="48292" y="376238"/>
                  </a:lnTo>
                  <a:cubicBezTo>
                    <a:pt x="48292" y="319183"/>
                    <a:pt x="58865" y="267748"/>
                    <a:pt x="80201" y="222028"/>
                  </a:cubicBezTo>
                  <a:cubicBezTo>
                    <a:pt x="101441" y="176308"/>
                    <a:pt x="131255" y="136779"/>
                    <a:pt x="169640" y="103441"/>
                  </a:cubicBezTo>
                  <a:cubicBezTo>
                    <a:pt x="208026" y="70199"/>
                    <a:pt x="253841" y="44577"/>
                    <a:pt x="307181" y="26765"/>
                  </a:cubicBezTo>
                  <a:cubicBezTo>
                    <a:pt x="360426" y="8953"/>
                    <a:pt x="419195" y="0"/>
                    <a:pt x="483394" y="0"/>
                  </a:cubicBezTo>
                  <a:cubicBezTo>
                    <a:pt x="574929" y="0"/>
                    <a:pt x="659035" y="13716"/>
                    <a:pt x="735711" y="41053"/>
                  </a:cubicBezTo>
                  <a:cubicBezTo>
                    <a:pt x="812387" y="68389"/>
                    <a:pt x="882777" y="107632"/>
                    <a:pt x="946976" y="158687"/>
                  </a:cubicBezTo>
                  <a:lnTo>
                    <a:pt x="804291" y="365569"/>
                  </a:lnTo>
                  <a:cubicBezTo>
                    <a:pt x="748379" y="327565"/>
                    <a:pt x="693706" y="297561"/>
                    <a:pt x="640271" y="275558"/>
                  </a:cubicBezTo>
                  <a:cubicBezTo>
                    <a:pt x="586740" y="253555"/>
                    <a:pt x="533305" y="242602"/>
                    <a:pt x="479774" y="242602"/>
                  </a:cubicBezTo>
                  <a:cubicBezTo>
                    <a:pt x="426244" y="242602"/>
                    <a:pt x="386144" y="252984"/>
                    <a:pt x="359378" y="273844"/>
                  </a:cubicBezTo>
                  <a:cubicBezTo>
                    <a:pt x="332613" y="294608"/>
                    <a:pt x="319278" y="320516"/>
                    <a:pt x="319278" y="351377"/>
                  </a:cubicBezTo>
                  <a:lnTo>
                    <a:pt x="319278" y="354997"/>
                  </a:lnTo>
                  <a:cubicBezTo>
                    <a:pt x="319278" y="375190"/>
                    <a:pt x="323183" y="392716"/>
                    <a:pt x="330899" y="407575"/>
                  </a:cubicBezTo>
                  <a:cubicBezTo>
                    <a:pt x="338614" y="422434"/>
                    <a:pt x="352616" y="435864"/>
                    <a:pt x="372904" y="447675"/>
                  </a:cubicBezTo>
                  <a:cubicBezTo>
                    <a:pt x="393192" y="459581"/>
                    <a:pt x="420910" y="470821"/>
                    <a:pt x="456057" y="481489"/>
                  </a:cubicBezTo>
                  <a:cubicBezTo>
                    <a:pt x="491204" y="492157"/>
                    <a:pt x="535591" y="504730"/>
                    <a:pt x="589217" y="518922"/>
                  </a:cubicBezTo>
                  <a:cubicBezTo>
                    <a:pt x="652367" y="535591"/>
                    <a:pt x="708660" y="554260"/>
                    <a:pt x="758190" y="575120"/>
                  </a:cubicBezTo>
                  <a:cubicBezTo>
                    <a:pt x="807625" y="595979"/>
                    <a:pt x="849344" y="620935"/>
                    <a:pt x="883349" y="649986"/>
                  </a:cubicBezTo>
                  <a:cubicBezTo>
                    <a:pt x="917353" y="679132"/>
                    <a:pt x="942975" y="713327"/>
                    <a:pt x="960215" y="752570"/>
                  </a:cubicBezTo>
                  <a:cubicBezTo>
                    <a:pt x="977456" y="791813"/>
                    <a:pt x="986123" y="838772"/>
                    <a:pt x="986123" y="893445"/>
                  </a:cubicBezTo>
                  <a:lnTo>
                    <a:pt x="986123" y="897064"/>
                  </a:lnTo>
                  <a:cubicBezTo>
                    <a:pt x="986123" y="958882"/>
                    <a:pt x="974884" y="1013841"/>
                    <a:pt x="952500" y="1062038"/>
                  </a:cubicBezTo>
                  <a:cubicBezTo>
                    <a:pt x="930021" y="1110139"/>
                    <a:pt x="898779" y="1150620"/>
                    <a:pt x="858584" y="1183291"/>
                  </a:cubicBezTo>
                  <a:cubicBezTo>
                    <a:pt x="818388" y="1216057"/>
                    <a:pt x="770477" y="1241012"/>
                    <a:pt x="714851" y="1258157"/>
                  </a:cubicBezTo>
                  <a:cubicBezTo>
                    <a:pt x="659130" y="1275398"/>
                    <a:pt x="597503" y="1284065"/>
                    <a:pt x="529685" y="1284065"/>
                  </a:cubicBezTo>
                  <a:close/>
                </a:path>
              </a:pathLst>
            </a:custGeom>
            <a:solidFill>
              <a:srgbClr val="44505E"/>
            </a:solidFill>
            <a:ln w="9525" cap="flat">
              <a:noFill/>
              <a:prstDash val="solid"/>
              <a:miter/>
            </a:ln>
          </p:spPr>
          <p:txBody>
            <a:bodyPr rtlCol="0" anchor="ctr"/>
            <a:lstStyle/>
            <a:p>
              <a:endParaRPr lang="pt-BR" noProof="0"/>
            </a:p>
          </p:txBody>
        </p:sp>
        <p:sp>
          <p:nvSpPr>
            <p:cNvPr id="17" name="Freeform: Shape 16">
              <a:extLst>
                <a:ext uri="{FF2B5EF4-FFF2-40B4-BE49-F238E27FC236}">
                  <a16:creationId xmlns:a16="http://schemas.microsoft.com/office/drawing/2014/main" id="{292E2BFD-8F43-7D9D-2D31-9AFCDE377C1B}"/>
                </a:ext>
              </a:extLst>
            </p:cNvPr>
            <p:cNvSpPr/>
            <p:nvPr/>
          </p:nvSpPr>
          <p:spPr>
            <a:xfrm>
              <a:off x="5492084" y="310867"/>
              <a:ext cx="332584" cy="315991"/>
            </a:xfrm>
            <a:custGeom>
              <a:avLst/>
              <a:gdLst>
                <a:gd name="connsiteX0" fmla="*/ 534924 w 1323022"/>
                <a:gd name="connsiteY0" fmla="*/ 0 h 1257014"/>
                <a:gd name="connsiteX1" fmla="*/ 788099 w 1323022"/>
                <a:gd name="connsiteY1" fmla="*/ 0 h 1257014"/>
                <a:gd name="connsiteX2" fmla="*/ 1323023 w 1323022"/>
                <a:gd name="connsiteY2" fmla="*/ 1257014 h 1257014"/>
                <a:gd name="connsiteX3" fmla="*/ 1035939 w 1323022"/>
                <a:gd name="connsiteY3" fmla="*/ 1257014 h 1257014"/>
                <a:gd name="connsiteX4" fmla="*/ 921829 w 1323022"/>
                <a:gd name="connsiteY4" fmla="*/ 977075 h 1257014"/>
                <a:gd name="connsiteX5" fmla="*/ 394049 w 1323022"/>
                <a:gd name="connsiteY5" fmla="*/ 977075 h 1257014"/>
                <a:gd name="connsiteX6" fmla="*/ 279940 w 1323022"/>
                <a:gd name="connsiteY6" fmla="*/ 1257014 h 1257014"/>
                <a:gd name="connsiteX7" fmla="*/ 0 w 1323022"/>
                <a:gd name="connsiteY7" fmla="*/ 1257014 h 1257014"/>
                <a:gd name="connsiteX8" fmla="*/ 534924 w 1323022"/>
                <a:gd name="connsiteY8" fmla="*/ 0 h 1257014"/>
                <a:gd name="connsiteX9" fmla="*/ 823817 w 1323022"/>
                <a:gd name="connsiteY9" fmla="*/ 734568 h 1257014"/>
                <a:gd name="connsiteX10" fmla="*/ 657987 w 1323022"/>
                <a:gd name="connsiteY10" fmla="*/ 329851 h 1257014"/>
                <a:gd name="connsiteX11" fmla="*/ 492157 w 1323022"/>
                <a:gd name="connsiteY11" fmla="*/ 734568 h 1257014"/>
                <a:gd name="connsiteX12" fmla="*/ 823817 w 1323022"/>
                <a:gd name="connsiteY12" fmla="*/ 734568 h 125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022" h="1257014">
                  <a:moveTo>
                    <a:pt x="534924" y="0"/>
                  </a:moveTo>
                  <a:lnTo>
                    <a:pt x="788099" y="0"/>
                  </a:lnTo>
                  <a:lnTo>
                    <a:pt x="1323023" y="1257014"/>
                  </a:lnTo>
                  <a:lnTo>
                    <a:pt x="1035939" y="1257014"/>
                  </a:lnTo>
                  <a:lnTo>
                    <a:pt x="921829" y="977075"/>
                  </a:lnTo>
                  <a:lnTo>
                    <a:pt x="394049" y="977075"/>
                  </a:lnTo>
                  <a:lnTo>
                    <a:pt x="279940" y="1257014"/>
                  </a:lnTo>
                  <a:lnTo>
                    <a:pt x="0" y="1257014"/>
                  </a:lnTo>
                  <a:lnTo>
                    <a:pt x="534924" y="0"/>
                  </a:lnTo>
                  <a:close/>
                  <a:moveTo>
                    <a:pt x="823817" y="734568"/>
                  </a:moveTo>
                  <a:lnTo>
                    <a:pt x="657987" y="329851"/>
                  </a:lnTo>
                  <a:lnTo>
                    <a:pt x="492157" y="734568"/>
                  </a:lnTo>
                  <a:lnTo>
                    <a:pt x="823817" y="734568"/>
                  </a:lnTo>
                  <a:close/>
                </a:path>
              </a:pathLst>
            </a:custGeom>
            <a:solidFill>
              <a:srgbClr val="44505E"/>
            </a:solidFill>
            <a:ln w="9525" cap="flat">
              <a:noFill/>
              <a:prstDash val="solid"/>
              <a:miter/>
            </a:ln>
          </p:spPr>
          <p:txBody>
            <a:bodyPr rtlCol="0" anchor="ctr"/>
            <a:lstStyle/>
            <a:p>
              <a:endParaRPr lang="pt-BR" noProof="0"/>
            </a:p>
          </p:txBody>
        </p:sp>
        <p:sp>
          <p:nvSpPr>
            <p:cNvPr id="18" name="Freeform: Shape 17">
              <a:extLst>
                <a:ext uri="{FF2B5EF4-FFF2-40B4-BE49-F238E27FC236}">
                  <a16:creationId xmlns:a16="http://schemas.microsoft.com/office/drawing/2014/main" id="{578F0272-453E-03A5-29E1-E3174CC348EC}"/>
                </a:ext>
              </a:extLst>
            </p:cNvPr>
            <p:cNvSpPr/>
            <p:nvPr/>
          </p:nvSpPr>
          <p:spPr>
            <a:xfrm>
              <a:off x="5834078" y="211355"/>
              <a:ext cx="273442" cy="420435"/>
            </a:xfrm>
            <a:custGeom>
              <a:avLst/>
              <a:gdLst>
                <a:gd name="connsiteX0" fmla="*/ 540258 w 1087754"/>
                <a:gd name="connsiteY0" fmla="*/ 1672495 h 1672494"/>
                <a:gd name="connsiteX1" fmla="*/ 144399 w 1087754"/>
                <a:gd name="connsiteY1" fmla="*/ 1533430 h 1672494"/>
                <a:gd name="connsiteX2" fmla="*/ 0 w 1087754"/>
                <a:gd name="connsiteY2" fmla="*/ 1117949 h 1672494"/>
                <a:gd name="connsiteX3" fmla="*/ 0 w 1087754"/>
                <a:gd name="connsiteY3" fmla="*/ 404717 h 1672494"/>
                <a:gd name="connsiteX4" fmla="*/ 274606 w 1087754"/>
                <a:gd name="connsiteY4" fmla="*/ 404717 h 1672494"/>
                <a:gd name="connsiteX5" fmla="*/ 274606 w 1087754"/>
                <a:gd name="connsiteY5" fmla="*/ 1110806 h 1672494"/>
                <a:gd name="connsiteX6" fmla="*/ 345948 w 1087754"/>
                <a:gd name="connsiteY6" fmla="*/ 1341692 h 1672494"/>
                <a:gd name="connsiteX7" fmla="*/ 543877 w 1087754"/>
                <a:gd name="connsiteY7" fmla="*/ 1419225 h 1672494"/>
                <a:gd name="connsiteX8" fmla="*/ 741807 w 1087754"/>
                <a:gd name="connsiteY8" fmla="*/ 1344359 h 1672494"/>
                <a:gd name="connsiteX9" fmla="*/ 813149 w 1087754"/>
                <a:gd name="connsiteY9" fmla="*/ 1119664 h 1672494"/>
                <a:gd name="connsiteX10" fmla="*/ 813149 w 1087754"/>
                <a:gd name="connsiteY10" fmla="*/ 404717 h 1672494"/>
                <a:gd name="connsiteX11" fmla="*/ 1087755 w 1087754"/>
                <a:gd name="connsiteY11" fmla="*/ 404717 h 1672494"/>
                <a:gd name="connsiteX12" fmla="*/ 1087755 w 1087754"/>
                <a:gd name="connsiteY12" fmla="*/ 1108996 h 1672494"/>
                <a:gd name="connsiteX13" fmla="*/ 1049369 w 1087754"/>
                <a:gd name="connsiteY13" fmla="*/ 1356836 h 1672494"/>
                <a:gd name="connsiteX14" fmla="*/ 939737 w 1087754"/>
                <a:gd name="connsiteY14" fmla="*/ 1532477 h 1672494"/>
                <a:gd name="connsiteX15" fmla="*/ 766763 w 1087754"/>
                <a:gd name="connsiteY15" fmla="*/ 1637729 h 1672494"/>
                <a:gd name="connsiteX16" fmla="*/ 540353 w 1087754"/>
                <a:gd name="connsiteY16" fmla="*/ 1672495 h 1672494"/>
                <a:gd name="connsiteX17" fmla="*/ 622268 w 1087754"/>
                <a:gd name="connsiteY17" fmla="*/ 0 h 1672494"/>
                <a:gd name="connsiteX18" fmla="*/ 855821 w 1087754"/>
                <a:gd name="connsiteY18" fmla="*/ 101632 h 1672494"/>
                <a:gd name="connsiteX19" fmla="*/ 627602 w 1087754"/>
                <a:gd name="connsiteY19" fmla="*/ 315563 h 1672494"/>
                <a:gd name="connsiteX20" fmla="*/ 420719 w 1087754"/>
                <a:gd name="connsiteY20" fmla="*/ 315563 h 1672494"/>
                <a:gd name="connsiteX21" fmla="*/ 622268 w 1087754"/>
                <a:gd name="connsiteY21" fmla="*/ 0 h 16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754" h="1672494">
                  <a:moveTo>
                    <a:pt x="540258" y="1672495"/>
                  </a:moveTo>
                  <a:cubicBezTo>
                    <a:pt x="372618" y="1672495"/>
                    <a:pt x="240697" y="1626108"/>
                    <a:pt x="144399" y="1533430"/>
                  </a:cubicBezTo>
                  <a:cubicBezTo>
                    <a:pt x="48101" y="1440752"/>
                    <a:pt x="0" y="1302258"/>
                    <a:pt x="0" y="1117949"/>
                  </a:cubicBezTo>
                  <a:lnTo>
                    <a:pt x="0" y="404717"/>
                  </a:lnTo>
                  <a:lnTo>
                    <a:pt x="274606" y="404717"/>
                  </a:lnTo>
                  <a:lnTo>
                    <a:pt x="274606" y="1110806"/>
                  </a:lnTo>
                  <a:cubicBezTo>
                    <a:pt x="274606" y="1213009"/>
                    <a:pt x="298418" y="1289971"/>
                    <a:pt x="345948" y="1341692"/>
                  </a:cubicBezTo>
                  <a:cubicBezTo>
                    <a:pt x="393478" y="1393412"/>
                    <a:pt x="459486" y="1419225"/>
                    <a:pt x="543877" y="1419225"/>
                  </a:cubicBezTo>
                  <a:cubicBezTo>
                    <a:pt x="628269" y="1419225"/>
                    <a:pt x="694277" y="1394270"/>
                    <a:pt x="741807" y="1344359"/>
                  </a:cubicBezTo>
                  <a:cubicBezTo>
                    <a:pt x="789337" y="1294448"/>
                    <a:pt x="813149" y="1219581"/>
                    <a:pt x="813149" y="1119664"/>
                  </a:cubicBezTo>
                  <a:lnTo>
                    <a:pt x="813149" y="404717"/>
                  </a:lnTo>
                  <a:lnTo>
                    <a:pt x="1087755" y="404717"/>
                  </a:lnTo>
                  <a:lnTo>
                    <a:pt x="1087755" y="1108996"/>
                  </a:lnTo>
                  <a:cubicBezTo>
                    <a:pt x="1087755" y="1204151"/>
                    <a:pt x="1074992" y="1286732"/>
                    <a:pt x="1049369" y="1356836"/>
                  </a:cubicBezTo>
                  <a:cubicBezTo>
                    <a:pt x="1023747" y="1426940"/>
                    <a:pt x="987266" y="1485519"/>
                    <a:pt x="939737" y="1532477"/>
                  </a:cubicBezTo>
                  <a:cubicBezTo>
                    <a:pt x="892207" y="1579436"/>
                    <a:pt x="834485" y="1614488"/>
                    <a:pt x="766763" y="1637729"/>
                  </a:cubicBezTo>
                  <a:cubicBezTo>
                    <a:pt x="699040" y="1660874"/>
                    <a:pt x="623507" y="1672495"/>
                    <a:pt x="540353" y="1672495"/>
                  </a:cubicBezTo>
                  <a:close/>
                  <a:moveTo>
                    <a:pt x="622268" y="0"/>
                  </a:moveTo>
                  <a:lnTo>
                    <a:pt x="855821" y="101632"/>
                  </a:lnTo>
                  <a:lnTo>
                    <a:pt x="627602" y="315563"/>
                  </a:lnTo>
                  <a:lnTo>
                    <a:pt x="420719" y="315563"/>
                  </a:lnTo>
                  <a:lnTo>
                    <a:pt x="622268" y="0"/>
                  </a:lnTo>
                  <a:close/>
                </a:path>
              </a:pathLst>
            </a:custGeom>
            <a:solidFill>
              <a:srgbClr val="44505E"/>
            </a:solidFill>
            <a:ln w="9525" cap="flat">
              <a:noFill/>
              <a:prstDash val="solid"/>
              <a:miter/>
            </a:ln>
          </p:spPr>
          <p:txBody>
            <a:bodyPr rtlCol="0" anchor="ctr"/>
            <a:lstStyle/>
            <a:p>
              <a:endParaRPr lang="pt-BR" noProof="0"/>
            </a:p>
          </p:txBody>
        </p:sp>
        <p:sp>
          <p:nvSpPr>
            <p:cNvPr id="19" name="Freeform: Shape 18">
              <a:extLst>
                <a:ext uri="{FF2B5EF4-FFF2-40B4-BE49-F238E27FC236}">
                  <a16:creationId xmlns:a16="http://schemas.microsoft.com/office/drawing/2014/main" id="{572B4F06-80DD-38C9-38B2-50CF73D4C7BC}"/>
                </a:ext>
              </a:extLst>
            </p:cNvPr>
            <p:cNvSpPr/>
            <p:nvPr/>
          </p:nvSpPr>
          <p:spPr>
            <a:xfrm>
              <a:off x="6143795" y="313094"/>
              <a:ext cx="289101" cy="313764"/>
            </a:xfrm>
            <a:custGeom>
              <a:avLst/>
              <a:gdLst>
                <a:gd name="connsiteX0" fmla="*/ 0 w 1150048"/>
                <a:gd name="connsiteY0" fmla="*/ 0 h 1248155"/>
                <a:gd name="connsiteX1" fmla="*/ 486728 w 1150048"/>
                <a:gd name="connsiteY1" fmla="*/ 0 h 1248155"/>
                <a:gd name="connsiteX2" fmla="*/ 755047 w 1150048"/>
                <a:gd name="connsiteY2" fmla="*/ 47244 h 1248155"/>
                <a:gd name="connsiteX3" fmla="*/ 965454 w 1150048"/>
                <a:gd name="connsiteY3" fmla="*/ 178308 h 1248155"/>
                <a:gd name="connsiteX4" fmla="*/ 1101852 w 1150048"/>
                <a:gd name="connsiteY4" fmla="*/ 375380 h 1248155"/>
                <a:gd name="connsiteX5" fmla="*/ 1150049 w 1150048"/>
                <a:gd name="connsiteY5" fmla="*/ 620554 h 1248155"/>
                <a:gd name="connsiteX6" fmla="*/ 1150049 w 1150048"/>
                <a:gd name="connsiteY6" fmla="*/ 624173 h 1248155"/>
                <a:gd name="connsiteX7" fmla="*/ 1101852 w 1150048"/>
                <a:gd name="connsiteY7" fmla="*/ 870204 h 1248155"/>
                <a:gd name="connsiteX8" fmla="*/ 965454 w 1150048"/>
                <a:gd name="connsiteY8" fmla="*/ 1068134 h 1248155"/>
                <a:gd name="connsiteX9" fmla="*/ 755047 w 1150048"/>
                <a:gd name="connsiteY9" fmla="*/ 1200055 h 1248155"/>
                <a:gd name="connsiteX10" fmla="*/ 486728 w 1150048"/>
                <a:gd name="connsiteY10" fmla="*/ 1248156 h 1248155"/>
                <a:gd name="connsiteX11" fmla="*/ 0 w 1150048"/>
                <a:gd name="connsiteY11" fmla="*/ 1248156 h 1248155"/>
                <a:gd name="connsiteX12" fmla="*/ 0 w 1150048"/>
                <a:gd name="connsiteY12" fmla="*/ 0 h 1248155"/>
                <a:gd name="connsiteX13" fmla="*/ 486728 w 1150048"/>
                <a:gd name="connsiteY13" fmla="*/ 1000315 h 1248155"/>
                <a:gd name="connsiteX14" fmla="*/ 640080 w 1150048"/>
                <a:gd name="connsiteY14" fmla="*/ 973550 h 1248155"/>
                <a:gd name="connsiteX15" fmla="*/ 758667 w 1150048"/>
                <a:gd name="connsiteY15" fmla="*/ 896874 h 1248155"/>
                <a:gd name="connsiteX16" fmla="*/ 835343 w 1150048"/>
                <a:gd name="connsiteY16" fmla="*/ 779240 h 1248155"/>
                <a:gd name="connsiteX17" fmla="*/ 862965 w 1150048"/>
                <a:gd name="connsiteY17" fmla="*/ 627698 h 1248155"/>
                <a:gd name="connsiteX18" fmla="*/ 862965 w 1150048"/>
                <a:gd name="connsiteY18" fmla="*/ 624078 h 1248155"/>
                <a:gd name="connsiteX19" fmla="*/ 835343 w 1150048"/>
                <a:gd name="connsiteY19" fmla="*/ 472535 h 1248155"/>
                <a:gd name="connsiteX20" fmla="*/ 758667 w 1150048"/>
                <a:gd name="connsiteY20" fmla="*/ 353092 h 1248155"/>
                <a:gd name="connsiteX21" fmla="*/ 640080 w 1150048"/>
                <a:gd name="connsiteY21" fmla="*/ 275558 h 1248155"/>
                <a:gd name="connsiteX22" fmla="*/ 486728 w 1150048"/>
                <a:gd name="connsiteY22" fmla="*/ 247936 h 1248155"/>
                <a:gd name="connsiteX23" fmla="*/ 274511 w 1150048"/>
                <a:gd name="connsiteY23" fmla="*/ 247936 h 1248155"/>
                <a:gd name="connsiteX24" fmla="*/ 274511 w 1150048"/>
                <a:gd name="connsiteY24" fmla="*/ 1000411 h 1248155"/>
                <a:gd name="connsiteX25" fmla="*/ 486728 w 1150048"/>
                <a:gd name="connsiteY25" fmla="*/ 1000411 h 124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50048" h="1248155">
                  <a:moveTo>
                    <a:pt x="0" y="0"/>
                  </a:moveTo>
                  <a:lnTo>
                    <a:pt x="486728" y="0"/>
                  </a:lnTo>
                  <a:cubicBezTo>
                    <a:pt x="584168" y="0"/>
                    <a:pt x="673608" y="15811"/>
                    <a:pt x="755047" y="47244"/>
                  </a:cubicBezTo>
                  <a:cubicBezTo>
                    <a:pt x="836486" y="78772"/>
                    <a:pt x="906590" y="122396"/>
                    <a:pt x="965454" y="178308"/>
                  </a:cubicBezTo>
                  <a:cubicBezTo>
                    <a:pt x="1024319" y="234220"/>
                    <a:pt x="1069753" y="299847"/>
                    <a:pt x="1101852" y="375380"/>
                  </a:cubicBezTo>
                  <a:cubicBezTo>
                    <a:pt x="1133951" y="450914"/>
                    <a:pt x="1150049" y="532543"/>
                    <a:pt x="1150049" y="620554"/>
                  </a:cubicBezTo>
                  <a:lnTo>
                    <a:pt x="1150049" y="624173"/>
                  </a:lnTo>
                  <a:cubicBezTo>
                    <a:pt x="1150049" y="712184"/>
                    <a:pt x="1133951" y="794195"/>
                    <a:pt x="1101852" y="870204"/>
                  </a:cubicBezTo>
                  <a:cubicBezTo>
                    <a:pt x="1069753" y="946309"/>
                    <a:pt x="1024319" y="1012222"/>
                    <a:pt x="965454" y="1068134"/>
                  </a:cubicBezTo>
                  <a:cubicBezTo>
                    <a:pt x="906590" y="1124045"/>
                    <a:pt x="836486" y="1167956"/>
                    <a:pt x="755047" y="1200055"/>
                  </a:cubicBezTo>
                  <a:cubicBezTo>
                    <a:pt x="673608" y="1232154"/>
                    <a:pt x="584168" y="1248156"/>
                    <a:pt x="486728" y="1248156"/>
                  </a:cubicBezTo>
                  <a:lnTo>
                    <a:pt x="0" y="1248156"/>
                  </a:lnTo>
                  <a:lnTo>
                    <a:pt x="0" y="0"/>
                  </a:lnTo>
                  <a:close/>
                  <a:moveTo>
                    <a:pt x="486728" y="1000315"/>
                  </a:moveTo>
                  <a:cubicBezTo>
                    <a:pt x="542639" y="1000315"/>
                    <a:pt x="593693" y="991457"/>
                    <a:pt x="640080" y="973550"/>
                  </a:cubicBezTo>
                  <a:cubicBezTo>
                    <a:pt x="686467" y="955739"/>
                    <a:pt x="725900" y="930211"/>
                    <a:pt x="758667" y="896874"/>
                  </a:cubicBezTo>
                  <a:cubicBezTo>
                    <a:pt x="791337" y="863632"/>
                    <a:pt x="816864" y="824389"/>
                    <a:pt x="835343" y="779240"/>
                  </a:cubicBezTo>
                  <a:cubicBezTo>
                    <a:pt x="853726" y="734092"/>
                    <a:pt x="862965" y="683609"/>
                    <a:pt x="862965" y="627698"/>
                  </a:cubicBezTo>
                  <a:lnTo>
                    <a:pt x="862965" y="624078"/>
                  </a:lnTo>
                  <a:cubicBezTo>
                    <a:pt x="862965" y="569404"/>
                    <a:pt x="853726" y="518827"/>
                    <a:pt x="835343" y="472535"/>
                  </a:cubicBezTo>
                  <a:cubicBezTo>
                    <a:pt x="816864" y="426149"/>
                    <a:pt x="791337" y="386334"/>
                    <a:pt x="758667" y="353092"/>
                  </a:cubicBezTo>
                  <a:cubicBezTo>
                    <a:pt x="725996" y="319849"/>
                    <a:pt x="686467" y="293941"/>
                    <a:pt x="640080" y="275558"/>
                  </a:cubicBezTo>
                  <a:cubicBezTo>
                    <a:pt x="593693" y="257175"/>
                    <a:pt x="542639" y="247936"/>
                    <a:pt x="486728" y="247936"/>
                  </a:cubicBezTo>
                  <a:lnTo>
                    <a:pt x="274511" y="247936"/>
                  </a:lnTo>
                  <a:lnTo>
                    <a:pt x="274511" y="1000411"/>
                  </a:lnTo>
                  <a:lnTo>
                    <a:pt x="486728" y="1000411"/>
                  </a:lnTo>
                  <a:close/>
                </a:path>
              </a:pathLst>
            </a:custGeom>
            <a:solidFill>
              <a:srgbClr val="44505E"/>
            </a:solidFill>
            <a:ln w="9525" cap="flat">
              <a:noFill/>
              <a:prstDash val="solid"/>
              <a:miter/>
            </a:ln>
          </p:spPr>
          <p:txBody>
            <a:bodyPr rtlCol="0" anchor="ctr"/>
            <a:lstStyle/>
            <a:p>
              <a:endParaRPr lang="pt-BR" noProof="0"/>
            </a:p>
          </p:txBody>
        </p:sp>
        <p:sp>
          <p:nvSpPr>
            <p:cNvPr id="20" name="Freeform: Shape 19">
              <a:extLst>
                <a:ext uri="{FF2B5EF4-FFF2-40B4-BE49-F238E27FC236}">
                  <a16:creationId xmlns:a16="http://schemas.microsoft.com/office/drawing/2014/main" id="{AEE85C0F-0CB2-1BFF-44A0-083D8DF3EA04}"/>
                </a:ext>
              </a:extLst>
            </p:cNvPr>
            <p:cNvSpPr/>
            <p:nvPr/>
          </p:nvSpPr>
          <p:spPr>
            <a:xfrm>
              <a:off x="6460217" y="313094"/>
              <a:ext cx="238459" cy="313788"/>
            </a:xfrm>
            <a:custGeom>
              <a:avLst/>
              <a:gdLst>
                <a:gd name="connsiteX0" fmla="*/ 95 w 948594"/>
                <a:gd name="connsiteY0" fmla="*/ 0 h 1248251"/>
                <a:gd name="connsiteX1" fmla="*/ 939737 w 948594"/>
                <a:gd name="connsiteY1" fmla="*/ 0 h 1248251"/>
                <a:gd name="connsiteX2" fmla="*/ 939737 w 948594"/>
                <a:gd name="connsiteY2" fmla="*/ 244316 h 1248251"/>
                <a:gd name="connsiteX3" fmla="*/ 271081 w 948594"/>
                <a:gd name="connsiteY3" fmla="*/ 244316 h 1248251"/>
                <a:gd name="connsiteX4" fmla="*/ 271081 w 948594"/>
                <a:gd name="connsiteY4" fmla="*/ 497491 h 1248251"/>
                <a:gd name="connsiteX5" fmla="*/ 859441 w 948594"/>
                <a:gd name="connsiteY5" fmla="*/ 497491 h 1248251"/>
                <a:gd name="connsiteX6" fmla="*/ 859441 w 948594"/>
                <a:gd name="connsiteY6" fmla="*/ 741807 h 1248251"/>
                <a:gd name="connsiteX7" fmla="*/ 271081 w 948594"/>
                <a:gd name="connsiteY7" fmla="*/ 741807 h 1248251"/>
                <a:gd name="connsiteX8" fmla="*/ 271081 w 948594"/>
                <a:gd name="connsiteY8" fmla="*/ 1003935 h 1248251"/>
                <a:gd name="connsiteX9" fmla="*/ 948595 w 948594"/>
                <a:gd name="connsiteY9" fmla="*/ 1003935 h 1248251"/>
                <a:gd name="connsiteX10" fmla="*/ 948595 w 948594"/>
                <a:gd name="connsiteY10" fmla="*/ 1248251 h 1248251"/>
                <a:gd name="connsiteX11" fmla="*/ 0 w 948594"/>
                <a:gd name="connsiteY11" fmla="*/ 1248251 h 1248251"/>
                <a:gd name="connsiteX12" fmla="*/ 0 w 948594"/>
                <a:gd name="connsiteY12" fmla="*/ 0 h 124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594" h="1248251">
                  <a:moveTo>
                    <a:pt x="95" y="0"/>
                  </a:moveTo>
                  <a:lnTo>
                    <a:pt x="939737" y="0"/>
                  </a:lnTo>
                  <a:lnTo>
                    <a:pt x="939737" y="244316"/>
                  </a:lnTo>
                  <a:lnTo>
                    <a:pt x="271081" y="244316"/>
                  </a:lnTo>
                  <a:lnTo>
                    <a:pt x="271081" y="497491"/>
                  </a:lnTo>
                  <a:lnTo>
                    <a:pt x="859441" y="497491"/>
                  </a:lnTo>
                  <a:lnTo>
                    <a:pt x="859441" y="741807"/>
                  </a:lnTo>
                  <a:lnTo>
                    <a:pt x="271081" y="741807"/>
                  </a:lnTo>
                  <a:lnTo>
                    <a:pt x="271081" y="1003935"/>
                  </a:lnTo>
                  <a:lnTo>
                    <a:pt x="948595" y="1003935"/>
                  </a:lnTo>
                  <a:lnTo>
                    <a:pt x="948595" y="1248251"/>
                  </a:lnTo>
                  <a:lnTo>
                    <a:pt x="0" y="1248251"/>
                  </a:lnTo>
                  <a:lnTo>
                    <a:pt x="0" y="0"/>
                  </a:lnTo>
                  <a:close/>
                </a:path>
              </a:pathLst>
            </a:custGeom>
            <a:solidFill>
              <a:srgbClr val="44505E"/>
            </a:solidFill>
            <a:ln w="9525" cap="flat">
              <a:noFill/>
              <a:prstDash val="solid"/>
              <a:miter/>
            </a:ln>
          </p:spPr>
          <p:txBody>
            <a:bodyPr rtlCol="0" anchor="ctr"/>
            <a:lstStyle/>
            <a:p>
              <a:endParaRPr lang="pt-BR" noProof="0"/>
            </a:p>
          </p:txBody>
        </p:sp>
        <p:sp>
          <p:nvSpPr>
            <p:cNvPr id="21" name="Freeform: Shape 20">
              <a:extLst>
                <a:ext uri="{FF2B5EF4-FFF2-40B4-BE49-F238E27FC236}">
                  <a16:creationId xmlns:a16="http://schemas.microsoft.com/office/drawing/2014/main" id="{78666329-D6C4-1000-6238-C90DFB76BDF7}"/>
                </a:ext>
              </a:extLst>
            </p:cNvPr>
            <p:cNvSpPr/>
            <p:nvPr/>
          </p:nvSpPr>
          <p:spPr>
            <a:xfrm>
              <a:off x="5253193" y="699983"/>
              <a:ext cx="90796" cy="97883"/>
            </a:xfrm>
            <a:custGeom>
              <a:avLst/>
              <a:gdLst>
                <a:gd name="connsiteX0" fmla="*/ 191548 w 361187"/>
                <a:gd name="connsiteY0" fmla="*/ 389382 h 389381"/>
                <a:gd name="connsiteX1" fmla="*/ 116300 w 361187"/>
                <a:gd name="connsiteY1" fmla="*/ 375285 h 389381"/>
                <a:gd name="connsiteX2" fmla="*/ 55531 w 361187"/>
                <a:gd name="connsiteY2" fmla="*/ 335756 h 389381"/>
                <a:gd name="connsiteX3" fmla="*/ 14859 w 361187"/>
                <a:gd name="connsiteY3" fmla="*/ 274606 h 389381"/>
                <a:gd name="connsiteX4" fmla="*/ 0 w 361187"/>
                <a:gd name="connsiteY4" fmla="*/ 195834 h 389381"/>
                <a:gd name="connsiteX5" fmla="*/ 0 w 361187"/>
                <a:gd name="connsiteY5" fmla="*/ 194405 h 389381"/>
                <a:gd name="connsiteX6" fmla="*/ 13430 w 361187"/>
                <a:gd name="connsiteY6" fmla="*/ 118777 h 389381"/>
                <a:gd name="connsiteX7" fmla="*/ 51245 w 361187"/>
                <a:gd name="connsiteY7" fmla="*/ 56959 h 389381"/>
                <a:gd name="connsiteX8" fmla="*/ 108871 w 361187"/>
                <a:gd name="connsiteY8" fmla="*/ 15240 h 389381"/>
                <a:gd name="connsiteX9" fmla="*/ 182404 w 361187"/>
                <a:gd name="connsiteY9" fmla="*/ 0 h 389381"/>
                <a:gd name="connsiteX10" fmla="*/ 260509 w 361187"/>
                <a:gd name="connsiteY10" fmla="*/ 16288 h 389381"/>
                <a:gd name="connsiteX11" fmla="*/ 316325 w 361187"/>
                <a:gd name="connsiteY11" fmla="*/ 60103 h 389381"/>
                <a:gd name="connsiteX12" fmla="*/ 349853 w 361187"/>
                <a:gd name="connsiteY12" fmla="*/ 124015 h 389381"/>
                <a:gd name="connsiteX13" fmla="*/ 361188 w 361187"/>
                <a:gd name="connsiteY13" fmla="*/ 200692 h 389381"/>
                <a:gd name="connsiteX14" fmla="*/ 360807 w 361187"/>
                <a:gd name="connsiteY14" fmla="*/ 212312 h 389381"/>
                <a:gd name="connsiteX15" fmla="*/ 359759 w 361187"/>
                <a:gd name="connsiteY15" fmla="*/ 224695 h 389381"/>
                <a:gd name="connsiteX16" fmla="*/ 85534 w 361187"/>
                <a:gd name="connsiteY16" fmla="*/ 224695 h 389381"/>
                <a:gd name="connsiteX17" fmla="*/ 121920 w 361187"/>
                <a:gd name="connsiteY17" fmla="*/ 294989 h 389381"/>
                <a:gd name="connsiteX18" fmla="*/ 192977 w 361187"/>
                <a:gd name="connsiteY18" fmla="*/ 319373 h 389381"/>
                <a:gd name="connsiteX19" fmla="*/ 248126 w 361187"/>
                <a:gd name="connsiteY19" fmla="*/ 308038 h 389381"/>
                <a:gd name="connsiteX20" fmla="*/ 294037 w 361187"/>
                <a:gd name="connsiteY20" fmla="*/ 274796 h 389381"/>
                <a:gd name="connsiteX21" fmla="*/ 344234 w 361187"/>
                <a:gd name="connsiteY21" fmla="*/ 319278 h 389381"/>
                <a:gd name="connsiteX22" fmla="*/ 280226 w 361187"/>
                <a:gd name="connsiteY22" fmla="*/ 370141 h 389381"/>
                <a:gd name="connsiteX23" fmla="*/ 191548 w 361187"/>
                <a:gd name="connsiteY23" fmla="*/ 389191 h 389381"/>
                <a:gd name="connsiteX24" fmla="*/ 276320 w 361187"/>
                <a:gd name="connsiteY24" fmla="*/ 168211 h 389381"/>
                <a:gd name="connsiteX25" fmla="*/ 267176 w 361187"/>
                <a:gd name="connsiteY25" fmla="*/ 129730 h 389381"/>
                <a:gd name="connsiteX26" fmla="*/ 248126 w 361187"/>
                <a:gd name="connsiteY26" fmla="*/ 98679 h 389381"/>
                <a:gd name="connsiteX27" fmla="*/ 219551 w 361187"/>
                <a:gd name="connsiteY27" fmla="*/ 77819 h 389381"/>
                <a:gd name="connsiteX28" fmla="*/ 181737 w 361187"/>
                <a:gd name="connsiteY28" fmla="*/ 70009 h 389381"/>
                <a:gd name="connsiteX29" fmla="*/ 116396 w 361187"/>
                <a:gd name="connsiteY29" fmla="*/ 97250 h 389381"/>
                <a:gd name="connsiteX30" fmla="*/ 84963 w 361187"/>
                <a:gd name="connsiteY30" fmla="*/ 168307 h 389381"/>
                <a:gd name="connsiteX31" fmla="*/ 276511 w 361187"/>
                <a:gd name="connsiteY31" fmla="*/ 168307 h 38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187" h="389381">
                  <a:moveTo>
                    <a:pt x="191548" y="389382"/>
                  </a:moveTo>
                  <a:cubicBezTo>
                    <a:pt x="164687" y="389382"/>
                    <a:pt x="139637" y="384715"/>
                    <a:pt x="116300" y="375285"/>
                  </a:cubicBezTo>
                  <a:cubicBezTo>
                    <a:pt x="92964" y="365855"/>
                    <a:pt x="72771" y="352711"/>
                    <a:pt x="55531" y="335756"/>
                  </a:cubicBezTo>
                  <a:cubicBezTo>
                    <a:pt x="38291" y="318802"/>
                    <a:pt x="24765" y="298418"/>
                    <a:pt x="14859" y="274606"/>
                  </a:cubicBezTo>
                  <a:cubicBezTo>
                    <a:pt x="4953" y="250793"/>
                    <a:pt x="0" y="224599"/>
                    <a:pt x="0" y="195834"/>
                  </a:cubicBezTo>
                  <a:lnTo>
                    <a:pt x="0" y="194405"/>
                  </a:lnTo>
                  <a:cubicBezTo>
                    <a:pt x="0" y="167545"/>
                    <a:pt x="4477" y="142399"/>
                    <a:pt x="13430" y="118777"/>
                  </a:cubicBezTo>
                  <a:cubicBezTo>
                    <a:pt x="22384" y="95250"/>
                    <a:pt x="34957" y="74581"/>
                    <a:pt x="51245" y="56959"/>
                  </a:cubicBezTo>
                  <a:cubicBezTo>
                    <a:pt x="67532" y="39338"/>
                    <a:pt x="86677" y="25432"/>
                    <a:pt x="108871" y="15240"/>
                  </a:cubicBezTo>
                  <a:cubicBezTo>
                    <a:pt x="131064" y="5143"/>
                    <a:pt x="155543" y="0"/>
                    <a:pt x="182404" y="0"/>
                  </a:cubicBezTo>
                  <a:cubicBezTo>
                    <a:pt x="212122" y="0"/>
                    <a:pt x="238125" y="5429"/>
                    <a:pt x="260509" y="16288"/>
                  </a:cubicBezTo>
                  <a:cubicBezTo>
                    <a:pt x="282893" y="27146"/>
                    <a:pt x="301466" y="41719"/>
                    <a:pt x="316325" y="60103"/>
                  </a:cubicBezTo>
                  <a:cubicBezTo>
                    <a:pt x="331184" y="78486"/>
                    <a:pt x="342329" y="99822"/>
                    <a:pt x="349853" y="124015"/>
                  </a:cubicBezTo>
                  <a:cubicBezTo>
                    <a:pt x="357378" y="148304"/>
                    <a:pt x="361188" y="173831"/>
                    <a:pt x="361188" y="200692"/>
                  </a:cubicBezTo>
                  <a:cubicBezTo>
                    <a:pt x="361188" y="204502"/>
                    <a:pt x="361093" y="208312"/>
                    <a:pt x="360807" y="212312"/>
                  </a:cubicBezTo>
                  <a:cubicBezTo>
                    <a:pt x="360521" y="216313"/>
                    <a:pt x="360236" y="220409"/>
                    <a:pt x="359759" y="224695"/>
                  </a:cubicBezTo>
                  <a:lnTo>
                    <a:pt x="85534" y="224695"/>
                  </a:lnTo>
                  <a:cubicBezTo>
                    <a:pt x="90202" y="255365"/>
                    <a:pt x="102394" y="278797"/>
                    <a:pt x="121920" y="294989"/>
                  </a:cubicBezTo>
                  <a:cubicBezTo>
                    <a:pt x="141446" y="311277"/>
                    <a:pt x="165164" y="319373"/>
                    <a:pt x="192977" y="319373"/>
                  </a:cubicBezTo>
                  <a:cubicBezTo>
                    <a:pt x="214217" y="319373"/>
                    <a:pt x="232505" y="315563"/>
                    <a:pt x="248126" y="308038"/>
                  </a:cubicBezTo>
                  <a:cubicBezTo>
                    <a:pt x="263652" y="300514"/>
                    <a:pt x="278987" y="289465"/>
                    <a:pt x="294037" y="274796"/>
                  </a:cubicBezTo>
                  <a:lnTo>
                    <a:pt x="344234" y="319278"/>
                  </a:lnTo>
                  <a:cubicBezTo>
                    <a:pt x="326327" y="340519"/>
                    <a:pt x="304991" y="357473"/>
                    <a:pt x="280226" y="370141"/>
                  </a:cubicBezTo>
                  <a:cubicBezTo>
                    <a:pt x="255461" y="382810"/>
                    <a:pt x="225933" y="389191"/>
                    <a:pt x="191548" y="389191"/>
                  </a:cubicBezTo>
                  <a:close/>
                  <a:moveTo>
                    <a:pt x="276320" y="168211"/>
                  </a:moveTo>
                  <a:cubicBezTo>
                    <a:pt x="274892" y="154591"/>
                    <a:pt x="271844" y="141732"/>
                    <a:pt x="267176" y="129730"/>
                  </a:cubicBezTo>
                  <a:cubicBezTo>
                    <a:pt x="262414" y="117729"/>
                    <a:pt x="256127" y="107347"/>
                    <a:pt x="248126" y="98679"/>
                  </a:cubicBezTo>
                  <a:cubicBezTo>
                    <a:pt x="240125" y="89916"/>
                    <a:pt x="230600" y="82963"/>
                    <a:pt x="219551" y="77819"/>
                  </a:cubicBezTo>
                  <a:cubicBezTo>
                    <a:pt x="208502" y="72676"/>
                    <a:pt x="195834" y="70009"/>
                    <a:pt x="181737" y="70009"/>
                  </a:cubicBezTo>
                  <a:cubicBezTo>
                    <a:pt x="155353" y="70009"/>
                    <a:pt x="133541" y="79057"/>
                    <a:pt x="116396" y="97250"/>
                  </a:cubicBezTo>
                  <a:cubicBezTo>
                    <a:pt x="99155" y="115348"/>
                    <a:pt x="88678" y="139065"/>
                    <a:pt x="84963" y="168307"/>
                  </a:cubicBezTo>
                  <a:lnTo>
                    <a:pt x="276511" y="168307"/>
                  </a:lnTo>
                  <a:close/>
                </a:path>
              </a:pathLst>
            </a:custGeom>
            <a:solidFill>
              <a:srgbClr val="44505E"/>
            </a:solidFill>
            <a:ln w="9525" cap="flat">
              <a:noFill/>
              <a:prstDash val="solid"/>
              <a:miter/>
            </a:ln>
          </p:spPr>
          <p:txBody>
            <a:bodyPr rtlCol="0" anchor="ctr"/>
            <a:lstStyle/>
            <a:p>
              <a:endParaRPr lang="pt-BR" noProof="0"/>
            </a:p>
          </p:txBody>
        </p:sp>
        <p:sp>
          <p:nvSpPr>
            <p:cNvPr id="22" name="Freeform: Shape 21">
              <a:extLst>
                <a:ext uri="{FF2B5EF4-FFF2-40B4-BE49-F238E27FC236}">
                  <a16:creationId xmlns:a16="http://schemas.microsoft.com/office/drawing/2014/main" id="{6452B3C2-2501-900A-FED4-367319698870}"/>
                </a:ext>
              </a:extLst>
            </p:cNvPr>
            <p:cNvSpPr/>
            <p:nvPr/>
          </p:nvSpPr>
          <p:spPr>
            <a:xfrm>
              <a:off x="5365659"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5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8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3 w 568166"/>
                <a:gd name="connsiteY21" fmla="*/ 381000 h 381000"/>
                <a:gd name="connsiteX22" fmla="*/ 240983 w 568166"/>
                <a:gd name="connsiteY22" fmla="*/ 168783 h 381000"/>
                <a:gd name="connsiteX23" fmla="*/ 221266 w 568166"/>
                <a:gd name="connsiteY23" fmla="*/ 101822 h 381000"/>
                <a:gd name="connsiteX24" fmla="*/ 165640 w 568166"/>
                <a:gd name="connsiteY24" fmla="*/ 78581 h 381000"/>
                <a:gd name="connsiteX25" fmla="*/ 108014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70" y="48196"/>
                    <a:pt x="105918" y="40576"/>
                  </a:cubicBezTo>
                  <a:cubicBezTo>
                    <a:pt x="112967" y="32956"/>
                    <a:pt x="121063" y="26099"/>
                    <a:pt x="130207" y="19907"/>
                  </a:cubicBezTo>
                  <a:cubicBezTo>
                    <a:pt x="139351" y="13716"/>
                    <a:pt x="149733" y="8858"/>
                    <a:pt x="161163" y="5334"/>
                  </a:cubicBezTo>
                  <a:cubicBezTo>
                    <a:pt x="172688" y="1714"/>
                    <a:pt x="185452" y="0"/>
                    <a:pt x="199549" y="0"/>
                  </a:cubicBezTo>
                  <a:cubicBezTo>
                    <a:pt x="226314" y="0"/>
                    <a:pt x="248984" y="6096"/>
                    <a:pt x="267557" y="18193"/>
                  </a:cubicBezTo>
                  <a:cubicBezTo>
                    <a:pt x="286131" y="30289"/>
                    <a:pt x="300323" y="46387"/>
                    <a:pt x="310134" y="66294"/>
                  </a:cubicBezTo>
                  <a:cubicBezTo>
                    <a:pt x="325279" y="46387"/>
                    <a:pt x="343091" y="30289"/>
                    <a:pt x="363665" y="18193"/>
                  </a:cubicBezTo>
                  <a:cubicBezTo>
                    <a:pt x="384239" y="6096"/>
                    <a:pt x="408718" y="0"/>
                    <a:pt x="437007" y="0"/>
                  </a:cubicBezTo>
                  <a:cubicBezTo>
                    <a:pt x="478060"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8" y="78486"/>
                  </a:cubicBezTo>
                  <a:cubicBezTo>
                    <a:pt x="382810" y="78486"/>
                    <a:pt x="364141" y="86392"/>
                    <a:pt x="349377" y="102108"/>
                  </a:cubicBezTo>
                  <a:cubicBezTo>
                    <a:pt x="334613" y="117824"/>
                    <a:pt x="327184" y="140779"/>
                    <a:pt x="327184" y="170879"/>
                  </a:cubicBezTo>
                  <a:lnTo>
                    <a:pt x="327184" y="381000"/>
                  </a:lnTo>
                  <a:lnTo>
                    <a:pt x="240983" y="381000"/>
                  </a:lnTo>
                  <a:lnTo>
                    <a:pt x="240983" y="168783"/>
                  </a:lnTo>
                  <a:cubicBezTo>
                    <a:pt x="240983" y="139637"/>
                    <a:pt x="234410" y="117348"/>
                    <a:pt x="221266" y="101822"/>
                  </a:cubicBezTo>
                  <a:cubicBezTo>
                    <a:pt x="208121" y="86296"/>
                    <a:pt x="189643" y="78581"/>
                    <a:pt x="165640" y="78581"/>
                  </a:cubicBezTo>
                  <a:cubicBezTo>
                    <a:pt x="141637" y="78581"/>
                    <a:pt x="122492" y="86773"/>
                    <a:pt x="108014"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23" name="Freeform: Shape 22">
              <a:extLst>
                <a:ext uri="{FF2B5EF4-FFF2-40B4-BE49-F238E27FC236}">
                  <a16:creationId xmlns:a16="http://schemas.microsoft.com/office/drawing/2014/main" id="{2A854546-EED3-62AC-D7BE-98E47C826E50}"/>
                </a:ext>
              </a:extLst>
            </p:cNvPr>
            <p:cNvSpPr/>
            <p:nvPr/>
          </p:nvSpPr>
          <p:spPr>
            <a:xfrm>
              <a:off x="5587693" y="700007"/>
              <a:ext cx="84211" cy="95752"/>
            </a:xfrm>
            <a:custGeom>
              <a:avLst/>
              <a:gdLst>
                <a:gd name="connsiteX0" fmla="*/ 95 w 334994"/>
                <a:gd name="connsiteY0" fmla="*/ 7715 h 380904"/>
                <a:gd name="connsiteX1" fmla="*/ 86296 w 334994"/>
                <a:gd name="connsiteY1" fmla="*/ 7715 h 380904"/>
                <a:gd name="connsiteX2" fmla="*/ 86296 w 334994"/>
                <a:gd name="connsiteY2" fmla="*/ 66294 h 380904"/>
                <a:gd name="connsiteX3" fmla="*/ 106394 w 334994"/>
                <a:gd name="connsiteY3" fmla="*/ 40958 h 380904"/>
                <a:gd name="connsiteX4" fmla="*/ 131731 w 334994"/>
                <a:gd name="connsiteY4" fmla="*/ 19907 h 380904"/>
                <a:gd name="connsiteX5" fmla="*/ 163449 w 334994"/>
                <a:gd name="connsiteY5" fmla="*/ 5334 h 380904"/>
                <a:gd name="connsiteX6" fmla="*/ 202597 w 334994"/>
                <a:gd name="connsiteY6" fmla="*/ 0 h 380904"/>
                <a:gd name="connsiteX7" fmla="*/ 300514 w 334994"/>
                <a:gd name="connsiteY7" fmla="*/ 38862 h 380904"/>
                <a:gd name="connsiteX8" fmla="*/ 334994 w 334994"/>
                <a:gd name="connsiteY8" fmla="*/ 143446 h 380904"/>
                <a:gd name="connsiteX9" fmla="*/ 334994 w 334994"/>
                <a:gd name="connsiteY9" fmla="*/ 380905 h 380904"/>
                <a:gd name="connsiteX10" fmla="*/ 248793 w 334994"/>
                <a:gd name="connsiteY10" fmla="*/ 380905 h 380904"/>
                <a:gd name="connsiteX11" fmla="*/ 248793 w 334994"/>
                <a:gd name="connsiteY11" fmla="*/ 169450 h 380904"/>
                <a:gd name="connsiteX12" fmla="*/ 228124 w 334994"/>
                <a:gd name="connsiteY12" fmla="*/ 102108 h 380904"/>
                <a:gd name="connsiteX13" fmla="*/ 169640 w 334994"/>
                <a:gd name="connsiteY13" fmla="*/ 78486 h 380904"/>
                <a:gd name="connsiteX14" fmla="*/ 109347 w 334994"/>
                <a:gd name="connsiteY14" fmla="*/ 102775 h 380904"/>
                <a:gd name="connsiteX15" fmla="*/ 86201 w 334994"/>
                <a:gd name="connsiteY15" fmla="*/ 170783 h 380904"/>
                <a:gd name="connsiteX16" fmla="*/ 86201 w 334994"/>
                <a:gd name="connsiteY16" fmla="*/ 380905 h 380904"/>
                <a:gd name="connsiteX17" fmla="*/ 0 w 334994"/>
                <a:gd name="connsiteY17" fmla="*/ 380905 h 380904"/>
                <a:gd name="connsiteX18" fmla="*/ 0 w 334994"/>
                <a:gd name="connsiteY18" fmla="*/ 7810 h 38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94" h="380904">
                  <a:moveTo>
                    <a:pt x="95" y="7715"/>
                  </a:moveTo>
                  <a:lnTo>
                    <a:pt x="86296" y="7715"/>
                  </a:lnTo>
                  <a:lnTo>
                    <a:pt x="86296" y="66294"/>
                  </a:lnTo>
                  <a:cubicBezTo>
                    <a:pt x="92392" y="57245"/>
                    <a:pt x="99060" y="48863"/>
                    <a:pt x="106394" y="40958"/>
                  </a:cubicBezTo>
                  <a:cubicBezTo>
                    <a:pt x="113633" y="33147"/>
                    <a:pt x="122110" y="26099"/>
                    <a:pt x="131731" y="19907"/>
                  </a:cubicBezTo>
                  <a:cubicBezTo>
                    <a:pt x="141351" y="13716"/>
                    <a:pt x="151924" y="8858"/>
                    <a:pt x="163449" y="5334"/>
                  </a:cubicBezTo>
                  <a:cubicBezTo>
                    <a:pt x="174974" y="1714"/>
                    <a:pt x="188024" y="0"/>
                    <a:pt x="202597" y="0"/>
                  </a:cubicBezTo>
                  <a:cubicBezTo>
                    <a:pt x="244888" y="0"/>
                    <a:pt x="277559" y="12954"/>
                    <a:pt x="300514" y="38862"/>
                  </a:cubicBezTo>
                  <a:cubicBezTo>
                    <a:pt x="323564" y="64770"/>
                    <a:pt x="334994" y="99631"/>
                    <a:pt x="334994" y="143446"/>
                  </a:cubicBezTo>
                  <a:lnTo>
                    <a:pt x="334994" y="380905"/>
                  </a:lnTo>
                  <a:lnTo>
                    <a:pt x="248793" y="380905"/>
                  </a:lnTo>
                  <a:lnTo>
                    <a:pt x="248793" y="169450"/>
                  </a:lnTo>
                  <a:cubicBezTo>
                    <a:pt x="248793" y="140303"/>
                    <a:pt x="241935" y="117824"/>
                    <a:pt x="228124" y="102108"/>
                  </a:cubicBezTo>
                  <a:cubicBezTo>
                    <a:pt x="214313" y="86392"/>
                    <a:pt x="194881" y="78486"/>
                    <a:pt x="169640" y="78486"/>
                  </a:cubicBezTo>
                  <a:cubicBezTo>
                    <a:pt x="144399" y="78486"/>
                    <a:pt x="124777" y="86582"/>
                    <a:pt x="109347" y="102775"/>
                  </a:cubicBezTo>
                  <a:cubicBezTo>
                    <a:pt x="93917" y="118967"/>
                    <a:pt x="86201" y="141637"/>
                    <a:pt x="86201" y="170783"/>
                  </a:cubicBezTo>
                  <a:lnTo>
                    <a:pt x="86201" y="380905"/>
                  </a:lnTo>
                  <a:lnTo>
                    <a:pt x="0" y="380905"/>
                  </a:lnTo>
                  <a:lnTo>
                    <a:pt x="0" y="7810"/>
                  </a:lnTo>
                  <a:close/>
                </a:path>
              </a:pathLst>
            </a:custGeom>
            <a:solidFill>
              <a:srgbClr val="44505E"/>
            </a:solidFill>
            <a:ln w="9525" cap="flat">
              <a:noFill/>
              <a:prstDash val="solid"/>
              <a:miter/>
            </a:ln>
          </p:spPr>
          <p:txBody>
            <a:bodyPr rtlCol="0" anchor="ctr"/>
            <a:lstStyle/>
            <a:p>
              <a:endParaRPr lang="pt-BR" noProof="0"/>
            </a:p>
          </p:txBody>
        </p:sp>
        <p:sp>
          <p:nvSpPr>
            <p:cNvPr id="24" name="Freeform: Shape 23">
              <a:extLst>
                <a:ext uri="{FF2B5EF4-FFF2-40B4-BE49-F238E27FC236}">
                  <a16:creationId xmlns:a16="http://schemas.microsoft.com/office/drawing/2014/main" id="{4A768D16-E363-39DF-6081-7D24CED76E88}"/>
                </a:ext>
              </a:extLst>
            </p:cNvPr>
            <p:cNvSpPr/>
            <p:nvPr/>
          </p:nvSpPr>
          <p:spPr>
            <a:xfrm>
              <a:off x="5692712" y="699959"/>
              <a:ext cx="100015" cy="97908"/>
            </a:xfrm>
            <a:custGeom>
              <a:avLst/>
              <a:gdLst>
                <a:gd name="connsiteX0" fmla="*/ 197834 w 397859"/>
                <a:gd name="connsiteY0" fmla="*/ 389477 h 389477"/>
                <a:gd name="connsiteX1" fmla="*/ 119063 w 397859"/>
                <a:gd name="connsiteY1" fmla="*/ 374237 h 389477"/>
                <a:gd name="connsiteX2" fmla="*/ 56197 w 397859"/>
                <a:gd name="connsiteY2" fmla="*/ 332899 h 389477"/>
                <a:gd name="connsiteX3" fmla="*/ 14859 w 397859"/>
                <a:gd name="connsiteY3" fmla="*/ 271463 h 389477"/>
                <a:gd name="connsiteX4" fmla="*/ 0 w 397859"/>
                <a:gd name="connsiteY4" fmla="*/ 196501 h 389477"/>
                <a:gd name="connsiteX5" fmla="*/ 0 w 397859"/>
                <a:gd name="connsiteY5" fmla="*/ 195072 h 389477"/>
                <a:gd name="connsiteX6" fmla="*/ 15145 w 397859"/>
                <a:gd name="connsiteY6" fmla="*/ 119444 h 389477"/>
                <a:gd name="connsiteX7" fmla="*/ 56864 w 397859"/>
                <a:gd name="connsiteY7" fmla="*/ 57626 h 389477"/>
                <a:gd name="connsiteX8" fmla="*/ 119729 w 397859"/>
                <a:gd name="connsiteY8" fmla="*/ 15526 h 389477"/>
                <a:gd name="connsiteX9" fmla="*/ 199263 w 397859"/>
                <a:gd name="connsiteY9" fmla="*/ 0 h 389477"/>
                <a:gd name="connsiteX10" fmla="*/ 278797 w 397859"/>
                <a:gd name="connsiteY10" fmla="*/ 15240 h 389477"/>
                <a:gd name="connsiteX11" fmla="*/ 341662 w 397859"/>
                <a:gd name="connsiteY11" fmla="*/ 56959 h 389477"/>
                <a:gd name="connsiteX12" fmla="*/ 383000 w 397859"/>
                <a:gd name="connsiteY12" fmla="*/ 118396 h 389477"/>
                <a:gd name="connsiteX13" fmla="*/ 397859 w 397859"/>
                <a:gd name="connsiteY13" fmla="*/ 193643 h 389477"/>
                <a:gd name="connsiteX14" fmla="*/ 397859 w 397859"/>
                <a:gd name="connsiteY14" fmla="*/ 195072 h 389477"/>
                <a:gd name="connsiteX15" fmla="*/ 382619 w 397859"/>
                <a:gd name="connsiteY15" fmla="*/ 270034 h 389477"/>
                <a:gd name="connsiteX16" fmla="*/ 340900 w 397859"/>
                <a:gd name="connsiteY16" fmla="*/ 331851 h 389477"/>
                <a:gd name="connsiteX17" fmla="*/ 277654 w 397859"/>
                <a:gd name="connsiteY17" fmla="*/ 373856 h 389477"/>
                <a:gd name="connsiteX18" fmla="*/ 197834 w 397859"/>
                <a:gd name="connsiteY18" fmla="*/ 389382 h 389477"/>
                <a:gd name="connsiteX19" fmla="*/ 199263 w 397859"/>
                <a:gd name="connsiteY19" fmla="*/ 315278 h 389477"/>
                <a:gd name="connsiteX20" fmla="*/ 245935 w 397859"/>
                <a:gd name="connsiteY20" fmla="*/ 305753 h 389477"/>
                <a:gd name="connsiteX21" fmla="*/ 281368 w 397859"/>
                <a:gd name="connsiteY21" fmla="*/ 279940 h 389477"/>
                <a:gd name="connsiteX22" fmla="*/ 303847 w 397859"/>
                <a:gd name="connsiteY22" fmla="*/ 242125 h 389477"/>
                <a:gd name="connsiteX23" fmla="*/ 311563 w 397859"/>
                <a:gd name="connsiteY23" fmla="*/ 196501 h 389477"/>
                <a:gd name="connsiteX24" fmla="*/ 311563 w 397859"/>
                <a:gd name="connsiteY24" fmla="*/ 195072 h 389477"/>
                <a:gd name="connsiteX25" fmla="*/ 303181 w 397859"/>
                <a:gd name="connsiteY25" fmla="*/ 148400 h 389477"/>
                <a:gd name="connsiteX26" fmla="*/ 279654 w 397859"/>
                <a:gd name="connsiteY26" fmla="*/ 110204 h 389477"/>
                <a:gd name="connsiteX27" fmla="*/ 243840 w 397859"/>
                <a:gd name="connsiteY27" fmla="*/ 84392 h 389477"/>
                <a:gd name="connsiteX28" fmla="*/ 197834 w 397859"/>
                <a:gd name="connsiteY28" fmla="*/ 74867 h 389477"/>
                <a:gd name="connsiteX29" fmla="*/ 151829 w 397859"/>
                <a:gd name="connsiteY29" fmla="*/ 84392 h 389477"/>
                <a:gd name="connsiteX30" fmla="*/ 116396 w 397859"/>
                <a:gd name="connsiteY30" fmla="*/ 109823 h 389477"/>
                <a:gd name="connsiteX31" fmla="*/ 93917 w 397859"/>
                <a:gd name="connsiteY31" fmla="*/ 147638 h 389477"/>
                <a:gd name="connsiteX32" fmla="*/ 86201 w 397859"/>
                <a:gd name="connsiteY32" fmla="*/ 193548 h 389477"/>
                <a:gd name="connsiteX33" fmla="*/ 86201 w 397859"/>
                <a:gd name="connsiteY33" fmla="*/ 194977 h 389477"/>
                <a:gd name="connsiteX34" fmla="*/ 94583 w 397859"/>
                <a:gd name="connsiteY34" fmla="*/ 241268 h 389477"/>
                <a:gd name="connsiteX35" fmla="*/ 118110 w 397859"/>
                <a:gd name="connsiteY35" fmla="*/ 279463 h 389477"/>
                <a:gd name="connsiteX36" fmla="*/ 153924 w 397859"/>
                <a:gd name="connsiteY36" fmla="*/ 305562 h 389477"/>
                <a:gd name="connsiteX37" fmla="*/ 199263 w 397859"/>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859" h="389477">
                  <a:moveTo>
                    <a:pt x="197834" y="389477"/>
                  </a:moveTo>
                  <a:cubicBezTo>
                    <a:pt x="169545" y="389477"/>
                    <a:pt x="143351" y="384429"/>
                    <a:pt x="119063" y="374237"/>
                  </a:cubicBezTo>
                  <a:cubicBezTo>
                    <a:pt x="94774" y="364141"/>
                    <a:pt x="73819" y="350330"/>
                    <a:pt x="56197" y="332899"/>
                  </a:cubicBezTo>
                  <a:cubicBezTo>
                    <a:pt x="38481" y="315468"/>
                    <a:pt x="24765" y="294989"/>
                    <a:pt x="14859" y="271463"/>
                  </a:cubicBezTo>
                  <a:cubicBezTo>
                    <a:pt x="4953" y="247936"/>
                    <a:pt x="0" y="222980"/>
                    <a:pt x="0" y="196501"/>
                  </a:cubicBezTo>
                  <a:lnTo>
                    <a:pt x="0" y="195072"/>
                  </a:lnTo>
                  <a:cubicBezTo>
                    <a:pt x="0" y="168212"/>
                    <a:pt x="5048" y="143066"/>
                    <a:pt x="15145" y="119444"/>
                  </a:cubicBezTo>
                  <a:cubicBezTo>
                    <a:pt x="25241" y="95917"/>
                    <a:pt x="39148" y="75248"/>
                    <a:pt x="56864" y="57626"/>
                  </a:cubicBezTo>
                  <a:cubicBezTo>
                    <a:pt x="74581" y="39910"/>
                    <a:pt x="95536" y="25908"/>
                    <a:pt x="119729" y="15526"/>
                  </a:cubicBezTo>
                  <a:cubicBezTo>
                    <a:pt x="144018" y="5144"/>
                    <a:pt x="170497" y="0"/>
                    <a:pt x="199263" y="0"/>
                  </a:cubicBezTo>
                  <a:cubicBezTo>
                    <a:pt x="228029" y="0"/>
                    <a:pt x="254508" y="5048"/>
                    <a:pt x="278797" y="15240"/>
                  </a:cubicBezTo>
                  <a:cubicBezTo>
                    <a:pt x="303085" y="25337"/>
                    <a:pt x="324041" y="39243"/>
                    <a:pt x="341662" y="56959"/>
                  </a:cubicBezTo>
                  <a:cubicBezTo>
                    <a:pt x="359378" y="74676"/>
                    <a:pt x="373094" y="95155"/>
                    <a:pt x="383000" y="118396"/>
                  </a:cubicBezTo>
                  <a:cubicBezTo>
                    <a:pt x="392906" y="141732"/>
                    <a:pt x="397859" y="166783"/>
                    <a:pt x="397859" y="193643"/>
                  </a:cubicBezTo>
                  <a:lnTo>
                    <a:pt x="397859" y="195072"/>
                  </a:lnTo>
                  <a:cubicBezTo>
                    <a:pt x="397859" y="221456"/>
                    <a:pt x="392811" y="246412"/>
                    <a:pt x="382619" y="270034"/>
                  </a:cubicBezTo>
                  <a:cubicBezTo>
                    <a:pt x="372523" y="293561"/>
                    <a:pt x="358616" y="314230"/>
                    <a:pt x="340900" y="331851"/>
                  </a:cubicBezTo>
                  <a:cubicBezTo>
                    <a:pt x="323183" y="349472"/>
                    <a:pt x="302133" y="363569"/>
                    <a:pt x="277654" y="373856"/>
                  </a:cubicBezTo>
                  <a:cubicBezTo>
                    <a:pt x="253175" y="384238"/>
                    <a:pt x="226504" y="389382"/>
                    <a:pt x="197834" y="389382"/>
                  </a:cubicBezTo>
                  <a:close/>
                  <a:moveTo>
                    <a:pt x="199263" y="315278"/>
                  </a:moveTo>
                  <a:cubicBezTo>
                    <a:pt x="216598" y="315278"/>
                    <a:pt x="232124" y="312039"/>
                    <a:pt x="245935" y="305753"/>
                  </a:cubicBezTo>
                  <a:cubicBezTo>
                    <a:pt x="259747" y="299371"/>
                    <a:pt x="271558" y="290798"/>
                    <a:pt x="281368" y="279940"/>
                  </a:cubicBezTo>
                  <a:cubicBezTo>
                    <a:pt x="291179" y="269081"/>
                    <a:pt x="298704" y="256508"/>
                    <a:pt x="303847" y="242125"/>
                  </a:cubicBezTo>
                  <a:cubicBezTo>
                    <a:pt x="308991" y="227743"/>
                    <a:pt x="311563" y="212598"/>
                    <a:pt x="311563" y="196501"/>
                  </a:cubicBezTo>
                  <a:lnTo>
                    <a:pt x="311563" y="195072"/>
                  </a:lnTo>
                  <a:cubicBezTo>
                    <a:pt x="311563" y="178594"/>
                    <a:pt x="308800" y="163068"/>
                    <a:pt x="303181" y="148400"/>
                  </a:cubicBezTo>
                  <a:cubicBezTo>
                    <a:pt x="297561" y="133826"/>
                    <a:pt x="289750" y="121063"/>
                    <a:pt x="279654" y="110204"/>
                  </a:cubicBezTo>
                  <a:cubicBezTo>
                    <a:pt x="269558" y="99346"/>
                    <a:pt x="257651" y="90773"/>
                    <a:pt x="243840" y="84392"/>
                  </a:cubicBezTo>
                  <a:cubicBezTo>
                    <a:pt x="230029" y="78010"/>
                    <a:pt x="214693" y="74867"/>
                    <a:pt x="197834" y="74867"/>
                  </a:cubicBezTo>
                  <a:cubicBezTo>
                    <a:pt x="180975" y="74867"/>
                    <a:pt x="165640" y="78010"/>
                    <a:pt x="151829" y="84392"/>
                  </a:cubicBezTo>
                  <a:cubicBezTo>
                    <a:pt x="138017" y="90773"/>
                    <a:pt x="126206" y="99250"/>
                    <a:pt x="116396" y="109823"/>
                  </a:cubicBezTo>
                  <a:cubicBezTo>
                    <a:pt x="106585" y="120396"/>
                    <a:pt x="99060" y="133064"/>
                    <a:pt x="93917" y="147638"/>
                  </a:cubicBezTo>
                  <a:cubicBezTo>
                    <a:pt x="88773" y="162211"/>
                    <a:pt x="86201" y="177546"/>
                    <a:pt x="86201" y="193548"/>
                  </a:cubicBezTo>
                  <a:lnTo>
                    <a:pt x="86201" y="194977"/>
                  </a:lnTo>
                  <a:cubicBezTo>
                    <a:pt x="86201" y="211455"/>
                    <a:pt x="88963" y="226886"/>
                    <a:pt x="94583" y="241268"/>
                  </a:cubicBezTo>
                  <a:cubicBezTo>
                    <a:pt x="100203" y="255651"/>
                    <a:pt x="108013" y="268319"/>
                    <a:pt x="118110" y="279463"/>
                  </a:cubicBezTo>
                  <a:cubicBezTo>
                    <a:pt x="128206" y="290513"/>
                    <a:pt x="140113" y="299275"/>
                    <a:pt x="153924" y="305562"/>
                  </a:cubicBezTo>
                  <a:cubicBezTo>
                    <a:pt x="167735" y="311944"/>
                    <a:pt x="182880"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25" name="Freeform: Shape 24">
              <a:extLst>
                <a:ext uri="{FF2B5EF4-FFF2-40B4-BE49-F238E27FC236}">
                  <a16:creationId xmlns:a16="http://schemas.microsoft.com/office/drawing/2014/main" id="{C079B72D-E51C-1110-08A1-12F690FEDC7E}"/>
                </a:ext>
              </a:extLst>
            </p:cNvPr>
            <p:cNvSpPr/>
            <p:nvPr/>
          </p:nvSpPr>
          <p:spPr>
            <a:xfrm>
              <a:off x="5806925"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2 w 296894"/>
                <a:gd name="connsiteY36" fmla="*/ 224980 h 386714"/>
                <a:gd name="connsiteX37" fmla="*/ 296894 w 296894"/>
                <a:gd name="connsiteY37" fmla="*/ 267938 h 386714"/>
                <a:gd name="connsiteX38" fmla="*/ 296894 w 296894"/>
                <a:gd name="connsiteY38" fmla="*/ 269367 h 386714"/>
                <a:gd name="connsiteX39" fmla="*/ 286322 w 296894"/>
                <a:gd name="connsiteY39" fmla="*/ 320897 h 386714"/>
                <a:gd name="connsiteX40" fmla="*/ 256984 w 296894"/>
                <a:gd name="connsiteY40" fmla="*/ 357188 h 386714"/>
                <a:gd name="connsiteX41" fmla="*/ 212789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8" y="298704"/>
                    <a:pt x="100013" y="306514"/>
                  </a:cubicBezTo>
                  <a:cubicBezTo>
                    <a:pt x="120967" y="314325"/>
                    <a:pt x="141161" y="318135"/>
                    <a:pt x="160401" y="318135"/>
                  </a:cubicBezTo>
                  <a:cubicBezTo>
                    <a:pt x="179642" y="318135"/>
                    <a:pt x="192976"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2" y="241078"/>
                    <a:pt x="176498" y="237553"/>
                    <a:pt x="166402" y="234220"/>
                  </a:cubicBezTo>
                  <a:cubicBezTo>
                    <a:pt x="156305" y="230886"/>
                    <a:pt x="145733" y="227647"/>
                    <a:pt x="134969" y="224314"/>
                  </a:cubicBezTo>
                  <a:cubicBezTo>
                    <a:pt x="121253" y="220599"/>
                    <a:pt x="107537" y="216122"/>
                    <a:pt x="93631" y="210884"/>
                  </a:cubicBezTo>
                  <a:cubicBezTo>
                    <a:pt x="79724" y="205740"/>
                    <a:pt x="67246" y="198977"/>
                    <a:pt x="56197" y="190786"/>
                  </a:cubicBezTo>
                  <a:cubicBezTo>
                    <a:pt x="45149" y="182594"/>
                    <a:pt x="36100" y="172307"/>
                    <a:pt x="28956" y="160115"/>
                  </a:cubicBezTo>
                  <a:cubicBezTo>
                    <a:pt x="21908"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5"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7" y="156210"/>
                    <a:pt x="180975" y="159448"/>
                  </a:cubicBezTo>
                  <a:cubicBezTo>
                    <a:pt x="194596" y="163639"/>
                    <a:pt x="208312" y="168592"/>
                    <a:pt x="222028" y="174212"/>
                  </a:cubicBezTo>
                  <a:cubicBezTo>
                    <a:pt x="235649" y="179832"/>
                    <a:pt x="248031" y="186785"/>
                    <a:pt x="259080" y="194977"/>
                  </a:cubicBezTo>
                  <a:cubicBezTo>
                    <a:pt x="270129" y="203168"/>
                    <a:pt x="279273" y="213169"/>
                    <a:pt x="286322" y="224980"/>
                  </a:cubicBezTo>
                  <a:cubicBezTo>
                    <a:pt x="293370" y="236696"/>
                    <a:pt x="296894" y="251079"/>
                    <a:pt x="296894" y="267938"/>
                  </a:cubicBezTo>
                  <a:lnTo>
                    <a:pt x="296894" y="269367"/>
                  </a:lnTo>
                  <a:cubicBezTo>
                    <a:pt x="296894" y="289084"/>
                    <a:pt x="293370" y="306229"/>
                    <a:pt x="286322" y="320897"/>
                  </a:cubicBezTo>
                  <a:cubicBezTo>
                    <a:pt x="279273" y="335470"/>
                    <a:pt x="269462" y="347567"/>
                    <a:pt x="256984" y="357188"/>
                  </a:cubicBezTo>
                  <a:cubicBezTo>
                    <a:pt x="244507" y="366808"/>
                    <a:pt x="229743" y="374142"/>
                    <a:pt x="212789"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6" name="Freeform: Shape 25">
              <a:extLst>
                <a:ext uri="{FF2B5EF4-FFF2-40B4-BE49-F238E27FC236}">
                  <a16:creationId xmlns:a16="http://schemas.microsoft.com/office/drawing/2014/main" id="{217A0707-7F3D-FCB7-1CE8-851A0181BDBD}"/>
                </a:ext>
              </a:extLst>
            </p:cNvPr>
            <p:cNvSpPr/>
            <p:nvPr/>
          </p:nvSpPr>
          <p:spPr>
            <a:xfrm>
              <a:off x="589573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6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160" y="318135"/>
                    <a:pt x="160401" y="318135"/>
                  </a:cubicBezTo>
                  <a:cubicBezTo>
                    <a:pt x="179641" y="318135"/>
                    <a:pt x="192976"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4"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792"/>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7" name="Freeform: Shape 26">
              <a:extLst>
                <a:ext uri="{FF2B5EF4-FFF2-40B4-BE49-F238E27FC236}">
                  <a16:creationId xmlns:a16="http://schemas.microsoft.com/office/drawing/2014/main" id="{00F95141-91D2-86A8-0828-B706D2752BD4}"/>
                </a:ext>
              </a:extLst>
            </p:cNvPr>
            <p:cNvSpPr/>
            <p:nvPr/>
          </p:nvSpPr>
          <p:spPr>
            <a:xfrm>
              <a:off x="5985812" y="700558"/>
              <a:ext cx="85097" cy="97141"/>
            </a:xfrm>
            <a:custGeom>
              <a:avLst/>
              <a:gdLst>
                <a:gd name="connsiteX0" fmla="*/ 253651 w 338518"/>
                <a:gd name="connsiteY0" fmla="*/ 378619 h 386429"/>
                <a:gd name="connsiteX1" fmla="*/ 253651 w 338518"/>
                <a:gd name="connsiteY1" fmla="*/ 332708 h 386429"/>
                <a:gd name="connsiteX2" fmla="*/ 204883 w 338518"/>
                <a:gd name="connsiteY2" fmla="*/ 370904 h 386429"/>
                <a:gd name="connsiteX3" fmla="*/ 132779 w 338518"/>
                <a:gd name="connsiteY3" fmla="*/ 386429 h 386429"/>
                <a:gd name="connsiteX4" fmla="*/ 81915 w 338518"/>
                <a:gd name="connsiteY4" fmla="*/ 379000 h 386429"/>
                <a:gd name="connsiteX5" fmla="*/ 39910 w 338518"/>
                <a:gd name="connsiteY5" fmla="*/ 357092 h 386429"/>
                <a:gd name="connsiteX6" fmla="*/ 10954 w 338518"/>
                <a:gd name="connsiteY6" fmla="*/ 321088 h 386429"/>
                <a:gd name="connsiteX7" fmla="*/ 0 w 338518"/>
                <a:gd name="connsiteY7" fmla="*/ 271272 h 386429"/>
                <a:gd name="connsiteX8" fmla="*/ 0 w 338518"/>
                <a:gd name="connsiteY8" fmla="*/ 269843 h 386429"/>
                <a:gd name="connsiteX9" fmla="*/ 11335 w 338518"/>
                <a:gd name="connsiteY9" fmla="*/ 215741 h 386429"/>
                <a:gd name="connsiteX10" fmla="*/ 42767 w 338518"/>
                <a:gd name="connsiteY10" fmla="*/ 177546 h 386429"/>
                <a:gd name="connsiteX11" fmla="*/ 90773 w 338518"/>
                <a:gd name="connsiteY11" fmla="*/ 154972 h 386429"/>
                <a:gd name="connsiteX12" fmla="*/ 151162 w 338518"/>
                <a:gd name="connsiteY12" fmla="*/ 147542 h 386429"/>
                <a:gd name="connsiteX13" fmla="*/ 208788 w 338518"/>
                <a:gd name="connsiteY13" fmla="*/ 151829 h 386429"/>
                <a:gd name="connsiteX14" fmla="*/ 254413 w 338518"/>
                <a:gd name="connsiteY14" fmla="*/ 163163 h 386429"/>
                <a:gd name="connsiteX15" fmla="*/ 254413 w 338518"/>
                <a:gd name="connsiteY15" fmla="*/ 156115 h 386429"/>
                <a:gd name="connsiteX16" fmla="*/ 230696 w 338518"/>
                <a:gd name="connsiteY16" fmla="*/ 96774 h 386429"/>
                <a:gd name="connsiteX17" fmla="*/ 162496 w 338518"/>
                <a:gd name="connsiteY17" fmla="*/ 76295 h 386429"/>
                <a:gd name="connsiteX18" fmla="*/ 106013 w 338518"/>
                <a:gd name="connsiteY18" fmla="*/ 82677 h 386429"/>
                <a:gd name="connsiteX19" fmla="*/ 55816 w 338518"/>
                <a:gd name="connsiteY19" fmla="*/ 99632 h 386429"/>
                <a:gd name="connsiteX20" fmla="*/ 32480 w 338518"/>
                <a:gd name="connsiteY20" fmla="*/ 31052 h 386429"/>
                <a:gd name="connsiteX21" fmla="*/ 96107 w 338518"/>
                <a:gd name="connsiteY21" fmla="*/ 8477 h 386429"/>
                <a:gd name="connsiteX22" fmla="*/ 174593 w 338518"/>
                <a:gd name="connsiteY22" fmla="*/ 0 h 386429"/>
                <a:gd name="connsiteX23" fmla="*/ 298228 w 338518"/>
                <a:gd name="connsiteY23" fmla="*/ 41338 h 386429"/>
                <a:gd name="connsiteX24" fmla="*/ 338519 w 338518"/>
                <a:gd name="connsiteY24" fmla="*/ 157544 h 386429"/>
                <a:gd name="connsiteX25" fmla="*/ 338519 w 338518"/>
                <a:gd name="connsiteY25" fmla="*/ 378714 h 386429"/>
                <a:gd name="connsiteX26" fmla="*/ 253746 w 338518"/>
                <a:gd name="connsiteY26" fmla="*/ 378714 h 386429"/>
                <a:gd name="connsiteX27" fmla="*/ 255746 w 338518"/>
                <a:gd name="connsiteY27" fmla="*/ 222409 h 386429"/>
                <a:gd name="connsiteX28" fmla="*/ 217265 w 338518"/>
                <a:gd name="connsiteY28" fmla="*/ 211836 h 386429"/>
                <a:gd name="connsiteX29" fmla="*/ 170307 w 338518"/>
                <a:gd name="connsiteY29" fmla="*/ 207550 h 386429"/>
                <a:gd name="connsiteX30" fmla="*/ 107442 w 338518"/>
                <a:gd name="connsiteY30" fmla="*/ 223075 h 386429"/>
                <a:gd name="connsiteX31" fmla="*/ 84868 w 338518"/>
                <a:gd name="connsiteY31" fmla="*/ 265462 h 386429"/>
                <a:gd name="connsiteX32" fmla="*/ 84868 w 338518"/>
                <a:gd name="connsiteY32" fmla="*/ 266891 h 386429"/>
                <a:gd name="connsiteX33" fmla="*/ 105728 w 338518"/>
                <a:gd name="connsiteY33" fmla="*/ 307848 h 386429"/>
                <a:gd name="connsiteX34" fmla="*/ 156972 w 338518"/>
                <a:gd name="connsiteY34" fmla="*/ 321945 h 386429"/>
                <a:gd name="connsiteX35" fmla="*/ 196215 w 338518"/>
                <a:gd name="connsiteY35" fmla="*/ 316325 h 386429"/>
                <a:gd name="connsiteX36" fmla="*/ 227647 w 338518"/>
                <a:gd name="connsiteY36" fmla="*/ 300419 h 386429"/>
                <a:gd name="connsiteX37" fmla="*/ 248507 w 338518"/>
                <a:gd name="connsiteY37" fmla="*/ 275654 h 386429"/>
                <a:gd name="connsiteX38" fmla="*/ 255937 w 338518"/>
                <a:gd name="connsiteY38" fmla="*/ 243459 h 386429"/>
                <a:gd name="connsiteX39" fmla="*/ 255937 w 338518"/>
                <a:gd name="connsiteY39" fmla="*/ 222218 h 3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8518" h="386429">
                  <a:moveTo>
                    <a:pt x="253651" y="378619"/>
                  </a:moveTo>
                  <a:lnTo>
                    <a:pt x="253651" y="332708"/>
                  </a:lnTo>
                  <a:cubicBezTo>
                    <a:pt x="240887" y="347758"/>
                    <a:pt x="224695" y="360521"/>
                    <a:pt x="204883" y="370904"/>
                  </a:cubicBezTo>
                  <a:cubicBezTo>
                    <a:pt x="185071" y="381286"/>
                    <a:pt x="161068" y="386429"/>
                    <a:pt x="132779" y="386429"/>
                  </a:cubicBezTo>
                  <a:cubicBezTo>
                    <a:pt x="114871" y="386429"/>
                    <a:pt x="97917" y="383953"/>
                    <a:pt x="81915" y="379000"/>
                  </a:cubicBezTo>
                  <a:cubicBezTo>
                    <a:pt x="65913" y="374047"/>
                    <a:pt x="51911" y="366713"/>
                    <a:pt x="39910" y="357092"/>
                  </a:cubicBezTo>
                  <a:cubicBezTo>
                    <a:pt x="27908" y="347472"/>
                    <a:pt x="18193" y="335471"/>
                    <a:pt x="10954" y="321088"/>
                  </a:cubicBezTo>
                  <a:cubicBezTo>
                    <a:pt x="3620" y="306705"/>
                    <a:pt x="0" y="290132"/>
                    <a:pt x="0" y="271272"/>
                  </a:cubicBezTo>
                  <a:lnTo>
                    <a:pt x="0" y="269843"/>
                  </a:lnTo>
                  <a:cubicBezTo>
                    <a:pt x="0" y="249079"/>
                    <a:pt x="3810" y="231077"/>
                    <a:pt x="11335" y="215741"/>
                  </a:cubicBezTo>
                  <a:cubicBezTo>
                    <a:pt x="18859" y="200406"/>
                    <a:pt x="29337" y="187738"/>
                    <a:pt x="42767" y="177546"/>
                  </a:cubicBezTo>
                  <a:cubicBezTo>
                    <a:pt x="56197" y="167450"/>
                    <a:pt x="72199" y="159925"/>
                    <a:pt x="90773" y="154972"/>
                  </a:cubicBezTo>
                  <a:cubicBezTo>
                    <a:pt x="109347" y="150019"/>
                    <a:pt x="129540" y="147542"/>
                    <a:pt x="151162" y="147542"/>
                  </a:cubicBezTo>
                  <a:cubicBezTo>
                    <a:pt x="172783" y="147542"/>
                    <a:pt x="192976" y="148971"/>
                    <a:pt x="208788" y="151829"/>
                  </a:cubicBezTo>
                  <a:cubicBezTo>
                    <a:pt x="224599" y="154686"/>
                    <a:pt x="239744" y="158401"/>
                    <a:pt x="254413" y="163163"/>
                  </a:cubicBezTo>
                  <a:lnTo>
                    <a:pt x="254413" y="156115"/>
                  </a:lnTo>
                  <a:cubicBezTo>
                    <a:pt x="254413" y="130207"/>
                    <a:pt x="246507" y="110395"/>
                    <a:pt x="230696" y="96774"/>
                  </a:cubicBezTo>
                  <a:cubicBezTo>
                    <a:pt x="214884" y="83153"/>
                    <a:pt x="192214" y="76295"/>
                    <a:pt x="162496" y="76295"/>
                  </a:cubicBezTo>
                  <a:cubicBezTo>
                    <a:pt x="141351" y="76295"/>
                    <a:pt x="122491" y="78391"/>
                    <a:pt x="106013" y="82677"/>
                  </a:cubicBezTo>
                  <a:cubicBezTo>
                    <a:pt x="89535" y="86963"/>
                    <a:pt x="72771" y="92583"/>
                    <a:pt x="55816" y="99632"/>
                  </a:cubicBezTo>
                  <a:lnTo>
                    <a:pt x="32480" y="31052"/>
                  </a:lnTo>
                  <a:cubicBezTo>
                    <a:pt x="53149" y="21622"/>
                    <a:pt x="74390" y="14097"/>
                    <a:pt x="96107" y="8477"/>
                  </a:cubicBezTo>
                  <a:cubicBezTo>
                    <a:pt x="117729" y="2858"/>
                    <a:pt x="143923" y="0"/>
                    <a:pt x="174593" y="0"/>
                  </a:cubicBezTo>
                  <a:cubicBezTo>
                    <a:pt x="230124" y="0"/>
                    <a:pt x="271367" y="13811"/>
                    <a:pt x="298228" y="41338"/>
                  </a:cubicBezTo>
                  <a:cubicBezTo>
                    <a:pt x="325088" y="68866"/>
                    <a:pt x="338519" y="107633"/>
                    <a:pt x="338519" y="157544"/>
                  </a:cubicBezTo>
                  <a:lnTo>
                    <a:pt x="338519" y="378714"/>
                  </a:lnTo>
                  <a:lnTo>
                    <a:pt x="253746" y="378714"/>
                  </a:lnTo>
                  <a:close/>
                  <a:moveTo>
                    <a:pt x="255746" y="222409"/>
                  </a:moveTo>
                  <a:cubicBezTo>
                    <a:pt x="244888" y="218123"/>
                    <a:pt x="232029" y="214598"/>
                    <a:pt x="217265" y="211836"/>
                  </a:cubicBezTo>
                  <a:cubicBezTo>
                    <a:pt x="202406" y="208979"/>
                    <a:pt x="186785" y="207550"/>
                    <a:pt x="170307" y="207550"/>
                  </a:cubicBezTo>
                  <a:cubicBezTo>
                    <a:pt x="143446" y="207550"/>
                    <a:pt x="122491" y="212693"/>
                    <a:pt x="107442" y="223075"/>
                  </a:cubicBezTo>
                  <a:cubicBezTo>
                    <a:pt x="92392" y="233458"/>
                    <a:pt x="84868" y="247555"/>
                    <a:pt x="84868" y="265462"/>
                  </a:cubicBezTo>
                  <a:lnTo>
                    <a:pt x="84868" y="266891"/>
                  </a:lnTo>
                  <a:cubicBezTo>
                    <a:pt x="84868" y="284798"/>
                    <a:pt x="91821" y="298418"/>
                    <a:pt x="105728" y="307848"/>
                  </a:cubicBezTo>
                  <a:cubicBezTo>
                    <a:pt x="119634" y="317278"/>
                    <a:pt x="136684" y="321945"/>
                    <a:pt x="156972" y="321945"/>
                  </a:cubicBezTo>
                  <a:cubicBezTo>
                    <a:pt x="171069" y="321945"/>
                    <a:pt x="184213" y="320040"/>
                    <a:pt x="196215" y="316325"/>
                  </a:cubicBezTo>
                  <a:cubicBezTo>
                    <a:pt x="208216" y="312515"/>
                    <a:pt x="218694" y="307277"/>
                    <a:pt x="227647" y="300419"/>
                  </a:cubicBezTo>
                  <a:cubicBezTo>
                    <a:pt x="236601" y="293561"/>
                    <a:pt x="243554" y="285369"/>
                    <a:pt x="248507" y="275654"/>
                  </a:cubicBezTo>
                  <a:cubicBezTo>
                    <a:pt x="253460" y="266033"/>
                    <a:pt x="255937" y="255270"/>
                    <a:pt x="255937" y="243459"/>
                  </a:cubicBezTo>
                  <a:lnTo>
                    <a:pt x="255937" y="222218"/>
                  </a:lnTo>
                  <a:close/>
                </a:path>
              </a:pathLst>
            </a:custGeom>
            <a:solidFill>
              <a:srgbClr val="44505E"/>
            </a:solidFill>
            <a:ln w="9525" cap="flat">
              <a:noFill/>
              <a:prstDash val="solid"/>
              <a:miter/>
            </a:ln>
          </p:spPr>
          <p:txBody>
            <a:bodyPr rtlCol="0" anchor="ctr"/>
            <a:lstStyle/>
            <a:p>
              <a:endParaRPr lang="pt-BR" noProof="0"/>
            </a:p>
          </p:txBody>
        </p:sp>
        <p:sp>
          <p:nvSpPr>
            <p:cNvPr id="28" name="Freeform: Shape 27">
              <a:extLst>
                <a:ext uri="{FF2B5EF4-FFF2-40B4-BE49-F238E27FC236}">
                  <a16:creationId xmlns:a16="http://schemas.microsoft.com/office/drawing/2014/main" id="{41931778-2895-CD4A-3D26-78B8E58382A6}"/>
                </a:ext>
              </a:extLst>
            </p:cNvPr>
            <p:cNvSpPr/>
            <p:nvPr/>
          </p:nvSpPr>
          <p:spPr>
            <a:xfrm>
              <a:off x="6088843" y="700318"/>
              <a:ext cx="74610" cy="97213"/>
            </a:xfrm>
            <a:custGeom>
              <a:avLst/>
              <a:gdLst>
                <a:gd name="connsiteX0" fmla="*/ 158305 w 296799"/>
                <a:gd name="connsiteY0" fmla="*/ 386715 h 386714"/>
                <a:gd name="connsiteX1" fmla="*/ 76676 w 296799"/>
                <a:gd name="connsiteY1" fmla="*/ 372427 h 386714"/>
                <a:gd name="connsiteX2" fmla="*/ 0 w 296799"/>
                <a:gd name="connsiteY2" fmla="*/ 330327 h 386714"/>
                <a:gd name="connsiteX3" fmla="*/ 38195 w 296799"/>
                <a:gd name="connsiteY3" fmla="*/ 272224 h 386714"/>
                <a:gd name="connsiteX4" fmla="*/ 100013 w 296799"/>
                <a:gd name="connsiteY4" fmla="*/ 306514 h 386714"/>
                <a:gd name="connsiteX5" fmla="*/ 160401 w 296799"/>
                <a:gd name="connsiteY5" fmla="*/ 318135 h 386714"/>
                <a:gd name="connsiteX6" fmla="*/ 203168 w 296799"/>
                <a:gd name="connsiteY6" fmla="*/ 307181 h 386714"/>
                <a:gd name="connsiteX7" fmla="*/ 218408 w 296799"/>
                <a:gd name="connsiteY7" fmla="*/ 277939 h 386714"/>
                <a:gd name="connsiteX8" fmla="*/ 218408 w 296799"/>
                <a:gd name="connsiteY8" fmla="*/ 276511 h 386714"/>
                <a:gd name="connsiteX9" fmla="*/ 211646 w 296799"/>
                <a:gd name="connsiteY9" fmla="*/ 258223 h 386714"/>
                <a:gd name="connsiteX10" fmla="*/ 193262 w 296799"/>
                <a:gd name="connsiteY10" fmla="*/ 244792 h 386714"/>
                <a:gd name="connsiteX11" fmla="*/ 166402 w 296799"/>
                <a:gd name="connsiteY11" fmla="*/ 234220 h 386714"/>
                <a:gd name="connsiteX12" fmla="*/ 134969 w 296799"/>
                <a:gd name="connsiteY12" fmla="*/ 224314 h 386714"/>
                <a:gd name="connsiteX13" fmla="*/ 93631 w 296799"/>
                <a:gd name="connsiteY13" fmla="*/ 210884 h 386714"/>
                <a:gd name="connsiteX14" fmla="*/ 56197 w 296799"/>
                <a:gd name="connsiteY14" fmla="*/ 190786 h 386714"/>
                <a:gd name="connsiteX15" fmla="*/ 28956 w 296799"/>
                <a:gd name="connsiteY15" fmla="*/ 160115 h 386714"/>
                <a:gd name="connsiteX16" fmla="*/ 18383 w 296799"/>
                <a:gd name="connsiteY16" fmla="*/ 114967 h 386714"/>
                <a:gd name="connsiteX17" fmla="*/ 18383 w 296799"/>
                <a:gd name="connsiteY17" fmla="*/ 113538 h 386714"/>
                <a:gd name="connsiteX18" fmla="*/ 28575 w 296799"/>
                <a:gd name="connsiteY18" fmla="*/ 66294 h 386714"/>
                <a:gd name="connsiteX19" fmla="*/ 56864 w 296799"/>
                <a:gd name="connsiteY19" fmla="*/ 30385 h 386714"/>
                <a:gd name="connsiteX20" fmla="*/ 99250 w 296799"/>
                <a:gd name="connsiteY20" fmla="*/ 7810 h 386714"/>
                <a:gd name="connsiteX21" fmla="*/ 151162 w 296799"/>
                <a:gd name="connsiteY21" fmla="*/ 0 h 386714"/>
                <a:gd name="connsiteX22" fmla="*/ 222504 w 296799"/>
                <a:gd name="connsiteY22" fmla="*/ 11430 h 386714"/>
                <a:gd name="connsiteX23" fmla="*/ 288227 w 296799"/>
                <a:gd name="connsiteY23" fmla="*/ 42863 h 386714"/>
                <a:gd name="connsiteX24" fmla="*/ 254317 w 296799"/>
                <a:gd name="connsiteY24" fmla="*/ 103918 h 386714"/>
                <a:gd name="connsiteX25" fmla="*/ 199930 w 296799"/>
                <a:gd name="connsiteY25" fmla="*/ 78105 h 386714"/>
                <a:gd name="connsiteX26" fmla="*/ 149066 w 296799"/>
                <a:gd name="connsiteY26" fmla="*/ 68580 h 386714"/>
                <a:gd name="connsiteX27" fmla="*/ 110585 w 296799"/>
                <a:gd name="connsiteY27" fmla="*/ 79153 h 386714"/>
                <a:gd name="connsiteX28" fmla="*/ 96774 w 296799"/>
                <a:gd name="connsiteY28" fmla="*/ 105918 h 386714"/>
                <a:gd name="connsiteX29" fmla="*/ 96774 w 296799"/>
                <a:gd name="connsiteY29" fmla="*/ 107347 h 386714"/>
                <a:gd name="connsiteX30" fmla="*/ 103822 w 296799"/>
                <a:gd name="connsiteY30" fmla="*/ 124587 h 386714"/>
                <a:gd name="connsiteX31" fmla="*/ 122587 w 296799"/>
                <a:gd name="connsiteY31" fmla="*/ 138017 h 386714"/>
                <a:gd name="connsiteX32" fmla="*/ 149447 w 296799"/>
                <a:gd name="connsiteY32" fmla="*/ 149257 h 386714"/>
                <a:gd name="connsiteX33" fmla="*/ 180880 w 296799"/>
                <a:gd name="connsiteY33" fmla="*/ 159448 h 386714"/>
                <a:gd name="connsiteX34" fmla="*/ 221837 w 296799"/>
                <a:gd name="connsiteY34" fmla="*/ 174212 h 386714"/>
                <a:gd name="connsiteX35" fmla="*/ 258985 w 296799"/>
                <a:gd name="connsiteY35" fmla="*/ 194977 h 386714"/>
                <a:gd name="connsiteX36" fmla="*/ 286226 w 296799"/>
                <a:gd name="connsiteY36" fmla="*/ 224980 h 386714"/>
                <a:gd name="connsiteX37" fmla="*/ 296799 w 296799"/>
                <a:gd name="connsiteY37" fmla="*/ 267938 h 386714"/>
                <a:gd name="connsiteX38" fmla="*/ 296799 w 296799"/>
                <a:gd name="connsiteY38" fmla="*/ 269367 h 386714"/>
                <a:gd name="connsiteX39" fmla="*/ 286226 w 296799"/>
                <a:gd name="connsiteY39" fmla="*/ 320897 h 386714"/>
                <a:gd name="connsiteX40" fmla="*/ 256889 w 296799"/>
                <a:gd name="connsiteY40" fmla="*/ 357188 h 386714"/>
                <a:gd name="connsiteX41" fmla="*/ 212693 w 296799"/>
                <a:gd name="connsiteY41" fmla="*/ 379095 h 386714"/>
                <a:gd name="connsiteX42" fmla="*/ 158305 w 296799"/>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799"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065" y="318135"/>
                    <a:pt x="160401" y="318135"/>
                  </a:cubicBezTo>
                  <a:cubicBezTo>
                    <a:pt x="179737" y="318135"/>
                    <a:pt x="193072"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828" y="227647"/>
                    <a:pt x="134969" y="224314"/>
                  </a:cubicBezTo>
                  <a:cubicBezTo>
                    <a:pt x="121348" y="220599"/>
                    <a:pt x="107537" y="216122"/>
                    <a:pt x="93631" y="210884"/>
                  </a:cubicBezTo>
                  <a:cubicBezTo>
                    <a:pt x="79724" y="205740"/>
                    <a:pt x="67246" y="198977"/>
                    <a:pt x="56197" y="190786"/>
                  </a:cubicBezTo>
                  <a:cubicBezTo>
                    <a:pt x="45148" y="182594"/>
                    <a:pt x="36004"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874" y="0"/>
                    <a:pt x="151162" y="0"/>
                  </a:cubicBezTo>
                  <a:cubicBezTo>
                    <a:pt x="174688" y="0"/>
                    <a:pt x="198501" y="3810"/>
                    <a:pt x="222504" y="11430"/>
                  </a:cubicBezTo>
                  <a:cubicBezTo>
                    <a:pt x="246507" y="19050"/>
                    <a:pt x="268414" y="29527"/>
                    <a:pt x="288227" y="42863"/>
                  </a:cubicBezTo>
                  <a:lnTo>
                    <a:pt x="254317"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774" y="95155"/>
                    <a:pt x="96774" y="105918"/>
                  </a:cubicBezTo>
                  <a:lnTo>
                    <a:pt x="96774" y="107347"/>
                  </a:lnTo>
                  <a:cubicBezTo>
                    <a:pt x="96774" y="113919"/>
                    <a:pt x="99155" y="119634"/>
                    <a:pt x="103822" y="124587"/>
                  </a:cubicBezTo>
                  <a:cubicBezTo>
                    <a:pt x="108490" y="129540"/>
                    <a:pt x="114776" y="134017"/>
                    <a:pt x="122587" y="138017"/>
                  </a:cubicBezTo>
                  <a:cubicBezTo>
                    <a:pt x="130397" y="142018"/>
                    <a:pt x="139351" y="145732"/>
                    <a:pt x="149447" y="149257"/>
                  </a:cubicBezTo>
                  <a:cubicBezTo>
                    <a:pt x="159544" y="152781"/>
                    <a:pt x="170021" y="156210"/>
                    <a:pt x="180880" y="159448"/>
                  </a:cubicBezTo>
                  <a:cubicBezTo>
                    <a:pt x="194500" y="163639"/>
                    <a:pt x="208216" y="168592"/>
                    <a:pt x="221837" y="174212"/>
                  </a:cubicBezTo>
                  <a:cubicBezTo>
                    <a:pt x="235458" y="179832"/>
                    <a:pt x="247840" y="186785"/>
                    <a:pt x="258985" y="194977"/>
                  </a:cubicBezTo>
                  <a:cubicBezTo>
                    <a:pt x="270034" y="203168"/>
                    <a:pt x="279178" y="213169"/>
                    <a:pt x="286226" y="224980"/>
                  </a:cubicBezTo>
                  <a:cubicBezTo>
                    <a:pt x="293275" y="236696"/>
                    <a:pt x="296799" y="251079"/>
                    <a:pt x="296799" y="267938"/>
                  </a:cubicBezTo>
                  <a:lnTo>
                    <a:pt x="296799" y="269367"/>
                  </a:lnTo>
                  <a:cubicBezTo>
                    <a:pt x="296799" y="289084"/>
                    <a:pt x="293275" y="306229"/>
                    <a:pt x="286226" y="320897"/>
                  </a:cubicBezTo>
                  <a:cubicBezTo>
                    <a:pt x="279178" y="335470"/>
                    <a:pt x="269367" y="347567"/>
                    <a:pt x="256889" y="357188"/>
                  </a:cubicBezTo>
                  <a:cubicBezTo>
                    <a:pt x="244412" y="366808"/>
                    <a:pt x="229648" y="374142"/>
                    <a:pt x="212693" y="379095"/>
                  </a:cubicBezTo>
                  <a:cubicBezTo>
                    <a:pt x="195739" y="384048"/>
                    <a:pt x="177641" y="386524"/>
                    <a:pt x="158305" y="386524"/>
                  </a:cubicBezTo>
                  <a:close/>
                </a:path>
              </a:pathLst>
            </a:custGeom>
            <a:solidFill>
              <a:srgbClr val="44505E"/>
            </a:solidFill>
            <a:ln w="9525" cap="flat">
              <a:noFill/>
              <a:prstDash val="solid"/>
              <a:miter/>
            </a:ln>
          </p:spPr>
          <p:txBody>
            <a:bodyPr rtlCol="0" anchor="ctr"/>
            <a:lstStyle/>
            <a:p>
              <a:endParaRPr lang="pt-BR" noProof="0"/>
            </a:p>
          </p:txBody>
        </p:sp>
        <p:sp>
          <p:nvSpPr>
            <p:cNvPr id="29" name="Freeform: Shape 28">
              <a:extLst>
                <a:ext uri="{FF2B5EF4-FFF2-40B4-BE49-F238E27FC236}">
                  <a16:creationId xmlns:a16="http://schemas.microsoft.com/office/drawing/2014/main" id="{2CE7A0E9-2C63-D26A-A7EF-8822B2ED3075}"/>
                </a:ext>
              </a:extLst>
            </p:cNvPr>
            <p:cNvSpPr/>
            <p:nvPr/>
          </p:nvSpPr>
          <p:spPr>
            <a:xfrm>
              <a:off x="6238590"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4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7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2 w 568166"/>
                <a:gd name="connsiteY21" fmla="*/ 381000 h 381000"/>
                <a:gd name="connsiteX22" fmla="*/ 240982 w 568166"/>
                <a:gd name="connsiteY22" fmla="*/ 168783 h 381000"/>
                <a:gd name="connsiteX23" fmla="*/ 221266 w 568166"/>
                <a:gd name="connsiteY23" fmla="*/ 101822 h 381000"/>
                <a:gd name="connsiteX24" fmla="*/ 165640 w 568166"/>
                <a:gd name="connsiteY24" fmla="*/ 78581 h 381000"/>
                <a:gd name="connsiteX25" fmla="*/ 108013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69" y="48196"/>
                    <a:pt x="105918" y="40576"/>
                  </a:cubicBezTo>
                  <a:cubicBezTo>
                    <a:pt x="112966" y="32956"/>
                    <a:pt x="121063" y="26099"/>
                    <a:pt x="130207" y="19907"/>
                  </a:cubicBezTo>
                  <a:cubicBezTo>
                    <a:pt x="139351" y="13716"/>
                    <a:pt x="149638" y="8858"/>
                    <a:pt x="161163" y="5334"/>
                  </a:cubicBezTo>
                  <a:cubicBezTo>
                    <a:pt x="172688" y="1714"/>
                    <a:pt x="185452" y="0"/>
                    <a:pt x="199549" y="0"/>
                  </a:cubicBezTo>
                  <a:cubicBezTo>
                    <a:pt x="226314" y="0"/>
                    <a:pt x="248983" y="6096"/>
                    <a:pt x="267557" y="18193"/>
                  </a:cubicBezTo>
                  <a:cubicBezTo>
                    <a:pt x="286131" y="30289"/>
                    <a:pt x="300323" y="46387"/>
                    <a:pt x="310134" y="66294"/>
                  </a:cubicBezTo>
                  <a:cubicBezTo>
                    <a:pt x="325279" y="46387"/>
                    <a:pt x="343090" y="30289"/>
                    <a:pt x="363664" y="18193"/>
                  </a:cubicBezTo>
                  <a:cubicBezTo>
                    <a:pt x="384238" y="6096"/>
                    <a:pt x="408718" y="0"/>
                    <a:pt x="437007" y="0"/>
                  </a:cubicBezTo>
                  <a:cubicBezTo>
                    <a:pt x="478155"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7" y="78486"/>
                  </a:cubicBezTo>
                  <a:cubicBezTo>
                    <a:pt x="382809" y="78486"/>
                    <a:pt x="364141" y="86392"/>
                    <a:pt x="349377" y="102108"/>
                  </a:cubicBezTo>
                  <a:cubicBezTo>
                    <a:pt x="334613" y="117824"/>
                    <a:pt x="327184" y="140779"/>
                    <a:pt x="327184" y="170879"/>
                  </a:cubicBezTo>
                  <a:lnTo>
                    <a:pt x="327184" y="381000"/>
                  </a:lnTo>
                  <a:lnTo>
                    <a:pt x="240982" y="381000"/>
                  </a:lnTo>
                  <a:lnTo>
                    <a:pt x="240982" y="168783"/>
                  </a:lnTo>
                  <a:cubicBezTo>
                    <a:pt x="240982" y="139637"/>
                    <a:pt x="234410" y="117348"/>
                    <a:pt x="221266" y="101822"/>
                  </a:cubicBezTo>
                  <a:cubicBezTo>
                    <a:pt x="208121" y="86296"/>
                    <a:pt x="189547" y="78581"/>
                    <a:pt x="165640" y="78581"/>
                  </a:cubicBezTo>
                  <a:cubicBezTo>
                    <a:pt x="141732" y="78581"/>
                    <a:pt x="122491" y="86773"/>
                    <a:pt x="108013"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30" name="Freeform: Shape 29">
              <a:extLst>
                <a:ext uri="{FF2B5EF4-FFF2-40B4-BE49-F238E27FC236}">
                  <a16:creationId xmlns:a16="http://schemas.microsoft.com/office/drawing/2014/main" id="{F7E411B4-3539-4414-8391-A35E56EB56B8}"/>
                </a:ext>
              </a:extLst>
            </p:cNvPr>
            <p:cNvSpPr/>
            <p:nvPr/>
          </p:nvSpPr>
          <p:spPr>
            <a:xfrm>
              <a:off x="6400979" y="664258"/>
              <a:ext cx="85097" cy="133441"/>
            </a:xfrm>
            <a:custGeom>
              <a:avLst/>
              <a:gdLst>
                <a:gd name="connsiteX0" fmla="*/ 253651 w 338518"/>
                <a:gd name="connsiteY0" fmla="*/ 523018 h 530828"/>
                <a:gd name="connsiteX1" fmla="*/ 253651 w 338518"/>
                <a:gd name="connsiteY1" fmla="*/ 477107 h 530828"/>
                <a:gd name="connsiteX2" fmla="*/ 204883 w 338518"/>
                <a:gd name="connsiteY2" fmla="*/ 515303 h 530828"/>
                <a:gd name="connsiteX3" fmla="*/ 132779 w 338518"/>
                <a:gd name="connsiteY3" fmla="*/ 530828 h 530828"/>
                <a:gd name="connsiteX4" fmla="*/ 81915 w 338518"/>
                <a:gd name="connsiteY4" fmla="*/ 523399 h 530828"/>
                <a:gd name="connsiteX5" fmla="*/ 39910 w 338518"/>
                <a:gd name="connsiteY5" fmla="*/ 501491 h 530828"/>
                <a:gd name="connsiteX6" fmla="*/ 10954 w 338518"/>
                <a:gd name="connsiteY6" fmla="*/ 465487 h 530828"/>
                <a:gd name="connsiteX7" fmla="*/ 0 w 338518"/>
                <a:gd name="connsiteY7" fmla="*/ 415671 h 530828"/>
                <a:gd name="connsiteX8" fmla="*/ 0 w 338518"/>
                <a:gd name="connsiteY8" fmla="*/ 414242 h 530828"/>
                <a:gd name="connsiteX9" fmla="*/ 11335 w 338518"/>
                <a:gd name="connsiteY9" fmla="*/ 360140 h 530828"/>
                <a:gd name="connsiteX10" fmla="*/ 42767 w 338518"/>
                <a:gd name="connsiteY10" fmla="*/ 321945 h 530828"/>
                <a:gd name="connsiteX11" fmla="*/ 90773 w 338518"/>
                <a:gd name="connsiteY11" fmla="*/ 299371 h 530828"/>
                <a:gd name="connsiteX12" fmla="*/ 151162 w 338518"/>
                <a:gd name="connsiteY12" fmla="*/ 291941 h 530828"/>
                <a:gd name="connsiteX13" fmla="*/ 208788 w 338518"/>
                <a:gd name="connsiteY13" fmla="*/ 296228 h 530828"/>
                <a:gd name="connsiteX14" fmla="*/ 254413 w 338518"/>
                <a:gd name="connsiteY14" fmla="*/ 307562 h 530828"/>
                <a:gd name="connsiteX15" fmla="*/ 254413 w 338518"/>
                <a:gd name="connsiteY15" fmla="*/ 300514 h 530828"/>
                <a:gd name="connsiteX16" fmla="*/ 230696 w 338518"/>
                <a:gd name="connsiteY16" fmla="*/ 241173 h 530828"/>
                <a:gd name="connsiteX17" fmla="*/ 162496 w 338518"/>
                <a:gd name="connsiteY17" fmla="*/ 220694 h 530828"/>
                <a:gd name="connsiteX18" fmla="*/ 106013 w 338518"/>
                <a:gd name="connsiteY18" fmla="*/ 227076 h 530828"/>
                <a:gd name="connsiteX19" fmla="*/ 55817 w 338518"/>
                <a:gd name="connsiteY19" fmla="*/ 244031 h 530828"/>
                <a:gd name="connsiteX20" fmla="*/ 32480 w 338518"/>
                <a:gd name="connsiteY20" fmla="*/ 175451 h 530828"/>
                <a:gd name="connsiteX21" fmla="*/ 96107 w 338518"/>
                <a:gd name="connsiteY21" fmla="*/ 152876 h 530828"/>
                <a:gd name="connsiteX22" fmla="*/ 174593 w 338518"/>
                <a:gd name="connsiteY22" fmla="*/ 144399 h 530828"/>
                <a:gd name="connsiteX23" fmla="*/ 298228 w 338518"/>
                <a:gd name="connsiteY23" fmla="*/ 185738 h 530828"/>
                <a:gd name="connsiteX24" fmla="*/ 338519 w 338518"/>
                <a:gd name="connsiteY24" fmla="*/ 301943 h 530828"/>
                <a:gd name="connsiteX25" fmla="*/ 338519 w 338518"/>
                <a:gd name="connsiteY25" fmla="*/ 523113 h 530828"/>
                <a:gd name="connsiteX26" fmla="*/ 253746 w 338518"/>
                <a:gd name="connsiteY26" fmla="*/ 523113 h 530828"/>
                <a:gd name="connsiteX27" fmla="*/ 45911 w 338518"/>
                <a:gd name="connsiteY27" fmla="*/ 95441 h 530828"/>
                <a:gd name="connsiteX28" fmla="*/ 75248 w 338518"/>
                <a:gd name="connsiteY28" fmla="*/ 29718 h 530828"/>
                <a:gd name="connsiteX29" fmla="*/ 125063 w 338518"/>
                <a:gd name="connsiteY29" fmla="*/ 7144 h 530828"/>
                <a:gd name="connsiteX30" fmla="*/ 154019 w 338518"/>
                <a:gd name="connsiteY30" fmla="*/ 11716 h 530828"/>
                <a:gd name="connsiteX31" fmla="*/ 181261 w 338518"/>
                <a:gd name="connsiteY31" fmla="*/ 21622 h 530828"/>
                <a:gd name="connsiteX32" fmla="*/ 205645 w 338518"/>
                <a:gd name="connsiteY32" fmla="*/ 31147 h 530828"/>
                <a:gd name="connsiteX33" fmla="*/ 226790 w 338518"/>
                <a:gd name="connsiteY33" fmla="*/ 35338 h 530828"/>
                <a:gd name="connsiteX34" fmla="*/ 250127 w 338518"/>
                <a:gd name="connsiteY34" fmla="*/ 26861 h 530828"/>
                <a:gd name="connsiteX35" fmla="*/ 265652 w 338518"/>
                <a:gd name="connsiteY35" fmla="*/ 0 h 530828"/>
                <a:gd name="connsiteX36" fmla="*/ 312991 w 338518"/>
                <a:gd name="connsiteY36" fmla="*/ 14859 h 530828"/>
                <a:gd name="connsiteX37" fmla="*/ 283655 w 338518"/>
                <a:gd name="connsiteY37" fmla="*/ 79820 h 530828"/>
                <a:gd name="connsiteX38" fmla="*/ 233839 w 338518"/>
                <a:gd name="connsiteY38" fmla="*/ 102394 h 530828"/>
                <a:gd name="connsiteX39" fmla="*/ 204883 w 338518"/>
                <a:gd name="connsiteY39" fmla="*/ 98203 h 530828"/>
                <a:gd name="connsiteX40" fmla="*/ 177641 w 338518"/>
                <a:gd name="connsiteY40" fmla="*/ 88678 h 530828"/>
                <a:gd name="connsiteX41" fmla="*/ 152876 w 338518"/>
                <a:gd name="connsiteY41" fmla="*/ 78772 h 530828"/>
                <a:gd name="connsiteX42" fmla="*/ 132017 w 338518"/>
                <a:gd name="connsiteY42" fmla="*/ 74200 h 530828"/>
                <a:gd name="connsiteX43" fmla="*/ 108680 w 338518"/>
                <a:gd name="connsiteY43" fmla="*/ 82677 h 530828"/>
                <a:gd name="connsiteX44" fmla="*/ 93154 w 338518"/>
                <a:gd name="connsiteY44" fmla="*/ 109538 h 530828"/>
                <a:gd name="connsiteX45" fmla="*/ 45815 w 338518"/>
                <a:gd name="connsiteY45" fmla="*/ 95441 h 530828"/>
                <a:gd name="connsiteX46" fmla="*/ 255842 w 338518"/>
                <a:gd name="connsiteY46" fmla="*/ 366808 h 530828"/>
                <a:gd name="connsiteX47" fmla="*/ 217361 w 338518"/>
                <a:gd name="connsiteY47" fmla="*/ 356235 h 530828"/>
                <a:gd name="connsiteX48" fmla="*/ 170402 w 338518"/>
                <a:gd name="connsiteY48" fmla="*/ 351949 h 530828"/>
                <a:gd name="connsiteX49" fmla="*/ 107537 w 338518"/>
                <a:gd name="connsiteY49" fmla="*/ 367475 h 530828"/>
                <a:gd name="connsiteX50" fmla="*/ 84963 w 338518"/>
                <a:gd name="connsiteY50" fmla="*/ 409861 h 530828"/>
                <a:gd name="connsiteX51" fmla="*/ 84963 w 338518"/>
                <a:gd name="connsiteY51" fmla="*/ 411290 h 530828"/>
                <a:gd name="connsiteX52" fmla="*/ 105823 w 338518"/>
                <a:gd name="connsiteY52" fmla="*/ 452247 h 530828"/>
                <a:gd name="connsiteX53" fmla="*/ 157067 w 338518"/>
                <a:gd name="connsiteY53" fmla="*/ 466344 h 530828"/>
                <a:gd name="connsiteX54" fmla="*/ 196310 w 338518"/>
                <a:gd name="connsiteY54" fmla="*/ 460724 h 530828"/>
                <a:gd name="connsiteX55" fmla="*/ 227743 w 338518"/>
                <a:gd name="connsiteY55" fmla="*/ 444818 h 530828"/>
                <a:gd name="connsiteX56" fmla="*/ 248603 w 338518"/>
                <a:gd name="connsiteY56" fmla="*/ 420053 h 530828"/>
                <a:gd name="connsiteX57" fmla="*/ 256032 w 338518"/>
                <a:gd name="connsiteY57" fmla="*/ 387858 h 530828"/>
                <a:gd name="connsiteX58" fmla="*/ 256032 w 338518"/>
                <a:gd name="connsiteY58" fmla="*/ 366617 h 5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8518" h="530828">
                  <a:moveTo>
                    <a:pt x="253651" y="523018"/>
                  </a:moveTo>
                  <a:lnTo>
                    <a:pt x="253651" y="477107"/>
                  </a:lnTo>
                  <a:cubicBezTo>
                    <a:pt x="240887" y="492157"/>
                    <a:pt x="224695" y="504920"/>
                    <a:pt x="204883" y="515303"/>
                  </a:cubicBezTo>
                  <a:cubicBezTo>
                    <a:pt x="185071" y="525685"/>
                    <a:pt x="161068" y="530828"/>
                    <a:pt x="132779" y="530828"/>
                  </a:cubicBezTo>
                  <a:cubicBezTo>
                    <a:pt x="114871" y="530828"/>
                    <a:pt x="97917" y="528352"/>
                    <a:pt x="81915" y="523399"/>
                  </a:cubicBezTo>
                  <a:cubicBezTo>
                    <a:pt x="65913" y="518446"/>
                    <a:pt x="51911" y="511112"/>
                    <a:pt x="39910" y="501491"/>
                  </a:cubicBezTo>
                  <a:cubicBezTo>
                    <a:pt x="27908" y="491871"/>
                    <a:pt x="18193" y="479870"/>
                    <a:pt x="10954" y="465487"/>
                  </a:cubicBezTo>
                  <a:cubicBezTo>
                    <a:pt x="3620" y="451104"/>
                    <a:pt x="0" y="434531"/>
                    <a:pt x="0" y="415671"/>
                  </a:cubicBezTo>
                  <a:lnTo>
                    <a:pt x="0" y="414242"/>
                  </a:lnTo>
                  <a:cubicBezTo>
                    <a:pt x="0" y="393478"/>
                    <a:pt x="3810" y="375476"/>
                    <a:pt x="11335" y="360140"/>
                  </a:cubicBezTo>
                  <a:cubicBezTo>
                    <a:pt x="18860" y="344805"/>
                    <a:pt x="29337" y="332137"/>
                    <a:pt x="42767" y="321945"/>
                  </a:cubicBezTo>
                  <a:cubicBezTo>
                    <a:pt x="56198" y="311849"/>
                    <a:pt x="72200" y="304324"/>
                    <a:pt x="90773" y="299371"/>
                  </a:cubicBezTo>
                  <a:cubicBezTo>
                    <a:pt x="109347" y="294418"/>
                    <a:pt x="129540" y="291941"/>
                    <a:pt x="151162" y="291941"/>
                  </a:cubicBezTo>
                  <a:cubicBezTo>
                    <a:pt x="172784" y="291941"/>
                    <a:pt x="192977" y="293370"/>
                    <a:pt x="208788" y="296228"/>
                  </a:cubicBezTo>
                  <a:cubicBezTo>
                    <a:pt x="224600" y="299085"/>
                    <a:pt x="239744" y="302800"/>
                    <a:pt x="254413" y="307562"/>
                  </a:cubicBezTo>
                  <a:lnTo>
                    <a:pt x="254413" y="300514"/>
                  </a:lnTo>
                  <a:cubicBezTo>
                    <a:pt x="254413" y="274606"/>
                    <a:pt x="246507" y="254794"/>
                    <a:pt x="230696" y="241173"/>
                  </a:cubicBezTo>
                  <a:cubicBezTo>
                    <a:pt x="214884" y="227552"/>
                    <a:pt x="192215" y="220694"/>
                    <a:pt x="162496" y="220694"/>
                  </a:cubicBezTo>
                  <a:cubicBezTo>
                    <a:pt x="141351" y="220694"/>
                    <a:pt x="122492" y="222790"/>
                    <a:pt x="106013" y="227076"/>
                  </a:cubicBezTo>
                  <a:cubicBezTo>
                    <a:pt x="89535" y="231362"/>
                    <a:pt x="72771" y="236982"/>
                    <a:pt x="55817" y="244031"/>
                  </a:cubicBezTo>
                  <a:lnTo>
                    <a:pt x="32480" y="175451"/>
                  </a:lnTo>
                  <a:cubicBezTo>
                    <a:pt x="53150" y="166021"/>
                    <a:pt x="74390" y="158496"/>
                    <a:pt x="96107" y="152876"/>
                  </a:cubicBezTo>
                  <a:cubicBezTo>
                    <a:pt x="117729" y="147257"/>
                    <a:pt x="143923" y="144399"/>
                    <a:pt x="174593" y="144399"/>
                  </a:cubicBezTo>
                  <a:cubicBezTo>
                    <a:pt x="230124" y="144399"/>
                    <a:pt x="271367" y="158210"/>
                    <a:pt x="298228" y="185738"/>
                  </a:cubicBezTo>
                  <a:cubicBezTo>
                    <a:pt x="325088" y="213265"/>
                    <a:pt x="338519" y="252032"/>
                    <a:pt x="338519" y="301943"/>
                  </a:cubicBezTo>
                  <a:lnTo>
                    <a:pt x="338519" y="523113"/>
                  </a:lnTo>
                  <a:lnTo>
                    <a:pt x="253746" y="523113"/>
                  </a:lnTo>
                  <a:close/>
                  <a:moveTo>
                    <a:pt x="45911" y="95441"/>
                  </a:moveTo>
                  <a:cubicBezTo>
                    <a:pt x="53912" y="66675"/>
                    <a:pt x="63722" y="44768"/>
                    <a:pt x="75248" y="29718"/>
                  </a:cubicBezTo>
                  <a:cubicBezTo>
                    <a:pt x="86773" y="14669"/>
                    <a:pt x="103442" y="7144"/>
                    <a:pt x="125063" y="7144"/>
                  </a:cubicBezTo>
                  <a:cubicBezTo>
                    <a:pt x="134969" y="7144"/>
                    <a:pt x="144590" y="8668"/>
                    <a:pt x="154019" y="11716"/>
                  </a:cubicBezTo>
                  <a:cubicBezTo>
                    <a:pt x="163449" y="14764"/>
                    <a:pt x="172498" y="18098"/>
                    <a:pt x="181261" y="21622"/>
                  </a:cubicBezTo>
                  <a:cubicBezTo>
                    <a:pt x="189929" y="25146"/>
                    <a:pt x="198120" y="28385"/>
                    <a:pt x="205645" y="31147"/>
                  </a:cubicBezTo>
                  <a:cubicBezTo>
                    <a:pt x="213170" y="34004"/>
                    <a:pt x="220218" y="35338"/>
                    <a:pt x="226790" y="35338"/>
                  </a:cubicBezTo>
                  <a:cubicBezTo>
                    <a:pt x="237173" y="35338"/>
                    <a:pt x="244888" y="32480"/>
                    <a:pt x="250127" y="26861"/>
                  </a:cubicBezTo>
                  <a:cubicBezTo>
                    <a:pt x="255270" y="21241"/>
                    <a:pt x="260509" y="12287"/>
                    <a:pt x="265652" y="0"/>
                  </a:cubicBezTo>
                  <a:lnTo>
                    <a:pt x="312991" y="14859"/>
                  </a:lnTo>
                  <a:cubicBezTo>
                    <a:pt x="304991" y="43148"/>
                    <a:pt x="295180" y="64770"/>
                    <a:pt x="283655" y="79820"/>
                  </a:cubicBezTo>
                  <a:cubicBezTo>
                    <a:pt x="272129" y="94869"/>
                    <a:pt x="255461" y="102394"/>
                    <a:pt x="233839" y="102394"/>
                  </a:cubicBezTo>
                  <a:cubicBezTo>
                    <a:pt x="223933" y="102394"/>
                    <a:pt x="214313" y="100965"/>
                    <a:pt x="204883" y="98203"/>
                  </a:cubicBezTo>
                  <a:cubicBezTo>
                    <a:pt x="195453" y="95345"/>
                    <a:pt x="186404" y="92202"/>
                    <a:pt x="177641" y="88678"/>
                  </a:cubicBezTo>
                  <a:cubicBezTo>
                    <a:pt x="168878" y="85154"/>
                    <a:pt x="160687" y="81820"/>
                    <a:pt x="152876" y="78772"/>
                  </a:cubicBezTo>
                  <a:cubicBezTo>
                    <a:pt x="145066" y="75724"/>
                    <a:pt x="138113" y="74200"/>
                    <a:pt x="132017" y="74200"/>
                  </a:cubicBezTo>
                  <a:cubicBezTo>
                    <a:pt x="121634" y="74200"/>
                    <a:pt x="113919" y="77057"/>
                    <a:pt x="108680" y="82677"/>
                  </a:cubicBezTo>
                  <a:cubicBezTo>
                    <a:pt x="103537" y="88297"/>
                    <a:pt x="98298" y="97250"/>
                    <a:pt x="93154" y="109538"/>
                  </a:cubicBezTo>
                  <a:lnTo>
                    <a:pt x="45815" y="95441"/>
                  </a:lnTo>
                  <a:close/>
                  <a:moveTo>
                    <a:pt x="255842" y="366808"/>
                  </a:moveTo>
                  <a:cubicBezTo>
                    <a:pt x="244983" y="362522"/>
                    <a:pt x="232124" y="358997"/>
                    <a:pt x="217361" y="356235"/>
                  </a:cubicBezTo>
                  <a:cubicBezTo>
                    <a:pt x="202502" y="353378"/>
                    <a:pt x="186880" y="351949"/>
                    <a:pt x="170402" y="351949"/>
                  </a:cubicBezTo>
                  <a:cubicBezTo>
                    <a:pt x="143542" y="351949"/>
                    <a:pt x="122587" y="357092"/>
                    <a:pt x="107537" y="367475"/>
                  </a:cubicBezTo>
                  <a:cubicBezTo>
                    <a:pt x="92488" y="377857"/>
                    <a:pt x="84963" y="391954"/>
                    <a:pt x="84963" y="409861"/>
                  </a:cubicBezTo>
                  <a:lnTo>
                    <a:pt x="84963" y="411290"/>
                  </a:lnTo>
                  <a:cubicBezTo>
                    <a:pt x="84963" y="429197"/>
                    <a:pt x="91916" y="442817"/>
                    <a:pt x="105823" y="452247"/>
                  </a:cubicBezTo>
                  <a:cubicBezTo>
                    <a:pt x="119729" y="461677"/>
                    <a:pt x="136779" y="466344"/>
                    <a:pt x="157067" y="466344"/>
                  </a:cubicBezTo>
                  <a:cubicBezTo>
                    <a:pt x="171164" y="466344"/>
                    <a:pt x="184309" y="464439"/>
                    <a:pt x="196310" y="460724"/>
                  </a:cubicBezTo>
                  <a:cubicBezTo>
                    <a:pt x="208312" y="456914"/>
                    <a:pt x="218789" y="451676"/>
                    <a:pt x="227743" y="444818"/>
                  </a:cubicBezTo>
                  <a:cubicBezTo>
                    <a:pt x="236696" y="437960"/>
                    <a:pt x="243650" y="429768"/>
                    <a:pt x="248603" y="420053"/>
                  </a:cubicBezTo>
                  <a:cubicBezTo>
                    <a:pt x="253555" y="410432"/>
                    <a:pt x="256032" y="399669"/>
                    <a:pt x="256032" y="387858"/>
                  </a:cubicBezTo>
                  <a:lnTo>
                    <a:pt x="256032" y="366617"/>
                  </a:lnTo>
                  <a:close/>
                </a:path>
              </a:pathLst>
            </a:custGeom>
            <a:solidFill>
              <a:srgbClr val="44505E"/>
            </a:solidFill>
            <a:ln w="9525" cap="flat">
              <a:noFill/>
              <a:prstDash val="solid"/>
              <a:miter/>
            </a:ln>
          </p:spPr>
          <p:txBody>
            <a:bodyPr rtlCol="0" anchor="ctr"/>
            <a:lstStyle/>
            <a:p>
              <a:endParaRPr lang="pt-BR" noProof="0"/>
            </a:p>
          </p:txBody>
        </p:sp>
        <p:sp>
          <p:nvSpPr>
            <p:cNvPr id="31" name="Freeform: Shape 30">
              <a:extLst>
                <a:ext uri="{FF2B5EF4-FFF2-40B4-BE49-F238E27FC236}">
                  <a16:creationId xmlns:a16="http://schemas.microsoft.com/office/drawing/2014/main" id="{E9539600-9D9D-7C22-C1A4-EB23C2BFC449}"/>
                </a:ext>
              </a:extLst>
            </p:cNvPr>
            <p:cNvSpPr/>
            <p:nvPr/>
          </p:nvSpPr>
          <p:spPr>
            <a:xfrm>
              <a:off x="6506477" y="699959"/>
              <a:ext cx="100038" cy="97908"/>
            </a:xfrm>
            <a:custGeom>
              <a:avLst/>
              <a:gdLst>
                <a:gd name="connsiteX0" fmla="*/ 197834 w 397954"/>
                <a:gd name="connsiteY0" fmla="*/ 389477 h 389477"/>
                <a:gd name="connsiteX1" fmla="*/ 119063 w 397954"/>
                <a:gd name="connsiteY1" fmla="*/ 374237 h 389477"/>
                <a:gd name="connsiteX2" fmla="*/ 56198 w 397954"/>
                <a:gd name="connsiteY2" fmla="*/ 332899 h 389477"/>
                <a:gd name="connsiteX3" fmla="*/ 14859 w 397954"/>
                <a:gd name="connsiteY3" fmla="*/ 271463 h 389477"/>
                <a:gd name="connsiteX4" fmla="*/ 0 w 397954"/>
                <a:gd name="connsiteY4" fmla="*/ 196501 h 389477"/>
                <a:gd name="connsiteX5" fmla="*/ 0 w 397954"/>
                <a:gd name="connsiteY5" fmla="*/ 195072 h 389477"/>
                <a:gd name="connsiteX6" fmla="*/ 15240 w 397954"/>
                <a:gd name="connsiteY6" fmla="*/ 119444 h 389477"/>
                <a:gd name="connsiteX7" fmla="*/ 56960 w 397954"/>
                <a:gd name="connsiteY7" fmla="*/ 57626 h 389477"/>
                <a:gd name="connsiteX8" fmla="*/ 119825 w 397954"/>
                <a:gd name="connsiteY8" fmla="*/ 15526 h 389477"/>
                <a:gd name="connsiteX9" fmla="*/ 199358 w 397954"/>
                <a:gd name="connsiteY9" fmla="*/ 0 h 389477"/>
                <a:gd name="connsiteX10" fmla="*/ 278892 w 397954"/>
                <a:gd name="connsiteY10" fmla="*/ 15240 h 389477"/>
                <a:gd name="connsiteX11" fmla="*/ 341757 w 397954"/>
                <a:gd name="connsiteY11" fmla="*/ 56959 h 389477"/>
                <a:gd name="connsiteX12" fmla="*/ 383096 w 397954"/>
                <a:gd name="connsiteY12" fmla="*/ 118396 h 389477"/>
                <a:gd name="connsiteX13" fmla="*/ 397955 w 397954"/>
                <a:gd name="connsiteY13" fmla="*/ 193643 h 389477"/>
                <a:gd name="connsiteX14" fmla="*/ 397955 w 397954"/>
                <a:gd name="connsiteY14" fmla="*/ 195072 h 389477"/>
                <a:gd name="connsiteX15" fmla="*/ 382714 w 397954"/>
                <a:gd name="connsiteY15" fmla="*/ 270034 h 389477"/>
                <a:gd name="connsiteX16" fmla="*/ 340995 w 397954"/>
                <a:gd name="connsiteY16" fmla="*/ 331851 h 389477"/>
                <a:gd name="connsiteX17" fmla="*/ 277749 w 397954"/>
                <a:gd name="connsiteY17" fmla="*/ 373856 h 389477"/>
                <a:gd name="connsiteX18" fmla="*/ 197834 w 397954"/>
                <a:gd name="connsiteY18" fmla="*/ 389382 h 389477"/>
                <a:gd name="connsiteX19" fmla="*/ 199263 w 397954"/>
                <a:gd name="connsiteY19" fmla="*/ 315278 h 389477"/>
                <a:gd name="connsiteX20" fmla="*/ 245936 w 397954"/>
                <a:gd name="connsiteY20" fmla="*/ 305753 h 389477"/>
                <a:gd name="connsiteX21" fmla="*/ 281369 w 397954"/>
                <a:gd name="connsiteY21" fmla="*/ 279940 h 389477"/>
                <a:gd name="connsiteX22" fmla="*/ 303848 w 397954"/>
                <a:gd name="connsiteY22" fmla="*/ 242125 h 389477"/>
                <a:gd name="connsiteX23" fmla="*/ 311563 w 397954"/>
                <a:gd name="connsiteY23" fmla="*/ 196501 h 389477"/>
                <a:gd name="connsiteX24" fmla="*/ 311563 w 397954"/>
                <a:gd name="connsiteY24" fmla="*/ 195072 h 389477"/>
                <a:gd name="connsiteX25" fmla="*/ 303181 w 397954"/>
                <a:gd name="connsiteY25" fmla="*/ 148400 h 389477"/>
                <a:gd name="connsiteX26" fmla="*/ 279654 w 397954"/>
                <a:gd name="connsiteY26" fmla="*/ 110204 h 389477"/>
                <a:gd name="connsiteX27" fmla="*/ 243840 w 397954"/>
                <a:gd name="connsiteY27" fmla="*/ 84392 h 389477"/>
                <a:gd name="connsiteX28" fmla="*/ 197834 w 397954"/>
                <a:gd name="connsiteY28" fmla="*/ 74867 h 389477"/>
                <a:gd name="connsiteX29" fmla="*/ 151829 w 397954"/>
                <a:gd name="connsiteY29" fmla="*/ 84392 h 389477"/>
                <a:gd name="connsiteX30" fmla="*/ 116396 w 397954"/>
                <a:gd name="connsiteY30" fmla="*/ 109823 h 389477"/>
                <a:gd name="connsiteX31" fmla="*/ 93916 w 397954"/>
                <a:gd name="connsiteY31" fmla="*/ 147638 h 389477"/>
                <a:gd name="connsiteX32" fmla="*/ 86201 w 397954"/>
                <a:gd name="connsiteY32" fmla="*/ 193548 h 389477"/>
                <a:gd name="connsiteX33" fmla="*/ 86201 w 397954"/>
                <a:gd name="connsiteY33" fmla="*/ 194977 h 389477"/>
                <a:gd name="connsiteX34" fmla="*/ 94583 w 397954"/>
                <a:gd name="connsiteY34" fmla="*/ 241268 h 389477"/>
                <a:gd name="connsiteX35" fmla="*/ 118110 w 397954"/>
                <a:gd name="connsiteY35" fmla="*/ 279463 h 389477"/>
                <a:gd name="connsiteX36" fmla="*/ 153924 w 397954"/>
                <a:gd name="connsiteY36" fmla="*/ 305562 h 389477"/>
                <a:gd name="connsiteX37" fmla="*/ 199263 w 397954"/>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954" h="389477">
                  <a:moveTo>
                    <a:pt x="197834" y="389477"/>
                  </a:moveTo>
                  <a:cubicBezTo>
                    <a:pt x="169545" y="389477"/>
                    <a:pt x="143351" y="384429"/>
                    <a:pt x="119063" y="374237"/>
                  </a:cubicBezTo>
                  <a:cubicBezTo>
                    <a:pt x="94774" y="364141"/>
                    <a:pt x="73819" y="350330"/>
                    <a:pt x="56198" y="332899"/>
                  </a:cubicBezTo>
                  <a:cubicBezTo>
                    <a:pt x="38576" y="315468"/>
                    <a:pt x="24765" y="294989"/>
                    <a:pt x="14859" y="271463"/>
                  </a:cubicBezTo>
                  <a:cubicBezTo>
                    <a:pt x="4953" y="247936"/>
                    <a:pt x="0" y="222980"/>
                    <a:pt x="0" y="196501"/>
                  </a:cubicBezTo>
                  <a:lnTo>
                    <a:pt x="0" y="195072"/>
                  </a:lnTo>
                  <a:cubicBezTo>
                    <a:pt x="0" y="168212"/>
                    <a:pt x="5049" y="143066"/>
                    <a:pt x="15240" y="119444"/>
                  </a:cubicBezTo>
                  <a:cubicBezTo>
                    <a:pt x="25337" y="95917"/>
                    <a:pt x="39243" y="75248"/>
                    <a:pt x="56960" y="57626"/>
                  </a:cubicBezTo>
                  <a:cubicBezTo>
                    <a:pt x="74676" y="39910"/>
                    <a:pt x="95631" y="25908"/>
                    <a:pt x="119825" y="15526"/>
                  </a:cubicBezTo>
                  <a:cubicBezTo>
                    <a:pt x="144113" y="5144"/>
                    <a:pt x="170593" y="0"/>
                    <a:pt x="199358" y="0"/>
                  </a:cubicBezTo>
                  <a:cubicBezTo>
                    <a:pt x="228124" y="0"/>
                    <a:pt x="254604" y="5048"/>
                    <a:pt x="278892" y="15240"/>
                  </a:cubicBezTo>
                  <a:cubicBezTo>
                    <a:pt x="303181" y="25337"/>
                    <a:pt x="324136" y="39243"/>
                    <a:pt x="341757" y="56959"/>
                  </a:cubicBezTo>
                  <a:cubicBezTo>
                    <a:pt x="359379" y="74676"/>
                    <a:pt x="373189" y="95155"/>
                    <a:pt x="383096" y="118396"/>
                  </a:cubicBezTo>
                  <a:cubicBezTo>
                    <a:pt x="393002" y="141732"/>
                    <a:pt x="397955" y="166783"/>
                    <a:pt x="397955" y="193643"/>
                  </a:cubicBezTo>
                  <a:lnTo>
                    <a:pt x="397955" y="195072"/>
                  </a:lnTo>
                  <a:cubicBezTo>
                    <a:pt x="397955" y="221456"/>
                    <a:pt x="392906" y="246412"/>
                    <a:pt x="382714" y="270034"/>
                  </a:cubicBezTo>
                  <a:cubicBezTo>
                    <a:pt x="372618" y="293561"/>
                    <a:pt x="358712" y="314230"/>
                    <a:pt x="340995" y="331851"/>
                  </a:cubicBezTo>
                  <a:cubicBezTo>
                    <a:pt x="323279" y="349472"/>
                    <a:pt x="302229" y="363569"/>
                    <a:pt x="277749" y="373856"/>
                  </a:cubicBezTo>
                  <a:cubicBezTo>
                    <a:pt x="253270" y="384238"/>
                    <a:pt x="226600" y="389382"/>
                    <a:pt x="197834" y="389382"/>
                  </a:cubicBezTo>
                  <a:close/>
                  <a:moveTo>
                    <a:pt x="199263" y="315278"/>
                  </a:moveTo>
                  <a:cubicBezTo>
                    <a:pt x="216598" y="315278"/>
                    <a:pt x="232124" y="312039"/>
                    <a:pt x="245936" y="305753"/>
                  </a:cubicBezTo>
                  <a:cubicBezTo>
                    <a:pt x="259747" y="299371"/>
                    <a:pt x="271558" y="290798"/>
                    <a:pt x="281369" y="279940"/>
                  </a:cubicBezTo>
                  <a:cubicBezTo>
                    <a:pt x="291179" y="269081"/>
                    <a:pt x="298704" y="256508"/>
                    <a:pt x="303848" y="242125"/>
                  </a:cubicBezTo>
                  <a:cubicBezTo>
                    <a:pt x="308991" y="227743"/>
                    <a:pt x="311563" y="212598"/>
                    <a:pt x="311563" y="196501"/>
                  </a:cubicBezTo>
                  <a:lnTo>
                    <a:pt x="311563" y="195072"/>
                  </a:lnTo>
                  <a:cubicBezTo>
                    <a:pt x="311563" y="178594"/>
                    <a:pt x="308706" y="163068"/>
                    <a:pt x="303181" y="148400"/>
                  </a:cubicBezTo>
                  <a:cubicBezTo>
                    <a:pt x="297561" y="133826"/>
                    <a:pt x="289750" y="121063"/>
                    <a:pt x="279654" y="110204"/>
                  </a:cubicBezTo>
                  <a:cubicBezTo>
                    <a:pt x="269557" y="99346"/>
                    <a:pt x="257651" y="90773"/>
                    <a:pt x="243840" y="84392"/>
                  </a:cubicBezTo>
                  <a:cubicBezTo>
                    <a:pt x="230029" y="78010"/>
                    <a:pt x="214694" y="74867"/>
                    <a:pt x="197834" y="74867"/>
                  </a:cubicBezTo>
                  <a:cubicBezTo>
                    <a:pt x="180975" y="74867"/>
                    <a:pt x="165640" y="78010"/>
                    <a:pt x="151829" y="84392"/>
                  </a:cubicBezTo>
                  <a:cubicBezTo>
                    <a:pt x="138017" y="90773"/>
                    <a:pt x="126206" y="99250"/>
                    <a:pt x="116396" y="109823"/>
                  </a:cubicBezTo>
                  <a:cubicBezTo>
                    <a:pt x="106585" y="120396"/>
                    <a:pt x="99060" y="133064"/>
                    <a:pt x="93916" y="147638"/>
                  </a:cubicBezTo>
                  <a:cubicBezTo>
                    <a:pt x="88773" y="162211"/>
                    <a:pt x="86201" y="177546"/>
                    <a:pt x="86201" y="193548"/>
                  </a:cubicBezTo>
                  <a:lnTo>
                    <a:pt x="86201" y="194977"/>
                  </a:lnTo>
                  <a:cubicBezTo>
                    <a:pt x="86201" y="211455"/>
                    <a:pt x="89059" y="226886"/>
                    <a:pt x="94583" y="241268"/>
                  </a:cubicBezTo>
                  <a:cubicBezTo>
                    <a:pt x="100203" y="255651"/>
                    <a:pt x="108014" y="268319"/>
                    <a:pt x="118110" y="279463"/>
                  </a:cubicBezTo>
                  <a:cubicBezTo>
                    <a:pt x="128207" y="290608"/>
                    <a:pt x="140113" y="299275"/>
                    <a:pt x="153924" y="305562"/>
                  </a:cubicBezTo>
                  <a:cubicBezTo>
                    <a:pt x="167735" y="311944"/>
                    <a:pt x="182785"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32" name="Freeform: Shape 31">
              <a:extLst>
                <a:ext uri="{FF2B5EF4-FFF2-40B4-BE49-F238E27FC236}">
                  <a16:creationId xmlns:a16="http://schemas.microsoft.com/office/drawing/2014/main" id="{BFA86126-88E4-BC5C-18CB-ACE752036EB0}"/>
                </a:ext>
              </a:extLst>
            </p:cNvPr>
            <p:cNvSpPr/>
            <p:nvPr/>
          </p:nvSpPr>
          <p:spPr>
            <a:xfrm>
              <a:off x="662071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1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7 w 296894"/>
                <a:gd name="connsiteY23" fmla="*/ 42863 h 386714"/>
                <a:gd name="connsiteX24" fmla="*/ 254318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7 w 296894"/>
                <a:gd name="connsiteY30" fmla="*/ 124587 h 386714"/>
                <a:gd name="connsiteX31" fmla="*/ 122682 w 296894"/>
                <a:gd name="connsiteY31" fmla="*/ 138017 h 386714"/>
                <a:gd name="connsiteX32" fmla="*/ 149543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6" y="348901"/>
                    <a:pt x="0" y="330327"/>
                  </a:cubicBezTo>
                  <a:lnTo>
                    <a:pt x="38195" y="272224"/>
                  </a:lnTo>
                  <a:cubicBezTo>
                    <a:pt x="58484" y="287274"/>
                    <a:pt x="79057" y="298704"/>
                    <a:pt x="100013" y="306514"/>
                  </a:cubicBezTo>
                  <a:cubicBezTo>
                    <a:pt x="120968" y="314325"/>
                    <a:pt x="141161" y="318135"/>
                    <a:pt x="160401" y="318135"/>
                  </a:cubicBezTo>
                  <a:cubicBezTo>
                    <a:pt x="179641" y="318135"/>
                    <a:pt x="192977"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1" y="241078"/>
                    <a:pt x="176498" y="237553"/>
                    <a:pt x="166401"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2" y="40195"/>
                    <a:pt x="56864" y="30385"/>
                  </a:cubicBezTo>
                  <a:cubicBezTo>
                    <a:pt x="68866" y="20479"/>
                    <a:pt x="82962" y="12954"/>
                    <a:pt x="99250" y="7810"/>
                  </a:cubicBezTo>
                  <a:cubicBezTo>
                    <a:pt x="115538" y="2667"/>
                    <a:pt x="132779" y="0"/>
                    <a:pt x="151162" y="0"/>
                  </a:cubicBezTo>
                  <a:cubicBezTo>
                    <a:pt x="174688" y="0"/>
                    <a:pt x="198501" y="3810"/>
                    <a:pt x="222504" y="11430"/>
                  </a:cubicBezTo>
                  <a:cubicBezTo>
                    <a:pt x="246507" y="19050"/>
                    <a:pt x="268414" y="29527"/>
                    <a:pt x="288227" y="42863"/>
                  </a:cubicBezTo>
                  <a:lnTo>
                    <a:pt x="254318"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7" y="124587"/>
                  </a:cubicBezTo>
                  <a:cubicBezTo>
                    <a:pt x="108585" y="129540"/>
                    <a:pt x="114871" y="134017"/>
                    <a:pt x="122682" y="138017"/>
                  </a:cubicBezTo>
                  <a:cubicBezTo>
                    <a:pt x="130493" y="142018"/>
                    <a:pt x="139351" y="145732"/>
                    <a:pt x="149543"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696"/>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33" name="Freeform: Shape 32">
              <a:extLst>
                <a:ext uri="{FF2B5EF4-FFF2-40B4-BE49-F238E27FC236}">
                  <a16:creationId xmlns:a16="http://schemas.microsoft.com/office/drawing/2014/main" id="{97C4AB93-48B5-9D1F-05F4-ADE53E28EBFA}"/>
                </a:ext>
              </a:extLst>
            </p:cNvPr>
            <p:cNvSpPr/>
            <p:nvPr/>
          </p:nvSpPr>
          <p:spPr>
            <a:xfrm>
              <a:off x="526693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4 w 202977"/>
                <a:gd name="connsiteY17" fmla="*/ 19907 h 239267"/>
                <a:gd name="connsiteX18" fmla="*/ 59246 w 202977"/>
                <a:gd name="connsiteY18" fmla="*/ 5429 h 239267"/>
                <a:gd name="connsiteX19" fmla="*/ 104299 w 202977"/>
                <a:gd name="connsiteY19" fmla="*/ 0 h 239267"/>
                <a:gd name="connsiteX20" fmla="*/ 178880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5 w 202977"/>
                <a:gd name="connsiteY27" fmla="*/ 211169 h 239267"/>
                <a:gd name="connsiteX28" fmla="*/ 122968 w 202977"/>
                <a:gd name="connsiteY28" fmla="*/ 206788 h 239267"/>
                <a:gd name="connsiteX29" fmla="*/ 147257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9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9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3" y="99155"/>
                    <a:pt x="58674" y="95917"/>
                  </a:cubicBezTo>
                  <a:cubicBezTo>
                    <a:pt x="70771" y="92678"/>
                    <a:pt x="84011" y="90964"/>
                    <a:pt x="98584" y="90964"/>
                  </a:cubicBezTo>
                  <a:cubicBezTo>
                    <a:pt x="113157" y="90964"/>
                    <a:pt x="126301" y="91821"/>
                    <a:pt x="137160" y="93631"/>
                  </a:cubicBezTo>
                  <a:cubicBezTo>
                    <a:pt x="148019" y="95440"/>
                    <a:pt x="158687" y="97822"/>
                    <a:pt x="169069" y="100774"/>
                  </a:cubicBezTo>
                  <a:lnTo>
                    <a:pt x="169069" y="93726"/>
                  </a:lnTo>
                  <a:cubicBezTo>
                    <a:pt x="169069" y="73342"/>
                    <a:pt x="163068" y="57912"/>
                    <a:pt x="151162" y="47339"/>
                  </a:cubicBezTo>
                  <a:cubicBezTo>
                    <a:pt x="139256" y="36862"/>
                    <a:pt x="122492" y="31623"/>
                    <a:pt x="100679" y="31623"/>
                  </a:cubicBezTo>
                  <a:cubicBezTo>
                    <a:pt x="86963" y="31623"/>
                    <a:pt x="74581" y="33147"/>
                    <a:pt x="63437" y="36100"/>
                  </a:cubicBezTo>
                  <a:cubicBezTo>
                    <a:pt x="52292" y="39053"/>
                    <a:pt x="41339" y="43053"/>
                    <a:pt x="30671" y="48196"/>
                  </a:cubicBezTo>
                  <a:lnTo>
                    <a:pt x="20384" y="19907"/>
                  </a:lnTo>
                  <a:cubicBezTo>
                    <a:pt x="33147" y="13906"/>
                    <a:pt x="46101" y="9049"/>
                    <a:pt x="59246" y="5429"/>
                  </a:cubicBezTo>
                  <a:cubicBezTo>
                    <a:pt x="72295" y="1810"/>
                    <a:pt x="87344" y="0"/>
                    <a:pt x="104299" y="0"/>
                  </a:cubicBezTo>
                  <a:cubicBezTo>
                    <a:pt x="137065" y="0"/>
                    <a:pt x="161925" y="8477"/>
                    <a:pt x="178880"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99" y="239173"/>
                    <a:pt x="86011" y="239173"/>
                  </a:cubicBezTo>
                  <a:close/>
                  <a:moveTo>
                    <a:pt x="93155" y="211169"/>
                  </a:moveTo>
                  <a:cubicBezTo>
                    <a:pt x="103823" y="211169"/>
                    <a:pt x="113728" y="209740"/>
                    <a:pt x="122968" y="206788"/>
                  </a:cubicBezTo>
                  <a:cubicBezTo>
                    <a:pt x="132207" y="203835"/>
                    <a:pt x="140208" y="199644"/>
                    <a:pt x="147257"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9" y="121444"/>
                  </a:cubicBezTo>
                  <a:cubicBezTo>
                    <a:pt x="129445" y="119348"/>
                    <a:pt x="116776"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244" y="190500"/>
                    <a:pt x="47435" y="195358"/>
                    <a:pt x="52769" y="199263"/>
                  </a:cubicBezTo>
                  <a:cubicBezTo>
                    <a:pt x="58103" y="203073"/>
                    <a:pt x="64294" y="206026"/>
                    <a:pt x="71247" y="208121"/>
                  </a:cubicBezTo>
                  <a:cubicBezTo>
                    <a:pt x="78200" y="210217"/>
                    <a:pt x="85535"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34" name="Freeform: Shape 33">
              <a:extLst>
                <a:ext uri="{FF2B5EF4-FFF2-40B4-BE49-F238E27FC236}">
                  <a16:creationId xmlns:a16="http://schemas.microsoft.com/office/drawing/2014/main" id="{F4A97EBB-4D05-E3E4-A451-C7AD69D81785}"/>
                </a:ext>
              </a:extLst>
            </p:cNvPr>
            <p:cNvSpPr/>
            <p:nvPr/>
          </p:nvSpPr>
          <p:spPr>
            <a:xfrm>
              <a:off x="5331227"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9" y="303276"/>
                    <a:pt x="71438" y="300895"/>
                  </a:cubicBezTo>
                  <a:cubicBezTo>
                    <a:pt x="63437"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2"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5" name="Freeform: Shape 34">
              <a:extLst>
                <a:ext uri="{FF2B5EF4-FFF2-40B4-BE49-F238E27FC236}">
                  <a16:creationId xmlns:a16="http://schemas.microsoft.com/office/drawing/2014/main" id="{AFCFEE14-5EDD-6D09-F4C1-CF62AE076DD0}"/>
                </a:ext>
              </a:extLst>
            </p:cNvPr>
            <p:cNvSpPr/>
            <p:nvPr/>
          </p:nvSpPr>
          <p:spPr>
            <a:xfrm>
              <a:off x="5381845"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191 w 39242"/>
                <a:gd name="connsiteY5" fmla="*/ 88392 h 319182"/>
                <a:gd name="connsiteX6" fmla="*/ 36576 w 39242"/>
                <a:gd name="connsiteY6" fmla="*/ 88392 h 319182"/>
                <a:gd name="connsiteX7" fmla="*/ 36576 w 39242"/>
                <a:gd name="connsiteY7" fmla="*/ 319183 h 319182"/>
                <a:gd name="connsiteX8" fmla="*/ 2191 w 39242"/>
                <a:gd name="connsiteY8" fmla="*/ 319183 h 319182"/>
                <a:gd name="connsiteX9" fmla="*/ 2191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191" y="88392"/>
                  </a:moveTo>
                  <a:lnTo>
                    <a:pt x="36576" y="88392"/>
                  </a:lnTo>
                  <a:lnTo>
                    <a:pt x="36576" y="319183"/>
                  </a:lnTo>
                  <a:lnTo>
                    <a:pt x="2191" y="319183"/>
                  </a:lnTo>
                  <a:lnTo>
                    <a:pt x="2191" y="88392"/>
                  </a:lnTo>
                  <a:close/>
                </a:path>
              </a:pathLst>
            </a:custGeom>
            <a:solidFill>
              <a:srgbClr val="44505E"/>
            </a:solidFill>
            <a:ln w="9525" cap="flat">
              <a:noFill/>
              <a:prstDash val="solid"/>
              <a:miter/>
            </a:ln>
          </p:spPr>
          <p:txBody>
            <a:bodyPr rtlCol="0" anchor="ctr"/>
            <a:lstStyle/>
            <a:p>
              <a:endParaRPr lang="pt-BR" noProof="0"/>
            </a:p>
          </p:txBody>
        </p:sp>
        <p:sp>
          <p:nvSpPr>
            <p:cNvPr id="36" name="Freeform: Shape 35">
              <a:extLst>
                <a:ext uri="{FF2B5EF4-FFF2-40B4-BE49-F238E27FC236}">
                  <a16:creationId xmlns:a16="http://schemas.microsoft.com/office/drawing/2014/main" id="{7FDA8655-8DD5-6CFB-075A-98D51DBA6C62}"/>
                </a:ext>
              </a:extLst>
            </p:cNvPr>
            <p:cNvSpPr/>
            <p:nvPr/>
          </p:nvSpPr>
          <p:spPr>
            <a:xfrm>
              <a:off x="5406076"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8" y="303276"/>
                    <a:pt x="71438" y="300895"/>
                  </a:cubicBezTo>
                  <a:cubicBezTo>
                    <a:pt x="63436"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1"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7" name="Freeform: Shape 36">
              <a:extLst>
                <a:ext uri="{FF2B5EF4-FFF2-40B4-BE49-F238E27FC236}">
                  <a16:creationId xmlns:a16="http://schemas.microsoft.com/office/drawing/2014/main" id="{221AB4F4-4F03-E647-9CAB-E640FC3088A3}"/>
                </a:ext>
              </a:extLst>
            </p:cNvPr>
            <p:cNvSpPr/>
            <p:nvPr/>
          </p:nvSpPr>
          <p:spPr>
            <a:xfrm>
              <a:off x="5455545" y="925297"/>
              <a:ext cx="50594" cy="59238"/>
            </a:xfrm>
            <a:custGeom>
              <a:avLst/>
              <a:gdLst>
                <a:gd name="connsiteX0" fmla="*/ 88392 w 201263"/>
                <a:gd name="connsiteY0" fmla="*/ 235648 h 235648"/>
                <a:gd name="connsiteX1" fmla="*/ 51149 w 201263"/>
                <a:gd name="connsiteY1" fmla="*/ 228981 h 235648"/>
                <a:gd name="connsiteX2" fmla="*/ 23431 w 201263"/>
                <a:gd name="connsiteY2" fmla="*/ 210026 h 235648"/>
                <a:gd name="connsiteX3" fmla="*/ 6001 w 201263"/>
                <a:gd name="connsiteY3" fmla="*/ 180784 h 235648"/>
                <a:gd name="connsiteX4" fmla="*/ 0 w 201263"/>
                <a:gd name="connsiteY4" fmla="*/ 143256 h 235648"/>
                <a:gd name="connsiteX5" fmla="*/ 0 w 201263"/>
                <a:gd name="connsiteY5" fmla="*/ 0 h 235648"/>
                <a:gd name="connsiteX6" fmla="*/ 34385 w 201263"/>
                <a:gd name="connsiteY6" fmla="*/ 0 h 235648"/>
                <a:gd name="connsiteX7" fmla="*/ 34385 w 201263"/>
                <a:gd name="connsiteY7" fmla="*/ 134493 h 235648"/>
                <a:gd name="connsiteX8" fmla="*/ 50864 w 201263"/>
                <a:gd name="connsiteY8" fmla="*/ 185261 h 235648"/>
                <a:gd name="connsiteX9" fmla="*/ 98203 w 201263"/>
                <a:gd name="connsiteY9" fmla="*/ 203930 h 235648"/>
                <a:gd name="connsiteX10" fmla="*/ 125635 w 201263"/>
                <a:gd name="connsiteY10" fmla="*/ 198787 h 235648"/>
                <a:gd name="connsiteX11" fmla="*/ 147542 w 201263"/>
                <a:gd name="connsiteY11" fmla="*/ 184118 h 235648"/>
                <a:gd name="connsiteX12" fmla="*/ 162020 w 201263"/>
                <a:gd name="connsiteY12" fmla="*/ 161163 h 235648"/>
                <a:gd name="connsiteX13" fmla="*/ 167354 w 201263"/>
                <a:gd name="connsiteY13" fmla="*/ 131826 h 235648"/>
                <a:gd name="connsiteX14" fmla="*/ 167354 w 201263"/>
                <a:gd name="connsiteY14" fmla="*/ 0 h 235648"/>
                <a:gd name="connsiteX15" fmla="*/ 201263 w 201263"/>
                <a:gd name="connsiteY15" fmla="*/ 0 h 235648"/>
                <a:gd name="connsiteX16" fmla="*/ 201263 w 201263"/>
                <a:gd name="connsiteY16" fmla="*/ 230791 h 235648"/>
                <a:gd name="connsiteX17" fmla="*/ 167354 w 201263"/>
                <a:gd name="connsiteY17" fmla="*/ 230791 h 235648"/>
                <a:gd name="connsiteX18" fmla="*/ 167354 w 201263"/>
                <a:gd name="connsiteY18" fmla="*/ 190595 h 235648"/>
                <a:gd name="connsiteX19" fmla="*/ 136969 w 201263"/>
                <a:gd name="connsiteY19" fmla="*/ 222504 h 235648"/>
                <a:gd name="connsiteX20" fmla="*/ 88297 w 201263"/>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263" h="235648">
                  <a:moveTo>
                    <a:pt x="88392" y="235648"/>
                  </a:moveTo>
                  <a:cubicBezTo>
                    <a:pt x="74390" y="235648"/>
                    <a:pt x="62008" y="233363"/>
                    <a:pt x="51149" y="228981"/>
                  </a:cubicBezTo>
                  <a:cubicBezTo>
                    <a:pt x="40291" y="224504"/>
                    <a:pt x="31052" y="218218"/>
                    <a:pt x="23431"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864" y="185261"/>
                  </a:cubicBezTo>
                  <a:cubicBezTo>
                    <a:pt x="61913" y="197739"/>
                    <a:pt x="77629" y="203930"/>
                    <a:pt x="98203" y="203930"/>
                  </a:cubicBezTo>
                  <a:cubicBezTo>
                    <a:pt x="108014" y="203930"/>
                    <a:pt x="117158" y="202216"/>
                    <a:pt x="125635" y="198787"/>
                  </a:cubicBezTo>
                  <a:cubicBezTo>
                    <a:pt x="134112" y="195358"/>
                    <a:pt x="141351" y="190500"/>
                    <a:pt x="147542" y="184118"/>
                  </a:cubicBezTo>
                  <a:cubicBezTo>
                    <a:pt x="153638" y="177736"/>
                    <a:pt x="158496" y="170116"/>
                    <a:pt x="162020" y="161163"/>
                  </a:cubicBezTo>
                  <a:cubicBezTo>
                    <a:pt x="165640" y="152305"/>
                    <a:pt x="167354" y="142494"/>
                    <a:pt x="167354" y="131826"/>
                  </a:cubicBezTo>
                  <a:lnTo>
                    <a:pt x="167354" y="0"/>
                  </a:lnTo>
                  <a:lnTo>
                    <a:pt x="201263" y="0"/>
                  </a:lnTo>
                  <a:lnTo>
                    <a:pt x="201263" y="230791"/>
                  </a:lnTo>
                  <a:lnTo>
                    <a:pt x="167354" y="230791"/>
                  </a:lnTo>
                  <a:lnTo>
                    <a:pt x="167354" y="190595"/>
                  </a:lnTo>
                  <a:cubicBezTo>
                    <a:pt x="159639" y="203073"/>
                    <a:pt x="149447" y="213741"/>
                    <a:pt x="136969" y="222504"/>
                  </a:cubicBezTo>
                  <a:cubicBezTo>
                    <a:pt x="124492" y="231267"/>
                    <a:pt x="108299" y="235648"/>
                    <a:pt x="88297" y="235648"/>
                  </a:cubicBezTo>
                  <a:close/>
                </a:path>
              </a:pathLst>
            </a:custGeom>
            <a:solidFill>
              <a:srgbClr val="44505E"/>
            </a:solidFill>
            <a:ln w="9525" cap="flat">
              <a:noFill/>
              <a:prstDash val="solid"/>
              <a:miter/>
            </a:ln>
          </p:spPr>
          <p:txBody>
            <a:bodyPr rtlCol="0" anchor="ctr"/>
            <a:lstStyle/>
            <a:p>
              <a:endParaRPr lang="pt-BR" noProof="0"/>
            </a:p>
          </p:txBody>
        </p:sp>
        <p:sp>
          <p:nvSpPr>
            <p:cNvPr id="38" name="Freeform: Shape 37">
              <a:extLst>
                <a:ext uri="{FF2B5EF4-FFF2-40B4-BE49-F238E27FC236}">
                  <a16:creationId xmlns:a16="http://schemas.microsoft.com/office/drawing/2014/main" id="{8D8134AD-1FD5-3196-0CB8-49CC2EBB339C}"/>
                </a:ext>
              </a:extLst>
            </p:cNvPr>
            <p:cNvSpPr/>
            <p:nvPr/>
          </p:nvSpPr>
          <p:spPr>
            <a:xfrm>
              <a:off x="5522205" y="901353"/>
              <a:ext cx="58567" cy="83182"/>
            </a:xfrm>
            <a:custGeom>
              <a:avLst/>
              <a:gdLst>
                <a:gd name="connsiteX0" fmla="*/ 110204 w 232981"/>
                <a:gd name="connsiteY0" fmla="*/ 330898 h 330898"/>
                <a:gd name="connsiteX1" fmla="*/ 69628 w 232981"/>
                <a:gd name="connsiteY1" fmla="*/ 322897 h 330898"/>
                <a:gd name="connsiteX2" fmla="*/ 34385 w 232981"/>
                <a:gd name="connsiteY2" fmla="*/ 299466 h 330898"/>
                <a:gd name="connsiteX3" fmla="*/ 9334 w 232981"/>
                <a:gd name="connsiteY3" fmla="*/ 261938 h 330898"/>
                <a:gd name="connsiteX4" fmla="*/ 0 w 232981"/>
                <a:gd name="connsiteY4" fmla="*/ 211264 h 330898"/>
                <a:gd name="connsiteX5" fmla="*/ 0 w 232981"/>
                <a:gd name="connsiteY5" fmla="*/ 210407 h 330898"/>
                <a:gd name="connsiteX6" fmla="*/ 9334 w 232981"/>
                <a:gd name="connsiteY6" fmla="*/ 159925 h 330898"/>
                <a:gd name="connsiteX7" fmla="*/ 34385 w 232981"/>
                <a:gd name="connsiteY7" fmla="*/ 122206 h 330898"/>
                <a:gd name="connsiteX8" fmla="*/ 69628 w 232981"/>
                <a:gd name="connsiteY8" fmla="*/ 98488 h 330898"/>
                <a:gd name="connsiteX9" fmla="*/ 110204 w 232981"/>
                <a:gd name="connsiteY9" fmla="*/ 90202 h 330898"/>
                <a:gd name="connsiteX10" fmla="*/ 139636 w 232981"/>
                <a:gd name="connsiteY10" fmla="*/ 94202 h 330898"/>
                <a:gd name="connsiteX11" fmla="*/ 163735 w 232981"/>
                <a:gd name="connsiteY11" fmla="*/ 104870 h 330898"/>
                <a:gd name="connsiteX12" fmla="*/ 183166 w 232981"/>
                <a:gd name="connsiteY12" fmla="*/ 120491 h 330898"/>
                <a:gd name="connsiteX13" fmla="*/ 198596 w 232981"/>
                <a:gd name="connsiteY13" fmla="*/ 139255 h 330898"/>
                <a:gd name="connsiteX14" fmla="*/ 198596 w 232981"/>
                <a:gd name="connsiteY14" fmla="*/ 0 h 330898"/>
                <a:gd name="connsiteX15" fmla="*/ 232981 w 232981"/>
                <a:gd name="connsiteY15" fmla="*/ 0 h 330898"/>
                <a:gd name="connsiteX16" fmla="*/ 232981 w 232981"/>
                <a:gd name="connsiteY16" fmla="*/ 325850 h 330898"/>
                <a:gd name="connsiteX17" fmla="*/ 198596 w 232981"/>
                <a:gd name="connsiteY17" fmla="*/ 325850 h 330898"/>
                <a:gd name="connsiteX18" fmla="*/ 198596 w 232981"/>
                <a:gd name="connsiteY18" fmla="*/ 279463 h 330898"/>
                <a:gd name="connsiteX19" fmla="*/ 182785 w 232981"/>
                <a:gd name="connsiteY19" fmla="*/ 299085 h 330898"/>
                <a:gd name="connsiteX20" fmla="*/ 163354 w 232981"/>
                <a:gd name="connsiteY20" fmla="*/ 315658 h 330898"/>
                <a:gd name="connsiteX21" fmla="*/ 139446 w 232981"/>
                <a:gd name="connsiteY21" fmla="*/ 326803 h 330898"/>
                <a:gd name="connsiteX22" fmla="*/ 110204 w 232981"/>
                <a:gd name="connsiteY22" fmla="*/ 330803 h 330898"/>
                <a:gd name="connsiteX23" fmla="*/ 116491 w 232981"/>
                <a:gd name="connsiteY23" fmla="*/ 300133 h 330898"/>
                <a:gd name="connsiteX24" fmla="*/ 147542 w 232981"/>
                <a:gd name="connsiteY24" fmla="*/ 293656 h 330898"/>
                <a:gd name="connsiteX25" fmla="*/ 174307 w 232981"/>
                <a:gd name="connsiteY25" fmla="*/ 275368 h 330898"/>
                <a:gd name="connsiteX26" fmla="*/ 193072 w 232981"/>
                <a:gd name="connsiteY26" fmla="*/ 247269 h 330898"/>
                <a:gd name="connsiteX27" fmla="*/ 200025 w 232981"/>
                <a:gd name="connsiteY27" fmla="*/ 210883 h 330898"/>
                <a:gd name="connsiteX28" fmla="*/ 200025 w 232981"/>
                <a:gd name="connsiteY28" fmla="*/ 210026 h 330898"/>
                <a:gd name="connsiteX29" fmla="*/ 193072 w 232981"/>
                <a:gd name="connsiteY29" fmla="*/ 173641 h 330898"/>
                <a:gd name="connsiteX30" fmla="*/ 174307 w 232981"/>
                <a:gd name="connsiteY30" fmla="*/ 145732 h 330898"/>
                <a:gd name="connsiteX31" fmla="*/ 147542 w 232981"/>
                <a:gd name="connsiteY31" fmla="*/ 127635 h 330898"/>
                <a:gd name="connsiteX32" fmla="*/ 116491 w 232981"/>
                <a:gd name="connsiteY32" fmla="*/ 121158 h 330898"/>
                <a:gd name="connsiteX33" fmla="*/ 84772 w 232981"/>
                <a:gd name="connsiteY33" fmla="*/ 127159 h 330898"/>
                <a:gd name="connsiteX34" fmla="*/ 59150 w 232981"/>
                <a:gd name="connsiteY34" fmla="*/ 144589 h 330898"/>
                <a:gd name="connsiteX35" fmla="*/ 41719 w 232981"/>
                <a:gd name="connsiteY35" fmla="*/ 172498 h 330898"/>
                <a:gd name="connsiteX36" fmla="*/ 35242 w 232981"/>
                <a:gd name="connsiteY36" fmla="*/ 210026 h 330898"/>
                <a:gd name="connsiteX37" fmla="*/ 35242 w 232981"/>
                <a:gd name="connsiteY37" fmla="*/ 210883 h 330898"/>
                <a:gd name="connsiteX38" fmla="*/ 41719 w 232981"/>
                <a:gd name="connsiteY38" fmla="*/ 247936 h 330898"/>
                <a:gd name="connsiteX39" fmla="*/ 59341 w 232981"/>
                <a:gd name="connsiteY39" fmla="*/ 276034 h 330898"/>
                <a:gd name="connsiteX40" fmla="*/ 85249 w 232981"/>
                <a:gd name="connsiteY40" fmla="*/ 293941 h 330898"/>
                <a:gd name="connsiteX41" fmla="*/ 116491 w 23298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30898">
                  <a:moveTo>
                    <a:pt x="110204" y="330898"/>
                  </a:moveTo>
                  <a:cubicBezTo>
                    <a:pt x="96202" y="330898"/>
                    <a:pt x="82677" y="328231"/>
                    <a:pt x="69628" y="322897"/>
                  </a:cubicBezTo>
                  <a:cubicBezTo>
                    <a:pt x="56578" y="317563"/>
                    <a:pt x="44767" y="309753"/>
                    <a:pt x="34385" y="299466"/>
                  </a:cubicBezTo>
                  <a:cubicBezTo>
                    <a:pt x="24003" y="289179"/>
                    <a:pt x="15621" y="276701"/>
                    <a:pt x="9334" y="261938"/>
                  </a:cubicBezTo>
                  <a:cubicBezTo>
                    <a:pt x="3048" y="247174"/>
                    <a:pt x="0" y="230314"/>
                    <a:pt x="0" y="211264"/>
                  </a:cubicBezTo>
                  <a:lnTo>
                    <a:pt x="0" y="210407"/>
                  </a:lnTo>
                  <a:cubicBezTo>
                    <a:pt x="0" y="191643"/>
                    <a:pt x="3143" y="174879"/>
                    <a:pt x="9334" y="159925"/>
                  </a:cubicBezTo>
                  <a:cubicBezTo>
                    <a:pt x="15621" y="145066"/>
                    <a:pt x="23908" y="132493"/>
                    <a:pt x="34385" y="122206"/>
                  </a:cubicBezTo>
                  <a:cubicBezTo>
                    <a:pt x="44767" y="111919"/>
                    <a:pt x="56578" y="104013"/>
                    <a:pt x="69628" y="98488"/>
                  </a:cubicBezTo>
                  <a:cubicBezTo>
                    <a:pt x="82677" y="92964"/>
                    <a:pt x="96298" y="90202"/>
                    <a:pt x="110204" y="90202"/>
                  </a:cubicBezTo>
                  <a:cubicBezTo>
                    <a:pt x="120967" y="90202"/>
                    <a:pt x="130778" y="91535"/>
                    <a:pt x="139636" y="94202"/>
                  </a:cubicBezTo>
                  <a:cubicBezTo>
                    <a:pt x="148590" y="96869"/>
                    <a:pt x="156591" y="100489"/>
                    <a:pt x="163735" y="104870"/>
                  </a:cubicBezTo>
                  <a:cubicBezTo>
                    <a:pt x="170878" y="109347"/>
                    <a:pt x="177356" y="114586"/>
                    <a:pt x="183166" y="120491"/>
                  </a:cubicBezTo>
                  <a:cubicBezTo>
                    <a:pt x="188976" y="126492"/>
                    <a:pt x="194119" y="132683"/>
                    <a:pt x="198596" y="139255"/>
                  </a:cubicBezTo>
                  <a:lnTo>
                    <a:pt x="198596" y="0"/>
                  </a:lnTo>
                  <a:lnTo>
                    <a:pt x="232981" y="0"/>
                  </a:lnTo>
                  <a:lnTo>
                    <a:pt x="232981" y="325850"/>
                  </a:lnTo>
                  <a:lnTo>
                    <a:pt x="198596" y="325850"/>
                  </a:lnTo>
                  <a:lnTo>
                    <a:pt x="198596" y="279463"/>
                  </a:lnTo>
                  <a:cubicBezTo>
                    <a:pt x="193834" y="286321"/>
                    <a:pt x="188595" y="292894"/>
                    <a:pt x="182785" y="299085"/>
                  </a:cubicBezTo>
                  <a:cubicBezTo>
                    <a:pt x="176974" y="305371"/>
                    <a:pt x="170498" y="310896"/>
                    <a:pt x="163354" y="315658"/>
                  </a:cubicBezTo>
                  <a:cubicBezTo>
                    <a:pt x="156210" y="320421"/>
                    <a:pt x="148209" y="324136"/>
                    <a:pt x="139446" y="326803"/>
                  </a:cubicBezTo>
                  <a:cubicBezTo>
                    <a:pt x="130683" y="329470"/>
                    <a:pt x="120967" y="330803"/>
                    <a:pt x="110204" y="330803"/>
                  </a:cubicBezTo>
                  <a:close/>
                  <a:moveTo>
                    <a:pt x="116491" y="300133"/>
                  </a:moveTo>
                  <a:cubicBezTo>
                    <a:pt x="127159" y="300133"/>
                    <a:pt x="137541" y="297942"/>
                    <a:pt x="147542" y="293656"/>
                  </a:cubicBezTo>
                  <a:cubicBezTo>
                    <a:pt x="157544" y="289369"/>
                    <a:pt x="166402" y="283273"/>
                    <a:pt x="174307" y="275368"/>
                  </a:cubicBezTo>
                  <a:cubicBezTo>
                    <a:pt x="182213" y="267462"/>
                    <a:pt x="188404" y="258127"/>
                    <a:pt x="193072" y="247269"/>
                  </a:cubicBezTo>
                  <a:cubicBezTo>
                    <a:pt x="197644" y="236410"/>
                    <a:pt x="200025" y="224314"/>
                    <a:pt x="200025" y="210883"/>
                  </a:cubicBezTo>
                  <a:lnTo>
                    <a:pt x="200025" y="210026"/>
                  </a:lnTo>
                  <a:cubicBezTo>
                    <a:pt x="200025" y="196596"/>
                    <a:pt x="197739" y="184499"/>
                    <a:pt x="193072" y="173641"/>
                  </a:cubicBezTo>
                  <a:cubicBezTo>
                    <a:pt x="188500" y="162782"/>
                    <a:pt x="182213" y="153448"/>
                    <a:pt x="174307" y="145732"/>
                  </a:cubicBezTo>
                  <a:cubicBezTo>
                    <a:pt x="166402" y="138017"/>
                    <a:pt x="157448" y="132016"/>
                    <a:pt x="147542" y="127635"/>
                  </a:cubicBezTo>
                  <a:cubicBezTo>
                    <a:pt x="137541" y="123349"/>
                    <a:pt x="127254" y="121158"/>
                    <a:pt x="116491" y="121158"/>
                  </a:cubicBezTo>
                  <a:cubicBezTo>
                    <a:pt x="105156" y="121158"/>
                    <a:pt x="94583" y="123158"/>
                    <a:pt x="84772" y="127159"/>
                  </a:cubicBezTo>
                  <a:cubicBezTo>
                    <a:pt x="74962" y="131159"/>
                    <a:pt x="66389" y="136969"/>
                    <a:pt x="59150" y="144589"/>
                  </a:cubicBezTo>
                  <a:cubicBezTo>
                    <a:pt x="51816" y="152114"/>
                    <a:pt x="46101" y="161449"/>
                    <a:pt x="41719" y="172498"/>
                  </a:cubicBezTo>
                  <a:cubicBezTo>
                    <a:pt x="37433" y="183451"/>
                    <a:pt x="35242" y="196024"/>
                    <a:pt x="35242" y="210026"/>
                  </a:cubicBezTo>
                  <a:lnTo>
                    <a:pt x="35242" y="210883"/>
                  </a:lnTo>
                  <a:cubicBezTo>
                    <a:pt x="35242" y="224599"/>
                    <a:pt x="37433" y="236982"/>
                    <a:pt x="41719" y="247936"/>
                  </a:cubicBezTo>
                  <a:cubicBezTo>
                    <a:pt x="46006" y="258984"/>
                    <a:pt x="51911" y="268319"/>
                    <a:pt x="59341" y="276034"/>
                  </a:cubicBezTo>
                  <a:cubicBezTo>
                    <a:pt x="66770" y="283750"/>
                    <a:pt x="75438" y="289750"/>
                    <a:pt x="85249" y="293941"/>
                  </a:cubicBezTo>
                  <a:cubicBezTo>
                    <a:pt x="95059" y="298132"/>
                    <a:pt x="105442" y="300228"/>
                    <a:pt x="116491" y="300228"/>
                  </a:cubicBezTo>
                  <a:close/>
                </a:path>
              </a:pathLst>
            </a:custGeom>
            <a:solidFill>
              <a:srgbClr val="44505E"/>
            </a:solidFill>
            <a:ln w="9525" cap="flat">
              <a:noFill/>
              <a:prstDash val="solid"/>
              <a:miter/>
            </a:ln>
          </p:spPr>
          <p:txBody>
            <a:bodyPr rtlCol="0" anchor="ctr"/>
            <a:lstStyle/>
            <a:p>
              <a:endParaRPr lang="pt-BR" noProof="0"/>
            </a:p>
          </p:txBody>
        </p:sp>
        <p:sp>
          <p:nvSpPr>
            <p:cNvPr id="39" name="Freeform: Shape 38">
              <a:extLst>
                <a:ext uri="{FF2B5EF4-FFF2-40B4-BE49-F238E27FC236}">
                  <a16:creationId xmlns:a16="http://schemas.microsoft.com/office/drawing/2014/main" id="{F5E5D562-C5A3-E21A-A7E2-9F475210535C}"/>
                </a:ext>
              </a:extLst>
            </p:cNvPr>
            <p:cNvSpPr/>
            <p:nvPr/>
          </p:nvSpPr>
          <p:spPr>
            <a:xfrm>
              <a:off x="5596504"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6963 w 218217"/>
                <a:gd name="connsiteY3" fmla="*/ 206026 h 241077"/>
                <a:gd name="connsiteX4" fmla="*/ 116015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8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1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452 w 218217"/>
                <a:gd name="connsiteY25" fmla="*/ 106299 h 241077"/>
                <a:gd name="connsiteX26" fmla="*/ 176784 w 218217"/>
                <a:gd name="connsiteY26" fmla="*/ 76771 h 241077"/>
                <a:gd name="connsiteX27" fmla="*/ 162306 w 218217"/>
                <a:gd name="connsiteY27" fmla="*/ 52101 h 241077"/>
                <a:gd name="connsiteX28" fmla="*/ 140018 w 218217"/>
                <a:gd name="connsiteY28" fmla="*/ 35242 h 241077"/>
                <a:gd name="connsiteX29" fmla="*/ 109919 w 218217"/>
                <a:gd name="connsiteY29" fmla="*/ 29051 h 241077"/>
                <a:gd name="connsiteX30" fmla="*/ 82201 w 218217"/>
                <a:gd name="connsiteY30" fmla="*/ 34766 h 241077"/>
                <a:gd name="connsiteX31" fmla="*/ 59436 w 218217"/>
                <a:gd name="connsiteY31" fmla="*/ 50959 h 241077"/>
                <a:gd name="connsiteX32" fmla="*/ 43148 w 218217"/>
                <a:gd name="connsiteY32" fmla="*/ 75628 h 241077"/>
                <a:gd name="connsiteX33" fmla="*/ 34862 w 218217"/>
                <a:gd name="connsiteY33" fmla="*/ 106204 h 241077"/>
                <a:gd name="connsiteX34" fmla="*/ 183547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724" y="202597"/>
                    <a:pt x="86963" y="206026"/>
                  </a:cubicBezTo>
                  <a:cubicBezTo>
                    <a:pt x="96203" y="209455"/>
                    <a:pt x="105823" y="211169"/>
                    <a:pt x="116015" y="211169"/>
                  </a:cubicBezTo>
                  <a:cubicBezTo>
                    <a:pt x="132112" y="211169"/>
                    <a:pt x="145828" y="208216"/>
                    <a:pt x="157353" y="202216"/>
                  </a:cubicBezTo>
                  <a:cubicBezTo>
                    <a:pt x="168783" y="196310"/>
                    <a:pt x="179261" y="188404"/>
                    <a:pt x="188786" y="178594"/>
                  </a:cubicBezTo>
                  <a:lnTo>
                    <a:pt x="210217" y="197834"/>
                  </a:lnTo>
                  <a:cubicBezTo>
                    <a:pt x="198596" y="210979"/>
                    <a:pt x="185357" y="221361"/>
                    <a:pt x="170498" y="229267"/>
                  </a:cubicBezTo>
                  <a:cubicBezTo>
                    <a:pt x="155639"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679" y="0"/>
                    <a:pt x="110681"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452" y="106299"/>
                  </a:moveTo>
                  <a:cubicBezTo>
                    <a:pt x="182594" y="95917"/>
                    <a:pt x="180308" y="86106"/>
                    <a:pt x="176784" y="76771"/>
                  </a:cubicBezTo>
                  <a:cubicBezTo>
                    <a:pt x="173165" y="67437"/>
                    <a:pt x="168402" y="59245"/>
                    <a:pt x="162306" y="52101"/>
                  </a:cubicBezTo>
                  <a:cubicBezTo>
                    <a:pt x="156210" y="44958"/>
                    <a:pt x="148781" y="39338"/>
                    <a:pt x="140018" y="35242"/>
                  </a:cubicBezTo>
                  <a:cubicBezTo>
                    <a:pt x="131254" y="31147"/>
                    <a:pt x="121158" y="29051"/>
                    <a:pt x="109919" y="29051"/>
                  </a:cubicBezTo>
                  <a:cubicBezTo>
                    <a:pt x="100108" y="29051"/>
                    <a:pt x="90869" y="30956"/>
                    <a:pt x="82201" y="34766"/>
                  </a:cubicBezTo>
                  <a:cubicBezTo>
                    <a:pt x="73533" y="38671"/>
                    <a:pt x="66008" y="44005"/>
                    <a:pt x="59436" y="50959"/>
                  </a:cubicBezTo>
                  <a:cubicBezTo>
                    <a:pt x="52864" y="57912"/>
                    <a:pt x="47435" y="66103"/>
                    <a:pt x="43148" y="75628"/>
                  </a:cubicBezTo>
                  <a:cubicBezTo>
                    <a:pt x="38862" y="85058"/>
                    <a:pt x="36100" y="95345"/>
                    <a:pt x="34862" y="106204"/>
                  </a:cubicBezTo>
                  <a:lnTo>
                    <a:pt x="183547" y="106204"/>
                  </a:lnTo>
                  <a:close/>
                </a:path>
              </a:pathLst>
            </a:custGeom>
            <a:solidFill>
              <a:srgbClr val="44505E"/>
            </a:solidFill>
            <a:ln w="9525" cap="flat">
              <a:noFill/>
              <a:prstDash val="solid"/>
              <a:miter/>
            </a:ln>
          </p:spPr>
          <p:txBody>
            <a:bodyPr rtlCol="0" anchor="ctr"/>
            <a:lstStyle/>
            <a:p>
              <a:endParaRPr lang="pt-BR" noProof="0"/>
            </a:p>
          </p:txBody>
        </p:sp>
        <p:sp>
          <p:nvSpPr>
            <p:cNvPr id="40" name="Freeform: Shape 39">
              <a:extLst>
                <a:ext uri="{FF2B5EF4-FFF2-40B4-BE49-F238E27FC236}">
                  <a16:creationId xmlns:a16="http://schemas.microsoft.com/office/drawing/2014/main" id="{283461BC-CEFA-839E-CA84-82D2BAB14A6B}"/>
                </a:ext>
              </a:extLst>
            </p:cNvPr>
            <p:cNvSpPr/>
            <p:nvPr/>
          </p:nvSpPr>
          <p:spPr>
            <a:xfrm>
              <a:off x="5661680" y="924268"/>
              <a:ext cx="44656" cy="60195"/>
            </a:xfrm>
            <a:custGeom>
              <a:avLst/>
              <a:gdLst>
                <a:gd name="connsiteX0" fmla="*/ 95536 w 177641"/>
                <a:gd name="connsiteY0" fmla="*/ 239268 h 239458"/>
                <a:gd name="connsiteX1" fmla="*/ 45053 w 177641"/>
                <a:gd name="connsiteY1" fmla="*/ 230124 h 239458"/>
                <a:gd name="connsiteX2" fmla="*/ 0 w 177641"/>
                <a:gd name="connsiteY2" fmla="*/ 205359 h 239458"/>
                <a:gd name="connsiteX3" fmla="*/ 17431 w 177641"/>
                <a:gd name="connsiteY3" fmla="*/ 180785 h 239458"/>
                <a:gd name="connsiteX4" fmla="*/ 56483 w 177641"/>
                <a:gd name="connsiteY4" fmla="*/ 202692 h 239458"/>
                <a:gd name="connsiteX5" fmla="*/ 97346 w 177641"/>
                <a:gd name="connsiteY5" fmla="*/ 210217 h 239458"/>
                <a:gd name="connsiteX6" fmla="*/ 131731 w 177641"/>
                <a:gd name="connsiteY6" fmla="*/ 200406 h 239458"/>
                <a:gd name="connsiteX7" fmla="*/ 145161 w 177641"/>
                <a:gd name="connsiteY7" fmla="*/ 173641 h 239458"/>
                <a:gd name="connsiteX8" fmla="*/ 145161 w 177641"/>
                <a:gd name="connsiteY8" fmla="*/ 172784 h 239458"/>
                <a:gd name="connsiteX9" fmla="*/ 140494 w 177641"/>
                <a:gd name="connsiteY9" fmla="*/ 158020 h 239458"/>
                <a:gd name="connsiteX10" fmla="*/ 127730 w 177641"/>
                <a:gd name="connsiteY10" fmla="*/ 147066 h 239458"/>
                <a:gd name="connsiteX11" fmla="*/ 109157 w 177641"/>
                <a:gd name="connsiteY11" fmla="*/ 138779 h 239458"/>
                <a:gd name="connsiteX12" fmla="*/ 87535 w 177641"/>
                <a:gd name="connsiteY12" fmla="*/ 132112 h 239458"/>
                <a:gd name="connsiteX13" fmla="*/ 60484 w 177641"/>
                <a:gd name="connsiteY13" fmla="*/ 123444 h 239458"/>
                <a:gd name="connsiteX14" fmla="*/ 35909 w 177641"/>
                <a:gd name="connsiteY14" fmla="*/ 111633 h 239458"/>
                <a:gd name="connsiteX15" fmla="*/ 18098 w 177641"/>
                <a:gd name="connsiteY15" fmla="*/ 93726 h 239458"/>
                <a:gd name="connsiteX16" fmla="*/ 11144 w 177641"/>
                <a:gd name="connsiteY16" fmla="*/ 66961 h 239458"/>
                <a:gd name="connsiteX17" fmla="*/ 11144 w 177641"/>
                <a:gd name="connsiteY17" fmla="*/ 66008 h 239458"/>
                <a:gd name="connsiteX18" fmla="*/ 16954 w 177641"/>
                <a:gd name="connsiteY18" fmla="*/ 39053 h 239458"/>
                <a:gd name="connsiteX19" fmla="*/ 33242 w 177641"/>
                <a:gd name="connsiteY19" fmla="*/ 18098 h 239458"/>
                <a:gd name="connsiteX20" fmla="*/ 58293 w 177641"/>
                <a:gd name="connsiteY20" fmla="*/ 4667 h 239458"/>
                <a:gd name="connsiteX21" fmla="*/ 89725 w 177641"/>
                <a:gd name="connsiteY21" fmla="*/ 0 h 239458"/>
                <a:gd name="connsiteX22" fmla="*/ 133064 w 177641"/>
                <a:gd name="connsiteY22" fmla="*/ 6953 h 239458"/>
                <a:gd name="connsiteX23" fmla="*/ 172784 w 177641"/>
                <a:gd name="connsiteY23" fmla="*/ 25527 h 239458"/>
                <a:gd name="connsiteX24" fmla="*/ 157163 w 177641"/>
                <a:gd name="connsiteY24" fmla="*/ 51435 h 239458"/>
                <a:gd name="connsiteX25" fmla="*/ 123444 w 177641"/>
                <a:gd name="connsiteY25" fmla="*/ 35147 h 239458"/>
                <a:gd name="connsiteX26" fmla="*/ 88868 w 177641"/>
                <a:gd name="connsiteY26" fmla="*/ 29146 h 239458"/>
                <a:gd name="connsiteX27" fmla="*/ 56293 w 177641"/>
                <a:gd name="connsiteY27" fmla="*/ 38767 h 239458"/>
                <a:gd name="connsiteX28" fmla="*/ 44196 w 177641"/>
                <a:gd name="connsiteY28" fmla="*/ 62675 h 239458"/>
                <a:gd name="connsiteX29" fmla="*/ 44196 w 177641"/>
                <a:gd name="connsiteY29" fmla="*/ 63627 h 239458"/>
                <a:gd name="connsiteX30" fmla="*/ 49149 w 177641"/>
                <a:gd name="connsiteY30" fmla="*/ 77724 h 239458"/>
                <a:gd name="connsiteX31" fmla="*/ 62294 w 177641"/>
                <a:gd name="connsiteY31" fmla="*/ 88202 h 239458"/>
                <a:gd name="connsiteX32" fmla="*/ 81248 w 177641"/>
                <a:gd name="connsiteY32" fmla="*/ 96203 h 239458"/>
                <a:gd name="connsiteX33" fmla="*/ 103537 w 177641"/>
                <a:gd name="connsiteY33" fmla="*/ 103346 h 239458"/>
                <a:gd name="connsiteX34" fmla="*/ 130112 w 177641"/>
                <a:gd name="connsiteY34" fmla="*/ 112300 h 239458"/>
                <a:gd name="connsiteX35" fmla="*/ 154019 w 177641"/>
                <a:gd name="connsiteY35" fmla="*/ 124778 h 239458"/>
                <a:gd name="connsiteX36" fmla="*/ 171164 w 177641"/>
                <a:gd name="connsiteY36" fmla="*/ 143066 h 239458"/>
                <a:gd name="connsiteX37" fmla="*/ 177641 w 177641"/>
                <a:gd name="connsiteY37" fmla="*/ 169450 h 239458"/>
                <a:gd name="connsiteX38" fmla="*/ 177641 w 177641"/>
                <a:gd name="connsiteY38" fmla="*/ 170307 h 239458"/>
                <a:gd name="connsiteX39" fmla="*/ 171164 w 177641"/>
                <a:gd name="connsiteY39" fmla="*/ 199549 h 239458"/>
                <a:gd name="connsiteX40" fmla="*/ 153734 w 177641"/>
                <a:gd name="connsiteY40" fmla="*/ 221171 h 239458"/>
                <a:gd name="connsiteX41" fmla="*/ 127825 w 177641"/>
                <a:gd name="connsiteY41" fmla="*/ 234791 h 239458"/>
                <a:gd name="connsiteX42" fmla="*/ 95441 w 177641"/>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641" h="239458">
                  <a:moveTo>
                    <a:pt x="95536" y="239268"/>
                  </a:moveTo>
                  <a:cubicBezTo>
                    <a:pt x="78867" y="239268"/>
                    <a:pt x="62008" y="236220"/>
                    <a:pt x="45053" y="230124"/>
                  </a:cubicBezTo>
                  <a:cubicBezTo>
                    <a:pt x="28099" y="224028"/>
                    <a:pt x="13049" y="215741"/>
                    <a:pt x="0" y="205359"/>
                  </a:cubicBezTo>
                  <a:lnTo>
                    <a:pt x="17431" y="180785"/>
                  </a:lnTo>
                  <a:cubicBezTo>
                    <a:pt x="29908"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542" y="162211"/>
                    <a:pt x="140494" y="158020"/>
                  </a:cubicBezTo>
                  <a:cubicBezTo>
                    <a:pt x="137350" y="153829"/>
                    <a:pt x="133160" y="150209"/>
                    <a:pt x="127730" y="147066"/>
                  </a:cubicBezTo>
                  <a:cubicBezTo>
                    <a:pt x="122396" y="143923"/>
                    <a:pt x="116205" y="141161"/>
                    <a:pt x="109157" y="138779"/>
                  </a:cubicBezTo>
                  <a:cubicBezTo>
                    <a:pt x="102203" y="136398"/>
                    <a:pt x="94964" y="134207"/>
                    <a:pt x="87535" y="132112"/>
                  </a:cubicBezTo>
                  <a:cubicBezTo>
                    <a:pt x="78581" y="129445"/>
                    <a:pt x="69628" y="126492"/>
                    <a:pt x="60484" y="123444"/>
                  </a:cubicBezTo>
                  <a:cubicBezTo>
                    <a:pt x="51435" y="120301"/>
                    <a:pt x="43244" y="116396"/>
                    <a:pt x="35909" y="111633"/>
                  </a:cubicBezTo>
                  <a:cubicBezTo>
                    <a:pt x="28575" y="106871"/>
                    <a:pt x="22670" y="100870"/>
                    <a:pt x="18098" y="93726"/>
                  </a:cubicBezTo>
                  <a:cubicBezTo>
                    <a:pt x="13525" y="86582"/>
                    <a:pt x="11144" y="77629"/>
                    <a:pt x="11144" y="66961"/>
                  </a:cubicBezTo>
                  <a:lnTo>
                    <a:pt x="11144" y="66008"/>
                  </a:lnTo>
                  <a:cubicBezTo>
                    <a:pt x="11144" y="56198"/>
                    <a:pt x="13049" y="47149"/>
                    <a:pt x="16954" y="39053"/>
                  </a:cubicBezTo>
                  <a:cubicBezTo>
                    <a:pt x="20860" y="30861"/>
                    <a:pt x="26289" y="23908"/>
                    <a:pt x="33242" y="18098"/>
                  </a:cubicBezTo>
                  <a:cubicBezTo>
                    <a:pt x="40196" y="12287"/>
                    <a:pt x="48578" y="7811"/>
                    <a:pt x="58293" y="4667"/>
                  </a:cubicBezTo>
                  <a:cubicBezTo>
                    <a:pt x="67913" y="1524"/>
                    <a:pt x="78486" y="0"/>
                    <a:pt x="89725" y="0"/>
                  </a:cubicBezTo>
                  <a:cubicBezTo>
                    <a:pt x="104013" y="0"/>
                    <a:pt x="118396" y="2286"/>
                    <a:pt x="133064" y="6953"/>
                  </a:cubicBezTo>
                  <a:cubicBezTo>
                    <a:pt x="147638" y="11621"/>
                    <a:pt x="160877" y="17717"/>
                    <a:pt x="172784" y="25527"/>
                  </a:cubicBezTo>
                  <a:lnTo>
                    <a:pt x="157163" y="51435"/>
                  </a:lnTo>
                  <a:cubicBezTo>
                    <a:pt x="146399" y="44577"/>
                    <a:pt x="135255" y="39148"/>
                    <a:pt x="123444" y="35147"/>
                  </a:cubicBezTo>
                  <a:cubicBezTo>
                    <a:pt x="111728" y="31147"/>
                    <a:pt x="100203" y="29146"/>
                    <a:pt x="88868" y="29146"/>
                  </a:cubicBezTo>
                  <a:cubicBezTo>
                    <a:pt x="75152" y="29146"/>
                    <a:pt x="64294" y="32385"/>
                    <a:pt x="56293" y="38767"/>
                  </a:cubicBezTo>
                  <a:cubicBezTo>
                    <a:pt x="48292" y="45149"/>
                    <a:pt x="44196" y="53150"/>
                    <a:pt x="44196" y="62675"/>
                  </a:cubicBezTo>
                  <a:lnTo>
                    <a:pt x="44196" y="63627"/>
                  </a:lnTo>
                  <a:cubicBezTo>
                    <a:pt x="44196" y="68961"/>
                    <a:pt x="45815" y="73628"/>
                    <a:pt x="49149" y="77724"/>
                  </a:cubicBezTo>
                  <a:cubicBezTo>
                    <a:pt x="52388" y="81725"/>
                    <a:pt x="56769" y="85249"/>
                    <a:pt x="62294" y="88202"/>
                  </a:cubicBezTo>
                  <a:cubicBezTo>
                    <a:pt x="67818" y="91154"/>
                    <a:pt x="74104" y="93821"/>
                    <a:pt x="81248" y="96203"/>
                  </a:cubicBezTo>
                  <a:cubicBezTo>
                    <a:pt x="88392" y="98584"/>
                    <a:pt x="95821" y="100965"/>
                    <a:pt x="103537" y="103346"/>
                  </a:cubicBezTo>
                  <a:cubicBezTo>
                    <a:pt x="112490" y="106013"/>
                    <a:pt x="121349" y="108966"/>
                    <a:pt x="130112" y="112300"/>
                  </a:cubicBezTo>
                  <a:cubicBezTo>
                    <a:pt x="138875" y="115538"/>
                    <a:pt x="146875" y="119729"/>
                    <a:pt x="154019" y="124778"/>
                  </a:cubicBezTo>
                  <a:cubicBezTo>
                    <a:pt x="161163" y="129826"/>
                    <a:pt x="166878" y="135922"/>
                    <a:pt x="171164" y="143066"/>
                  </a:cubicBezTo>
                  <a:cubicBezTo>
                    <a:pt x="175450" y="150209"/>
                    <a:pt x="177641" y="158972"/>
                    <a:pt x="177641" y="169450"/>
                  </a:cubicBezTo>
                  <a:lnTo>
                    <a:pt x="177641" y="170307"/>
                  </a:lnTo>
                  <a:cubicBezTo>
                    <a:pt x="177641" y="181356"/>
                    <a:pt x="175450" y="191071"/>
                    <a:pt x="171164" y="199549"/>
                  </a:cubicBezTo>
                  <a:cubicBezTo>
                    <a:pt x="166878" y="208026"/>
                    <a:pt x="161068" y="215265"/>
                    <a:pt x="153734" y="221171"/>
                  </a:cubicBezTo>
                  <a:cubicBezTo>
                    <a:pt x="146495" y="227171"/>
                    <a:pt x="137827" y="231648"/>
                    <a:pt x="127825" y="234791"/>
                  </a:cubicBezTo>
                  <a:cubicBezTo>
                    <a:pt x="117824" y="237935"/>
                    <a:pt x="107061" y="239459"/>
                    <a:pt x="95441" y="239459"/>
                  </a:cubicBezTo>
                  <a:close/>
                </a:path>
              </a:pathLst>
            </a:custGeom>
            <a:solidFill>
              <a:srgbClr val="44505E"/>
            </a:solidFill>
            <a:ln w="9525" cap="flat">
              <a:noFill/>
              <a:prstDash val="solid"/>
              <a:miter/>
            </a:ln>
          </p:spPr>
          <p:txBody>
            <a:bodyPr rtlCol="0" anchor="ctr"/>
            <a:lstStyle/>
            <a:p>
              <a:endParaRPr lang="pt-BR" noProof="0"/>
            </a:p>
          </p:txBody>
        </p:sp>
        <p:sp>
          <p:nvSpPr>
            <p:cNvPr id="41" name="Freeform: Shape 40">
              <a:extLst>
                <a:ext uri="{FF2B5EF4-FFF2-40B4-BE49-F238E27FC236}">
                  <a16:creationId xmlns:a16="http://schemas.microsoft.com/office/drawing/2014/main" id="{B7E246EB-6679-B97D-386A-5A931809BD54}"/>
                </a:ext>
              </a:extLst>
            </p:cNvPr>
            <p:cNvSpPr/>
            <p:nvPr/>
          </p:nvSpPr>
          <p:spPr>
            <a:xfrm>
              <a:off x="5752668" y="924028"/>
              <a:ext cx="58567" cy="77196"/>
            </a:xfrm>
            <a:custGeom>
              <a:avLst/>
              <a:gdLst>
                <a:gd name="connsiteX0" fmla="*/ 198596 w 232981"/>
                <a:gd name="connsiteY0" fmla="*/ 189357 h 307085"/>
                <a:gd name="connsiteX1" fmla="*/ 182785 w 232981"/>
                <a:gd name="connsiteY1" fmla="*/ 208978 h 307085"/>
                <a:gd name="connsiteX2" fmla="*/ 163354 w 232981"/>
                <a:gd name="connsiteY2" fmla="*/ 225552 h 307085"/>
                <a:gd name="connsiteX3" fmla="*/ 139446 w 232981"/>
                <a:gd name="connsiteY3" fmla="*/ 236696 h 307085"/>
                <a:gd name="connsiteX4" fmla="*/ 110204 w 232981"/>
                <a:gd name="connsiteY4" fmla="*/ 240697 h 307085"/>
                <a:gd name="connsiteX5" fmla="*/ 69628 w 232981"/>
                <a:gd name="connsiteY5" fmla="*/ 232696 h 307085"/>
                <a:gd name="connsiteX6" fmla="*/ 34385 w 232981"/>
                <a:gd name="connsiteY6" fmla="*/ 209264 h 307085"/>
                <a:gd name="connsiteX7" fmla="*/ 9335 w 232981"/>
                <a:gd name="connsiteY7" fmla="*/ 171736 h 307085"/>
                <a:gd name="connsiteX8" fmla="*/ 0 w 232981"/>
                <a:gd name="connsiteY8" fmla="*/ 121063 h 307085"/>
                <a:gd name="connsiteX9" fmla="*/ 0 w 232981"/>
                <a:gd name="connsiteY9" fmla="*/ 120205 h 307085"/>
                <a:gd name="connsiteX10" fmla="*/ 9335 w 232981"/>
                <a:gd name="connsiteY10" fmla="*/ 69723 h 307085"/>
                <a:gd name="connsiteX11" fmla="*/ 34385 w 232981"/>
                <a:gd name="connsiteY11" fmla="*/ 32004 h 307085"/>
                <a:gd name="connsiteX12" fmla="*/ 69628 w 232981"/>
                <a:gd name="connsiteY12" fmla="*/ 8287 h 307085"/>
                <a:gd name="connsiteX13" fmla="*/ 110204 w 232981"/>
                <a:gd name="connsiteY13" fmla="*/ 0 h 307085"/>
                <a:gd name="connsiteX14" fmla="*/ 139637 w 232981"/>
                <a:gd name="connsiteY14" fmla="*/ 4000 h 307085"/>
                <a:gd name="connsiteX15" fmla="*/ 163735 w 232981"/>
                <a:gd name="connsiteY15" fmla="*/ 14668 h 307085"/>
                <a:gd name="connsiteX16" fmla="*/ 183166 w 232981"/>
                <a:gd name="connsiteY16" fmla="*/ 30289 h 307085"/>
                <a:gd name="connsiteX17" fmla="*/ 198596 w 232981"/>
                <a:gd name="connsiteY17" fmla="*/ 49054 h 307085"/>
                <a:gd name="connsiteX18" fmla="*/ 198596 w 232981"/>
                <a:gd name="connsiteY18" fmla="*/ 4858 h 307085"/>
                <a:gd name="connsiteX19" fmla="*/ 232982 w 232981"/>
                <a:gd name="connsiteY19" fmla="*/ 4858 h 307085"/>
                <a:gd name="connsiteX20" fmla="*/ 232982 w 232981"/>
                <a:gd name="connsiteY20" fmla="*/ 307086 h 307085"/>
                <a:gd name="connsiteX21" fmla="*/ 198596 w 232981"/>
                <a:gd name="connsiteY21" fmla="*/ 307086 h 307085"/>
                <a:gd name="connsiteX22" fmla="*/ 198596 w 232981"/>
                <a:gd name="connsiteY22" fmla="*/ 189262 h 307085"/>
                <a:gd name="connsiteX23" fmla="*/ 116491 w 232981"/>
                <a:gd name="connsiteY23" fmla="*/ 209931 h 307085"/>
                <a:gd name="connsiteX24" fmla="*/ 147542 w 232981"/>
                <a:gd name="connsiteY24" fmla="*/ 203454 h 307085"/>
                <a:gd name="connsiteX25" fmla="*/ 174308 w 232981"/>
                <a:gd name="connsiteY25" fmla="*/ 185166 h 307085"/>
                <a:gd name="connsiteX26" fmla="*/ 193072 w 232981"/>
                <a:gd name="connsiteY26" fmla="*/ 157067 h 307085"/>
                <a:gd name="connsiteX27" fmla="*/ 200025 w 232981"/>
                <a:gd name="connsiteY27" fmla="*/ 120682 h 307085"/>
                <a:gd name="connsiteX28" fmla="*/ 200025 w 232981"/>
                <a:gd name="connsiteY28" fmla="*/ 119824 h 307085"/>
                <a:gd name="connsiteX29" fmla="*/ 193072 w 232981"/>
                <a:gd name="connsiteY29" fmla="*/ 83439 h 307085"/>
                <a:gd name="connsiteX30" fmla="*/ 174308 w 232981"/>
                <a:gd name="connsiteY30" fmla="*/ 55531 h 307085"/>
                <a:gd name="connsiteX31" fmla="*/ 147542 w 232981"/>
                <a:gd name="connsiteY31" fmla="*/ 37433 h 307085"/>
                <a:gd name="connsiteX32" fmla="*/ 116491 w 232981"/>
                <a:gd name="connsiteY32" fmla="*/ 30956 h 307085"/>
                <a:gd name="connsiteX33" fmla="*/ 84773 w 232981"/>
                <a:gd name="connsiteY33" fmla="*/ 36957 h 307085"/>
                <a:gd name="connsiteX34" fmla="*/ 59150 w 232981"/>
                <a:gd name="connsiteY34" fmla="*/ 54388 h 307085"/>
                <a:gd name="connsiteX35" fmla="*/ 41720 w 232981"/>
                <a:gd name="connsiteY35" fmla="*/ 82296 h 307085"/>
                <a:gd name="connsiteX36" fmla="*/ 35242 w 232981"/>
                <a:gd name="connsiteY36" fmla="*/ 119824 h 307085"/>
                <a:gd name="connsiteX37" fmla="*/ 35242 w 232981"/>
                <a:gd name="connsiteY37" fmla="*/ 120682 h 307085"/>
                <a:gd name="connsiteX38" fmla="*/ 41720 w 232981"/>
                <a:gd name="connsiteY38" fmla="*/ 157734 h 307085"/>
                <a:gd name="connsiteX39" fmla="*/ 59341 w 232981"/>
                <a:gd name="connsiteY39" fmla="*/ 185833 h 307085"/>
                <a:gd name="connsiteX40" fmla="*/ 85249 w 232981"/>
                <a:gd name="connsiteY40" fmla="*/ 203740 h 307085"/>
                <a:gd name="connsiteX41" fmla="*/ 116491 w 232981"/>
                <a:gd name="connsiteY41" fmla="*/ 210026 h 30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07085">
                  <a:moveTo>
                    <a:pt x="198596" y="189357"/>
                  </a:moveTo>
                  <a:cubicBezTo>
                    <a:pt x="193834" y="196215"/>
                    <a:pt x="188595" y="202787"/>
                    <a:pt x="182785" y="208978"/>
                  </a:cubicBezTo>
                  <a:cubicBezTo>
                    <a:pt x="176975" y="215265"/>
                    <a:pt x="170498" y="220789"/>
                    <a:pt x="163354" y="225552"/>
                  </a:cubicBezTo>
                  <a:cubicBezTo>
                    <a:pt x="156210" y="230314"/>
                    <a:pt x="148209" y="234029"/>
                    <a:pt x="139446" y="236696"/>
                  </a:cubicBezTo>
                  <a:cubicBezTo>
                    <a:pt x="130683" y="239363"/>
                    <a:pt x="120967" y="240697"/>
                    <a:pt x="110204" y="240697"/>
                  </a:cubicBezTo>
                  <a:cubicBezTo>
                    <a:pt x="96203" y="240697"/>
                    <a:pt x="82677" y="238030"/>
                    <a:pt x="69628" y="232696"/>
                  </a:cubicBezTo>
                  <a:cubicBezTo>
                    <a:pt x="56579" y="227362"/>
                    <a:pt x="44767" y="219551"/>
                    <a:pt x="34385" y="209264"/>
                  </a:cubicBezTo>
                  <a:cubicBezTo>
                    <a:pt x="24003" y="198977"/>
                    <a:pt x="15621" y="186499"/>
                    <a:pt x="9335" y="171736"/>
                  </a:cubicBezTo>
                  <a:cubicBezTo>
                    <a:pt x="3048" y="156972"/>
                    <a:pt x="0" y="140113"/>
                    <a:pt x="0" y="121063"/>
                  </a:cubicBezTo>
                  <a:lnTo>
                    <a:pt x="0" y="120205"/>
                  </a:lnTo>
                  <a:cubicBezTo>
                    <a:pt x="0" y="101441"/>
                    <a:pt x="3143" y="84677"/>
                    <a:pt x="9335" y="69723"/>
                  </a:cubicBezTo>
                  <a:cubicBezTo>
                    <a:pt x="15621" y="54864"/>
                    <a:pt x="23908" y="42291"/>
                    <a:pt x="34385" y="32004"/>
                  </a:cubicBezTo>
                  <a:cubicBezTo>
                    <a:pt x="44767" y="21717"/>
                    <a:pt x="56579" y="13811"/>
                    <a:pt x="69628" y="8287"/>
                  </a:cubicBezTo>
                  <a:cubicBezTo>
                    <a:pt x="82677" y="2762"/>
                    <a:pt x="96298" y="0"/>
                    <a:pt x="110204" y="0"/>
                  </a:cubicBezTo>
                  <a:cubicBezTo>
                    <a:pt x="120967" y="0"/>
                    <a:pt x="130778" y="1333"/>
                    <a:pt x="139637" y="4000"/>
                  </a:cubicBezTo>
                  <a:cubicBezTo>
                    <a:pt x="148590" y="6667"/>
                    <a:pt x="156591" y="10287"/>
                    <a:pt x="163735" y="14668"/>
                  </a:cubicBezTo>
                  <a:cubicBezTo>
                    <a:pt x="170879" y="19145"/>
                    <a:pt x="177356" y="24384"/>
                    <a:pt x="183166" y="30289"/>
                  </a:cubicBezTo>
                  <a:cubicBezTo>
                    <a:pt x="188976" y="36290"/>
                    <a:pt x="194120" y="42481"/>
                    <a:pt x="198596" y="49054"/>
                  </a:cubicBezTo>
                  <a:lnTo>
                    <a:pt x="198596" y="4858"/>
                  </a:lnTo>
                  <a:lnTo>
                    <a:pt x="232982" y="4858"/>
                  </a:lnTo>
                  <a:lnTo>
                    <a:pt x="232982" y="307086"/>
                  </a:lnTo>
                  <a:lnTo>
                    <a:pt x="198596" y="307086"/>
                  </a:lnTo>
                  <a:lnTo>
                    <a:pt x="198596" y="189262"/>
                  </a:lnTo>
                  <a:close/>
                  <a:moveTo>
                    <a:pt x="116491" y="209931"/>
                  </a:moveTo>
                  <a:cubicBezTo>
                    <a:pt x="127159" y="209931"/>
                    <a:pt x="137541" y="207740"/>
                    <a:pt x="147542" y="203454"/>
                  </a:cubicBezTo>
                  <a:cubicBezTo>
                    <a:pt x="157544" y="199168"/>
                    <a:pt x="166402" y="193072"/>
                    <a:pt x="174308" y="185166"/>
                  </a:cubicBezTo>
                  <a:cubicBezTo>
                    <a:pt x="182213" y="177260"/>
                    <a:pt x="188404" y="167926"/>
                    <a:pt x="193072" y="157067"/>
                  </a:cubicBezTo>
                  <a:cubicBezTo>
                    <a:pt x="197739" y="146209"/>
                    <a:pt x="200025" y="134112"/>
                    <a:pt x="200025" y="120682"/>
                  </a:cubicBezTo>
                  <a:lnTo>
                    <a:pt x="200025" y="119824"/>
                  </a:lnTo>
                  <a:cubicBezTo>
                    <a:pt x="200025" y="106394"/>
                    <a:pt x="197739" y="94297"/>
                    <a:pt x="193072" y="83439"/>
                  </a:cubicBezTo>
                  <a:cubicBezTo>
                    <a:pt x="188500" y="72580"/>
                    <a:pt x="182213" y="63246"/>
                    <a:pt x="174308" y="55531"/>
                  </a:cubicBezTo>
                  <a:cubicBezTo>
                    <a:pt x="166402" y="47815"/>
                    <a:pt x="157544" y="41815"/>
                    <a:pt x="147542" y="37433"/>
                  </a:cubicBezTo>
                  <a:cubicBezTo>
                    <a:pt x="137541" y="33147"/>
                    <a:pt x="127254" y="30956"/>
                    <a:pt x="116491" y="30956"/>
                  </a:cubicBezTo>
                  <a:cubicBezTo>
                    <a:pt x="105156" y="30956"/>
                    <a:pt x="94583" y="32956"/>
                    <a:pt x="84773" y="36957"/>
                  </a:cubicBezTo>
                  <a:cubicBezTo>
                    <a:pt x="74962" y="40957"/>
                    <a:pt x="66389" y="46767"/>
                    <a:pt x="59150" y="54388"/>
                  </a:cubicBezTo>
                  <a:cubicBezTo>
                    <a:pt x="51816" y="61913"/>
                    <a:pt x="46101" y="71247"/>
                    <a:pt x="41720" y="82296"/>
                  </a:cubicBezTo>
                  <a:cubicBezTo>
                    <a:pt x="37433" y="93250"/>
                    <a:pt x="35242" y="105823"/>
                    <a:pt x="35242" y="119824"/>
                  </a:cubicBezTo>
                  <a:lnTo>
                    <a:pt x="35242" y="120682"/>
                  </a:lnTo>
                  <a:cubicBezTo>
                    <a:pt x="35242" y="134398"/>
                    <a:pt x="37433" y="146780"/>
                    <a:pt x="41720" y="157734"/>
                  </a:cubicBezTo>
                  <a:cubicBezTo>
                    <a:pt x="46006" y="168783"/>
                    <a:pt x="51911" y="178117"/>
                    <a:pt x="59341" y="185833"/>
                  </a:cubicBezTo>
                  <a:cubicBezTo>
                    <a:pt x="66770" y="193548"/>
                    <a:pt x="75438" y="199549"/>
                    <a:pt x="85249" y="203740"/>
                  </a:cubicBezTo>
                  <a:cubicBezTo>
                    <a:pt x="95060" y="207931"/>
                    <a:pt x="105442" y="210026"/>
                    <a:pt x="116491" y="210026"/>
                  </a:cubicBezTo>
                  <a:close/>
                </a:path>
              </a:pathLst>
            </a:custGeom>
            <a:solidFill>
              <a:srgbClr val="44505E"/>
            </a:solidFill>
            <a:ln w="9525" cap="flat">
              <a:noFill/>
              <a:prstDash val="solid"/>
              <a:miter/>
            </a:ln>
          </p:spPr>
          <p:txBody>
            <a:bodyPr rtlCol="0" anchor="ctr"/>
            <a:lstStyle/>
            <a:p>
              <a:endParaRPr lang="pt-BR" noProof="0"/>
            </a:p>
          </p:txBody>
        </p:sp>
        <p:sp>
          <p:nvSpPr>
            <p:cNvPr id="42" name="Freeform: Shape 41">
              <a:extLst>
                <a:ext uri="{FF2B5EF4-FFF2-40B4-BE49-F238E27FC236}">
                  <a16:creationId xmlns:a16="http://schemas.microsoft.com/office/drawing/2014/main" id="{22F984F3-C40E-63B2-7BCD-5B2A74430546}"/>
                </a:ext>
              </a:extLst>
            </p:cNvPr>
            <p:cNvSpPr/>
            <p:nvPr/>
          </p:nvSpPr>
          <p:spPr>
            <a:xfrm>
              <a:off x="5829624" y="925297"/>
              <a:ext cx="50618" cy="59238"/>
            </a:xfrm>
            <a:custGeom>
              <a:avLst/>
              <a:gdLst>
                <a:gd name="connsiteX0" fmla="*/ 88392 w 201358"/>
                <a:gd name="connsiteY0" fmla="*/ 235648 h 235648"/>
                <a:gd name="connsiteX1" fmla="*/ 51149 w 201358"/>
                <a:gd name="connsiteY1" fmla="*/ 228981 h 235648"/>
                <a:gd name="connsiteX2" fmla="*/ 23432 w 201358"/>
                <a:gd name="connsiteY2" fmla="*/ 210026 h 235648"/>
                <a:gd name="connsiteX3" fmla="*/ 6001 w 201358"/>
                <a:gd name="connsiteY3" fmla="*/ 180784 h 235648"/>
                <a:gd name="connsiteX4" fmla="*/ 0 w 201358"/>
                <a:gd name="connsiteY4" fmla="*/ 143256 h 235648"/>
                <a:gd name="connsiteX5" fmla="*/ 0 w 201358"/>
                <a:gd name="connsiteY5" fmla="*/ 0 h 235648"/>
                <a:gd name="connsiteX6" fmla="*/ 34385 w 201358"/>
                <a:gd name="connsiteY6" fmla="*/ 0 h 235648"/>
                <a:gd name="connsiteX7" fmla="*/ 34385 w 201358"/>
                <a:gd name="connsiteY7" fmla="*/ 134493 h 235648"/>
                <a:gd name="connsiteX8" fmla="*/ 50959 w 201358"/>
                <a:gd name="connsiteY8" fmla="*/ 185261 h 235648"/>
                <a:gd name="connsiteX9" fmla="*/ 98298 w 201358"/>
                <a:gd name="connsiteY9" fmla="*/ 203930 h 235648"/>
                <a:gd name="connsiteX10" fmla="*/ 125730 w 201358"/>
                <a:gd name="connsiteY10" fmla="*/ 198787 h 235648"/>
                <a:gd name="connsiteX11" fmla="*/ 147638 w 201358"/>
                <a:gd name="connsiteY11" fmla="*/ 184118 h 235648"/>
                <a:gd name="connsiteX12" fmla="*/ 162116 w 201358"/>
                <a:gd name="connsiteY12" fmla="*/ 161163 h 235648"/>
                <a:gd name="connsiteX13" fmla="*/ 167450 w 201358"/>
                <a:gd name="connsiteY13" fmla="*/ 131826 h 235648"/>
                <a:gd name="connsiteX14" fmla="*/ 167450 w 201358"/>
                <a:gd name="connsiteY14" fmla="*/ 0 h 235648"/>
                <a:gd name="connsiteX15" fmla="*/ 201359 w 201358"/>
                <a:gd name="connsiteY15" fmla="*/ 0 h 235648"/>
                <a:gd name="connsiteX16" fmla="*/ 201359 w 201358"/>
                <a:gd name="connsiteY16" fmla="*/ 230791 h 235648"/>
                <a:gd name="connsiteX17" fmla="*/ 167450 w 201358"/>
                <a:gd name="connsiteY17" fmla="*/ 230791 h 235648"/>
                <a:gd name="connsiteX18" fmla="*/ 167450 w 201358"/>
                <a:gd name="connsiteY18" fmla="*/ 190595 h 235648"/>
                <a:gd name="connsiteX19" fmla="*/ 137065 w 201358"/>
                <a:gd name="connsiteY19" fmla="*/ 222504 h 235648"/>
                <a:gd name="connsiteX20" fmla="*/ 88392 w 201358"/>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358" h="235648">
                  <a:moveTo>
                    <a:pt x="88392" y="235648"/>
                  </a:moveTo>
                  <a:cubicBezTo>
                    <a:pt x="74390" y="235648"/>
                    <a:pt x="62008" y="233363"/>
                    <a:pt x="51149" y="228981"/>
                  </a:cubicBezTo>
                  <a:cubicBezTo>
                    <a:pt x="40291" y="224504"/>
                    <a:pt x="31052" y="218218"/>
                    <a:pt x="23432"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959" y="185261"/>
                  </a:cubicBezTo>
                  <a:cubicBezTo>
                    <a:pt x="61913" y="197739"/>
                    <a:pt x="77724" y="203930"/>
                    <a:pt x="98298" y="203930"/>
                  </a:cubicBezTo>
                  <a:cubicBezTo>
                    <a:pt x="108109" y="203930"/>
                    <a:pt x="117253" y="202216"/>
                    <a:pt x="125730" y="198787"/>
                  </a:cubicBezTo>
                  <a:cubicBezTo>
                    <a:pt x="134207" y="195358"/>
                    <a:pt x="141446" y="190500"/>
                    <a:pt x="147638" y="184118"/>
                  </a:cubicBezTo>
                  <a:cubicBezTo>
                    <a:pt x="153734" y="177736"/>
                    <a:pt x="158591" y="170116"/>
                    <a:pt x="162116" y="161163"/>
                  </a:cubicBezTo>
                  <a:cubicBezTo>
                    <a:pt x="165735" y="152305"/>
                    <a:pt x="167450" y="142494"/>
                    <a:pt x="167450" y="131826"/>
                  </a:cubicBezTo>
                  <a:lnTo>
                    <a:pt x="167450" y="0"/>
                  </a:lnTo>
                  <a:lnTo>
                    <a:pt x="201359" y="0"/>
                  </a:lnTo>
                  <a:lnTo>
                    <a:pt x="201359" y="230791"/>
                  </a:lnTo>
                  <a:lnTo>
                    <a:pt x="167450" y="230791"/>
                  </a:lnTo>
                  <a:lnTo>
                    <a:pt x="167450" y="190595"/>
                  </a:lnTo>
                  <a:cubicBezTo>
                    <a:pt x="159734" y="203073"/>
                    <a:pt x="149543" y="213741"/>
                    <a:pt x="137065" y="222504"/>
                  </a:cubicBezTo>
                  <a:cubicBezTo>
                    <a:pt x="124587" y="231267"/>
                    <a:pt x="108395" y="235648"/>
                    <a:pt x="88392" y="235648"/>
                  </a:cubicBezTo>
                  <a:close/>
                </a:path>
              </a:pathLst>
            </a:custGeom>
            <a:solidFill>
              <a:srgbClr val="44505E"/>
            </a:solidFill>
            <a:ln w="9525" cap="flat">
              <a:noFill/>
              <a:prstDash val="solid"/>
              <a:miter/>
            </a:ln>
          </p:spPr>
          <p:txBody>
            <a:bodyPr rtlCol="0" anchor="ctr"/>
            <a:lstStyle/>
            <a:p>
              <a:endParaRPr lang="pt-BR" noProof="0"/>
            </a:p>
          </p:txBody>
        </p:sp>
        <p:sp>
          <p:nvSpPr>
            <p:cNvPr id="43" name="Freeform: Shape 42">
              <a:extLst>
                <a:ext uri="{FF2B5EF4-FFF2-40B4-BE49-F238E27FC236}">
                  <a16:creationId xmlns:a16="http://schemas.microsoft.com/office/drawing/2014/main" id="{C73D8CF4-DCE0-1EB9-3027-71BB0BD1C071}"/>
                </a:ext>
              </a:extLst>
            </p:cNvPr>
            <p:cNvSpPr/>
            <p:nvPr/>
          </p:nvSpPr>
          <p:spPr>
            <a:xfrm>
              <a:off x="5896069"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7059 w 218217"/>
                <a:gd name="connsiteY3" fmla="*/ 206026 h 241077"/>
                <a:gd name="connsiteX4" fmla="*/ 116110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7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0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356 w 218217"/>
                <a:gd name="connsiteY25" fmla="*/ 106299 h 241077"/>
                <a:gd name="connsiteX26" fmla="*/ 176689 w 218217"/>
                <a:gd name="connsiteY26" fmla="*/ 76771 h 241077"/>
                <a:gd name="connsiteX27" fmla="*/ 162211 w 218217"/>
                <a:gd name="connsiteY27" fmla="*/ 52101 h 241077"/>
                <a:gd name="connsiteX28" fmla="*/ 139922 w 218217"/>
                <a:gd name="connsiteY28" fmla="*/ 35242 h 241077"/>
                <a:gd name="connsiteX29" fmla="*/ 109823 w 218217"/>
                <a:gd name="connsiteY29" fmla="*/ 29051 h 241077"/>
                <a:gd name="connsiteX30" fmla="*/ 82105 w 218217"/>
                <a:gd name="connsiteY30" fmla="*/ 34766 h 241077"/>
                <a:gd name="connsiteX31" fmla="*/ 59341 w 218217"/>
                <a:gd name="connsiteY31" fmla="*/ 50959 h 241077"/>
                <a:gd name="connsiteX32" fmla="*/ 43053 w 218217"/>
                <a:gd name="connsiteY32" fmla="*/ 75628 h 241077"/>
                <a:gd name="connsiteX33" fmla="*/ 34766 w 218217"/>
                <a:gd name="connsiteY33" fmla="*/ 106204 h 241077"/>
                <a:gd name="connsiteX34" fmla="*/ 183356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819" y="202597"/>
                    <a:pt x="87059" y="206026"/>
                  </a:cubicBezTo>
                  <a:cubicBezTo>
                    <a:pt x="96298" y="209455"/>
                    <a:pt x="105918" y="211169"/>
                    <a:pt x="116110" y="211169"/>
                  </a:cubicBezTo>
                  <a:cubicBezTo>
                    <a:pt x="132207" y="211169"/>
                    <a:pt x="145923" y="208216"/>
                    <a:pt x="157353" y="202216"/>
                  </a:cubicBezTo>
                  <a:cubicBezTo>
                    <a:pt x="168783" y="196310"/>
                    <a:pt x="179261" y="188404"/>
                    <a:pt x="188786" y="178594"/>
                  </a:cubicBezTo>
                  <a:lnTo>
                    <a:pt x="210217" y="197834"/>
                  </a:lnTo>
                  <a:cubicBezTo>
                    <a:pt x="198596" y="210979"/>
                    <a:pt x="185356" y="221361"/>
                    <a:pt x="170497" y="229267"/>
                  </a:cubicBezTo>
                  <a:cubicBezTo>
                    <a:pt x="155638"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583" y="0"/>
                    <a:pt x="110680"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356" y="106299"/>
                  </a:moveTo>
                  <a:cubicBezTo>
                    <a:pt x="182499" y="95917"/>
                    <a:pt x="180213" y="86106"/>
                    <a:pt x="176689" y="76771"/>
                  </a:cubicBezTo>
                  <a:cubicBezTo>
                    <a:pt x="173069" y="67437"/>
                    <a:pt x="168307" y="59245"/>
                    <a:pt x="162211" y="52101"/>
                  </a:cubicBezTo>
                  <a:cubicBezTo>
                    <a:pt x="156115" y="44958"/>
                    <a:pt x="148685" y="39338"/>
                    <a:pt x="139922" y="35242"/>
                  </a:cubicBezTo>
                  <a:cubicBezTo>
                    <a:pt x="131159" y="31147"/>
                    <a:pt x="121063" y="29051"/>
                    <a:pt x="109823" y="29051"/>
                  </a:cubicBezTo>
                  <a:cubicBezTo>
                    <a:pt x="100013" y="29051"/>
                    <a:pt x="90773" y="30956"/>
                    <a:pt x="82105" y="34766"/>
                  </a:cubicBezTo>
                  <a:cubicBezTo>
                    <a:pt x="73438" y="38671"/>
                    <a:pt x="65913" y="44005"/>
                    <a:pt x="59341" y="50959"/>
                  </a:cubicBezTo>
                  <a:cubicBezTo>
                    <a:pt x="52769" y="57912"/>
                    <a:pt x="47339" y="66103"/>
                    <a:pt x="43053" y="75628"/>
                  </a:cubicBezTo>
                  <a:cubicBezTo>
                    <a:pt x="38767" y="85058"/>
                    <a:pt x="36004" y="95345"/>
                    <a:pt x="34766" y="106204"/>
                  </a:cubicBezTo>
                  <a:lnTo>
                    <a:pt x="183356" y="106204"/>
                  </a:lnTo>
                  <a:close/>
                </a:path>
              </a:pathLst>
            </a:custGeom>
            <a:solidFill>
              <a:srgbClr val="44505E"/>
            </a:solidFill>
            <a:ln w="9525" cap="flat">
              <a:noFill/>
              <a:prstDash val="solid"/>
              <a:miter/>
            </a:ln>
          </p:spPr>
          <p:txBody>
            <a:bodyPr rtlCol="0" anchor="ctr"/>
            <a:lstStyle/>
            <a:p>
              <a:endParaRPr lang="pt-BR" noProof="0"/>
            </a:p>
          </p:txBody>
        </p:sp>
        <p:sp>
          <p:nvSpPr>
            <p:cNvPr id="44" name="Freeform: Shape 43">
              <a:extLst>
                <a:ext uri="{FF2B5EF4-FFF2-40B4-BE49-F238E27FC236}">
                  <a16:creationId xmlns:a16="http://schemas.microsoft.com/office/drawing/2014/main" id="{DB1475DF-AC77-15D2-5B74-A94500025236}"/>
                </a:ext>
              </a:extLst>
            </p:cNvPr>
            <p:cNvSpPr/>
            <p:nvPr/>
          </p:nvSpPr>
          <p:spPr>
            <a:xfrm>
              <a:off x="5994910" y="924268"/>
              <a:ext cx="44680" cy="60195"/>
            </a:xfrm>
            <a:custGeom>
              <a:avLst/>
              <a:gdLst>
                <a:gd name="connsiteX0" fmla="*/ 95536 w 177736"/>
                <a:gd name="connsiteY0" fmla="*/ 239268 h 239458"/>
                <a:gd name="connsiteX1" fmla="*/ 45053 w 177736"/>
                <a:gd name="connsiteY1" fmla="*/ 230124 h 239458"/>
                <a:gd name="connsiteX2" fmla="*/ 0 w 177736"/>
                <a:gd name="connsiteY2" fmla="*/ 205359 h 239458"/>
                <a:gd name="connsiteX3" fmla="*/ 17431 w 177736"/>
                <a:gd name="connsiteY3" fmla="*/ 180785 h 239458"/>
                <a:gd name="connsiteX4" fmla="*/ 56483 w 177736"/>
                <a:gd name="connsiteY4" fmla="*/ 202692 h 239458"/>
                <a:gd name="connsiteX5" fmla="*/ 97346 w 177736"/>
                <a:gd name="connsiteY5" fmla="*/ 210217 h 239458"/>
                <a:gd name="connsiteX6" fmla="*/ 131731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730 w 177736"/>
                <a:gd name="connsiteY10" fmla="*/ 147066 h 239458"/>
                <a:gd name="connsiteX11" fmla="*/ 109252 w 177736"/>
                <a:gd name="connsiteY11" fmla="*/ 138779 h 239458"/>
                <a:gd name="connsiteX12" fmla="*/ 87630 w 177736"/>
                <a:gd name="connsiteY12" fmla="*/ 132112 h 239458"/>
                <a:gd name="connsiteX13" fmla="*/ 60674 w 177736"/>
                <a:gd name="connsiteY13" fmla="*/ 123444 h 239458"/>
                <a:gd name="connsiteX14" fmla="*/ 36100 w 177736"/>
                <a:gd name="connsiteY14" fmla="*/ 111633 h 239458"/>
                <a:gd name="connsiteX15" fmla="*/ 18193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60 w 177736"/>
                <a:gd name="connsiteY22" fmla="*/ 6953 h 239458"/>
                <a:gd name="connsiteX23" fmla="*/ 172879 w 177736"/>
                <a:gd name="connsiteY23" fmla="*/ 25527 h 239458"/>
                <a:gd name="connsiteX24" fmla="*/ 157258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4 w 177736"/>
                <a:gd name="connsiteY32" fmla="*/ 96203 h 239458"/>
                <a:gd name="connsiteX33" fmla="*/ 103632 w 177736"/>
                <a:gd name="connsiteY33" fmla="*/ 103346 h 239458"/>
                <a:gd name="connsiteX34" fmla="*/ 130207 w 177736"/>
                <a:gd name="connsiteY34" fmla="*/ 112300 h 239458"/>
                <a:gd name="connsiteX35" fmla="*/ 154114 w 177736"/>
                <a:gd name="connsiteY35" fmla="*/ 124778 h 239458"/>
                <a:gd name="connsiteX36" fmla="*/ 171260 w 177736"/>
                <a:gd name="connsiteY36" fmla="*/ 143066 h 239458"/>
                <a:gd name="connsiteX37" fmla="*/ 177737 w 177736"/>
                <a:gd name="connsiteY37" fmla="*/ 169450 h 239458"/>
                <a:gd name="connsiteX38" fmla="*/ 177737 w 177736"/>
                <a:gd name="connsiteY38" fmla="*/ 170307 h 239458"/>
                <a:gd name="connsiteX39" fmla="*/ 171260 w 177736"/>
                <a:gd name="connsiteY39" fmla="*/ 199549 h 239458"/>
                <a:gd name="connsiteX40" fmla="*/ 153829 w 177736"/>
                <a:gd name="connsiteY40" fmla="*/ 221171 h 239458"/>
                <a:gd name="connsiteX41" fmla="*/ 127921 w 177736"/>
                <a:gd name="connsiteY41" fmla="*/ 234791 h 239458"/>
                <a:gd name="connsiteX42" fmla="*/ 95536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6" y="239268"/>
                  </a:moveTo>
                  <a:cubicBezTo>
                    <a:pt x="78867" y="239268"/>
                    <a:pt x="62008" y="236220"/>
                    <a:pt x="45053" y="230124"/>
                  </a:cubicBezTo>
                  <a:cubicBezTo>
                    <a:pt x="28099" y="224028"/>
                    <a:pt x="13049" y="215741"/>
                    <a:pt x="0" y="205359"/>
                  </a:cubicBezTo>
                  <a:lnTo>
                    <a:pt x="17431" y="180785"/>
                  </a:lnTo>
                  <a:cubicBezTo>
                    <a:pt x="29909"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637" y="162211"/>
                    <a:pt x="140494" y="158020"/>
                  </a:cubicBezTo>
                  <a:cubicBezTo>
                    <a:pt x="137351" y="153829"/>
                    <a:pt x="133160" y="150209"/>
                    <a:pt x="127730" y="147066"/>
                  </a:cubicBezTo>
                  <a:cubicBezTo>
                    <a:pt x="122396" y="143923"/>
                    <a:pt x="116205" y="141161"/>
                    <a:pt x="109252" y="138779"/>
                  </a:cubicBezTo>
                  <a:cubicBezTo>
                    <a:pt x="102299" y="136398"/>
                    <a:pt x="95060" y="134207"/>
                    <a:pt x="87630" y="132112"/>
                  </a:cubicBezTo>
                  <a:cubicBezTo>
                    <a:pt x="78677" y="129445"/>
                    <a:pt x="69723" y="126492"/>
                    <a:pt x="60674" y="123444"/>
                  </a:cubicBezTo>
                  <a:cubicBezTo>
                    <a:pt x="51626" y="120301"/>
                    <a:pt x="43434" y="116396"/>
                    <a:pt x="36100" y="111633"/>
                  </a:cubicBezTo>
                  <a:cubicBezTo>
                    <a:pt x="28766" y="106871"/>
                    <a:pt x="22860" y="100870"/>
                    <a:pt x="18193" y="93726"/>
                  </a:cubicBezTo>
                  <a:cubicBezTo>
                    <a:pt x="13621" y="86582"/>
                    <a:pt x="11239" y="77629"/>
                    <a:pt x="11239" y="66961"/>
                  </a:cubicBezTo>
                  <a:lnTo>
                    <a:pt x="11239" y="66008"/>
                  </a:lnTo>
                  <a:cubicBezTo>
                    <a:pt x="11239" y="56198"/>
                    <a:pt x="13145" y="47149"/>
                    <a:pt x="17050" y="39053"/>
                  </a:cubicBezTo>
                  <a:cubicBezTo>
                    <a:pt x="20860" y="30861"/>
                    <a:pt x="26289" y="23908"/>
                    <a:pt x="33338" y="18098"/>
                  </a:cubicBezTo>
                  <a:cubicBezTo>
                    <a:pt x="40291" y="12287"/>
                    <a:pt x="48673" y="7811"/>
                    <a:pt x="58388" y="4667"/>
                  </a:cubicBezTo>
                  <a:cubicBezTo>
                    <a:pt x="68009" y="1524"/>
                    <a:pt x="78581" y="0"/>
                    <a:pt x="89821" y="0"/>
                  </a:cubicBezTo>
                  <a:cubicBezTo>
                    <a:pt x="104108" y="0"/>
                    <a:pt x="118491" y="2286"/>
                    <a:pt x="133160" y="6953"/>
                  </a:cubicBezTo>
                  <a:cubicBezTo>
                    <a:pt x="147733" y="11621"/>
                    <a:pt x="160972" y="17717"/>
                    <a:pt x="172879" y="25527"/>
                  </a:cubicBezTo>
                  <a:lnTo>
                    <a:pt x="157258" y="51435"/>
                  </a:lnTo>
                  <a:cubicBezTo>
                    <a:pt x="146495" y="44577"/>
                    <a:pt x="135350" y="39148"/>
                    <a:pt x="123539" y="35147"/>
                  </a:cubicBezTo>
                  <a:cubicBezTo>
                    <a:pt x="111824" y="31147"/>
                    <a:pt x="100298" y="29146"/>
                    <a:pt x="88963" y="29146"/>
                  </a:cubicBezTo>
                  <a:cubicBezTo>
                    <a:pt x="75247" y="29146"/>
                    <a:pt x="64389" y="32385"/>
                    <a:pt x="56388" y="38767"/>
                  </a:cubicBezTo>
                  <a:cubicBezTo>
                    <a:pt x="48387" y="45149"/>
                    <a:pt x="44291" y="53150"/>
                    <a:pt x="44291" y="62675"/>
                  </a:cubicBezTo>
                  <a:lnTo>
                    <a:pt x="44291" y="63627"/>
                  </a:lnTo>
                  <a:cubicBezTo>
                    <a:pt x="44291" y="68961"/>
                    <a:pt x="45911" y="73628"/>
                    <a:pt x="49244" y="77724"/>
                  </a:cubicBezTo>
                  <a:cubicBezTo>
                    <a:pt x="52483" y="81725"/>
                    <a:pt x="56960" y="85249"/>
                    <a:pt x="62389" y="88202"/>
                  </a:cubicBezTo>
                  <a:cubicBezTo>
                    <a:pt x="67913" y="91154"/>
                    <a:pt x="74200" y="93821"/>
                    <a:pt x="81344" y="96203"/>
                  </a:cubicBezTo>
                  <a:cubicBezTo>
                    <a:pt x="88487" y="98584"/>
                    <a:pt x="95917" y="100965"/>
                    <a:pt x="103632" y="103346"/>
                  </a:cubicBezTo>
                  <a:cubicBezTo>
                    <a:pt x="112586" y="106013"/>
                    <a:pt x="121444" y="108966"/>
                    <a:pt x="130207" y="112300"/>
                  </a:cubicBezTo>
                  <a:cubicBezTo>
                    <a:pt x="138970" y="115538"/>
                    <a:pt x="146971" y="119729"/>
                    <a:pt x="154114" y="124778"/>
                  </a:cubicBezTo>
                  <a:cubicBezTo>
                    <a:pt x="161258" y="129826"/>
                    <a:pt x="166973" y="135922"/>
                    <a:pt x="171260" y="143066"/>
                  </a:cubicBezTo>
                  <a:cubicBezTo>
                    <a:pt x="175546" y="150209"/>
                    <a:pt x="177737" y="158972"/>
                    <a:pt x="177737" y="169450"/>
                  </a:cubicBezTo>
                  <a:lnTo>
                    <a:pt x="177737" y="170307"/>
                  </a:lnTo>
                  <a:cubicBezTo>
                    <a:pt x="177737" y="181356"/>
                    <a:pt x="175546" y="191071"/>
                    <a:pt x="171260" y="199549"/>
                  </a:cubicBezTo>
                  <a:cubicBezTo>
                    <a:pt x="166973" y="208026"/>
                    <a:pt x="161163" y="215265"/>
                    <a:pt x="153829" y="221171"/>
                  </a:cubicBezTo>
                  <a:cubicBezTo>
                    <a:pt x="146495" y="227171"/>
                    <a:pt x="137922" y="231648"/>
                    <a:pt x="127921" y="234791"/>
                  </a:cubicBezTo>
                  <a:cubicBezTo>
                    <a:pt x="117920" y="237935"/>
                    <a:pt x="107156" y="239459"/>
                    <a:pt x="95536" y="239459"/>
                  </a:cubicBezTo>
                  <a:close/>
                </a:path>
              </a:pathLst>
            </a:custGeom>
            <a:solidFill>
              <a:srgbClr val="44505E"/>
            </a:solidFill>
            <a:ln w="9525" cap="flat">
              <a:noFill/>
              <a:prstDash val="solid"/>
              <a:miter/>
            </a:ln>
          </p:spPr>
          <p:txBody>
            <a:bodyPr rtlCol="0" anchor="ctr"/>
            <a:lstStyle/>
            <a:p>
              <a:endParaRPr lang="pt-BR" noProof="0"/>
            </a:p>
          </p:txBody>
        </p:sp>
        <p:sp>
          <p:nvSpPr>
            <p:cNvPr id="45" name="Freeform: Shape 44">
              <a:extLst>
                <a:ext uri="{FF2B5EF4-FFF2-40B4-BE49-F238E27FC236}">
                  <a16:creationId xmlns:a16="http://schemas.microsoft.com/office/drawing/2014/main" id="{450CD310-9559-3F3A-BE74-0D38B9567636}"/>
                </a:ext>
              </a:extLst>
            </p:cNvPr>
            <p:cNvSpPr/>
            <p:nvPr/>
          </p:nvSpPr>
          <p:spPr>
            <a:xfrm>
              <a:off x="605122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4 w 202977"/>
                <a:gd name="connsiteY30" fmla="*/ 174593 h 239267"/>
                <a:gd name="connsiteX31" fmla="*/ 169735 w 202977"/>
                <a:gd name="connsiteY31" fmla="*/ 149447 h 239267"/>
                <a:gd name="connsiteX32" fmla="*/ 169735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0" y="90964"/>
                    <a:pt x="98584" y="90964"/>
                  </a:cubicBezTo>
                  <a:cubicBezTo>
                    <a:pt x="113157" y="90964"/>
                    <a:pt x="126301"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1" y="33147"/>
                    <a:pt x="63436" y="36100"/>
                  </a:cubicBezTo>
                  <a:cubicBezTo>
                    <a:pt x="52292" y="39053"/>
                    <a:pt x="41338" y="43053"/>
                    <a:pt x="30671" y="48196"/>
                  </a:cubicBezTo>
                  <a:lnTo>
                    <a:pt x="20383" y="19907"/>
                  </a:lnTo>
                  <a:cubicBezTo>
                    <a:pt x="33147" y="13906"/>
                    <a:pt x="46101" y="9049"/>
                    <a:pt x="59246" y="5429"/>
                  </a:cubicBezTo>
                  <a:cubicBezTo>
                    <a:pt x="72295"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1" y="239173"/>
                  </a:cubicBezTo>
                  <a:close/>
                  <a:moveTo>
                    <a:pt x="93154" y="211169"/>
                  </a:moveTo>
                  <a:cubicBezTo>
                    <a:pt x="103822" y="211169"/>
                    <a:pt x="113728" y="209740"/>
                    <a:pt x="122967" y="206788"/>
                  </a:cubicBezTo>
                  <a:cubicBezTo>
                    <a:pt x="132207" y="203835"/>
                    <a:pt x="140208" y="199644"/>
                    <a:pt x="147256" y="194120"/>
                  </a:cubicBezTo>
                  <a:cubicBezTo>
                    <a:pt x="154209" y="188595"/>
                    <a:pt x="159734" y="182118"/>
                    <a:pt x="163734" y="174593"/>
                  </a:cubicBezTo>
                  <a:cubicBezTo>
                    <a:pt x="167735" y="167068"/>
                    <a:pt x="169735" y="158687"/>
                    <a:pt x="169735" y="149447"/>
                  </a:cubicBezTo>
                  <a:lnTo>
                    <a:pt x="169735" y="128111"/>
                  </a:lnTo>
                  <a:cubicBezTo>
                    <a:pt x="161163" y="125730"/>
                    <a:pt x="151352" y="123539"/>
                    <a:pt x="140398" y="121444"/>
                  </a:cubicBezTo>
                  <a:cubicBezTo>
                    <a:pt x="129445" y="119348"/>
                    <a:pt x="116872"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46" name="Freeform: Shape 45">
              <a:extLst>
                <a:ext uri="{FF2B5EF4-FFF2-40B4-BE49-F238E27FC236}">
                  <a16:creationId xmlns:a16="http://schemas.microsoft.com/office/drawing/2014/main" id="{9FAB4E94-6479-6416-06A1-97FB9DAE9151}"/>
                </a:ext>
              </a:extLst>
            </p:cNvPr>
            <p:cNvSpPr/>
            <p:nvPr/>
          </p:nvSpPr>
          <p:spPr>
            <a:xfrm>
              <a:off x="6121359" y="901377"/>
              <a:ext cx="8644" cy="81913"/>
            </a:xfrm>
            <a:custGeom>
              <a:avLst/>
              <a:gdLst>
                <a:gd name="connsiteX0" fmla="*/ 0 w 34385"/>
                <a:gd name="connsiteY0" fmla="*/ 0 h 325850"/>
                <a:gd name="connsiteX1" fmla="*/ 34385 w 34385"/>
                <a:gd name="connsiteY1" fmla="*/ 0 h 325850"/>
                <a:gd name="connsiteX2" fmla="*/ 34385 w 34385"/>
                <a:gd name="connsiteY2" fmla="*/ 325850 h 325850"/>
                <a:gd name="connsiteX3" fmla="*/ 0 w 34385"/>
                <a:gd name="connsiteY3" fmla="*/ 325850 h 325850"/>
                <a:gd name="connsiteX4" fmla="*/ 0 w 34385"/>
                <a:gd name="connsiteY4" fmla="*/ 0 h 32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 h="325850">
                  <a:moveTo>
                    <a:pt x="0" y="0"/>
                  </a:moveTo>
                  <a:lnTo>
                    <a:pt x="34385" y="0"/>
                  </a:lnTo>
                  <a:lnTo>
                    <a:pt x="34385" y="325850"/>
                  </a:lnTo>
                  <a:lnTo>
                    <a:pt x="0" y="325850"/>
                  </a:lnTo>
                  <a:lnTo>
                    <a:pt x="0" y="0"/>
                  </a:lnTo>
                  <a:close/>
                </a:path>
              </a:pathLst>
            </a:custGeom>
            <a:solidFill>
              <a:srgbClr val="44505E"/>
            </a:solidFill>
            <a:ln w="9525" cap="flat">
              <a:noFill/>
              <a:prstDash val="solid"/>
              <a:miter/>
            </a:ln>
          </p:spPr>
          <p:txBody>
            <a:bodyPr rtlCol="0" anchor="ctr"/>
            <a:lstStyle/>
            <a:p>
              <a:endParaRPr lang="pt-BR" noProof="0"/>
            </a:p>
          </p:txBody>
        </p:sp>
        <p:sp>
          <p:nvSpPr>
            <p:cNvPr id="47" name="Freeform: Shape 46">
              <a:extLst>
                <a:ext uri="{FF2B5EF4-FFF2-40B4-BE49-F238E27FC236}">
                  <a16:creationId xmlns:a16="http://schemas.microsoft.com/office/drawing/2014/main" id="{CDBAD9FC-613F-D11D-9B01-1D2551CE4E93}"/>
                </a:ext>
              </a:extLst>
            </p:cNvPr>
            <p:cNvSpPr/>
            <p:nvPr/>
          </p:nvSpPr>
          <p:spPr>
            <a:xfrm>
              <a:off x="6144346" y="925273"/>
              <a:ext cx="58016" cy="58448"/>
            </a:xfrm>
            <a:custGeom>
              <a:avLst/>
              <a:gdLst>
                <a:gd name="connsiteX0" fmla="*/ 95 w 230790"/>
                <a:gd name="connsiteY0" fmla="*/ 0 h 232505"/>
                <a:gd name="connsiteX1" fmla="*/ 38005 w 230790"/>
                <a:gd name="connsiteY1" fmla="*/ 0 h 232505"/>
                <a:gd name="connsiteX2" fmla="*/ 115634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4"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48" name="Freeform: Shape 47">
              <a:extLst>
                <a:ext uri="{FF2B5EF4-FFF2-40B4-BE49-F238E27FC236}">
                  <a16:creationId xmlns:a16="http://schemas.microsoft.com/office/drawing/2014/main" id="{143F0E49-858A-C44F-2C39-D935826E31C3}"/>
                </a:ext>
              </a:extLst>
            </p:cNvPr>
            <p:cNvSpPr/>
            <p:nvPr/>
          </p:nvSpPr>
          <p:spPr>
            <a:xfrm>
              <a:off x="621155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8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338 w 202977"/>
                <a:gd name="connsiteY36" fmla="*/ 164497 h 239267"/>
                <a:gd name="connsiteX37" fmla="*/ 35338 w 202977"/>
                <a:gd name="connsiteY37" fmla="*/ 165449 h 239267"/>
                <a:gd name="connsiteX38" fmla="*/ 40005 w 202977"/>
                <a:gd name="connsiteY38" fmla="*/ 184785 h 239267"/>
                <a:gd name="connsiteX39" fmla="*/ 52673 w 202977"/>
                <a:gd name="connsiteY39" fmla="*/ 199263 h 239267"/>
                <a:gd name="connsiteX40" fmla="*/ 71152 w 202977"/>
                <a:gd name="connsiteY40" fmla="*/ 208121 h 239267"/>
                <a:gd name="connsiteX41" fmla="*/ 93154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438" y="239268"/>
                    <a:pt x="64961"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1" y="90964"/>
                    <a:pt x="98584" y="90964"/>
                  </a:cubicBezTo>
                  <a:cubicBezTo>
                    <a:pt x="113157" y="90964"/>
                    <a:pt x="126302" y="91821"/>
                    <a:pt x="137160" y="93631"/>
                  </a:cubicBezTo>
                  <a:cubicBezTo>
                    <a:pt x="148019" y="95440"/>
                    <a:pt x="158687" y="97822"/>
                    <a:pt x="169069" y="100774"/>
                  </a:cubicBezTo>
                  <a:lnTo>
                    <a:pt x="169069" y="93726"/>
                  </a:lnTo>
                  <a:cubicBezTo>
                    <a:pt x="169069" y="73342"/>
                    <a:pt x="163068" y="57912"/>
                    <a:pt x="151162" y="47339"/>
                  </a:cubicBezTo>
                  <a:cubicBezTo>
                    <a:pt x="139255" y="36862"/>
                    <a:pt x="122491" y="31623"/>
                    <a:pt x="100679" y="31623"/>
                  </a:cubicBezTo>
                  <a:cubicBezTo>
                    <a:pt x="86963" y="31623"/>
                    <a:pt x="74581" y="33147"/>
                    <a:pt x="63437" y="36100"/>
                  </a:cubicBezTo>
                  <a:cubicBezTo>
                    <a:pt x="52292" y="39053"/>
                    <a:pt x="41338" y="43053"/>
                    <a:pt x="30671" y="48196"/>
                  </a:cubicBezTo>
                  <a:lnTo>
                    <a:pt x="20383" y="19907"/>
                  </a:lnTo>
                  <a:cubicBezTo>
                    <a:pt x="33147" y="13906"/>
                    <a:pt x="46101" y="9049"/>
                    <a:pt x="59246" y="5429"/>
                  </a:cubicBezTo>
                  <a:cubicBezTo>
                    <a:pt x="72390"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04" y="239173"/>
                    <a:pt x="86011" y="239173"/>
                  </a:cubicBezTo>
                  <a:close/>
                  <a:moveTo>
                    <a:pt x="93154" y="211169"/>
                  </a:moveTo>
                  <a:cubicBezTo>
                    <a:pt x="103822" y="211169"/>
                    <a:pt x="113824" y="209740"/>
                    <a:pt x="122968" y="206788"/>
                  </a:cubicBezTo>
                  <a:cubicBezTo>
                    <a:pt x="132112"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5" y="119348"/>
                    <a:pt x="116777" y="118300"/>
                    <a:pt x="102584" y="118300"/>
                  </a:cubicBezTo>
                  <a:cubicBezTo>
                    <a:pt x="81248" y="118300"/>
                    <a:pt x="64675" y="122491"/>
                    <a:pt x="52959" y="130969"/>
                  </a:cubicBezTo>
                  <a:cubicBezTo>
                    <a:pt x="41243" y="139446"/>
                    <a:pt x="35338" y="150590"/>
                    <a:pt x="35338" y="164497"/>
                  </a:cubicBezTo>
                  <a:lnTo>
                    <a:pt x="35338" y="165449"/>
                  </a:lnTo>
                  <a:cubicBezTo>
                    <a:pt x="35338" y="172498"/>
                    <a:pt x="36862" y="178975"/>
                    <a:pt x="40005" y="184785"/>
                  </a:cubicBezTo>
                  <a:cubicBezTo>
                    <a:pt x="43148" y="190500"/>
                    <a:pt x="47339" y="195358"/>
                    <a:pt x="52673" y="199263"/>
                  </a:cubicBezTo>
                  <a:cubicBezTo>
                    <a:pt x="58007" y="203073"/>
                    <a:pt x="64198" y="206026"/>
                    <a:pt x="71152" y="208121"/>
                  </a:cubicBezTo>
                  <a:cubicBezTo>
                    <a:pt x="78105" y="210217"/>
                    <a:pt x="85439" y="211169"/>
                    <a:pt x="93154" y="211169"/>
                  </a:cubicBezTo>
                  <a:close/>
                </a:path>
              </a:pathLst>
            </a:custGeom>
            <a:solidFill>
              <a:srgbClr val="44505E"/>
            </a:solidFill>
            <a:ln w="9525" cap="flat">
              <a:noFill/>
              <a:prstDash val="solid"/>
              <a:miter/>
            </a:ln>
          </p:spPr>
          <p:txBody>
            <a:bodyPr rtlCol="0" anchor="ctr"/>
            <a:lstStyle/>
            <a:p>
              <a:endParaRPr lang="pt-BR" noProof="0"/>
            </a:p>
          </p:txBody>
        </p:sp>
        <p:sp>
          <p:nvSpPr>
            <p:cNvPr id="49" name="Freeform: Shape 48">
              <a:extLst>
                <a:ext uri="{FF2B5EF4-FFF2-40B4-BE49-F238E27FC236}">
                  <a16:creationId xmlns:a16="http://schemas.microsoft.com/office/drawing/2014/main" id="{3EAFB0D2-B073-5DFA-A8F5-C07D6D4FC15C}"/>
                </a:ext>
              </a:extLst>
            </p:cNvPr>
            <p:cNvSpPr/>
            <p:nvPr/>
          </p:nvSpPr>
          <p:spPr>
            <a:xfrm>
              <a:off x="6280899" y="923980"/>
              <a:ext cx="87995" cy="59238"/>
            </a:xfrm>
            <a:custGeom>
              <a:avLst/>
              <a:gdLst>
                <a:gd name="connsiteX0" fmla="*/ 0 w 350043"/>
                <a:gd name="connsiteY0" fmla="*/ 5144 h 235648"/>
                <a:gd name="connsiteX1" fmla="*/ 34385 w 350043"/>
                <a:gd name="connsiteY1" fmla="*/ 5144 h 235648"/>
                <a:gd name="connsiteX2" fmla="*/ 34385 w 350043"/>
                <a:gd name="connsiteY2" fmla="*/ 44005 h 235648"/>
                <a:gd name="connsiteX3" fmla="*/ 47149 w 350043"/>
                <a:gd name="connsiteY3" fmla="*/ 27432 h 235648"/>
                <a:gd name="connsiteX4" fmla="*/ 62960 w 350043"/>
                <a:gd name="connsiteY4" fmla="*/ 13335 h 235648"/>
                <a:gd name="connsiteX5" fmla="*/ 83058 w 350043"/>
                <a:gd name="connsiteY5" fmla="*/ 3715 h 235648"/>
                <a:gd name="connsiteX6" fmla="*/ 108966 w 350043"/>
                <a:gd name="connsiteY6" fmla="*/ 95 h 235648"/>
                <a:gd name="connsiteX7" fmla="*/ 155448 w 350043"/>
                <a:gd name="connsiteY7" fmla="*/ 13240 h 235648"/>
                <a:gd name="connsiteX8" fmla="*/ 183166 w 350043"/>
                <a:gd name="connsiteY8" fmla="*/ 46006 h 235648"/>
                <a:gd name="connsiteX9" fmla="*/ 197168 w 350043"/>
                <a:gd name="connsiteY9" fmla="*/ 28194 h 235648"/>
                <a:gd name="connsiteX10" fmla="*/ 214789 w 350043"/>
                <a:gd name="connsiteY10" fmla="*/ 13430 h 235648"/>
                <a:gd name="connsiteX11" fmla="*/ 236887 w 350043"/>
                <a:gd name="connsiteY11" fmla="*/ 3620 h 235648"/>
                <a:gd name="connsiteX12" fmla="*/ 264319 w 350043"/>
                <a:gd name="connsiteY12" fmla="*/ 0 h 235648"/>
                <a:gd name="connsiteX13" fmla="*/ 327279 w 350043"/>
                <a:gd name="connsiteY13" fmla="*/ 24765 h 235648"/>
                <a:gd name="connsiteX14" fmla="*/ 350044 w 350043"/>
                <a:gd name="connsiteY14" fmla="*/ 92773 h 235648"/>
                <a:gd name="connsiteX15" fmla="*/ 350044 w 350043"/>
                <a:gd name="connsiteY15" fmla="*/ 235648 h 235648"/>
                <a:gd name="connsiteX16" fmla="*/ 315659 w 350043"/>
                <a:gd name="connsiteY16" fmla="*/ 235648 h 235648"/>
                <a:gd name="connsiteX17" fmla="*/ 315659 w 350043"/>
                <a:gd name="connsiteY17" fmla="*/ 101155 h 235648"/>
                <a:gd name="connsiteX18" fmla="*/ 299847 w 350043"/>
                <a:gd name="connsiteY18" fmla="*/ 49721 h 235648"/>
                <a:gd name="connsiteX19" fmla="*/ 255937 w 350043"/>
                <a:gd name="connsiteY19" fmla="*/ 31718 h 235648"/>
                <a:gd name="connsiteX20" fmla="*/ 231362 w 350043"/>
                <a:gd name="connsiteY20" fmla="*/ 36386 h 235648"/>
                <a:gd name="connsiteX21" fmla="*/ 211074 w 350043"/>
                <a:gd name="connsiteY21" fmla="*/ 50197 h 235648"/>
                <a:gd name="connsiteX22" fmla="*/ 197263 w 350043"/>
                <a:gd name="connsiteY22" fmla="*/ 72676 h 235648"/>
                <a:gd name="connsiteX23" fmla="*/ 192119 w 350043"/>
                <a:gd name="connsiteY23" fmla="*/ 102965 h 235648"/>
                <a:gd name="connsiteX24" fmla="*/ 192119 w 350043"/>
                <a:gd name="connsiteY24" fmla="*/ 235648 h 235648"/>
                <a:gd name="connsiteX25" fmla="*/ 158210 w 350043"/>
                <a:gd name="connsiteY25" fmla="*/ 235648 h 235648"/>
                <a:gd name="connsiteX26" fmla="*/ 158210 w 350043"/>
                <a:gd name="connsiteY26" fmla="*/ 100298 h 235648"/>
                <a:gd name="connsiteX27" fmla="*/ 142399 w 350043"/>
                <a:gd name="connsiteY27" fmla="*/ 49721 h 235648"/>
                <a:gd name="connsiteX28" fmla="*/ 98870 w 350043"/>
                <a:gd name="connsiteY28" fmla="*/ 31718 h 235648"/>
                <a:gd name="connsiteX29" fmla="*/ 73438 w 350043"/>
                <a:gd name="connsiteY29" fmla="*/ 37052 h 235648"/>
                <a:gd name="connsiteX30" fmla="*/ 53150 w 350043"/>
                <a:gd name="connsiteY30" fmla="*/ 52197 h 235648"/>
                <a:gd name="connsiteX31" fmla="*/ 39529 w 350043"/>
                <a:gd name="connsiteY31" fmla="*/ 75152 h 235648"/>
                <a:gd name="connsiteX32" fmla="*/ 34576 w 350043"/>
                <a:gd name="connsiteY32" fmla="*/ 104299 h 235648"/>
                <a:gd name="connsiteX33" fmla="*/ 34576 w 350043"/>
                <a:gd name="connsiteY33" fmla="*/ 235648 h 235648"/>
                <a:gd name="connsiteX34" fmla="*/ 190 w 350043"/>
                <a:gd name="connsiteY34" fmla="*/ 235648 h 235648"/>
                <a:gd name="connsiteX35" fmla="*/ 190 w 350043"/>
                <a:gd name="connsiteY35" fmla="*/ 485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0043" h="235648">
                  <a:moveTo>
                    <a:pt x="0" y="5144"/>
                  </a:moveTo>
                  <a:lnTo>
                    <a:pt x="34385" y="5144"/>
                  </a:lnTo>
                  <a:lnTo>
                    <a:pt x="34385" y="44005"/>
                  </a:lnTo>
                  <a:cubicBezTo>
                    <a:pt x="38290" y="38386"/>
                    <a:pt x="42481" y="32861"/>
                    <a:pt x="47149" y="27432"/>
                  </a:cubicBezTo>
                  <a:cubicBezTo>
                    <a:pt x="51721" y="22098"/>
                    <a:pt x="57055" y="17431"/>
                    <a:pt x="62960" y="13335"/>
                  </a:cubicBezTo>
                  <a:cubicBezTo>
                    <a:pt x="68866" y="9335"/>
                    <a:pt x="75629" y="6096"/>
                    <a:pt x="83058" y="3715"/>
                  </a:cubicBezTo>
                  <a:cubicBezTo>
                    <a:pt x="90488" y="1334"/>
                    <a:pt x="99155" y="95"/>
                    <a:pt x="108966" y="95"/>
                  </a:cubicBezTo>
                  <a:cubicBezTo>
                    <a:pt x="127730" y="95"/>
                    <a:pt x="143161" y="4477"/>
                    <a:pt x="155448" y="13240"/>
                  </a:cubicBezTo>
                  <a:cubicBezTo>
                    <a:pt x="167640" y="22003"/>
                    <a:pt x="176879" y="32956"/>
                    <a:pt x="183166" y="46006"/>
                  </a:cubicBezTo>
                  <a:cubicBezTo>
                    <a:pt x="187357" y="39719"/>
                    <a:pt x="192024" y="33814"/>
                    <a:pt x="197168" y="28194"/>
                  </a:cubicBezTo>
                  <a:cubicBezTo>
                    <a:pt x="202406" y="22574"/>
                    <a:pt x="208217" y="17621"/>
                    <a:pt x="214789" y="13430"/>
                  </a:cubicBezTo>
                  <a:cubicBezTo>
                    <a:pt x="221361" y="9239"/>
                    <a:pt x="228695" y="6001"/>
                    <a:pt x="236887" y="3620"/>
                  </a:cubicBezTo>
                  <a:cubicBezTo>
                    <a:pt x="245078" y="1238"/>
                    <a:pt x="254222" y="0"/>
                    <a:pt x="264319" y="0"/>
                  </a:cubicBezTo>
                  <a:cubicBezTo>
                    <a:pt x="291084" y="0"/>
                    <a:pt x="312039" y="8287"/>
                    <a:pt x="327279" y="24765"/>
                  </a:cubicBezTo>
                  <a:cubicBezTo>
                    <a:pt x="342519" y="41243"/>
                    <a:pt x="350044" y="63913"/>
                    <a:pt x="350044" y="92773"/>
                  </a:cubicBezTo>
                  <a:lnTo>
                    <a:pt x="350044" y="235648"/>
                  </a:lnTo>
                  <a:lnTo>
                    <a:pt x="315659" y="235648"/>
                  </a:lnTo>
                  <a:lnTo>
                    <a:pt x="315659" y="101155"/>
                  </a:lnTo>
                  <a:cubicBezTo>
                    <a:pt x="315659" y="78867"/>
                    <a:pt x="310420" y="61722"/>
                    <a:pt x="299847" y="49721"/>
                  </a:cubicBezTo>
                  <a:cubicBezTo>
                    <a:pt x="289274" y="37719"/>
                    <a:pt x="274606" y="31718"/>
                    <a:pt x="255937" y="31718"/>
                  </a:cubicBezTo>
                  <a:cubicBezTo>
                    <a:pt x="247269" y="31718"/>
                    <a:pt x="239078" y="33242"/>
                    <a:pt x="231362" y="36386"/>
                  </a:cubicBezTo>
                  <a:cubicBezTo>
                    <a:pt x="223647" y="39529"/>
                    <a:pt x="216884" y="44101"/>
                    <a:pt x="211074" y="50197"/>
                  </a:cubicBezTo>
                  <a:cubicBezTo>
                    <a:pt x="205264" y="56293"/>
                    <a:pt x="200692" y="63818"/>
                    <a:pt x="197263" y="72676"/>
                  </a:cubicBezTo>
                  <a:cubicBezTo>
                    <a:pt x="193834" y="81629"/>
                    <a:pt x="192119" y="91726"/>
                    <a:pt x="192119" y="102965"/>
                  </a:cubicBezTo>
                  <a:lnTo>
                    <a:pt x="192119" y="235648"/>
                  </a:lnTo>
                  <a:lnTo>
                    <a:pt x="158210" y="235648"/>
                  </a:lnTo>
                  <a:lnTo>
                    <a:pt x="158210" y="100298"/>
                  </a:lnTo>
                  <a:cubicBezTo>
                    <a:pt x="158210" y="78677"/>
                    <a:pt x="152971" y="61817"/>
                    <a:pt x="142399" y="49721"/>
                  </a:cubicBezTo>
                  <a:cubicBezTo>
                    <a:pt x="131826" y="37719"/>
                    <a:pt x="117348" y="31718"/>
                    <a:pt x="98870" y="31718"/>
                  </a:cubicBezTo>
                  <a:cubicBezTo>
                    <a:pt x="89630" y="31718"/>
                    <a:pt x="81153" y="33528"/>
                    <a:pt x="73438" y="37052"/>
                  </a:cubicBezTo>
                  <a:cubicBezTo>
                    <a:pt x="65722" y="40672"/>
                    <a:pt x="58960" y="45720"/>
                    <a:pt x="53150" y="52197"/>
                  </a:cubicBezTo>
                  <a:cubicBezTo>
                    <a:pt x="47339" y="58769"/>
                    <a:pt x="42767" y="66389"/>
                    <a:pt x="39529" y="75152"/>
                  </a:cubicBezTo>
                  <a:cubicBezTo>
                    <a:pt x="36290" y="83915"/>
                    <a:pt x="34576" y="93631"/>
                    <a:pt x="34576" y="104299"/>
                  </a:cubicBezTo>
                  <a:lnTo>
                    <a:pt x="34576" y="235648"/>
                  </a:lnTo>
                  <a:lnTo>
                    <a:pt x="190" y="235648"/>
                  </a:lnTo>
                  <a:lnTo>
                    <a:pt x="190" y="4858"/>
                  </a:lnTo>
                  <a:close/>
                </a:path>
              </a:pathLst>
            </a:custGeom>
            <a:solidFill>
              <a:srgbClr val="44505E"/>
            </a:solidFill>
            <a:ln w="9525" cap="flat">
              <a:noFill/>
              <a:prstDash val="solid"/>
              <a:miter/>
            </a:ln>
          </p:spPr>
          <p:txBody>
            <a:bodyPr rtlCol="0" anchor="ctr"/>
            <a:lstStyle/>
            <a:p>
              <a:endParaRPr lang="pt-BR" noProof="0"/>
            </a:p>
          </p:txBody>
        </p:sp>
        <p:sp>
          <p:nvSpPr>
            <p:cNvPr id="50" name="Freeform: Shape 49">
              <a:extLst>
                <a:ext uri="{FF2B5EF4-FFF2-40B4-BE49-F238E27FC236}">
                  <a16:creationId xmlns:a16="http://schemas.microsoft.com/office/drawing/2014/main" id="{3D44E202-CCDF-A810-7B0F-9C46E6B1D517}"/>
                </a:ext>
              </a:extLst>
            </p:cNvPr>
            <p:cNvSpPr/>
            <p:nvPr/>
          </p:nvSpPr>
          <p:spPr>
            <a:xfrm>
              <a:off x="6415537" y="925273"/>
              <a:ext cx="58016" cy="58448"/>
            </a:xfrm>
            <a:custGeom>
              <a:avLst/>
              <a:gdLst>
                <a:gd name="connsiteX0" fmla="*/ 95 w 230790"/>
                <a:gd name="connsiteY0" fmla="*/ 0 h 232505"/>
                <a:gd name="connsiteX1" fmla="*/ 38005 w 230790"/>
                <a:gd name="connsiteY1" fmla="*/ 0 h 232505"/>
                <a:gd name="connsiteX2" fmla="*/ 115633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3"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51" name="Freeform: Shape 50">
              <a:extLst>
                <a:ext uri="{FF2B5EF4-FFF2-40B4-BE49-F238E27FC236}">
                  <a16:creationId xmlns:a16="http://schemas.microsoft.com/office/drawing/2014/main" id="{964CB97B-B0AC-9B89-DAA7-E26E9F27AD85}"/>
                </a:ext>
              </a:extLst>
            </p:cNvPr>
            <p:cNvSpPr/>
            <p:nvPr/>
          </p:nvSpPr>
          <p:spPr>
            <a:xfrm>
              <a:off x="6487369"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286 w 39242"/>
                <a:gd name="connsiteY5" fmla="*/ 88392 h 319182"/>
                <a:gd name="connsiteX6" fmla="*/ 36671 w 39242"/>
                <a:gd name="connsiteY6" fmla="*/ 88392 h 319182"/>
                <a:gd name="connsiteX7" fmla="*/ 36671 w 39242"/>
                <a:gd name="connsiteY7" fmla="*/ 319183 h 319182"/>
                <a:gd name="connsiteX8" fmla="*/ 2286 w 39242"/>
                <a:gd name="connsiteY8" fmla="*/ 319183 h 319182"/>
                <a:gd name="connsiteX9" fmla="*/ 2286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286" y="88392"/>
                  </a:moveTo>
                  <a:lnTo>
                    <a:pt x="36671" y="88392"/>
                  </a:lnTo>
                  <a:lnTo>
                    <a:pt x="36671" y="319183"/>
                  </a:lnTo>
                  <a:lnTo>
                    <a:pt x="2286" y="319183"/>
                  </a:lnTo>
                  <a:lnTo>
                    <a:pt x="2286" y="88392"/>
                  </a:lnTo>
                  <a:close/>
                </a:path>
              </a:pathLst>
            </a:custGeom>
            <a:solidFill>
              <a:srgbClr val="44505E"/>
            </a:solidFill>
            <a:ln w="9525" cap="flat">
              <a:noFill/>
              <a:prstDash val="solid"/>
              <a:miter/>
            </a:ln>
          </p:spPr>
          <p:txBody>
            <a:bodyPr rtlCol="0" anchor="ctr"/>
            <a:lstStyle/>
            <a:p>
              <a:endParaRPr lang="pt-BR" noProof="0"/>
            </a:p>
          </p:txBody>
        </p:sp>
        <p:sp>
          <p:nvSpPr>
            <p:cNvPr id="52" name="Freeform: Shape 51">
              <a:extLst>
                <a:ext uri="{FF2B5EF4-FFF2-40B4-BE49-F238E27FC236}">
                  <a16:creationId xmlns:a16="http://schemas.microsoft.com/office/drawing/2014/main" id="{E5D33B55-A390-8C66-A47C-070BAFE69B38}"/>
                </a:ext>
              </a:extLst>
            </p:cNvPr>
            <p:cNvSpPr/>
            <p:nvPr/>
          </p:nvSpPr>
          <p:spPr>
            <a:xfrm>
              <a:off x="6513253" y="901353"/>
              <a:ext cx="58615" cy="83182"/>
            </a:xfrm>
            <a:custGeom>
              <a:avLst/>
              <a:gdLst>
                <a:gd name="connsiteX0" fmla="*/ 110394 w 233171"/>
                <a:gd name="connsiteY0" fmla="*/ 330898 h 330898"/>
                <a:gd name="connsiteX1" fmla="*/ 69723 w 233171"/>
                <a:gd name="connsiteY1" fmla="*/ 322897 h 330898"/>
                <a:gd name="connsiteX2" fmla="*/ 34480 w 233171"/>
                <a:gd name="connsiteY2" fmla="*/ 299466 h 330898"/>
                <a:gd name="connsiteX3" fmla="*/ 9430 w 233171"/>
                <a:gd name="connsiteY3" fmla="*/ 261938 h 330898"/>
                <a:gd name="connsiteX4" fmla="*/ 0 w 233171"/>
                <a:gd name="connsiteY4" fmla="*/ 211264 h 330898"/>
                <a:gd name="connsiteX5" fmla="*/ 0 w 233171"/>
                <a:gd name="connsiteY5" fmla="*/ 210407 h 330898"/>
                <a:gd name="connsiteX6" fmla="*/ 9430 w 233171"/>
                <a:gd name="connsiteY6" fmla="*/ 159925 h 330898"/>
                <a:gd name="connsiteX7" fmla="*/ 34480 w 233171"/>
                <a:gd name="connsiteY7" fmla="*/ 122206 h 330898"/>
                <a:gd name="connsiteX8" fmla="*/ 69723 w 233171"/>
                <a:gd name="connsiteY8" fmla="*/ 98488 h 330898"/>
                <a:gd name="connsiteX9" fmla="*/ 110394 w 233171"/>
                <a:gd name="connsiteY9" fmla="*/ 90202 h 330898"/>
                <a:gd name="connsiteX10" fmla="*/ 139827 w 233171"/>
                <a:gd name="connsiteY10" fmla="*/ 94202 h 330898"/>
                <a:gd name="connsiteX11" fmla="*/ 163925 w 233171"/>
                <a:gd name="connsiteY11" fmla="*/ 104870 h 330898"/>
                <a:gd name="connsiteX12" fmla="*/ 183356 w 233171"/>
                <a:gd name="connsiteY12" fmla="*/ 120491 h 330898"/>
                <a:gd name="connsiteX13" fmla="*/ 198787 w 233171"/>
                <a:gd name="connsiteY13" fmla="*/ 139255 h 330898"/>
                <a:gd name="connsiteX14" fmla="*/ 198787 w 233171"/>
                <a:gd name="connsiteY14" fmla="*/ 0 h 330898"/>
                <a:gd name="connsiteX15" fmla="*/ 233172 w 233171"/>
                <a:gd name="connsiteY15" fmla="*/ 0 h 330898"/>
                <a:gd name="connsiteX16" fmla="*/ 233172 w 233171"/>
                <a:gd name="connsiteY16" fmla="*/ 325850 h 330898"/>
                <a:gd name="connsiteX17" fmla="*/ 198787 w 233171"/>
                <a:gd name="connsiteY17" fmla="*/ 325850 h 330898"/>
                <a:gd name="connsiteX18" fmla="*/ 198787 w 233171"/>
                <a:gd name="connsiteY18" fmla="*/ 279463 h 330898"/>
                <a:gd name="connsiteX19" fmla="*/ 182975 w 233171"/>
                <a:gd name="connsiteY19" fmla="*/ 299085 h 330898"/>
                <a:gd name="connsiteX20" fmla="*/ 163544 w 233171"/>
                <a:gd name="connsiteY20" fmla="*/ 315658 h 330898"/>
                <a:gd name="connsiteX21" fmla="*/ 139636 w 233171"/>
                <a:gd name="connsiteY21" fmla="*/ 326803 h 330898"/>
                <a:gd name="connsiteX22" fmla="*/ 110394 w 233171"/>
                <a:gd name="connsiteY22" fmla="*/ 330803 h 330898"/>
                <a:gd name="connsiteX23" fmla="*/ 116681 w 233171"/>
                <a:gd name="connsiteY23" fmla="*/ 300133 h 330898"/>
                <a:gd name="connsiteX24" fmla="*/ 147733 w 233171"/>
                <a:gd name="connsiteY24" fmla="*/ 293656 h 330898"/>
                <a:gd name="connsiteX25" fmla="*/ 174498 w 233171"/>
                <a:gd name="connsiteY25" fmla="*/ 275368 h 330898"/>
                <a:gd name="connsiteX26" fmla="*/ 193262 w 233171"/>
                <a:gd name="connsiteY26" fmla="*/ 247269 h 330898"/>
                <a:gd name="connsiteX27" fmla="*/ 200216 w 233171"/>
                <a:gd name="connsiteY27" fmla="*/ 210883 h 330898"/>
                <a:gd name="connsiteX28" fmla="*/ 200216 w 233171"/>
                <a:gd name="connsiteY28" fmla="*/ 210026 h 330898"/>
                <a:gd name="connsiteX29" fmla="*/ 193262 w 233171"/>
                <a:gd name="connsiteY29" fmla="*/ 173641 h 330898"/>
                <a:gd name="connsiteX30" fmla="*/ 174498 w 233171"/>
                <a:gd name="connsiteY30" fmla="*/ 145732 h 330898"/>
                <a:gd name="connsiteX31" fmla="*/ 147733 w 233171"/>
                <a:gd name="connsiteY31" fmla="*/ 127635 h 330898"/>
                <a:gd name="connsiteX32" fmla="*/ 116681 w 233171"/>
                <a:gd name="connsiteY32" fmla="*/ 121158 h 330898"/>
                <a:gd name="connsiteX33" fmla="*/ 84963 w 233171"/>
                <a:gd name="connsiteY33" fmla="*/ 127159 h 330898"/>
                <a:gd name="connsiteX34" fmla="*/ 59341 w 233171"/>
                <a:gd name="connsiteY34" fmla="*/ 144589 h 330898"/>
                <a:gd name="connsiteX35" fmla="*/ 41910 w 233171"/>
                <a:gd name="connsiteY35" fmla="*/ 172498 h 330898"/>
                <a:gd name="connsiteX36" fmla="*/ 35433 w 233171"/>
                <a:gd name="connsiteY36" fmla="*/ 210026 h 330898"/>
                <a:gd name="connsiteX37" fmla="*/ 35433 w 233171"/>
                <a:gd name="connsiteY37" fmla="*/ 210883 h 330898"/>
                <a:gd name="connsiteX38" fmla="*/ 41910 w 233171"/>
                <a:gd name="connsiteY38" fmla="*/ 247936 h 330898"/>
                <a:gd name="connsiteX39" fmla="*/ 59531 w 233171"/>
                <a:gd name="connsiteY39" fmla="*/ 276034 h 330898"/>
                <a:gd name="connsiteX40" fmla="*/ 85439 w 233171"/>
                <a:gd name="connsiteY40" fmla="*/ 293941 h 330898"/>
                <a:gd name="connsiteX41" fmla="*/ 116681 w 23317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3171" h="330898">
                  <a:moveTo>
                    <a:pt x="110394" y="330898"/>
                  </a:moveTo>
                  <a:cubicBezTo>
                    <a:pt x="96393" y="330898"/>
                    <a:pt x="82868" y="328231"/>
                    <a:pt x="69723" y="322897"/>
                  </a:cubicBezTo>
                  <a:cubicBezTo>
                    <a:pt x="56674" y="317563"/>
                    <a:pt x="44863" y="309753"/>
                    <a:pt x="34480" y="299466"/>
                  </a:cubicBezTo>
                  <a:cubicBezTo>
                    <a:pt x="24003" y="289179"/>
                    <a:pt x="15716" y="276701"/>
                    <a:pt x="9430" y="261938"/>
                  </a:cubicBezTo>
                  <a:cubicBezTo>
                    <a:pt x="3143" y="247174"/>
                    <a:pt x="0" y="230314"/>
                    <a:pt x="0" y="211264"/>
                  </a:cubicBezTo>
                  <a:lnTo>
                    <a:pt x="0" y="210407"/>
                  </a:lnTo>
                  <a:cubicBezTo>
                    <a:pt x="0" y="191643"/>
                    <a:pt x="3143" y="174879"/>
                    <a:pt x="9430" y="159925"/>
                  </a:cubicBezTo>
                  <a:cubicBezTo>
                    <a:pt x="15716" y="145066"/>
                    <a:pt x="24003" y="132493"/>
                    <a:pt x="34480" y="122206"/>
                  </a:cubicBezTo>
                  <a:cubicBezTo>
                    <a:pt x="44863" y="111919"/>
                    <a:pt x="56674" y="104013"/>
                    <a:pt x="69723" y="98488"/>
                  </a:cubicBezTo>
                  <a:cubicBezTo>
                    <a:pt x="82868" y="92964"/>
                    <a:pt x="96393" y="90202"/>
                    <a:pt x="110394" y="90202"/>
                  </a:cubicBezTo>
                  <a:cubicBezTo>
                    <a:pt x="121158" y="90202"/>
                    <a:pt x="130969" y="91535"/>
                    <a:pt x="139827" y="94202"/>
                  </a:cubicBezTo>
                  <a:cubicBezTo>
                    <a:pt x="148780" y="96869"/>
                    <a:pt x="156782" y="100489"/>
                    <a:pt x="163925" y="104870"/>
                  </a:cubicBezTo>
                  <a:cubicBezTo>
                    <a:pt x="171069" y="109347"/>
                    <a:pt x="177546" y="114586"/>
                    <a:pt x="183356" y="120491"/>
                  </a:cubicBezTo>
                  <a:cubicBezTo>
                    <a:pt x="189166" y="126492"/>
                    <a:pt x="194310" y="132683"/>
                    <a:pt x="198787" y="139255"/>
                  </a:cubicBezTo>
                  <a:lnTo>
                    <a:pt x="198787" y="0"/>
                  </a:lnTo>
                  <a:lnTo>
                    <a:pt x="233172" y="0"/>
                  </a:lnTo>
                  <a:lnTo>
                    <a:pt x="233172" y="325850"/>
                  </a:lnTo>
                  <a:lnTo>
                    <a:pt x="198787" y="325850"/>
                  </a:lnTo>
                  <a:lnTo>
                    <a:pt x="198787" y="279463"/>
                  </a:lnTo>
                  <a:cubicBezTo>
                    <a:pt x="194024" y="286321"/>
                    <a:pt x="188786" y="292894"/>
                    <a:pt x="182975" y="299085"/>
                  </a:cubicBezTo>
                  <a:cubicBezTo>
                    <a:pt x="177165" y="305371"/>
                    <a:pt x="170688" y="310896"/>
                    <a:pt x="163544" y="315658"/>
                  </a:cubicBezTo>
                  <a:cubicBezTo>
                    <a:pt x="156400" y="320421"/>
                    <a:pt x="148494" y="324136"/>
                    <a:pt x="139636" y="326803"/>
                  </a:cubicBezTo>
                  <a:cubicBezTo>
                    <a:pt x="130873" y="329470"/>
                    <a:pt x="121158" y="330803"/>
                    <a:pt x="110394" y="330803"/>
                  </a:cubicBezTo>
                  <a:close/>
                  <a:moveTo>
                    <a:pt x="116681" y="300133"/>
                  </a:moveTo>
                  <a:cubicBezTo>
                    <a:pt x="127445" y="300133"/>
                    <a:pt x="137732" y="297942"/>
                    <a:pt x="147733" y="293656"/>
                  </a:cubicBezTo>
                  <a:cubicBezTo>
                    <a:pt x="157734" y="289369"/>
                    <a:pt x="166592" y="283273"/>
                    <a:pt x="174498" y="275368"/>
                  </a:cubicBezTo>
                  <a:cubicBezTo>
                    <a:pt x="182404" y="267462"/>
                    <a:pt x="188595" y="258127"/>
                    <a:pt x="193262" y="247269"/>
                  </a:cubicBezTo>
                  <a:cubicBezTo>
                    <a:pt x="197834" y="236410"/>
                    <a:pt x="200216" y="224314"/>
                    <a:pt x="200216" y="210883"/>
                  </a:cubicBezTo>
                  <a:lnTo>
                    <a:pt x="200216" y="210026"/>
                  </a:lnTo>
                  <a:cubicBezTo>
                    <a:pt x="200216" y="196596"/>
                    <a:pt x="197929" y="184499"/>
                    <a:pt x="193262" y="173641"/>
                  </a:cubicBezTo>
                  <a:cubicBezTo>
                    <a:pt x="188595" y="162782"/>
                    <a:pt x="182404" y="153448"/>
                    <a:pt x="174498" y="145732"/>
                  </a:cubicBezTo>
                  <a:cubicBezTo>
                    <a:pt x="166592" y="138017"/>
                    <a:pt x="157639" y="132016"/>
                    <a:pt x="147733" y="127635"/>
                  </a:cubicBezTo>
                  <a:cubicBezTo>
                    <a:pt x="137732" y="123349"/>
                    <a:pt x="127445" y="121158"/>
                    <a:pt x="116681" y="121158"/>
                  </a:cubicBezTo>
                  <a:cubicBezTo>
                    <a:pt x="105346" y="121158"/>
                    <a:pt x="94774" y="123158"/>
                    <a:pt x="84963" y="127159"/>
                  </a:cubicBezTo>
                  <a:cubicBezTo>
                    <a:pt x="75152" y="131159"/>
                    <a:pt x="66580" y="136969"/>
                    <a:pt x="59341" y="144589"/>
                  </a:cubicBezTo>
                  <a:cubicBezTo>
                    <a:pt x="52007" y="152114"/>
                    <a:pt x="46291" y="161449"/>
                    <a:pt x="41910" y="172498"/>
                  </a:cubicBezTo>
                  <a:cubicBezTo>
                    <a:pt x="37624" y="183451"/>
                    <a:pt x="35433" y="196024"/>
                    <a:pt x="35433" y="210026"/>
                  </a:cubicBezTo>
                  <a:lnTo>
                    <a:pt x="35433" y="210883"/>
                  </a:lnTo>
                  <a:cubicBezTo>
                    <a:pt x="35433" y="224599"/>
                    <a:pt x="37624" y="236982"/>
                    <a:pt x="41910" y="247936"/>
                  </a:cubicBezTo>
                  <a:cubicBezTo>
                    <a:pt x="46196" y="258984"/>
                    <a:pt x="52101" y="268319"/>
                    <a:pt x="59531" y="276034"/>
                  </a:cubicBezTo>
                  <a:cubicBezTo>
                    <a:pt x="66960" y="283750"/>
                    <a:pt x="75629" y="289750"/>
                    <a:pt x="85439" y="293941"/>
                  </a:cubicBezTo>
                  <a:cubicBezTo>
                    <a:pt x="95250" y="298132"/>
                    <a:pt x="105632" y="300228"/>
                    <a:pt x="116681" y="300228"/>
                  </a:cubicBezTo>
                  <a:close/>
                </a:path>
              </a:pathLst>
            </a:custGeom>
            <a:solidFill>
              <a:srgbClr val="44505E"/>
            </a:solidFill>
            <a:ln w="9525" cap="flat">
              <a:noFill/>
              <a:prstDash val="solid"/>
              <a:miter/>
            </a:ln>
          </p:spPr>
          <p:txBody>
            <a:bodyPr rtlCol="0" anchor="ctr"/>
            <a:lstStyle/>
            <a:p>
              <a:endParaRPr lang="pt-BR" noProof="0"/>
            </a:p>
          </p:txBody>
        </p:sp>
        <p:sp>
          <p:nvSpPr>
            <p:cNvPr id="53" name="Freeform: Shape 52">
              <a:extLst>
                <a:ext uri="{FF2B5EF4-FFF2-40B4-BE49-F238E27FC236}">
                  <a16:creationId xmlns:a16="http://schemas.microsoft.com/office/drawing/2014/main" id="{66A38C7E-86D3-DE17-2C7F-749573E52E77}"/>
                </a:ext>
              </a:extLst>
            </p:cNvPr>
            <p:cNvSpPr/>
            <p:nvPr/>
          </p:nvSpPr>
          <p:spPr>
            <a:xfrm>
              <a:off x="6586762"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0 w 202977"/>
                <a:gd name="connsiteY16" fmla="*/ 48196 h 239267"/>
                <a:gd name="connsiteX17" fmla="*/ 20383 w 202977"/>
                <a:gd name="connsiteY17" fmla="*/ 19907 h 239267"/>
                <a:gd name="connsiteX18" fmla="*/ 59245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0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1"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675" y="92678"/>
                    <a:pt x="84011" y="90964"/>
                    <a:pt x="98584" y="90964"/>
                  </a:cubicBezTo>
                  <a:cubicBezTo>
                    <a:pt x="113157" y="90964"/>
                    <a:pt x="126302"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0" y="33147"/>
                    <a:pt x="63436" y="36100"/>
                  </a:cubicBezTo>
                  <a:cubicBezTo>
                    <a:pt x="52292" y="39053"/>
                    <a:pt x="41338" y="43053"/>
                    <a:pt x="30670" y="48196"/>
                  </a:cubicBezTo>
                  <a:lnTo>
                    <a:pt x="20383" y="19907"/>
                  </a:lnTo>
                  <a:cubicBezTo>
                    <a:pt x="33147" y="13906"/>
                    <a:pt x="46101" y="9049"/>
                    <a:pt x="59245" y="5429"/>
                  </a:cubicBezTo>
                  <a:cubicBezTo>
                    <a:pt x="72294" y="1810"/>
                    <a:pt x="87344" y="0"/>
                    <a:pt x="104299" y="0"/>
                  </a:cubicBezTo>
                  <a:cubicBezTo>
                    <a:pt x="137064" y="0"/>
                    <a:pt x="161925" y="8477"/>
                    <a:pt x="178879" y="25432"/>
                  </a:cubicBezTo>
                  <a:cubicBezTo>
                    <a:pt x="194976"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0" y="239173"/>
                  </a:cubicBezTo>
                  <a:close/>
                  <a:moveTo>
                    <a:pt x="93154" y="211169"/>
                  </a:moveTo>
                  <a:cubicBezTo>
                    <a:pt x="103822" y="211169"/>
                    <a:pt x="113729" y="209740"/>
                    <a:pt x="122967" y="206788"/>
                  </a:cubicBezTo>
                  <a:cubicBezTo>
                    <a:pt x="132207"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4" y="119348"/>
                    <a:pt x="116871"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54" name="Freeform: Shape 53">
              <a:extLst>
                <a:ext uri="{FF2B5EF4-FFF2-40B4-BE49-F238E27FC236}">
                  <a16:creationId xmlns:a16="http://schemas.microsoft.com/office/drawing/2014/main" id="{1EF59CB8-4BD5-4051-37FF-1960F74A230B}"/>
                </a:ext>
              </a:extLst>
            </p:cNvPr>
            <p:cNvSpPr/>
            <p:nvPr/>
          </p:nvSpPr>
          <p:spPr>
            <a:xfrm>
              <a:off x="6651291" y="924268"/>
              <a:ext cx="44680" cy="60195"/>
            </a:xfrm>
            <a:custGeom>
              <a:avLst/>
              <a:gdLst>
                <a:gd name="connsiteX0" fmla="*/ 95535 w 177736"/>
                <a:gd name="connsiteY0" fmla="*/ 239268 h 239458"/>
                <a:gd name="connsiteX1" fmla="*/ 45053 w 177736"/>
                <a:gd name="connsiteY1" fmla="*/ 230124 h 239458"/>
                <a:gd name="connsiteX2" fmla="*/ 0 w 177736"/>
                <a:gd name="connsiteY2" fmla="*/ 205359 h 239458"/>
                <a:gd name="connsiteX3" fmla="*/ 17430 w 177736"/>
                <a:gd name="connsiteY3" fmla="*/ 180785 h 239458"/>
                <a:gd name="connsiteX4" fmla="*/ 56483 w 177736"/>
                <a:gd name="connsiteY4" fmla="*/ 202692 h 239458"/>
                <a:gd name="connsiteX5" fmla="*/ 97345 w 177736"/>
                <a:gd name="connsiteY5" fmla="*/ 210217 h 239458"/>
                <a:gd name="connsiteX6" fmla="*/ 131730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825 w 177736"/>
                <a:gd name="connsiteY10" fmla="*/ 147066 h 239458"/>
                <a:gd name="connsiteX11" fmla="*/ 109251 w 177736"/>
                <a:gd name="connsiteY11" fmla="*/ 138779 h 239458"/>
                <a:gd name="connsiteX12" fmla="*/ 87630 w 177736"/>
                <a:gd name="connsiteY12" fmla="*/ 132112 h 239458"/>
                <a:gd name="connsiteX13" fmla="*/ 60579 w 177736"/>
                <a:gd name="connsiteY13" fmla="*/ 123444 h 239458"/>
                <a:gd name="connsiteX14" fmla="*/ 36004 w 177736"/>
                <a:gd name="connsiteY14" fmla="*/ 111633 h 239458"/>
                <a:gd name="connsiteX15" fmla="*/ 18192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59 w 177736"/>
                <a:gd name="connsiteY22" fmla="*/ 6953 h 239458"/>
                <a:gd name="connsiteX23" fmla="*/ 172878 w 177736"/>
                <a:gd name="connsiteY23" fmla="*/ 25527 h 239458"/>
                <a:gd name="connsiteX24" fmla="*/ 157257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3 w 177736"/>
                <a:gd name="connsiteY32" fmla="*/ 96203 h 239458"/>
                <a:gd name="connsiteX33" fmla="*/ 103631 w 177736"/>
                <a:gd name="connsiteY33" fmla="*/ 103346 h 239458"/>
                <a:gd name="connsiteX34" fmla="*/ 130207 w 177736"/>
                <a:gd name="connsiteY34" fmla="*/ 112300 h 239458"/>
                <a:gd name="connsiteX35" fmla="*/ 154114 w 177736"/>
                <a:gd name="connsiteY35" fmla="*/ 124778 h 239458"/>
                <a:gd name="connsiteX36" fmla="*/ 171259 w 177736"/>
                <a:gd name="connsiteY36" fmla="*/ 143066 h 239458"/>
                <a:gd name="connsiteX37" fmla="*/ 177736 w 177736"/>
                <a:gd name="connsiteY37" fmla="*/ 169450 h 239458"/>
                <a:gd name="connsiteX38" fmla="*/ 177736 w 177736"/>
                <a:gd name="connsiteY38" fmla="*/ 170307 h 239458"/>
                <a:gd name="connsiteX39" fmla="*/ 171259 w 177736"/>
                <a:gd name="connsiteY39" fmla="*/ 199549 h 239458"/>
                <a:gd name="connsiteX40" fmla="*/ 153828 w 177736"/>
                <a:gd name="connsiteY40" fmla="*/ 221171 h 239458"/>
                <a:gd name="connsiteX41" fmla="*/ 127921 w 177736"/>
                <a:gd name="connsiteY41" fmla="*/ 234791 h 239458"/>
                <a:gd name="connsiteX42" fmla="*/ 95535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5" y="239268"/>
                  </a:moveTo>
                  <a:cubicBezTo>
                    <a:pt x="78867" y="239268"/>
                    <a:pt x="62007" y="236220"/>
                    <a:pt x="45053" y="230124"/>
                  </a:cubicBezTo>
                  <a:cubicBezTo>
                    <a:pt x="28098" y="224028"/>
                    <a:pt x="13049" y="215741"/>
                    <a:pt x="0" y="205359"/>
                  </a:cubicBezTo>
                  <a:lnTo>
                    <a:pt x="17430" y="180785"/>
                  </a:lnTo>
                  <a:cubicBezTo>
                    <a:pt x="29908" y="190310"/>
                    <a:pt x="42957" y="197644"/>
                    <a:pt x="56483" y="202692"/>
                  </a:cubicBezTo>
                  <a:cubicBezTo>
                    <a:pt x="70009" y="207740"/>
                    <a:pt x="83629" y="210217"/>
                    <a:pt x="97345" y="210217"/>
                  </a:cubicBezTo>
                  <a:cubicBezTo>
                    <a:pt x="111061" y="210217"/>
                    <a:pt x="122777" y="206978"/>
                    <a:pt x="131730" y="200406"/>
                  </a:cubicBezTo>
                  <a:cubicBezTo>
                    <a:pt x="140684" y="193834"/>
                    <a:pt x="145161" y="184976"/>
                    <a:pt x="145161" y="173641"/>
                  </a:cubicBezTo>
                  <a:lnTo>
                    <a:pt x="145161" y="172784"/>
                  </a:lnTo>
                  <a:cubicBezTo>
                    <a:pt x="145161" y="167164"/>
                    <a:pt x="143541" y="162211"/>
                    <a:pt x="140494" y="158020"/>
                  </a:cubicBezTo>
                  <a:cubicBezTo>
                    <a:pt x="137350" y="153829"/>
                    <a:pt x="133159" y="150209"/>
                    <a:pt x="127825" y="147066"/>
                  </a:cubicBezTo>
                  <a:cubicBezTo>
                    <a:pt x="122491" y="143923"/>
                    <a:pt x="116300" y="141161"/>
                    <a:pt x="109251" y="138779"/>
                  </a:cubicBezTo>
                  <a:cubicBezTo>
                    <a:pt x="102298" y="136398"/>
                    <a:pt x="95059" y="134207"/>
                    <a:pt x="87630" y="132112"/>
                  </a:cubicBezTo>
                  <a:cubicBezTo>
                    <a:pt x="78676" y="129445"/>
                    <a:pt x="69722" y="126492"/>
                    <a:pt x="60579" y="123444"/>
                  </a:cubicBezTo>
                  <a:cubicBezTo>
                    <a:pt x="51530" y="120301"/>
                    <a:pt x="43339" y="116396"/>
                    <a:pt x="36004" y="111633"/>
                  </a:cubicBezTo>
                  <a:cubicBezTo>
                    <a:pt x="28670" y="106871"/>
                    <a:pt x="22764" y="100870"/>
                    <a:pt x="18192" y="93726"/>
                  </a:cubicBezTo>
                  <a:cubicBezTo>
                    <a:pt x="13525" y="86582"/>
                    <a:pt x="11239" y="77629"/>
                    <a:pt x="11239" y="66961"/>
                  </a:cubicBezTo>
                  <a:lnTo>
                    <a:pt x="11239" y="66008"/>
                  </a:lnTo>
                  <a:cubicBezTo>
                    <a:pt x="11239" y="56198"/>
                    <a:pt x="13144" y="47149"/>
                    <a:pt x="17050" y="39053"/>
                  </a:cubicBezTo>
                  <a:cubicBezTo>
                    <a:pt x="20955" y="30861"/>
                    <a:pt x="26384" y="23908"/>
                    <a:pt x="33338" y="18098"/>
                  </a:cubicBezTo>
                  <a:cubicBezTo>
                    <a:pt x="40291" y="12287"/>
                    <a:pt x="48673" y="7811"/>
                    <a:pt x="58388" y="4667"/>
                  </a:cubicBezTo>
                  <a:cubicBezTo>
                    <a:pt x="68008" y="1524"/>
                    <a:pt x="78581" y="0"/>
                    <a:pt x="89821" y="0"/>
                  </a:cubicBezTo>
                  <a:cubicBezTo>
                    <a:pt x="104108" y="0"/>
                    <a:pt x="118586" y="2286"/>
                    <a:pt x="133159" y="6953"/>
                  </a:cubicBezTo>
                  <a:cubicBezTo>
                    <a:pt x="147732" y="11621"/>
                    <a:pt x="160972" y="17717"/>
                    <a:pt x="172878" y="25527"/>
                  </a:cubicBezTo>
                  <a:lnTo>
                    <a:pt x="157257" y="51435"/>
                  </a:lnTo>
                  <a:cubicBezTo>
                    <a:pt x="146494" y="44577"/>
                    <a:pt x="135255" y="39148"/>
                    <a:pt x="123539" y="35147"/>
                  </a:cubicBezTo>
                  <a:cubicBezTo>
                    <a:pt x="111823" y="31147"/>
                    <a:pt x="100203" y="29146"/>
                    <a:pt x="88963" y="29146"/>
                  </a:cubicBezTo>
                  <a:cubicBezTo>
                    <a:pt x="75247" y="29146"/>
                    <a:pt x="64389" y="32385"/>
                    <a:pt x="56388" y="38767"/>
                  </a:cubicBezTo>
                  <a:cubicBezTo>
                    <a:pt x="48291" y="45149"/>
                    <a:pt x="44291" y="53150"/>
                    <a:pt x="44291" y="62675"/>
                  </a:cubicBezTo>
                  <a:lnTo>
                    <a:pt x="44291" y="63627"/>
                  </a:lnTo>
                  <a:cubicBezTo>
                    <a:pt x="44291" y="68961"/>
                    <a:pt x="45910" y="73628"/>
                    <a:pt x="49244" y="77724"/>
                  </a:cubicBezTo>
                  <a:cubicBezTo>
                    <a:pt x="52482" y="81725"/>
                    <a:pt x="56864" y="85249"/>
                    <a:pt x="62389" y="88202"/>
                  </a:cubicBezTo>
                  <a:cubicBezTo>
                    <a:pt x="67913" y="91154"/>
                    <a:pt x="74200" y="93821"/>
                    <a:pt x="81343" y="96203"/>
                  </a:cubicBezTo>
                  <a:cubicBezTo>
                    <a:pt x="88487" y="98584"/>
                    <a:pt x="95916" y="100965"/>
                    <a:pt x="103631" y="103346"/>
                  </a:cubicBezTo>
                  <a:cubicBezTo>
                    <a:pt x="112585" y="106013"/>
                    <a:pt x="121444" y="108966"/>
                    <a:pt x="130207" y="112300"/>
                  </a:cubicBezTo>
                  <a:cubicBezTo>
                    <a:pt x="138969" y="115538"/>
                    <a:pt x="146971" y="119729"/>
                    <a:pt x="154114" y="124778"/>
                  </a:cubicBezTo>
                  <a:cubicBezTo>
                    <a:pt x="161258" y="129826"/>
                    <a:pt x="166973" y="135922"/>
                    <a:pt x="171259" y="143066"/>
                  </a:cubicBezTo>
                  <a:cubicBezTo>
                    <a:pt x="175546" y="150209"/>
                    <a:pt x="177736" y="158972"/>
                    <a:pt x="177736" y="169450"/>
                  </a:cubicBezTo>
                  <a:lnTo>
                    <a:pt x="177736" y="170307"/>
                  </a:lnTo>
                  <a:cubicBezTo>
                    <a:pt x="177736" y="181356"/>
                    <a:pt x="175546" y="191071"/>
                    <a:pt x="171259" y="199549"/>
                  </a:cubicBezTo>
                  <a:cubicBezTo>
                    <a:pt x="166973" y="208026"/>
                    <a:pt x="161163" y="215265"/>
                    <a:pt x="153828" y="221171"/>
                  </a:cubicBezTo>
                  <a:cubicBezTo>
                    <a:pt x="146589" y="227171"/>
                    <a:pt x="137922" y="231648"/>
                    <a:pt x="127921" y="234791"/>
                  </a:cubicBezTo>
                  <a:cubicBezTo>
                    <a:pt x="117919" y="237935"/>
                    <a:pt x="107156" y="239459"/>
                    <a:pt x="95535" y="239459"/>
                  </a:cubicBezTo>
                  <a:close/>
                </a:path>
              </a:pathLst>
            </a:custGeom>
            <a:solidFill>
              <a:srgbClr val="44505E"/>
            </a:solidFill>
            <a:ln w="9525" cap="flat">
              <a:noFill/>
              <a:prstDash val="solid"/>
              <a:miter/>
            </a:ln>
          </p:spPr>
          <p:txBody>
            <a:bodyPr rtlCol="0" anchor="ctr"/>
            <a:lstStyle/>
            <a:p>
              <a:endParaRPr lang="pt-BR" noProof="0"/>
            </a:p>
          </p:txBody>
        </p:sp>
        <p:sp>
          <p:nvSpPr>
            <p:cNvPr id="55" name="Freeform: Shape 54">
              <a:extLst>
                <a:ext uri="{FF2B5EF4-FFF2-40B4-BE49-F238E27FC236}">
                  <a16:creationId xmlns:a16="http://schemas.microsoft.com/office/drawing/2014/main" id="{FF25953A-C2F0-1889-864A-30794747FA07}"/>
                </a:ext>
              </a:extLst>
            </p:cNvPr>
            <p:cNvSpPr/>
            <p:nvPr/>
          </p:nvSpPr>
          <p:spPr>
            <a:xfrm>
              <a:off x="5250320" y="846952"/>
              <a:ext cx="1459036" cy="16186"/>
            </a:xfrm>
            <a:custGeom>
              <a:avLst/>
              <a:gdLst>
                <a:gd name="connsiteX0" fmla="*/ 0 w 5804058"/>
                <a:gd name="connsiteY0" fmla="*/ 0 h 64388"/>
                <a:gd name="connsiteX1" fmla="*/ 5804059 w 5804058"/>
                <a:gd name="connsiteY1" fmla="*/ 0 h 64388"/>
                <a:gd name="connsiteX2" fmla="*/ 5804059 w 5804058"/>
                <a:gd name="connsiteY2" fmla="*/ 64389 h 64388"/>
                <a:gd name="connsiteX3" fmla="*/ 0 w 5804058"/>
                <a:gd name="connsiteY3" fmla="*/ 64389 h 64388"/>
              </a:gdLst>
              <a:ahLst/>
              <a:cxnLst>
                <a:cxn ang="0">
                  <a:pos x="connsiteX0" y="connsiteY0"/>
                </a:cxn>
                <a:cxn ang="0">
                  <a:pos x="connsiteX1" y="connsiteY1"/>
                </a:cxn>
                <a:cxn ang="0">
                  <a:pos x="connsiteX2" y="connsiteY2"/>
                </a:cxn>
                <a:cxn ang="0">
                  <a:pos x="connsiteX3" y="connsiteY3"/>
                </a:cxn>
              </a:cxnLst>
              <a:rect l="l" t="t" r="r" b="b"/>
              <a:pathLst>
                <a:path w="5804058" h="64388">
                  <a:moveTo>
                    <a:pt x="0" y="0"/>
                  </a:moveTo>
                  <a:lnTo>
                    <a:pt x="5804059" y="0"/>
                  </a:lnTo>
                  <a:lnTo>
                    <a:pt x="5804059" y="64389"/>
                  </a:lnTo>
                  <a:lnTo>
                    <a:pt x="0" y="64389"/>
                  </a:lnTo>
                  <a:close/>
                </a:path>
              </a:pathLst>
            </a:custGeom>
            <a:solidFill>
              <a:srgbClr val="44505E"/>
            </a:solidFill>
            <a:ln w="9525" cap="flat">
              <a:noFill/>
              <a:prstDash val="solid"/>
              <a:miter/>
            </a:ln>
          </p:spPr>
          <p:txBody>
            <a:bodyPr rtlCol="0" anchor="ctr"/>
            <a:lstStyle/>
            <a:p>
              <a:endParaRPr lang="pt-BR" noProof="0"/>
            </a:p>
          </p:txBody>
        </p:sp>
        <p:sp>
          <p:nvSpPr>
            <p:cNvPr id="56" name="Freeform: Shape 55">
              <a:extLst>
                <a:ext uri="{FF2B5EF4-FFF2-40B4-BE49-F238E27FC236}">
                  <a16:creationId xmlns:a16="http://schemas.microsoft.com/office/drawing/2014/main" id="{25D7357A-A754-67A1-1EB2-AF249DAE7903}"/>
                </a:ext>
              </a:extLst>
            </p:cNvPr>
            <p:cNvSpPr/>
            <p:nvPr/>
          </p:nvSpPr>
          <p:spPr>
            <a:xfrm>
              <a:off x="6902633" y="268821"/>
              <a:ext cx="273418" cy="601046"/>
            </a:xfrm>
            <a:custGeom>
              <a:avLst/>
              <a:gdLst>
                <a:gd name="connsiteX0" fmla="*/ 0 w 1087659"/>
                <a:gd name="connsiteY0" fmla="*/ 210979 h 2390965"/>
                <a:gd name="connsiteX1" fmla="*/ 125063 w 1087659"/>
                <a:gd name="connsiteY1" fmla="*/ 103442 h 2390965"/>
                <a:gd name="connsiteX2" fmla="*/ 250031 w 1087659"/>
                <a:gd name="connsiteY2" fmla="*/ 210979 h 2390965"/>
                <a:gd name="connsiteX3" fmla="*/ 250031 w 1087659"/>
                <a:gd name="connsiteY3" fmla="*/ 1922717 h 2390965"/>
                <a:gd name="connsiteX4" fmla="*/ 249841 w 1087659"/>
                <a:gd name="connsiteY4" fmla="*/ 1922717 h 2390965"/>
                <a:gd name="connsiteX5" fmla="*/ 249841 w 1087659"/>
                <a:gd name="connsiteY5" fmla="*/ 1925955 h 2390965"/>
                <a:gd name="connsiteX6" fmla="*/ 333756 w 1087659"/>
                <a:gd name="connsiteY6" fmla="*/ 2100263 h 2390965"/>
                <a:gd name="connsiteX7" fmla="*/ 335566 w 1087659"/>
                <a:gd name="connsiteY7" fmla="*/ 2101787 h 2390965"/>
                <a:gd name="connsiteX8" fmla="*/ 336042 w 1087659"/>
                <a:gd name="connsiteY8" fmla="*/ 2102168 h 2390965"/>
                <a:gd name="connsiteX9" fmla="*/ 543877 w 1087659"/>
                <a:gd name="connsiteY9" fmla="*/ 2175891 h 2390965"/>
                <a:gd name="connsiteX10" fmla="*/ 749998 w 1087659"/>
                <a:gd name="connsiteY10" fmla="*/ 2103692 h 2390965"/>
                <a:gd name="connsiteX11" fmla="*/ 751713 w 1087659"/>
                <a:gd name="connsiteY11" fmla="*/ 2102168 h 2390965"/>
                <a:gd name="connsiteX12" fmla="*/ 752189 w 1087659"/>
                <a:gd name="connsiteY12" fmla="*/ 2101787 h 2390965"/>
                <a:gd name="connsiteX13" fmla="*/ 837819 w 1087659"/>
                <a:gd name="connsiteY13" fmla="*/ 1922812 h 2390965"/>
                <a:gd name="connsiteX14" fmla="*/ 837819 w 1087659"/>
                <a:gd name="connsiteY14" fmla="*/ 107537 h 2390965"/>
                <a:gd name="connsiteX15" fmla="*/ 962787 w 1087659"/>
                <a:gd name="connsiteY15" fmla="*/ 0 h 2390965"/>
                <a:gd name="connsiteX16" fmla="*/ 1087660 w 1087659"/>
                <a:gd name="connsiteY16" fmla="*/ 107537 h 2390965"/>
                <a:gd name="connsiteX17" fmla="*/ 1087660 w 1087659"/>
                <a:gd name="connsiteY17" fmla="*/ 1922621 h 2390965"/>
                <a:gd name="connsiteX18" fmla="*/ 928307 w 1087659"/>
                <a:gd name="connsiteY18" fmla="*/ 2253234 h 2390965"/>
                <a:gd name="connsiteX19" fmla="*/ 928116 w 1087659"/>
                <a:gd name="connsiteY19" fmla="*/ 2253424 h 2390965"/>
                <a:gd name="connsiteX20" fmla="*/ 927830 w 1087659"/>
                <a:gd name="connsiteY20" fmla="*/ 2253710 h 2390965"/>
                <a:gd name="connsiteX21" fmla="*/ 927354 w 1087659"/>
                <a:gd name="connsiteY21" fmla="*/ 2254187 h 2390965"/>
                <a:gd name="connsiteX22" fmla="*/ 543783 w 1087659"/>
                <a:gd name="connsiteY22" fmla="*/ 2390966 h 2390965"/>
                <a:gd name="connsiteX23" fmla="*/ 159734 w 1087659"/>
                <a:gd name="connsiteY23" fmla="*/ 2253710 h 2390965"/>
                <a:gd name="connsiteX24" fmla="*/ 159734 w 1087659"/>
                <a:gd name="connsiteY24" fmla="*/ 2253424 h 2390965"/>
                <a:gd name="connsiteX25" fmla="*/ 159353 w 1087659"/>
                <a:gd name="connsiteY25" fmla="*/ 2253234 h 2390965"/>
                <a:gd name="connsiteX26" fmla="*/ 158877 w 1087659"/>
                <a:gd name="connsiteY26" fmla="*/ 2252948 h 2390965"/>
                <a:gd name="connsiteX27" fmla="*/ 0 w 1087659"/>
                <a:gd name="connsiteY27" fmla="*/ 1922621 h 2390965"/>
                <a:gd name="connsiteX28" fmla="*/ 0 w 1087659"/>
                <a:gd name="connsiteY28" fmla="*/ 1922621 h 2390965"/>
                <a:gd name="connsiteX29" fmla="*/ 0 w 1087659"/>
                <a:gd name="connsiteY29" fmla="*/ 210979 h 239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87659" h="2390965">
                  <a:moveTo>
                    <a:pt x="0" y="210979"/>
                  </a:moveTo>
                  <a:cubicBezTo>
                    <a:pt x="0" y="151638"/>
                    <a:pt x="56007" y="103442"/>
                    <a:pt x="125063" y="103442"/>
                  </a:cubicBezTo>
                  <a:cubicBezTo>
                    <a:pt x="194120" y="103442"/>
                    <a:pt x="250031" y="151638"/>
                    <a:pt x="250031" y="210979"/>
                  </a:cubicBezTo>
                  <a:lnTo>
                    <a:pt x="250031" y="1922717"/>
                  </a:lnTo>
                  <a:lnTo>
                    <a:pt x="249841" y="1922717"/>
                  </a:lnTo>
                  <a:lnTo>
                    <a:pt x="249841" y="1925955"/>
                  </a:lnTo>
                  <a:cubicBezTo>
                    <a:pt x="250793" y="1994059"/>
                    <a:pt x="282797" y="2055495"/>
                    <a:pt x="333756" y="2100263"/>
                  </a:cubicBezTo>
                  <a:lnTo>
                    <a:pt x="335566" y="2101787"/>
                  </a:lnTo>
                  <a:lnTo>
                    <a:pt x="336042" y="2102168"/>
                  </a:lnTo>
                  <a:cubicBezTo>
                    <a:pt x="388906" y="2147697"/>
                    <a:pt x="462343" y="2175891"/>
                    <a:pt x="543877" y="2175891"/>
                  </a:cubicBezTo>
                  <a:cubicBezTo>
                    <a:pt x="625411" y="2175891"/>
                    <a:pt x="697420" y="2148364"/>
                    <a:pt x="749998" y="2103692"/>
                  </a:cubicBezTo>
                  <a:lnTo>
                    <a:pt x="751713" y="2102168"/>
                  </a:lnTo>
                  <a:lnTo>
                    <a:pt x="752189" y="2101787"/>
                  </a:lnTo>
                  <a:cubicBezTo>
                    <a:pt x="805053" y="2056352"/>
                    <a:pt x="837819" y="1993011"/>
                    <a:pt x="837819" y="1922812"/>
                  </a:cubicBezTo>
                  <a:lnTo>
                    <a:pt x="837819" y="107537"/>
                  </a:lnTo>
                  <a:cubicBezTo>
                    <a:pt x="837819" y="48196"/>
                    <a:pt x="893731" y="0"/>
                    <a:pt x="962787" y="0"/>
                  </a:cubicBezTo>
                  <a:cubicBezTo>
                    <a:pt x="1031843" y="0"/>
                    <a:pt x="1087660" y="48196"/>
                    <a:pt x="1087660" y="107537"/>
                  </a:cubicBezTo>
                  <a:lnTo>
                    <a:pt x="1087660" y="1922621"/>
                  </a:lnTo>
                  <a:cubicBezTo>
                    <a:pt x="1087660" y="2051399"/>
                    <a:pt x="1026795" y="2168366"/>
                    <a:pt x="928307" y="2253234"/>
                  </a:cubicBezTo>
                  <a:lnTo>
                    <a:pt x="928116" y="2253424"/>
                  </a:lnTo>
                  <a:lnTo>
                    <a:pt x="927830" y="2253710"/>
                  </a:lnTo>
                  <a:lnTo>
                    <a:pt x="927354" y="2254187"/>
                  </a:lnTo>
                  <a:cubicBezTo>
                    <a:pt x="828770" y="2338673"/>
                    <a:pt x="693134" y="2390966"/>
                    <a:pt x="543783" y="2390966"/>
                  </a:cubicBezTo>
                  <a:cubicBezTo>
                    <a:pt x="394430" y="2390966"/>
                    <a:pt x="258413" y="2338483"/>
                    <a:pt x="159734" y="2253710"/>
                  </a:cubicBezTo>
                  <a:lnTo>
                    <a:pt x="159734" y="2253424"/>
                  </a:lnTo>
                  <a:cubicBezTo>
                    <a:pt x="159734" y="2253424"/>
                    <a:pt x="159353" y="2253234"/>
                    <a:pt x="159353" y="2253234"/>
                  </a:cubicBezTo>
                  <a:lnTo>
                    <a:pt x="158877" y="2252948"/>
                  </a:lnTo>
                  <a:cubicBezTo>
                    <a:pt x="60770" y="2167985"/>
                    <a:pt x="0" y="2051304"/>
                    <a:pt x="0" y="1922621"/>
                  </a:cubicBezTo>
                  <a:lnTo>
                    <a:pt x="0" y="1922621"/>
                  </a:lnTo>
                  <a:lnTo>
                    <a:pt x="0" y="210979"/>
                  </a:lnTo>
                  <a:close/>
                </a:path>
              </a:pathLst>
            </a:custGeom>
            <a:solidFill>
              <a:srgbClr val="8FC640"/>
            </a:solidFill>
            <a:ln w="9525" cap="flat">
              <a:noFill/>
              <a:prstDash val="solid"/>
              <a:miter/>
            </a:ln>
          </p:spPr>
          <p:txBody>
            <a:bodyPr rtlCol="0" anchor="ctr"/>
            <a:lstStyle/>
            <a:p>
              <a:endParaRPr lang="pt-BR" noProof="0"/>
            </a:p>
          </p:txBody>
        </p:sp>
        <p:sp>
          <p:nvSpPr>
            <p:cNvPr id="57" name="Freeform: Shape 56">
              <a:extLst>
                <a:ext uri="{FF2B5EF4-FFF2-40B4-BE49-F238E27FC236}">
                  <a16:creationId xmlns:a16="http://schemas.microsoft.com/office/drawing/2014/main" id="{BF55923A-D286-9D51-D5BA-FD760CF0DA23}"/>
                </a:ext>
              </a:extLst>
            </p:cNvPr>
            <p:cNvSpPr/>
            <p:nvPr/>
          </p:nvSpPr>
          <p:spPr>
            <a:xfrm>
              <a:off x="7013590" y="213965"/>
              <a:ext cx="54018" cy="562280"/>
            </a:xfrm>
            <a:custGeom>
              <a:avLst/>
              <a:gdLst>
                <a:gd name="connsiteX0" fmla="*/ 0 w 214883"/>
                <a:gd name="connsiteY0" fmla="*/ 107537 h 2236755"/>
                <a:gd name="connsiteX1" fmla="*/ 107537 w 214883"/>
                <a:gd name="connsiteY1" fmla="*/ 0 h 2236755"/>
                <a:gd name="connsiteX2" fmla="*/ 214884 w 214883"/>
                <a:gd name="connsiteY2" fmla="*/ 107537 h 2236755"/>
                <a:gd name="connsiteX3" fmla="*/ 214884 w 214883"/>
                <a:gd name="connsiteY3" fmla="*/ 2129219 h 2236755"/>
                <a:gd name="connsiteX4" fmla="*/ 107537 w 214883"/>
                <a:gd name="connsiteY4" fmla="*/ 2236756 h 2236755"/>
                <a:gd name="connsiteX5" fmla="*/ 0 w 214883"/>
                <a:gd name="connsiteY5" fmla="*/ 2129219 h 2236755"/>
                <a:gd name="connsiteX6" fmla="*/ 0 w 214883"/>
                <a:gd name="connsiteY6" fmla="*/ 107537 h 223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 h="2236755">
                  <a:moveTo>
                    <a:pt x="0" y="107537"/>
                  </a:moveTo>
                  <a:cubicBezTo>
                    <a:pt x="0" y="48197"/>
                    <a:pt x="48101" y="0"/>
                    <a:pt x="107537" y="0"/>
                  </a:cubicBezTo>
                  <a:cubicBezTo>
                    <a:pt x="166973" y="0"/>
                    <a:pt x="214884" y="48197"/>
                    <a:pt x="214884" y="107537"/>
                  </a:cubicBezTo>
                  <a:lnTo>
                    <a:pt x="214884" y="2129219"/>
                  </a:lnTo>
                  <a:cubicBezTo>
                    <a:pt x="214884" y="2188559"/>
                    <a:pt x="166782" y="2236756"/>
                    <a:pt x="107537" y="2236756"/>
                  </a:cubicBezTo>
                  <a:cubicBezTo>
                    <a:pt x="48291" y="2236756"/>
                    <a:pt x="0" y="2188559"/>
                    <a:pt x="0" y="2129219"/>
                  </a:cubicBezTo>
                  <a:lnTo>
                    <a:pt x="0" y="107537"/>
                  </a:lnTo>
                  <a:close/>
                </a:path>
              </a:pathLst>
            </a:custGeom>
            <a:solidFill>
              <a:srgbClr val="3698B0"/>
            </a:solidFill>
            <a:ln w="9525" cap="flat">
              <a:noFill/>
              <a:prstDash val="solid"/>
              <a:miter/>
            </a:ln>
          </p:spPr>
          <p:txBody>
            <a:bodyPr rtlCol="0" anchor="ctr"/>
            <a:lstStyle/>
            <a:p>
              <a:endParaRPr lang="pt-BR" noProof="0"/>
            </a:p>
          </p:txBody>
        </p:sp>
        <p:sp>
          <p:nvSpPr>
            <p:cNvPr id="58" name="Freeform: Shape 57">
              <a:extLst>
                <a:ext uri="{FF2B5EF4-FFF2-40B4-BE49-F238E27FC236}">
                  <a16:creationId xmlns:a16="http://schemas.microsoft.com/office/drawing/2014/main" id="{E9DD1718-0235-E413-B704-FBA6BC9D3090}"/>
                </a:ext>
              </a:extLst>
            </p:cNvPr>
            <p:cNvSpPr/>
            <p:nvPr/>
          </p:nvSpPr>
          <p:spPr>
            <a:xfrm>
              <a:off x="6795770" y="332991"/>
              <a:ext cx="485994" cy="649437"/>
            </a:xfrm>
            <a:custGeom>
              <a:avLst/>
              <a:gdLst>
                <a:gd name="connsiteX0" fmla="*/ 1933290 w 1933289"/>
                <a:gd name="connsiteY0" fmla="*/ 138017 h 2583465"/>
                <a:gd name="connsiteX1" fmla="*/ 1933290 w 1933289"/>
                <a:gd name="connsiteY1" fmla="*/ 1734122 h 2583465"/>
                <a:gd name="connsiteX2" fmla="*/ 1796606 w 1933289"/>
                <a:gd name="connsiteY2" fmla="*/ 2229136 h 2583465"/>
                <a:gd name="connsiteX3" fmla="*/ 977742 w 1933289"/>
                <a:gd name="connsiteY3" fmla="*/ 2583466 h 2583465"/>
                <a:gd name="connsiteX4" fmla="*/ 955357 w 1933289"/>
                <a:gd name="connsiteY4" fmla="*/ 2583466 h 2583465"/>
                <a:gd name="connsiteX5" fmla="*/ 136589 w 1933289"/>
                <a:gd name="connsiteY5" fmla="*/ 2229136 h 2583465"/>
                <a:gd name="connsiteX6" fmla="*/ 0 w 1933289"/>
                <a:gd name="connsiteY6" fmla="*/ 1734122 h 2583465"/>
                <a:gd name="connsiteX7" fmla="*/ 0 w 1933289"/>
                <a:gd name="connsiteY7" fmla="*/ 794194 h 2583465"/>
                <a:gd name="connsiteX8" fmla="*/ 137827 w 1933289"/>
                <a:gd name="connsiteY8" fmla="*/ 656273 h 2583465"/>
                <a:gd name="connsiteX9" fmla="*/ 275463 w 1933289"/>
                <a:gd name="connsiteY9" fmla="*/ 794194 h 2583465"/>
                <a:gd name="connsiteX10" fmla="*/ 275463 w 1933289"/>
                <a:gd name="connsiteY10" fmla="*/ 1734122 h 2583465"/>
                <a:gd name="connsiteX11" fmla="*/ 354235 w 1933289"/>
                <a:gd name="connsiteY11" fmla="*/ 2059686 h 2583465"/>
                <a:gd name="connsiteX12" fmla="*/ 958215 w 1933289"/>
                <a:gd name="connsiteY12" fmla="*/ 2307527 h 2583465"/>
                <a:gd name="connsiteX13" fmla="*/ 974789 w 1933289"/>
                <a:gd name="connsiteY13" fmla="*/ 2307527 h 2583465"/>
                <a:gd name="connsiteX14" fmla="*/ 1578959 w 1933289"/>
                <a:gd name="connsiteY14" fmla="*/ 2059686 h 2583465"/>
                <a:gd name="connsiteX15" fmla="*/ 1657636 w 1933289"/>
                <a:gd name="connsiteY15" fmla="*/ 1734122 h 2583465"/>
                <a:gd name="connsiteX16" fmla="*/ 1657636 w 1933289"/>
                <a:gd name="connsiteY16" fmla="*/ 138017 h 2583465"/>
                <a:gd name="connsiteX17" fmla="*/ 1795463 w 1933289"/>
                <a:gd name="connsiteY17" fmla="*/ 0 h 2583465"/>
                <a:gd name="connsiteX18" fmla="*/ 1933290 w 1933289"/>
                <a:gd name="connsiteY18" fmla="*/ 138017 h 25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3289" h="2583465">
                  <a:moveTo>
                    <a:pt x="1933290" y="138017"/>
                  </a:moveTo>
                  <a:lnTo>
                    <a:pt x="1933290" y="1734122"/>
                  </a:lnTo>
                  <a:cubicBezTo>
                    <a:pt x="1933290" y="1870996"/>
                    <a:pt x="1919002" y="2071211"/>
                    <a:pt x="1796606" y="2229136"/>
                  </a:cubicBezTo>
                  <a:cubicBezTo>
                    <a:pt x="1634395" y="2438305"/>
                    <a:pt x="1432084" y="2578703"/>
                    <a:pt x="977742" y="2583466"/>
                  </a:cubicBezTo>
                  <a:lnTo>
                    <a:pt x="955357" y="2583466"/>
                  </a:lnTo>
                  <a:cubicBezTo>
                    <a:pt x="501015" y="2578703"/>
                    <a:pt x="298704" y="2438400"/>
                    <a:pt x="136589" y="2229136"/>
                  </a:cubicBezTo>
                  <a:cubicBezTo>
                    <a:pt x="14192" y="2071211"/>
                    <a:pt x="0" y="1870996"/>
                    <a:pt x="0" y="1734122"/>
                  </a:cubicBezTo>
                  <a:lnTo>
                    <a:pt x="0" y="794194"/>
                  </a:lnTo>
                  <a:cubicBezTo>
                    <a:pt x="0" y="718185"/>
                    <a:pt x="61436" y="656273"/>
                    <a:pt x="137827" y="656273"/>
                  </a:cubicBezTo>
                  <a:cubicBezTo>
                    <a:pt x="214217" y="656273"/>
                    <a:pt x="275463" y="718185"/>
                    <a:pt x="275463" y="794194"/>
                  </a:cubicBezTo>
                  <a:lnTo>
                    <a:pt x="275463" y="1734122"/>
                  </a:lnTo>
                  <a:cubicBezTo>
                    <a:pt x="275463" y="1887188"/>
                    <a:pt x="300324" y="1990630"/>
                    <a:pt x="354235" y="2059686"/>
                  </a:cubicBezTo>
                  <a:cubicBezTo>
                    <a:pt x="476250" y="2217611"/>
                    <a:pt x="609791" y="2304479"/>
                    <a:pt x="958215" y="2307527"/>
                  </a:cubicBezTo>
                  <a:lnTo>
                    <a:pt x="974789" y="2307527"/>
                  </a:lnTo>
                  <a:cubicBezTo>
                    <a:pt x="1323499" y="2304479"/>
                    <a:pt x="1456563" y="2217611"/>
                    <a:pt x="1578959" y="2059686"/>
                  </a:cubicBezTo>
                  <a:cubicBezTo>
                    <a:pt x="1632490" y="1990630"/>
                    <a:pt x="1657636" y="1887093"/>
                    <a:pt x="1657636" y="1734122"/>
                  </a:cubicBezTo>
                  <a:lnTo>
                    <a:pt x="1657636" y="138017"/>
                  </a:lnTo>
                  <a:cubicBezTo>
                    <a:pt x="1657636" y="61531"/>
                    <a:pt x="1719453" y="0"/>
                    <a:pt x="1795463" y="0"/>
                  </a:cubicBezTo>
                  <a:cubicBezTo>
                    <a:pt x="1871472" y="0"/>
                    <a:pt x="1933290" y="61531"/>
                    <a:pt x="1933290" y="138017"/>
                  </a:cubicBezTo>
                </a:path>
              </a:pathLst>
            </a:custGeom>
            <a:solidFill>
              <a:srgbClr val="49306E"/>
            </a:solidFill>
            <a:ln w="9525" cap="flat">
              <a:noFill/>
              <a:prstDash val="solid"/>
              <a:miter/>
            </a:ln>
          </p:spPr>
          <p:txBody>
            <a:bodyPr rtlCol="0" anchor="ctr"/>
            <a:lstStyle/>
            <a:p>
              <a:endParaRPr lang="pt-BR" noProof="0"/>
            </a:p>
          </p:txBody>
        </p:sp>
      </p:grpSp>
      <p:sp>
        <p:nvSpPr>
          <p:cNvPr id="5" name="Rectangle 3">
            <a:extLst>
              <a:ext uri="{FF2B5EF4-FFF2-40B4-BE49-F238E27FC236}">
                <a16:creationId xmlns:a16="http://schemas.microsoft.com/office/drawing/2014/main" id="{E3710BD6-F648-872D-5A16-7A379906AA34}"/>
              </a:ext>
            </a:extLst>
          </p:cNvPr>
          <p:cNvSpPr>
            <a:spLocks noChangeArrowheads="1"/>
          </p:cNvSpPr>
          <p:nvPr/>
        </p:nvSpPr>
        <p:spPr bwMode="auto">
          <a:xfrm>
            <a:off x="428153" y="692497"/>
            <a:ext cx="264816" cy="2862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p:txBody>
      </p:sp>
      <p:pic>
        <p:nvPicPr>
          <p:cNvPr id="2" name="Imagem 1">
            <a:extLst>
              <a:ext uri="{FF2B5EF4-FFF2-40B4-BE49-F238E27FC236}">
                <a16:creationId xmlns:a16="http://schemas.microsoft.com/office/drawing/2014/main" id="{6D8EC1D8-792E-71D6-F87C-13134DCCF501}"/>
              </a:ext>
            </a:extLst>
          </p:cNvPr>
          <p:cNvPicPr>
            <a:picLocks noChangeAspect="1"/>
          </p:cNvPicPr>
          <p:nvPr/>
        </p:nvPicPr>
        <p:blipFill>
          <a:blip r:embed="rId6"/>
          <a:stretch>
            <a:fillRect/>
          </a:stretch>
        </p:blipFill>
        <p:spPr>
          <a:xfrm>
            <a:off x="208832" y="1939596"/>
            <a:ext cx="11788714" cy="2576242"/>
          </a:xfrm>
          <a:prstGeom prst="rect">
            <a:avLst/>
          </a:prstGeom>
        </p:spPr>
      </p:pic>
      <p:sp>
        <p:nvSpPr>
          <p:cNvPr id="3" name="CaixaDeTexto 2">
            <a:extLst>
              <a:ext uri="{FF2B5EF4-FFF2-40B4-BE49-F238E27FC236}">
                <a16:creationId xmlns:a16="http://schemas.microsoft.com/office/drawing/2014/main" id="{72BE80EB-33C2-7927-A4D3-53E78EBDACB6}"/>
              </a:ext>
            </a:extLst>
          </p:cNvPr>
          <p:cNvSpPr txBox="1"/>
          <p:nvPr/>
        </p:nvSpPr>
        <p:spPr>
          <a:xfrm>
            <a:off x="8778176" y="3840672"/>
            <a:ext cx="660400"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pt-BR" sz="2400" b="1">
                <a:solidFill>
                  <a:srgbClr val="C00000"/>
                </a:solidFill>
              </a:rPr>
              <a:t>X</a:t>
            </a:r>
          </a:p>
        </p:txBody>
      </p:sp>
      <p:sp>
        <p:nvSpPr>
          <p:cNvPr id="4" name="CaixaDeTexto 3">
            <a:extLst>
              <a:ext uri="{FF2B5EF4-FFF2-40B4-BE49-F238E27FC236}">
                <a16:creationId xmlns:a16="http://schemas.microsoft.com/office/drawing/2014/main" id="{22E01997-5A78-815D-A5C2-F67598372B98}"/>
              </a:ext>
            </a:extLst>
          </p:cNvPr>
          <p:cNvSpPr txBox="1"/>
          <p:nvPr/>
        </p:nvSpPr>
        <p:spPr>
          <a:xfrm>
            <a:off x="8778175" y="3423728"/>
            <a:ext cx="660400"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pt-BR" sz="2400" b="1">
                <a:solidFill>
                  <a:srgbClr val="C00000"/>
                </a:solidFill>
              </a:rPr>
              <a:t>X</a:t>
            </a:r>
          </a:p>
        </p:txBody>
      </p:sp>
      <p:sp>
        <p:nvSpPr>
          <p:cNvPr id="7" name="CaixaDeTexto 6">
            <a:extLst>
              <a:ext uri="{FF2B5EF4-FFF2-40B4-BE49-F238E27FC236}">
                <a16:creationId xmlns:a16="http://schemas.microsoft.com/office/drawing/2014/main" id="{AB6C22FD-717C-19CD-4EF1-CF58CA63576A}"/>
              </a:ext>
            </a:extLst>
          </p:cNvPr>
          <p:cNvSpPr txBox="1"/>
          <p:nvPr/>
        </p:nvSpPr>
        <p:spPr>
          <a:xfrm>
            <a:off x="8806930" y="2517954"/>
            <a:ext cx="660400"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pt-BR" sz="2400" b="1">
                <a:solidFill>
                  <a:srgbClr val="C00000"/>
                </a:solidFill>
              </a:rPr>
              <a:t>X</a:t>
            </a:r>
          </a:p>
        </p:txBody>
      </p:sp>
      <p:sp>
        <p:nvSpPr>
          <p:cNvPr id="8" name="CaixaDeTexto 7">
            <a:extLst>
              <a:ext uri="{FF2B5EF4-FFF2-40B4-BE49-F238E27FC236}">
                <a16:creationId xmlns:a16="http://schemas.microsoft.com/office/drawing/2014/main" id="{3E66C22C-D463-C1CE-0039-990D41074553}"/>
              </a:ext>
            </a:extLst>
          </p:cNvPr>
          <p:cNvSpPr txBox="1"/>
          <p:nvPr/>
        </p:nvSpPr>
        <p:spPr>
          <a:xfrm>
            <a:off x="10070221" y="3380277"/>
            <a:ext cx="2455333"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pt-BR" sz="2400" b="1" i="1" dirty="0">
                <a:solidFill>
                  <a:srgbClr val="C00000"/>
                </a:solidFill>
              </a:rPr>
              <a:t>Candida </a:t>
            </a:r>
            <a:r>
              <a:rPr lang="pt-BR" sz="2400" b="1" dirty="0">
                <a:solidFill>
                  <a:srgbClr val="C00000"/>
                </a:solidFill>
              </a:rPr>
              <a:t>spp</a:t>
            </a:r>
            <a:endParaRPr lang="pt-BR" sz="2400" b="1" i="1" dirty="0">
              <a:solidFill>
                <a:srgbClr val="C00000"/>
              </a:solidFill>
            </a:endParaRPr>
          </a:p>
        </p:txBody>
      </p:sp>
      <p:sp>
        <p:nvSpPr>
          <p:cNvPr id="10" name="CaixaDeTexto 9">
            <a:extLst>
              <a:ext uri="{FF2B5EF4-FFF2-40B4-BE49-F238E27FC236}">
                <a16:creationId xmlns:a16="http://schemas.microsoft.com/office/drawing/2014/main" id="{F928A0DE-F632-AB40-3BC9-414E5B832369}"/>
              </a:ext>
            </a:extLst>
          </p:cNvPr>
          <p:cNvSpPr txBox="1"/>
          <p:nvPr/>
        </p:nvSpPr>
        <p:spPr>
          <a:xfrm>
            <a:off x="2519500" y="361172"/>
            <a:ext cx="2957454" cy="461665"/>
          </a:xfrm>
          <a:prstGeom prst="rect">
            <a:avLst/>
          </a:prstGeom>
          <a:noFill/>
        </p:spPr>
        <p:txBody>
          <a:bodyPr wrap="square" rtlCol="0">
            <a:spAutoFit/>
          </a:bodyPr>
          <a:lstStyle/>
          <a:p>
            <a:r>
              <a:rPr lang="pt-BR" sz="2400" b="1" noProof="0"/>
              <a:t>CASO 2- Adulto</a:t>
            </a:r>
          </a:p>
        </p:txBody>
      </p:sp>
    </p:spTree>
    <p:extLst>
      <p:ext uri="{BB962C8B-B14F-4D97-AF65-F5344CB8AC3E}">
        <p14:creationId xmlns:p14="http://schemas.microsoft.com/office/powerpoint/2010/main" val="35929329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7" grpId="0"/>
      <p:bldP spid="8"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4EB4DE-54E5-19C8-BE99-01C5E909A5BD}"/>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04AB520B-B79F-A8E5-5919-51419AF2FE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8" progId="TCLayout.ActiveDocument.1">
                  <p:embed/>
                </p:oleObj>
              </mc:Choice>
              <mc:Fallback>
                <p:oleObj name="think-cell Slide" r:id="rId4" imgW="306" imgH="308" progId="TCLayout.ActiveDocument.1">
                  <p:embed/>
                  <p:pic>
                    <p:nvPicPr>
                      <p:cNvPr id="12" name="think-cell data - do not delete" hidden="1">
                        <a:extLst>
                          <a:ext uri="{FF2B5EF4-FFF2-40B4-BE49-F238E27FC236}">
                            <a16:creationId xmlns:a16="http://schemas.microsoft.com/office/drawing/2014/main" id="{04AB520B-B79F-A8E5-5919-51419AF2FE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3" name="Group 12">
            <a:extLst>
              <a:ext uri="{FF2B5EF4-FFF2-40B4-BE49-F238E27FC236}">
                <a16:creationId xmlns:a16="http://schemas.microsoft.com/office/drawing/2014/main" id="{A6383451-A5F0-BE47-05F6-21B79B52C294}"/>
              </a:ext>
            </a:extLst>
          </p:cNvPr>
          <p:cNvGrpSpPr/>
          <p:nvPr/>
        </p:nvGrpSpPr>
        <p:grpSpPr>
          <a:xfrm>
            <a:off x="304800" y="249455"/>
            <a:ext cx="1193800" cy="462985"/>
            <a:chOff x="5245100" y="211355"/>
            <a:chExt cx="2036664" cy="789869"/>
          </a:xfrm>
        </p:grpSpPr>
        <p:sp>
          <p:nvSpPr>
            <p:cNvPr id="14" name="Freeform: Shape 13">
              <a:extLst>
                <a:ext uri="{FF2B5EF4-FFF2-40B4-BE49-F238E27FC236}">
                  <a16:creationId xmlns:a16="http://schemas.microsoft.com/office/drawing/2014/main" id="{51041EAB-E474-71EB-B4C3-DE9E9796BB51}"/>
                </a:ext>
              </a:extLst>
            </p:cNvPr>
            <p:cNvSpPr/>
            <p:nvPr/>
          </p:nvSpPr>
          <p:spPr>
            <a:xfrm>
              <a:off x="5245100" y="308520"/>
              <a:ext cx="247894" cy="322815"/>
            </a:xfrm>
            <a:custGeom>
              <a:avLst/>
              <a:gdLst>
                <a:gd name="connsiteX0" fmla="*/ 529590 w 986123"/>
                <a:gd name="connsiteY0" fmla="*/ 1284160 h 1284160"/>
                <a:gd name="connsiteX1" fmla="*/ 249650 w 986123"/>
                <a:gd name="connsiteY1" fmla="*/ 1235107 h 1284160"/>
                <a:gd name="connsiteX2" fmla="*/ 0 w 986123"/>
                <a:gd name="connsiteY2" fmla="*/ 1084421 h 1284160"/>
                <a:gd name="connsiteX3" fmla="*/ 162306 w 986123"/>
                <a:gd name="connsiteY3" fmla="*/ 890016 h 1284160"/>
                <a:gd name="connsiteX4" fmla="*/ 337947 w 986123"/>
                <a:gd name="connsiteY4" fmla="*/ 1000601 h 1284160"/>
                <a:gd name="connsiteX5" fmla="*/ 535019 w 986123"/>
                <a:gd name="connsiteY5" fmla="*/ 1041654 h 1284160"/>
                <a:gd name="connsiteX6" fmla="*/ 667893 w 986123"/>
                <a:gd name="connsiteY6" fmla="*/ 1010412 h 1284160"/>
                <a:gd name="connsiteX7" fmla="*/ 715137 w 986123"/>
                <a:gd name="connsiteY7" fmla="*/ 923925 h 1284160"/>
                <a:gd name="connsiteX8" fmla="*/ 715137 w 986123"/>
                <a:gd name="connsiteY8" fmla="*/ 920305 h 1284160"/>
                <a:gd name="connsiteX9" fmla="*/ 705326 w 986123"/>
                <a:gd name="connsiteY9" fmla="*/ 873062 h 1284160"/>
                <a:gd name="connsiteX10" fmla="*/ 667798 w 986123"/>
                <a:gd name="connsiteY10" fmla="*/ 834676 h 1284160"/>
                <a:gd name="connsiteX11" fmla="*/ 590931 w 986123"/>
                <a:gd name="connsiteY11" fmla="*/ 798957 h 1284160"/>
                <a:gd name="connsiteX12" fmla="*/ 463106 w 986123"/>
                <a:gd name="connsiteY12" fmla="*/ 761524 h 1284160"/>
                <a:gd name="connsiteX13" fmla="*/ 291465 w 986123"/>
                <a:gd name="connsiteY13" fmla="*/ 709803 h 1284160"/>
                <a:gd name="connsiteX14" fmla="*/ 160973 w 986123"/>
                <a:gd name="connsiteY14" fmla="*/ 639318 h 1284160"/>
                <a:gd name="connsiteX15" fmla="*/ 77819 w 986123"/>
                <a:gd name="connsiteY15" fmla="*/ 535019 h 1284160"/>
                <a:gd name="connsiteX16" fmla="*/ 48292 w 986123"/>
                <a:gd name="connsiteY16" fmla="*/ 379857 h 1284160"/>
                <a:gd name="connsiteX17" fmla="*/ 48292 w 986123"/>
                <a:gd name="connsiteY17" fmla="*/ 376238 h 1284160"/>
                <a:gd name="connsiteX18" fmla="*/ 80201 w 986123"/>
                <a:gd name="connsiteY18" fmla="*/ 222028 h 1284160"/>
                <a:gd name="connsiteX19" fmla="*/ 169640 w 986123"/>
                <a:gd name="connsiteY19" fmla="*/ 103441 h 1284160"/>
                <a:gd name="connsiteX20" fmla="*/ 307181 w 986123"/>
                <a:gd name="connsiteY20" fmla="*/ 26765 h 1284160"/>
                <a:gd name="connsiteX21" fmla="*/ 483394 w 986123"/>
                <a:gd name="connsiteY21" fmla="*/ 0 h 1284160"/>
                <a:gd name="connsiteX22" fmla="*/ 735711 w 986123"/>
                <a:gd name="connsiteY22" fmla="*/ 41053 h 1284160"/>
                <a:gd name="connsiteX23" fmla="*/ 946976 w 986123"/>
                <a:gd name="connsiteY23" fmla="*/ 158687 h 1284160"/>
                <a:gd name="connsiteX24" fmla="*/ 804291 w 986123"/>
                <a:gd name="connsiteY24" fmla="*/ 365569 h 1284160"/>
                <a:gd name="connsiteX25" fmla="*/ 640271 w 986123"/>
                <a:gd name="connsiteY25" fmla="*/ 275558 h 1284160"/>
                <a:gd name="connsiteX26" fmla="*/ 479774 w 986123"/>
                <a:gd name="connsiteY26" fmla="*/ 242602 h 1284160"/>
                <a:gd name="connsiteX27" fmla="*/ 359378 w 986123"/>
                <a:gd name="connsiteY27" fmla="*/ 273844 h 1284160"/>
                <a:gd name="connsiteX28" fmla="*/ 319278 w 986123"/>
                <a:gd name="connsiteY28" fmla="*/ 351377 h 1284160"/>
                <a:gd name="connsiteX29" fmla="*/ 319278 w 986123"/>
                <a:gd name="connsiteY29" fmla="*/ 354997 h 1284160"/>
                <a:gd name="connsiteX30" fmla="*/ 330899 w 986123"/>
                <a:gd name="connsiteY30" fmla="*/ 407575 h 1284160"/>
                <a:gd name="connsiteX31" fmla="*/ 372904 w 986123"/>
                <a:gd name="connsiteY31" fmla="*/ 447675 h 1284160"/>
                <a:gd name="connsiteX32" fmla="*/ 456057 w 986123"/>
                <a:gd name="connsiteY32" fmla="*/ 481489 h 1284160"/>
                <a:gd name="connsiteX33" fmla="*/ 589217 w 986123"/>
                <a:gd name="connsiteY33" fmla="*/ 518922 h 1284160"/>
                <a:gd name="connsiteX34" fmla="*/ 758190 w 986123"/>
                <a:gd name="connsiteY34" fmla="*/ 575120 h 1284160"/>
                <a:gd name="connsiteX35" fmla="*/ 883349 w 986123"/>
                <a:gd name="connsiteY35" fmla="*/ 649986 h 1284160"/>
                <a:gd name="connsiteX36" fmla="*/ 960215 w 986123"/>
                <a:gd name="connsiteY36" fmla="*/ 752570 h 1284160"/>
                <a:gd name="connsiteX37" fmla="*/ 986123 w 986123"/>
                <a:gd name="connsiteY37" fmla="*/ 893445 h 1284160"/>
                <a:gd name="connsiteX38" fmla="*/ 986123 w 986123"/>
                <a:gd name="connsiteY38" fmla="*/ 897064 h 1284160"/>
                <a:gd name="connsiteX39" fmla="*/ 952500 w 986123"/>
                <a:gd name="connsiteY39" fmla="*/ 1062038 h 1284160"/>
                <a:gd name="connsiteX40" fmla="*/ 858584 w 986123"/>
                <a:gd name="connsiteY40" fmla="*/ 1183291 h 1284160"/>
                <a:gd name="connsiteX41" fmla="*/ 714851 w 986123"/>
                <a:gd name="connsiteY41" fmla="*/ 1258157 h 1284160"/>
                <a:gd name="connsiteX42" fmla="*/ 529685 w 986123"/>
                <a:gd name="connsiteY42" fmla="*/ 1284065 h 128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6123" h="1284160">
                  <a:moveTo>
                    <a:pt x="529590" y="1284160"/>
                  </a:moveTo>
                  <a:cubicBezTo>
                    <a:pt x="434435" y="1284160"/>
                    <a:pt x="341186" y="1267777"/>
                    <a:pt x="249650" y="1235107"/>
                  </a:cubicBezTo>
                  <a:cubicBezTo>
                    <a:pt x="158115" y="1202436"/>
                    <a:pt x="74867" y="1152239"/>
                    <a:pt x="0" y="1084421"/>
                  </a:cubicBezTo>
                  <a:lnTo>
                    <a:pt x="162306" y="890016"/>
                  </a:lnTo>
                  <a:cubicBezTo>
                    <a:pt x="219361" y="936403"/>
                    <a:pt x="277844" y="973264"/>
                    <a:pt x="337947" y="1000601"/>
                  </a:cubicBezTo>
                  <a:cubicBezTo>
                    <a:pt x="397955" y="1027938"/>
                    <a:pt x="463677" y="1041654"/>
                    <a:pt x="535019" y="1041654"/>
                  </a:cubicBezTo>
                  <a:cubicBezTo>
                    <a:pt x="592074" y="1041654"/>
                    <a:pt x="636365" y="1031272"/>
                    <a:pt x="667893" y="1010412"/>
                  </a:cubicBezTo>
                  <a:cubicBezTo>
                    <a:pt x="699421" y="989647"/>
                    <a:pt x="715137" y="960787"/>
                    <a:pt x="715137" y="923925"/>
                  </a:cubicBezTo>
                  <a:lnTo>
                    <a:pt x="715137" y="920305"/>
                  </a:lnTo>
                  <a:cubicBezTo>
                    <a:pt x="715137" y="902494"/>
                    <a:pt x="711803" y="886777"/>
                    <a:pt x="705326" y="873062"/>
                  </a:cubicBezTo>
                  <a:cubicBezTo>
                    <a:pt x="698754" y="859441"/>
                    <a:pt x="686276" y="846582"/>
                    <a:pt x="667798" y="834676"/>
                  </a:cubicBezTo>
                  <a:cubicBezTo>
                    <a:pt x="649319" y="822770"/>
                    <a:pt x="623697" y="810863"/>
                    <a:pt x="590931" y="798957"/>
                  </a:cubicBezTo>
                  <a:cubicBezTo>
                    <a:pt x="558165" y="787146"/>
                    <a:pt x="515493" y="774573"/>
                    <a:pt x="463106" y="761524"/>
                  </a:cubicBezTo>
                  <a:cubicBezTo>
                    <a:pt x="399955" y="746093"/>
                    <a:pt x="342710" y="728853"/>
                    <a:pt x="291465" y="709803"/>
                  </a:cubicBezTo>
                  <a:cubicBezTo>
                    <a:pt x="240221" y="690753"/>
                    <a:pt x="196691" y="667322"/>
                    <a:pt x="160973" y="639318"/>
                  </a:cubicBezTo>
                  <a:cubicBezTo>
                    <a:pt x="125159" y="611410"/>
                    <a:pt x="97536" y="576644"/>
                    <a:pt x="77819" y="535019"/>
                  </a:cubicBezTo>
                  <a:cubicBezTo>
                    <a:pt x="58103" y="493395"/>
                    <a:pt x="48292" y="441674"/>
                    <a:pt x="48292" y="379857"/>
                  </a:cubicBezTo>
                  <a:lnTo>
                    <a:pt x="48292" y="376238"/>
                  </a:lnTo>
                  <a:cubicBezTo>
                    <a:pt x="48292" y="319183"/>
                    <a:pt x="58865" y="267748"/>
                    <a:pt x="80201" y="222028"/>
                  </a:cubicBezTo>
                  <a:cubicBezTo>
                    <a:pt x="101441" y="176308"/>
                    <a:pt x="131255" y="136779"/>
                    <a:pt x="169640" y="103441"/>
                  </a:cubicBezTo>
                  <a:cubicBezTo>
                    <a:pt x="208026" y="70199"/>
                    <a:pt x="253841" y="44577"/>
                    <a:pt x="307181" y="26765"/>
                  </a:cubicBezTo>
                  <a:cubicBezTo>
                    <a:pt x="360426" y="8953"/>
                    <a:pt x="419195" y="0"/>
                    <a:pt x="483394" y="0"/>
                  </a:cubicBezTo>
                  <a:cubicBezTo>
                    <a:pt x="574929" y="0"/>
                    <a:pt x="659035" y="13716"/>
                    <a:pt x="735711" y="41053"/>
                  </a:cubicBezTo>
                  <a:cubicBezTo>
                    <a:pt x="812387" y="68389"/>
                    <a:pt x="882777" y="107632"/>
                    <a:pt x="946976" y="158687"/>
                  </a:cubicBezTo>
                  <a:lnTo>
                    <a:pt x="804291" y="365569"/>
                  </a:lnTo>
                  <a:cubicBezTo>
                    <a:pt x="748379" y="327565"/>
                    <a:pt x="693706" y="297561"/>
                    <a:pt x="640271" y="275558"/>
                  </a:cubicBezTo>
                  <a:cubicBezTo>
                    <a:pt x="586740" y="253555"/>
                    <a:pt x="533305" y="242602"/>
                    <a:pt x="479774" y="242602"/>
                  </a:cubicBezTo>
                  <a:cubicBezTo>
                    <a:pt x="426244" y="242602"/>
                    <a:pt x="386144" y="252984"/>
                    <a:pt x="359378" y="273844"/>
                  </a:cubicBezTo>
                  <a:cubicBezTo>
                    <a:pt x="332613" y="294608"/>
                    <a:pt x="319278" y="320516"/>
                    <a:pt x="319278" y="351377"/>
                  </a:cubicBezTo>
                  <a:lnTo>
                    <a:pt x="319278" y="354997"/>
                  </a:lnTo>
                  <a:cubicBezTo>
                    <a:pt x="319278" y="375190"/>
                    <a:pt x="323183" y="392716"/>
                    <a:pt x="330899" y="407575"/>
                  </a:cubicBezTo>
                  <a:cubicBezTo>
                    <a:pt x="338614" y="422434"/>
                    <a:pt x="352616" y="435864"/>
                    <a:pt x="372904" y="447675"/>
                  </a:cubicBezTo>
                  <a:cubicBezTo>
                    <a:pt x="393192" y="459581"/>
                    <a:pt x="420910" y="470821"/>
                    <a:pt x="456057" y="481489"/>
                  </a:cubicBezTo>
                  <a:cubicBezTo>
                    <a:pt x="491204" y="492157"/>
                    <a:pt x="535591" y="504730"/>
                    <a:pt x="589217" y="518922"/>
                  </a:cubicBezTo>
                  <a:cubicBezTo>
                    <a:pt x="652367" y="535591"/>
                    <a:pt x="708660" y="554260"/>
                    <a:pt x="758190" y="575120"/>
                  </a:cubicBezTo>
                  <a:cubicBezTo>
                    <a:pt x="807625" y="595979"/>
                    <a:pt x="849344" y="620935"/>
                    <a:pt x="883349" y="649986"/>
                  </a:cubicBezTo>
                  <a:cubicBezTo>
                    <a:pt x="917353" y="679132"/>
                    <a:pt x="942975" y="713327"/>
                    <a:pt x="960215" y="752570"/>
                  </a:cubicBezTo>
                  <a:cubicBezTo>
                    <a:pt x="977456" y="791813"/>
                    <a:pt x="986123" y="838772"/>
                    <a:pt x="986123" y="893445"/>
                  </a:cubicBezTo>
                  <a:lnTo>
                    <a:pt x="986123" y="897064"/>
                  </a:lnTo>
                  <a:cubicBezTo>
                    <a:pt x="986123" y="958882"/>
                    <a:pt x="974884" y="1013841"/>
                    <a:pt x="952500" y="1062038"/>
                  </a:cubicBezTo>
                  <a:cubicBezTo>
                    <a:pt x="930021" y="1110139"/>
                    <a:pt x="898779" y="1150620"/>
                    <a:pt x="858584" y="1183291"/>
                  </a:cubicBezTo>
                  <a:cubicBezTo>
                    <a:pt x="818388" y="1216057"/>
                    <a:pt x="770477" y="1241012"/>
                    <a:pt x="714851" y="1258157"/>
                  </a:cubicBezTo>
                  <a:cubicBezTo>
                    <a:pt x="659130" y="1275398"/>
                    <a:pt x="597503" y="1284065"/>
                    <a:pt x="529685" y="1284065"/>
                  </a:cubicBezTo>
                  <a:close/>
                </a:path>
              </a:pathLst>
            </a:custGeom>
            <a:solidFill>
              <a:srgbClr val="44505E"/>
            </a:solidFill>
            <a:ln w="9525" cap="flat">
              <a:noFill/>
              <a:prstDash val="solid"/>
              <a:miter/>
            </a:ln>
          </p:spPr>
          <p:txBody>
            <a:bodyPr rtlCol="0" anchor="ctr"/>
            <a:lstStyle/>
            <a:p>
              <a:endParaRPr lang="pt-BR" noProof="0"/>
            </a:p>
          </p:txBody>
        </p:sp>
        <p:sp>
          <p:nvSpPr>
            <p:cNvPr id="17" name="Freeform: Shape 16">
              <a:extLst>
                <a:ext uri="{FF2B5EF4-FFF2-40B4-BE49-F238E27FC236}">
                  <a16:creationId xmlns:a16="http://schemas.microsoft.com/office/drawing/2014/main" id="{9555D73F-8350-8DD9-93E6-8BA903CDBB0A}"/>
                </a:ext>
              </a:extLst>
            </p:cNvPr>
            <p:cNvSpPr/>
            <p:nvPr/>
          </p:nvSpPr>
          <p:spPr>
            <a:xfrm>
              <a:off x="5492084" y="310867"/>
              <a:ext cx="332584" cy="315991"/>
            </a:xfrm>
            <a:custGeom>
              <a:avLst/>
              <a:gdLst>
                <a:gd name="connsiteX0" fmla="*/ 534924 w 1323022"/>
                <a:gd name="connsiteY0" fmla="*/ 0 h 1257014"/>
                <a:gd name="connsiteX1" fmla="*/ 788099 w 1323022"/>
                <a:gd name="connsiteY1" fmla="*/ 0 h 1257014"/>
                <a:gd name="connsiteX2" fmla="*/ 1323023 w 1323022"/>
                <a:gd name="connsiteY2" fmla="*/ 1257014 h 1257014"/>
                <a:gd name="connsiteX3" fmla="*/ 1035939 w 1323022"/>
                <a:gd name="connsiteY3" fmla="*/ 1257014 h 1257014"/>
                <a:gd name="connsiteX4" fmla="*/ 921829 w 1323022"/>
                <a:gd name="connsiteY4" fmla="*/ 977075 h 1257014"/>
                <a:gd name="connsiteX5" fmla="*/ 394049 w 1323022"/>
                <a:gd name="connsiteY5" fmla="*/ 977075 h 1257014"/>
                <a:gd name="connsiteX6" fmla="*/ 279940 w 1323022"/>
                <a:gd name="connsiteY6" fmla="*/ 1257014 h 1257014"/>
                <a:gd name="connsiteX7" fmla="*/ 0 w 1323022"/>
                <a:gd name="connsiteY7" fmla="*/ 1257014 h 1257014"/>
                <a:gd name="connsiteX8" fmla="*/ 534924 w 1323022"/>
                <a:gd name="connsiteY8" fmla="*/ 0 h 1257014"/>
                <a:gd name="connsiteX9" fmla="*/ 823817 w 1323022"/>
                <a:gd name="connsiteY9" fmla="*/ 734568 h 1257014"/>
                <a:gd name="connsiteX10" fmla="*/ 657987 w 1323022"/>
                <a:gd name="connsiteY10" fmla="*/ 329851 h 1257014"/>
                <a:gd name="connsiteX11" fmla="*/ 492157 w 1323022"/>
                <a:gd name="connsiteY11" fmla="*/ 734568 h 1257014"/>
                <a:gd name="connsiteX12" fmla="*/ 823817 w 1323022"/>
                <a:gd name="connsiteY12" fmla="*/ 734568 h 125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022" h="1257014">
                  <a:moveTo>
                    <a:pt x="534924" y="0"/>
                  </a:moveTo>
                  <a:lnTo>
                    <a:pt x="788099" y="0"/>
                  </a:lnTo>
                  <a:lnTo>
                    <a:pt x="1323023" y="1257014"/>
                  </a:lnTo>
                  <a:lnTo>
                    <a:pt x="1035939" y="1257014"/>
                  </a:lnTo>
                  <a:lnTo>
                    <a:pt x="921829" y="977075"/>
                  </a:lnTo>
                  <a:lnTo>
                    <a:pt x="394049" y="977075"/>
                  </a:lnTo>
                  <a:lnTo>
                    <a:pt x="279940" y="1257014"/>
                  </a:lnTo>
                  <a:lnTo>
                    <a:pt x="0" y="1257014"/>
                  </a:lnTo>
                  <a:lnTo>
                    <a:pt x="534924" y="0"/>
                  </a:lnTo>
                  <a:close/>
                  <a:moveTo>
                    <a:pt x="823817" y="734568"/>
                  </a:moveTo>
                  <a:lnTo>
                    <a:pt x="657987" y="329851"/>
                  </a:lnTo>
                  <a:lnTo>
                    <a:pt x="492157" y="734568"/>
                  </a:lnTo>
                  <a:lnTo>
                    <a:pt x="823817" y="734568"/>
                  </a:lnTo>
                  <a:close/>
                </a:path>
              </a:pathLst>
            </a:custGeom>
            <a:solidFill>
              <a:srgbClr val="44505E"/>
            </a:solidFill>
            <a:ln w="9525" cap="flat">
              <a:noFill/>
              <a:prstDash val="solid"/>
              <a:miter/>
            </a:ln>
          </p:spPr>
          <p:txBody>
            <a:bodyPr rtlCol="0" anchor="ctr"/>
            <a:lstStyle/>
            <a:p>
              <a:endParaRPr lang="pt-BR" noProof="0"/>
            </a:p>
          </p:txBody>
        </p:sp>
        <p:sp>
          <p:nvSpPr>
            <p:cNvPr id="18" name="Freeform: Shape 17">
              <a:extLst>
                <a:ext uri="{FF2B5EF4-FFF2-40B4-BE49-F238E27FC236}">
                  <a16:creationId xmlns:a16="http://schemas.microsoft.com/office/drawing/2014/main" id="{AA344983-50AC-6F45-0953-F8C82942790F}"/>
                </a:ext>
              </a:extLst>
            </p:cNvPr>
            <p:cNvSpPr/>
            <p:nvPr/>
          </p:nvSpPr>
          <p:spPr>
            <a:xfrm>
              <a:off x="5834078" y="211355"/>
              <a:ext cx="273442" cy="420435"/>
            </a:xfrm>
            <a:custGeom>
              <a:avLst/>
              <a:gdLst>
                <a:gd name="connsiteX0" fmla="*/ 540258 w 1087754"/>
                <a:gd name="connsiteY0" fmla="*/ 1672495 h 1672494"/>
                <a:gd name="connsiteX1" fmla="*/ 144399 w 1087754"/>
                <a:gd name="connsiteY1" fmla="*/ 1533430 h 1672494"/>
                <a:gd name="connsiteX2" fmla="*/ 0 w 1087754"/>
                <a:gd name="connsiteY2" fmla="*/ 1117949 h 1672494"/>
                <a:gd name="connsiteX3" fmla="*/ 0 w 1087754"/>
                <a:gd name="connsiteY3" fmla="*/ 404717 h 1672494"/>
                <a:gd name="connsiteX4" fmla="*/ 274606 w 1087754"/>
                <a:gd name="connsiteY4" fmla="*/ 404717 h 1672494"/>
                <a:gd name="connsiteX5" fmla="*/ 274606 w 1087754"/>
                <a:gd name="connsiteY5" fmla="*/ 1110806 h 1672494"/>
                <a:gd name="connsiteX6" fmla="*/ 345948 w 1087754"/>
                <a:gd name="connsiteY6" fmla="*/ 1341692 h 1672494"/>
                <a:gd name="connsiteX7" fmla="*/ 543877 w 1087754"/>
                <a:gd name="connsiteY7" fmla="*/ 1419225 h 1672494"/>
                <a:gd name="connsiteX8" fmla="*/ 741807 w 1087754"/>
                <a:gd name="connsiteY8" fmla="*/ 1344359 h 1672494"/>
                <a:gd name="connsiteX9" fmla="*/ 813149 w 1087754"/>
                <a:gd name="connsiteY9" fmla="*/ 1119664 h 1672494"/>
                <a:gd name="connsiteX10" fmla="*/ 813149 w 1087754"/>
                <a:gd name="connsiteY10" fmla="*/ 404717 h 1672494"/>
                <a:gd name="connsiteX11" fmla="*/ 1087755 w 1087754"/>
                <a:gd name="connsiteY11" fmla="*/ 404717 h 1672494"/>
                <a:gd name="connsiteX12" fmla="*/ 1087755 w 1087754"/>
                <a:gd name="connsiteY12" fmla="*/ 1108996 h 1672494"/>
                <a:gd name="connsiteX13" fmla="*/ 1049369 w 1087754"/>
                <a:gd name="connsiteY13" fmla="*/ 1356836 h 1672494"/>
                <a:gd name="connsiteX14" fmla="*/ 939737 w 1087754"/>
                <a:gd name="connsiteY14" fmla="*/ 1532477 h 1672494"/>
                <a:gd name="connsiteX15" fmla="*/ 766763 w 1087754"/>
                <a:gd name="connsiteY15" fmla="*/ 1637729 h 1672494"/>
                <a:gd name="connsiteX16" fmla="*/ 540353 w 1087754"/>
                <a:gd name="connsiteY16" fmla="*/ 1672495 h 1672494"/>
                <a:gd name="connsiteX17" fmla="*/ 622268 w 1087754"/>
                <a:gd name="connsiteY17" fmla="*/ 0 h 1672494"/>
                <a:gd name="connsiteX18" fmla="*/ 855821 w 1087754"/>
                <a:gd name="connsiteY18" fmla="*/ 101632 h 1672494"/>
                <a:gd name="connsiteX19" fmla="*/ 627602 w 1087754"/>
                <a:gd name="connsiteY19" fmla="*/ 315563 h 1672494"/>
                <a:gd name="connsiteX20" fmla="*/ 420719 w 1087754"/>
                <a:gd name="connsiteY20" fmla="*/ 315563 h 1672494"/>
                <a:gd name="connsiteX21" fmla="*/ 622268 w 1087754"/>
                <a:gd name="connsiteY21" fmla="*/ 0 h 16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754" h="1672494">
                  <a:moveTo>
                    <a:pt x="540258" y="1672495"/>
                  </a:moveTo>
                  <a:cubicBezTo>
                    <a:pt x="372618" y="1672495"/>
                    <a:pt x="240697" y="1626108"/>
                    <a:pt x="144399" y="1533430"/>
                  </a:cubicBezTo>
                  <a:cubicBezTo>
                    <a:pt x="48101" y="1440752"/>
                    <a:pt x="0" y="1302258"/>
                    <a:pt x="0" y="1117949"/>
                  </a:cubicBezTo>
                  <a:lnTo>
                    <a:pt x="0" y="404717"/>
                  </a:lnTo>
                  <a:lnTo>
                    <a:pt x="274606" y="404717"/>
                  </a:lnTo>
                  <a:lnTo>
                    <a:pt x="274606" y="1110806"/>
                  </a:lnTo>
                  <a:cubicBezTo>
                    <a:pt x="274606" y="1213009"/>
                    <a:pt x="298418" y="1289971"/>
                    <a:pt x="345948" y="1341692"/>
                  </a:cubicBezTo>
                  <a:cubicBezTo>
                    <a:pt x="393478" y="1393412"/>
                    <a:pt x="459486" y="1419225"/>
                    <a:pt x="543877" y="1419225"/>
                  </a:cubicBezTo>
                  <a:cubicBezTo>
                    <a:pt x="628269" y="1419225"/>
                    <a:pt x="694277" y="1394270"/>
                    <a:pt x="741807" y="1344359"/>
                  </a:cubicBezTo>
                  <a:cubicBezTo>
                    <a:pt x="789337" y="1294448"/>
                    <a:pt x="813149" y="1219581"/>
                    <a:pt x="813149" y="1119664"/>
                  </a:cubicBezTo>
                  <a:lnTo>
                    <a:pt x="813149" y="404717"/>
                  </a:lnTo>
                  <a:lnTo>
                    <a:pt x="1087755" y="404717"/>
                  </a:lnTo>
                  <a:lnTo>
                    <a:pt x="1087755" y="1108996"/>
                  </a:lnTo>
                  <a:cubicBezTo>
                    <a:pt x="1087755" y="1204151"/>
                    <a:pt x="1074992" y="1286732"/>
                    <a:pt x="1049369" y="1356836"/>
                  </a:cubicBezTo>
                  <a:cubicBezTo>
                    <a:pt x="1023747" y="1426940"/>
                    <a:pt x="987266" y="1485519"/>
                    <a:pt x="939737" y="1532477"/>
                  </a:cubicBezTo>
                  <a:cubicBezTo>
                    <a:pt x="892207" y="1579436"/>
                    <a:pt x="834485" y="1614488"/>
                    <a:pt x="766763" y="1637729"/>
                  </a:cubicBezTo>
                  <a:cubicBezTo>
                    <a:pt x="699040" y="1660874"/>
                    <a:pt x="623507" y="1672495"/>
                    <a:pt x="540353" y="1672495"/>
                  </a:cubicBezTo>
                  <a:close/>
                  <a:moveTo>
                    <a:pt x="622268" y="0"/>
                  </a:moveTo>
                  <a:lnTo>
                    <a:pt x="855821" y="101632"/>
                  </a:lnTo>
                  <a:lnTo>
                    <a:pt x="627602" y="315563"/>
                  </a:lnTo>
                  <a:lnTo>
                    <a:pt x="420719" y="315563"/>
                  </a:lnTo>
                  <a:lnTo>
                    <a:pt x="622268" y="0"/>
                  </a:lnTo>
                  <a:close/>
                </a:path>
              </a:pathLst>
            </a:custGeom>
            <a:solidFill>
              <a:srgbClr val="44505E"/>
            </a:solidFill>
            <a:ln w="9525" cap="flat">
              <a:noFill/>
              <a:prstDash val="solid"/>
              <a:miter/>
            </a:ln>
          </p:spPr>
          <p:txBody>
            <a:bodyPr rtlCol="0" anchor="ctr"/>
            <a:lstStyle/>
            <a:p>
              <a:endParaRPr lang="pt-BR" noProof="0"/>
            </a:p>
          </p:txBody>
        </p:sp>
        <p:sp>
          <p:nvSpPr>
            <p:cNvPr id="19" name="Freeform: Shape 18">
              <a:extLst>
                <a:ext uri="{FF2B5EF4-FFF2-40B4-BE49-F238E27FC236}">
                  <a16:creationId xmlns:a16="http://schemas.microsoft.com/office/drawing/2014/main" id="{723EEEA2-BFCD-9213-7FC3-8DC806E18439}"/>
                </a:ext>
              </a:extLst>
            </p:cNvPr>
            <p:cNvSpPr/>
            <p:nvPr/>
          </p:nvSpPr>
          <p:spPr>
            <a:xfrm>
              <a:off x="6143795" y="313094"/>
              <a:ext cx="289101" cy="313764"/>
            </a:xfrm>
            <a:custGeom>
              <a:avLst/>
              <a:gdLst>
                <a:gd name="connsiteX0" fmla="*/ 0 w 1150048"/>
                <a:gd name="connsiteY0" fmla="*/ 0 h 1248155"/>
                <a:gd name="connsiteX1" fmla="*/ 486728 w 1150048"/>
                <a:gd name="connsiteY1" fmla="*/ 0 h 1248155"/>
                <a:gd name="connsiteX2" fmla="*/ 755047 w 1150048"/>
                <a:gd name="connsiteY2" fmla="*/ 47244 h 1248155"/>
                <a:gd name="connsiteX3" fmla="*/ 965454 w 1150048"/>
                <a:gd name="connsiteY3" fmla="*/ 178308 h 1248155"/>
                <a:gd name="connsiteX4" fmla="*/ 1101852 w 1150048"/>
                <a:gd name="connsiteY4" fmla="*/ 375380 h 1248155"/>
                <a:gd name="connsiteX5" fmla="*/ 1150049 w 1150048"/>
                <a:gd name="connsiteY5" fmla="*/ 620554 h 1248155"/>
                <a:gd name="connsiteX6" fmla="*/ 1150049 w 1150048"/>
                <a:gd name="connsiteY6" fmla="*/ 624173 h 1248155"/>
                <a:gd name="connsiteX7" fmla="*/ 1101852 w 1150048"/>
                <a:gd name="connsiteY7" fmla="*/ 870204 h 1248155"/>
                <a:gd name="connsiteX8" fmla="*/ 965454 w 1150048"/>
                <a:gd name="connsiteY8" fmla="*/ 1068134 h 1248155"/>
                <a:gd name="connsiteX9" fmla="*/ 755047 w 1150048"/>
                <a:gd name="connsiteY9" fmla="*/ 1200055 h 1248155"/>
                <a:gd name="connsiteX10" fmla="*/ 486728 w 1150048"/>
                <a:gd name="connsiteY10" fmla="*/ 1248156 h 1248155"/>
                <a:gd name="connsiteX11" fmla="*/ 0 w 1150048"/>
                <a:gd name="connsiteY11" fmla="*/ 1248156 h 1248155"/>
                <a:gd name="connsiteX12" fmla="*/ 0 w 1150048"/>
                <a:gd name="connsiteY12" fmla="*/ 0 h 1248155"/>
                <a:gd name="connsiteX13" fmla="*/ 486728 w 1150048"/>
                <a:gd name="connsiteY13" fmla="*/ 1000315 h 1248155"/>
                <a:gd name="connsiteX14" fmla="*/ 640080 w 1150048"/>
                <a:gd name="connsiteY14" fmla="*/ 973550 h 1248155"/>
                <a:gd name="connsiteX15" fmla="*/ 758667 w 1150048"/>
                <a:gd name="connsiteY15" fmla="*/ 896874 h 1248155"/>
                <a:gd name="connsiteX16" fmla="*/ 835343 w 1150048"/>
                <a:gd name="connsiteY16" fmla="*/ 779240 h 1248155"/>
                <a:gd name="connsiteX17" fmla="*/ 862965 w 1150048"/>
                <a:gd name="connsiteY17" fmla="*/ 627698 h 1248155"/>
                <a:gd name="connsiteX18" fmla="*/ 862965 w 1150048"/>
                <a:gd name="connsiteY18" fmla="*/ 624078 h 1248155"/>
                <a:gd name="connsiteX19" fmla="*/ 835343 w 1150048"/>
                <a:gd name="connsiteY19" fmla="*/ 472535 h 1248155"/>
                <a:gd name="connsiteX20" fmla="*/ 758667 w 1150048"/>
                <a:gd name="connsiteY20" fmla="*/ 353092 h 1248155"/>
                <a:gd name="connsiteX21" fmla="*/ 640080 w 1150048"/>
                <a:gd name="connsiteY21" fmla="*/ 275558 h 1248155"/>
                <a:gd name="connsiteX22" fmla="*/ 486728 w 1150048"/>
                <a:gd name="connsiteY22" fmla="*/ 247936 h 1248155"/>
                <a:gd name="connsiteX23" fmla="*/ 274511 w 1150048"/>
                <a:gd name="connsiteY23" fmla="*/ 247936 h 1248155"/>
                <a:gd name="connsiteX24" fmla="*/ 274511 w 1150048"/>
                <a:gd name="connsiteY24" fmla="*/ 1000411 h 1248155"/>
                <a:gd name="connsiteX25" fmla="*/ 486728 w 1150048"/>
                <a:gd name="connsiteY25" fmla="*/ 1000411 h 124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50048" h="1248155">
                  <a:moveTo>
                    <a:pt x="0" y="0"/>
                  </a:moveTo>
                  <a:lnTo>
                    <a:pt x="486728" y="0"/>
                  </a:lnTo>
                  <a:cubicBezTo>
                    <a:pt x="584168" y="0"/>
                    <a:pt x="673608" y="15811"/>
                    <a:pt x="755047" y="47244"/>
                  </a:cubicBezTo>
                  <a:cubicBezTo>
                    <a:pt x="836486" y="78772"/>
                    <a:pt x="906590" y="122396"/>
                    <a:pt x="965454" y="178308"/>
                  </a:cubicBezTo>
                  <a:cubicBezTo>
                    <a:pt x="1024319" y="234220"/>
                    <a:pt x="1069753" y="299847"/>
                    <a:pt x="1101852" y="375380"/>
                  </a:cubicBezTo>
                  <a:cubicBezTo>
                    <a:pt x="1133951" y="450914"/>
                    <a:pt x="1150049" y="532543"/>
                    <a:pt x="1150049" y="620554"/>
                  </a:cubicBezTo>
                  <a:lnTo>
                    <a:pt x="1150049" y="624173"/>
                  </a:lnTo>
                  <a:cubicBezTo>
                    <a:pt x="1150049" y="712184"/>
                    <a:pt x="1133951" y="794195"/>
                    <a:pt x="1101852" y="870204"/>
                  </a:cubicBezTo>
                  <a:cubicBezTo>
                    <a:pt x="1069753" y="946309"/>
                    <a:pt x="1024319" y="1012222"/>
                    <a:pt x="965454" y="1068134"/>
                  </a:cubicBezTo>
                  <a:cubicBezTo>
                    <a:pt x="906590" y="1124045"/>
                    <a:pt x="836486" y="1167956"/>
                    <a:pt x="755047" y="1200055"/>
                  </a:cubicBezTo>
                  <a:cubicBezTo>
                    <a:pt x="673608" y="1232154"/>
                    <a:pt x="584168" y="1248156"/>
                    <a:pt x="486728" y="1248156"/>
                  </a:cubicBezTo>
                  <a:lnTo>
                    <a:pt x="0" y="1248156"/>
                  </a:lnTo>
                  <a:lnTo>
                    <a:pt x="0" y="0"/>
                  </a:lnTo>
                  <a:close/>
                  <a:moveTo>
                    <a:pt x="486728" y="1000315"/>
                  </a:moveTo>
                  <a:cubicBezTo>
                    <a:pt x="542639" y="1000315"/>
                    <a:pt x="593693" y="991457"/>
                    <a:pt x="640080" y="973550"/>
                  </a:cubicBezTo>
                  <a:cubicBezTo>
                    <a:pt x="686467" y="955739"/>
                    <a:pt x="725900" y="930211"/>
                    <a:pt x="758667" y="896874"/>
                  </a:cubicBezTo>
                  <a:cubicBezTo>
                    <a:pt x="791337" y="863632"/>
                    <a:pt x="816864" y="824389"/>
                    <a:pt x="835343" y="779240"/>
                  </a:cubicBezTo>
                  <a:cubicBezTo>
                    <a:pt x="853726" y="734092"/>
                    <a:pt x="862965" y="683609"/>
                    <a:pt x="862965" y="627698"/>
                  </a:cubicBezTo>
                  <a:lnTo>
                    <a:pt x="862965" y="624078"/>
                  </a:lnTo>
                  <a:cubicBezTo>
                    <a:pt x="862965" y="569404"/>
                    <a:pt x="853726" y="518827"/>
                    <a:pt x="835343" y="472535"/>
                  </a:cubicBezTo>
                  <a:cubicBezTo>
                    <a:pt x="816864" y="426149"/>
                    <a:pt x="791337" y="386334"/>
                    <a:pt x="758667" y="353092"/>
                  </a:cubicBezTo>
                  <a:cubicBezTo>
                    <a:pt x="725996" y="319849"/>
                    <a:pt x="686467" y="293941"/>
                    <a:pt x="640080" y="275558"/>
                  </a:cubicBezTo>
                  <a:cubicBezTo>
                    <a:pt x="593693" y="257175"/>
                    <a:pt x="542639" y="247936"/>
                    <a:pt x="486728" y="247936"/>
                  </a:cubicBezTo>
                  <a:lnTo>
                    <a:pt x="274511" y="247936"/>
                  </a:lnTo>
                  <a:lnTo>
                    <a:pt x="274511" y="1000411"/>
                  </a:lnTo>
                  <a:lnTo>
                    <a:pt x="486728" y="1000411"/>
                  </a:lnTo>
                  <a:close/>
                </a:path>
              </a:pathLst>
            </a:custGeom>
            <a:solidFill>
              <a:srgbClr val="44505E"/>
            </a:solidFill>
            <a:ln w="9525" cap="flat">
              <a:noFill/>
              <a:prstDash val="solid"/>
              <a:miter/>
            </a:ln>
          </p:spPr>
          <p:txBody>
            <a:bodyPr rtlCol="0" anchor="ctr"/>
            <a:lstStyle/>
            <a:p>
              <a:endParaRPr lang="pt-BR" noProof="0"/>
            </a:p>
          </p:txBody>
        </p:sp>
        <p:sp>
          <p:nvSpPr>
            <p:cNvPr id="20" name="Freeform: Shape 19">
              <a:extLst>
                <a:ext uri="{FF2B5EF4-FFF2-40B4-BE49-F238E27FC236}">
                  <a16:creationId xmlns:a16="http://schemas.microsoft.com/office/drawing/2014/main" id="{D73F46A7-9304-DC17-6480-BFE1C33292C1}"/>
                </a:ext>
              </a:extLst>
            </p:cNvPr>
            <p:cNvSpPr/>
            <p:nvPr/>
          </p:nvSpPr>
          <p:spPr>
            <a:xfrm>
              <a:off x="6460217" y="313094"/>
              <a:ext cx="238459" cy="313788"/>
            </a:xfrm>
            <a:custGeom>
              <a:avLst/>
              <a:gdLst>
                <a:gd name="connsiteX0" fmla="*/ 95 w 948594"/>
                <a:gd name="connsiteY0" fmla="*/ 0 h 1248251"/>
                <a:gd name="connsiteX1" fmla="*/ 939737 w 948594"/>
                <a:gd name="connsiteY1" fmla="*/ 0 h 1248251"/>
                <a:gd name="connsiteX2" fmla="*/ 939737 w 948594"/>
                <a:gd name="connsiteY2" fmla="*/ 244316 h 1248251"/>
                <a:gd name="connsiteX3" fmla="*/ 271081 w 948594"/>
                <a:gd name="connsiteY3" fmla="*/ 244316 h 1248251"/>
                <a:gd name="connsiteX4" fmla="*/ 271081 w 948594"/>
                <a:gd name="connsiteY4" fmla="*/ 497491 h 1248251"/>
                <a:gd name="connsiteX5" fmla="*/ 859441 w 948594"/>
                <a:gd name="connsiteY5" fmla="*/ 497491 h 1248251"/>
                <a:gd name="connsiteX6" fmla="*/ 859441 w 948594"/>
                <a:gd name="connsiteY6" fmla="*/ 741807 h 1248251"/>
                <a:gd name="connsiteX7" fmla="*/ 271081 w 948594"/>
                <a:gd name="connsiteY7" fmla="*/ 741807 h 1248251"/>
                <a:gd name="connsiteX8" fmla="*/ 271081 w 948594"/>
                <a:gd name="connsiteY8" fmla="*/ 1003935 h 1248251"/>
                <a:gd name="connsiteX9" fmla="*/ 948595 w 948594"/>
                <a:gd name="connsiteY9" fmla="*/ 1003935 h 1248251"/>
                <a:gd name="connsiteX10" fmla="*/ 948595 w 948594"/>
                <a:gd name="connsiteY10" fmla="*/ 1248251 h 1248251"/>
                <a:gd name="connsiteX11" fmla="*/ 0 w 948594"/>
                <a:gd name="connsiteY11" fmla="*/ 1248251 h 1248251"/>
                <a:gd name="connsiteX12" fmla="*/ 0 w 948594"/>
                <a:gd name="connsiteY12" fmla="*/ 0 h 124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594" h="1248251">
                  <a:moveTo>
                    <a:pt x="95" y="0"/>
                  </a:moveTo>
                  <a:lnTo>
                    <a:pt x="939737" y="0"/>
                  </a:lnTo>
                  <a:lnTo>
                    <a:pt x="939737" y="244316"/>
                  </a:lnTo>
                  <a:lnTo>
                    <a:pt x="271081" y="244316"/>
                  </a:lnTo>
                  <a:lnTo>
                    <a:pt x="271081" y="497491"/>
                  </a:lnTo>
                  <a:lnTo>
                    <a:pt x="859441" y="497491"/>
                  </a:lnTo>
                  <a:lnTo>
                    <a:pt x="859441" y="741807"/>
                  </a:lnTo>
                  <a:lnTo>
                    <a:pt x="271081" y="741807"/>
                  </a:lnTo>
                  <a:lnTo>
                    <a:pt x="271081" y="1003935"/>
                  </a:lnTo>
                  <a:lnTo>
                    <a:pt x="948595" y="1003935"/>
                  </a:lnTo>
                  <a:lnTo>
                    <a:pt x="948595" y="1248251"/>
                  </a:lnTo>
                  <a:lnTo>
                    <a:pt x="0" y="1248251"/>
                  </a:lnTo>
                  <a:lnTo>
                    <a:pt x="0" y="0"/>
                  </a:lnTo>
                  <a:close/>
                </a:path>
              </a:pathLst>
            </a:custGeom>
            <a:solidFill>
              <a:srgbClr val="44505E"/>
            </a:solidFill>
            <a:ln w="9525" cap="flat">
              <a:noFill/>
              <a:prstDash val="solid"/>
              <a:miter/>
            </a:ln>
          </p:spPr>
          <p:txBody>
            <a:bodyPr rtlCol="0" anchor="ctr"/>
            <a:lstStyle/>
            <a:p>
              <a:endParaRPr lang="pt-BR" noProof="0"/>
            </a:p>
          </p:txBody>
        </p:sp>
        <p:sp>
          <p:nvSpPr>
            <p:cNvPr id="21" name="Freeform: Shape 20">
              <a:extLst>
                <a:ext uri="{FF2B5EF4-FFF2-40B4-BE49-F238E27FC236}">
                  <a16:creationId xmlns:a16="http://schemas.microsoft.com/office/drawing/2014/main" id="{6946F625-1B5F-A385-E870-BB7AEEEDF5A5}"/>
                </a:ext>
              </a:extLst>
            </p:cNvPr>
            <p:cNvSpPr/>
            <p:nvPr/>
          </p:nvSpPr>
          <p:spPr>
            <a:xfrm>
              <a:off x="5253193" y="699983"/>
              <a:ext cx="90796" cy="97883"/>
            </a:xfrm>
            <a:custGeom>
              <a:avLst/>
              <a:gdLst>
                <a:gd name="connsiteX0" fmla="*/ 191548 w 361187"/>
                <a:gd name="connsiteY0" fmla="*/ 389382 h 389381"/>
                <a:gd name="connsiteX1" fmla="*/ 116300 w 361187"/>
                <a:gd name="connsiteY1" fmla="*/ 375285 h 389381"/>
                <a:gd name="connsiteX2" fmla="*/ 55531 w 361187"/>
                <a:gd name="connsiteY2" fmla="*/ 335756 h 389381"/>
                <a:gd name="connsiteX3" fmla="*/ 14859 w 361187"/>
                <a:gd name="connsiteY3" fmla="*/ 274606 h 389381"/>
                <a:gd name="connsiteX4" fmla="*/ 0 w 361187"/>
                <a:gd name="connsiteY4" fmla="*/ 195834 h 389381"/>
                <a:gd name="connsiteX5" fmla="*/ 0 w 361187"/>
                <a:gd name="connsiteY5" fmla="*/ 194405 h 389381"/>
                <a:gd name="connsiteX6" fmla="*/ 13430 w 361187"/>
                <a:gd name="connsiteY6" fmla="*/ 118777 h 389381"/>
                <a:gd name="connsiteX7" fmla="*/ 51245 w 361187"/>
                <a:gd name="connsiteY7" fmla="*/ 56959 h 389381"/>
                <a:gd name="connsiteX8" fmla="*/ 108871 w 361187"/>
                <a:gd name="connsiteY8" fmla="*/ 15240 h 389381"/>
                <a:gd name="connsiteX9" fmla="*/ 182404 w 361187"/>
                <a:gd name="connsiteY9" fmla="*/ 0 h 389381"/>
                <a:gd name="connsiteX10" fmla="*/ 260509 w 361187"/>
                <a:gd name="connsiteY10" fmla="*/ 16288 h 389381"/>
                <a:gd name="connsiteX11" fmla="*/ 316325 w 361187"/>
                <a:gd name="connsiteY11" fmla="*/ 60103 h 389381"/>
                <a:gd name="connsiteX12" fmla="*/ 349853 w 361187"/>
                <a:gd name="connsiteY12" fmla="*/ 124015 h 389381"/>
                <a:gd name="connsiteX13" fmla="*/ 361188 w 361187"/>
                <a:gd name="connsiteY13" fmla="*/ 200692 h 389381"/>
                <a:gd name="connsiteX14" fmla="*/ 360807 w 361187"/>
                <a:gd name="connsiteY14" fmla="*/ 212312 h 389381"/>
                <a:gd name="connsiteX15" fmla="*/ 359759 w 361187"/>
                <a:gd name="connsiteY15" fmla="*/ 224695 h 389381"/>
                <a:gd name="connsiteX16" fmla="*/ 85534 w 361187"/>
                <a:gd name="connsiteY16" fmla="*/ 224695 h 389381"/>
                <a:gd name="connsiteX17" fmla="*/ 121920 w 361187"/>
                <a:gd name="connsiteY17" fmla="*/ 294989 h 389381"/>
                <a:gd name="connsiteX18" fmla="*/ 192977 w 361187"/>
                <a:gd name="connsiteY18" fmla="*/ 319373 h 389381"/>
                <a:gd name="connsiteX19" fmla="*/ 248126 w 361187"/>
                <a:gd name="connsiteY19" fmla="*/ 308038 h 389381"/>
                <a:gd name="connsiteX20" fmla="*/ 294037 w 361187"/>
                <a:gd name="connsiteY20" fmla="*/ 274796 h 389381"/>
                <a:gd name="connsiteX21" fmla="*/ 344234 w 361187"/>
                <a:gd name="connsiteY21" fmla="*/ 319278 h 389381"/>
                <a:gd name="connsiteX22" fmla="*/ 280226 w 361187"/>
                <a:gd name="connsiteY22" fmla="*/ 370141 h 389381"/>
                <a:gd name="connsiteX23" fmla="*/ 191548 w 361187"/>
                <a:gd name="connsiteY23" fmla="*/ 389191 h 389381"/>
                <a:gd name="connsiteX24" fmla="*/ 276320 w 361187"/>
                <a:gd name="connsiteY24" fmla="*/ 168211 h 389381"/>
                <a:gd name="connsiteX25" fmla="*/ 267176 w 361187"/>
                <a:gd name="connsiteY25" fmla="*/ 129730 h 389381"/>
                <a:gd name="connsiteX26" fmla="*/ 248126 w 361187"/>
                <a:gd name="connsiteY26" fmla="*/ 98679 h 389381"/>
                <a:gd name="connsiteX27" fmla="*/ 219551 w 361187"/>
                <a:gd name="connsiteY27" fmla="*/ 77819 h 389381"/>
                <a:gd name="connsiteX28" fmla="*/ 181737 w 361187"/>
                <a:gd name="connsiteY28" fmla="*/ 70009 h 389381"/>
                <a:gd name="connsiteX29" fmla="*/ 116396 w 361187"/>
                <a:gd name="connsiteY29" fmla="*/ 97250 h 389381"/>
                <a:gd name="connsiteX30" fmla="*/ 84963 w 361187"/>
                <a:gd name="connsiteY30" fmla="*/ 168307 h 389381"/>
                <a:gd name="connsiteX31" fmla="*/ 276511 w 361187"/>
                <a:gd name="connsiteY31" fmla="*/ 168307 h 38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187" h="389381">
                  <a:moveTo>
                    <a:pt x="191548" y="389382"/>
                  </a:moveTo>
                  <a:cubicBezTo>
                    <a:pt x="164687" y="389382"/>
                    <a:pt x="139637" y="384715"/>
                    <a:pt x="116300" y="375285"/>
                  </a:cubicBezTo>
                  <a:cubicBezTo>
                    <a:pt x="92964" y="365855"/>
                    <a:pt x="72771" y="352711"/>
                    <a:pt x="55531" y="335756"/>
                  </a:cubicBezTo>
                  <a:cubicBezTo>
                    <a:pt x="38291" y="318802"/>
                    <a:pt x="24765" y="298418"/>
                    <a:pt x="14859" y="274606"/>
                  </a:cubicBezTo>
                  <a:cubicBezTo>
                    <a:pt x="4953" y="250793"/>
                    <a:pt x="0" y="224599"/>
                    <a:pt x="0" y="195834"/>
                  </a:cubicBezTo>
                  <a:lnTo>
                    <a:pt x="0" y="194405"/>
                  </a:lnTo>
                  <a:cubicBezTo>
                    <a:pt x="0" y="167545"/>
                    <a:pt x="4477" y="142399"/>
                    <a:pt x="13430" y="118777"/>
                  </a:cubicBezTo>
                  <a:cubicBezTo>
                    <a:pt x="22384" y="95250"/>
                    <a:pt x="34957" y="74581"/>
                    <a:pt x="51245" y="56959"/>
                  </a:cubicBezTo>
                  <a:cubicBezTo>
                    <a:pt x="67532" y="39338"/>
                    <a:pt x="86677" y="25432"/>
                    <a:pt x="108871" y="15240"/>
                  </a:cubicBezTo>
                  <a:cubicBezTo>
                    <a:pt x="131064" y="5143"/>
                    <a:pt x="155543" y="0"/>
                    <a:pt x="182404" y="0"/>
                  </a:cubicBezTo>
                  <a:cubicBezTo>
                    <a:pt x="212122" y="0"/>
                    <a:pt x="238125" y="5429"/>
                    <a:pt x="260509" y="16288"/>
                  </a:cubicBezTo>
                  <a:cubicBezTo>
                    <a:pt x="282893" y="27146"/>
                    <a:pt x="301466" y="41719"/>
                    <a:pt x="316325" y="60103"/>
                  </a:cubicBezTo>
                  <a:cubicBezTo>
                    <a:pt x="331184" y="78486"/>
                    <a:pt x="342329" y="99822"/>
                    <a:pt x="349853" y="124015"/>
                  </a:cubicBezTo>
                  <a:cubicBezTo>
                    <a:pt x="357378" y="148304"/>
                    <a:pt x="361188" y="173831"/>
                    <a:pt x="361188" y="200692"/>
                  </a:cubicBezTo>
                  <a:cubicBezTo>
                    <a:pt x="361188" y="204502"/>
                    <a:pt x="361093" y="208312"/>
                    <a:pt x="360807" y="212312"/>
                  </a:cubicBezTo>
                  <a:cubicBezTo>
                    <a:pt x="360521" y="216313"/>
                    <a:pt x="360236" y="220409"/>
                    <a:pt x="359759" y="224695"/>
                  </a:cubicBezTo>
                  <a:lnTo>
                    <a:pt x="85534" y="224695"/>
                  </a:lnTo>
                  <a:cubicBezTo>
                    <a:pt x="90202" y="255365"/>
                    <a:pt x="102394" y="278797"/>
                    <a:pt x="121920" y="294989"/>
                  </a:cubicBezTo>
                  <a:cubicBezTo>
                    <a:pt x="141446" y="311277"/>
                    <a:pt x="165164" y="319373"/>
                    <a:pt x="192977" y="319373"/>
                  </a:cubicBezTo>
                  <a:cubicBezTo>
                    <a:pt x="214217" y="319373"/>
                    <a:pt x="232505" y="315563"/>
                    <a:pt x="248126" y="308038"/>
                  </a:cubicBezTo>
                  <a:cubicBezTo>
                    <a:pt x="263652" y="300514"/>
                    <a:pt x="278987" y="289465"/>
                    <a:pt x="294037" y="274796"/>
                  </a:cubicBezTo>
                  <a:lnTo>
                    <a:pt x="344234" y="319278"/>
                  </a:lnTo>
                  <a:cubicBezTo>
                    <a:pt x="326327" y="340519"/>
                    <a:pt x="304991" y="357473"/>
                    <a:pt x="280226" y="370141"/>
                  </a:cubicBezTo>
                  <a:cubicBezTo>
                    <a:pt x="255461" y="382810"/>
                    <a:pt x="225933" y="389191"/>
                    <a:pt x="191548" y="389191"/>
                  </a:cubicBezTo>
                  <a:close/>
                  <a:moveTo>
                    <a:pt x="276320" y="168211"/>
                  </a:moveTo>
                  <a:cubicBezTo>
                    <a:pt x="274892" y="154591"/>
                    <a:pt x="271844" y="141732"/>
                    <a:pt x="267176" y="129730"/>
                  </a:cubicBezTo>
                  <a:cubicBezTo>
                    <a:pt x="262414" y="117729"/>
                    <a:pt x="256127" y="107347"/>
                    <a:pt x="248126" y="98679"/>
                  </a:cubicBezTo>
                  <a:cubicBezTo>
                    <a:pt x="240125" y="89916"/>
                    <a:pt x="230600" y="82963"/>
                    <a:pt x="219551" y="77819"/>
                  </a:cubicBezTo>
                  <a:cubicBezTo>
                    <a:pt x="208502" y="72676"/>
                    <a:pt x="195834" y="70009"/>
                    <a:pt x="181737" y="70009"/>
                  </a:cubicBezTo>
                  <a:cubicBezTo>
                    <a:pt x="155353" y="70009"/>
                    <a:pt x="133541" y="79057"/>
                    <a:pt x="116396" y="97250"/>
                  </a:cubicBezTo>
                  <a:cubicBezTo>
                    <a:pt x="99155" y="115348"/>
                    <a:pt x="88678" y="139065"/>
                    <a:pt x="84963" y="168307"/>
                  </a:cubicBezTo>
                  <a:lnTo>
                    <a:pt x="276511" y="168307"/>
                  </a:lnTo>
                  <a:close/>
                </a:path>
              </a:pathLst>
            </a:custGeom>
            <a:solidFill>
              <a:srgbClr val="44505E"/>
            </a:solidFill>
            <a:ln w="9525" cap="flat">
              <a:noFill/>
              <a:prstDash val="solid"/>
              <a:miter/>
            </a:ln>
          </p:spPr>
          <p:txBody>
            <a:bodyPr rtlCol="0" anchor="ctr"/>
            <a:lstStyle/>
            <a:p>
              <a:endParaRPr lang="pt-BR" noProof="0"/>
            </a:p>
          </p:txBody>
        </p:sp>
        <p:sp>
          <p:nvSpPr>
            <p:cNvPr id="22" name="Freeform: Shape 21">
              <a:extLst>
                <a:ext uri="{FF2B5EF4-FFF2-40B4-BE49-F238E27FC236}">
                  <a16:creationId xmlns:a16="http://schemas.microsoft.com/office/drawing/2014/main" id="{82D32145-3D76-AB1C-6E44-64AE885BB2F4}"/>
                </a:ext>
              </a:extLst>
            </p:cNvPr>
            <p:cNvSpPr/>
            <p:nvPr/>
          </p:nvSpPr>
          <p:spPr>
            <a:xfrm>
              <a:off x="5365659"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5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8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3 w 568166"/>
                <a:gd name="connsiteY21" fmla="*/ 381000 h 381000"/>
                <a:gd name="connsiteX22" fmla="*/ 240983 w 568166"/>
                <a:gd name="connsiteY22" fmla="*/ 168783 h 381000"/>
                <a:gd name="connsiteX23" fmla="*/ 221266 w 568166"/>
                <a:gd name="connsiteY23" fmla="*/ 101822 h 381000"/>
                <a:gd name="connsiteX24" fmla="*/ 165640 w 568166"/>
                <a:gd name="connsiteY24" fmla="*/ 78581 h 381000"/>
                <a:gd name="connsiteX25" fmla="*/ 108014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70" y="48196"/>
                    <a:pt x="105918" y="40576"/>
                  </a:cubicBezTo>
                  <a:cubicBezTo>
                    <a:pt x="112967" y="32956"/>
                    <a:pt x="121063" y="26099"/>
                    <a:pt x="130207" y="19907"/>
                  </a:cubicBezTo>
                  <a:cubicBezTo>
                    <a:pt x="139351" y="13716"/>
                    <a:pt x="149733" y="8858"/>
                    <a:pt x="161163" y="5334"/>
                  </a:cubicBezTo>
                  <a:cubicBezTo>
                    <a:pt x="172688" y="1714"/>
                    <a:pt x="185452" y="0"/>
                    <a:pt x="199549" y="0"/>
                  </a:cubicBezTo>
                  <a:cubicBezTo>
                    <a:pt x="226314" y="0"/>
                    <a:pt x="248984" y="6096"/>
                    <a:pt x="267557" y="18193"/>
                  </a:cubicBezTo>
                  <a:cubicBezTo>
                    <a:pt x="286131" y="30289"/>
                    <a:pt x="300323" y="46387"/>
                    <a:pt x="310134" y="66294"/>
                  </a:cubicBezTo>
                  <a:cubicBezTo>
                    <a:pt x="325279" y="46387"/>
                    <a:pt x="343091" y="30289"/>
                    <a:pt x="363665" y="18193"/>
                  </a:cubicBezTo>
                  <a:cubicBezTo>
                    <a:pt x="384239" y="6096"/>
                    <a:pt x="408718" y="0"/>
                    <a:pt x="437007" y="0"/>
                  </a:cubicBezTo>
                  <a:cubicBezTo>
                    <a:pt x="478060"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8" y="78486"/>
                  </a:cubicBezTo>
                  <a:cubicBezTo>
                    <a:pt x="382810" y="78486"/>
                    <a:pt x="364141" y="86392"/>
                    <a:pt x="349377" y="102108"/>
                  </a:cubicBezTo>
                  <a:cubicBezTo>
                    <a:pt x="334613" y="117824"/>
                    <a:pt x="327184" y="140779"/>
                    <a:pt x="327184" y="170879"/>
                  </a:cubicBezTo>
                  <a:lnTo>
                    <a:pt x="327184" y="381000"/>
                  </a:lnTo>
                  <a:lnTo>
                    <a:pt x="240983" y="381000"/>
                  </a:lnTo>
                  <a:lnTo>
                    <a:pt x="240983" y="168783"/>
                  </a:lnTo>
                  <a:cubicBezTo>
                    <a:pt x="240983" y="139637"/>
                    <a:pt x="234410" y="117348"/>
                    <a:pt x="221266" y="101822"/>
                  </a:cubicBezTo>
                  <a:cubicBezTo>
                    <a:pt x="208121" y="86296"/>
                    <a:pt x="189643" y="78581"/>
                    <a:pt x="165640" y="78581"/>
                  </a:cubicBezTo>
                  <a:cubicBezTo>
                    <a:pt x="141637" y="78581"/>
                    <a:pt x="122492" y="86773"/>
                    <a:pt x="108014"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23" name="Freeform: Shape 22">
              <a:extLst>
                <a:ext uri="{FF2B5EF4-FFF2-40B4-BE49-F238E27FC236}">
                  <a16:creationId xmlns:a16="http://schemas.microsoft.com/office/drawing/2014/main" id="{1C5AA2CB-A072-6530-EE42-01EB951697B9}"/>
                </a:ext>
              </a:extLst>
            </p:cNvPr>
            <p:cNvSpPr/>
            <p:nvPr/>
          </p:nvSpPr>
          <p:spPr>
            <a:xfrm>
              <a:off x="5587693" y="700007"/>
              <a:ext cx="84211" cy="95752"/>
            </a:xfrm>
            <a:custGeom>
              <a:avLst/>
              <a:gdLst>
                <a:gd name="connsiteX0" fmla="*/ 95 w 334994"/>
                <a:gd name="connsiteY0" fmla="*/ 7715 h 380904"/>
                <a:gd name="connsiteX1" fmla="*/ 86296 w 334994"/>
                <a:gd name="connsiteY1" fmla="*/ 7715 h 380904"/>
                <a:gd name="connsiteX2" fmla="*/ 86296 w 334994"/>
                <a:gd name="connsiteY2" fmla="*/ 66294 h 380904"/>
                <a:gd name="connsiteX3" fmla="*/ 106394 w 334994"/>
                <a:gd name="connsiteY3" fmla="*/ 40958 h 380904"/>
                <a:gd name="connsiteX4" fmla="*/ 131731 w 334994"/>
                <a:gd name="connsiteY4" fmla="*/ 19907 h 380904"/>
                <a:gd name="connsiteX5" fmla="*/ 163449 w 334994"/>
                <a:gd name="connsiteY5" fmla="*/ 5334 h 380904"/>
                <a:gd name="connsiteX6" fmla="*/ 202597 w 334994"/>
                <a:gd name="connsiteY6" fmla="*/ 0 h 380904"/>
                <a:gd name="connsiteX7" fmla="*/ 300514 w 334994"/>
                <a:gd name="connsiteY7" fmla="*/ 38862 h 380904"/>
                <a:gd name="connsiteX8" fmla="*/ 334994 w 334994"/>
                <a:gd name="connsiteY8" fmla="*/ 143446 h 380904"/>
                <a:gd name="connsiteX9" fmla="*/ 334994 w 334994"/>
                <a:gd name="connsiteY9" fmla="*/ 380905 h 380904"/>
                <a:gd name="connsiteX10" fmla="*/ 248793 w 334994"/>
                <a:gd name="connsiteY10" fmla="*/ 380905 h 380904"/>
                <a:gd name="connsiteX11" fmla="*/ 248793 w 334994"/>
                <a:gd name="connsiteY11" fmla="*/ 169450 h 380904"/>
                <a:gd name="connsiteX12" fmla="*/ 228124 w 334994"/>
                <a:gd name="connsiteY12" fmla="*/ 102108 h 380904"/>
                <a:gd name="connsiteX13" fmla="*/ 169640 w 334994"/>
                <a:gd name="connsiteY13" fmla="*/ 78486 h 380904"/>
                <a:gd name="connsiteX14" fmla="*/ 109347 w 334994"/>
                <a:gd name="connsiteY14" fmla="*/ 102775 h 380904"/>
                <a:gd name="connsiteX15" fmla="*/ 86201 w 334994"/>
                <a:gd name="connsiteY15" fmla="*/ 170783 h 380904"/>
                <a:gd name="connsiteX16" fmla="*/ 86201 w 334994"/>
                <a:gd name="connsiteY16" fmla="*/ 380905 h 380904"/>
                <a:gd name="connsiteX17" fmla="*/ 0 w 334994"/>
                <a:gd name="connsiteY17" fmla="*/ 380905 h 380904"/>
                <a:gd name="connsiteX18" fmla="*/ 0 w 334994"/>
                <a:gd name="connsiteY18" fmla="*/ 7810 h 38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94" h="380904">
                  <a:moveTo>
                    <a:pt x="95" y="7715"/>
                  </a:moveTo>
                  <a:lnTo>
                    <a:pt x="86296" y="7715"/>
                  </a:lnTo>
                  <a:lnTo>
                    <a:pt x="86296" y="66294"/>
                  </a:lnTo>
                  <a:cubicBezTo>
                    <a:pt x="92392" y="57245"/>
                    <a:pt x="99060" y="48863"/>
                    <a:pt x="106394" y="40958"/>
                  </a:cubicBezTo>
                  <a:cubicBezTo>
                    <a:pt x="113633" y="33147"/>
                    <a:pt x="122110" y="26099"/>
                    <a:pt x="131731" y="19907"/>
                  </a:cubicBezTo>
                  <a:cubicBezTo>
                    <a:pt x="141351" y="13716"/>
                    <a:pt x="151924" y="8858"/>
                    <a:pt x="163449" y="5334"/>
                  </a:cubicBezTo>
                  <a:cubicBezTo>
                    <a:pt x="174974" y="1714"/>
                    <a:pt x="188024" y="0"/>
                    <a:pt x="202597" y="0"/>
                  </a:cubicBezTo>
                  <a:cubicBezTo>
                    <a:pt x="244888" y="0"/>
                    <a:pt x="277559" y="12954"/>
                    <a:pt x="300514" y="38862"/>
                  </a:cubicBezTo>
                  <a:cubicBezTo>
                    <a:pt x="323564" y="64770"/>
                    <a:pt x="334994" y="99631"/>
                    <a:pt x="334994" y="143446"/>
                  </a:cubicBezTo>
                  <a:lnTo>
                    <a:pt x="334994" y="380905"/>
                  </a:lnTo>
                  <a:lnTo>
                    <a:pt x="248793" y="380905"/>
                  </a:lnTo>
                  <a:lnTo>
                    <a:pt x="248793" y="169450"/>
                  </a:lnTo>
                  <a:cubicBezTo>
                    <a:pt x="248793" y="140303"/>
                    <a:pt x="241935" y="117824"/>
                    <a:pt x="228124" y="102108"/>
                  </a:cubicBezTo>
                  <a:cubicBezTo>
                    <a:pt x="214313" y="86392"/>
                    <a:pt x="194881" y="78486"/>
                    <a:pt x="169640" y="78486"/>
                  </a:cubicBezTo>
                  <a:cubicBezTo>
                    <a:pt x="144399" y="78486"/>
                    <a:pt x="124777" y="86582"/>
                    <a:pt x="109347" y="102775"/>
                  </a:cubicBezTo>
                  <a:cubicBezTo>
                    <a:pt x="93917" y="118967"/>
                    <a:pt x="86201" y="141637"/>
                    <a:pt x="86201" y="170783"/>
                  </a:cubicBezTo>
                  <a:lnTo>
                    <a:pt x="86201" y="380905"/>
                  </a:lnTo>
                  <a:lnTo>
                    <a:pt x="0" y="380905"/>
                  </a:lnTo>
                  <a:lnTo>
                    <a:pt x="0" y="7810"/>
                  </a:lnTo>
                  <a:close/>
                </a:path>
              </a:pathLst>
            </a:custGeom>
            <a:solidFill>
              <a:srgbClr val="44505E"/>
            </a:solidFill>
            <a:ln w="9525" cap="flat">
              <a:noFill/>
              <a:prstDash val="solid"/>
              <a:miter/>
            </a:ln>
          </p:spPr>
          <p:txBody>
            <a:bodyPr rtlCol="0" anchor="ctr"/>
            <a:lstStyle/>
            <a:p>
              <a:endParaRPr lang="pt-BR" noProof="0"/>
            </a:p>
          </p:txBody>
        </p:sp>
        <p:sp>
          <p:nvSpPr>
            <p:cNvPr id="24" name="Freeform: Shape 23">
              <a:extLst>
                <a:ext uri="{FF2B5EF4-FFF2-40B4-BE49-F238E27FC236}">
                  <a16:creationId xmlns:a16="http://schemas.microsoft.com/office/drawing/2014/main" id="{75DF0F6D-DF62-76C4-C5C6-061E03C1AE86}"/>
                </a:ext>
              </a:extLst>
            </p:cNvPr>
            <p:cNvSpPr/>
            <p:nvPr/>
          </p:nvSpPr>
          <p:spPr>
            <a:xfrm>
              <a:off x="5692712" y="699959"/>
              <a:ext cx="100015" cy="97908"/>
            </a:xfrm>
            <a:custGeom>
              <a:avLst/>
              <a:gdLst>
                <a:gd name="connsiteX0" fmla="*/ 197834 w 397859"/>
                <a:gd name="connsiteY0" fmla="*/ 389477 h 389477"/>
                <a:gd name="connsiteX1" fmla="*/ 119063 w 397859"/>
                <a:gd name="connsiteY1" fmla="*/ 374237 h 389477"/>
                <a:gd name="connsiteX2" fmla="*/ 56197 w 397859"/>
                <a:gd name="connsiteY2" fmla="*/ 332899 h 389477"/>
                <a:gd name="connsiteX3" fmla="*/ 14859 w 397859"/>
                <a:gd name="connsiteY3" fmla="*/ 271463 h 389477"/>
                <a:gd name="connsiteX4" fmla="*/ 0 w 397859"/>
                <a:gd name="connsiteY4" fmla="*/ 196501 h 389477"/>
                <a:gd name="connsiteX5" fmla="*/ 0 w 397859"/>
                <a:gd name="connsiteY5" fmla="*/ 195072 h 389477"/>
                <a:gd name="connsiteX6" fmla="*/ 15145 w 397859"/>
                <a:gd name="connsiteY6" fmla="*/ 119444 h 389477"/>
                <a:gd name="connsiteX7" fmla="*/ 56864 w 397859"/>
                <a:gd name="connsiteY7" fmla="*/ 57626 h 389477"/>
                <a:gd name="connsiteX8" fmla="*/ 119729 w 397859"/>
                <a:gd name="connsiteY8" fmla="*/ 15526 h 389477"/>
                <a:gd name="connsiteX9" fmla="*/ 199263 w 397859"/>
                <a:gd name="connsiteY9" fmla="*/ 0 h 389477"/>
                <a:gd name="connsiteX10" fmla="*/ 278797 w 397859"/>
                <a:gd name="connsiteY10" fmla="*/ 15240 h 389477"/>
                <a:gd name="connsiteX11" fmla="*/ 341662 w 397859"/>
                <a:gd name="connsiteY11" fmla="*/ 56959 h 389477"/>
                <a:gd name="connsiteX12" fmla="*/ 383000 w 397859"/>
                <a:gd name="connsiteY12" fmla="*/ 118396 h 389477"/>
                <a:gd name="connsiteX13" fmla="*/ 397859 w 397859"/>
                <a:gd name="connsiteY13" fmla="*/ 193643 h 389477"/>
                <a:gd name="connsiteX14" fmla="*/ 397859 w 397859"/>
                <a:gd name="connsiteY14" fmla="*/ 195072 h 389477"/>
                <a:gd name="connsiteX15" fmla="*/ 382619 w 397859"/>
                <a:gd name="connsiteY15" fmla="*/ 270034 h 389477"/>
                <a:gd name="connsiteX16" fmla="*/ 340900 w 397859"/>
                <a:gd name="connsiteY16" fmla="*/ 331851 h 389477"/>
                <a:gd name="connsiteX17" fmla="*/ 277654 w 397859"/>
                <a:gd name="connsiteY17" fmla="*/ 373856 h 389477"/>
                <a:gd name="connsiteX18" fmla="*/ 197834 w 397859"/>
                <a:gd name="connsiteY18" fmla="*/ 389382 h 389477"/>
                <a:gd name="connsiteX19" fmla="*/ 199263 w 397859"/>
                <a:gd name="connsiteY19" fmla="*/ 315278 h 389477"/>
                <a:gd name="connsiteX20" fmla="*/ 245935 w 397859"/>
                <a:gd name="connsiteY20" fmla="*/ 305753 h 389477"/>
                <a:gd name="connsiteX21" fmla="*/ 281368 w 397859"/>
                <a:gd name="connsiteY21" fmla="*/ 279940 h 389477"/>
                <a:gd name="connsiteX22" fmla="*/ 303847 w 397859"/>
                <a:gd name="connsiteY22" fmla="*/ 242125 h 389477"/>
                <a:gd name="connsiteX23" fmla="*/ 311563 w 397859"/>
                <a:gd name="connsiteY23" fmla="*/ 196501 h 389477"/>
                <a:gd name="connsiteX24" fmla="*/ 311563 w 397859"/>
                <a:gd name="connsiteY24" fmla="*/ 195072 h 389477"/>
                <a:gd name="connsiteX25" fmla="*/ 303181 w 397859"/>
                <a:gd name="connsiteY25" fmla="*/ 148400 h 389477"/>
                <a:gd name="connsiteX26" fmla="*/ 279654 w 397859"/>
                <a:gd name="connsiteY26" fmla="*/ 110204 h 389477"/>
                <a:gd name="connsiteX27" fmla="*/ 243840 w 397859"/>
                <a:gd name="connsiteY27" fmla="*/ 84392 h 389477"/>
                <a:gd name="connsiteX28" fmla="*/ 197834 w 397859"/>
                <a:gd name="connsiteY28" fmla="*/ 74867 h 389477"/>
                <a:gd name="connsiteX29" fmla="*/ 151829 w 397859"/>
                <a:gd name="connsiteY29" fmla="*/ 84392 h 389477"/>
                <a:gd name="connsiteX30" fmla="*/ 116396 w 397859"/>
                <a:gd name="connsiteY30" fmla="*/ 109823 h 389477"/>
                <a:gd name="connsiteX31" fmla="*/ 93917 w 397859"/>
                <a:gd name="connsiteY31" fmla="*/ 147638 h 389477"/>
                <a:gd name="connsiteX32" fmla="*/ 86201 w 397859"/>
                <a:gd name="connsiteY32" fmla="*/ 193548 h 389477"/>
                <a:gd name="connsiteX33" fmla="*/ 86201 w 397859"/>
                <a:gd name="connsiteY33" fmla="*/ 194977 h 389477"/>
                <a:gd name="connsiteX34" fmla="*/ 94583 w 397859"/>
                <a:gd name="connsiteY34" fmla="*/ 241268 h 389477"/>
                <a:gd name="connsiteX35" fmla="*/ 118110 w 397859"/>
                <a:gd name="connsiteY35" fmla="*/ 279463 h 389477"/>
                <a:gd name="connsiteX36" fmla="*/ 153924 w 397859"/>
                <a:gd name="connsiteY36" fmla="*/ 305562 h 389477"/>
                <a:gd name="connsiteX37" fmla="*/ 199263 w 397859"/>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859" h="389477">
                  <a:moveTo>
                    <a:pt x="197834" y="389477"/>
                  </a:moveTo>
                  <a:cubicBezTo>
                    <a:pt x="169545" y="389477"/>
                    <a:pt x="143351" y="384429"/>
                    <a:pt x="119063" y="374237"/>
                  </a:cubicBezTo>
                  <a:cubicBezTo>
                    <a:pt x="94774" y="364141"/>
                    <a:pt x="73819" y="350330"/>
                    <a:pt x="56197" y="332899"/>
                  </a:cubicBezTo>
                  <a:cubicBezTo>
                    <a:pt x="38481" y="315468"/>
                    <a:pt x="24765" y="294989"/>
                    <a:pt x="14859" y="271463"/>
                  </a:cubicBezTo>
                  <a:cubicBezTo>
                    <a:pt x="4953" y="247936"/>
                    <a:pt x="0" y="222980"/>
                    <a:pt x="0" y="196501"/>
                  </a:cubicBezTo>
                  <a:lnTo>
                    <a:pt x="0" y="195072"/>
                  </a:lnTo>
                  <a:cubicBezTo>
                    <a:pt x="0" y="168212"/>
                    <a:pt x="5048" y="143066"/>
                    <a:pt x="15145" y="119444"/>
                  </a:cubicBezTo>
                  <a:cubicBezTo>
                    <a:pt x="25241" y="95917"/>
                    <a:pt x="39148" y="75248"/>
                    <a:pt x="56864" y="57626"/>
                  </a:cubicBezTo>
                  <a:cubicBezTo>
                    <a:pt x="74581" y="39910"/>
                    <a:pt x="95536" y="25908"/>
                    <a:pt x="119729" y="15526"/>
                  </a:cubicBezTo>
                  <a:cubicBezTo>
                    <a:pt x="144018" y="5144"/>
                    <a:pt x="170497" y="0"/>
                    <a:pt x="199263" y="0"/>
                  </a:cubicBezTo>
                  <a:cubicBezTo>
                    <a:pt x="228029" y="0"/>
                    <a:pt x="254508" y="5048"/>
                    <a:pt x="278797" y="15240"/>
                  </a:cubicBezTo>
                  <a:cubicBezTo>
                    <a:pt x="303085" y="25337"/>
                    <a:pt x="324041" y="39243"/>
                    <a:pt x="341662" y="56959"/>
                  </a:cubicBezTo>
                  <a:cubicBezTo>
                    <a:pt x="359378" y="74676"/>
                    <a:pt x="373094" y="95155"/>
                    <a:pt x="383000" y="118396"/>
                  </a:cubicBezTo>
                  <a:cubicBezTo>
                    <a:pt x="392906" y="141732"/>
                    <a:pt x="397859" y="166783"/>
                    <a:pt x="397859" y="193643"/>
                  </a:cubicBezTo>
                  <a:lnTo>
                    <a:pt x="397859" y="195072"/>
                  </a:lnTo>
                  <a:cubicBezTo>
                    <a:pt x="397859" y="221456"/>
                    <a:pt x="392811" y="246412"/>
                    <a:pt x="382619" y="270034"/>
                  </a:cubicBezTo>
                  <a:cubicBezTo>
                    <a:pt x="372523" y="293561"/>
                    <a:pt x="358616" y="314230"/>
                    <a:pt x="340900" y="331851"/>
                  </a:cubicBezTo>
                  <a:cubicBezTo>
                    <a:pt x="323183" y="349472"/>
                    <a:pt x="302133" y="363569"/>
                    <a:pt x="277654" y="373856"/>
                  </a:cubicBezTo>
                  <a:cubicBezTo>
                    <a:pt x="253175" y="384238"/>
                    <a:pt x="226504" y="389382"/>
                    <a:pt x="197834" y="389382"/>
                  </a:cubicBezTo>
                  <a:close/>
                  <a:moveTo>
                    <a:pt x="199263" y="315278"/>
                  </a:moveTo>
                  <a:cubicBezTo>
                    <a:pt x="216598" y="315278"/>
                    <a:pt x="232124" y="312039"/>
                    <a:pt x="245935" y="305753"/>
                  </a:cubicBezTo>
                  <a:cubicBezTo>
                    <a:pt x="259747" y="299371"/>
                    <a:pt x="271558" y="290798"/>
                    <a:pt x="281368" y="279940"/>
                  </a:cubicBezTo>
                  <a:cubicBezTo>
                    <a:pt x="291179" y="269081"/>
                    <a:pt x="298704" y="256508"/>
                    <a:pt x="303847" y="242125"/>
                  </a:cubicBezTo>
                  <a:cubicBezTo>
                    <a:pt x="308991" y="227743"/>
                    <a:pt x="311563" y="212598"/>
                    <a:pt x="311563" y="196501"/>
                  </a:cubicBezTo>
                  <a:lnTo>
                    <a:pt x="311563" y="195072"/>
                  </a:lnTo>
                  <a:cubicBezTo>
                    <a:pt x="311563" y="178594"/>
                    <a:pt x="308800" y="163068"/>
                    <a:pt x="303181" y="148400"/>
                  </a:cubicBezTo>
                  <a:cubicBezTo>
                    <a:pt x="297561" y="133826"/>
                    <a:pt x="289750" y="121063"/>
                    <a:pt x="279654" y="110204"/>
                  </a:cubicBezTo>
                  <a:cubicBezTo>
                    <a:pt x="269558" y="99346"/>
                    <a:pt x="257651" y="90773"/>
                    <a:pt x="243840" y="84392"/>
                  </a:cubicBezTo>
                  <a:cubicBezTo>
                    <a:pt x="230029" y="78010"/>
                    <a:pt x="214693" y="74867"/>
                    <a:pt x="197834" y="74867"/>
                  </a:cubicBezTo>
                  <a:cubicBezTo>
                    <a:pt x="180975" y="74867"/>
                    <a:pt x="165640" y="78010"/>
                    <a:pt x="151829" y="84392"/>
                  </a:cubicBezTo>
                  <a:cubicBezTo>
                    <a:pt x="138017" y="90773"/>
                    <a:pt x="126206" y="99250"/>
                    <a:pt x="116396" y="109823"/>
                  </a:cubicBezTo>
                  <a:cubicBezTo>
                    <a:pt x="106585" y="120396"/>
                    <a:pt x="99060" y="133064"/>
                    <a:pt x="93917" y="147638"/>
                  </a:cubicBezTo>
                  <a:cubicBezTo>
                    <a:pt x="88773" y="162211"/>
                    <a:pt x="86201" y="177546"/>
                    <a:pt x="86201" y="193548"/>
                  </a:cubicBezTo>
                  <a:lnTo>
                    <a:pt x="86201" y="194977"/>
                  </a:lnTo>
                  <a:cubicBezTo>
                    <a:pt x="86201" y="211455"/>
                    <a:pt x="88963" y="226886"/>
                    <a:pt x="94583" y="241268"/>
                  </a:cubicBezTo>
                  <a:cubicBezTo>
                    <a:pt x="100203" y="255651"/>
                    <a:pt x="108013" y="268319"/>
                    <a:pt x="118110" y="279463"/>
                  </a:cubicBezTo>
                  <a:cubicBezTo>
                    <a:pt x="128206" y="290513"/>
                    <a:pt x="140113" y="299275"/>
                    <a:pt x="153924" y="305562"/>
                  </a:cubicBezTo>
                  <a:cubicBezTo>
                    <a:pt x="167735" y="311944"/>
                    <a:pt x="182880"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25" name="Freeform: Shape 24">
              <a:extLst>
                <a:ext uri="{FF2B5EF4-FFF2-40B4-BE49-F238E27FC236}">
                  <a16:creationId xmlns:a16="http://schemas.microsoft.com/office/drawing/2014/main" id="{5ABECB0E-867B-23EE-611F-D47BC967FBDC}"/>
                </a:ext>
              </a:extLst>
            </p:cNvPr>
            <p:cNvSpPr/>
            <p:nvPr/>
          </p:nvSpPr>
          <p:spPr>
            <a:xfrm>
              <a:off x="5806925"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2 w 296894"/>
                <a:gd name="connsiteY36" fmla="*/ 224980 h 386714"/>
                <a:gd name="connsiteX37" fmla="*/ 296894 w 296894"/>
                <a:gd name="connsiteY37" fmla="*/ 267938 h 386714"/>
                <a:gd name="connsiteX38" fmla="*/ 296894 w 296894"/>
                <a:gd name="connsiteY38" fmla="*/ 269367 h 386714"/>
                <a:gd name="connsiteX39" fmla="*/ 286322 w 296894"/>
                <a:gd name="connsiteY39" fmla="*/ 320897 h 386714"/>
                <a:gd name="connsiteX40" fmla="*/ 256984 w 296894"/>
                <a:gd name="connsiteY40" fmla="*/ 357188 h 386714"/>
                <a:gd name="connsiteX41" fmla="*/ 212789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8" y="298704"/>
                    <a:pt x="100013" y="306514"/>
                  </a:cubicBezTo>
                  <a:cubicBezTo>
                    <a:pt x="120967" y="314325"/>
                    <a:pt x="141161" y="318135"/>
                    <a:pt x="160401" y="318135"/>
                  </a:cubicBezTo>
                  <a:cubicBezTo>
                    <a:pt x="179642" y="318135"/>
                    <a:pt x="192976"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2" y="241078"/>
                    <a:pt x="176498" y="237553"/>
                    <a:pt x="166402" y="234220"/>
                  </a:cubicBezTo>
                  <a:cubicBezTo>
                    <a:pt x="156305" y="230886"/>
                    <a:pt x="145733" y="227647"/>
                    <a:pt x="134969" y="224314"/>
                  </a:cubicBezTo>
                  <a:cubicBezTo>
                    <a:pt x="121253" y="220599"/>
                    <a:pt x="107537" y="216122"/>
                    <a:pt x="93631" y="210884"/>
                  </a:cubicBezTo>
                  <a:cubicBezTo>
                    <a:pt x="79724" y="205740"/>
                    <a:pt x="67246" y="198977"/>
                    <a:pt x="56197" y="190786"/>
                  </a:cubicBezTo>
                  <a:cubicBezTo>
                    <a:pt x="45149" y="182594"/>
                    <a:pt x="36100" y="172307"/>
                    <a:pt x="28956" y="160115"/>
                  </a:cubicBezTo>
                  <a:cubicBezTo>
                    <a:pt x="21908"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5"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7" y="156210"/>
                    <a:pt x="180975" y="159448"/>
                  </a:cubicBezTo>
                  <a:cubicBezTo>
                    <a:pt x="194596" y="163639"/>
                    <a:pt x="208312" y="168592"/>
                    <a:pt x="222028" y="174212"/>
                  </a:cubicBezTo>
                  <a:cubicBezTo>
                    <a:pt x="235649" y="179832"/>
                    <a:pt x="248031" y="186785"/>
                    <a:pt x="259080" y="194977"/>
                  </a:cubicBezTo>
                  <a:cubicBezTo>
                    <a:pt x="270129" y="203168"/>
                    <a:pt x="279273" y="213169"/>
                    <a:pt x="286322" y="224980"/>
                  </a:cubicBezTo>
                  <a:cubicBezTo>
                    <a:pt x="293370" y="236696"/>
                    <a:pt x="296894" y="251079"/>
                    <a:pt x="296894" y="267938"/>
                  </a:cubicBezTo>
                  <a:lnTo>
                    <a:pt x="296894" y="269367"/>
                  </a:lnTo>
                  <a:cubicBezTo>
                    <a:pt x="296894" y="289084"/>
                    <a:pt x="293370" y="306229"/>
                    <a:pt x="286322" y="320897"/>
                  </a:cubicBezTo>
                  <a:cubicBezTo>
                    <a:pt x="279273" y="335470"/>
                    <a:pt x="269462" y="347567"/>
                    <a:pt x="256984" y="357188"/>
                  </a:cubicBezTo>
                  <a:cubicBezTo>
                    <a:pt x="244507" y="366808"/>
                    <a:pt x="229743" y="374142"/>
                    <a:pt x="212789"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6" name="Freeform: Shape 25">
              <a:extLst>
                <a:ext uri="{FF2B5EF4-FFF2-40B4-BE49-F238E27FC236}">
                  <a16:creationId xmlns:a16="http://schemas.microsoft.com/office/drawing/2014/main" id="{13E3A888-8134-8F26-024E-56658FAE3B76}"/>
                </a:ext>
              </a:extLst>
            </p:cNvPr>
            <p:cNvSpPr/>
            <p:nvPr/>
          </p:nvSpPr>
          <p:spPr>
            <a:xfrm>
              <a:off x="589573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6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160" y="318135"/>
                    <a:pt x="160401" y="318135"/>
                  </a:cubicBezTo>
                  <a:cubicBezTo>
                    <a:pt x="179641" y="318135"/>
                    <a:pt x="192976"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4"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792"/>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7" name="Freeform: Shape 26">
              <a:extLst>
                <a:ext uri="{FF2B5EF4-FFF2-40B4-BE49-F238E27FC236}">
                  <a16:creationId xmlns:a16="http://schemas.microsoft.com/office/drawing/2014/main" id="{B6382948-55A6-1769-E497-B00C520C10C6}"/>
                </a:ext>
              </a:extLst>
            </p:cNvPr>
            <p:cNvSpPr/>
            <p:nvPr/>
          </p:nvSpPr>
          <p:spPr>
            <a:xfrm>
              <a:off x="5985812" y="700558"/>
              <a:ext cx="85097" cy="97141"/>
            </a:xfrm>
            <a:custGeom>
              <a:avLst/>
              <a:gdLst>
                <a:gd name="connsiteX0" fmla="*/ 253651 w 338518"/>
                <a:gd name="connsiteY0" fmla="*/ 378619 h 386429"/>
                <a:gd name="connsiteX1" fmla="*/ 253651 w 338518"/>
                <a:gd name="connsiteY1" fmla="*/ 332708 h 386429"/>
                <a:gd name="connsiteX2" fmla="*/ 204883 w 338518"/>
                <a:gd name="connsiteY2" fmla="*/ 370904 h 386429"/>
                <a:gd name="connsiteX3" fmla="*/ 132779 w 338518"/>
                <a:gd name="connsiteY3" fmla="*/ 386429 h 386429"/>
                <a:gd name="connsiteX4" fmla="*/ 81915 w 338518"/>
                <a:gd name="connsiteY4" fmla="*/ 379000 h 386429"/>
                <a:gd name="connsiteX5" fmla="*/ 39910 w 338518"/>
                <a:gd name="connsiteY5" fmla="*/ 357092 h 386429"/>
                <a:gd name="connsiteX6" fmla="*/ 10954 w 338518"/>
                <a:gd name="connsiteY6" fmla="*/ 321088 h 386429"/>
                <a:gd name="connsiteX7" fmla="*/ 0 w 338518"/>
                <a:gd name="connsiteY7" fmla="*/ 271272 h 386429"/>
                <a:gd name="connsiteX8" fmla="*/ 0 w 338518"/>
                <a:gd name="connsiteY8" fmla="*/ 269843 h 386429"/>
                <a:gd name="connsiteX9" fmla="*/ 11335 w 338518"/>
                <a:gd name="connsiteY9" fmla="*/ 215741 h 386429"/>
                <a:gd name="connsiteX10" fmla="*/ 42767 w 338518"/>
                <a:gd name="connsiteY10" fmla="*/ 177546 h 386429"/>
                <a:gd name="connsiteX11" fmla="*/ 90773 w 338518"/>
                <a:gd name="connsiteY11" fmla="*/ 154972 h 386429"/>
                <a:gd name="connsiteX12" fmla="*/ 151162 w 338518"/>
                <a:gd name="connsiteY12" fmla="*/ 147542 h 386429"/>
                <a:gd name="connsiteX13" fmla="*/ 208788 w 338518"/>
                <a:gd name="connsiteY13" fmla="*/ 151829 h 386429"/>
                <a:gd name="connsiteX14" fmla="*/ 254413 w 338518"/>
                <a:gd name="connsiteY14" fmla="*/ 163163 h 386429"/>
                <a:gd name="connsiteX15" fmla="*/ 254413 w 338518"/>
                <a:gd name="connsiteY15" fmla="*/ 156115 h 386429"/>
                <a:gd name="connsiteX16" fmla="*/ 230696 w 338518"/>
                <a:gd name="connsiteY16" fmla="*/ 96774 h 386429"/>
                <a:gd name="connsiteX17" fmla="*/ 162496 w 338518"/>
                <a:gd name="connsiteY17" fmla="*/ 76295 h 386429"/>
                <a:gd name="connsiteX18" fmla="*/ 106013 w 338518"/>
                <a:gd name="connsiteY18" fmla="*/ 82677 h 386429"/>
                <a:gd name="connsiteX19" fmla="*/ 55816 w 338518"/>
                <a:gd name="connsiteY19" fmla="*/ 99632 h 386429"/>
                <a:gd name="connsiteX20" fmla="*/ 32480 w 338518"/>
                <a:gd name="connsiteY20" fmla="*/ 31052 h 386429"/>
                <a:gd name="connsiteX21" fmla="*/ 96107 w 338518"/>
                <a:gd name="connsiteY21" fmla="*/ 8477 h 386429"/>
                <a:gd name="connsiteX22" fmla="*/ 174593 w 338518"/>
                <a:gd name="connsiteY22" fmla="*/ 0 h 386429"/>
                <a:gd name="connsiteX23" fmla="*/ 298228 w 338518"/>
                <a:gd name="connsiteY23" fmla="*/ 41338 h 386429"/>
                <a:gd name="connsiteX24" fmla="*/ 338519 w 338518"/>
                <a:gd name="connsiteY24" fmla="*/ 157544 h 386429"/>
                <a:gd name="connsiteX25" fmla="*/ 338519 w 338518"/>
                <a:gd name="connsiteY25" fmla="*/ 378714 h 386429"/>
                <a:gd name="connsiteX26" fmla="*/ 253746 w 338518"/>
                <a:gd name="connsiteY26" fmla="*/ 378714 h 386429"/>
                <a:gd name="connsiteX27" fmla="*/ 255746 w 338518"/>
                <a:gd name="connsiteY27" fmla="*/ 222409 h 386429"/>
                <a:gd name="connsiteX28" fmla="*/ 217265 w 338518"/>
                <a:gd name="connsiteY28" fmla="*/ 211836 h 386429"/>
                <a:gd name="connsiteX29" fmla="*/ 170307 w 338518"/>
                <a:gd name="connsiteY29" fmla="*/ 207550 h 386429"/>
                <a:gd name="connsiteX30" fmla="*/ 107442 w 338518"/>
                <a:gd name="connsiteY30" fmla="*/ 223075 h 386429"/>
                <a:gd name="connsiteX31" fmla="*/ 84868 w 338518"/>
                <a:gd name="connsiteY31" fmla="*/ 265462 h 386429"/>
                <a:gd name="connsiteX32" fmla="*/ 84868 w 338518"/>
                <a:gd name="connsiteY32" fmla="*/ 266891 h 386429"/>
                <a:gd name="connsiteX33" fmla="*/ 105728 w 338518"/>
                <a:gd name="connsiteY33" fmla="*/ 307848 h 386429"/>
                <a:gd name="connsiteX34" fmla="*/ 156972 w 338518"/>
                <a:gd name="connsiteY34" fmla="*/ 321945 h 386429"/>
                <a:gd name="connsiteX35" fmla="*/ 196215 w 338518"/>
                <a:gd name="connsiteY35" fmla="*/ 316325 h 386429"/>
                <a:gd name="connsiteX36" fmla="*/ 227647 w 338518"/>
                <a:gd name="connsiteY36" fmla="*/ 300419 h 386429"/>
                <a:gd name="connsiteX37" fmla="*/ 248507 w 338518"/>
                <a:gd name="connsiteY37" fmla="*/ 275654 h 386429"/>
                <a:gd name="connsiteX38" fmla="*/ 255937 w 338518"/>
                <a:gd name="connsiteY38" fmla="*/ 243459 h 386429"/>
                <a:gd name="connsiteX39" fmla="*/ 255937 w 338518"/>
                <a:gd name="connsiteY39" fmla="*/ 222218 h 3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8518" h="386429">
                  <a:moveTo>
                    <a:pt x="253651" y="378619"/>
                  </a:moveTo>
                  <a:lnTo>
                    <a:pt x="253651" y="332708"/>
                  </a:lnTo>
                  <a:cubicBezTo>
                    <a:pt x="240887" y="347758"/>
                    <a:pt x="224695" y="360521"/>
                    <a:pt x="204883" y="370904"/>
                  </a:cubicBezTo>
                  <a:cubicBezTo>
                    <a:pt x="185071" y="381286"/>
                    <a:pt x="161068" y="386429"/>
                    <a:pt x="132779" y="386429"/>
                  </a:cubicBezTo>
                  <a:cubicBezTo>
                    <a:pt x="114871" y="386429"/>
                    <a:pt x="97917" y="383953"/>
                    <a:pt x="81915" y="379000"/>
                  </a:cubicBezTo>
                  <a:cubicBezTo>
                    <a:pt x="65913" y="374047"/>
                    <a:pt x="51911" y="366713"/>
                    <a:pt x="39910" y="357092"/>
                  </a:cubicBezTo>
                  <a:cubicBezTo>
                    <a:pt x="27908" y="347472"/>
                    <a:pt x="18193" y="335471"/>
                    <a:pt x="10954" y="321088"/>
                  </a:cubicBezTo>
                  <a:cubicBezTo>
                    <a:pt x="3620" y="306705"/>
                    <a:pt x="0" y="290132"/>
                    <a:pt x="0" y="271272"/>
                  </a:cubicBezTo>
                  <a:lnTo>
                    <a:pt x="0" y="269843"/>
                  </a:lnTo>
                  <a:cubicBezTo>
                    <a:pt x="0" y="249079"/>
                    <a:pt x="3810" y="231077"/>
                    <a:pt x="11335" y="215741"/>
                  </a:cubicBezTo>
                  <a:cubicBezTo>
                    <a:pt x="18859" y="200406"/>
                    <a:pt x="29337" y="187738"/>
                    <a:pt x="42767" y="177546"/>
                  </a:cubicBezTo>
                  <a:cubicBezTo>
                    <a:pt x="56197" y="167450"/>
                    <a:pt x="72199" y="159925"/>
                    <a:pt x="90773" y="154972"/>
                  </a:cubicBezTo>
                  <a:cubicBezTo>
                    <a:pt x="109347" y="150019"/>
                    <a:pt x="129540" y="147542"/>
                    <a:pt x="151162" y="147542"/>
                  </a:cubicBezTo>
                  <a:cubicBezTo>
                    <a:pt x="172783" y="147542"/>
                    <a:pt x="192976" y="148971"/>
                    <a:pt x="208788" y="151829"/>
                  </a:cubicBezTo>
                  <a:cubicBezTo>
                    <a:pt x="224599" y="154686"/>
                    <a:pt x="239744" y="158401"/>
                    <a:pt x="254413" y="163163"/>
                  </a:cubicBezTo>
                  <a:lnTo>
                    <a:pt x="254413" y="156115"/>
                  </a:lnTo>
                  <a:cubicBezTo>
                    <a:pt x="254413" y="130207"/>
                    <a:pt x="246507" y="110395"/>
                    <a:pt x="230696" y="96774"/>
                  </a:cubicBezTo>
                  <a:cubicBezTo>
                    <a:pt x="214884" y="83153"/>
                    <a:pt x="192214" y="76295"/>
                    <a:pt x="162496" y="76295"/>
                  </a:cubicBezTo>
                  <a:cubicBezTo>
                    <a:pt x="141351" y="76295"/>
                    <a:pt x="122491" y="78391"/>
                    <a:pt x="106013" y="82677"/>
                  </a:cubicBezTo>
                  <a:cubicBezTo>
                    <a:pt x="89535" y="86963"/>
                    <a:pt x="72771" y="92583"/>
                    <a:pt x="55816" y="99632"/>
                  </a:cubicBezTo>
                  <a:lnTo>
                    <a:pt x="32480" y="31052"/>
                  </a:lnTo>
                  <a:cubicBezTo>
                    <a:pt x="53149" y="21622"/>
                    <a:pt x="74390" y="14097"/>
                    <a:pt x="96107" y="8477"/>
                  </a:cubicBezTo>
                  <a:cubicBezTo>
                    <a:pt x="117729" y="2858"/>
                    <a:pt x="143923" y="0"/>
                    <a:pt x="174593" y="0"/>
                  </a:cubicBezTo>
                  <a:cubicBezTo>
                    <a:pt x="230124" y="0"/>
                    <a:pt x="271367" y="13811"/>
                    <a:pt x="298228" y="41338"/>
                  </a:cubicBezTo>
                  <a:cubicBezTo>
                    <a:pt x="325088" y="68866"/>
                    <a:pt x="338519" y="107633"/>
                    <a:pt x="338519" y="157544"/>
                  </a:cubicBezTo>
                  <a:lnTo>
                    <a:pt x="338519" y="378714"/>
                  </a:lnTo>
                  <a:lnTo>
                    <a:pt x="253746" y="378714"/>
                  </a:lnTo>
                  <a:close/>
                  <a:moveTo>
                    <a:pt x="255746" y="222409"/>
                  </a:moveTo>
                  <a:cubicBezTo>
                    <a:pt x="244888" y="218123"/>
                    <a:pt x="232029" y="214598"/>
                    <a:pt x="217265" y="211836"/>
                  </a:cubicBezTo>
                  <a:cubicBezTo>
                    <a:pt x="202406" y="208979"/>
                    <a:pt x="186785" y="207550"/>
                    <a:pt x="170307" y="207550"/>
                  </a:cubicBezTo>
                  <a:cubicBezTo>
                    <a:pt x="143446" y="207550"/>
                    <a:pt x="122491" y="212693"/>
                    <a:pt x="107442" y="223075"/>
                  </a:cubicBezTo>
                  <a:cubicBezTo>
                    <a:pt x="92392" y="233458"/>
                    <a:pt x="84868" y="247555"/>
                    <a:pt x="84868" y="265462"/>
                  </a:cubicBezTo>
                  <a:lnTo>
                    <a:pt x="84868" y="266891"/>
                  </a:lnTo>
                  <a:cubicBezTo>
                    <a:pt x="84868" y="284798"/>
                    <a:pt x="91821" y="298418"/>
                    <a:pt x="105728" y="307848"/>
                  </a:cubicBezTo>
                  <a:cubicBezTo>
                    <a:pt x="119634" y="317278"/>
                    <a:pt x="136684" y="321945"/>
                    <a:pt x="156972" y="321945"/>
                  </a:cubicBezTo>
                  <a:cubicBezTo>
                    <a:pt x="171069" y="321945"/>
                    <a:pt x="184213" y="320040"/>
                    <a:pt x="196215" y="316325"/>
                  </a:cubicBezTo>
                  <a:cubicBezTo>
                    <a:pt x="208216" y="312515"/>
                    <a:pt x="218694" y="307277"/>
                    <a:pt x="227647" y="300419"/>
                  </a:cubicBezTo>
                  <a:cubicBezTo>
                    <a:pt x="236601" y="293561"/>
                    <a:pt x="243554" y="285369"/>
                    <a:pt x="248507" y="275654"/>
                  </a:cubicBezTo>
                  <a:cubicBezTo>
                    <a:pt x="253460" y="266033"/>
                    <a:pt x="255937" y="255270"/>
                    <a:pt x="255937" y="243459"/>
                  </a:cubicBezTo>
                  <a:lnTo>
                    <a:pt x="255937" y="222218"/>
                  </a:lnTo>
                  <a:close/>
                </a:path>
              </a:pathLst>
            </a:custGeom>
            <a:solidFill>
              <a:srgbClr val="44505E"/>
            </a:solidFill>
            <a:ln w="9525" cap="flat">
              <a:noFill/>
              <a:prstDash val="solid"/>
              <a:miter/>
            </a:ln>
          </p:spPr>
          <p:txBody>
            <a:bodyPr rtlCol="0" anchor="ctr"/>
            <a:lstStyle/>
            <a:p>
              <a:endParaRPr lang="pt-BR" noProof="0"/>
            </a:p>
          </p:txBody>
        </p:sp>
        <p:sp>
          <p:nvSpPr>
            <p:cNvPr id="28" name="Freeform: Shape 27">
              <a:extLst>
                <a:ext uri="{FF2B5EF4-FFF2-40B4-BE49-F238E27FC236}">
                  <a16:creationId xmlns:a16="http://schemas.microsoft.com/office/drawing/2014/main" id="{1B65CE3F-FD2B-811E-EF86-8C45658F22CB}"/>
                </a:ext>
              </a:extLst>
            </p:cNvPr>
            <p:cNvSpPr/>
            <p:nvPr/>
          </p:nvSpPr>
          <p:spPr>
            <a:xfrm>
              <a:off x="6088843" y="700318"/>
              <a:ext cx="74610" cy="97213"/>
            </a:xfrm>
            <a:custGeom>
              <a:avLst/>
              <a:gdLst>
                <a:gd name="connsiteX0" fmla="*/ 158305 w 296799"/>
                <a:gd name="connsiteY0" fmla="*/ 386715 h 386714"/>
                <a:gd name="connsiteX1" fmla="*/ 76676 w 296799"/>
                <a:gd name="connsiteY1" fmla="*/ 372427 h 386714"/>
                <a:gd name="connsiteX2" fmla="*/ 0 w 296799"/>
                <a:gd name="connsiteY2" fmla="*/ 330327 h 386714"/>
                <a:gd name="connsiteX3" fmla="*/ 38195 w 296799"/>
                <a:gd name="connsiteY3" fmla="*/ 272224 h 386714"/>
                <a:gd name="connsiteX4" fmla="*/ 100013 w 296799"/>
                <a:gd name="connsiteY4" fmla="*/ 306514 h 386714"/>
                <a:gd name="connsiteX5" fmla="*/ 160401 w 296799"/>
                <a:gd name="connsiteY5" fmla="*/ 318135 h 386714"/>
                <a:gd name="connsiteX6" fmla="*/ 203168 w 296799"/>
                <a:gd name="connsiteY6" fmla="*/ 307181 h 386714"/>
                <a:gd name="connsiteX7" fmla="*/ 218408 w 296799"/>
                <a:gd name="connsiteY7" fmla="*/ 277939 h 386714"/>
                <a:gd name="connsiteX8" fmla="*/ 218408 w 296799"/>
                <a:gd name="connsiteY8" fmla="*/ 276511 h 386714"/>
                <a:gd name="connsiteX9" fmla="*/ 211646 w 296799"/>
                <a:gd name="connsiteY9" fmla="*/ 258223 h 386714"/>
                <a:gd name="connsiteX10" fmla="*/ 193262 w 296799"/>
                <a:gd name="connsiteY10" fmla="*/ 244792 h 386714"/>
                <a:gd name="connsiteX11" fmla="*/ 166402 w 296799"/>
                <a:gd name="connsiteY11" fmla="*/ 234220 h 386714"/>
                <a:gd name="connsiteX12" fmla="*/ 134969 w 296799"/>
                <a:gd name="connsiteY12" fmla="*/ 224314 h 386714"/>
                <a:gd name="connsiteX13" fmla="*/ 93631 w 296799"/>
                <a:gd name="connsiteY13" fmla="*/ 210884 h 386714"/>
                <a:gd name="connsiteX14" fmla="*/ 56197 w 296799"/>
                <a:gd name="connsiteY14" fmla="*/ 190786 h 386714"/>
                <a:gd name="connsiteX15" fmla="*/ 28956 w 296799"/>
                <a:gd name="connsiteY15" fmla="*/ 160115 h 386714"/>
                <a:gd name="connsiteX16" fmla="*/ 18383 w 296799"/>
                <a:gd name="connsiteY16" fmla="*/ 114967 h 386714"/>
                <a:gd name="connsiteX17" fmla="*/ 18383 w 296799"/>
                <a:gd name="connsiteY17" fmla="*/ 113538 h 386714"/>
                <a:gd name="connsiteX18" fmla="*/ 28575 w 296799"/>
                <a:gd name="connsiteY18" fmla="*/ 66294 h 386714"/>
                <a:gd name="connsiteX19" fmla="*/ 56864 w 296799"/>
                <a:gd name="connsiteY19" fmla="*/ 30385 h 386714"/>
                <a:gd name="connsiteX20" fmla="*/ 99250 w 296799"/>
                <a:gd name="connsiteY20" fmla="*/ 7810 h 386714"/>
                <a:gd name="connsiteX21" fmla="*/ 151162 w 296799"/>
                <a:gd name="connsiteY21" fmla="*/ 0 h 386714"/>
                <a:gd name="connsiteX22" fmla="*/ 222504 w 296799"/>
                <a:gd name="connsiteY22" fmla="*/ 11430 h 386714"/>
                <a:gd name="connsiteX23" fmla="*/ 288227 w 296799"/>
                <a:gd name="connsiteY23" fmla="*/ 42863 h 386714"/>
                <a:gd name="connsiteX24" fmla="*/ 254317 w 296799"/>
                <a:gd name="connsiteY24" fmla="*/ 103918 h 386714"/>
                <a:gd name="connsiteX25" fmla="*/ 199930 w 296799"/>
                <a:gd name="connsiteY25" fmla="*/ 78105 h 386714"/>
                <a:gd name="connsiteX26" fmla="*/ 149066 w 296799"/>
                <a:gd name="connsiteY26" fmla="*/ 68580 h 386714"/>
                <a:gd name="connsiteX27" fmla="*/ 110585 w 296799"/>
                <a:gd name="connsiteY27" fmla="*/ 79153 h 386714"/>
                <a:gd name="connsiteX28" fmla="*/ 96774 w 296799"/>
                <a:gd name="connsiteY28" fmla="*/ 105918 h 386714"/>
                <a:gd name="connsiteX29" fmla="*/ 96774 w 296799"/>
                <a:gd name="connsiteY29" fmla="*/ 107347 h 386714"/>
                <a:gd name="connsiteX30" fmla="*/ 103822 w 296799"/>
                <a:gd name="connsiteY30" fmla="*/ 124587 h 386714"/>
                <a:gd name="connsiteX31" fmla="*/ 122587 w 296799"/>
                <a:gd name="connsiteY31" fmla="*/ 138017 h 386714"/>
                <a:gd name="connsiteX32" fmla="*/ 149447 w 296799"/>
                <a:gd name="connsiteY32" fmla="*/ 149257 h 386714"/>
                <a:gd name="connsiteX33" fmla="*/ 180880 w 296799"/>
                <a:gd name="connsiteY33" fmla="*/ 159448 h 386714"/>
                <a:gd name="connsiteX34" fmla="*/ 221837 w 296799"/>
                <a:gd name="connsiteY34" fmla="*/ 174212 h 386714"/>
                <a:gd name="connsiteX35" fmla="*/ 258985 w 296799"/>
                <a:gd name="connsiteY35" fmla="*/ 194977 h 386714"/>
                <a:gd name="connsiteX36" fmla="*/ 286226 w 296799"/>
                <a:gd name="connsiteY36" fmla="*/ 224980 h 386714"/>
                <a:gd name="connsiteX37" fmla="*/ 296799 w 296799"/>
                <a:gd name="connsiteY37" fmla="*/ 267938 h 386714"/>
                <a:gd name="connsiteX38" fmla="*/ 296799 w 296799"/>
                <a:gd name="connsiteY38" fmla="*/ 269367 h 386714"/>
                <a:gd name="connsiteX39" fmla="*/ 286226 w 296799"/>
                <a:gd name="connsiteY39" fmla="*/ 320897 h 386714"/>
                <a:gd name="connsiteX40" fmla="*/ 256889 w 296799"/>
                <a:gd name="connsiteY40" fmla="*/ 357188 h 386714"/>
                <a:gd name="connsiteX41" fmla="*/ 212693 w 296799"/>
                <a:gd name="connsiteY41" fmla="*/ 379095 h 386714"/>
                <a:gd name="connsiteX42" fmla="*/ 158305 w 296799"/>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799"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065" y="318135"/>
                    <a:pt x="160401" y="318135"/>
                  </a:cubicBezTo>
                  <a:cubicBezTo>
                    <a:pt x="179737" y="318135"/>
                    <a:pt x="193072"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828" y="227647"/>
                    <a:pt x="134969" y="224314"/>
                  </a:cubicBezTo>
                  <a:cubicBezTo>
                    <a:pt x="121348" y="220599"/>
                    <a:pt x="107537" y="216122"/>
                    <a:pt x="93631" y="210884"/>
                  </a:cubicBezTo>
                  <a:cubicBezTo>
                    <a:pt x="79724" y="205740"/>
                    <a:pt x="67246" y="198977"/>
                    <a:pt x="56197" y="190786"/>
                  </a:cubicBezTo>
                  <a:cubicBezTo>
                    <a:pt x="45148" y="182594"/>
                    <a:pt x="36004"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874" y="0"/>
                    <a:pt x="151162" y="0"/>
                  </a:cubicBezTo>
                  <a:cubicBezTo>
                    <a:pt x="174688" y="0"/>
                    <a:pt x="198501" y="3810"/>
                    <a:pt x="222504" y="11430"/>
                  </a:cubicBezTo>
                  <a:cubicBezTo>
                    <a:pt x="246507" y="19050"/>
                    <a:pt x="268414" y="29527"/>
                    <a:pt x="288227" y="42863"/>
                  </a:cubicBezTo>
                  <a:lnTo>
                    <a:pt x="254317"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774" y="95155"/>
                    <a:pt x="96774" y="105918"/>
                  </a:cubicBezTo>
                  <a:lnTo>
                    <a:pt x="96774" y="107347"/>
                  </a:lnTo>
                  <a:cubicBezTo>
                    <a:pt x="96774" y="113919"/>
                    <a:pt x="99155" y="119634"/>
                    <a:pt x="103822" y="124587"/>
                  </a:cubicBezTo>
                  <a:cubicBezTo>
                    <a:pt x="108490" y="129540"/>
                    <a:pt x="114776" y="134017"/>
                    <a:pt x="122587" y="138017"/>
                  </a:cubicBezTo>
                  <a:cubicBezTo>
                    <a:pt x="130397" y="142018"/>
                    <a:pt x="139351" y="145732"/>
                    <a:pt x="149447" y="149257"/>
                  </a:cubicBezTo>
                  <a:cubicBezTo>
                    <a:pt x="159544" y="152781"/>
                    <a:pt x="170021" y="156210"/>
                    <a:pt x="180880" y="159448"/>
                  </a:cubicBezTo>
                  <a:cubicBezTo>
                    <a:pt x="194500" y="163639"/>
                    <a:pt x="208216" y="168592"/>
                    <a:pt x="221837" y="174212"/>
                  </a:cubicBezTo>
                  <a:cubicBezTo>
                    <a:pt x="235458" y="179832"/>
                    <a:pt x="247840" y="186785"/>
                    <a:pt x="258985" y="194977"/>
                  </a:cubicBezTo>
                  <a:cubicBezTo>
                    <a:pt x="270034" y="203168"/>
                    <a:pt x="279178" y="213169"/>
                    <a:pt x="286226" y="224980"/>
                  </a:cubicBezTo>
                  <a:cubicBezTo>
                    <a:pt x="293275" y="236696"/>
                    <a:pt x="296799" y="251079"/>
                    <a:pt x="296799" y="267938"/>
                  </a:cubicBezTo>
                  <a:lnTo>
                    <a:pt x="296799" y="269367"/>
                  </a:lnTo>
                  <a:cubicBezTo>
                    <a:pt x="296799" y="289084"/>
                    <a:pt x="293275" y="306229"/>
                    <a:pt x="286226" y="320897"/>
                  </a:cubicBezTo>
                  <a:cubicBezTo>
                    <a:pt x="279178" y="335470"/>
                    <a:pt x="269367" y="347567"/>
                    <a:pt x="256889" y="357188"/>
                  </a:cubicBezTo>
                  <a:cubicBezTo>
                    <a:pt x="244412" y="366808"/>
                    <a:pt x="229648" y="374142"/>
                    <a:pt x="212693" y="379095"/>
                  </a:cubicBezTo>
                  <a:cubicBezTo>
                    <a:pt x="195739" y="384048"/>
                    <a:pt x="177641" y="386524"/>
                    <a:pt x="158305" y="386524"/>
                  </a:cubicBezTo>
                  <a:close/>
                </a:path>
              </a:pathLst>
            </a:custGeom>
            <a:solidFill>
              <a:srgbClr val="44505E"/>
            </a:solidFill>
            <a:ln w="9525" cap="flat">
              <a:noFill/>
              <a:prstDash val="solid"/>
              <a:miter/>
            </a:ln>
          </p:spPr>
          <p:txBody>
            <a:bodyPr rtlCol="0" anchor="ctr"/>
            <a:lstStyle/>
            <a:p>
              <a:endParaRPr lang="pt-BR" noProof="0"/>
            </a:p>
          </p:txBody>
        </p:sp>
        <p:sp>
          <p:nvSpPr>
            <p:cNvPr id="29" name="Freeform: Shape 28">
              <a:extLst>
                <a:ext uri="{FF2B5EF4-FFF2-40B4-BE49-F238E27FC236}">
                  <a16:creationId xmlns:a16="http://schemas.microsoft.com/office/drawing/2014/main" id="{0B9973D3-E513-6588-D278-F3607FD320BD}"/>
                </a:ext>
              </a:extLst>
            </p:cNvPr>
            <p:cNvSpPr/>
            <p:nvPr/>
          </p:nvSpPr>
          <p:spPr>
            <a:xfrm>
              <a:off x="6238590"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4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7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2 w 568166"/>
                <a:gd name="connsiteY21" fmla="*/ 381000 h 381000"/>
                <a:gd name="connsiteX22" fmla="*/ 240982 w 568166"/>
                <a:gd name="connsiteY22" fmla="*/ 168783 h 381000"/>
                <a:gd name="connsiteX23" fmla="*/ 221266 w 568166"/>
                <a:gd name="connsiteY23" fmla="*/ 101822 h 381000"/>
                <a:gd name="connsiteX24" fmla="*/ 165640 w 568166"/>
                <a:gd name="connsiteY24" fmla="*/ 78581 h 381000"/>
                <a:gd name="connsiteX25" fmla="*/ 108013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69" y="48196"/>
                    <a:pt x="105918" y="40576"/>
                  </a:cubicBezTo>
                  <a:cubicBezTo>
                    <a:pt x="112966" y="32956"/>
                    <a:pt x="121063" y="26099"/>
                    <a:pt x="130207" y="19907"/>
                  </a:cubicBezTo>
                  <a:cubicBezTo>
                    <a:pt x="139351" y="13716"/>
                    <a:pt x="149638" y="8858"/>
                    <a:pt x="161163" y="5334"/>
                  </a:cubicBezTo>
                  <a:cubicBezTo>
                    <a:pt x="172688" y="1714"/>
                    <a:pt x="185452" y="0"/>
                    <a:pt x="199549" y="0"/>
                  </a:cubicBezTo>
                  <a:cubicBezTo>
                    <a:pt x="226314" y="0"/>
                    <a:pt x="248983" y="6096"/>
                    <a:pt x="267557" y="18193"/>
                  </a:cubicBezTo>
                  <a:cubicBezTo>
                    <a:pt x="286131" y="30289"/>
                    <a:pt x="300323" y="46387"/>
                    <a:pt x="310134" y="66294"/>
                  </a:cubicBezTo>
                  <a:cubicBezTo>
                    <a:pt x="325279" y="46387"/>
                    <a:pt x="343090" y="30289"/>
                    <a:pt x="363664" y="18193"/>
                  </a:cubicBezTo>
                  <a:cubicBezTo>
                    <a:pt x="384238" y="6096"/>
                    <a:pt x="408718" y="0"/>
                    <a:pt x="437007" y="0"/>
                  </a:cubicBezTo>
                  <a:cubicBezTo>
                    <a:pt x="478155"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7" y="78486"/>
                  </a:cubicBezTo>
                  <a:cubicBezTo>
                    <a:pt x="382809" y="78486"/>
                    <a:pt x="364141" y="86392"/>
                    <a:pt x="349377" y="102108"/>
                  </a:cubicBezTo>
                  <a:cubicBezTo>
                    <a:pt x="334613" y="117824"/>
                    <a:pt x="327184" y="140779"/>
                    <a:pt x="327184" y="170879"/>
                  </a:cubicBezTo>
                  <a:lnTo>
                    <a:pt x="327184" y="381000"/>
                  </a:lnTo>
                  <a:lnTo>
                    <a:pt x="240982" y="381000"/>
                  </a:lnTo>
                  <a:lnTo>
                    <a:pt x="240982" y="168783"/>
                  </a:lnTo>
                  <a:cubicBezTo>
                    <a:pt x="240982" y="139637"/>
                    <a:pt x="234410" y="117348"/>
                    <a:pt x="221266" y="101822"/>
                  </a:cubicBezTo>
                  <a:cubicBezTo>
                    <a:pt x="208121" y="86296"/>
                    <a:pt x="189547" y="78581"/>
                    <a:pt x="165640" y="78581"/>
                  </a:cubicBezTo>
                  <a:cubicBezTo>
                    <a:pt x="141732" y="78581"/>
                    <a:pt x="122491" y="86773"/>
                    <a:pt x="108013"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30" name="Freeform: Shape 29">
              <a:extLst>
                <a:ext uri="{FF2B5EF4-FFF2-40B4-BE49-F238E27FC236}">
                  <a16:creationId xmlns:a16="http://schemas.microsoft.com/office/drawing/2014/main" id="{982CDE6E-FAEE-6D12-F0E7-EC160640A37F}"/>
                </a:ext>
              </a:extLst>
            </p:cNvPr>
            <p:cNvSpPr/>
            <p:nvPr/>
          </p:nvSpPr>
          <p:spPr>
            <a:xfrm>
              <a:off x="6400979" y="664258"/>
              <a:ext cx="85097" cy="133441"/>
            </a:xfrm>
            <a:custGeom>
              <a:avLst/>
              <a:gdLst>
                <a:gd name="connsiteX0" fmla="*/ 253651 w 338518"/>
                <a:gd name="connsiteY0" fmla="*/ 523018 h 530828"/>
                <a:gd name="connsiteX1" fmla="*/ 253651 w 338518"/>
                <a:gd name="connsiteY1" fmla="*/ 477107 h 530828"/>
                <a:gd name="connsiteX2" fmla="*/ 204883 w 338518"/>
                <a:gd name="connsiteY2" fmla="*/ 515303 h 530828"/>
                <a:gd name="connsiteX3" fmla="*/ 132779 w 338518"/>
                <a:gd name="connsiteY3" fmla="*/ 530828 h 530828"/>
                <a:gd name="connsiteX4" fmla="*/ 81915 w 338518"/>
                <a:gd name="connsiteY4" fmla="*/ 523399 h 530828"/>
                <a:gd name="connsiteX5" fmla="*/ 39910 w 338518"/>
                <a:gd name="connsiteY5" fmla="*/ 501491 h 530828"/>
                <a:gd name="connsiteX6" fmla="*/ 10954 w 338518"/>
                <a:gd name="connsiteY6" fmla="*/ 465487 h 530828"/>
                <a:gd name="connsiteX7" fmla="*/ 0 w 338518"/>
                <a:gd name="connsiteY7" fmla="*/ 415671 h 530828"/>
                <a:gd name="connsiteX8" fmla="*/ 0 w 338518"/>
                <a:gd name="connsiteY8" fmla="*/ 414242 h 530828"/>
                <a:gd name="connsiteX9" fmla="*/ 11335 w 338518"/>
                <a:gd name="connsiteY9" fmla="*/ 360140 h 530828"/>
                <a:gd name="connsiteX10" fmla="*/ 42767 w 338518"/>
                <a:gd name="connsiteY10" fmla="*/ 321945 h 530828"/>
                <a:gd name="connsiteX11" fmla="*/ 90773 w 338518"/>
                <a:gd name="connsiteY11" fmla="*/ 299371 h 530828"/>
                <a:gd name="connsiteX12" fmla="*/ 151162 w 338518"/>
                <a:gd name="connsiteY12" fmla="*/ 291941 h 530828"/>
                <a:gd name="connsiteX13" fmla="*/ 208788 w 338518"/>
                <a:gd name="connsiteY13" fmla="*/ 296228 h 530828"/>
                <a:gd name="connsiteX14" fmla="*/ 254413 w 338518"/>
                <a:gd name="connsiteY14" fmla="*/ 307562 h 530828"/>
                <a:gd name="connsiteX15" fmla="*/ 254413 w 338518"/>
                <a:gd name="connsiteY15" fmla="*/ 300514 h 530828"/>
                <a:gd name="connsiteX16" fmla="*/ 230696 w 338518"/>
                <a:gd name="connsiteY16" fmla="*/ 241173 h 530828"/>
                <a:gd name="connsiteX17" fmla="*/ 162496 w 338518"/>
                <a:gd name="connsiteY17" fmla="*/ 220694 h 530828"/>
                <a:gd name="connsiteX18" fmla="*/ 106013 w 338518"/>
                <a:gd name="connsiteY18" fmla="*/ 227076 h 530828"/>
                <a:gd name="connsiteX19" fmla="*/ 55817 w 338518"/>
                <a:gd name="connsiteY19" fmla="*/ 244031 h 530828"/>
                <a:gd name="connsiteX20" fmla="*/ 32480 w 338518"/>
                <a:gd name="connsiteY20" fmla="*/ 175451 h 530828"/>
                <a:gd name="connsiteX21" fmla="*/ 96107 w 338518"/>
                <a:gd name="connsiteY21" fmla="*/ 152876 h 530828"/>
                <a:gd name="connsiteX22" fmla="*/ 174593 w 338518"/>
                <a:gd name="connsiteY22" fmla="*/ 144399 h 530828"/>
                <a:gd name="connsiteX23" fmla="*/ 298228 w 338518"/>
                <a:gd name="connsiteY23" fmla="*/ 185738 h 530828"/>
                <a:gd name="connsiteX24" fmla="*/ 338519 w 338518"/>
                <a:gd name="connsiteY24" fmla="*/ 301943 h 530828"/>
                <a:gd name="connsiteX25" fmla="*/ 338519 w 338518"/>
                <a:gd name="connsiteY25" fmla="*/ 523113 h 530828"/>
                <a:gd name="connsiteX26" fmla="*/ 253746 w 338518"/>
                <a:gd name="connsiteY26" fmla="*/ 523113 h 530828"/>
                <a:gd name="connsiteX27" fmla="*/ 45911 w 338518"/>
                <a:gd name="connsiteY27" fmla="*/ 95441 h 530828"/>
                <a:gd name="connsiteX28" fmla="*/ 75248 w 338518"/>
                <a:gd name="connsiteY28" fmla="*/ 29718 h 530828"/>
                <a:gd name="connsiteX29" fmla="*/ 125063 w 338518"/>
                <a:gd name="connsiteY29" fmla="*/ 7144 h 530828"/>
                <a:gd name="connsiteX30" fmla="*/ 154019 w 338518"/>
                <a:gd name="connsiteY30" fmla="*/ 11716 h 530828"/>
                <a:gd name="connsiteX31" fmla="*/ 181261 w 338518"/>
                <a:gd name="connsiteY31" fmla="*/ 21622 h 530828"/>
                <a:gd name="connsiteX32" fmla="*/ 205645 w 338518"/>
                <a:gd name="connsiteY32" fmla="*/ 31147 h 530828"/>
                <a:gd name="connsiteX33" fmla="*/ 226790 w 338518"/>
                <a:gd name="connsiteY33" fmla="*/ 35338 h 530828"/>
                <a:gd name="connsiteX34" fmla="*/ 250127 w 338518"/>
                <a:gd name="connsiteY34" fmla="*/ 26861 h 530828"/>
                <a:gd name="connsiteX35" fmla="*/ 265652 w 338518"/>
                <a:gd name="connsiteY35" fmla="*/ 0 h 530828"/>
                <a:gd name="connsiteX36" fmla="*/ 312991 w 338518"/>
                <a:gd name="connsiteY36" fmla="*/ 14859 h 530828"/>
                <a:gd name="connsiteX37" fmla="*/ 283655 w 338518"/>
                <a:gd name="connsiteY37" fmla="*/ 79820 h 530828"/>
                <a:gd name="connsiteX38" fmla="*/ 233839 w 338518"/>
                <a:gd name="connsiteY38" fmla="*/ 102394 h 530828"/>
                <a:gd name="connsiteX39" fmla="*/ 204883 w 338518"/>
                <a:gd name="connsiteY39" fmla="*/ 98203 h 530828"/>
                <a:gd name="connsiteX40" fmla="*/ 177641 w 338518"/>
                <a:gd name="connsiteY40" fmla="*/ 88678 h 530828"/>
                <a:gd name="connsiteX41" fmla="*/ 152876 w 338518"/>
                <a:gd name="connsiteY41" fmla="*/ 78772 h 530828"/>
                <a:gd name="connsiteX42" fmla="*/ 132017 w 338518"/>
                <a:gd name="connsiteY42" fmla="*/ 74200 h 530828"/>
                <a:gd name="connsiteX43" fmla="*/ 108680 w 338518"/>
                <a:gd name="connsiteY43" fmla="*/ 82677 h 530828"/>
                <a:gd name="connsiteX44" fmla="*/ 93154 w 338518"/>
                <a:gd name="connsiteY44" fmla="*/ 109538 h 530828"/>
                <a:gd name="connsiteX45" fmla="*/ 45815 w 338518"/>
                <a:gd name="connsiteY45" fmla="*/ 95441 h 530828"/>
                <a:gd name="connsiteX46" fmla="*/ 255842 w 338518"/>
                <a:gd name="connsiteY46" fmla="*/ 366808 h 530828"/>
                <a:gd name="connsiteX47" fmla="*/ 217361 w 338518"/>
                <a:gd name="connsiteY47" fmla="*/ 356235 h 530828"/>
                <a:gd name="connsiteX48" fmla="*/ 170402 w 338518"/>
                <a:gd name="connsiteY48" fmla="*/ 351949 h 530828"/>
                <a:gd name="connsiteX49" fmla="*/ 107537 w 338518"/>
                <a:gd name="connsiteY49" fmla="*/ 367475 h 530828"/>
                <a:gd name="connsiteX50" fmla="*/ 84963 w 338518"/>
                <a:gd name="connsiteY50" fmla="*/ 409861 h 530828"/>
                <a:gd name="connsiteX51" fmla="*/ 84963 w 338518"/>
                <a:gd name="connsiteY51" fmla="*/ 411290 h 530828"/>
                <a:gd name="connsiteX52" fmla="*/ 105823 w 338518"/>
                <a:gd name="connsiteY52" fmla="*/ 452247 h 530828"/>
                <a:gd name="connsiteX53" fmla="*/ 157067 w 338518"/>
                <a:gd name="connsiteY53" fmla="*/ 466344 h 530828"/>
                <a:gd name="connsiteX54" fmla="*/ 196310 w 338518"/>
                <a:gd name="connsiteY54" fmla="*/ 460724 h 530828"/>
                <a:gd name="connsiteX55" fmla="*/ 227743 w 338518"/>
                <a:gd name="connsiteY55" fmla="*/ 444818 h 530828"/>
                <a:gd name="connsiteX56" fmla="*/ 248603 w 338518"/>
                <a:gd name="connsiteY56" fmla="*/ 420053 h 530828"/>
                <a:gd name="connsiteX57" fmla="*/ 256032 w 338518"/>
                <a:gd name="connsiteY57" fmla="*/ 387858 h 530828"/>
                <a:gd name="connsiteX58" fmla="*/ 256032 w 338518"/>
                <a:gd name="connsiteY58" fmla="*/ 366617 h 5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8518" h="530828">
                  <a:moveTo>
                    <a:pt x="253651" y="523018"/>
                  </a:moveTo>
                  <a:lnTo>
                    <a:pt x="253651" y="477107"/>
                  </a:lnTo>
                  <a:cubicBezTo>
                    <a:pt x="240887" y="492157"/>
                    <a:pt x="224695" y="504920"/>
                    <a:pt x="204883" y="515303"/>
                  </a:cubicBezTo>
                  <a:cubicBezTo>
                    <a:pt x="185071" y="525685"/>
                    <a:pt x="161068" y="530828"/>
                    <a:pt x="132779" y="530828"/>
                  </a:cubicBezTo>
                  <a:cubicBezTo>
                    <a:pt x="114871" y="530828"/>
                    <a:pt x="97917" y="528352"/>
                    <a:pt x="81915" y="523399"/>
                  </a:cubicBezTo>
                  <a:cubicBezTo>
                    <a:pt x="65913" y="518446"/>
                    <a:pt x="51911" y="511112"/>
                    <a:pt x="39910" y="501491"/>
                  </a:cubicBezTo>
                  <a:cubicBezTo>
                    <a:pt x="27908" y="491871"/>
                    <a:pt x="18193" y="479870"/>
                    <a:pt x="10954" y="465487"/>
                  </a:cubicBezTo>
                  <a:cubicBezTo>
                    <a:pt x="3620" y="451104"/>
                    <a:pt x="0" y="434531"/>
                    <a:pt x="0" y="415671"/>
                  </a:cubicBezTo>
                  <a:lnTo>
                    <a:pt x="0" y="414242"/>
                  </a:lnTo>
                  <a:cubicBezTo>
                    <a:pt x="0" y="393478"/>
                    <a:pt x="3810" y="375476"/>
                    <a:pt x="11335" y="360140"/>
                  </a:cubicBezTo>
                  <a:cubicBezTo>
                    <a:pt x="18860" y="344805"/>
                    <a:pt x="29337" y="332137"/>
                    <a:pt x="42767" y="321945"/>
                  </a:cubicBezTo>
                  <a:cubicBezTo>
                    <a:pt x="56198" y="311849"/>
                    <a:pt x="72200" y="304324"/>
                    <a:pt x="90773" y="299371"/>
                  </a:cubicBezTo>
                  <a:cubicBezTo>
                    <a:pt x="109347" y="294418"/>
                    <a:pt x="129540" y="291941"/>
                    <a:pt x="151162" y="291941"/>
                  </a:cubicBezTo>
                  <a:cubicBezTo>
                    <a:pt x="172784" y="291941"/>
                    <a:pt x="192977" y="293370"/>
                    <a:pt x="208788" y="296228"/>
                  </a:cubicBezTo>
                  <a:cubicBezTo>
                    <a:pt x="224600" y="299085"/>
                    <a:pt x="239744" y="302800"/>
                    <a:pt x="254413" y="307562"/>
                  </a:cubicBezTo>
                  <a:lnTo>
                    <a:pt x="254413" y="300514"/>
                  </a:lnTo>
                  <a:cubicBezTo>
                    <a:pt x="254413" y="274606"/>
                    <a:pt x="246507" y="254794"/>
                    <a:pt x="230696" y="241173"/>
                  </a:cubicBezTo>
                  <a:cubicBezTo>
                    <a:pt x="214884" y="227552"/>
                    <a:pt x="192215" y="220694"/>
                    <a:pt x="162496" y="220694"/>
                  </a:cubicBezTo>
                  <a:cubicBezTo>
                    <a:pt x="141351" y="220694"/>
                    <a:pt x="122492" y="222790"/>
                    <a:pt x="106013" y="227076"/>
                  </a:cubicBezTo>
                  <a:cubicBezTo>
                    <a:pt x="89535" y="231362"/>
                    <a:pt x="72771" y="236982"/>
                    <a:pt x="55817" y="244031"/>
                  </a:cubicBezTo>
                  <a:lnTo>
                    <a:pt x="32480" y="175451"/>
                  </a:lnTo>
                  <a:cubicBezTo>
                    <a:pt x="53150" y="166021"/>
                    <a:pt x="74390" y="158496"/>
                    <a:pt x="96107" y="152876"/>
                  </a:cubicBezTo>
                  <a:cubicBezTo>
                    <a:pt x="117729" y="147257"/>
                    <a:pt x="143923" y="144399"/>
                    <a:pt x="174593" y="144399"/>
                  </a:cubicBezTo>
                  <a:cubicBezTo>
                    <a:pt x="230124" y="144399"/>
                    <a:pt x="271367" y="158210"/>
                    <a:pt x="298228" y="185738"/>
                  </a:cubicBezTo>
                  <a:cubicBezTo>
                    <a:pt x="325088" y="213265"/>
                    <a:pt x="338519" y="252032"/>
                    <a:pt x="338519" y="301943"/>
                  </a:cubicBezTo>
                  <a:lnTo>
                    <a:pt x="338519" y="523113"/>
                  </a:lnTo>
                  <a:lnTo>
                    <a:pt x="253746" y="523113"/>
                  </a:lnTo>
                  <a:close/>
                  <a:moveTo>
                    <a:pt x="45911" y="95441"/>
                  </a:moveTo>
                  <a:cubicBezTo>
                    <a:pt x="53912" y="66675"/>
                    <a:pt x="63722" y="44768"/>
                    <a:pt x="75248" y="29718"/>
                  </a:cubicBezTo>
                  <a:cubicBezTo>
                    <a:pt x="86773" y="14669"/>
                    <a:pt x="103442" y="7144"/>
                    <a:pt x="125063" y="7144"/>
                  </a:cubicBezTo>
                  <a:cubicBezTo>
                    <a:pt x="134969" y="7144"/>
                    <a:pt x="144590" y="8668"/>
                    <a:pt x="154019" y="11716"/>
                  </a:cubicBezTo>
                  <a:cubicBezTo>
                    <a:pt x="163449" y="14764"/>
                    <a:pt x="172498" y="18098"/>
                    <a:pt x="181261" y="21622"/>
                  </a:cubicBezTo>
                  <a:cubicBezTo>
                    <a:pt x="189929" y="25146"/>
                    <a:pt x="198120" y="28385"/>
                    <a:pt x="205645" y="31147"/>
                  </a:cubicBezTo>
                  <a:cubicBezTo>
                    <a:pt x="213170" y="34004"/>
                    <a:pt x="220218" y="35338"/>
                    <a:pt x="226790" y="35338"/>
                  </a:cubicBezTo>
                  <a:cubicBezTo>
                    <a:pt x="237173" y="35338"/>
                    <a:pt x="244888" y="32480"/>
                    <a:pt x="250127" y="26861"/>
                  </a:cubicBezTo>
                  <a:cubicBezTo>
                    <a:pt x="255270" y="21241"/>
                    <a:pt x="260509" y="12287"/>
                    <a:pt x="265652" y="0"/>
                  </a:cubicBezTo>
                  <a:lnTo>
                    <a:pt x="312991" y="14859"/>
                  </a:lnTo>
                  <a:cubicBezTo>
                    <a:pt x="304991" y="43148"/>
                    <a:pt x="295180" y="64770"/>
                    <a:pt x="283655" y="79820"/>
                  </a:cubicBezTo>
                  <a:cubicBezTo>
                    <a:pt x="272129" y="94869"/>
                    <a:pt x="255461" y="102394"/>
                    <a:pt x="233839" y="102394"/>
                  </a:cubicBezTo>
                  <a:cubicBezTo>
                    <a:pt x="223933" y="102394"/>
                    <a:pt x="214313" y="100965"/>
                    <a:pt x="204883" y="98203"/>
                  </a:cubicBezTo>
                  <a:cubicBezTo>
                    <a:pt x="195453" y="95345"/>
                    <a:pt x="186404" y="92202"/>
                    <a:pt x="177641" y="88678"/>
                  </a:cubicBezTo>
                  <a:cubicBezTo>
                    <a:pt x="168878" y="85154"/>
                    <a:pt x="160687" y="81820"/>
                    <a:pt x="152876" y="78772"/>
                  </a:cubicBezTo>
                  <a:cubicBezTo>
                    <a:pt x="145066" y="75724"/>
                    <a:pt x="138113" y="74200"/>
                    <a:pt x="132017" y="74200"/>
                  </a:cubicBezTo>
                  <a:cubicBezTo>
                    <a:pt x="121634" y="74200"/>
                    <a:pt x="113919" y="77057"/>
                    <a:pt x="108680" y="82677"/>
                  </a:cubicBezTo>
                  <a:cubicBezTo>
                    <a:pt x="103537" y="88297"/>
                    <a:pt x="98298" y="97250"/>
                    <a:pt x="93154" y="109538"/>
                  </a:cubicBezTo>
                  <a:lnTo>
                    <a:pt x="45815" y="95441"/>
                  </a:lnTo>
                  <a:close/>
                  <a:moveTo>
                    <a:pt x="255842" y="366808"/>
                  </a:moveTo>
                  <a:cubicBezTo>
                    <a:pt x="244983" y="362522"/>
                    <a:pt x="232124" y="358997"/>
                    <a:pt x="217361" y="356235"/>
                  </a:cubicBezTo>
                  <a:cubicBezTo>
                    <a:pt x="202502" y="353378"/>
                    <a:pt x="186880" y="351949"/>
                    <a:pt x="170402" y="351949"/>
                  </a:cubicBezTo>
                  <a:cubicBezTo>
                    <a:pt x="143542" y="351949"/>
                    <a:pt x="122587" y="357092"/>
                    <a:pt x="107537" y="367475"/>
                  </a:cubicBezTo>
                  <a:cubicBezTo>
                    <a:pt x="92488" y="377857"/>
                    <a:pt x="84963" y="391954"/>
                    <a:pt x="84963" y="409861"/>
                  </a:cubicBezTo>
                  <a:lnTo>
                    <a:pt x="84963" y="411290"/>
                  </a:lnTo>
                  <a:cubicBezTo>
                    <a:pt x="84963" y="429197"/>
                    <a:pt x="91916" y="442817"/>
                    <a:pt x="105823" y="452247"/>
                  </a:cubicBezTo>
                  <a:cubicBezTo>
                    <a:pt x="119729" y="461677"/>
                    <a:pt x="136779" y="466344"/>
                    <a:pt x="157067" y="466344"/>
                  </a:cubicBezTo>
                  <a:cubicBezTo>
                    <a:pt x="171164" y="466344"/>
                    <a:pt x="184309" y="464439"/>
                    <a:pt x="196310" y="460724"/>
                  </a:cubicBezTo>
                  <a:cubicBezTo>
                    <a:pt x="208312" y="456914"/>
                    <a:pt x="218789" y="451676"/>
                    <a:pt x="227743" y="444818"/>
                  </a:cubicBezTo>
                  <a:cubicBezTo>
                    <a:pt x="236696" y="437960"/>
                    <a:pt x="243650" y="429768"/>
                    <a:pt x="248603" y="420053"/>
                  </a:cubicBezTo>
                  <a:cubicBezTo>
                    <a:pt x="253555" y="410432"/>
                    <a:pt x="256032" y="399669"/>
                    <a:pt x="256032" y="387858"/>
                  </a:cubicBezTo>
                  <a:lnTo>
                    <a:pt x="256032" y="366617"/>
                  </a:lnTo>
                  <a:close/>
                </a:path>
              </a:pathLst>
            </a:custGeom>
            <a:solidFill>
              <a:srgbClr val="44505E"/>
            </a:solidFill>
            <a:ln w="9525" cap="flat">
              <a:noFill/>
              <a:prstDash val="solid"/>
              <a:miter/>
            </a:ln>
          </p:spPr>
          <p:txBody>
            <a:bodyPr rtlCol="0" anchor="ctr"/>
            <a:lstStyle/>
            <a:p>
              <a:endParaRPr lang="pt-BR" noProof="0"/>
            </a:p>
          </p:txBody>
        </p:sp>
        <p:sp>
          <p:nvSpPr>
            <p:cNvPr id="31" name="Freeform: Shape 30">
              <a:extLst>
                <a:ext uri="{FF2B5EF4-FFF2-40B4-BE49-F238E27FC236}">
                  <a16:creationId xmlns:a16="http://schemas.microsoft.com/office/drawing/2014/main" id="{D26C4898-0419-F456-61D5-D0C7DF92200F}"/>
                </a:ext>
              </a:extLst>
            </p:cNvPr>
            <p:cNvSpPr/>
            <p:nvPr/>
          </p:nvSpPr>
          <p:spPr>
            <a:xfrm>
              <a:off x="6506477" y="699959"/>
              <a:ext cx="100038" cy="97908"/>
            </a:xfrm>
            <a:custGeom>
              <a:avLst/>
              <a:gdLst>
                <a:gd name="connsiteX0" fmla="*/ 197834 w 397954"/>
                <a:gd name="connsiteY0" fmla="*/ 389477 h 389477"/>
                <a:gd name="connsiteX1" fmla="*/ 119063 w 397954"/>
                <a:gd name="connsiteY1" fmla="*/ 374237 h 389477"/>
                <a:gd name="connsiteX2" fmla="*/ 56198 w 397954"/>
                <a:gd name="connsiteY2" fmla="*/ 332899 h 389477"/>
                <a:gd name="connsiteX3" fmla="*/ 14859 w 397954"/>
                <a:gd name="connsiteY3" fmla="*/ 271463 h 389477"/>
                <a:gd name="connsiteX4" fmla="*/ 0 w 397954"/>
                <a:gd name="connsiteY4" fmla="*/ 196501 h 389477"/>
                <a:gd name="connsiteX5" fmla="*/ 0 w 397954"/>
                <a:gd name="connsiteY5" fmla="*/ 195072 h 389477"/>
                <a:gd name="connsiteX6" fmla="*/ 15240 w 397954"/>
                <a:gd name="connsiteY6" fmla="*/ 119444 h 389477"/>
                <a:gd name="connsiteX7" fmla="*/ 56960 w 397954"/>
                <a:gd name="connsiteY7" fmla="*/ 57626 h 389477"/>
                <a:gd name="connsiteX8" fmla="*/ 119825 w 397954"/>
                <a:gd name="connsiteY8" fmla="*/ 15526 h 389477"/>
                <a:gd name="connsiteX9" fmla="*/ 199358 w 397954"/>
                <a:gd name="connsiteY9" fmla="*/ 0 h 389477"/>
                <a:gd name="connsiteX10" fmla="*/ 278892 w 397954"/>
                <a:gd name="connsiteY10" fmla="*/ 15240 h 389477"/>
                <a:gd name="connsiteX11" fmla="*/ 341757 w 397954"/>
                <a:gd name="connsiteY11" fmla="*/ 56959 h 389477"/>
                <a:gd name="connsiteX12" fmla="*/ 383096 w 397954"/>
                <a:gd name="connsiteY12" fmla="*/ 118396 h 389477"/>
                <a:gd name="connsiteX13" fmla="*/ 397955 w 397954"/>
                <a:gd name="connsiteY13" fmla="*/ 193643 h 389477"/>
                <a:gd name="connsiteX14" fmla="*/ 397955 w 397954"/>
                <a:gd name="connsiteY14" fmla="*/ 195072 h 389477"/>
                <a:gd name="connsiteX15" fmla="*/ 382714 w 397954"/>
                <a:gd name="connsiteY15" fmla="*/ 270034 h 389477"/>
                <a:gd name="connsiteX16" fmla="*/ 340995 w 397954"/>
                <a:gd name="connsiteY16" fmla="*/ 331851 h 389477"/>
                <a:gd name="connsiteX17" fmla="*/ 277749 w 397954"/>
                <a:gd name="connsiteY17" fmla="*/ 373856 h 389477"/>
                <a:gd name="connsiteX18" fmla="*/ 197834 w 397954"/>
                <a:gd name="connsiteY18" fmla="*/ 389382 h 389477"/>
                <a:gd name="connsiteX19" fmla="*/ 199263 w 397954"/>
                <a:gd name="connsiteY19" fmla="*/ 315278 h 389477"/>
                <a:gd name="connsiteX20" fmla="*/ 245936 w 397954"/>
                <a:gd name="connsiteY20" fmla="*/ 305753 h 389477"/>
                <a:gd name="connsiteX21" fmla="*/ 281369 w 397954"/>
                <a:gd name="connsiteY21" fmla="*/ 279940 h 389477"/>
                <a:gd name="connsiteX22" fmla="*/ 303848 w 397954"/>
                <a:gd name="connsiteY22" fmla="*/ 242125 h 389477"/>
                <a:gd name="connsiteX23" fmla="*/ 311563 w 397954"/>
                <a:gd name="connsiteY23" fmla="*/ 196501 h 389477"/>
                <a:gd name="connsiteX24" fmla="*/ 311563 w 397954"/>
                <a:gd name="connsiteY24" fmla="*/ 195072 h 389477"/>
                <a:gd name="connsiteX25" fmla="*/ 303181 w 397954"/>
                <a:gd name="connsiteY25" fmla="*/ 148400 h 389477"/>
                <a:gd name="connsiteX26" fmla="*/ 279654 w 397954"/>
                <a:gd name="connsiteY26" fmla="*/ 110204 h 389477"/>
                <a:gd name="connsiteX27" fmla="*/ 243840 w 397954"/>
                <a:gd name="connsiteY27" fmla="*/ 84392 h 389477"/>
                <a:gd name="connsiteX28" fmla="*/ 197834 w 397954"/>
                <a:gd name="connsiteY28" fmla="*/ 74867 h 389477"/>
                <a:gd name="connsiteX29" fmla="*/ 151829 w 397954"/>
                <a:gd name="connsiteY29" fmla="*/ 84392 h 389477"/>
                <a:gd name="connsiteX30" fmla="*/ 116396 w 397954"/>
                <a:gd name="connsiteY30" fmla="*/ 109823 h 389477"/>
                <a:gd name="connsiteX31" fmla="*/ 93916 w 397954"/>
                <a:gd name="connsiteY31" fmla="*/ 147638 h 389477"/>
                <a:gd name="connsiteX32" fmla="*/ 86201 w 397954"/>
                <a:gd name="connsiteY32" fmla="*/ 193548 h 389477"/>
                <a:gd name="connsiteX33" fmla="*/ 86201 w 397954"/>
                <a:gd name="connsiteY33" fmla="*/ 194977 h 389477"/>
                <a:gd name="connsiteX34" fmla="*/ 94583 w 397954"/>
                <a:gd name="connsiteY34" fmla="*/ 241268 h 389477"/>
                <a:gd name="connsiteX35" fmla="*/ 118110 w 397954"/>
                <a:gd name="connsiteY35" fmla="*/ 279463 h 389477"/>
                <a:gd name="connsiteX36" fmla="*/ 153924 w 397954"/>
                <a:gd name="connsiteY36" fmla="*/ 305562 h 389477"/>
                <a:gd name="connsiteX37" fmla="*/ 199263 w 397954"/>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954" h="389477">
                  <a:moveTo>
                    <a:pt x="197834" y="389477"/>
                  </a:moveTo>
                  <a:cubicBezTo>
                    <a:pt x="169545" y="389477"/>
                    <a:pt x="143351" y="384429"/>
                    <a:pt x="119063" y="374237"/>
                  </a:cubicBezTo>
                  <a:cubicBezTo>
                    <a:pt x="94774" y="364141"/>
                    <a:pt x="73819" y="350330"/>
                    <a:pt x="56198" y="332899"/>
                  </a:cubicBezTo>
                  <a:cubicBezTo>
                    <a:pt x="38576" y="315468"/>
                    <a:pt x="24765" y="294989"/>
                    <a:pt x="14859" y="271463"/>
                  </a:cubicBezTo>
                  <a:cubicBezTo>
                    <a:pt x="4953" y="247936"/>
                    <a:pt x="0" y="222980"/>
                    <a:pt x="0" y="196501"/>
                  </a:cubicBezTo>
                  <a:lnTo>
                    <a:pt x="0" y="195072"/>
                  </a:lnTo>
                  <a:cubicBezTo>
                    <a:pt x="0" y="168212"/>
                    <a:pt x="5049" y="143066"/>
                    <a:pt x="15240" y="119444"/>
                  </a:cubicBezTo>
                  <a:cubicBezTo>
                    <a:pt x="25337" y="95917"/>
                    <a:pt x="39243" y="75248"/>
                    <a:pt x="56960" y="57626"/>
                  </a:cubicBezTo>
                  <a:cubicBezTo>
                    <a:pt x="74676" y="39910"/>
                    <a:pt x="95631" y="25908"/>
                    <a:pt x="119825" y="15526"/>
                  </a:cubicBezTo>
                  <a:cubicBezTo>
                    <a:pt x="144113" y="5144"/>
                    <a:pt x="170593" y="0"/>
                    <a:pt x="199358" y="0"/>
                  </a:cubicBezTo>
                  <a:cubicBezTo>
                    <a:pt x="228124" y="0"/>
                    <a:pt x="254604" y="5048"/>
                    <a:pt x="278892" y="15240"/>
                  </a:cubicBezTo>
                  <a:cubicBezTo>
                    <a:pt x="303181" y="25337"/>
                    <a:pt x="324136" y="39243"/>
                    <a:pt x="341757" y="56959"/>
                  </a:cubicBezTo>
                  <a:cubicBezTo>
                    <a:pt x="359379" y="74676"/>
                    <a:pt x="373189" y="95155"/>
                    <a:pt x="383096" y="118396"/>
                  </a:cubicBezTo>
                  <a:cubicBezTo>
                    <a:pt x="393002" y="141732"/>
                    <a:pt x="397955" y="166783"/>
                    <a:pt x="397955" y="193643"/>
                  </a:cubicBezTo>
                  <a:lnTo>
                    <a:pt x="397955" y="195072"/>
                  </a:lnTo>
                  <a:cubicBezTo>
                    <a:pt x="397955" y="221456"/>
                    <a:pt x="392906" y="246412"/>
                    <a:pt x="382714" y="270034"/>
                  </a:cubicBezTo>
                  <a:cubicBezTo>
                    <a:pt x="372618" y="293561"/>
                    <a:pt x="358712" y="314230"/>
                    <a:pt x="340995" y="331851"/>
                  </a:cubicBezTo>
                  <a:cubicBezTo>
                    <a:pt x="323279" y="349472"/>
                    <a:pt x="302229" y="363569"/>
                    <a:pt x="277749" y="373856"/>
                  </a:cubicBezTo>
                  <a:cubicBezTo>
                    <a:pt x="253270" y="384238"/>
                    <a:pt x="226600" y="389382"/>
                    <a:pt x="197834" y="389382"/>
                  </a:cubicBezTo>
                  <a:close/>
                  <a:moveTo>
                    <a:pt x="199263" y="315278"/>
                  </a:moveTo>
                  <a:cubicBezTo>
                    <a:pt x="216598" y="315278"/>
                    <a:pt x="232124" y="312039"/>
                    <a:pt x="245936" y="305753"/>
                  </a:cubicBezTo>
                  <a:cubicBezTo>
                    <a:pt x="259747" y="299371"/>
                    <a:pt x="271558" y="290798"/>
                    <a:pt x="281369" y="279940"/>
                  </a:cubicBezTo>
                  <a:cubicBezTo>
                    <a:pt x="291179" y="269081"/>
                    <a:pt x="298704" y="256508"/>
                    <a:pt x="303848" y="242125"/>
                  </a:cubicBezTo>
                  <a:cubicBezTo>
                    <a:pt x="308991" y="227743"/>
                    <a:pt x="311563" y="212598"/>
                    <a:pt x="311563" y="196501"/>
                  </a:cubicBezTo>
                  <a:lnTo>
                    <a:pt x="311563" y="195072"/>
                  </a:lnTo>
                  <a:cubicBezTo>
                    <a:pt x="311563" y="178594"/>
                    <a:pt x="308706" y="163068"/>
                    <a:pt x="303181" y="148400"/>
                  </a:cubicBezTo>
                  <a:cubicBezTo>
                    <a:pt x="297561" y="133826"/>
                    <a:pt x="289750" y="121063"/>
                    <a:pt x="279654" y="110204"/>
                  </a:cubicBezTo>
                  <a:cubicBezTo>
                    <a:pt x="269557" y="99346"/>
                    <a:pt x="257651" y="90773"/>
                    <a:pt x="243840" y="84392"/>
                  </a:cubicBezTo>
                  <a:cubicBezTo>
                    <a:pt x="230029" y="78010"/>
                    <a:pt x="214694" y="74867"/>
                    <a:pt x="197834" y="74867"/>
                  </a:cubicBezTo>
                  <a:cubicBezTo>
                    <a:pt x="180975" y="74867"/>
                    <a:pt x="165640" y="78010"/>
                    <a:pt x="151829" y="84392"/>
                  </a:cubicBezTo>
                  <a:cubicBezTo>
                    <a:pt x="138017" y="90773"/>
                    <a:pt x="126206" y="99250"/>
                    <a:pt x="116396" y="109823"/>
                  </a:cubicBezTo>
                  <a:cubicBezTo>
                    <a:pt x="106585" y="120396"/>
                    <a:pt x="99060" y="133064"/>
                    <a:pt x="93916" y="147638"/>
                  </a:cubicBezTo>
                  <a:cubicBezTo>
                    <a:pt x="88773" y="162211"/>
                    <a:pt x="86201" y="177546"/>
                    <a:pt x="86201" y="193548"/>
                  </a:cubicBezTo>
                  <a:lnTo>
                    <a:pt x="86201" y="194977"/>
                  </a:lnTo>
                  <a:cubicBezTo>
                    <a:pt x="86201" y="211455"/>
                    <a:pt x="89059" y="226886"/>
                    <a:pt x="94583" y="241268"/>
                  </a:cubicBezTo>
                  <a:cubicBezTo>
                    <a:pt x="100203" y="255651"/>
                    <a:pt x="108014" y="268319"/>
                    <a:pt x="118110" y="279463"/>
                  </a:cubicBezTo>
                  <a:cubicBezTo>
                    <a:pt x="128207" y="290608"/>
                    <a:pt x="140113" y="299275"/>
                    <a:pt x="153924" y="305562"/>
                  </a:cubicBezTo>
                  <a:cubicBezTo>
                    <a:pt x="167735" y="311944"/>
                    <a:pt x="182785"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32" name="Freeform: Shape 31">
              <a:extLst>
                <a:ext uri="{FF2B5EF4-FFF2-40B4-BE49-F238E27FC236}">
                  <a16:creationId xmlns:a16="http://schemas.microsoft.com/office/drawing/2014/main" id="{3E9845B7-F4E0-6E0F-19F9-1353ECF8CCAA}"/>
                </a:ext>
              </a:extLst>
            </p:cNvPr>
            <p:cNvSpPr/>
            <p:nvPr/>
          </p:nvSpPr>
          <p:spPr>
            <a:xfrm>
              <a:off x="662071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1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7 w 296894"/>
                <a:gd name="connsiteY23" fmla="*/ 42863 h 386714"/>
                <a:gd name="connsiteX24" fmla="*/ 254318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7 w 296894"/>
                <a:gd name="connsiteY30" fmla="*/ 124587 h 386714"/>
                <a:gd name="connsiteX31" fmla="*/ 122682 w 296894"/>
                <a:gd name="connsiteY31" fmla="*/ 138017 h 386714"/>
                <a:gd name="connsiteX32" fmla="*/ 149543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6" y="348901"/>
                    <a:pt x="0" y="330327"/>
                  </a:cubicBezTo>
                  <a:lnTo>
                    <a:pt x="38195" y="272224"/>
                  </a:lnTo>
                  <a:cubicBezTo>
                    <a:pt x="58484" y="287274"/>
                    <a:pt x="79057" y="298704"/>
                    <a:pt x="100013" y="306514"/>
                  </a:cubicBezTo>
                  <a:cubicBezTo>
                    <a:pt x="120968" y="314325"/>
                    <a:pt x="141161" y="318135"/>
                    <a:pt x="160401" y="318135"/>
                  </a:cubicBezTo>
                  <a:cubicBezTo>
                    <a:pt x="179641" y="318135"/>
                    <a:pt x="192977"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1" y="241078"/>
                    <a:pt x="176498" y="237553"/>
                    <a:pt x="166401"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2" y="40195"/>
                    <a:pt x="56864" y="30385"/>
                  </a:cubicBezTo>
                  <a:cubicBezTo>
                    <a:pt x="68866" y="20479"/>
                    <a:pt x="82962" y="12954"/>
                    <a:pt x="99250" y="7810"/>
                  </a:cubicBezTo>
                  <a:cubicBezTo>
                    <a:pt x="115538" y="2667"/>
                    <a:pt x="132779" y="0"/>
                    <a:pt x="151162" y="0"/>
                  </a:cubicBezTo>
                  <a:cubicBezTo>
                    <a:pt x="174688" y="0"/>
                    <a:pt x="198501" y="3810"/>
                    <a:pt x="222504" y="11430"/>
                  </a:cubicBezTo>
                  <a:cubicBezTo>
                    <a:pt x="246507" y="19050"/>
                    <a:pt x="268414" y="29527"/>
                    <a:pt x="288227" y="42863"/>
                  </a:cubicBezTo>
                  <a:lnTo>
                    <a:pt x="254318"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7" y="124587"/>
                  </a:cubicBezTo>
                  <a:cubicBezTo>
                    <a:pt x="108585" y="129540"/>
                    <a:pt x="114871" y="134017"/>
                    <a:pt x="122682" y="138017"/>
                  </a:cubicBezTo>
                  <a:cubicBezTo>
                    <a:pt x="130493" y="142018"/>
                    <a:pt x="139351" y="145732"/>
                    <a:pt x="149543"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696"/>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33" name="Freeform: Shape 32">
              <a:extLst>
                <a:ext uri="{FF2B5EF4-FFF2-40B4-BE49-F238E27FC236}">
                  <a16:creationId xmlns:a16="http://schemas.microsoft.com/office/drawing/2014/main" id="{37A7EC33-63F4-2147-A760-DE3D338DCD2D}"/>
                </a:ext>
              </a:extLst>
            </p:cNvPr>
            <p:cNvSpPr/>
            <p:nvPr/>
          </p:nvSpPr>
          <p:spPr>
            <a:xfrm>
              <a:off x="526693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4 w 202977"/>
                <a:gd name="connsiteY17" fmla="*/ 19907 h 239267"/>
                <a:gd name="connsiteX18" fmla="*/ 59246 w 202977"/>
                <a:gd name="connsiteY18" fmla="*/ 5429 h 239267"/>
                <a:gd name="connsiteX19" fmla="*/ 104299 w 202977"/>
                <a:gd name="connsiteY19" fmla="*/ 0 h 239267"/>
                <a:gd name="connsiteX20" fmla="*/ 178880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5 w 202977"/>
                <a:gd name="connsiteY27" fmla="*/ 211169 h 239267"/>
                <a:gd name="connsiteX28" fmla="*/ 122968 w 202977"/>
                <a:gd name="connsiteY28" fmla="*/ 206788 h 239267"/>
                <a:gd name="connsiteX29" fmla="*/ 147257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9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9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3" y="99155"/>
                    <a:pt x="58674" y="95917"/>
                  </a:cubicBezTo>
                  <a:cubicBezTo>
                    <a:pt x="70771" y="92678"/>
                    <a:pt x="84011" y="90964"/>
                    <a:pt x="98584" y="90964"/>
                  </a:cubicBezTo>
                  <a:cubicBezTo>
                    <a:pt x="113157" y="90964"/>
                    <a:pt x="126301" y="91821"/>
                    <a:pt x="137160" y="93631"/>
                  </a:cubicBezTo>
                  <a:cubicBezTo>
                    <a:pt x="148019" y="95440"/>
                    <a:pt x="158687" y="97822"/>
                    <a:pt x="169069" y="100774"/>
                  </a:cubicBezTo>
                  <a:lnTo>
                    <a:pt x="169069" y="93726"/>
                  </a:lnTo>
                  <a:cubicBezTo>
                    <a:pt x="169069" y="73342"/>
                    <a:pt x="163068" y="57912"/>
                    <a:pt x="151162" y="47339"/>
                  </a:cubicBezTo>
                  <a:cubicBezTo>
                    <a:pt x="139256" y="36862"/>
                    <a:pt x="122492" y="31623"/>
                    <a:pt x="100679" y="31623"/>
                  </a:cubicBezTo>
                  <a:cubicBezTo>
                    <a:pt x="86963" y="31623"/>
                    <a:pt x="74581" y="33147"/>
                    <a:pt x="63437" y="36100"/>
                  </a:cubicBezTo>
                  <a:cubicBezTo>
                    <a:pt x="52292" y="39053"/>
                    <a:pt x="41339" y="43053"/>
                    <a:pt x="30671" y="48196"/>
                  </a:cubicBezTo>
                  <a:lnTo>
                    <a:pt x="20384" y="19907"/>
                  </a:lnTo>
                  <a:cubicBezTo>
                    <a:pt x="33147" y="13906"/>
                    <a:pt x="46101" y="9049"/>
                    <a:pt x="59246" y="5429"/>
                  </a:cubicBezTo>
                  <a:cubicBezTo>
                    <a:pt x="72295" y="1810"/>
                    <a:pt x="87344" y="0"/>
                    <a:pt x="104299" y="0"/>
                  </a:cubicBezTo>
                  <a:cubicBezTo>
                    <a:pt x="137065" y="0"/>
                    <a:pt x="161925" y="8477"/>
                    <a:pt x="178880"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99" y="239173"/>
                    <a:pt x="86011" y="239173"/>
                  </a:cubicBezTo>
                  <a:close/>
                  <a:moveTo>
                    <a:pt x="93155" y="211169"/>
                  </a:moveTo>
                  <a:cubicBezTo>
                    <a:pt x="103823" y="211169"/>
                    <a:pt x="113728" y="209740"/>
                    <a:pt x="122968" y="206788"/>
                  </a:cubicBezTo>
                  <a:cubicBezTo>
                    <a:pt x="132207" y="203835"/>
                    <a:pt x="140208" y="199644"/>
                    <a:pt x="147257"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9" y="121444"/>
                  </a:cubicBezTo>
                  <a:cubicBezTo>
                    <a:pt x="129445" y="119348"/>
                    <a:pt x="116776"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244" y="190500"/>
                    <a:pt x="47435" y="195358"/>
                    <a:pt x="52769" y="199263"/>
                  </a:cubicBezTo>
                  <a:cubicBezTo>
                    <a:pt x="58103" y="203073"/>
                    <a:pt x="64294" y="206026"/>
                    <a:pt x="71247" y="208121"/>
                  </a:cubicBezTo>
                  <a:cubicBezTo>
                    <a:pt x="78200" y="210217"/>
                    <a:pt x="85535"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34" name="Freeform: Shape 33">
              <a:extLst>
                <a:ext uri="{FF2B5EF4-FFF2-40B4-BE49-F238E27FC236}">
                  <a16:creationId xmlns:a16="http://schemas.microsoft.com/office/drawing/2014/main" id="{7C8C2520-5A36-D5A5-FC53-2E76BC4F3186}"/>
                </a:ext>
              </a:extLst>
            </p:cNvPr>
            <p:cNvSpPr/>
            <p:nvPr/>
          </p:nvSpPr>
          <p:spPr>
            <a:xfrm>
              <a:off x="5331227"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9" y="303276"/>
                    <a:pt x="71438" y="300895"/>
                  </a:cubicBezTo>
                  <a:cubicBezTo>
                    <a:pt x="63437"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2"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5" name="Freeform: Shape 34">
              <a:extLst>
                <a:ext uri="{FF2B5EF4-FFF2-40B4-BE49-F238E27FC236}">
                  <a16:creationId xmlns:a16="http://schemas.microsoft.com/office/drawing/2014/main" id="{15014C07-58A7-0C7F-2F16-38782D0FD281}"/>
                </a:ext>
              </a:extLst>
            </p:cNvPr>
            <p:cNvSpPr/>
            <p:nvPr/>
          </p:nvSpPr>
          <p:spPr>
            <a:xfrm>
              <a:off x="5381845"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191 w 39242"/>
                <a:gd name="connsiteY5" fmla="*/ 88392 h 319182"/>
                <a:gd name="connsiteX6" fmla="*/ 36576 w 39242"/>
                <a:gd name="connsiteY6" fmla="*/ 88392 h 319182"/>
                <a:gd name="connsiteX7" fmla="*/ 36576 w 39242"/>
                <a:gd name="connsiteY7" fmla="*/ 319183 h 319182"/>
                <a:gd name="connsiteX8" fmla="*/ 2191 w 39242"/>
                <a:gd name="connsiteY8" fmla="*/ 319183 h 319182"/>
                <a:gd name="connsiteX9" fmla="*/ 2191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191" y="88392"/>
                  </a:moveTo>
                  <a:lnTo>
                    <a:pt x="36576" y="88392"/>
                  </a:lnTo>
                  <a:lnTo>
                    <a:pt x="36576" y="319183"/>
                  </a:lnTo>
                  <a:lnTo>
                    <a:pt x="2191" y="319183"/>
                  </a:lnTo>
                  <a:lnTo>
                    <a:pt x="2191" y="88392"/>
                  </a:lnTo>
                  <a:close/>
                </a:path>
              </a:pathLst>
            </a:custGeom>
            <a:solidFill>
              <a:srgbClr val="44505E"/>
            </a:solidFill>
            <a:ln w="9525" cap="flat">
              <a:noFill/>
              <a:prstDash val="solid"/>
              <a:miter/>
            </a:ln>
          </p:spPr>
          <p:txBody>
            <a:bodyPr rtlCol="0" anchor="ctr"/>
            <a:lstStyle/>
            <a:p>
              <a:endParaRPr lang="pt-BR" noProof="0"/>
            </a:p>
          </p:txBody>
        </p:sp>
        <p:sp>
          <p:nvSpPr>
            <p:cNvPr id="36" name="Freeform: Shape 35">
              <a:extLst>
                <a:ext uri="{FF2B5EF4-FFF2-40B4-BE49-F238E27FC236}">
                  <a16:creationId xmlns:a16="http://schemas.microsoft.com/office/drawing/2014/main" id="{F564632B-F55C-531B-4BA9-B6F4A67A1565}"/>
                </a:ext>
              </a:extLst>
            </p:cNvPr>
            <p:cNvSpPr/>
            <p:nvPr/>
          </p:nvSpPr>
          <p:spPr>
            <a:xfrm>
              <a:off x="5406076"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8" y="303276"/>
                    <a:pt x="71438" y="300895"/>
                  </a:cubicBezTo>
                  <a:cubicBezTo>
                    <a:pt x="63436"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1"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7" name="Freeform: Shape 36">
              <a:extLst>
                <a:ext uri="{FF2B5EF4-FFF2-40B4-BE49-F238E27FC236}">
                  <a16:creationId xmlns:a16="http://schemas.microsoft.com/office/drawing/2014/main" id="{690613A3-990F-BEEA-7D00-A5D3E33D5951}"/>
                </a:ext>
              </a:extLst>
            </p:cNvPr>
            <p:cNvSpPr/>
            <p:nvPr/>
          </p:nvSpPr>
          <p:spPr>
            <a:xfrm>
              <a:off x="5455545" y="925297"/>
              <a:ext cx="50594" cy="59238"/>
            </a:xfrm>
            <a:custGeom>
              <a:avLst/>
              <a:gdLst>
                <a:gd name="connsiteX0" fmla="*/ 88392 w 201263"/>
                <a:gd name="connsiteY0" fmla="*/ 235648 h 235648"/>
                <a:gd name="connsiteX1" fmla="*/ 51149 w 201263"/>
                <a:gd name="connsiteY1" fmla="*/ 228981 h 235648"/>
                <a:gd name="connsiteX2" fmla="*/ 23431 w 201263"/>
                <a:gd name="connsiteY2" fmla="*/ 210026 h 235648"/>
                <a:gd name="connsiteX3" fmla="*/ 6001 w 201263"/>
                <a:gd name="connsiteY3" fmla="*/ 180784 h 235648"/>
                <a:gd name="connsiteX4" fmla="*/ 0 w 201263"/>
                <a:gd name="connsiteY4" fmla="*/ 143256 h 235648"/>
                <a:gd name="connsiteX5" fmla="*/ 0 w 201263"/>
                <a:gd name="connsiteY5" fmla="*/ 0 h 235648"/>
                <a:gd name="connsiteX6" fmla="*/ 34385 w 201263"/>
                <a:gd name="connsiteY6" fmla="*/ 0 h 235648"/>
                <a:gd name="connsiteX7" fmla="*/ 34385 w 201263"/>
                <a:gd name="connsiteY7" fmla="*/ 134493 h 235648"/>
                <a:gd name="connsiteX8" fmla="*/ 50864 w 201263"/>
                <a:gd name="connsiteY8" fmla="*/ 185261 h 235648"/>
                <a:gd name="connsiteX9" fmla="*/ 98203 w 201263"/>
                <a:gd name="connsiteY9" fmla="*/ 203930 h 235648"/>
                <a:gd name="connsiteX10" fmla="*/ 125635 w 201263"/>
                <a:gd name="connsiteY10" fmla="*/ 198787 h 235648"/>
                <a:gd name="connsiteX11" fmla="*/ 147542 w 201263"/>
                <a:gd name="connsiteY11" fmla="*/ 184118 h 235648"/>
                <a:gd name="connsiteX12" fmla="*/ 162020 w 201263"/>
                <a:gd name="connsiteY12" fmla="*/ 161163 h 235648"/>
                <a:gd name="connsiteX13" fmla="*/ 167354 w 201263"/>
                <a:gd name="connsiteY13" fmla="*/ 131826 h 235648"/>
                <a:gd name="connsiteX14" fmla="*/ 167354 w 201263"/>
                <a:gd name="connsiteY14" fmla="*/ 0 h 235648"/>
                <a:gd name="connsiteX15" fmla="*/ 201263 w 201263"/>
                <a:gd name="connsiteY15" fmla="*/ 0 h 235648"/>
                <a:gd name="connsiteX16" fmla="*/ 201263 w 201263"/>
                <a:gd name="connsiteY16" fmla="*/ 230791 h 235648"/>
                <a:gd name="connsiteX17" fmla="*/ 167354 w 201263"/>
                <a:gd name="connsiteY17" fmla="*/ 230791 h 235648"/>
                <a:gd name="connsiteX18" fmla="*/ 167354 w 201263"/>
                <a:gd name="connsiteY18" fmla="*/ 190595 h 235648"/>
                <a:gd name="connsiteX19" fmla="*/ 136969 w 201263"/>
                <a:gd name="connsiteY19" fmla="*/ 222504 h 235648"/>
                <a:gd name="connsiteX20" fmla="*/ 88297 w 201263"/>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263" h="235648">
                  <a:moveTo>
                    <a:pt x="88392" y="235648"/>
                  </a:moveTo>
                  <a:cubicBezTo>
                    <a:pt x="74390" y="235648"/>
                    <a:pt x="62008" y="233363"/>
                    <a:pt x="51149" y="228981"/>
                  </a:cubicBezTo>
                  <a:cubicBezTo>
                    <a:pt x="40291" y="224504"/>
                    <a:pt x="31052" y="218218"/>
                    <a:pt x="23431"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864" y="185261"/>
                  </a:cubicBezTo>
                  <a:cubicBezTo>
                    <a:pt x="61913" y="197739"/>
                    <a:pt x="77629" y="203930"/>
                    <a:pt x="98203" y="203930"/>
                  </a:cubicBezTo>
                  <a:cubicBezTo>
                    <a:pt x="108014" y="203930"/>
                    <a:pt x="117158" y="202216"/>
                    <a:pt x="125635" y="198787"/>
                  </a:cubicBezTo>
                  <a:cubicBezTo>
                    <a:pt x="134112" y="195358"/>
                    <a:pt x="141351" y="190500"/>
                    <a:pt x="147542" y="184118"/>
                  </a:cubicBezTo>
                  <a:cubicBezTo>
                    <a:pt x="153638" y="177736"/>
                    <a:pt x="158496" y="170116"/>
                    <a:pt x="162020" y="161163"/>
                  </a:cubicBezTo>
                  <a:cubicBezTo>
                    <a:pt x="165640" y="152305"/>
                    <a:pt x="167354" y="142494"/>
                    <a:pt x="167354" y="131826"/>
                  </a:cubicBezTo>
                  <a:lnTo>
                    <a:pt x="167354" y="0"/>
                  </a:lnTo>
                  <a:lnTo>
                    <a:pt x="201263" y="0"/>
                  </a:lnTo>
                  <a:lnTo>
                    <a:pt x="201263" y="230791"/>
                  </a:lnTo>
                  <a:lnTo>
                    <a:pt x="167354" y="230791"/>
                  </a:lnTo>
                  <a:lnTo>
                    <a:pt x="167354" y="190595"/>
                  </a:lnTo>
                  <a:cubicBezTo>
                    <a:pt x="159639" y="203073"/>
                    <a:pt x="149447" y="213741"/>
                    <a:pt x="136969" y="222504"/>
                  </a:cubicBezTo>
                  <a:cubicBezTo>
                    <a:pt x="124492" y="231267"/>
                    <a:pt x="108299" y="235648"/>
                    <a:pt x="88297" y="235648"/>
                  </a:cubicBezTo>
                  <a:close/>
                </a:path>
              </a:pathLst>
            </a:custGeom>
            <a:solidFill>
              <a:srgbClr val="44505E"/>
            </a:solidFill>
            <a:ln w="9525" cap="flat">
              <a:noFill/>
              <a:prstDash val="solid"/>
              <a:miter/>
            </a:ln>
          </p:spPr>
          <p:txBody>
            <a:bodyPr rtlCol="0" anchor="ctr"/>
            <a:lstStyle/>
            <a:p>
              <a:endParaRPr lang="pt-BR" noProof="0"/>
            </a:p>
          </p:txBody>
        </p:sp>
        <p:sp>
          <p:nvSpPr>
            <p:cNvPr id="38" name="Freeform: Shape 37">
              <a:extLst>
                <a:ext uri="{FF2B5EF4-FFF2-40B4-BE49-F238E27FC236}">
                  <a16:creationId xmlns:a16="http://schemas.microsoft.com/office/drawing/2014/main" id="{21046FFC-809A-A965-1F9E-F860DEA72F3E}"/>
                </a:ext>
              </a:extLst>
            </p:cNvPr>
            <p:cNvSpPr/>
            <p:nvPr/>
          </p:nvSpPr>
          <p:spPr>
            <a:xfrm>
              <a:off x="5522205" y="901353"/>
              <a:ext cx="58567" cy="83182"/>
            </a:xfrm>
            <a:custGeom>
              <a:avLst/>
              <a:gdLst>
                <a:gd name="connsiteX0" fmla="*/ 110204 w 232981"/>
                <a:gd name="connsiteY0" fmla="*/ 330898 h 330898"/>
                <a:gd name="connsiteX1" fmla="*/ 69628 w 232981"/>
                <a:gd name="connsiteY1" fmla="*/ 322897 h 330898"/>
                <a:gd name="connsiteX2" fmla="*/ 34385 w 232981"/>
                <a:gd name="connsiteY2" fmla="*/ 299466 h 330898"/>
                <a:gd name="connsiteX3" fmla="*/ 9334 w 232981"/>
                <a:gd name="connsiteY3" fmla="*/ 261938 h 330898"/>
                <a:gd name="connsiteX4" fmla="*/ 0 w 232981"/>
                <a:gd name="connsiteY4" fmla="*/ 211264 h 330898"/>
                <a:gd name="connsiteX5" fmla="*/ 0 w 232981"/>
                <a:gd name="connsiteY5" fmla="*/ 210407 h 330898"/>
                <a:gd name="connsiteX6" fmla="*/ 9334 w 232981"/>
                <a:gd name="connsiteY6" fmla="*/ 159925 h 330898"/>
                <a:gd name="connsiteX7" fmla="*/ 34385 w 232981"/>
                <a:gd name="connsiteY7" fmla="*/ 122206 h 330898"/>
                <a:gd name="connsiteX8" fmla="*/ 69628 w 232981"/>
                <a:gd name="connsiteY8" fmla="*/ 98488 h 330898"/>
                <a:gd name="connsiteX9" fmla="*/ 110204 w 232981"/>
                <a:gd name="connsiteY9" fmla="*/ 90202 h 330898"/>
                <a:gd name="connsiteX10" fmla="*/ 139636 w 232981"/>
                <a:gd name="connsiteY10" fmla="*/ 94202 h 330898"/>
                <a:gd name="connsiteX11" fmla="*/ 163735 w 232981"/>
                <a:gd name="connsiteY11" fmla="*/ 104870 h 330898"/>
                <a:gd name="connsiteX12" fmla="*/ 183166 w 232981"/>
                <a:gd name="connsiteY12" fmla="*/ 120491 h 330898"/>
                <a:gd name="connsiteX13" fmla="*/ 198596 w 232981"/>
                <a:gd name="connsiteY13" fmla="*/ 139255 h 330898"/>
                <a:gd name="connsiteX14" fmla="*/ 198596 w 232981"/>
                <a:gd name="connsiteY14" fmla="*/ 0 h 330898"/>
                <a:gd name="connsiteX15" fmla="*/ 232981 w 232981"/>
                <a:gd name="connsiteY15" fmla="*/ 0 h 330898"/>
                <a:gd name="connsiteX16" fmla="*/ 232981 w 232981"/>
                <a:gd name="connsiteY16" fmla="*/ 325850 h 330898"/>
                <a:gd name="connsiteX17" fmla="*/ 198596 w 232981"/>
                <a:gd name="connsiteY17" fmla="*/ 325850 h 330898"/>
                <a:gd name="connsiteX18" fmla="*/ 198596 w 232981"/>
                <a:gd name="connsiteY18" fmla="*/ 279463 h 330898"/>
                <a:gd name="connsiteX19" fmla="*/ 182785 w 232981"/>
                <a:gd name="connsiteY19" fmla="*/ 299085 h 330898"/>
                <a:gd name="connsiteX20" fmla="*/ 163354 w 232981"/>
                <a:gd name="connsiteY20" fmla="*/ 315658 h 330898"/>
                <a:gd name="connsiteX21" fmla="*/ 139446 w 232981"/>
                <a:gd name="connsiteY21" fmla="*/ 326803 h 330898"/>
                <a:gd name="connsiteX22" fmla="*/ 110204 w 232981"/>
                <a:gd name="connsiteY22" fmla="*/ 330803 h 330898"/>
                <a:gd name="connsiteX23" fmla="*/ 116491 w 232981"/>
                <a:gd name="connsiteY23" fmla="*/ 300133 h 330898"/>
                <a:gd name="connsiteX24" fmla="*/ 147542 w 232981"/>
                <a:gd name="connsiteY24" fmla="*/ 293656 h 330898"/>
                <a:gd name="connsiteX25" fmla="*/ 174307 w 232981"/>
                <a:gd name="connsiteY25" fmla="*/ 275368 h 330898"/>
                <a:gd name="connsiteX26" fmla="*/ 193072 w 232981"/>
                <a:gd name="connsiteY26" fmla="*/ 247269 h 330898"/>
                <a:gd name="connsiteX27" fmla="*/ 200025 w 232981"/>
                <a:gd name="connsiteY27" fmla="*/ 210883 h 330898"/>
                <a:gd name="connsiteX28" fmla="*/ 200025 w 232981"/>
                <a:gd name="connsiteY28" fmla="*/ 210026 h 330898"/>
                <a:gd name="connsiteX29" fmla="*/ 193072 w 232981"/>
                <a:gd name="connsiteY29" fmla="*/ 173641 h 330898"/>
                <a:gd name="connsiteX30" fmla="*/ 174307 w 232981"/>
                <a:gd name="connsiteY30" fmla="*/ 145732 h 330898"/>
                <a:gd name="connsiteX31" fmla="*/ 147542 w 232981"/>
                <a:gd name="connsiteY31" fmla="*/ 127635 h 330898"/>
                <a:gd name="connsiteX32" fmla="*/ 116491 w 232981"/>
                <a:gd name="connsiteY32" fmla="*/ 121158 h 330898"/>
                <a:gd name="connsiteX33" fmla="*/ 84772 w 232981"/>
                <a:gd name="connsiteY33" fmla="*/ 127159 h 330898"/>
                <a:gd name="connsiteX34" fmla="*/ 59150 w 232981"/>
                <a:gd name="connsiteY34" fmla="*/ 144589 h 330898"/>
                <a:gd name="connsiteX35" fmla="*/ 41719 w 232981"/>
                <a:gd name="connsiteY35" fmla="*/ 172498 h 330898"/>
                <a:gd name="connsiteX36" fmla="*/ 35242 w 232981"/>
                <a:gd name="connsiteY36" fmla="*/ 210026 h 330898"/>
                <a:gd name="connsiteX37" fmla="*/ 35242 w 232981"/>
                <a:gd name="connsiteY37" fmla="*/ 210883 h 330898"/>
                <a:gd name="connsiteX38" fmla="*/ 41719 w 232981"/>
                <a:gd name="connsiteY38" fmla="*/ 247936 h 330898"/>
                <a:gd name="connsiteX39" fmla="*/ 59341 w 232981"/>
                <a:gd name="connsiteY39" fmla="*/ 276034 h 330898"/>
                <a:gd name="connsiteX40" fmla="*/ 85249 w 232981"/>
                <a:gd name="connsiteY40" fmla="*/ 293941 h 330898"/>
                <a:gd name="connsiteX41" fmla="*/ 116491 w 23298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30898">
                  <a:moveTo>
                    <a:pt x="110204" y="330898"/>
                  </a:moveTo>
                  <a:cubicBezTo>
                    <a:pt x="96202" y="330898"/>
                    <a:pt x="82677" y="328231"/>
                    <a:pt x="69628" y="322897"/>
                  </a:cubicBezTo>
                  <a:cubicBezTo>
                    <a:pt x="56578" y="317563"/>
                    <a:pt x="44767" y="309753"/>
                    <a:pt x="34385" y="299466"/>
                  </a:cubicBezTo>
                  <a:cubicBezTo>
                    <a:pt x="24003" y="289179"/>
                    <a:pt x="15621" y="276701"/>
                    <a:pt x="9334" y="261938"/>
                  </a:cubicBezTo>
                  <a:cubicBezTo>
                    <a:pt x="3048" y="247174"/>
                    <a:pt x="0" y="230314"/>
                    <a:pt x="0" y="211264"/>
                  </a:cubicBezTo>
                  <a:lnTo>
                    <a:pt x="0" y="210407"/>
                  </a:lnTo>
                  <a:cubicBezTo>
                    <a:pt x="0" y="191643"/>
                    <a:pt x="3143" y="174879"/>
                    <a:pt x="9334" y="159925"/>
                  </a:cubicBezTo>
                  <a:cubicBezTo>
                    <a:pt x="15621" y="145066"/>
                    <a:pt x="23908" y="132493"/>
                    <a:pt x="34385" y="122206"/>
                  </a:cubicBezTo>
                  <a:cubicBezTo>
                    <a:pt x="44767" y="111919"/>
                    <a:pt x="56578" y="104013"/>
                    <a:pt x="69628" y="98488"/>
                  </a:cubicBezTo>
                  <a:cubicBezTo>
                    <a:pt x="82677" y="92964"/>
                    <a:pt x="96298" y="90202"/>
                    <a:pt x="110204" y="90202"/>
                  </a:cubicBezTo>
                  <a:cubicBezTo>
                    <a:pt x="120967" y="90202"/>
                    <a:pt x="130778" y="91535"/>
                    <a:pt x="139636" y="94202"/>
                  </a:cubicBezTo>
                  <a:cubicBezTo>
                    <a:pt x="148590" y="96869"/>
                    <a:pt x="156591" y="100489"/>
                    <a:pt x="163735" y="104870"/>
                  </a:cubicBezTo>
                  <a:cubicBezTo>
                    <a:pt x="170878" y="109347"/>
                    <a:pt x="177356" y="114586"/>
                    <a:pt x="183166" y="120491"/>
                  </a:cubicBezTo>
                  <a:cubicBezTo>
                    <a:pt x="188976" y="126492"/>
                    <a:pt x="194119" y="132683"/>
                    <a:pt x="198596" y="139255"/>
                  </a:cubicBezTo>
                  <a:lnTo>
                    <a:pt x="198596" y="0"/>
                  </a:lnTo>
                  <a:lnTo>
                    <a:pt x="232981" y="0"/>
                  </a:lnTo>
                  <a:lnTo>
                    <a:pt x="232981" y="325850"/>
                  </a:lnTo>
                  <a:lnTo>
                    <a:pt x="198596" y="325850"/>
                  </a:lnTo>
                  <a:lnTo>
                    <a:pt x="198596" y="279463"/>
                  </a:lnTo>
                  <a:cubicBezTo>
                    <a:pt x="193834" y="286321"/>
                    <a:pt x="188595" y="292894"/>
                    <a:pt x="182785" y="299085"/>
                  </a:cubicBezTo>
                  <a:cubicBezTo>
                    <a:pt x="176974" y="305371"/>
                    <a:pt x="170498" y="310896"/>
                    <a:pt x="163354" y="315658"/>
                  </a:cubicBezTo>
                  <a:cubicBezTo>
                    <a:pt x="156210" y="320421"/>
                    <a:pt x="148209" y="324136"/>
                    <a:pt x="139446" y="326803"/>
                  </a:cubicBezTo>
                  <a:cubicBezTo>
                    <a:pt x="130683" y="329470"/>
                    <a:pt x="120967" y="330803"/>
                    <a:pt x="110204" y="330803"/>
                  </a:cubicBezTo>
                  <a:close/>
                  <a:moveTo>
                    <a:pt x="116491" y="300133"/>
                  </a:moveTo>
                  <a:cubicBezTo>
                    <a:pt x="127159" y="300133"/>
                    <a:pt x="137541" y="297942"/>
                    <a:pt x="147542" y="293656"/>
                  </a:cubicBezTo>
                  <a:cubicBezTo>
                    <a:pt x="157544" y="289369"/>
                    <a:pt x="166402" y="283273"/>
                    <a:pt x="174307" y="275368"/>
                  </a:cubicBezTo>
                  <a:cubicBezTo>
                    <a:pt x="182213" y="267462"/>
                    <a:pt x="188404" y="258127"/>
                    <a:pt x="193072" y="247269"/>
                  </a:cubicBezTo>
                  <a:cubicBezTo>
                    <a:pt x="197644" y="236410"/>
                    <a:pt x="200025" y="224314"/>
                    <a:pt x="200025" y="210883"/>
                  </a:cubicBezTo>
                  <a:lnTo>
                    <a:pt x="200025" y="210026"/>
                  </a:lnTo>
                  <a:cubicBezTo>
                    <a:pt x="200025" y="196596"/>
                    <a:pt x="197739" y="184499"/>
                    <a:pt x="193072" y="173641"/>
                  </a:cubicBezTo>
                  <a:cubicBezTo>
                    <a:pt x="188500" y="162782"/>
                    <a:pt x="182213" y="153448"/>
                    <a:pt x="174307" y="145732"/>
                  </a:cubicBezTo>
                  <a:cubicBezTo>
                    <a:pt x="166402" y="138017"/>
                    <a:pt x="157448" y="132016"/>
                    <a:pt x="147542" y="127635"/>
                  </a:cubicBezTo>
                  <a:cubicBezTo>
                    <a:pt x="137541" y="123349"/>
                    <a:pt x="127254" y="121158"/>
                    <a:pt x="116491" y="121158"/>
                  </a:cubicBezTo>
                  <a:cubicBezTo>
                    <a:pt x="105156" y="121158"/>
                    <a:pt x="94583" y="123158"/>
                    <a:pt x="84772" y="127159"/>
                  </a:cubicBezTo>
                  <a:cubicBezTo>
                    <a:pt x="74962" y="131159"/>
                    <a:pt x="66389" y="136969"/>
                    <a:pt x="59150" y="144589"/>
                  </a:cubicBezTo>
                  <a:cubicBezTo>
                    <a:pt x="51816" y="152114"/>
                    <a:pt x="46101" y="161449"/>
                    <a:pt x="41719" y="172498"/>
                  </a:cubicBezTo>
                  <a:cubicBezTo>
                    <a:pt x="37433" y="183451"/>
                    <a:pt x="35242" y="196024"/>
                    <a:pt x="35242" y="210026"/>
                  </a:cubicBezTo>
                  <a:lnTo>
                    <a:pt x="35242" y="210883"/>
                  </a:lnTo>
                  <a:cubicBezTo>
                    <a:pt x="35242" y="224599"/>
                    <a:pt x="37433" y="236982"/>
                    <a:pt x="41719" y="247936"/>
                  </a:cubicBezTo>
                  <a:cubicBezTo>
                    <a:pt x="46006" y="258984"/>
                    <a:pt x="51911" y="268319"/>
                    <a:pt x="59341" y="276034"/>
                  </a:cubicBezTo>
                  <a:cubicBezTo>
                    <a:pt x="66770" y="283750"/>
                    <a:pt x="75438" y="289750"/>
                    <a:pt x="85249" y="293941"/>
                  </a:cubicBezTo>
                  <a:cubicBezTo>
                    <a:pt x="95059" y="298132"/>
                    <a:pt x="105442" y="300228"/>
                    <a:pt x="116491" y="300228"/>
                  </a:cubicBezTo>
                  <a:close/>
                </a:path>
              </a:pathLst>
            </a:custGeom>
            <a:solidFill>
              <a:srgbClr val="44505E"/>
            </a:solidFill>
            <a:ln w="9525" cap="flat">
              <a:noFill/>
              <a:prstDash val="solid"/>
              <a:miter/>
            </a:ln>
          </p:spPr>
          <p:txBody>
            <a:bodyPr rtlCol="0" anchor="ctr"/>
            <a:lstStyle/>
            <a:p>
              <a:endParaRPr lang="pt-BR" noProof="0"/>
            </a:p>
          </p:txBody>
        </p:sp>
        <p:sp>
          <p:nvSpPr>
            <p:cNvPr id="39" name="Freeform: Shape 38">
              <a:extLst>
                <a:ext uri="{FF2B5EF4-FFF2-40B4-BE49-F238E27FC236}">
                  <a16:creationId xmlns:a16="http://schemas.microsoft.com/office/drawing/2014/main" id="{DE2D373D-04BF-5E3A-1710-A915CF711404}"/>
                </a:ext>
              </a:extLst>
            </p:cNvPr>
            <p:cNvSpPr/>
            <p:nvPr/>
          </p:nvSpPr>
          <p:spPr>
            <a:xfrm>
              <a:off x="5596504"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6963 w 218217"/>
                <a:gd name="connsiteY3" fmla="*/ 206026 h 241077"/>
                <a:gd name="connsiteX4" fmla="*/ 116015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8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1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452 w 218217"/>
                <a:gd name="connsiteY25" fmla="*/ 106299 h 241077"/>
                <a:gd name="connsiteX26" fmla="*/ 176784 w 218217"/>
                <a:gd name="connsiteY26" fmla="*/ 76771 h 241077"/>
                <a:gd name="connsiteX27" fmla="*/ 162306 w 218217"/>
                <a:gd name="connsiteY27" fmla="*/ 52101 h 241077"/>
                <a:gd name="connsiteX28" fmla="*/ 140018 w 218217"/>
                <a:gd name="connsiteY28" fmla="*/ 35242 h 241077"/>
                <a:gd name="connsiteX29" fmla="*/ 109919 w 218217"/>
                <a:gd name="connsiteY29" fmla="*/ 29051 h 241077"/>
                <a:gd name="connsiteX30" fmla="*/ 82201 w 218217"/>
                <a:gd name="connsiteY30" fmla="*/ 34766 h 241077"/>
                <a:gd name="connsiteX31" fmla="*/ 59436 w 218217"/>
                <a:gd name="connsiteY31" fmla="*/ 50959 h 241077"/>
                <a:gd name="connsiteX32" fmla="*/ 43148 w 218217"/>
                <a:gd name="connsiteY32" fmla="*/ 75628 h 241077"/>
                <a:gd name="connsiteX33" fmla="*/ 34862 w 218217"/>
                <a:gd name="connsiteY33" fmla="*/ 106204 h 241077"/>
                <a:gd name="connsiteX34" fmla="*/ 183547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724" y="202597"/>
                    <a:pt x="86963" y="206026"/>
                  </a:cubicBezTo>
                  <a:cubicBezTo>
                    <a:pt x="96203" y="209455"/>
                    <a:pt x="105823" y="211169"/>
                    <a:pt x="116015" y="211169"/>
                  </a:cubicBezTo>
                  <a:cubicBezTo>
                    <a:pt x="132112" y="211169"/>
                    <a:pt x="145828" y="208216"/>
                    <a:pt x="157353" y="202216"/>
                  </a:cubicBezTo>
                  <a:cubicBezTo>
                    <a:pt x="168783" y="196310"/>
                    <a:pt x="179261" y="188404"/>
                    <a:pt x="188786" y="178594"/>
                  </a:cubicBezTo>
                  <a:lnTo>
                    <a:pt x="210217" y="197834"/>
                  </a:lnTo>
                  <a:cubicBezTo>
                    <a:pt x="198596" y="210979"/>
                    <a:pt x="185357" y="221361"/>
                    <a:pt x="170498" y="229267"/>
                  </a:cubicBezTo>
                  <a:cubicBezTo>
                    <a:pt x="155639"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679" y="0"/>
                    <a:pt x="110681"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452" y="106299"/>
                  </a:moveTo>
                  <a:cubicBezTo>
                    <a:pt x="182594" y="95917"/>
                    <a:pt x="180308" y="86106"/>
                    <a:pt x="176784" y="76771"/>
                  </a:cubicBezTo>
                  <a:cubicBezTo>
                    <a:pt x="173165" y="67437"/>
                    <a:pt x="168402" y="59245"/>
                    <a:pt x="162306" y="52101"/>
                  </a:cubicBezTo>
                  <a:cubicBezTo>
                    <a:pt x="156210" y="44958"/>
                    <a:pt x="148781" y="39338"/>
                    <a:pt x="140018" y="35242"/>
                  </a:cubicBezTo>
                  <a:cubicBezTo>
                    <a:pt x="131254" y="31147"/>
                    <a:pt x="121158" y="29051"/>
                    <a:pt x="109919" y="29051"/>
                  </a:cubicBezTo>
                  <a:cubicBezTo>
                    <a:pt x="100108" y="29051"/>
                    <a:pt x="90869" y="30956"/>
                    <a:pt x="82201" y="34766"/>
                  </a:cubicBezTo>
                  <a:cubicBezTo>
                    <a:pt x="73533" y="38671"/>
                    <a:pt x="66008" y="44005"/>
                    <a:pt x="59436" y="50959"/>
                  </a:cubicBezTo>
                  <a:cubicBezTo>
                    <a:pt x="52864" y="57912"/>
                    <a:pt x="47435" y="66103"/>
                    <a:pt x="43148" y="75628"/>
                  </a:cubicBezTo>
                  <a:cubicBezTo>
                    <a:pt x="38862" y="85058"/>
                    <a:pt x="36100" y="95345"/>
                    <a:pt x="34862" y="106204"/>
                  </a:cubicBezTo>
                  <a:lnTo>
                    <a:pt x="183547" y="106204"/>
                  </a:lnTo>
                  <a:close/>
                </a:path>
              </a:pathLst>
            </a:custGeom>
            <a:solidFill>
              <a:srgbClr val="44505E"/>
            </a:solidFill>
            <a:ln w="9525" cap="flat">
              <a:noFill/>
              <a:prstDash val="solid"/>
              <a:miter/>
            </a:ln>
          </p:spPr>
          <p:txBody>
            <a:bodyPr rtlCol="0" anchor="ctr"/>
            <a:lstStyle/>
            <a:p>
              <a:endParaRPr lang="pt-BR" noProof="0"/>
            </a:p>
          </p:txBody>
        </p:sp>
        <p:sp>
          <p:nvSpPr>
            <p:cNvPr id="40" name="Freeform: Shape 39">
              <a:extLst>
                <a:ext uri="{FF2B5EF4-FFF2-40B4-BE49-F238E27FC236}">
                  <a16:creationId xmlns:a16="http://schemas.microsoft.com/office/drawing/2014/main" id="{3039943F-1D34-C621-DFBC-19103841D9A0}"/>
                </a:ext>
              </a:extLst>
            </p:cNvPr>
            <p:cNvSpPr/>
            <p:nvPr/>
          </p:nvSpPr>
          <p:spPr>
            <a:xfrm>
              <a:off x="5661680" y="924268"/>
              <a:ext cx="44656" cy="60195"/>
            </a:xfrm>
            <a:custGeom>
              <a:avLst/>
              <a:gdLst>
                <a:gd name="connsiteX0" fmla="*/ 95536 w 177641"/>
                <a:gd name="connsiteY0" fmla="*/ 239268 h 239458"/>
                <a:gd name="connsiteX1" fmla="*/ 45053 w 177641"/>
                <a:gd name="connsiteY1" fmla="*/ 230124 h 239458"/>
                <a:gd name="connsiteX2" fmla="*/ 0 w 177641"/>
                <a:gd name="connsiteY2" fmla="*/ 205359 h 239458"/>
                <a:gd name="connsiteX3" fmla="*/ 17431 w 177641"/>
                <a:gd name="connsiteY3" fmla="*/ 180785 h 239458"/>
                <a:gd name="connsiteX4" fmla="*/ 56483 w 177641"/>
                <a:gd name="connsiteY4" fmla="*/ 202692 h 239458"/>
                <a:gd name="connsiteX5" fmla="*/ 97346 w 177641"/>
                <a:gd name="connsiteY5" fmla="*/ 210217 h 239458"/>
                <a:gd name="connsiteX6" fmla="*/ 131731 w 177641"/>
                <a:gd name="connsiteY6" fmla="*/ 200406 h 239458"/>
                <a:gd name="connsiteX7" fmla="*/ 145161 w 177641"/>
                <a:gd name="connsiteY7" fmla="*/ 173641 h 239458"/>
                <a:gd name="connsiteX8" fmla="*/ 145161 w 177641"/>
                <a:gd name="connsiteY8" fmla="*/ 172784 h 239458"/>
                <a:gd name="connsiteX9" fmla="*/ 140494 w 177641"/>
                <a:gd name="connsiteY9" fmla="*/ 158020 h 239458"/>
                <a:gd name="connsiteX10" fmla="*/ 127730 w 177641"/>
                <a:gd name="connsiteY10" fmla="*/ 147066 h 239458"/>
                <a:gd name="connsiteX11" fmla="*/ 109157 w 177641"/>
                <a:gd name="connsiteY11" fmla="*/ 138779 h 239458"/>
                <a:gd name="connsiteX12" fmla="*/ 87535 w 177641"/>
                <a:gd name="connsiteY12" fmla="*/ 132112 h 239458"/>
                <a:gd name="connsiteX13" fmla="*/ 60484 w 177641"/>
                <a:gd name="connsiteY13" fmla="*/ 123444 h 239458"/>
                <a:gd name="connsiteX14" fmla="*/ 35909 w 177641"/>
                <a:gd name="connsiteY14" fmla="*/ 111633 h 239458"/>
                <a:gd name="connsiteX15" fmla="*/ 18098 w 177641"/>
                <a:gd name="connsiteY15" fmla="*/ 93726 h 239458"/>
                <a:gd name="connsiteX16" fmla="*/ 11144 w 177641"/>
                <a:gd name="connsiteY16" fmla="*/ 66961 h 239458"/>
                <a:gd name="connsiteX17" fmla="*/ 11144 w 177641"/>
                <a:gd name="connsiteY17" fmla="*/ 66008 h 239458"/>
                <a:gd name="connsiteX18" fmla="*/ 16954 w 177641"/>
                <a:gd name="connsiteY18" fmla="*/ 39053 h 239458"/>
                <a:gd name="connsiteX19" fmla="*/ 33242 w 177641"/>
                <a:gd name="connsiteY19" fmla="*/ 18098 h 239458"/>
                <a:gd name="connsiteX20" fmla="*/ 58293 w 177641"/>
                <a:gd name="connsiteY20" fmla="*/ 4667 h 239458"/>
                <a:gd name="connsiteX21" fmla="*/ 89725 w 177641"/>
                <a:gd name="connsiteY21" fmla="*/ 0 h 239458"/>
                <a:gd name="connsiteX22" fmla="*/ 133064 w 177641"/>
                <a:gd name="connsiteY22" fmla="*/ 6953 h 239458"/>
                <a:gd name="connsiteX23" fmla="*/ 172784 w 177641"/>
                <a:gd name="connsiteY23" fmla="*/ 25527 h 239458"/>
                <a:gd name="connsiteX24" fmla="*/ 157163 w 177641"/>
                <a:gd name="connsiteY24" fmla="*/ 51435 h 239458"/>
                <a:gd name="connsiteX25" fmla="*/ 123444 w 177641"/>
                <a:gd name="connsiteY25" fmla="*/ 35147 h 239458"/>
                <a:gd name="connsiteX26" fmla="*/ 88868 w 177641"/>
                <a:gd name="connsiteY26" fmla="*/ 29146 h 239458"/>
                <a:gd name="connsiteX27" fmla="*/ 56293 w 177641"/>
                <a:gd name="connsiteY27" fmla="*/ 38767 h 239458"/>
                <a:gd name="connsiteX28" fmla="*/ 44196 w 177641"/>
                <a:gd name="connsiteY28" fmla="*/ 62675 h 239458"/>
                <a:gd name="connsiteX29" fmla="*/ 44196 w 177641"/>
                <a:gd name="connsiteY29" fmla="*/ 63627 h 239458"/>
                <a:gd name="connsiteX30" fmla="*/ 49149 w 177641"/>
                <a:gd name="connsiteY30" fmla="*/ 77724 h 239458"/>
                <a:gd name="connsiteX31" fmla="*/ 62294 w 177641"/>
                <a:gd name="connsiteY31" fmla="*/ 88202 h 239458"/>
                <a:gd name="connsiteX32" fmla="*/ 81248 w 177641"/>
                <a:gd name="connsiteY32" fmla="*/ 96203 h 239458"/>
                <a:gd name="connsiteX33" fmla="*/ 103537 w 177641"/>
                <a:gd name="connsiteY33" fmla="*/ 103346 h 239458"/>
                <a:gd name="connsiteX34" fmla="*/ 130112 w 177641"/>
                <a:gd name="connsiteY34" fmla="*/ 112300 h 239458"/>
                <a:gd name="connsiteX35" fmla="*/ 154019 w 177641"/>
                <a:gd name="connsiteY35" fmla="*/ 124778 h 239458"/>
                <a:gd name="connsiteX36" fmla="*/ 171164 w 177641"/>
                <a:gd name="connsiteY36" fmla="*/ 143066 h 239458"/>
                <a:gd name="connsiteX37" fmla="*/ 177641 w 177641"/>
                <a:gd name="connsiteY37" fmla="*/ 169450 h 239458"/>
                <a:gd name="connsiteX38" fmla="*/ 177641 w 177641"/>
                <a:gd name="connsiteY38" fmla="*/ 170307 h 239458"/>
                <a:gd name="connsiteX39" fmla="*/ 171164 w 177641"/>
                <a:gd name="connsiteY39" fmla="*/ 199549 h 239458"/>
                <a:gd name="connsiteX40" fmla="*/ 153734 w 177641"/>
                <a:gd name="connsiteY40" fmla="*/ 221171 h 239458"/>
                <a:gd name="connsiteX41" fmla="*/ 127825 w 177641"/>
                <a:gd name="connsiteY41" fmla="*/ 234791 h 239458"/>
                <a:gd name="connsiteX42" fmla="*/ 95441 w 177641"/>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641" h="239458">
                  <a:moveTo>
                    <a:pt x="95536" y="239268"/>
                  </a:moveTo>
                  <a:cubicBezTo>
                    <a:pt x="78867" y="239268"/>
                    <a:pt x="62008" y="236220"/>
                    <a:pt x="45053" y="230124"/>
                  </a:cubicBezTo>
                  <a:cubicBezTo>
                    <a:pt x="28099" y="224028"/>
                    <a:pt x="13049" y="215741"/>
                    <a:pt x="0" y="205359"/>
                  </a:cubicBezTo>
                  <a:lnTo>
                    <a:pt x="17431" y="180785"/>
                  </a:lnTo>
                  <a:cubicBezTo>
                    <a:pt x="29908"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542" y="162211"/>
                    <a:pt x="140494" y="158020"/>
                  </a:cubicBezTo>
                  <a:cubicBezTo>
                    <a:pt x="137350" y="153829"/>
                    <a:pt x="133160" y="150209"/>
                    <a:pt x="127730" y="147066"/>
                  </a:cubicBezTo>
                  <a:cubicBezTo>
                    <a:pt x="122396" y="143923"/>
                    <a:pt x="116205" y="141161"/>
                    <a:pt x="109157" y="138779"/>
                  </a:cubicBezTo>
                  <a:cubicBezTo>
                    <a:pt x="102203" y="136398"/>
                    <a:pt x="94964" y="134207"/>
                    <a:pt x="87535" y="132112"/>
                  </a:cubicBezTo>
                  <a:cubicBezTo>
                    <a:pt x="78581" y="129445"/>
                    <a:pt x="69628" y="126492"/>
                    <a:pt x="60484" y="123444"/>
                  </a:cubicBezTo>
                  <a:cubicBezTo>
                    <a:pt x="51435" y="120301"/>
                    <a:pt x="43244" y="116396"/>
                    <a:pt x="35909" y="111633"/>
                  </a:cubicBezTo>
                  <a:cubicBezTo>
                    <a:pt x="28575" y="106871"/>
                    <a:pt x="22670" y="100870"/>
                    <a:pt x="18098" y="93726"/>
                  </a:cubicBezTo>
                  <a:cubicBezTo>
                    <a:pt x="13525" y="86582"/>
                    <a:pt x="11144" y="77629"/>
                    <a:pt x="11144" y="66961"/>
                  </a:cubicBezTo>
                  <a:lnTo>
                    <a:pt x="11144" y="66008"/>
                  </a:lnTo>
                  <a:cubicBezTo>
                    <a:pt x="11144" y="56198"/>
                    <a:pt x="13049" y="47149"/>
                    <a:pt x="16954" y="39053"/>
                  </a:cubicBezTo>
                  <a:cubicBezTo>
                    <a:pt x="20860" y="30861"/>
                    <a:pt x="26289" y="23908"/>
                    <a:pt x="33242" y="18098"/>
                  </a:cubicBezTo>
                  <a:cubicBezTo>
                    <a:pt x="40196" y="12287"/>
                    <a:pt x="48578" y="7811"/>
                    <a:pt x="58293" y="4667"/>
                  </a:cubicBezTo>
                  <a:cubicBezTo>
                    <a:pt x="67913" y="1524"/>
                    <a:pt x="78486" y="0"/>
                    <a:pt x="89725" y="0"/>
                  </a:cubicBezTo>
                  <a:cubicBezTo>
                    <a:pt x="104013" y="0"/>
                    <a:pt x="118396" y="2286"/>
                    <a:pt x="133064" y="6953"/>
                  </a:cubicBezTo>
                  <a:cubicBezTo>
                    <a:pt x="147638" y="11621"/>
                    <a:pt x="160877" y="17717"/>
                    <a:pt x="172784" y="25527"/>
                  </a:cubicBezTo>
                  <a:lnTo>
                    <a:pt x="157163" y="51435"/>
                  </a:lnTo>
                  <a:cubicBezTo>
                    <a:pt x="146399" y="44577"/>
                    <a:pt x="135255" y="39148"/>
                    <a:pt x="123444" y="35147"/>
                  </a:cubicBezTo>
                  <a:cubicBezTo>
                    <a:pt x="111728" y="31147"/>
                    <a:pt x="100203" y="29146"/>
                    <a:pt x="88868" y="29146"/>
                  </a:cubicBezTo>
                  <a:cubicBezTo>
                    <a:pt x="75152" y="29146"/>
                    <a:pt x="64294" y="32385"/>
                    <a:pt x="56293" y="38767"/>
                  </a:cubicBezTo>
                  <a:cubicBezTo>
                    <a:pt x="48292" y="45149"/>
                    <a:pt x="44196" y="53150"/>
                    <a:pt x="44196" y="62675"/>
                  </a:cubicBezTo>
                  <a:lnTo>
                    <a:pt x="44196" y="63627"/>
                  </a:lnTo>
                  <a:cubicBezTo>
                    <a:pt x="44196" y="68961"/>
                    <a:pt x="45815" y="73628"/>
                    <a:pt x="49149" y="77724"/>
                  </a:cubicBezTo>
                  <a:cubicBezTo>
                    <a:pt x="52388" y="81725"/>
                    <a:pt x="56769" y="85249"/>
                    <a:pt x="62294" y="88202"/>
                  </a:cubicBezTo>
                  <a:cubicBezTo>
                    <a:pt x="67818" y="91154"/>
                    <a:pt x="74104" y="93821"/>
                    <a:pt x="81248" y="96203"/>
                  </a:cubicBezTo>
                  <a:cubicBezTo>
                    <a:pt x="88392" y="98584"/>
                    <a:pt x="95821" y="100965"/>
                    <a:pt x="103537" y="103346"/>
                  </a:cubicBezTo>
                  <a:cubicBezTo>
                    <a:pt x="112490" y="106013"/>
                    <a:pt x="121349" y="108966"/>
                    <a:pt x="130112" y="112300"/>
                  </a:cubicBezTo>
                  <a:cubicBezTo>
                    <a:pt x="138875" y="115538"/>
                    <a:pt x="146875" y="119729"/>
                    <a:pt x="154019" y="124778"/>
                  </a:cubicBezTo>
                  <a:cubicBezTo>
                    <a:pt x="161163" y="129826"/>
                    <a:pt x="166878" y="135922"/>
                    <a:pt x="171164" y="143066"/>
                  </a:cubicBezTo>
                  <a:cubicBezTo>
                    <a:pt x="175450" y="150209"/>
                    <a:pt x="177641" y="158972"/>
                    <a:pt x="177641" y="169450"/>
                  </a:cubicBezTo>
                  <a:lnTo>
                    <a:pt x="177641" y="170307"/>
                  </a:lnTo>
                  <a:cubicBezTo>
                    <a:pt x="177641" y="181356"/>
                    <a:pt x="175450" y="191071"/>
                    <a:pt x="171164" y="199549"/>
                  </a:cubicBezTo>
                  <a:cubicBezTo>
                    <a:pt x="166878" y="208026"/>
                    <a:pt x="161068" y="215265"/>
                    <a:pt x="153734" y="221171"/>
                  </a:cubicBezTo>
                  <a:cubicBezTo>
                    <a:pt x="146495" y="227171"/>
                    <a:pt x="137827" y="231648"/>
                    <a:pt x="127825" y="234791"/>
                  </a:cubicBezTo>
                  <a:cubicBezTo>
                    <a:pt x="117824" y="237935"/>
                    <a:pt x="107061" y="239459"/>
                    <a:pt x="95441" y="239459"/>
                  </a:cubicBezTo>
                  <a:close/>
                </a:path>
              </a:pathLst>
            </a:custGeom>
            <a:solidFill>
              <a:srgbClr val="44505E"/>
            </a:solidFill>
            <a:ln w="9525" cap="flat">
              <a:noFill/>
              <a:prstDash val="solid"/>
              <a:miter/>
            </a:ln>
          </p:spPr>
          <p:txBody>
            <a:bodyPr rtlCol="0" anchor="ctr"/>
            <a:lstStyle/>
            <a:p>
              <a:endParaRPr lang="pt-BR" noProof="0"/>
            </a:p>
          </p:txBody>
        </p:sp>
        <p:sp>
          <p:nvSpPr>
            <p:cNvPr id="41" name="Freeform: Shape 40">
              <a:extLst>
                <a:ext uri="{FF2B5EF4-FFF2-40B4-BE49-F238E27FC236}">
                  <a16:creationId xmlns:a16="http://schemas.microsoft.com/office/drawing/2014/main" id="{A4797721-BA92-BBD1-F80A-5E89442A4111}"/>
                </a:ext>
              </a:extLst>
            </p:cNvPr>
            <p:cNvSpPr/>
            <p:nvPr/>
          </p:nvSpPr>
          <p:spPr>
            <a:xfrm>
              <a:off x="5752668" y="924028"/>
              <a:ext cx="58567" cy="77196"/>
            </a:xfrm>
            <a:custGeom>
              <a:avLst/>
              <a:gdLst>
                <a:gd name="connsiteX0" fmla="*/ 198596 w 232981"/>
                <a:gd name="connsiteY0" fmla="*/ 189357 h 307085"/>
                <a:gd name="connsiteX1" fmla="*/ 182785 w 232981"/>
                <a:gd name="connsiteY1" fmla="*/ 208978 h 307085"/>
                <a:gd name="connsiteX2" fmla="*/ 163354 w 232981"/>
                <a:gd name="connsiteY2" fmla="*/ 225552 h 307085"/>
                <a:gd name="connsiteX3" fmla="*/ 139446 w 232981"/>
                <a:gd name="connsiteY3" fmla="*/ 236696 h 307085"/>
                <a:gd name="connsiteX4" fmla="*/ 110204 w 232981"/>
                <a:gd name="connsiteY4" fmla="*/ 240697 h 307085"/>
                <a:gd name="connsiteX5" fmla="*/ 69628 w 232981"/>
                <a:gd name="connsiteY5" fmla="*/ 232696 h 307085"/>
                <a:gd name="connsiteX6" fmla="*/ 34385 w 232981"/>
                <a:gd name="connsiteY6" fmla="*/ 209264 h 307085"/>
                <a:gd name="connsiteX7" fmla="*/ 9335 w 232981"/>
                <a:gd name="connsiteY7" fmla="*/ 171736 h 307085"/>
                <a:gd name="connsiteX8" fmla="*/ 0 w 232981"/>
                <a:gd name="connsiteY8" fmla="*/ 121063 h 307085"/>
                <a:gd name="connsiteX9" fmla="*/ 0 w 232981"/>
                <a:gd name="connsiteY9" fmla="*/ 120205 h 307085"/>
                <a:gd name="connsiteX10" fmla="*/ 9335 w 232981"/>
                <a:gd name="connsiteY10" fmla="*/ 69723 h 307085"/>
                <a:gd name="connsiteX11" fmla="*/ 34385 w 232981"/>
                <a:gd name="connsiteY11" fmla="*/ 32004 h 307085"/>
                <a:gd name="connsiteX12" fmla="*/ 69628 w 232981"/>
                <a:gd name="connsiteY12" fmla="*/ 8287 h 307085"/>
                <a:gd name="connsiteX13" fmla="*/ 110204 w 232981"/>
                <a:gd name="connsiteY13" fmla="*/ 0 h 307085"/>
                <a:gd name="connsiteX14" fmla="*/ 139637 w 232981"/>
                <a:gd name="connsiteY14" fmla="*/ 4000 h 307085"/>
                <a:gd name="connsiteX15" fmla="*/ 163735 w 232981"/>
                <a:gd name="connsiteY15" fmla="*/ 14668 h 307085"/>
                <a:gd name="connsiteX16" fmla="*/ 183166 w 232981"/>
                <a:gd name="connsiteY16" fmla="*/ 30289 h 307085"/>
                <a:gd name="connsiteX17" fmla="*/ 198596 w 232981"/>
                <a:gd name="connsiteY17" fmla="*/ 49054 h 307085"/>
                <a:gd name="connsiteX18" fmla="*/ 198596 w 232981"/>
                <a:gd name="connsiteY18" fmla="*/ 4858 h 307085"/>
                <a:gd name="connsiteX19" fmla="*/ 232982 w 232981"/>
                <a:gd name="connsiteY19" fmla="*/ 4858 h 307085"/>
                <a:gd name="connsiteX20" fmla="*/ 232982 w 232981"/>
                <a:gd name="connsiteY20" fmla="*/ 307086 h 307085"/>
                <a:gd name="connsiteX21" fmla="*/ 198596 w 232981"/>
                <a:gd name="connsiteY21" fmla="*/ 307086 h 307085"/>
                <a:gd name="connsiteX22" fmla="*/ 198596 w 232981"/>
                <a:gd name="connsiteY22" fmla="*/ 189262 h 307085"/>
                <a:gd name="connsiteX23" fmla="*/ 116491 w 232981"/>
                <a:gd name="connsiteY23" fmla="*/ 209931 h 307085"/>
                <a:gd name="connsiteX24" fmla="*/ 147542 w 232981"/>
                <a:gd name="connsiteY24" fmla="*/ 203454 h 307085"/>
                <a:gd name="connsiteX25" fmla="*/ 174308 w 232981"/>
                <a:gd name="connsiteY25" fmla="*/ 185166 h 307085"/>
                <a:gd name="connsiteX26" fmla="*/ 193072 w 232981"/>
                <a:gd name="connsiteY26" fmla="*/ 157067 h 307085"/>
                <a:gd name="connsiteX27" fmla="*/ 200025 w 232981"/>
                <a:gd name="connsiteY27" fmla="*/ 120682 h 307085"/>
                <a:gd name="connsiteX28" fmla="*/ 200025 w 232981"/>
                <a:gd name="connsiteY28" fmla="*/ 119824 h 307085"/>
                <a:gd name="connsiteX29" fmla="*/ 193072 w 232981"/>
                <a:gd name="connsiteY29" fmla="*/ 83439 h 307085"/>
                <a:gd name="connsiteX30" fmla="*/ 174308 w 232981"/>
                <a:gd name="connsiteY30" fmla="*/ 55531 h 307085"/>
                <a:gd name="connsiteX31" fmla="*/ 147542 w 232981"/>
                <a:gd name="connsiteY31" fmla="*/ 37433 h 307085"/>
                <a:gd name="connsiteX32" fmla="*/ 116491 w 232981"/>
                <a:gd name="connsiteY32" fmla="*/ 30956 h 307085"/>
                <a:gd name="connsiteX33" fmla="*/ 84773 w 232981"/>
                <a:gd name="connsiteY33" fmla="*/ 36957 h 307085"/>
                <a:gd name="connsiteX34" fmla="*/ 59150 w 232981"/>
                <a:gd name="connsiteY34" fmla="*/ 54388 h 307085"/>
                <a:gd name="connsiteX35" fmla="*/ 41720 w 232981"/>
                <a:gd name="connsiteY35" fmla="*/ 82296 h 307085"/>
                <a:gd name="connsiteX36" fmla="*/ 35242 w 232981"/>
                <a:gd name="connsiteY36" fmla="*/ 119824 h 307085"/>
                <a:gd name="connsiteX37" fmla="*/ 35242 w 232981"/>
                <a:gd name="connsiteY37" fmla="*/ 120682 h 307085"/>
                <a:gd name="connsiteX38" fmla="*/ 41720 w 232981"/>
                <a:gd name="connsiteY38" fmla="*/ 157734 h 307085"/>
                <a:gd name="connsiteX39" fmla="*/ 59341 w 232981"/>
                <a:gd name="connsiteY39" fmla="*/ 185833 h 307085"/>
                <a:gd name="connsiteX40" fmla="*/ 85249 w 232981"/>
                <a:gd name="connsiteY40" fmla="*/ 203740 h 307085"/>
                <a:gd name="connsiteX41" fmla="*/ 116491 w 232981"/>
                <a:gd name="connsiteY41" fmla="*/ 210026 h 30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07085">
                  <a:moveTo>
                    <a:pt x="198596" y="189357"/>
                  </a:moveTo>
                  <a:cubicBezTo>
                    <a:pt x="193834" y="196215"/>
                    <a:pt x="188595" y="202787"/>
                    <a:pt x="182785" y="208978"/>
                  </a:cubicBezTo>
                  <a:cubicBezTo>
                    <a:pt x="176975" y="215265"/>
                    <a:pt x="170498" y="220789"/>
                    <a:pt x="163354" y="225552"/>
                  </a:cubicBezTo>
                  <a:cubicBezTo>
                    <a:pt x="156210" y="230314"/>
                    <a:pt x="148209" y="234029"/>
                    <a:pt x="139446" y="236696"/>
                  </a:cubicBezTo>
                  <a:cubicBezTo>
                    <a:pt x="130683" y="239363"/>
                    <a:pt x="120967" y="240697"/>
                    <a:pt x="110204" y="240697"/>
                  </a:cubicBezTo>
                  <a:cubicBezTo>
                    <a:pt x="96203" y="240697"/>
                    <a:pt x="82677" y="238030"/>
                    <a:pt x="69628" y="232696"/>
                  </a:cubicBezTo>
                  <a:cubicBezTo>
                    <a:pt x="56579" y="227362"/>
                    <a:pt x="44767" y="219551"/>
                    <a:pt x="34385" y="209264"/>
                  </a:cubicBezTo>
                  <a:cubicBezTo>
                    <a:pt x="24003" y="198977"/>
                    <a:pt x="15621" y="186499"/>
                    <a:pt x="9335" y="171736"/>
                  </a:cubicBezTo>
                  <a:cubicBezTo>
                    <a:pt x="3048" y="156972"/>
                    <a:pt x="0" y="140113"/>
                    <a:pt x="0" y="121063"/>
                  </a:cubicBezTo>
                  <a:lnTo>
                    <a:pt x="0" y="120205"/>
                  </a:lnTo>
                  <a:cubicBezTo>
                    <a:pt x="0" y="101441"/>
                    <a:pt x="3143" y="84677"/>
                    <a:pt x="9335" y="69723"/>
                  </a:cubicBezTo>
                  <a:cubicBezTo>
                    <a:pt x="15621" y="54864"/>
                    <a:pt x="23908" y="42291"/>
                    <a:pt x="34385" y="32004"/>
                  </a:cubicBezTo>
                  <a:cubicBezTo>
                    <a:pt x="44767" y="21717"/>
                    <a:pt x="56579" y="13811"/>
                    <a:pt x="69628" y="8287"/>
                  </a:cubicBezTo>
                  <a:cubicBezTo>
                    <a:pt x="82677" y="2762"/>
                    <a:pt x="96298" y="0"/>
                    <a:pt x="110204" y="0"/>
                  </a:cubicBezTo>
                  <a:cubicBezTo>
                    <a:pt x="120967" y="0"/>
                    <a:pt x="130778" y="1333"/>
                    <a:pt x="139637" y="4000"/>
                  </a:cubicBezTo>
                  <a:cubicBezTo>
                    <a:pt x="148590" y="6667"/>
                    <a:pt x="156591" y="10287"/>
                    <a:pt x="163735" y="14668"/>
                  </a:cubicBezTo>
                  <a:cubicBezTo>
                    <a:pt x="170879" y="19145"/>
                    <a:pt x="177356" y="24384"/>
                    <a:pt x="183166" y="30289"/>
                  </a:cubicBezTo>
                  <a:cubicBezTo>
                    <a:pt x="188976" y="36290"/>
                    <a:pt x="194120" y="42481"/>
                    <a:pt x="198596" y="49054"/>
                  </a:cubicBezTo>
                  <a:lnTo>
                    <a:pt x="198596" y="4858"/>
                  </a:lnTo>
                  <a:lnTo>
                    <a:pt x="232982" y="4858"/>
                  </a:lnTo>
                  <a:lnTo>
                    <a:pt x="232982" y="307086"/>
                  </a:lnTo>
                  <a:lnTo>
                    <a:pt x="198596" y="307086"/>
                  </a:lnTo>
                  <a:lnTo>
                    <a:pt x="198596" y="189262"/>
                  </a:lnTo>
                  <a:close/>
                  <a:moveTo>
                    <a:pt x="116491" y="209931"/>
                  </a:moveTo>
                  <a:cubicBezTo>
                    <a:pt x="127159" y="209931"/>
                    <a:pt x="137541" y="207740"/>
                    <a:pt x="147542" y="203454"/>
                  </a:cubicBezTo>
                  <a:cubicBezTo>
                    <a:pt x="157544" y="199168"/>
                    <a:pt x="166402" y="193072"/>
                    <a:pt x="174308" y="185166"/>
                  </a:cubicBezTo>
                  <a:cubicBezTo>
                    <a:pt x="182213" y="177260"/>
                    <a:pt x="188404" y="167926"/>
                    <a:pt x="193072" y="157067"/>
                  </a:cubicBezTo>
                  <a:cubicBezTo>
                    <a:pt x="197739" y="146209"/>
                    <a:pt x="200025" y="134112"/>
                    <a:pt x="200025" y="120682"/>
                  </a:cubicBezTo>
                  <a:lnTo>
                    <a:pt x="200025" y="119824"/>
                  </a:lnTo>
                  <a:cubicBezTo>
                    <a:pt x="200025" y="106394"/>
                    <a:pt x="197739" y="94297"/>
                    <a:pt x="193072" y="83439"/>
                  </a:cubicBezTo>
                  <a:cubicBezTo>
                    <a:pt x="188500" y="72580"/>
                    <a:pt x="182213" y="63246"/>
                    <a:pt x="174308" y="55531"/>
                  </a:cubicBezTo>
                  <a:cubicBezTo>
                    <a:pt x="166402" y="47815"/>
                    <a:pt x="157544" y="41815"/>
                    <a:pt x="147542" y="37433"/>
                  </a:cubicBezTo>
                  <a:cubicBezTo>
                    <a:pt x="137541" y="33147"/>
                    <a:pt x="127254" y="30956"/>
                    <a:pt x="116491" y="30956"/>
                  </a:cubicBezTo>
                  <a:cubicBezTo>
                    <a:pt x="105156" y="30956"/>
                    <a:pt x="94583" y="32956"/>
                    <a:pt x="84773" y="36957"/>
                  </a:cubicBezTo>
                  <a:cubicBezTo>
                    <a:pt x="74962" y="40957"/>
                    <a:pt x="66389" y="46767"/>
                    <a:pt x="59150" y="54388"/>
                  </a:cubicBezTo>
                  <a:cubicBezTo>
                    <a:pt x="51816" y="61913"/>
                    <a:pt x="46101" y="71247"/>
                    <a:pt x="41720" y="82296"/>
                  </a:cubicBezTo>
                  <a:cubicBezTo>
                    <a:pt x="37433" y="93250"/>
                    <a:pt x="35242" y="105823"/>
                    <a:pt x="35242" y="119824"/>
                  </a:cubicBezTo>
                  <a:lnTo>
                    <a:pt x="35242" y="120682"/>
                  </a:lnTo>
                  <a:cubicBezTo>
                    <a:pt x="35242" y="134398"/>
                    <a:pt x="37433" y="146780"/>
                    <a:pt x="41720" y="157734"/>
                  </a:cubicBezTo>
                  <a:cubicBezTo>
                    <a:pt x="46006" y="168783"/>
                    <a:pt x="51911" y="178117"/>
                    <a:pt x="59341" y="185833"/>
                  </a:cubicBezTo>
                  <a:cubicBezTo>
                    <a:pt x="66770" y="193548"/>
                    <a:pt x="75438" y="199549"/>
                    <a:pt x="85249" y="203740"/>
                  </a:cubicBezTo>
                  <a:cubicBezTo>
                    <a:pt x="95060" y="207931"/>
                    <a:pt x="105442" y="210026"/>
                    <a:pt x="116491" y="210026"/>
                  </a:cubicBezTo>
                  <a:close/>
                </a:path>
              </a:pathLst>
            </a:custGeom>
            <a:solidFill>
              <a:srgbClr val="44505E"/>
            </a:solidFill>
            <a:ln w="9525" cap="flat">
              <a:noFill/>
              <a:prstDash val="solid"/>
              <a:miter/>
            </a:ln>
          </p:spPr>
          <p:txBody>
            <a:bodyPr rtlCol="0" anchor="ctr"/>
            <a:lstStyle/>
            <a:p>
              <a:endParaRPr lang="pt-BR" noProof="0"/>
            </a:p>
          </p:txBody>
        </p:sp>
        <p:sp>
          <p:nvSpPr>
            <p:cNvPr id="42" name="Freeform: Shape 41">
              <a:extLst>
                <a:ext uri="{FF2B5EF4-FFF2-40B4-BE49-F238E27FC236}">
                  <a16:creationId xmlns:a16="http://schemas.microsoft.com/office/drawing/2014/main" id="{80DB635F-B4AD-CC16-6BC4-63D8BFABB08B}"/>
                </a:ext>
              </a:extLst>
            </p:cNvPr>
            <p:cNvSpPr/>
            <p:nvPr/>
          </p:nvSpPr>
          <p:spPr>
            <a:xfrm>
              <a:off x="5829624" y="925297"/>
              <a:ext cx="50618" cy="59238"/>
            </a:xfrm>
            <a:custGeom>
              <a:avLst/>
              <a:gdLst>
                <a:gd name="connsiteX0" fmla="*/ 88392 w 201358"/>
                <a:gd name="connsiteY0" fmla="*/ 235648 h 235648"/>
                <a:gd name="connsiteX1" fmla="*/ 51149 w 201358"/>
                <a:gd name="connsiteY1" fmla="*/ 228981 h 235648"/>
                <a:gd name="connsiteX2" fmla="*/ 23432 w 201358"/>
                <a:gd name="connsiteY2" fmla="*/ 210026 h 235648"/>
                <a:gd name="connsiteX3" fmla="*/ 6001 w 201358"/>
                <a:gd name="connsiteY3" fmla="*/ 180784 h 235648"/>
                <a:gd name="connsiteX4" fmla="*/ 0 w 201358"/>
                <a:gd name="connsiteY4" fmla="*/ 143256 h 235648"/>
                <a:gd name="connsiteX5" fmla="*/ 0 w 201358"/>
                <a:gd name="connsiteY5" fmla="*/ 0 h 235648"/>
                <a:gd name="connsiteX6" fmla="*/ 34385 w 201358"/>
                <a:gd name="connsiteY6" fmla="*/ 0 h 235648"/>
                <a:gd name="connsiteX7" fmla="*/ 34385 w 201358"/>
                <a:gd name="connsiteY7" fmla="*/ 134493 h 235648"/>
                <a:gd name="connsiteX8" fmla="*/ 50959 w 201358"/>
                <a:gd name="connsiteY8" fmla="*/ 185261 h 235648"/>
                <a:gd name="connsiteX9" fmla="*/ 98298 w 201358"/>
                <a:gd name="connsiteY9" fmla="*/ 203930 h 235648"/>
                <a:gd name="connsiteX10" fmla="*/ 125730 w 201358"/>
                <a:gd name="connsiteY10" fmla="*/ 198787 h 235648"/>
                <a:gd name="connsiteX11" fmla="*/ 147638 w 201358"/>
                <a:gd name="connsiteY11" fmla="*/ 184118 h 235648"/>
                <a:gd name="connsiteX12" fmla="*/ 162116 w 201358"/>
                <a:gd name="connsiteY12" fmla="*/ 161163 h 235648"/>
                <a:gd name="connsiteX13" fmla="*/ 167450 w 201358"/>
                <a:gd name="connsiteY13" fmla="*/ 131826 h 235648"/>
                <a:gd name="connsiteX14" fmla="*/ 167450 w 201358"/>
                <a:gd name="connsiteY14" fmla="*/ 0 h 235648"/>
                <a:gd name="connsiteX15" fmla="*/ 201359 w 201358"/>
                <a:gd name="connsiteY15" fmla="*/ 0 h 235648"/>
                <a:gd name="connsiteX16" fmla="*/ 201359 w 201358"/>
                <a:gd name="connsiteY16" fmla="*/ 230791 h 235648"/>
                <a:gd name="connsiteX17" fmla="*/ 167450 w 201358"/>
                <a:gd name="connsiteY17" fmla="*/ 230791 h 235648"/>
                <a:gd name="connsiteX18" fmla="*/ 167450 w 201358"/>
                <a:gd name="connsiteY18" fmla="*/ 190595 h 235648"/>
                <a:gd name="connsiteX19" fmla="*/ 137065 w 201358"/>
                <a:gd name="connsiteY19" fmla="*/ 222504 h 235648"/>
                <a:gd name="connsiteX20" fmla="*/ 88392 w 201358"/>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358" h="235648">
                  <a:moveTo>
                    <a:pt x="88392" y="235648"/>
                  </a:moveTo>
                  <a:cubicBezTo>
                    <a:pt x="74390" y="235648"/>
                    <a:pt x="62008" y="233363"/>
                    <a:pt x="51149" y="228981"/>
                  </a:cubicBezTo>
                  <a:cubicBezTo>
                    <a:pt x="40291" y="224504"/>
                    <a:pt x="31052" y="218218"/>
                    <a:pt x="23432"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959" y="185261"/>
                  </a:cubicBezTo>
                  <a:cubicBezTo>
                    <a:pt x="61913" y="197739"/>
                    <a:pt x="77724" y="203930"/>
                    <a:pt x="98298" y="203930"/>
                  </a:cubicBezTo>
                  <a:cubicBezTo>
                    <a:pt x="108109" y="203930"/>
                    <a:pt x="117253" y="202216"/>
                    <a:pt x="125730" y="198787"/>
                  </a:cubicBezTo>
                  <a:cubicBezTo>
                    <a:pt x="134207" y="195358"/>
                    <a:pt x="141446" y="190500"/>
                    <a:pt x="147638" y="184118"/>
                  </a:cubicBezTo>
                  <a:cubicBezTo>
                    <a:pt x="153734" y="177736"/>
                    <a:pt x="158591" y="170116"/>
                    <a:pt x="162116" y="161163"/>
                  </a:cubicBezTo>
                  <a:cubicBezTo>
                    <a:pt x="165735" y="152305"/>
                    <a:pt x="167450" y="142494"/>
                    <a:pt x="167450" y="131826"/>
                  </a:cubicBezTo>
                  <a:lnTo>
                    <a:pt x="167450" y="0"/>
                  </a:lnTo>
                  <a:lnTo>
                    <a:pt x="201359" y="0"/>
                  </a:lnTo>
                  <a:lnTo>
                    <a:pt x="201359" y="230791"/>
                  </a:lnTo>
                  <a:lnTo>
                    <a:pt x="167450" y="230791"/>
                  </a:lnTo>
                  <a:lnTo>
                    <a:pt x="167450" y="190595"/>
                  </a:lnTo>
                  <a:cubicBezTo>
                    <a:pt x="159734" y="203073"/>
                    <a:pt x="149543" y="213741"/>
                    <a:pt x="137065" y="222504"/>
                  </a:cubicBezTo>
                  <a:cubicBezTo>
                    <a:pt x="124587" y="231267"/>
                    <a:pt x="108395" y="235648"/>
                    <a:pt x="88392" y="235648"/>
                  </a:cubicBezTo>
                  <a:close/>
                </a:path>
              </a:pathLst>
            </a:custGeom>
            <a:solidFill>
              <a:srgbClr val="44505E"/>
            </a:solidFill>
            <a:ln w="9525" cap="flat">
              <a:noFill/>
              <a:prstDash val="solid"/>
              <a:miter/>
            </a:ln>
          </p:spPr>
          <p:txBody>
            <a:bodyPr rtlCol="0" anchor="ctr"/>
            <a:lstStyle/>
            <a:p>
              <a:endParaRPr lang="pt-BR" noProof="0"/>
            </a:p>
          </p:txBody>
        </p:sp>
        <p:sp>
          <p:nvSpPr>
            <p:cNvPr id="43" name="Freeform: Shape 42">
              <a:extLst>
                <a:ext uri="{FF2B5EF4-FFF2-40B4-BE49-F238E27FC236}">
                  <a16:creationId xmlns:a16="http://schemas.microsoft.com/office/drawing/2014/main" id="{796A75BA-1C12-EA6D-E0E7-B876B34ACF3A}"/>
                </a:ext>
              </a:extLst>
            </p:cNvPr>
            <p:cNvSpPr/>
            <p:nvPr/>
          </p:nvSpPr>
          <p:spPr>
            <a:xfrm>
              <a:off x="5896069"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7059 w 218217"/>
                <a:gd name="connsiteY3" fmla="*/ 206026 h 241077"/>
                <a:gd name="connsiteX4" fmla="*/ 116110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7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0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356 w 218217"/>
                <a:gd name="connsiteY25" fmla="*/ 106299 h 241077"/>
                <a:gd name="connsiteX26" fmla="*/ 176689 w 218217"/>
                <a:gd name="connsiteY26" fmla="*/ 76771 h 241077"/>
                <a:gd name="connsiteX27" fmla="*/ 162211 w 218217"/>
                <a:gd name="connsiteY27" fmla="*/ 52101 h 241077"/>
                <a:gd name="connsiteX28" fmla="*/ 139922 w 218217"/>
                <a:gd name="connsiteY28" fmla="*/ 35242 h 241077"/>
                <a:gd name="connsiteX29" fmla="*/ 109823 w 218217"/>
                <a:gd name="connsiteY29" fmla="*/ 29051 h 241077"/>
                <a:gd name="connsiteX30" fmla="*/ 82105 w 218217"/>
                <a:gd name="connsiteY30" fmla="*/ 34766 h 241077"/>
                <a:gd name="connsiteX31" fmla="*/ 59341 w 218217"/>
                <a:gd name="connsiteY31" fmla="*/ 50959 h 241077"/>
                <a:gd name="connsiteX32" fmla="*/ 43053 w 218217"/>
                <a:gd name="connsiteY32" fmla="*/ 75628 h 241077"/>
                <a:gd name="connsiteX33" fmla="*/ 34766 w 218217"/>
                <a:gd name="connsiteY33" fmla="*/ 106204 h 241077"/>
                <a:gd name="connsiteX34" fmla="*/ 183356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819" y="202597"/>
                    <a:pt x="87059" y="206026"/>
                  </a:cubicBezTo>
                  <a:cubicBezTo>
                    <a:pt x="96298" y="209455"/>
                    <a:pt x="105918" y="211169"/>
                    <a:pt x="116110" y="211169"/>
                  </a:cubicBezTo>
                  <a:cubicBezTo>
                    <a:pt x="132207" y="211169"/>
                    <a:pt x="145923" y="208216"/>
                    <a:pt x="157353" y="202216"/>
                  </a:cubicBezTo>
                  <a:cubicBezTo>
                    <a:pt x="168783" y="196310"/>
                    <a:pt x="179261" y="188404"/>
                    <a:pt x="188786" y="178594"/>
                  </a:cubicBezTo>
                  <a:lnTo>
                    <a:pt x="210217" y="197834"/>
                  </a:lnTo>
                  <a:cubicBezTo>
                    <a:pt x="198596" y="210979"/>
                    <a:pt x="185356" y="221361"/>
                    <a:pt x="170497" y="229267"/>
                  </a:cubicBezTo>
                  <a:cubicBezTo>
                    <a:pt x="155638"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583" y="0"/>
                    <a:pt x="110680"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356" y="106299"/>
                  </a:moveTo>
                  <a:cubicBezTo>
                    <a:pt x="182499" y="95917"/>
                    <a:pt x="180213" y="86106"/>
                    <a:pt x="176689" y="76771"/>
                  </a:cubicBezTo>
                  <a:cubicBezTo>
                    <a:pt x="173069" y="67437"/>
                    <a:pt x="168307" y="59245"/>
                    <a:pt x="162211" y="52101"/>
                  </a:cubicBezTo>
                  <a:cubicBezTo>
                    <a:pt x="156115" y="44958"/>
                    <a:pt x="148685" y="39338"/>
                    <a:pt x="139922" y="35242"/>
                  </a:cubicBezTo>
                  <a:cubicBezTo>
                    <a:pt x="131159" y="31147"/>
                    <a:pt x="121063" y="29051"/>
                    <a:pt x="109823" y="29051"/>
                  </a:cubicBezTo>
                  <a:cubicBezTo>
                    <a:pt x="100013" y="29051"/>
                    <a:pt x="90773" y="30956"/>
                    <a:pt x="82105" y="34766"/>
                  </a:cubicBezTo>
                  <a:cubicBezTo>
                    <a:pt x="73438" y="38671"/>
                    <a:pt x="65913" y="44005"/>
                    <a:pt x="59341" y="50959"/>
                  </a:cubicBezTo>
                  <a:cubicBezTo>
                    <a:pt x="52769" y="57912"/>
                    <a:pt x="47339" y="66103"/>
                    <a:pt x="43053" y="75628"/>
                  </a:cubicBezTo>
                  <a:cubicBezTo>
                    <a:pt x="38767" y="85058"/>
                    <a:pt x="36004" y="95345"/>
                    <a:pt x="34766" y="106204"/>
                  </a:cubicBezTo>
                  <a:lnTo>
                    <a:pt x="183356" y="106204"/>
                  </a:lnTo>
                  <a:close/>
                </a:path>
              </a:pathLst>
            </a:custGeom>
            <a:solidFill>
              <a:srgbClr val="44505E"/>
            </a:solidFill>
            <a:ln w="9525" cap="flat">
              <a:noFill/>
              <a:prstDash val="solid"/>
              <a:miter/>
            </a:ln>
          </p:spPr>
          <p:txBody>
            <a:bodyPr rtlCol="0" anchor="ctr"/>
            <a:lstStyle/>
            <a:p>
              <a:endParaRPr lang="pt-BR" noProof="0"/>
            </a:p>
          </p:txBody>
        </p:sp>
        <p:sp>
          <p:nvSpPr>
            <p:cNvPr id="44" name="Freeform: Shape 43">
              <a:extLst>
                <a:ext uri="{FF2B5EF4-FFF2-40B4-BE49-F238E27FC236}">
                  <a16:creationId xmlns:a16="http://schemas.microsoft.com/office/drawing/2014/main" id="{DC0372A6-A58C-56C1-B29F-85F952773AE0}"/>
                </a:ext>
              </a:extLst>
            </p:cNvPr>
            <p:cNvSpPr/>
            <p:nvPr/>
          </p:nvSpPr>
          <p:spPr>
            <a:xfrm>
              <a:off x="5994910" y="924268"/>
              <a:ext cx="44680" cy="60195"/>
            </a:xfrm>
            <a:custGeom>
              <a:avLst/>
              <a:gdLst>
                <a:gd name="connsiteX0" fmla="*/ 95536 w 177736"/>
                <a:gd name="connsiteY0" fmla="*/ 239268 h 239458"/>
                <a:gd name="connsiteX1" fmla="*/ 45053 w 177736"/>
                <a:gd name="connsiteY1" fmla="*/ 230124 h 239458"/>
                <a:gd name="connsiteX2" fmla="*/ 0 w 177736"/>
                <a:gd name="connsiteY2" fmla="*/ 205359 h 239458"/>
                <a:gd name="connsiteX3" fmla="*/ 17431 w 177736"/>
                <a:gd name="connsiteY3" fmla="*/ 180785 h 239458"/>
                <a:gd name="connsiteX4" fmla="*/ 56483 w 177736"/>
                <a:gd name="connsiteY4" fmla="*/ 202692 h 239458"/>
                <a:gd name="connsiteX5" fmla="*/ 97346 w 177736"/>
                <a:gd name="connsiteY5" fmla="*/ 210217 h 239458"/>
                <a:gd name="connsiteX6" fmla="*/ 131731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730 w 177736"/>
                <a:gd name="connsiteY10" fmla="*/ 147066 h 239458"/>
                <a:gd name="connsiteX11" fmla="*/ 109252 w 177736"/>
                <a:gd name="connsiteY11" fmla="*/ 138779 h 239458"/>
                <a:gd name="connsiteX12" fmla="*/ 87630 w 177736"/>
                <a:gd name="connsiteY12" fmla="*/ 132112 h 239458"/>
                <a:gd name="connsiteX13" fmla="*/ 60674 w 177736"/>
                <a:gd name="connsiteY13" fmla="*/ 123444 h 239458"/>
                <a:gd name="connsiteX14" fmla="*/ 36100 w 177736"/>
                <a:gd name="connsiteY14" fmla="*/ 111633 h 239458"/>
                <a:gd name="connsiteX15" fmla="*/ 18193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60 w 177736"/>
                <a:gd name="connsiteY22" fmla="*/ 6953 h 239458"/>
                <a:gd name="connsiteX23" fmla="*/ 172879 w 177736"/>
                <a:gd name="connsiteY23" fmla="*/ 25527 h 239458"/>
                <a:gd name="connsiteX24" fmla="*/ 157258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4 w 177736"/>
                <a:gd name="connsiteY32" fmla="*/ 96203 h 239458"/>
                <a:gd name="connsiteX33" fmla="*/ 103632 w 177736"/>
                <a:gd name="connsiteY33" fmla="*/ 103346 h 239458"/>
                <a:gd name="connsiteX34" fmla="*/ 130207 w 177736"/>
                <a:gd name="connsiteY34" fmla="*/ 112300 h 239458"/>
                <a:gd name="connsiteX35" fmla="*/ 154114 w 177736"/>
                <a:gd name="connsiteY35" fmla="*/ 124778 h 239458"/>
                <a:gd name="connsiteX36" fmla="*/ 171260 w 177736"/>
                <a:gd name="connsiteY36" fmla="*/ 143066 h 239458"/>
                <a:gd name="connsiteX37" fmla="*/ 177737 w 177736"/>
                <a:gd name="connsiteY37" fmla="*/ 169450 h 239458"/>
                <a:gd name="connsiteX38" fmla="*/ 177737 w 177736"/>
                <a:gd name="connsiteY38" fmla="*/ 170307 h 239458"/>
                <a:gd name="connsiteX39" fmla="*/ 171260 w 177736"/>
                <a:gd name="connsiteY39" fmla="*/ 199549 h 239458"/>
                <a:gd name="connsiteX40" fmla="*/ 153829 w 177736"/>
                <a:gd name="connsiteY40" fmla="*/ 221171 h 239458"/>
                <a:gd name="connsiteX41" fmla="*/ 127921 w 177736"/>
                <a:gd name="connsiteY41" fmla="*/ 234791 h 239458"/>
                <a:gd name="connsiteX42" fmla="*/ 95536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6" y="239268"/>
                  </a:moveTo>
                  <a:cubicBezTo>
                    <a:pt x="78867" y="239268"/>
                    <a:pt x="62008" y="236220"/>
                    <a:pt x="45053" y="230124"/>
                  </a:cubicBezTo>
                  <a:cubicBezTo>
                    <a:pt x="28099" y="224028"/>
                    <a:pt x="13049" y="215741"/>
                    <a:pt x="0" y="205359"/>
                  </a:cubicBezTo>
                  <a:lnTo>
                    <a:pt x="17431" y="180785"/>
                  </a:lnTo>
                  <a:cubicBezTo>
                    <a:pt x="29909"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637" y="162211"/>
                    <a:pt x="140494" y="158020"/>
                  </a:cubicBezTo>
                  <a:cubicBezTo>
                    <a:pt x="137351" y="153829"/>
                    <a:pt x="133160" y="150209"/>
                    <a:pt x="127730" y="147066"/>
                  </a:cubicBezTo>
                  <a:cubicBezTo>
                    <a:pt x="122396" y="143923"/>
                    <a:pt x="116205" y="141161"/>
                    <a:pt x="109252" y="138779"/>
                  </a:cubicBezTo>
                  <a:cubicBezTo>
                    <a:pt x="102299" y="136398"/>
                    <a:pt x="95060" y="134207"/>
                    <a:pt x="87630" y="132112"/>
                  </a:cubicBezTo>
                  <a:cubicBezTo>
                    <a:pt x="78677" y="129445"/>
                    <a:pt x="69723" y="126492"/>
                    <a:pt x="60674" y="123444"/>
                  </a:cubicBezTo>
                  <a:cubicBezTo>
                    <a:pt x="51626" y="120301"/>
                    <a:pt x="43434" y="116396"/>
                    <a:pt x="36100" y="111633"/>
                  </a:cubicBezTo>
                  <a:cubicBezTo>
                    <a:pt x="28766" y="106871"/>
                    <a:pt x="22860" y="100870"/>
                    <a:pt x="18193" y="93726"/>
                  </a:cubicBezTo>
                  <a:cubicBezTo>
                    <a:pt x="13621" y="86582"/>
                    <a:pt x="11239" y="77629"/>
                    <a:pt x="11239" y="66961"/>
                  </a:cubicBezTo>
                  <a:lnTo>
                    <a:pt x="11239" y="66008"/>
                  </a:lnTo>
                  <a:cubicBezTo>
                    <a:pt x="11239" y="56198"/>
                    <a:pt x="13145" y="47149"/>
                    <a:pt x="17050" y="39053"/>
                  </a:cubicBezTo>
                  <a:cubicBezTo>
                    <a:pt x="20860" y="30861"/>
                    <a:pt x="26289" y="23908"/>
                    <a:pt x="33338" y="18098"/>
                  </a:cubicBezTo>
                  <a:cubicBezTo>
                    <a:pt x="40291" y="12287"/>
                    <a:pt x="48673" y="7811"/>
                    <a:pt x="58388" y="4667"/>
                  </a:cubicBezTo>
                  <a:cubicBezTo>
                    <a:pt x="68009" y="1524"/>
                    <a:pt x="78581" y="0"/>
                    <a:pt x="89821" y="0"/>
                  </a:cubicBezTo>
                  <a:cubicBezTo>
                    <a:pt x="104108" y="0"/>
                    <a:pt x="118491" y="2286"/>
                    <a:pt x="133160" y="6953"/>
                  </a:cubicBezTo>
                  <a:cubicBezTo>
                    <a:pt x="147733" y="11621"/>
                    <a:pt x="160972" y="17717"/>
                    <a:pt x="172879" y="25527"/>
                  </a:cubicBezTo>
                  <a:lnTo>
                    <a:pt x="157258" y="51435"/>
                  </a:lnTo>
                  <a:cubicBezTo>
                    <a:pt x="146495" y="44577"/>
                    <a:pt x="135350" y="39148"/>
                    <a:pt x="123539" y="35147"/>
                  </a:cubicBezTo>
                  <a:cubicBezTo>
                    <a:pt x="111824" y="31147"/>
                    <a:pt x="100298" y="29146"/>
                    <a:pt x="88963" y="29146"/>
                  </a:cubicBezTo>
                  <a:cubicBezTo>
                    <a:pt x="75247" y="29146"/>
                    <a:pt x="64389" y="32385"/>
                    <a:pt x="56388" y="38767"/>
                  </a:cubicBezTo>
                  <a:cubicBezTo>
                    <a:pt x="48387" y="45149"/>
                    <a:pt x="44291" y="53150"/>
                    <a:pt x="44291" y="62675"/>
                  </a:cubicBezTo>
                  <a:lnTo>
                    <a:pt x="44291" y="63627"/>
                  </a:lnTo>
                  <a:cubicBezTo>
                    <a:pt x="44291" y="68961"/>
                    <a:pt x="45911" y="73628"/>
                    <a:pt x="49244" y="77724"/>
                  </a:cubicBezTo>
                  <a:cubicBezTo>
                    <a:pt x="52483" y="81725"/>
                    <a:pt x="56960" y="85249"/>
                    <a:pt x="62389" y="88202"/>
                  </a:cubicBezTo>
                  <a:cubicBezTo>
                    <a:pt x="67913" y="91154"/>
                    <a:pt x="74200" y="93821"/>
                    <a:pt x="81344" y="96203"/>
                  </a:cubicBezTo>
                  <a:cubicBezTo>
                    <a:pt x="88487" y="98584"/>
                    <a:pt x="95917" y="100965"/>
                    <a:pt x="103632" y="103346"/>
                  </a:cubicBezTo>
                  <a:cubicBezTo>
                    <a:pt x="112586" y="106013"/>
                    <a:pt x="121444" y="108966"/>
                    <a:pt x="130207" y="112300"/>
                  </a:cubicBezTo>
                  <a:cubicBezTo>
                    <a:pt x="138970" y="115538"/>
                    <a:pt x="146971" y="119729"/>
                    <a:pt x="154114" y="124778"/>
                  </a:cubicBezTo>
                  <a:cubicBezTo>
                    <a:pt x="161258" y="129826"/>
                    <a:pt x="166973" y="135922"/>
                    <a:pt x="171260" y="143066"/>
                  </a:cubicBezTo>
                  <a:cubicBezTo>
                    <a:pt x="175546" y="150209"/>
                    <a:pt x="177737" y="158972"/>
                    <a:pt x="177737" y="169450"/>
                  </a:cubicBezTo>
                  <a:lnTo>
                    <a:pt x="177737" y="170307"/>
                  </a:lnTo>
                  <a:cubicBezTo>
                    <a:pt x="177737" y="181356"/>
                    <a:pt x="175546" y="191071"/>
                    <a:pt x="171260" y="199549"/>
                  </a:cubicBezTo>
                  <a:cubicBezTo>
                    <a:pt x="166973" y="208026"/>
                    <a:pt x="161163" y="215265"/>
                    <a:pt x="153829" y="221171"/>
                  </a:cubicBezTo>
                  <a:cubicBezTo>
                    <a:pt x="146495" y="227171"/>
                    <a:pt x="137922" y="231648"/>
                    <a:pt x="127921" y="234791"/>
                  </a:cubicBezTo>
                  <a:cubicBezTo>
                    <a:pt x="117920" y="237935"/>
                    <a:pt x="107156" y="239459"/>
                    <a:pt x="95536" y="239459"/>
                  </a:cubicBezTo>
                  <a:close/>
                </a:path>
              </a:pathLst>
            </a:custGeom>
            <a:solidFill>
              <a:srgbClr val="44505E"/>
            </a:solidFill>
            <a:ln w="9525" cap="flat">
              <a:noFill/>
              <a:prstDash val="solid"/>
              <a:miter/>
            </a:ln>
          </p:spPr>
          <p:txBody>
            <a:bodyPr rtlCol="0" anchor="ctr"/>
            <a:lstStyle/>
            <a:p>
              <a:endParaRPr lang="pt-BR" noProof="0"/>
            </a:p>
          </p:txBody>
        </p:sp>
        <p:sp>
          <p:nvSpPr>
            <p:cNvPr id="45" name="Freeform: Shape 44">
              <a:extLst>
                <a:ext uri="{FF2B5EF4-FFF2-40B4-BE49-F238E27FC236}">
                  <a16:creationId xmlns:a16="http://schemas.microsoft.com/office/drawing/2014/main" id="{A4CC74E1-F105-23FD-5E85-CD3B5CC3CD74}"/>
                </a:ext>
              </a:extLst>
            </p:cNvPr>
            <p:cNvSpPr/>
            <p:nvPr/>
          </p:nvSpPr>
          <p:spPr>
            <a:xfrm>
              <a:off x="605122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4 w 202977"/>
                <a:gd name="connsiteY30" fmla="*/ 174593 h 239267"/>
                <a:gd name="connsiteX31" fmla="*/ 169735 w 202977"/>
                <a:gd name="connsiteY31" fmla="*/ 149447 h 239267"/>
                <a:gd name="connsiteX32" fmla="*/ 169735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0" y="90964"/>
                    <a:pt x="98584" y="90964"/>
                  </a:cubicBezTo>
                  <a:cubicBezTo>
                    <a:pt x="113157" y="90964"/>
                    <a:pt x="126301"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1" y="33147"/>
                    <a:pt x="63436" y="36100"/>
                  </a:cubicBezTo>
                  <a:cubicBezTo>
                    <a:pt x="52292" y="39053"/>
                    <a:pt x="41338" y="43053"/>
                    <a:pt x="30671" y="48196"/>
                  </a:cubicBezTo>
                  <a:lnTo>
                    <a:pt x="20383" y="19907"/>
                  </a:lnTo>
                  <a:cubicBezTo>
                    <a:pt x="33147" y="13906"/>
                    <a:pt x="46101" y="9049"/>
                    <a:pt x="59246" y="5429"/>
                  </a:cubicBezTo>
                  <a:cubicBezTo>
                    <a:pt x="72295"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1" y="239173"/>
                  </a:cubicBezTo>
                  <a:close/>
                  <a:moveTo>
                    <a:pt x="93154" y="211169"/>
                  </a:moveTo>
                  <a:cubicBezTo>
                    <a:pt x="103822" y="211169"/>
                    <a:pt x="113728" y="209740"/>
                    <a:pt x="122967" y="206788"/>
                  </a:cubicBezTo>
                  <a:cubicBezTo>
                    <a:pt x="132207" y="203835"/>
                    <a:pt x="140208" y="199644"/>
                    <a:pt x="147256" y="194120"/>
                  </a:cubicBezTo>
                  <a:cubicBezTo>
                    <a:pt x="154209" y="188595"/>
                    <a:pt x="159734" y="182118"/>
                    <a:pt x="163734" y="174593"/>
                  </a:cubicBezTo>
                  <a:cubicBezTo>
                    <a:pt x="167735" y="167068"/>
                    <a:pt x="169735" y="158687"/>
                    <a:pt x="169735" y="149447"/>
                  </a:cubicBezTo>
                  <a:lnTo>
                    <a:pt x="169735" y="128111"/>
                  </a:lnTo>
                  <a:cubicBezTo>
                    <a:pt x="161163" y="125730"/>
                    <a:pt x="151352" y="123539"/>
                    <a:pt x="140398" y="121444"/>
                  </a:cubicBezTo>
                  <a:cubicBezTo>
                    <a:pt x="129445" y="119348"/>
                    <a:pt x="116872"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46" name="Freeform: Shape 45">
              <a:extLst>
                <a:ext uri="{FF2B5EF4-FFF2-40B4-BE49-F238E27FC236}">
                  <a16:creationId xmlns:a16="http://schemas.microsoft.com/office/drawing/2014/main" id="{7741785F-5CE3-FCAD-E167-A6B01F5EE739}"/>
                </a:ext>
              </a:extLst>
            </p:cNvPr>
            <p:cNvSpPr/>
            <p:nvPr/>
          </p:nvSpPr>
          <p:spPr>
            <a:xfrm>
              <a:off x="6121359" y="901377"/>
              <a:ext cx="8644" cy="81913"/>
            </a:xfrm>
            <a:custGeom>
              <a:avLst/>
              <a:gdLst>
                <a:gd name="connsiteX0" fmla="*/ 0 w 34385"/>
                <a:gd name="connsiteY0" fmla="*/ 0 h 325850"/>
                <a:gd name="connsiteX1" fmla="*/ 34385 w 34385"/>
                <a:gd name="connsiteY1" fmla="*/ 0 h 325850"/>
                <a:gd name="connsiteX2" fmla="*/ 34385 w 34385"/>
                <a:gd name="connsiteY2" fmla="*/ 325850 h 325850"/>
                <a:gd name="connsiteX3" fmla="*/ 0 w 34385"/>
                <a:gd name="connsiteY3" fmla="*/ 325850 h 325850"/>
                <a:gd name="connsiteX4" fmla="*/ 0 w 34385"/>
                <a:gd name="connsiteY4" fmla="*/ 0 h 32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 h="325850">
                  <a:moveTo>
                    <a:pt x="0" y="0"/>
                  </a:moveTo>
                  <a:lnTo>
                    <a:pt x="34385" y="0"/>
                  </a:lnTo>
                  <a:lnTo>
                    <a:pt x="34385" y="325850"/>
                  </a:lnTo>
                  <a:lnTo>
                    <a:pt x="0" y="325850"/>
                  </a:lnTo>
                  <a:lnTo>
                    <a:pt x="0" y="0"/>
                  </a:lnTo>
                  <a:close/>
                </a:path>
              </a:pathLst>
            </a:custGeom>
            <a:solidFill>
              <a:srgbClr val="44505E"/>
            </a:solidFill>
            <a:ln w="9525" cap="flat">
              <a:noFill/>
              <a:prstDash val="solid"/>
              <a:miter/>
            </a:ln>
          </p:spPr>
          <p:txBody>
            <a:bodyPr rtlCol="0" anchor="ctr"/>
            <a:lstStyle/>
            <a:p>
              <a:endParaRPr lang="pt-BR" noProof="0"/>
            </a:p>
          </p:txBody>
        </p:sp>
        <p:sp>
          <p:nvSpPr>
            <p:cNvPr id="47" name="Freeform: Shape 46">
              <a:extLst>
                <a:ext uri="{FF2B5EF4-FFF2-40B4-BE49-F238E27FC236}">
                  <a16:creationId xmlns:a16="http://schemas.microsoft.com/office/drawing/2014/main" id="{8DAF6CF4-CF25-D112-C107-5E92E8226D77}"/>
                </a:ext>
              </a:extLst>
            </p:cNvPr>
            <p:cNvSpPr/>
            <p:nvPr/>
          </p:nvSpPr>
          <p:spPr>
            <a:xfrm>
              <a:off x="6144346" y="925273"/>
              <a:ext cx="58016" cy="58448"/>
            </a:xfrm>
            <a:custGeom>
              <a:avLst/>
              <a:gdLst>
                <a:gd name="connsiteX0" fmla="*/ 95 w 230790"/>
                <a:gd name="connsiteY0" fmla="*/ 0 h 232505"/>
                <a:gd name="connsiteX1" fmla="*/ 38005 w 230790"/>
                <a:gd name="connsiteY1" fmla="*/ 0 h 232505"/>
                <a:gd name="connsiteX2" fmla="*/ 115634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4"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48" name="Freeform: Shape 47">
              <a:extLst>
                <a:ext uri="{FF2B5EF4-FFF2-40B4-BE49-F238E27FC236}">
                  <a16:creationId xmlns:a16="http://schemas.microsoft.com/office/drawing/2014/main" id="{DA5CB994-3ADC-1E1C-5980-725E67BDAB83}"/>
                </a:ext>
              </a:extLst>
            </p:cNvPr>
            <p:cNvSpPr/>
            <p:nvPr/>
          </p:nvSpPr>
          <p:spPr>
            <a:xfrm>
              <a:off x="621155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8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338 w 202977"/>
                <a:gd name="connsiteY36" fmla="*/ 164497 h 239267"/>
                <a:gd name="connsiteX37" fmla="*/ 35338 w 202977"/>
                <a:gd name="connsiteY37" fmla="*/ 165449 h 239267"/>
                <a:gd name="connsiteX38" fmla="*/ 40005 w 202977"/>
                <a:gd name="connsiteY38" fmla="*/ 184785 h 239267"/>
                <a:gd name="connsiteX39" fmla="*/ 52673 w 202977"/>
                <a:gd name="connsiteY39" fmla="*/ 199263 h 239267"/>
                <a:gd name="connsiteX40" fmla="*/ 71152 w 202977"/>
                <a:gd name="connsiteY40" fmla="*/ 208121 h 239267"/>
                <a:gd name="connsiteX41" fmla="*/ 93154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438" y="239268"/>
                    <a:pt x="64961"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1" y="90964"/>
                    <a:pt x="98584" y="90964"/>
                  </a:cubicBezTo>
                  <a:cubicBezTo>
                    <a:pt x="113157" y="90964"/>
                    <a:pt x="126302" y="91821"/>
                    <a:pt x="137160" y="93631"/>
                  </a:cubicBezTo>
                  <a:cubicBezTo>
                    <a:pt x="148019" y="95440"/>
                    <a:pt x="158687" y="97822"/>
                    <a:pt x="169069" y="100774"/>
                  </a:cubicBezTo>
                  <a:lnTo>
                    <a:pt x="169069" y="93726"/>
                  </a:lnTo>
                  <a:cubicBezTo>
                    <a:pt x="169069" y="73342"/>
                    <a:pt x="163068" y="57912"/>
                    <a:pt x="151162" y="47339"/>
                  </a:cubicBezTo>
                  <a:cubicBezTo>
                    <a:pt x="139255" y="36862"/>
                    <a:pt x="122491" y="31623"/>
                    <a:pt x="100679" y="31623"/>
                  </a:cubicBezTo>
                  <a:cubicBezTo>
                    <a:pt x="86963" y="31623"/>
                    <a:pt x="74581" y="33147"/>
                    <a:pt x="63437" y="36100"/>
                  </a:cubicBezTo>
                  <a:cubicBezTo>
                    <a:pt x="52292" y="39053"/>
                    <a:pt x="41338" y="43053"/>
                    <a:pt x="30671" y="48196"/>
                  </a:cubicBezTo>
                  <a:lnTo>
                    <a:pt x="20383" y="19907"/>
                  </a:lnTo>
                  <a:cubicBezTo>
                    <a:pt x="33147" y="13906"/>
                    <a:pt x="46101" y="9049"/>
                    <a:pt x="59246" y="5429"/>
                  </a:cubicBezTo>
                  <a:cubicBezTo>
                    <a:pt x="72390"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04" y="239173"/>
                    <a:pt x="86011" y="239173"/>
                  </a:cubicBezTo>
                  <a:close/>
                  <a:moveTo>
                    <a:pt x="93154" y="211169"/>
                  </a:moveTo>
                  <a:cubicBezTo>
                    <a:pt x="103822" y="211169"/>
                    <a:pt x="113824" y="209740"/>
                    <a:pt x="122968" y="206788"/>
                  </a:cubicBezTo>
                  <a:cubicBezTo>
                    <a:pt x="132112"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5" y="119348"/>
                    <a:pt x="116777" y="118300"/>
                    <a:pt x="102584" y="118300"/>
                  </a:cubicBezTo>
                  <a:cubicBezTo>
                    <a:pt x="81248" y="118300"/>
                    <a:pt x="64675" y="122491"/>
                    <a:pt x="52959" y="130969"/>
                  </a:cubicBezTo>
                  <a:cubicBezTo>
                    <a:pt x="41243" y="139446"/>
                    <a:pt x="35338" y="150590"/>
                    <a:pt x="35338" y="164497"/>
                  </a:cubicBezTo>
                  <a:lnTo>
                    <a:pt x="35338" y="165449"/>
                  </a:lnTo>
                  <a:cubicBezTo>
                    <a:pt x="35338" y="172498"/>
                    <a:pt x="36862" y="178975"/>
                    <a:pt x="40005" y="184785"/>
                  </a:cubicBezTo>
                  <a:cubicBezTo>
                    <a:pt x="43148" y="190500"/>
                    <a:pt x="47339" y="195358"/>
                    <a:pt x="52673" y="199263"/>
                  </a:cubicBezTo>
                  <a:cubicBezTo>
                    <a:pt x="58007" y="203073"/>
                    <a:pt x="64198" y="206026"/>
                    <a:pt x="71152" y="208121"/>
                  </a:cubicBezTo>
                  <a:cubicBezTo>
                    <a:pt x="78105" y="210217"/>
                    <a:pt x="85439" y="211169"/>
                    <a:pt x="93154" y="211169"/>
                  </a:cubicBezTo>
                  <a:close/>
                </a:path>
              </a:pathLst>
            </a:custGeom>
            <a:solidFill>
              <a:srgbClr val="44505E"/>
            </a:solidFill>
            <a:ln w="9525" cap="flat">
              <a:noFill/>
              <a:prstDash val="solid"/>
              <a:miter/>
            </a:ln>
          </p:spPr>
          <p:txBody>
            <a:bodyPr rtlCol="0" anchor="ctr"/>
            <a:lstStyle/>
            <a:p>
              <a:endParaRPr lang="pt-BR" noProof="0"/>
            </a:p>
          </p:txBody>
        </p:sp>
        <p:sp>
          <p:nvSpPr>
            <p:cNvPr id="49" name="Freeform: Shape 48">
              <a:extLst>
                <a:ext uri="{FF2B5EF4-FFF2-40B4-BE49-F238E27FC236}">
                  <a16:creationId xmlns:a16="http://schemas.microsoft.com/office/drawing/2014/main" id="{BB4126E9-B50A-A055-C998-69C48DD9AA5A}"/>
                </a:ext>
              </a:extLst>
            </p:cNvPr>
            <p:cNvSpPr/>
            <p:nvPr/>
          </p:nvSpPr>
          <p:spPr>
            <a:xfrm>
              <a:off x="6280899" y="923980"/>
              <a:ext cx="87995" cy="59238"/>
            </a:xfrm>
            <a:custGeom>
              <a:avLst/>
              <a:gdLst>
                <a:gd name="connsiteX0" fmla="*/ 0 w 350043"/>
                <a:gd name="connsiteY0" fmla="*/ 5144 h 235648"/>
                <a:gd name="connsiteX1" fmla="*/ 34385 w 350043"/>
                <a:gd name="connsiteY1" fmla="*/ 5144 h 235648"/>
                <a:gd name="connsiteX2" fmla="*/ 34385 w 350043"/>
                <a:gd name="connsiteY2" fmla="*/ 44005 h 235648"/>
                <a:gd name="connsiteX3" fmla="*/ 47149 w 350043"/>
                <a:gd name="connsiteY3" fmla="*/ 27432 h 235648"/>
                <a:gd name="connsiteX4" fmla="*/ 62960 w 350043"/>
                <a:gd name="connsiteY4" fmla="*/ 13335 h 235648"/>
                <a:gd name="connsiteX5" fmla="*/ 83058 w 350043"/>
                <a:gd name="connsiteY5" fmla="*/ 3715 h 235648"/>
                <a:gd name="connsiteX6" fmla="*/ 108966 w 350043"/>
                <a:gd name="connsiteY6" fmla="*/ 95 h 235648"/>
                <a:gd name="connsiteX7" fmla="*/ 155448 w 350043"/>
                <a:gd name="connsiteY7" fmla="*/ 13240 h 235648"/>
                <a:gd name="connsiteX8" fmla="*/ 183166 w 350043"/>
                <a:gd name="connsiteY8" fmla="*/ 46006 h 235648"/>
                <a:gd name="connsiteX9" fmla="*/ 197168 w 350043"/>
                <a:gd name="connsiteY9" fmla="*/ 28194 h 235648"/>
                <a:gd name="connsiteX10" fmla="*/ 214789 w 350043"/>
                <a:gd name="connsiteY10" fmla="*/ 13430 h 235648"/>
                <a:gd name="connsiteX11" fmla="*/ 236887 w 350043"/>
                <a:gd name="connsiteY11" fmla="*/ 3620 h 235648"/>
                <a:gd name="connsiteX12" fmla="*/ 264319 w 350043"/>
                <a:gd name="connsiteY12" fmla="*/ 0 h 235648"/>
                <a:gd name="connsiteX13" fmla="*/ 327279 w 350043"/>
                <a:gd name="connsiteY13" fmla="*/ 24765 h 235648"/>
                <a:gd name="connsiteX14" fmla="*/ 350044 w 350043"/>
                <a:gd name="connsiteY14" fmla="*/ 92773 h 235648"/>
                <a:gd name="connsiteX15" fmla="*/ 350044 w 350043"/>
                <a:gd name="connsiteY15" fmla="*/ 235648 h 235648"/>
                <a:gd name="connsiteX16" fmla="*/ 315659 w 350043"/>
                <a:gd name="connsiteY16" fmla="*/ 235648 h 235648"/>
                <a:gd name="connsiteX17" fmla="*/ 315659 w 350043"/>
                <a:gd name="connsiteY17" fmla="*/ 101155 h 235648"/>
                <a:gd name="connsiteX18" fmla="*/ 299847 w 350043"/>
                <a:gd name="connsiteY18" fmla="*/ 49721 h 235648"/>
                <a:gd name="connsiteX19" fmla="*/ 255937 w 350043"/>
                <a:gd name="connsiteY19" fmla="*/ 31718 h 235648"/>
                <a:gd name="connsiteX20" fmla="*/ 231362 w 350043"/>
                <a:gd name="connsiteY20" fmla="*/ 36386 h 235648"/>
                <a:gd name="connsiteX21" fmla="*/ 211074 w 350043"/>
                <a:gd name="connsiteY21" fmla="*/ 50197 h 235648"/>
                <a:gd name="connsiteX22" fmla="*/ 197263 w 350043"/>
                <a:gd name="connsiteY22" fmla="*/ 72676 h 235648"/>
                <a:gd name="connsiteX23" fmla="*/ 192119 w 350043"/>
                <a:gd name="connsiteY23" fmla="*/ 102965 h 235648"/>
                <a:gd name="connsiteX24" fmla="*/ 192119 w 350043"/>
                <a:gd name="connsiteY24" fmla="*/ 235648 h 235648"/>
                <a:gd name="connsiteX25" fmla="*/ 158210 w 350043"/>
                <a:gd name="connsiteY25" fmla="*/ 235648 h 235648"/>
                <a:gd name="connsiteX26" fmla="*/ 158210 w 350043"/>
                <a:gd name="connsiteY26" fmla="*/ 100298 h 235648"/>
                <a:gd name="connsiteX27" fmla="*/ 142399 w 350043"/>
                <a:gd name="connsiteY27" fmla="*/ 49721 h 235648"/>
                <a:gd name="connsiteX28" fmla="*/ 98870 w 350043"/>
                <a:gd name="connsiteY28" fmla="*/ 31718 h 235648"/>
                <a:gd name="connsiteX29" fmla="*/ 73438 w 350043"/>
                <a:gd name="connsiteY29" fmla="*/ 37052 h 235648"/>
                <a:gd name="connsiteX30" fmla="*/ 53150 w 350043"/>
                <a:gd name="connsiteY30" fmla="*/ 52197 h 235648"/>
                <a:gd name="connsiteX31" fmla="*/ 39529 w 350043"/>
                <a:gd name="connsiteY31" fmla="*/ 75152 h 235648"/>
                <a:gd name="connsiteX32" fmla="*/ 34576 w 350043"/>
                <a:gd name="connsiteY32" fmla="*/ 104299 h 235648"/>
                <a:gd name="connsiteX33" fmla="*/ 34576 w 350043"/>
                <a:gd name="connsiteY33" fmla="*/ 235648 h 235648"/>
                <a:gd name="connsiteX34" fmla="*/ 190 w 350043"/>
                <a:gd name="connsiteY34" fmla="*/ 235648 h 235648"/>
                <a:gd name="connsiteX35" fmla="*/ 190 w 350043"/>
                <a:gd name="connsiteY35" fmla="*/ 485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0043" h="235648">
                  <a:moveTo>
                    <a:pt x="0" y="5144"/>
                  </a:moveTo>
                  <a:lnTo>
                    <a:pt x="34385" y="5144"/>
                  </a:lnTo>
                  <a:lnTo>
                    <a:pt x="34385" y="44005"/>
                  </a:lnTo>
                  <a:cubicBezTo>
                    <a:pt x="38290" y="38386"/>
                    <a:pt x="42481" y="32861"/>
                    <a:pt x="47149" y="27432"/>
                  </a:cubicBezTo>
                  <a:cubicBezTo>
                    <a:pt x="51721" y="22098"/>
                    <a:pt x="57055" y="17431"/>
                    <a:pt x="62960" y="13335"/>
                  </a:cubicBezTo>
                  <a:cubicBezTo>
                    <a:pt x="68866" y="9335"/>
                    <a:pt x="75629" y="6096"/>
                    <a:pt x="83058" y="3715"/>
                  </a:cubicBezTo>
                  <a:cubicBezTo>
                    <a:pt x="90488" y="1334"/>
                    <a:pt x="99155" y="95"/>
                    <a:pt x="108966" y="95"/>
                  </a:cubicBezTo>
                  <a:cubicBezTo>
                    <a:pt x="127730" y="95"/>
                    <a:pt x="143161" y="4477"/>
                    <a:pt x="155448" y="13240"/>
                  </a:cubicBezTo>
                  <a:cubicBezTo>
                    <a:pt x="167640" y="22003"/>
                    <a:pt x="176879" y="32956"/>
                    <a:pt x="183166" y="46006"/>
                  </a:cubicBezTo>
                  <a:cubicBezTo>
                    <a:pt x="187357" y="39719"/>
                    <a:pt x="192024" y="33814"/>
                    <a:pt x="197168" y="28194"/>
                  </a:cubicBezTo>
                  <a:cubicBezTo>
                    <a:pt x="202406" y="22574"/>
                    <a:pt x="208217" y="17621"/>
                    <a:pt x="214789" y="13430"/>
                  </a:cubicBezTo>
                  <a:cubicBezTo>
                    <a:pt x="221361" y="9239"/>
                    <a:pt x="228695" y="6001"/>
                    <a:pt x="236887" y="3620"/>
                  </a:cubicBezTo>
                  <a:cubicBezTo>
                    <a:pt x="245078" y="1238"/>
                    <a:pt x="254222" y="0"/>
                    <a:pt x="264319" y="0"/>
                  </a:cubicBezTo>
                  <a:cubicBezTo>
                    <a:pt x="291084" y="0"/>
                    <a:pt x="312039" y="8287"/>
                    <a:pt x="327279" y="24765"/>
                  </a:cubicBezTo>
                  <a:cubicBezTo>
                    <a:pt x="342519" y="41243"/>
                    <a:pt x="350044" y="63913"/>
                    <a:pt x="350044" y="92773"/>
                  </a:cubicBezTo>
                  <a:lnTo>
                    <a:pt x="350044" y="235648"/>
                  </a:lnTo>
                  <a:lnTo>
                    <a:pt x="315659" y="235648"/>
                  </a:lnTo>
                  <a:lnTo>
                    <a:pt x="315659" y="101155"/>
                  </a:lnTo>
                  <a:cubicBezTo>
                    <a:pt x="315659" y="78867"/>
                    <a:pt x="310420" y="61722"/>
                    <a:pt x="299847" y="49721"/>
                  </a:cubicBezTo>
                  <a:cubicBezTo>
                    <a:pt x="289274" y="37719"/>
                    <a:pt x="274606" y="31718"/>
                    <a:pt x="255937" y="31718"/>
                  </a:cubicBezTo>
                  <a:cubicBezTo>
                    <a:pt x="247269" y="31718"/>
                    <a:pt x="239078" y="33242"/>
                    <a:pt x="231362" y="36386"/>
                  </a:cubicBezTo>
                  <a:cubicBezTo>
                    <a:pt x="223647" y="39529"/>
                    <a:pt x="216884" y="44101"/>
                    <a:pt x="211074" y="50197"/>
                  </a:cubicBezTo>
                  <a:cubicBezTo>
                    <a:pt x="205264" y="56293"/>
                    <a:pt x="200692" y="63818"/>
                    <a:pt x="197263" y="72676"/>
                  </a:cubicBezTo>
                  <a:cubicBezTo>
                    <a:pt x="193834" y="81629"/>
                    <a:pt x="192119" y="91726"/>
                    <a:pt x="192119" y="102965"/>
                  </a:cubicBezTo>
                  <a:lnTo>
                    <a:pt x="192119" y="235648"/>
                  </a:lnTo>
                  <a:lnTo>
                    <a:pt x="158210" y="235648"/>
                  </a:lnTo>
                  <a:lnTo>
                    <a:pt x="158210" y="100298"/>
                  </a:lnTo>
                  <a:cubicBezTo>
                    <a:pt x="158210" y="78677"/>
                    <a:pt x="152971" y="61817"/>
                    <a:pt x="142399" y="49721"/>
                  </a:cubicBezTo>
                  <a:cubicBezTo>
                    <a:pt x="131826" y="37719"/>
                    <a:pt x="117348" y="31718"/>
                    <a:pt x="98870" y="31718"/>
                  </a:cubicBezTo>
                  <a:cubicBezTo>
                    <a:pt x="89630" y="31718"/>
                    <a:pt x="81153" y="33528"/>
                    <a:pt x="73438" y="37052"/>
                  </a:cubicBezTo>
                  <a:cubicBezTo>
                    <a:pt x="65722" y="40672"/>
                    <a:pt x="58960" y="45720"/>
                    <a:pt x="53150" y="52197"/>
                  </a:cubicBezTo>
                  <a:cubicBezTo>
                    <a:pt x="47339" y="58769"/>
                    <a:pt x="42767" y="66389"/>
                    <a:pt x="39529" y="75152"/>
                  </a:cubicBezTo>
                  <a:cubicBezTo>
                    <a:pt x="36290" y="83915"/>
                    <a:pt x="34576" y="93631"/>
                    <a:pt x="34576" y="104299"/>
                  </a:cubicBezTo>
                  <a:lnTo>
                    <a:pt x="34576" y="235648"/>
                  </a:lnTo>
                  <a:lnTo>
                    <a:pt x="190" y="235648"/>
                  </a:lnTo>
                  <a:lnTo>
                    <a:pt x="190" y="4858"/>
                  </a:lnTo>
                  <a:close/>
                </a:path>
              </a:pathLst>
            </a:custGeom>
            <a:solidFill>
              <a:srgbClr val="44505E"/>
            </a:solidFill>
            <a:ln w="9525" cap="flat">
              <a:noFill/>
              <a:prstDash val="solid"/>
              <a:miter/>
            </a:ln>
          </p:spPr>
          <p:txBody>
            <a:bodyPr rtlCol="0" anchor="ctr"/>
            <a:lstStyle/>
            <a:p>
              <a:endParaRPr lang="pt-BR" noProof="0"/>
            </a:p>
          </p:txBody>
        </p:sp>
        <p:sp>
          <p:nvSpPr>
            <p:cNvPr id="50" name="Freeform: Shape 49">
              <a:extLst>
                <a:ext uri="{FF2B5EF4-FFF2-40B4-BE49-F238E27FC236}">
                  <a16:creationId xmlns:a16="http://schemas.microsoft.com/office/drawing/2014/main" id="{C4220802-8A07-CBF3-0849-ADC3A4016CE0}"/>
                </a:ext>
              </a:extLst>
            </p:cNvPr>
            <p:cNvSpPr/>
            <p:nvPr/>
          </p:nvSpPr>
          <p:spPr>
            <a:xfrm>
              <a:off x="6415537" y="925273"/>
              <a:ext cx="58016" cy="58448"/>
            </a:xfrm>
            <a:custGeom>
              <a:avLst/>
              <a:gdLst>
                <a:gd name="connsiteX0" fmla="*/ 95 w 230790"/>
                <a:gd name="connsiteY0" fmla="*/ 0 h 232505"/>
                <a:gd name="connsiteX1" fmla="*/ 38005 w 230790"/>
                <a:gd name="connsiteY1" fmla="*/ 0 h 232505"/>
                <a:gd name="connsiteX2" fmla="*/ 115633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3"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51" name="Freeform: Shape 50">
              <a:extLst>
                <a:ext uri="{FF2B5EF4-FFF2-40B4-BE49-F238E27FC236}">
                  <a16:creationId xmlns:a16="http://schemas.microsoft.com/office/drawing/2014/main" id="{AF0DBF7D-34A7-7E43-FF44-A5E69440C41C}"/>
                </a:ext>
              </a:extLst>
            </p:cNvPr>
            <p:cNvSpPr/>
            <p:nvPr/>
          </p:nvSpPr>
          <p:spPr>
            <a:xfrm>
              <a:off x="6487369"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286 w 39242"/>
                <a:gd name="connsiteY5" fmla="*/ 88392 h 319182"/>
                <a:gd name="connsiteX6" fmla="*/ 36671 w 39242"/>
                <a:gd name="connsiteY6" fmla="*/ 88392 h 319182"/>
                <a:gd name="connsiteX7" fmla="*/ 36671 w 39242"/>
                <a:gd name="connsiteY7" fmla="*/ 319183 h 319182"/>
                <a:gd name="connsiteX8" fmla="*/ 2286 w 39242"/>
                <a:gd name="connsiteY8" fmla="*/ 319183 h 319182"/>
                <a:gd name="connsiteX9" fmla="*/ 2286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286" y="88392"/>
                  </a:moveTo>
                  <a:lnTo>
                    <a:pt x="36671" y="88392"/>
                  </a:lnTo>
                  <a:lnTo>
                    <a:pt x="36671" y="319183"/>
                  </a:lnTo>
                  <a:lnTo>
                    <a:pt x="2286" y="319183"/>
                  </a:lnTo>
                  <a:lnTo>
                    <a:pt x="2286" y="88392"/>
                  </a:lnTo>
                  <a:close/>
                </a:path>
              </a:pathLst>
            </a:custGeom>
            <a:solidFill>
              <a:srgbClr val="44505E"/>
            </a:solidFill>
            <a:ln w="9525" cap="flat">
              <a:noFill/>
              <a:prstDash val="solid"/>
              <a:miter/>
            </a:ln>
          </p:spPr>
          <p:txBody>
            <a:bodyPr rtlCol="0" anchor="ctr"/>
            <a:lstStyle/>
            <a:p>
              <a:endParaRPr lang="pt-BR" noProof="0"/>
            </a:p>
          </p:txBody>
        </p:sp>
        <p:sp>
          <p:nvSpPr>
            <p:cNvPr id="52" name="Freeform: Shape 51">
              <a:extLst>
                <a:ext uri="{FF2B5EF4-FFF2-40B4-BE49-F238E27FC236}">
                  <a16:creationId xmlns:a16="http://schemas.microsoft.com/office/drawing/2014/main" id="{08232C51-28D9-F6FD-2130-2988EDF37A9F}"/>
                </a:ext>
              </a:extLst>
            </p:cNvPr>
            <p:cNvSpPr/>
            <p:nvPr/>
          </p:nvSpPr>
          <p:spPr>
            <a:xfrm>
              <a:off x="6513253" y="901353"/>
              <a:ext cx="58615" cy="83182"/>
            </a:xfrm>
            <a:custGeom>
              <a:avLst/>
              <a:gdLst>
                <a:gd name="connsiteX0" fmla="*/ 110394 w 233171"/>
                <a:gd name="connsiteY0" fmla="*/ 330898 h 330898"/>
                <a:gd name="connsiteX1" fmla="*/ 69723 w 233171"/>
                <a:gd name="connsiteY1" fmla="*/ 322897 h 330898"/>
                <a:gd name="connsiteX2" fmla="*/ 34480 w 233171"/>
                <a:gd name="connsiteY2" fmla="*/ 299466 h 330898"/>
                <a:gd name="connsiteX3" fmla="*/ 9430 w 233171"/>
                <a:gd name="connsiteY3" fmla="*/ 261938 h 330898"/>
                <a:gd name="connsiteX4" fmla="*/ 0 w 233171"/>
                <a:gd name="connsiteY4" fmla="*/ 211264 h 330898"/>
                <a:gd name="connsiteX5" fmla="*/ 0 w 233171"/>
                <a:gd name="connsiteY5" fmla="*/ 210407 h 330898"/>
                <a:gd name="connsiteX6" fmla="*/ 9430 w 233171"/>
                <a:gd name="connsiteY6" fmla="*/ 159925 h 330898"/>
                <a:gd name="connsiteX7" fmla="*/ 34480 w 233171"/>
                <a:gd name="connsiteY7" fmla="*/ 122206 h 330898"/>
                <a:gd name="connsiteX8" fmla="*/ 69723 w 233171"/>
                <a:gd name="connsiteY8" fmla="*/ 98488 h 330898"/>
                <a:gd name="connsiteX9" fmla="*/ 110394 w 233171"/>
                <a:gd name="connsiteY9" fmla="*/ 90202 h 330898"/>
                <a:gd name="connsiteX10" fmla="*/ 139827 w 233171"/>
                <a:gd name="connsiteY10" fmla="*/ 94202 h 330898"/>
                <a:gd name="connsiteX11" fmla="*/ 163925 w 233171"/>
                <a:gd name="connsiteY11" fmla="*/ 104870 h 330898"/>
                <a:gd name="connsiteX12" fmla="*/ 183356 w 233171"/>
                <a:gd name="connsiteY12" fmla="*/ 120491 h 330898"/>
                <a:gd name="connsiteX13" fmla="*/ 198787 w 233171"/>
                <a:gd name="connsiteY13" fmla="*/ 139255 h 330898"/>
                <a:gd name="connsiteX14" fmla="*/ 198787 w 233171"/>
                <a:gd name="connsiteY14" fmla="*/ 0 h 330898"/>
                <a:gd name="connsiteX15" fmla="*/ 233172 w 233171"/>
                <a:gd name="connsiteY15" fmla="*/ 0 h 330898"/>
                <a:gd name="connsiteX16" fmla="*/ 233172 w 233171"/>
                <a:gd name="connsiteY16" fmla="*/ 325850 h 330898"/>
                <a:gd name="connsiteX17" fmla="*/ 198787 w 233171"/>
                <a:gd name="connsiteY17" fmla="*/ 325850 h 330898"/>
                <a:gd name="connsiteX18" fmla="*/ 198787 w 233171"/>
                <a:gd name="connsiteY18" fmla="*/ 279463 h 330898"/>
                <a:gd name="connsiteX19" fmla="*/ 182975 w 233171"/>
                <a:gd name="connsiteY19" fmla="*/ 299085 h 330898"/>
                <a:gd name="connsiteX20" fmla="*/ 163544 w 233171"/>
                <a:gd name="connsiteY20" fmla="*/ 315658 h 330898"/>
                <a:gd name="connsiteX21" fmla="*/ 139636 w 233171"/>
                <a:gd name="connsiteY21" fmla="*/ 326803 h 330898"/>
                <a:gd name="connsiteX22" fmla="*/ 110394 w 233171"/>
                <a:gd name="connsiteY22" fmla="*/ 330803 h 330898"/>
                <a:gd name="connsiteX23" fmla="*/ 116681 w 233171"/>
                <a:gd name="connsiteY23" fmla="*/ 300133 h 330898"/>
                <a:gd name="connsiteX24" fmla="*/ 147733 w 233171"/>
                <a:gd name="connsiteY24" fmla="*/ 293656 h 330898"/>
                <a:gd name="connsiteX25" fmla="*/ 174498 w 233171"/>
                <a:gd name="connsiteY25" fmla="*/ 275368 h 330898"/>
                <a:gd name="connsiteX26" fmla="*/ 193262 w 233171"/>
                <a:gd name="connsiteY26" fmla="*/ 247269 h 330898"/>
                <a:gd name="connsiteX27" fmla="*/ 200216 w 233171"/>
                <a:gd name="connsiteY27" fmla="*/ 210883 h 330898"/>
                <a:gd name="connsiteX28" fmla="*/ 200216 w 233171"/>
                <a:gd name="connsiteY28" fmla="*/ 210026 h 330898"/>
                <a:gd name="connsiteX29" fmla="*/ 193262 w 233171"/>
                <a:gd name="connsiteY29" fmla="*/ 173641 h 330898"/>
                <a:gd name="connsiteX30" fmla="*/ 174498 w 233171"/>
                <a:gd name="connsiteY30" fmla="*/ 145732 h 330898"/>
                <a:gd name="connsiteX31" fmla="*/ 147733 w 233171"/>
                <a:gd name="connsiteY31" fmla="*/ 127635 h 330898"/>
                <a:gd name="connsiteX32" fmla="*/ 116681 w 233171"/>
                <a:gd name="connsiteY32" fmla="*/ 121158 h 330898"/>
                <a:gd name="connsiteX33" fmla="*/ 84963 w 233171"/>
                <a:gd name="connsiteY33" fmla="*/ 127159 h 330898"/>
                <a:gd name="connsiteX34" fmla="*/ 59341 w 233171"/>
                <a:gd name="connsiteY34" fmla="*/ 144589 h 330898"/>
                <a:gd name="connsiteX35" fmla="*/ 41910 w 233171"/>
                <a:gd name="connsiteY35" fmla="*/ 172498 h 330898"/>
                <a:gd name="connsiteX36" fmla="*/ 35433 w 233171"/>
                <a:gd name="connsiteY36" fmla="*/ 210026 h 330898"/>
                <a:gd name="connsiteX37" fmla="*/ 35433 w 233171"/>
                <a:gd name="connsiteY37" fmla="*/ 210883 h 330898"/>
                <a:gd name="connsiteX38" fmla="*/ 41910 w 233171"/>
                <a:gd name="connsiteY38" fmla="*/ 247936 h 330898"/>
                <a:gd name="connsiteX39" fmla="*/ 59531 w 233171"/>
                <a:gd name="connsiteY39" fmla="*/ 276034 h 330898"/>
                <a:gd name="connsiteX40" fmla="*/ 85439 w 233171"/>
                <a:gd name="connsiteY40" fmla="*/ 293941 h 330898"/>
                <a:gd name="connsiteX41" fmla="*/ 116681 w 23317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3171" h="330898">
                  <a:moveTo>
                    <a:pt x="110394" y="330898"/>
                  </a:moveTo>
                  <a:cubicBezTo>
                    <a:pt x="96393" y="330898"/>
                    <a:pt x="82868" y="328231"/>
                    <a:pt x="69723" y="322897"/>
                  </a:cubicBezTo>
                  <a:cubicBezTo>
                    <a:pt x="56674" y="317563"/>
                    <a:pt x="44863" y="309753"/>
                    <a:pt x="34480" y="299466"/>
                  </a:cubicBezTo>
                  <a:cubicBezTo>
                    <a:pt x="24003" y="289179"/>
                    <a:pt x="15716" y="276701"/>
                    <a:pt x="9430" y="261938"/>
                  </a:cubicBezTo>
                  <a:cubicBezTo>
                    <a:pt x="3143" y="247174"/>
                    <a:pt x="0" y="230314"/>
                    <a:pt x="0" y="211264"/>
                  </a:cubicBezTo>
                  <a:lnTo>
                    <a:pt x="0" y="210407"/>
                  </a:lnTo>
                  <a:cubicBezTo>
                    <a:pt x="0" y="191643"/>
                    <a:pt x="3143" y="174879"/>
                    <a:pt x="9430" y="159925"/>
                  </a:cubicBezTo>
                  <a:cubicBezTo>
                    <a:pt x="15716" y="145066"/>
                    <a:pt x="24003" y="132493"/>
                    <a:pt x="34480" y="122206"/>
                  </a:cubicBezTo>
                  <a:cubicBezTo>
                    <a:pt x="44863" y="111919"/>
                    <a:pt x="56674" y="104013"/>
                    <a:pt x="69723" y="98488"/>
                  </a:cubicBezTo>
                  <a:cubicBezTo>
                    <a:pt x="82868" y="92964"/>
                    <a:pt x="96393" y="90202"/>
                    <a:pt x="110394" y="90202"/>
                  </a:cubicBezTo>
                  <a:cubicBezTo>
                    <a:pt x="121158" y="90202"/>
                    <a:pt x="130969" y="91535"/>
                    <a:pt x="139827" y="94202"/>
                  </a:cubicBezTo>
                  <a:cubicBezTo>
                    <a:pt x="148780" y="96869"/>
                    <a:pt x="156782" y="100489"/>
                    <a:pt x="163925" y="104870"/>
                  </a:cubicBezTo>
                  <a:cubicBezTo>
                    <a:pt x="171069" y="109347"/>
                    <a:pt x="177546" y="114586"/>
                    <a:pt x="183356" y="120491"/>
                  </a:cubicBezTo>
                  <a:cubicBezTo>
                    <a:pt x="189166" y="126492"/>
                    <a:pt x="194310" y="132683"/>
                    <a:pt x="198787" y="139255"/>
                  </a:cubicBezTo>
                  <a:lnTo>
                    <a:pt x="198787" y="0"/>
                  </a:lnTo>
                  <a:lnTo>
                    <a:pt x="233172" y="0"/>
                  </a:lnTo>
                  <a:lnTo>
                    <a:pt x="233172" y="325850"/>
                  </a:lnTo>
                  <a:lnTo>
                    <a:pt x="198787" y="325850"/>
                  </a:lnTo>
                  <a:lnTo>
                    <a:pt x="198787" y="279463"/>
                  </a:lnTo>
                  <a:cubicBezTo>
                    <a:pt x="194024" y="286321"/>
                    <a:pt x="188786" y="292894"/>
                    <a:pt x="182975" y="299085"/>
                  </a:cubicBezTo>
                  <a:cubicBezTo>
                    <a:pt x="177165" y="305371"/>
                    <a:pt x="170688" y="310896"/>
                    <a:pt x="163544" y="315658"/>
                  </a:cubicBezTo>
                  <a:cubicBezTo>
                    <a:pt x="156400" y="320421"/>
                    <a:pt x="148494" y="324136"/>
                    <a:pt x="139636" y="326803"/>
                  </a:cubicBezTo>
                  <a:cubicBezTo>
                    <a:pt x="130873" y="329470"/>
                    <a:pt x="121158" y="330803"/>
                    <a:pt x="110394" y="330803"/>
                  </a:cubicBezTo>
                  <a:close/>
                  <a:moveTo>
                    <a:pt x="116681" y="300133"/>
                  </a:moveTo>
                  <a:cubicBezTo>
                    <a:pt x="127445" y="300133"/>
                    <a:pt x="137732" y="297942"/>
                    <a:pt x="147733" y="293656"/>
                  </a:cubicBezTo>
                  <a:cubicBezTo>
                    <a:pt x="157734" y="289369"/>
                    <a:pt x="166592" y="283273"/>
                    <a:pt x="174498" y="275368"/>
                  </a:cubicBezTo>
                  <a:cubicBezTo>
                    <a:pt x="182404" y="267462"/>
                    <a:pt x="188595" y="258127"/>
                    <a:pt x="193262" y="247269"/>
                  </a:cubicBezTo>
                  <a:cubicBezTo>
                    <a:pt x="197834" y="236410"/>
                    <a:pt x="200216" y="224314"/>
                    <a:pt x="200216" y="210883"/>
                  </a:cubicBezTo>
                  <a:lnTo>
                    <a:pt x="200216" y="210026"/>
                  </a:lnTo>
                  <a:cubicBezTo>
                    <a:pt x="200216" y="196596"/>
                    <a:pt x="197929" y="184499"/>
                    <a:pt x="193262" y="173641"/>
                  </a:cubicBezTo>
                  <a:cubicBezTo>
                    <a:pt x="188595" y="162782"/>
                    <a:pt x="182404" y="153448"/>
                    <a:pt x="174498" y="145732"/>
                  </a:cubicBezTo>
                  <a:cubicBezTo>
                    <a:pt x="166592" y="138017"/>
                    <a:pt x="157639" y="132016"/>
                    <a:pt x="147733" y="127635"/>
                  </a:cubicBezTo>
                  <a:cubicBezTo>
                    <a:pt x="137732" y="123349"/>
                    <a:pt x="127445" y="121158"/>
                    <a:pt x="116681" y="121158"/>
                  </a:cubicBezTo>
                  <a:cubicBezTo>
                    <a:pt x="105346" y="121158"/>
                    <a:pt x="94774" y="123158"/>
                    <a:pt x="84963" y="127159"/>
                  </a:cubicBezTo>
                  <a:cubicBezTo>
                    <a:pt x="75152" y="131159"/>
                    <a:pt x="66580" y="136969"/>
                    <a:pt x="59341" y="144589"/>
                  </a:cubicBezTo>
                  <a:cubicBezTo>
                    <a:pt x="52007" y="152114"/>
                    <a:pt x="46291" y="161449"/>
                    <a:pt x="41910" y="172498"/>
                  </a:cubicBezTo>
                  <a:cubicBezTo>
                    <a:pt x="37624" y="183451"/>
                    <a:pt x="35433" y="196024"/>
                    <a:pt x="35433" y="210026"/>
                  </a:cubicBezTo>
                  <a:lnTo>
                    <a:pt x="35433" y="210883"/>
                  </a:lnTo>
                  <a:cubicBezTo>
                    <a:pt x="35433" y="224599"/>
                    <a:pt x="37624" y="236982"/>
                    <a:pt x="41910" y="247936"/>
                  </a:cubicBezTo>
                  <a:cubicBezTo>
                    <a:pt x="46196" y="258984"/>
                    <a:pt x="52101" y="268319"/>
                    <a:pt x="59531" y="276034"/>
                  </a:cubicBezTo>
                  <a:cubicBezTo>
                    <a:pt x="66960" y="283750"/>
                    <a:pt x="75629" y="289750"/>
                    <a:pt x="85439" y="293941"/>
                  </a:cubicBezTo>
                  <a:cubicBezTo>
                    <a:pt x="95250" y="298132"/>
                    <a:pt x="105632" y="300228"/>
                    <a:pt x="116681" y="300228"/>
                  </a:cubicBezTo>
                  <a:close/>
                </a:path>
              </a:pathLst>
            </a:custGeom>
            <a:solidFill>
              <a:srgbClr val="44505E"/>
            </a:solidFill>
            <a:ln w="9525" cap="flat">
              <a:noFill/>
              <a:prstDash val="solid"/>
              <a:miter/>
            </a:ln>
          </p:spPr>
          <p:txBody>
            <a:bodyPr rtlCol="0" anchor="ctr"/>
            <a:lstStyle/>
            <a:p>
              <a:endParaRPr lang="pt-BR" noProof="0"/>
            </a:p>
          </p:txBody>
        </p:sp>
        <p:sp>
          <p:nvSpPr>
            <p:cNvPr id="53" name="Freeform: Shape 52">
              <a:extLst>
                <a:ext uri="{FF2B5EF4-FFF2-40B4-BE49-F238E27FC236}">
                  <a16:creationId xmlns:a16="http://schemas.microsoft.com/office/drawing/2014/main" id="{FF6C99DC-678B-4992-CB99-E559838619E3}"/>
                </a:ext>
              </a:extLst>
            </p:cNvPr>
            <p:cNvSpPr/>
            <p:nvPr/>
          </p:nvSpPr>
          <p:spPr>
            <a:xfrm>
              <a:off x="6586762"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0 w 202977"/>
                <a:gd name="connsiteY16" fmla="*/ 48196 h 239267"/>
                <a:gd name="connsiteX17" fmla="*/ 20383 w 202977"/>
                <a:gd name="connsiteY17" fmla="*/ 19907 h 239267"/>
                <a:gd name="connsiteX18" fmla="*/ 59245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0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1"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675" y="92678"/>
                    <a:pt x="84011" y="90964"/>
                    <a:pt x="98584" y="90964"/>
                  </a:cubicBezTo>
                  <a:cubicBezTo>
                    <a:pt x="113157" y="90964"/>
                    <a:pt x="126302"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0" y="33147"/>
                    <a:pt x="63436" y="36100"/>
                  </a:cubicBezTo>
                  <a:cubicBezTo>
                    <a:pt x="52292" y="39053"/>
                    <a:pt x="41338" y="43053"/>
                    <a:pt x="30670" y="48196"/>
                  </a:cubicBezTo>
                  <a:lnTo>
                    <a:pt x="20383" y="19907"/>
                  </a:lnTo>
                  <a:cubicBezTo>
                    <a:pt x="33147" y="13906"/>
                    <a:pt x="46101" y="9049"/>
                    <a:pt x="59245" y="5429"/>
                  </a:cubicBezTo>
                  <a:cubicBezTo>
                    <a:pt x="72294" y="1810"/>
                    <a:pt x="87344" y="0"/>
                    <a:pt x="104299" y="0"/>
                  </a:cubicBezTo>
                  <a:cubicBezTo>
                    <a:pt x="137064" y="0"/>
                    <a:pt x="161925" y="8477"/>
                    <a:pt x="178879" y="25432"/>
                  </a:cubicBezTo>
                  <a:cubicBezTo>
                    <a:pt x="194976"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0" y="239173"/>
                  </a:cubicBezTo>
                  <a:close/>
                  <a:moveTo>
                    <a:pt x="93154" y="211169"/>
                  </a:moveTo>
                  <a:cubicBezTo>
                    <a:pt x="103822" y="211169"/>
                    <a:pt x="113729" y="209740"/>
                    <a:pt x="122967" y="206788"/>
                  </a:cubicBezTo>
                  <a:cubicBezTo>
                    <a:pt x="132207"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4" y="119348"/>
                    <a:pt x="116871"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54" name="Freeform: Shape 53">
              <a:extLst>
                <a:ext uri="{FF2B5EF4-FFF2-40B4-BE49-F238E27FC236}">
                  <a16:creationId xmlns:a16="http://schemas.microsoft.com/office/drawing/2014/main" id="{B5006989-C64F-A040-2328-D1233857976C}"/>
                </a:ext>
              </a:extLst>
            </p:cNvPr>
            <p:cNvSpPr/>
            <p:nvPr/>
          </p:nvSpPr>
          <p:spPr>
            <a:xfrm>
              <a:off x="6651291" y="924268"/>
              <a:ext cx="44680" cy="60195"/>
            </a:xfrm>
            <a:custGeom>
              <a:avLst/>
              <a:gdLst>
                <a:gd name="connsiteX0" fmla="*/ 95535 w 177736"/>
                <a:gd name="connsiteY0" fmla="*/ 239268 h 239458"/>
                <a:gd name="connsiteX1" fmla="*/ 45053 w 177736"/>
                <a:gd name="connsiteY1" fmla="*/ 230124 h 239458"/>
                <a:gd name="connsiteX2" fmla="*/ 0 w 177736"/>
                <a:gd name="connsiteY2" fmla="*/ 205359 h 239458"/>
                <a:gd name="connsiteX3" fmla="*/ 17430 w 177736"/>
                <a:gd name="connsiteY3" fmla="*/ 180785 h 239458"/>
                <a:gd name="connsiteX4" fmla="*/ 56483 w 177736"/>
                <a:gd name="connsiteY4" fmla="*/ 202692 h 239458"/>
                <a:gd name="connsiteX5" fmla="*/ 97345 w 177736"/>
                <a:gd name="connsiteY5" fmla="*/ 210217 h 239458"/>
                <a:gd name="connsiteX6" fmla="*/ 131730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825 w 177736"/>
                <a:gd name="connsiteY10" fmla="*/ 147066 h 239458"/>
                <a:gd name="connsiteX11" fmla="*/ 109251 w 177736"/>
                <a:gd name="connsiteY11" fmla="*/ 138779 h 239458"/>
                <a:gd name="connsiteX12" fmla="*/ 87630 w 177736"/>
                <a:gd name="connsiteY12" fmla="*/ 132112 h 239458"/>
                <a:gd name="connsiteX13" fmla="*/ 60579 w 177736"/>
                <a:gd name="connsiteY13" fmla="*/ 123444 h 239458"/>
                <a:gd name="connsiteX14" fmla="*/ 36004 w 177736"/>
                <a:gd name="connsiteY14" fmla="*/ 111633 h 239458"/>
                <a:gd name="connsiteX15" fmla="*/ 18192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59 w 177736"/>
                <a:gd name="connsiteY22" fmla="*/ 6953 h 239458"/>
                <a:gd name="connsiteX23" fmla="*/ 172878 w 177736"/>
                <a:gd name="connsiteY23" fmla="*/ 25527 h 239458"/>
                <a:gd name="connsiteX24" fmla="*/ 157257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3 w 177736"/>
                <a:gd name="connsiteY32" fmla="*/ 96203 h 239458"/>
                <a:gd name="connsiteX33" fmla="*/ 103631 w 177736"/>
                <a:gd name="connsiteY33" fmla="*/ 103346 h 239458"/>
                <a:gd name="connsiteX34" fmla="*/ 130207 w 177736"/>
                <a:gd name="connsiteY34" fmla="*/ 112300 h 239458"/>
                <a:gd name="connsiteX35" fmla="*/ 154114 w 177736"/>
                <a:gd name="connsiteY35" fmla="*/ 124778 h 239458"/>
                <a:gd name="connsiteX36" fmla="*/ 171259 w 177736"/>
                <a:gd name="connsiteY36" fmla="*/ 143066 h 239458"/>
                <a:gd name="connsiteX37" fmla="*/ 177736 w 177736"/>
                <a:gd name="connsiteY37" fmla="*/ 169450 h 239458"/>
                <a:gd name="connsiteX38" fmla="*/ 177736 w 177736"/>
                <a:gd name="connsiteY38" fmla="*/ 170307 h 239458"/>
                <a:gd name="connsiteX39" fmla="*/ 171259 w 177736"/>
                <a:gd name="connsiteY39" fmla="*/ 199549 h 239458"/>
                <a:gd name="connsiteX40" fmla="*/ 153828 w 177736"/>
                <a:gd name="connsiteY40" fmla="*/ 221171 h 239458"/>
                <a:gd name="connsiteX41" fmla="*/ 127921 w 177736"/>
                <a:gd name="connsiteY41" fmla="*/ 234791 h 239458"/>
                <a:gd name="connsiteX42" fmla="*/ 95535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5" y="239268"/>
                  </a:moveTo>
                  <a:cubicBezTo>
                    <a:pt x="78867" y="239268"/>
                    <a:pt x="62007" y="236220"/>
                    <a:pt x="45053" y="230124"/>
                  </a:cubicBezTo>
                  <a:cubicBezTo>
                    <a:pt x="28098" y="224028"/>
                    <a:pt x="13049" y="215741"/>
                    <a:pt x="0" y="205359"/>
                  </a:cubicBezTo>
                  <a:lnTo>
                    <a:pt x="17430" y="180785"/>
                  </a:lnTo>
                  <a:cubicBezTo>
                    <a:pt x="29908" y="190310"/>
                    <a:pt x="42957" y="197644"/>
                    <a:pt x="56483" y="202692"/>
                  </a:cubicBezTo>
                  <a:cubicBezTo>
                    <a:pt x="70009" y="207740"/>
                    <a:pt x="83629" y="210217"/>
                    <a:pt x="97345" y="210217"/>
                  </a:cubicBezTo>
                  <a:cubicBezTo>
                    <a:pt x="111061" y="210217"/>
                    <a:pt x="122777" y="206978"/>
                    <a:pt x="131730" y="200406"/>
                  </a:cubicBezTo>
                  <a:cubicBezTo>
                    <a:pt x="140684" y="193834"/>
                    <a:pt x="145161" y="184976"/>
                    <a:pt x="145161" y="173641"/>
                  </a:cubicBezTo>
                  <a:lnTo>
                    <a:pt x="145161" y="172784"/>
                  </a:lnTo>
                  <a:cubicBezTo>
                    <a:pt x="145161" y="167164"/>
                    <a:pt x="143541" y="162211"/>
                    <a:pt x="140494" y="158020"/>
                  </a:cubicBezTo>
                  <a:cubicBezTo>
                    <a:pt x="137350" y="153829"/>
                    <a:pt x="133159" y="150209"/>
                    <a:pt x="127825" y="147066"/>
                  </a:cubicBezTo>
                  <a:cubicBezTo>
                    <a:pt x="122491" y="143923"/>
                    <a:pt x="116300" y="141161"/>
                    <a:pt x="109251" y="138779"/>
                  </a:cubicBezTo>
                  <a:cubicBezTo>
                    <a:pt x="102298" y="136398"/>
                    <a:pt x="95059" y="134207"/>
                    <a:pt x="87630" y="132112"/>
                  </a:cubicBezTo>
                  <a:cubicBezTo>
                    <a:pt x="78676" y="129445"/>
                    <a:pt x="69722" y="126492"/>
                    <a:pt x="60579" y="123444"/>
                  </a:cubicBezTo>
                  <a:cubicBezTo>
                    <a:pt x="51530" y="120301"/>
                    <a:pt x="43339" y="116396"/>
                    <a:pt x="36004" y="111633"/>
                  </a:cubicBezTo>
                  <a:cubicBezTo>
                    <a:pt x="28670" y="106871"/>
                    <a:pt x="22764" y="100870"/>
                    <a:pt x="18192" y="93726"/>
                  </a:cubicBezTo>
                  <a:cubicBezTo>
                    <a:pt x="13525" y="86582"/>
                    <a:pt x="11239" y="77629"/>
                    <a:pt x="11239" y="66961"/>
                  </a:cubicBezTo>
                  <a:lnTo>
                    <a:pt x="11239" y="66008"/>
                  </a:lnTo>
                  <a:cubicBezTo>
                    <a:pt x="11239" y="56198"/>
                    <a:pt x="13144" y="47149"/>
                    <a:pt x="17050" y="39053"/>
                  </a:cubicBezTo>
                  <a:cubicBezTo>
                    <a:pt x="20955" y="30861"/>
                    <a:pt x="26384" y="23908"/>
                    <a:pt x="33338" y="18098"/>
                  </a:cubicBezTo>
                  <a:cubicBezTo>
                    <a:pt x="40291" y="12287"/>
                    <a:pt x="48673" y="7811"/>
                    <a:pt x="58388" y="4667"/>
                  </a:cubicBezTo>
                  <a:cubicBezTo>
                    <a:pt x="68008" y="1524"/>
                    <a:pt x="78581" y="0"/>
                    <a:pt x="89821" y="0"/>
                  </a:cubicBezTo>
                  <a:cubicBezTo>
                    <a:pt x="104108" y="0"/>
                    <a:pt x="118586" y="2286"/>
                    <a:pt x="133159" y="6953"/>
                  </a:cubicBezTo>
                  <a:cubicBezTo>
                    <a:pt x="147732" y="11621"/>
                    <a:pt x="160972" y="17717"/>
                    <a:pt x="172878" y="25527"/>
                  </a:cubicBezTo>
                  <a:lnTo>
                    <a:pt x="157257" y="51435"/>
                  </a:lnTo>
                  <a:cubicBezTo>
                    <a:pt x="146494" y="44577"/>
                    <a:pt x="135255" y="39148"/>
                    <a:pt x="123539" y="35147"/>
                  </a:cubicBezTo>
                  <a:cubicBezTo>
                    <a:pt x="111823" y="31147"/>
                    <a:pt x="100203" y="29146"/>
                    <a:pt x="88963" y="29146"/>
                  </a:cubicBezTo>
                  <a:cubicBezTo>
                    <a:pt x="75247" y="29146"/>
                    <a:pt x="64389" y="32385"/>
                    <a:pt x="56388" y="38767"/>
                  </a:cubicBezTo>
                  <a:cubicBezTo>
                    <a:pt x="48291" y="45149"/>
                    <a:pt x="44291" y="53150"/>
                    <a:pt x="44291" y="62675"/>
                  </a:cubicBezTo>
                  <a:lnTo>
                    <a:pt x="44291" y="63627"/>
                  </a:lnTo>
                  <a:cubicBezTo>
                    <a:pt x="44291" y="68961"/>
                    <a:pt x="45910" y="73628"/>
                    <a:pt x="49244" y="77724"/>
                  </a:cubicBezTo>
                  <a:cubicBezTo>
                    <a:pt x="52482" y="81725"/>
                    <a:pt x="56864" y="85249"/>
                    <a:pt x="62389" y="88202"/>
                  </a:cubicBezTo>
                  <a:cubicBezTo>
                    <a:pt x="67913" y="91154"/>
                    <a:pt x="74200" y="93821"/>
                    <a:pt x="81343" y="96203"/>
                  </a:cubicBezTo>
                  <a:cubicBezTo>
                    <a:pt x="88487" y="98584"/>
                    <a:pt x="95916" y="100965"/>
                    <a:pt x="103631" y="103346"/>
                  </a:cubicBezTo>
                  <a:cubicBezTo>
                    <a:pt x="112585" y="106013"/>
                    <a:pt x="121444" y="108966"/>
                    <a:pt x="130207" y="112300"/>
                  </a:cubicBezTo>
                  <a:cubicBezTo>
                    <a:pt x="138969" y="115538"/>
                    <a:pt x="146971" y="119729"/>
                    <a:pt x="154114" y="124778"/>
                  </a:cubicBezTo>
                  <a:cubicBezTo>
                    <a:pt x="161258" y="129826"/>
                    <a:pt x="166973" y="135922"/>
                    <a:pt x="171259" y="143066"/>
                  </a:cubicBezTo>
                  <a:cubicBezTo>
                    <a:pt x="175546" y="150209"/>
                    <a:pt x="177736" y="158972"/>
                    <a:pt x="177736" y="169450"/>
                  </a:cubicBezTo>
                  <a:lnTo>
                    <a:pt x="177736" y="170307"/>
                  </a:lnTo>
                  <a:cubicBezTo>
                    <a:pt x="177736" y="181356"/>
                    <a:pt x="175546" y="191071"/>
                    <a:pt x="171259" y="199549"/>
                  </a:cubicBezTo>
                  <a:cubicBezTo>
                    <a:pt x="166973" y="208026"/>
                    <a:pt x="161163" y="215265"/>
                    <a:pt x="153828" y="221171"/>
                  </a:cubicBezTo>
                  <a:cubicBezTo>
                    <a:pt x="146589" y="227171"/>
                    <a:pt x="137922" y="231648"/>
                    <a:pt x="127921" y="234791"/>
                  </a:cubicBezTo>
                  <a:cubicBezTo>
                    <a:pt x="117919" y="237935"/>
                    <a:pt x="107156" y="239459"/>
                    <a:pt x="95535" y="239459"/>
                  </a:cubicBezTo>
                  <a:close/>
                </a:path>
              </a:pathLst>
            </a:custGeom>
            <a:solidFill>
              <a:srgbClr val="44505E"/>
            </a:solidFill>
            <a:ln w="9525" cap="flat">
              <a:noFill/>
              <a:prstDash val="solid"/>
              <a:miter/>
            </a:ln>
          </p:spPr>
          <p:txBody>
            <a:bodyPr rtlCol="0" anchor="ctr"/>
            <a:lstStyle/>
            <a:p>
              <a:endParaRPr lang="pt-BR" noProof="0"/>
            </a:p>
          </p:txBody>
        </p:sp>
        <p:sp>
          <p:nvSpPr>
            <p:cNvPr id="55" name="Freeform: Shape 54">
              <a:extLst>
                <a:ext uri="{FF2B5EF4-FFF2-40B4-BE49-F238E27FC236}">
                  <a16:creationId xmlns:a16="http://schemas.microsoft.com/office/drawing/2014/main" id="{06E7AE6A-6474-D555-008E-C70023E38EF6}"/>
                </a:ext>
              </a:extLst>
            </p:cNvPr>
            <p:cNvSpPr/>
            <p:nvPr/>
          </p:nvSpPr>
          <p:spPr>
            <a:xfrm>
              <a:off x="5250320" y="846952"/>
              <a:ext cx="1459036" cy="16186"/>
            </a:xfrm>
            <a:custGeom>
              <a:avLst/>
              <a:gdLst>
                <a:gd name="connsiteX0" fmla="*/ 0 w 5804058"/>
                <a:gd name="connsiteY0" fmla="*/ 0 h 64388"/>
                <a:gd name="connsiteX1" fmla="*/ 5804059 w 5804058"/>
                <a:gd name="connsiteY1" fmla="*/ 0 h 64388"/>
                <a:gd name="connsiteX2" fmla="*/ 5804059 w 5804058"/>
                <a:gd name="connsiteY2" fmla="*/ 64389 h 64388"/>
                <a:gd name="connsiteX3" fmla="*/ 0 w 5804058"/>
                <a:gd name="connsiteY3" fmla="*/ 64389 h 64388"/>
              </a:gdLst>
              <a:ahLst/>
              <a:cxnLst>
                <a:cxn ang="0">
                  <a:pos x="connsiteX0" y="connsiteY0"/>
                </a:cxn>
                <a:cxn ang="0">
                  <a:pos x="connsiteX1" y="connsiteY1"/>
                </a:cxn>
                <a:cxn ang="0">
                  <a:pos x="connsiteX2" y="connsiteY2"/>
                </a:cxn>
                <a:cxn ang="0">
                  <a:pos x="connsiteX3" y="connsiteY3"/>
                </a:cxn>
              </a:cxnLst>
              <a:rect l="l" t="t" r="r" b="b"/>
              <a:pathLst>
                <a:path w="5804058" h="64388">
                  <a:moveTo>
                    <a:pt x="0" y="0"/>
                  </a:moveTo>
                  <a:lnTo>
                    <a:pt x="5804059" y="0"/>
                  </a:lnTo>
                  <a:lnTo>
                    <a:pt x="5804059" y="64389"/>
                  </a:lnTo>
                  <a:lnTo>
                    <a:pt x="0" y="64389"/>
                  </a:lnTo>
                  <a:close/>
                </a:path>
              </a:pathLst>
            </a:custGeom>
            <a:solidFill>
              <a:srgbClr val="44505E"/>
            </a:solidFill>
            <a:ln w="9525" cap="flat">
              <a:noFill/>
              <a:prstDash val="solid"/>
              <a:miter/>
            </a:ln>
          </p:spPr>
          <p:txBody>
            <a:bodyPr rtlCol="0" anchor="ctr"/>
            <a:lstStyle/>
            <a:p>
              <a:endParaRPr lang="pt-BR" noProof="0"/>
            </a:p>
          </p:txBody>
        </p:sp>
        <p:sp>
          <p:nvSpPr>
            <p:cNvPr id="56" name="Freeform: Shape 55">
              <a:extLst>
                <a:ext uri="{FF2B5EF4-FFF2-40B4-BE49-F238E27FC236}">
                  <a16:creationId xmlns:a16="http://schemas.microsoft.com/office/drawing/2014/main" id="{5790489B-D041-FAA7-E93F-EA464A4E56AE}"/>
                </a:ext>
              </a:extLst>
            </p:cNvPr>
            <p:cNvSpPr/>
            <p:nvPr/>
          </p:nvSpPr>
          <p:spPr>
            <a:xfrm>
              <a:off x="6902633" y="268821"/>
              <a:ext cx="273418" cy="601046"/>
            </a:xfrm>
            <a:custGeom>
              <a:avLst/>
              <a:gdLst>
                <a:gd name="connsiteX0" fmla="*/ 0 w 1087659"/>
                <a:gd name="connsiteY0" fmla="*/ 210979 h 2390965"/>
                <a:gd name="connsiteX1" fmla="*/ 125063 w 1087659"/>
                <a:gd name="connsiteY1" fmla="*/ 103442 h 2390965"/>
                <a:gd name="connsiteX2" fmla="*/ 250031 w 1087659"/>
                <a:gd name="connsiteY2" fmla="*/ 210979 h 2390965"/>
                <a:gd name="connsiteX3" fmla="*/ 250031 w 1087659"/>
                <a:gd name="connsiteY3" fmla="*/ 1922717 h 2390965"/>
                <a:gd name="connsiteX4" fmla="*/ 249841 w 1087659"/>
                <a:gd name="connsiteY4" fmla="*/ 1922717 h 2390965"/>
                <a:gd name="connsiteX5" fmla="*/ 249841 w 1087659"/>
                <a:gd name="connsiteY5" fmla="*/ 1925955 h 2390965"/>
                <a:gd name="connsiteX6" fmla="*/ 333756 w 1087659"/>
                <a:gd name="connsiteY6" fmla="*/ 2100263 h 2390965"/>
                <a:gd name="connsiteX7" fmla="*/ 335566 w 1087659"/>
                <a:gd name="connsiteY7" fmla="*/ 2101787 h 2390965"/>
                <a:gd name="connsiteX8" fmla="*/ 336042 w 1087659"/>
                <a:gd name="connsiteY8" fmla="*/ 2102168 h 2390965"/>
                <a:gd name="connsiteX9" fmla="*/ 543877 w 1087659"/>
                <a:gd name="connsiteY9" fmla="*/ 2175891 h 2390965"/>
                <a:gd name="connsiteX10" fmla="*/ 749998 w 1087659"/>
                <a:gd name="connsiteY10" fmla="*/ 2103692 h 2390965"/>
                <a:gd name="connsiteX11" fmla="*/ 751713 w 1087659"/>
                <a:gd name="connsiteY11" fmla="*/ 2102168 h 2390965"/>
                <a:gd name="connsiteX12" fmla="*/ 752189 w 1087659"/>
                <a:gd name="connsiteY12" fmla="*/ 2101787 h 2390965"/>
                <a:gd name="connsiteX13" fmla="*/ 837819 w 1087659"/>
                <a:gd name="connsiteY13" fmla="*/ 1922812 h 2390965"/>
                <a:gd name="connsiteX14" fmla="*/ 837819 w 1087659"/>
                <a:gd name="connsiteY14" fmla="*/ 107537 h 2390965"/>
                <a:gd name="connsiteX15" fmla="*/ 962787 w 1087659"/>
                <a:gd name="connsiteY15" fmla="*/ 0 h 2390965"/>
                <a:gd name="connsiteX16" fmla="*/ 1087660 w 1087659"/>
                <a:gd name="connsiteY16" fmla="*/ 107537 h 2390965"/>
                <a:gd name="connsiteX17" fmla="*/ 1087660 w 1087659"/>
                <a:gd name="connsiteY17" fmla="*/ 1922621 h 2390965"/>
                <a:gd name="connsiteX18" fmla="*/ 928307 w 1087659"/>
                <a:gd name="connsiteY18" fmla="*/ 2253234 h 2390965"/>
                <a:gd name="connsiteX19" fmla="*/ 928116 w 1087659"/>
                <a:gd name="connsiteY19" fmla="*/ 2253424 h 2390965"/>
                <a:gd name="connsiteX20" fmla="*/ 927830 w 1087659"/>
                <a:gd name="connsiteY20" fmla="*/ 2253710 h 2390965"/>
                <a:gd name="connsiteX21" fmla="*/ 927354 w 1087659"/>
                <a:gd name="connsiteY21" fmla="*/ 2254187 h 2390965"/>
                <a:gd name="connsiteX22" fmla="*/ 543783 w 1087659"/>
                <a:gd name="connsiteY22" fmla="*/ 2390966 h 2390965"/>
                <a:gd name="connsiteX23" fmla="*/ 159734 w 1087659"/>
                <a:gd name="connsiteY23" fmla="*/ 2253710 h 2390965"/>
                <a:gd name="connsiteX24" fmla="*/ 159734 w 1087659"/>
                <a:gd name="connsiteY24" fmla="*/ 2253424 h 2390965"/>
                <a:gd name="connsiteX25" fmla="*/ 159353 w 1087659"/>
                <a:gd name="connsiteY25" fmla="*/ 2253234 h 2390965"/>
                <a:gd name="connsiteX26" fmla="*/ 158877 w 1087659"/>
                <a:gd name="connsiteY26" fmla="*/ 2252948 h 2390965"/>
                <a:gd name="connsiteX27" fmla="*/ 0 w 1087659"/>
                <a:gd name="connsiteY27" fmla="*/ 1922621 h 2390965"/>
                <a:gd name="connsiteX28" fmla="*/ 0 w 1087659"/>
                <a:gd name="connsiteY28" fmla="*/ 1922621 h 2390965"/>
                <a:gd name="connsiteX29" fmla="*/ 0 w 1087659"/>
                <a:gd name="connsiteY29" fmla="*/ 210979 h 239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87659" h="2390965">
                  <a:moveTo>
                    <a:pt x="0" y="210979"/>
                  </a:moveTo>
                  <a:cubicBezTo>
                    <a:pt x="0" y="151638"/>
                    <a:pt x="56007" y="103442"/>
                    <a:pt x="125063" y="103442"/>
                  </a:cubicBezTo>
                  <a:cubicBezTo>
                    <a:pt x="194120" y="103442"/>
                    <a:pt x="250031" y="151638"/>
                    <a:pt x="250031" y="210979"/>
                  </a:cubicBezTo>
                  <a:lnTo>
                    <a:pt x="250031" y="1922717"/>
                  </a:lnTo>
                  <a:lnTo>
                    <a:pt x="249841" y="1922717"/>
                  </a:lnTo>
                  <a:lnTo>
                    <a:pt x="249841" y="1925955"/>
                  </a:lnTo>
                  <a:cubicBezTo>
                    <a:pt x="250793" y="1994059"/>
                    <a:pt x="282797" y="2055495"/>
                    <a:pt x="333756" y="2100263"/>
                  </a:cubicBezTo>
                  <a:lnTo>
                    <a:pt x="335566" y="2101787"/>
                  </a:lnTo>
                  <a:lnTo>
                    <a:pt x="336042" y="2102168"/>
                  </a:lnTo>
                  <a:cubicBezTo>
                    <a:pt x="388906" y="2147697"/>
                    <a:pt x="462343" y="2175891"/>
                    <a:pt x="543877" y="2175891"/>
                  </a:cubicBezTo>
                  <a:cubicBezTo>
                    <a:pt x="625411" y="2175891"/>
                    <a:pt x="697420" y="2148364"/>
                    <a:pt x="749998" y="2103692"/>
                  </a:cubicBezTo>
                  <a:lnTo>
                    <a:pt x="751713" y="2102168"/>
                  </a:lnTo>
                  <a:lnTo>
                    <a:pt x="752189" y="2101787"/>
                  </a:lnTo>
                  <a:cubicBezTo>
                    <a:pt x="805053" y="2056352"/>
                    <a:pt x="837819" y="1993011"/>
                    <a:pt x="837819" y="1922812"/>
                  </a:cubicBezTo>
                  <a:lnTo>
                    <a:pt x="837819" y="107537"/>
                  </a:lnTo>
                  <a:cubicBezTo>
                    <a:pt x="837819" y="48196"/>
                    <a:pt x="893731" y="0"/>
                    <a:pt x="962787" y="0"/>
                  </a:cubicBezTo>
                  <a:cubicBezTo>
                    <a:pt x="1031843" y="0"/>
                    <a:pt x="1087660" y="48196"/>
                    <a:pt x="1087660" y="107537"/>
                  </a:cubicBezTo>
                  <a:lnTo>
                    <a:pt x="1087660" y="1922621"/>
                  </a:lnTo>
                  <a:cubicBezTo>
                    <a:pt x="1087660" y="2051399"/>
                    <a:pt x="1026795" y="2168366"/>
                    <a:pt x="928307" y="2253234"/>
                  </a:cubicBezTo>
                  <a:lnTo>
                    <a:pt x="928116" y="2253424"/>
                  </a:lnTo>
                  <a:lnTo>
                    <a:pt x="927830" y="2253710"/>
                  </a:lnTo>
                  <a:lnTo>
                    <a:pt x="927354" y="2254187"/>
                  </a:lnTo>
                  <a:cubicBezTo>
                    <a:pt x="828770" y="2338673"/>
                    <a:pt x="693134" y="2390966"/>
                    <a:pt x="543783" y="2390966"/>
                  </a:cubicBezTo>
                  <a:cubicBezTo>
                    <a:pt x="394430" y="2390966"/>
                    <a:pt x="258413" y="2338483"/>
                    <a:pt x="159734" y="2253710"/>
                  </a:cubicBezTo>
                  <a:lnTo>
                    <a:pt x="159734" y="2253424"/>
                  </a:lnTo>
                  <a:cubicBezTo>
                    <a:pt x="159734" y="2253424"/>
                    <a:pt x="159353" y="2253234"/>
                    <a:pt x="159353" y="2253234"/>
                  </a:cubicBezTo>
                  <a:lnTo>
                    <a:pt x="158877" y="2252948"/>
                  </a:lnTo>
                  <a:cubicBezTo>
                    <a:pt x="60770" y="2167985"/>
                    <a:pt x="0" y="2051304"/>
                    <a:pt x="0" y="1922621"/>
                  </a:cubicBezTo>
                  <a:lnTo>
                    <a:pt x="0" y="1922621"/>
                  </a:lnTo>
                  <a:lnTo>
                    <a:pt x="0" y="210979"/>
                  </a:lnTo>
                  <a:close/>
                </a:path>
              </a:pathLst>
            </a:custGeom>
            <a:solidFill>
              <a:srgbClr val="8FC640"/>
            </a:solidFill>
            <a:ln w="9525" cap="flat">
              <a:noFill/>
              <a:prstDash val="solid"/>
              <a:miter/>
            </a:ln>
          </p:spPr>
          <p:txBody>
            <a:bodyPr rtlCol="0" anchor="ctr"/>
            <a:lstStyle/>
            <a:p>
              <a:endParaRPr lang="pt-BR" noProof="0"/>
            </a:p>
          </p:txBody>
        </p:sp>
        <p:sp>
          <p:nvSpPr>
            <p:cNvPr id="57" name="Freeform: Shape 56">
              <a:extLst>
                <a:ext uri="{FF2B5EF4-FFF2-40B4-BE49-F238E27FC236}">
                  <a16:creationId xmlns:a16="http://schemas.microsoft.com/office/drawing/2014/main" id="{D69D942F-483F-5408-C30D-9CE525A797E6}"/>
                </a:ext>
              </a:extLst>
            </p:cNvPr>
            <p:cNvSpPr/>
            <p:nvPr/>
          </p:nvSpPr>
          <p:spPr>
            <a:xfrm>
              <a:off x="7013590" y="213965"/>
              <a:ext cx="54018" cy="562280"/>
            </a:xfrm>
            <a:custGeom>
              <a:avLst/>
              <a:gdLst>
                <a:gd name="connsiteX0" fmla="*/ 0 w 214883"/>
                <a:gd name="connsiteY0" fmla="*/ 107537 h 2236755"/>
                <a:gd name="connsiteX1" fmla="*/ 107537 w 214883"/>
                <a:gd name="connsiteY1" fmla="*/ 0 h 2236755"/>
                <a:gd name="connsiteX2" fmla="*/ 214884 w 214883"/>
                <a:gd name="connsiteY2" fmla="*/ 107537 h 2236755"/>
                <a:gd name="connsiteX3" fmla="*/ 214884 w 214883"/>
                <a:gd name="connsiteY3" fmla="*/ 2129219 h 2236755"/>
                <a:gd name="connsiteX4" fmla="*/ 107537 w 214883"/>
                <a:gd name="connsiteY4" fmla="*/ 2236756 h 2236755"/>
                <a:gd name="connsiteX5" fmla="*/ 0 w 214883"/>
                <a:gd name="connsiteY5" fmla="*/ 2129219 h 2236755"/>
                <a:gd name="connsiteX6" fmla="*/ 0 w 214883"/>
                <a:gd name="connsiteY6" fmla="*/ 107537 h 223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 h="2236755">
                  <a:moveTo>
                    <a:pt x="0" y="107537"/>
                  </a:moveTo>
                  <a:cubicBezTo>
                    <a:pt x="0" y="48197"/>
                    <a:pt x="48101" y="0"/>
                    <a:pt x="107537" y="0"/>
                  </a:cubicBezTo>
                  <a:cubicBezTo>
                    <a:pt x="166973" y="0"/>
                    <a:pt x="214884" y="48197"/>
                    <a:pt x="214884" y="107537"/>
                  </a:cubicBezTo>
                  <a:lnTo>
                    <a:pt x="214884" y="2129219"/>
                  </a:lnTo>
                  <a:cubicBezTo>
                    <a:pt x="214884" y="2188559"/>
                    <a:pt x="166782" y="2236756"/>
                    <a:pt x="107537" y="2236756"/>
                  </a:cubicBezTo>
                  <a:cubicBezTo>
                    <a:pt x="48291" y="2236756"/>
                    <a:pt x="0" y="2188559"/>
                    <a:pt x="0" y="2129219"/>
                  </a:cubicBezTo>
                  <a:lnTo>
                    <a:pt x="0" y="107537"/>
                  </a:lnTo>
                  <a:close/>
                </a:path>
              </a:pathLst>
            </a:custGeom>
            <a:solidFill>
              <a:srgbClr val="3698B0"/>
            </a:solidFill>
            <a:ln w="9525" cap="flat">
              <a:noFill/>
              <a:prstDash val="solid"/>
              <a:miter/>
            </a:ln>
          </p:spPr>
          <p:txBody>
            <a:bodyPr rtlCol="0" anchor="ctr"/>
            <a:lstStyle/>
            <a:p>
              <a:endParaRPr lang="pt-BR" noProof="0"/>
            </a:p>
          </p:txBody>
        </p:sp>
        <p:sp>
          <p:nvSpPr>
            <p:cNvPr id="58" name="Freeform: Shape 57">
              <a:extLst>
                <a:ext uri="{FF2B5EF4-FFF2-40B4-BE49-F238E27FC236}">
                  <a16:creationId xmlns:a16="http://schemas.microsoft.com/office/drawing/2014/main" id="{320BD57D-5A94-E587-7E16-91B8D2EE2A35}"/>
                </a:ext>
              </a:extLst>
            </p:cNvPr>
            <p:cNvSpPr/>
            <p:nvPr/>
          </p:nvSpPr>
          <p:spPr>
            <a:xfrm>
              <a:off x="6795770" y="332991"/>
              <a:ext cx="485994" cy="649437"/>
            </a:xfrm>
            <a:custGeom>
              <a:avLst/>
              <a:gdLst>
                <a:gd name="connsiteX0" fmla="*/ 1933290 w 1933289"/>
                <a:gd name="connsiteY0" fmla="*/ 138017 h 2583465"/>
                <a:gd name="connsiteX1" fmla="*/ 1933290 w 1933289"/>
                <a:gd name="connsiteY1" fmla="*/ 1734122 h 2583465"/>
                <a:gd name="connsiteX2" fmla="*/ 1796606 w 1933289"/>
                <a:gd name="connsiteY2" fmla="*/ 2229136 h 2583465"/>
                <a:gd name="connsiteX3" fmla="*/ 977742 w 1933289"/>
                <a:gd name="connsiteY3" fmla="*/ 2583466 h 2583465"/>
                <a:gd name="connsiteX4" fmla="*/ 955357 w 1933289"/>
                <a:gd name="connsiteY4" fmla="*/ 2583466 h 2583465"/>
                <a:gd name="connsiteX5" fmla="*/ 136589 w 1933289"/>
                <a:gd name="connsiteY5" fmla="*/ 2229136 h 2583465"/>
                <a:gd name="connsiteX6" fmla="*/ 0 w 1933289"/>
                <a:gd name="connsiteY6" fmla="*/ 1734122 h 2583465"/>
                <a:gd name="connsiteX7" fmla="*/ 0 w 1933289"/>
                <a:gd name="connsiteY7" fmla="*/ 794194 h 2583465"/>
                <a:gd name="connsiteX8" fmla="*/ 137827 w 1933289"/>
                <a:gd name="connsiteY8" fmla="*/ 656273 h 2583465"/>
                <a:gd name="connsiteX9" fmla="*/ 275463 w 1933289"/>
                <a:gd name="connsiteY9" fmla="*/ 794194 h 2583465"/>
                <a:gd name="connsiteX10" fmla="*/ 275463 w 1933289"/>
                <a:gd name="connsiteY10" fmla="*/ 1734122 h 2583465"/>
                <a:gd name="connsiteX11" fmla="*/ 354235 w 1933289"/>
                <a:gd name="connsiteY11" fmla="*/ 2059686 h 2583465"/>
                <a:gd name="connsiteX12" fmla="*/ 958215 w 1933289"/>
                <a:gd name="connsiteY12" fmla="*/ 2307527 h 2583465"/>
                <a:gd name="connsiteX13" fmla="*/ 974789 w 1933289"/>
                <a:gd name="connsiteY13" fmla="*/ 2307527 h 2583465"/>
                <a:gd name="connsiteX14" fmla="*/ 1578959 w 1933289"/>
                <a:gd name="connsiteY14" fmla="*/ 2059686 h 2583465"/>
                <a:gd name="connsiteX15" fmla="*/ 1657636 w 1933289"/>
                <a:gd name="connsiteY15" fmla="*/ 1734122 h 2583465"/>
                <a:gd name="connsiteX16" fmla="*/ 1657636 w 1933289"/>
                <a:gd name="connsiteY16" fmla="*/ 138017 h 2583465"/>
                <a:gd name="connsiteX17" fmla="*/ 1795463 w 1933289"/>
                <a:gd name="connsiteY17" fmla="*/ 0 h 2583465"/>
                <a:gd name="connsiteX18" fmla="*/ 1933290 w 1933289"/>
                <a:gd name="connsiteY18" fmla="*/ 138017 h 25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3289" h="2583465">
                  <a:moveTo>
                    <a:pt x="1933290" y="138017"/>
                  </a:moveTo>
                  <a:lnTo>
                    <a:pt x="1933290" y="1734122"/>
                  </a:lnTo>
                  <a:cubicBezTo>
                    <a:pt x="1933290" y="1870996"/>
                    <a:pt x="1919002" y="2071211"/>
                    <a:pt x="1796606" y="2229136"/>
                  </a:cubicBezTo>
                  <a:cubicBezTo>
                    <a:pt x="1634395" y="2438305"/>
                    <a:pt x="1432084" y="2578703"/>
                    <a:pt x="977742" y="2583466"/>
                  </a:cubicBezTo>
                  <a:lnTo>
                    <a:pt x="955357" y="2583466"/>
                  </a:lnTo>
                  <a:cubicBezTo>
                    <a:pt x="501015" y="2578703"/>
                    <a:pt x="298704" y="2438400"/>
                    <a:pt x="136589" y="2229136"/>
                  </a:cubicBezTo>
                  <a:cubicBezTo>
                    <a:pt x="14192" y="2071211"/>
                    <a:pt x="0" y="1870996"/>
                    <a:pt x="0" y="1734122"/>
                  </a:cubicBezTo>
                  <a:lnTo>
                    <a:pt x="0" y="794194"/>
                  </a:lnTo>
                  <a:cubicBezTo>
                    <a:pt x="0" y="718185"/>
                    <a:pt x="61436" y="656273"/>
                    <a:pt x="137827" y="656273"/>
                  </a:cubicBezTo>
                  <a:cubicBezTo>
                    <a:pt x="214217" y="656273"/>
                    <a:pt x="275463" y="718185"/>
                    <a:pt x="275463" y="794194"/>
                  </a:cubicBezTo>
                  <a:lnTo>
                    <a:pt x="275463" y="1734122"/>
                  </a:lnTo>
                  <a:cubicBezTo>
                    <a:pt x="275463" y="1887188"/>
                    <a:pt x="300324" y="1990630"/>
                    <a:pt x="354235" y="2059686"/>
                  </a:cubicBezTo>
                  <a:cubicBezTo>
                    <a:pt x="476250" y="2217611"/>
                    <a:pt x="609791" y="2304479"/>
                    <a:pt x="958215" y="2307527"/>
                  </a:cubicBezTo>
                  <a:lnTo>
                    <a:pt x="974789" y="2307527"/>
                  </a:lnTo>
                  <a:cubicBezTo>
                    <a:pt x="1323499" y="2304479"/>
                    <a:pt x="1456563" y="2217611"/>
                    <a:pt x="1578959" y="2059686"/>
                  </a:cubicBezTo>
                  <a:cubicBezTo>
                    <a:pt x="1632490" y="1990630"/>
                    <a:pt x="1657636" y="1887093"/>
                    <a:pt x="1657636" y="1734122"/>
                  </a:cubicBezTo>
                  <a:lnTo>
                    <a:pt x="1657636" y="138017"/>
                  </a:lnTo>
                  <a:cubicBezTo>
                    <a:pt x="1657636" y="61531"/>
                    <a:pt x="1719453" y="0"/>
                    <a:pt x="1795463" y="0"/>
                  </a:cubicBezTo>
                  <a:cubicBezTo>
                    <a:pt x="1871472" y="0"/>
                    <a:pt x="1933290" y="61531"/>
                    <a:pt x="1933290" y="138017"/>
                  </a:cubicBezTo>
                </a:path>
              </a:pathLst>
            </a:custGeom>
            <a:solidFill>
              <a:srgbClr val="49306E"/>
            </a:solidFill>
            <a:ln w="9525" cap="flat">
              <a:noFill/>
              <a:prstDash val="solid"/>
              <a:miter/>
            </a:ln>
          </p:spPr>
          <p:txBody>
            <a:bodyPr rtlCol="0" anchor="ctr"/>
            <a:lstStyle/>
            <a:p>
              <a:endParaRPr lang="pt-BR" noProof="0"/>
            </a:p>
          </p:txBody>
        </p:sp>
      </p:grpSp>
      <p:sp>
        <p:nvSpPr>
          <p:cNvPr id="5" name="Rectangle 3">
            <a:extLst>
              <a:ext uri="{FF2B5EF4-FFF2-40B4-BE49-F238E27FC236}">
                <a16:creationId xmlns:a16="http://schemas.microsoft.com/office/drawing/2014/main" id="{94FACCC9-4161-DB06-9AA2-752A25688FA6}"/>
              </a:ext>
            </a:extLst>
          </p:cNvPr>
          <p:cNvSpPr>
            <a:spLocks noChangeArrowheads="1"/>
          </p:cNvSpPr>
          <p:nvPr/>
        </p:nvSpPr>
        <p:spPr bwMode="auto">
          <a:xfrm>
            <a:off x="428153" y="692497"/>
            <a:ext cx="264816" cy="2862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p:txBody>
      </p:sp>
      <p:sp>
        <p:nvSpPr>
          <p:cNvPr id="8" name="CaixaDeTexto 7">
            <a:extLst>
              <a:ext uri="{FF2B5EF4-FFF2-40B4-BE49-F238E27FC236}">
                <a16:creationId xmlns:a16="http://schemas.microsoft.com/office/drawing/2014/main" id="{328C73AE-775B-675F-667A-DBF59C178BE8}"/>
              </a:ext>
            </a:extLst>
          </p:cNvPr>
          <p:cNvSpPr txBox="1"/>
          <p:nvPr/>
        </p:nvSpPr>
        <p:spPr>
          <a:xfrm>
            <a:off x="2447581" y="218322"/>
            <a:ext cx="3022763" cy="461665"/>
          </a:xfrm>
          <a:prstGeom prst="rect">
            <a:avLst/>
          </a:prstGeom>
          <a:noFill/>
        </p:spPr>
        <p:txBody>
          <a:bodyPr wrap="square" rtlCol="0">
            <a:spAutoFit/>
          </a:bodyPr>
          <a:lstStyle/>
          <a:p>
            <a:r>
              <a:rPr lang="pt-BR" sz="2400" b="1"/>
              <a:t>Resultado caso 2</a:t>
            </a:r>
            <a:endParaRPr lang="pt-BR" sz="2400" b="1" noProof="0"/>
          </a:p>
        </p:txBody>
      </p:sp>
      <p:pic>
        <p:nvPicPr>
          <p:cNvPr id="2" name="Imagem 1">
            <a:extLst>
              <a:ext uri="{FF2B5EF4-FFF2-40B4-BE49-F238E27FC236}">
                <a16:creationId xmlns:a16="http://schemas.microsoft.com/office/drawing/2014/main" id="{C0928CB8-3146-67FE-7A31-F289FB6D76A8}"/>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rot="20631384">
            <a:off x="2770952" y="366191"/>
            <a:ext cx="6259935" cy="6377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 name="CaixaDeTexto 63">
            <a:extLst>
              <a:ext uri="{FF2B5EF4-FFF2-40B4-BE49-F238E27FC236}">
                <a16:creationId xmlns:a16="http://schemas.microsoft.com/office/drawing/2014/main" id="{28627675-6FC5-86C5-4858-8E66AE74565A}"/>
              </a:ext>
            </a:extLst>
          </p:cNvPr>
          <p:cNvSpPr txBox="1"/>
          <p:nvPr/>
        </p:nvSpPr>
        <p:spPr>
          <a:xfrm rot="20061419">
            <a:off x="2869208" y="3374186"/>
            <a:ext cx="6249310" cy="769441"/>
          </a:xfrm>
          <a:prstGeom prst="rect">
            <a:avLst/>
          </a:prstGeom>
          <a:noFill/>
        </p:spPr>
        <p:txBody>
          <a:bodyPr wrap="square" rtlCol="0">
            <a:spAutoFit/>
          </a:bodyPr>
          <a:lstStyle/>
          <a:p>
            <a:pPr lvl="0" algn="ctr"/>
            <a:r>
              <a:rPr lang="pt-BR" sz="2000" b="1" dirty="0">
                <a:solidFill>
                  <a:srgbClr val="FF0000"/>
                </a:solidFill>
              </a:rPr>
              <a:t>IPCSL</a:t>
            </a:r>
            <a:endParaRPr lang="pt-BR" sz="2400" b="1" noProof="0" dirty="0">
              <a:solidFill>
                <a:srgbClr val="FF0000"/>
              </a:solidFill>
            </a:endParaRPr>
          </a:p>
          <a:p>
            <a:pPr lvl="0" algn="ctr"/>
            <a:endParaRPr lang="pt-BR" sz="2400" b="1" noProof="0" dirty="0">
              <a:solidFill>
                <a:srgbClr val="FF0000"/>
              </a:solidFill>
            </a:endParaRPr>
          </a:p>
        </p:txBody>
      </p:sp>
    </p:spTree>
    <p:extLst>
      <p:ext uri="{BB962C8B-B14F-4D97-AF65-F5344CB8AC3E}">
        <p14:creationId xmlns:p14="http://schemas.microsoft.com/office/powerpoint/2010/main" val="289201971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5111575" y="687608"/>
            <a:ext cx="10058400" cy="631231"/>
          </a:xfrm>
        </p:spPr>
        <p:txBody>
          <a:bodyPr>
            <a:normAutofit/>
          </a:bodyPr>
          <a:lstStyle/>
          <a:p>
            <a:r>
              <a:rPr lang="pt-BR" sz="3600" b="1">
                <a:solidFill>
                  <a:srgbClr val="3299B1"/>
                </a:solidFill>
                <a:latin typeface="Agency FB" panose="020B0503020202020204" pitchFamily="34" charset="0"/>
              </a:rPr>
              <a:t>Caso 3 - Adulto</a:t>
            </a:r>
          </a:p>
        </p:txBody>
      </p:sp>
      <p:sp>
        <p:nvSpPr>
          <p:cNvPr id="3" name="CaixaDeTexto 2">
            <a:extLst>
              <a:ext uri="{FF2B5EF4-FFF2-40B4-BE49-F238E27FC236}">
                <a16:creationId xmlns:a16="http://schemas.microsoft.com/office/drawing/2014/main" id="{0636A108-B6A8-4241-8AF2-269D22F75D8B}"/>
              </a:ext>
            </a:extLst>
          </p:cNvPr>
          <p:cNvSpPr txBox="1"/>
          <p:nvPr/>
        </p:nvSpPr>
        <p:spPr>
          <a:xfrm>
            <a:off x="641554" y="1597839"/>
            <a:ext cx="11380840" cy="2708434"/>
          </a:xfrm>
          <a:prstGeom prst="rect">
            <a:avLst/>
          </a:prstGeom>
          <a:noFill/>
        </p:spPr>
        <p:txBody>
          <a:bodyPr wrap="square" lIns="91440" tIns="45720" rIns="91440" bIns="45720" numCol="1" anchor="t">
            <a:spAutoFit/>
          </a:bodyPr>
          <a:lstStyle/>
          <a:p>
            <a:pPr algn="just">
              <a:spcAft>
                <a:spcPts val="1200"/>
              </a:spcAft>
              <a:defRPr/>
            </a:pPr>
            <a:endParaRPr lang="pt-BR" sz="2000">
              <a:solidFill>
                <a:schemeClr val="tx2"/>
              </a:solidFill>
            </a:endParaRPr>
          </a:p>
          <a:p>
            <a:pPr marL="285750" marR="0" lvl="0" indent="-285750" algn="l" defTabSz="914400" rtl="0" eaLnBrk="1" fontAlgn="auto" latinLnBrk="0" hangingPunct="1">
              <a:lnSpc>
                <a:spcPct val="100000"/>
              </a:lnSpc>
              <a:spcBef>
                <a:spcPts val="0"/>
              </a:spcBef>
              <a:spcAft>
                <a:spcPts val="1200"/>
              </a:spcAft>
              <a:buClrTx/>
              <a:buSzTx/>
              <a:buFontTx/>
              <a:buChar char="-"/>
              <a:tabLst/>
              <a:defRPr/>
            </a:pPr>
            <a:endParaRPr kumimoji="0" lang="pt-BR" sz="2000" b="1" i="0" u="none" strike="noStrike" kern="1200" cap="none" spc="0" normalizeH="0" baseline="0" noProof="0">
              <a:ln>
                <a:noFill/>
              </a:ln>
              <a:solidFill>
                <a:srgbClr val="455560">
                  <a:lumMod val="50000"/>
                </a:srgbClr>
              </a:solidFill>
              <a:effectLst/>
              <a:uLnTx/>
              <a:uFillTx/>
              <a:latin typeface="Calibri"/>
            </a:endParaRPr>
          </a:p>
          <a:p>
            <a:pPr marL="285750" marR="0" lvl="0" indent="-285750" algn="l" defTabSz="914400" rtl="0" eaLnBrk="1" fontAlgn="auto" latinLnBrk="0" hangingPunct="1">
              <a:lnSpc>
                <a:spcPct val="100000"/>
              </a:lnSpc>
              <a:spcBef>
                <a:spcPts val="0"/>
              </a:spcBef>
              <a:spcAft>
                <a:spcPts val="1200"/>
              </a:spcAft>
              <a:buClrTx/>
              <a:buSzTx/>
              <a:buFontTx/>
              <a:buChar char="-"/>
              <a:tabLst/>
              <a:defRPr/>
            </a:pPr>
            <a:endParaRPr kumimoji="0" lang="pt-BR" sz="2000" b="1" i="0" u="none" strike="noStrike" kern="1200" cap="none" spc="0" normalizeH="0" baseline="0" noProof="0">
              <a:ln>
                <a:noFill/>
              </a:ln>
              <a:solidFill>
                <a:srgbClr val="455560">
                  <a:lumMod val="50000"/>
                </a:srgbClr>
              </a:solidFill>
              <a:effectLst/>
              <a:uLnTx/>
              <a:uFillTx/>
              <a:latin typeface="Calibri"/>
            </a:endParaRPr>
          </a:p>
          <a:p>
            <a:pPr marL="285750" marR="0" lvl="0" indent="-285750" algn="l" defTabSz="914400" rtl="0" eaLnBrk="1" fontAlgn="auto" latinLnBrk="0" hangingPunct="1">
              <a:lnSpc>
                <a:spcPct val="100000"/>
              </a:lnSpc>
              <a:spcBef>
                <a:spcPts val="0"/>
              </a:spcBef>
              <a:spcAft>
                <a:spcPts val="1200"/>
              </a:spcAft>
              <a:buClrTx/>
              <a:buSzTx/>
              <a:buFontTx/>
              <a:buChar char="-"/>
              <a:tabLst/>
              <a:defRPr/>
            </a:pPr>
            <a:endParaRPr kumimoji="0" lang="pt-BR" sz="2000" b="1" i="0" u="none" strike="noStrike" kern="1200" cap="none" spc="0" normalizeH="0" baseline="0" noProof="0">
              <a:ln>
                <a:noFill/>
              </a:ln>
              <a:solidFill>
                <a:srgbClr val="455560">
                  <a:lumMod val="50000"/>
                </a:srgbClr>
              </a:solidFill>
              <a:effectLst/>
              <a:uLnTx/>
              <a:uFillTx/>
              <a:latin typeface="Calibri"/>
            </a:endParaRPr>
          </a:p>
          <a:p>
            <a:pPr marL="285750" marR="0" lvl="0" indent="-285750" algn="l" defTabSz="914400" rtl="0" eaLnBrk="1" fontAlgn="auto" latinLnBrk="0" hangingPunct="1">
              <a:lnSpc>
                <a:spcPct val="100000"/>
              </a:lnSpc>
              <a:spcBef>
                <a:spcPts val="0"/>
              </a:spcBef>
              <a:spcAft>
                <a:spcPts val="1200"/>
              </a:spcAft>
              <a:buClrTx/>
              <a:buSzTx/>
              <a:buFontTx/>
              <a:buChar char="-"/>
              <a:tabLst/>
              <a:defRPr/>
            </a:pPr>
            <a:endParaRPr kumimoji="0" lang="pt-BR" sz="2000" b="1" i="0" u="none" strike="noStrike" kern="1200" cap="none" spc="0" normalizeH="0" baseline="0" noProof="0">
              <a:ln>
                <a:noFill/>
              </a:ln>
              <a:solidFill>
                <a:srgbClr val="455560">
                  <a:lumMod val="50000"/>
                </a:srgbClr>
              </a:solidFill>
              <a:effectLst/>
              <a:uLnTx/>
              <a:uFillTx/>
              <a:latin typeface="Calibri"/>
            </a:endParaRPr>
          </a:p>
          <a:p>
            <a:pPr marL="285750" marR="0" lvl="0" indent="-285750" algn="l" defTabSz="914400" rtl="0" eaLnBrk="1" fontAlgn="auto" latinLnBrk="0" hangingPunct="1">
              <a:lnSpc>
                <a:spcPct val="100000"/>
              </a:lnSpc>
              <a:spcBef>
                <a:spcPts val="0"/>
              </a:spcBef>
              <a:spcAft>
                <a:spcPts val="1200"/>
              </a:spcAft>
              <a:buClrTx/>
              <a:buSzTx/>
              <a:buFontTx/>
              <a:buChar char="-"/>
              <a:tabLst/>
              <a:defRPr/>
            </a:pPr>
            <a:endParaRPr kumimoji="0" lang="pt-BR" sz="2000" b="1" i="0" u="none" strike="noStrike" kern="1200" cap="none" spc="0" normalizeH="0" baseline="0" noProof="0">
              <a:ln>
                <a:noFill/>
              </a:ln>
              <a:solidFill>
                <a:srgbClr val="455560">
                  <a:lumMod val="50000"/>
                </a:srgbClr>
              </a:solidFill>
              <a:effectLst/>
              <a:uLnTx/>
              <a:uFillTx/>
              <a:latin typeface="Calibri"/>
            </a:endParaRPr>
          </a:p>
        </p:txBody>
      </p:sp>
      <p:pic>
        <p:nvPicPr>
          <p:cNvPr id="3076" name="Picture 4" descr="Gifs de alerta - Gifs e Imagens Animadas"/>
          <p:cNvPicPr>
            <a:picLocks noChangeAspect="1" noChangeArrowheads="1" noCrop="1"/>
          </p:cNvPicPr>
          <p:nvPr/>
        </p:nvPicPr>
        <p:blipFill>
          <a:blip r:embed="rId2">
            <a:extLst>
              <a:ext uri="{28A0092B-C50C-407E-A947-70E740481C1C}">
                <a14:useLocalDpi xmlns:a14="http://schemas.microsoft.com/office/drawing/2010/main" val="0"/>
              </a:ext>
            </a:extLst>
          </a:blip>
          <a:srcRect/>
          <a:stretch>
            <a:fillRect/>
          </a:stretch>
        </p:blipFill>
        <p:spPr bwMode="auto">
          <a:xfrm>
            <a:off x="3394589" y="2352128"/>
            <a:ext cx="5665837" cy="31870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307645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2E0369-0CC2-D16A-7A24-C49929DD2008}"/>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D58C070-80AE-B0C2-E168-699B106B20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8" progId="TCLayout.ActiveDocument.1">
                  <p:embed/>
                </p:oleObj>
              </mc:Choice>
              <mc:Fallback>
                <p:oleObj name="think-cell Slide" r:id="rId4" imgW="306" imgH="308" progId="TCLayout.ActiveDocument.1">
                  <p:embed/>
                  <p:pic>
                    <p:nvPicPr>
                      <p:cNvPr id="12" name="think-cell data - do not delete" hidden="1">
                        <a:extLst>
                          <a:ext uri="{FF2B5EF4-FFF2-40B4-BE49-F238E27FC236}">
                            <a16:creationId xmlns:a16="http://schemas.microsoft.com/office/drawing/2014/main" id="{CD58C070-80AE-B0C2-E168-699B106B20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3" name="Group 12">
            <a:extLst>
              <a:ext uri="{FF2B5EF4-FFF2-40B4-BE49-F238E27FC236}">
                <a16:creationId xmlns:a16="http://schemas.microsoft.com/office/drawing/2014/main" id="{F35FD2FF-2F6E-FF9F-77AE-160815EC6E63}"/>
              </a:ext>
            </a:extLst>
          </p:cNvPr>
          <p:cNvGrpSpPr/>
          <p:nvPr/>
        </p:nvGrpSpPr>
        <p:grpSpPr>
          <a:xfrm>
            <a:off x="304800" y="249455"/>
            <a:ext cx="1193800" cy="462985"/>
            <a:chOff x="5245100" y="211355"/>
            <a:chExt cx="2036664" cy="789869"/>
          </a:xfrm>
        </p:grpSpPr>
        <p:sp>
          <p:nvSpPr>
            <p:cNvPr id="14" name="Freeform: Shape 13">
              <a:extLst>
                <a:ext uri="{FF2B5EF4-FFF2-40B4-BE49-F238E27FC236}">
                  <a16:creationId xmlns:a16="http://schemas.microsoft.com/office/drawing/2014/main" id="{E34445FF-03FF-27B9-4670-0ED8A1317929}"/>
                </a:ext>
              </a:extLst>
            </p:cNvPr>
            <p:cNvSpPr/>
            <p:nvPr/>
          </p:nvSpPr>
          <p:spPr>
            <a:xfrm>
              <a:off x="5245100" y="308520"/>
              <a:ext cx="247894" cy="322815"/>
            </a:xfrm>
            <a:custGeom>
              <a:avLst/>
              <a:gdLst>
                <a:gd name="connsiteX0" fmla="*/ 529590 w 986123"/>
                <a:gd name="connsiteY0" fmla="*/ 1284160 h 1284160"/>
                <a:gd name="connsiteX1" fmla="*/ 249650 w 986123"/>
                <a:gd name="connsiteY1" fmla="*/ 1235107 h 1284160"/>
                <a:gd name="connsiteX2" fmla="*/ 0 w 986123"/>
                <a:gd name="connsiteY2" fmla="*/ 1084421 h 1284160"/>
                <a:gd name="connsiteX3" fmla="*/ 162306 w 986123"/>
                <a:gd name="connsiteY3" fmla="*/ 890016 h 1284160"/>
                <a:gd name="connsiteX4" fmla="*/ 337947 w 986123"/>
                <a:gd name="connsiteY4" fmla="*/ 1000601 h 1284160"/>
                <a:gd name="connsiteX5" fmla="*/ 535019 w 986123"/>
                <a:gd name="connsiteY5" fmla="*/ 1041654 h 1284160"/>
                <a:gd name="connsiteX6" fmla="*/ 667893 w 986123"/>
                <a:gd name="connsiteY6" fmla="*/ 1010412 h 1284160"/>
                <a:gd name="connsiteX7" fmla="*/ 715137 w 986123"/>
                <a:gd name="connsiteY7" fmla="*/ 923925 h 1284160"/>
                <a:gd name="connsiteX8" fmla="*/ 715137 w 986123"/>
                <a:gd name="connsiteY8" fmla="*/ 920305 h 1284160"/>
                <a:gd name="connsiteX9" fmla="*/ 705326 w 986123"/>
                <a:gd name="connsiteY9" fmla="*/ 873062 h 1284160"/>
                <a:gd name="connsiteX10" fmla="*/ 667798 w 986123"/>
                <a:gd name="connsiteY10" fmla="*/ 834676 h 1284160"/>
                <a:gd name="connsiteX11" fmla="*/ 590931 w 986123"/>
                <a:gd name="connsiteY11" fmla="*/ 798957 h 1284160"/>
                <a:gd name="connsiteX12" fmla="*/ 463106 w 986123"/>
                <a:gd name="connsiteY12" fmla="*/ 761524 h 1284160"/>
                <a:gd name="connsiteX13" fmla="*/ 291465 w 986123"/>
                <a:gd name="connsiteY13" fmla="*/ 709803 h 1284160"/>
                <a:gd name="connsiteX14" fmla="*/ 160973 w 986123"/>
                <a:gd name="connsiteY14" fmla="*/ 639318 h 1284160"/>
                <a:gd name="connsiteX15" fmla="*/ 77819 w 986123"/>
                <a:gd name="connsiteY15" fmla="*/ 535019 h 1284160"/>
                <a:gd name="connsiteX16" fmla="*/ 48292 w 986123"/>
                <a:gd name="connsiteY16" fmla="*/ 379857 h 1284160"/>
                <a:gd name="connsiteX17" fmla="*/ 48292 w 986123"/>
                <a:gd name="connsiteY17" fmla="*/ 376238 h 1284160"/>
                <a:gd name="connsiteX18" fmla="*/ 80201 w 986123"/>
                <a:gd name="connsiteY18" fmla="*/ 222028 h 1284160"/>
                <a:gd name="connsiteX19" fmla="*/ 169640 w 986123"/>
                <a:gd name="connsiteY19" fmla="*/ 103441 h 1284160"/>
                <a:gd name="connsiteX20" fmla="*/ 307181 w 986123"/>
                <a:gd name="connsiteY20" fmla="*/ 26765 h 1284160"/>
                <a:gd name="connsiteX21" fmla="*/ 483394 w 986123"/>
                <a:gd name="connsiteY21" fmla="*/ 0 h 1284160"/>
                <a:gd name="connsiteX22" fmla="*/ 735711 w 986123"/>
                <a:gd name="connsiteY22" fmla="*/ 41053 h 1284160"/>
                <a:gd name="connsiteX23" fmla="*/ 946976 w 986123"/>
                <a:gd name="connsiteY23" fmla="*/ 158687 h 1284160"/>
                <a:gd name="connsiteX24" fmla="*/ 804291 w 986123"/>
                <a:gd name="connsiteY24" fmla="*/ 365569 h 1284160"/>
                <a:gd name="connsiteX25" fmla="*/ 640271 w 986123"/>
                <a:gd name="connsiteY25" fmla="*/ 275558 h 1284160"/>
                <a:gd name="connsiteX26" fmla="*/ 479774 w 986123"/>
                <a:gd name="connsiteY26" fmla="*/ 242602 h 1284160"/>
                <a:gd name="connsiteX27" fmla="*/ 359378 w 986123"/>
                <a:gd name="connsiteY27" fmla="*/ 273844 h 1284160"/>
                <a:gd name="connsiteX28" fmla="*/ 319278 w 986123"/>
                <a:gd name="connsiteY28" fmla="*/ 351377 h 1284160"/>
                <a:gd name="connsiteX29" fmla="*/ 319278 w 986123"/>
                <a:gd name="connsiteY29" fmla="*/ 354997 h 1284160"/>
                <a:gd name="connsiteX30" fmla="*/ 330899 w 986123"/>
                <a:gd name="connsiteY30" fmla="*/ 407575 h 1284160"/>
                <a:gd name="connsiteX31" fmla="*/ 372904 w 986123"/>
                <a:gd name="connsiteY31" fmla="*/ 447675 h 1284160"/>
                <a:gd name="connsiteX32" fmla="*/ 456057 w 986123"/>
                <a:gd name="connsiteY32" fmla="*/ 481489 h 1284160"/>
                <a:gd name="connsiteX33" fmla="*/ 589217 w 986123"/>
                <a:gd name="connsiteY33" fmla="*/ 518922 h 1284160"/>
                <a:gd name="connsiteX34" fmla="*/ 758190 w 986123"/>
                <a:gd name="connsiteY34" fmla="*/ 575120 h 1284160"/>
                <a:gd name="connsiteX35" fmla="*/ 883349 w 986123"/>
                <a:gd name="connsiteY35" fmla="*/ 649986 h 1284160"/>
                <a:gd name="connsiteX36" fmla="*/ 960215 w 986123"/>
                <a:gd name="connsiteY36" fmla="*/ 752570 h 1284160"/>
                <a:gd name="connsiteX37" fmla="*/ 986123 w 986123"/>
                <a:gd name="connsiteY37" fmla="*/ 893445 h 1284160"/>
                <a:gd name="connsiteX38" fmla="*/ 986123 w 986123"/>
                <a:gd name="connsiteY38" fmla="*/ 897064 h 1284160"/>
                <a:gd name="connsiteX39" fmla="*/ 952500 w 986123"/>
                <a:gd name="connsiteY39" fmla="*/ 1062038 h 1284160"/>
                <a:gd name="connsiteX40" fmla="*/ 858584 w 986123"/>
                <a:gd name="connsiteY40" fmla="*/ 1183291 h 1284160"/>
                <a:gd name="connsiteX41" fmla="*/ 714851 w 986123"/>
                <a:gd name="connsiteY41" fmla="*/ 1258157 h 1284160"/>
                <a:gd name="connsiteX42" fmla="*/ 529685 w 986123"/>
                <a:gd name="connsiteY42" fmla="*/ 1284065 h 128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6123" h="1284160">
                  <a:moveTo>
                    <a:pt x="529590" y="1284160"/>
                  </a:moveTo>
                  <a:cubicBezTo>
                    <a:pt x="434435" y="1284160"/>
                    <a:pt x="341186" y="1267777"/>
                    <a:pt x="249650" y="1235107"/>
                  </a:cubicBezTo>
                  <a:cubicBezTo>
                    <a:pt x="158115" y="1202436"/>
                    <a:pt x="74867" y="1152239"/>
                    <a:pt x="0" y="1084421"/>
                  </a:cubicBezTo>
                  <a:lnTo>
                    <a:pt x="162306" y="890016"/>
                  </a:lnTo>
                  <a:cubicBezTo>
                    <a:pt x="219361" y="936403"/>
                    <a:pt x="277844" y="973264"/>
                    <a:pt x="337947" y="1000601"/>
                  </a:cubicBezTo>
                  <a:cubicBezTo>
                    <a:pt x="397955" y="1027938"/>
                    <a:pt x="463677" y="1041654"/>
                    <a:pt x="535019" y="1041654"/>
                  </a:cubicBezTo>
                  <a:cubicBezTo>
                    <a:pt x="592074" y="1041654"/>
                    <a:pt x="636365" y="1031272"/>
                    <a:pt x="667893" y="1010412"/>
                  </a:cubicBezTo>
                  <a:cubicBezTo>
                    <a:pt x="699421" y="989647"/>
                    <a:pt x="715137" y="960787"/>
                    <a:pt x="715137" y="923925"/>
                  </a:cubicBezTo>
                  <a:lnTo>
                    <a:pt x="715137" y="920305"/>
                  </a:lnTo>
                  <a:cubicBezTo>
                    <a:pt x="715137" y="902494"/>
                    <a:pt x="711803" y="886777"/>
                    <a:pt x="705326" y="873062"/>
                  </a:cubicBezTo>
                  <a:cubicBezTo>
                    <a:pt x="698754" y="859441"/>
                    <a:pt x="686276" y="846582"/>
                    <a:pt x="667798" y="834676"/>
                  </a:cubicBezTo>
                  <a:cubicBezTo>
                    <a:pt x="649319" y="822770"/>
                    <a:pt x="623697" y="810863"/>
                    <a:pt x="590931" y="798957"/>
                  </a:cubicBezTo>
                  <a:cubicBezTo>
                    <a:pt x="558165" y="787146"/>
                    <a:pt x="515493" y="774573"/>
                    <a:pt x="463106" y="761524"/>
                  </a:cubicBezTo>
                  <a:cubicBezTo>
                    <a:pt x="399955" y="746093"/>
                    <a:pt x="342710" y="728853"/>
                    <a:pt x="291465" y="709803"/>
                  </a:cubicBezTo>
                  <a:cubicBezTo>
                    <a:pt x="240221" y="690753"/>
                    <a:pt x="196691" y="667322"/>
                    <a:pt x="160973" y="639318"/>
                  </a:cubicBezTo>
                  <a:cubicBezTo>
                    <a:pt x="125159" y="611410"/>
                    <a:pt x="97536" y="576644"/>
                    <a:pt x="77819" y="535019"/>
                  </a:cubicBezTo>
                  <a:cubicBezTo>
                    <a:pt x="58103" y="493395"/>
                    <a:pt x="48292" y="441674"/>
                    <a:pt x="48292" y="379857"/>
                  </a:cubicBezTo>
                  <a:lnTo>
                    <a:pt x="48292" y="376238"/>
                  </a:lnTo>
                  <a:cubicBezTo>
                    <a:pt x="48292" y="319183"/>
                    <a:pt x="58865" y="267748"/>
                    <a:pt x="80201" y="222028"/>
                  </a:cubicBezTo>
                  <a:cubicBezTo>
                    <a:pt x="101441" y="176308"/>
                    <a:pt x="131255" y="136779"/>
                    <a:pt x="169640" y="103441"/>
                  </a:cubicBezTo>
                  <a:cubicBezTo>
                    <a:pt x="208026" y="70199"/>
                    <a:pt x="253841" y="44577"/>
                    <a:pt x="307181" y="26765"/>
                  </a:cubicBezTo>
                  <a:cubicBezTo>
                    <a:pt x="360426" y="8953"/>
                    <a:pt x="419195" y="0"/>
                    <a:pt x="483394" y="0"/>
                  </a:cubicBezTo>
                  <a:cubicBezTo>
                    <a:pt x="574929" y="0"/>
                    <a:pt x="659035" y="13716"/>
                    <a:pt x="735711" y="41053"/>
                  </a:cubicBezTo>
                  <a:cubicBezTo>
                    <a:pt x="812387" y="68389"/>
                    <a:pt x="882777" y="107632"/>
                    <a:pt x="946976" y="158687"/>
                  </a:cubicBezTo>
                  <a:lnTo>
                    <a:pt x="804291" y="365569"/>
                  </a:lnTo>
                  <a:cubicBezTo>
                    <a:pt x="748379" y="327565"/>
                    <a:pt x="693706" y="297561"/>
                    <a:pt x="640271" y="275558"/>
                  </a:cubicBezTo>
                  <a:cubicBezTo>
                    <a:pt x="586740" y="253555"/>
                    <a:pt x="533305" y="242602"/>
                    <a:pt x="479774" y="242602"/>
                  </a:cubicBezTo>
                  <a:cubicBezTo>
                    <a:pt x="426244" y="242602"/>
                    <a:pt x="386144" y="252984"/>
                    <a:pt x="359378" y="273844"/>
                  </a:cubicBezTo>
                  <a:cubicBezTo>
                    <a:pt x="332613" y="294608"/>
                    <a:pt x="319278" y="320516"/>
                    <a:pt x="319278" y="351377"/>
                  </a:cubicBezTo>
                  <a:lnTo>
                    <a:pt x="319278" y="354997"/>
                  </a:lnTo>
                  <a:cubicBezTo>
                    <a:pt x="319278" y="375190"/>
                    <a:pt x="323183" y="392716"/>
                    <a:pt x="330899" y="407575"/>
                  </a:cubicBezTo>
                  <a:cubicBezTo>
                    <a:pt x="338614" y="422434"/>
                    <a:pt x="352616" y="435864"/>
                    <a:pt x="372904" y="447675"/>
                  </a:cubicBezTo>
                  <a:cubicBezTo>
                    <a:pt x="393192" y="459581"/>
                    <a:pt x="420910" y="470821"/>
                    <a:pt x="456057" y="481489"/>
                  </a:cubicBezTo>
                  <a:cubicBezTo>
                    <a:pt x="491204" y="492157"/>
                    <a:pt x="535591" y="504730"/>
                    <a:pt x="589217" y="518922"/>
                  </a:cubicBezTo>
                  <a:cubicBezTo>
                    <a:pt x="652367" y="535591"/>
                    <a:pt x="708660" y="554260"/>
                    <a:pt x="758190" y="575120"/>
                  </a:cubicBezTo>
                  <a:cubicBezTo>
                    <a:pt x="807625" y="595979"/>
                    <a:pt x="849344" y="620935"/>
                    <a:pt x="883349" y="649986"/>
                  </a:cubicBezTo>
                  <a:cubicBezTo>
                    <a:pt x="917353" y="679132"/>
                    <a:pt x="942975" y="713327"/>
                    <a:pt x="960215" y="752570"/>
                  </a:cubicBezTo>
                  <a:cubicBezTo>
                    <a:pt x="977456" y="791813"/>
                    <a:pt x="986123" y="838772"/>
                    <a:pt x="986123" y="893445"/>
                  </a:cubicBezTo>
                  <a:lnTo>
                    <a:pt x="986123" y="897064"/>
                  </a:lnTo>
                  <a:cubicBezTo>
                    <a:pt x="986123" y="958882"/>
                    <a:pt x="974884" y="1013841"/>
                    <a:pt x="952500" y="1062038"/>
                  </a:cubicBezTo>
                  <a:cubicBezTo>
                    <a:pt x="930021" y="1110139"/>
                    <a:pt x="898779" y="1150620"/>
                    <a:pt x="858584" y="1183291"/>
                  </a:cubicBezTo>
                  <a:cubicBezTo>
                    <a:pt x="818388" y="1216057"/>
                    <a:pt x="770477" y="1241012"/>
                    <a:pt x="714851" y="1258157"/>
                  </a:cubicBezTo>
                  <a:cubicBezTo>
                    <a:pt x="659130" y="1275398"/>
                    <a:pt x="597503" y="1284065"/>
                    <a:pt x="529685" y="1284065"/>
                  </a:cubicBezTo>
                  <a:close/>
                </a:path>
              </a:pathLst>
            </a:custGeom>
            <a:solidFill>
              <a:srgbClr val="44505E"/>
            </a:solidFill>
            <a:ln w="9525" cap="flat">
              <a:noFill/>
              <a:prstDash val="solid"/>
              <a:miter/>
            </a:ln>
          </p:spPr>
          <p:txBody>
            <a:bodyPr rtlCol="0" anchor="ctr"/>
            <a:lstStyle/>
            <a:p>
              <a:endParaRPr lang="pt-BR" noProof="0"/>
            </a:p>
          </p:txBody>
        </p:sp>
        <p:sp>
          <p:nvSpPr>
            <p:cNvPr id="17" name="Freeform: Shape 16">
              <a:extLst>
                <a:ext uri="{FF2B5EF4-FFF2-40B4-BE49-F238E27FC236}">
                  <a16:creationId xmlns:a16="http://schemas.microsoft.com/office/drawing/2014/main" id="{DFB29A03-A686-982F-6860-4AED2954C471}"/>
                </a:ext>
              </a:extLst>
            </p:cNvPr>
            <p:cNvSpPr/>
            <p:nvPr/>
          </p:nvSpPr>
          <p:spPr>
            <a:xfrm>
              <a:off x="5492084" y="310867"/>
              <a:ext cx="332584" cy="315991"/>
            </a:xfrm>
            <a:custGeom>
              <a:avLst/>
              <a:gdLst>
                <a:gd name="connsiteX0" fmla="*/ 534924 w 1323022"/>
                <a:gd name="connsiteY0" fmla="*/ 0 h 1257014"/>
                <a:gd name="connsiteX1" fmla="*/ 788099 w 1323022"/>
                <a:gd name="connsiteY1" fmla="*/ 0 h 1257014"/>
                <a:gd name="connsiteX2" fmla="*/ 1323023 w 1323022"/>
                <a:gd name="connsiteY2" fmla="*/ 1257014 h 1257014"/>
                <a:gd name="connsiteX3" fmla="*/ 1035939 w 1323022"/>
                <a:gd name="connsiteY3" fmla="*/ 1257014 h 1257014"/>
                <a:gd name="connsiteX4" fmla="*/ 921829 w 1323022"/>
                <a:gd name="connsiteY4" fmla="*/ 977075 h 1257014"/>
                <a:gd name="connsiteX5" fmla="*/ 394049 w 1323022"/>
                <a:gd name="connsiteY5" fmla="*/ 977075 h 1257014"/>
                <a:gd name="connsiteX6" fmla="*/ 279940 w 1323022"/>
                <a:gd name="connsiteY6" fmla="*/ 1257014 h 1257014"/>
                <a:gd name="connsiteX7" fmla="*/ 0 w 1323022"/>
                <a:gd name="connsiteY7" fmla="*/ 1257014 h 1257014"/>
                <a:gd name="connsiteX8" fmla="*/ 534924 w 1323022"/>
                <a:gd name="connsiteY8" fmla="*/ 0 h 1257014"/>
                <a:gd name="connsiteX9" fmla="*/ 823817 w 1323022"/>
                <a:gd name="connsiteY9" fmla="*/ 734568 h 1257014"/>
                <a:gd name="connsiteX10" fmla="*/ 657987 w 1323022"/>
                <a:gd name="connsiteY10" fmla="*/ 329851 h 1257014"/>
                <a:gd name="connsiteX11" fmla="*/ 492157 w 1323022"/>
                <a:gd name="connsiteY11" fmla="*/ 734568 h 1257014"/>
                <a:gd name="connsiteX12" fmla="*/ 823817 w 1323022"/>
                <a:gd name="connsiteY12" fmla="*/ 734568 h 125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022" h="1257014">
                  <a:moveTo>
                    <a:pt x="534924" y="0"/>
                  </a:moveTo>
                  <a:lnTo>
                    <a:pt x="788099" y="0"/>
                  </a:lnTo>
                  <a:lnTo>
                    <a:pt x="1323023" y="1257014"/>
                  </a:lnTo>
                  <a:lnTo>
                    <a:pt x="1035939" y="1257014"/>
                  </a:lnTo>
                  <a:lnTo>
                    <a:pt x="921829" y="977075"/>
                  </a:lnTo>
                  <a:lnTo>
                    <a:pt x="394049" y="977075"/>
                  </a:lnTo>
                  <a:lnTo>
                    <a:pt x="279940" y="1257014"/>
                  </a:lnTo>
                  <a:lnTo>
                    <a:pt x="0" y="1257014"/>
                  </a:lnTo>
                  <a:lnTo>
                    <a:pt x="534924" y="0"/>
                  </a:lnTo>
                  <a:close/>
                  <a:moveTo>
                    <a:pt x="823817" y="734568"/>
                  </a:moveTo>
                  <a:lnTo>
                    <a:pt x="657987" y="329851"/>
                  </a:lnTo>
                  <a:lnTo>
                    <a:pt x="492157" y="734568"/>
                  </a:lnTo>
                  <a:lnTo>
                    <a:pt x="823817" y="734568"/>
                  </a:lnTo>
                  <a:close/>
                </a:path>
              </a:pathLst>
            </a:custGeom>
            <a:solidFill>
              <a:srgbClr val="44505E"/>
            </a:solidFill>
            <a:ln w="9525" cap="flat">
              <a:noFill/>
              <a:prstDash val="solid"/>
              <a:miter/>
            </a:ln>
          </p:spPr>
          <p:txBody>
            <a:bodyPr rtlCol="0" anchor="ctr"/>
            <a:lstStyle/>
            <a:p>
              <a:endParaRPr lang="pt-BR" noProof="0"/>
            </a:p>
          </p:txBody>
        </p:sp>
        <p:sp>
          <p:nvSpPr>
            <p:cNvPr id="18" name="Freeform: Shape 17">
              <a:extLst>
                <a:ext uri="{FF2B5EF4-FFF2-40B4-BE49-F238E27FC236}">
                  <a16:creationId xmlns:a16="http://schemas.microsoft.com/office/drawing/2014/main" id="{ACA23AB3-6C72-F605-4443-2597A581D8D9}"/>
                </a:ext>
              </a:extLst>
            </p:cNvPr>
            <p:cNvSpPr/>
            <p:nvPr/>
          </p:nvSpPr>
          <p:spPr>
            <a:xfrm>
              <a:off x="5834078" y="211355"/>
              <a:ext cx="273442" cy="420435"/>
            </a:xfrm>
            <a:custGeom>
              <a:avLst/>
              <a:gdLst>
                <a:gd name="connsiteX0" fmla="*/ 540258 w 1087754"/>
                <a:gd name="connsiteY0" fmla="*/ 1672495 h 1672494"/>
                <a:gd name="connsiteX1" fmla="*/ 144399 w 1087754"/>
                <a:gd name="connsiteY1" fmla="*/ 1533430 h 1672494"/>
                <a:gd name="connsiteX2" fmla="*/ 0 w 1087754"/>
                <a:gd name="connsiteY2" fmla="*/ 1117949 h 1672494"/>
                <a:gd name="connsiteX3" fmla="*/ 0 w 1087754"/>
                <a:gd name="connsiteY3" fmla="*/ 404717 h 1672494"/>
                <a:gd name="connsiteX4" fmla="*/ 274606 w 1087754"/>
                <a:gd name="connsiteY4" fmla="*/ 404717 h 1672494"/>
                <a:gd name="connsiteX5" fmla="*/ 274606 w 1087754"/>
                <a:gd name="connsiteY5" fmla="*/ 1110806 h 1672494"/>
                <a:gd name="connsiteX6" fmla="*/ 345948 w 1087754"/>
                <a:gd name="connsiteY6" fmla="*/ 1341692 h 1672494"/>
                <a:gd name="connsiteX7" fmla="*/ 543877 w 1087754"/>
                <a:gd name="connsiteY7" fmla="*/ 1419225 h 1672494"/>
                <a:gd name="connsiteX8" fmla="*/ 741807 w 1087754"/>
                <a:gd name="connsiteY8" fmla="*/ 1344359 h 1672494"/>
                <a:gd name="connsiteX9" fmla="*/ 813149 w 1087754"/>
                <a:gd name="connsiteY9" fmla="*/ 1119664 h 1672494"/>
                <a:gd name="connsiteX10" fmla="*/ 813149 w 1087754"/>
                <a:gd name="connsiteY10" fmla="*/ 404717 h 1672494"/>
                <a:gd name="connsiteX11" fmla="*/ 1087755 w 1087754"/>
                <a:gd name="connsiteY11" fmla="*/ 404717 h 1672494"/>
                <a:gd name="connsiteX12" fmla="*/ 1087755 w 1087754"/>
                <a:gd name="connsiteY12" fmla="*/ 1108996 h 1672494"/>
                <a:gd name="connsiteX13" fmla="*/ 1049369 w 1087754"/>
                <a:gd name="connsiteY13" fmla="*/ 1356836 h 1672494"/>
                <a:gd name="connsiteX14" fmla="*/ 939737 w 1087754"/>
                <a:gd name="connsiteY14" fmla="*/ 1532477 h 1672494"/>
                <a:gd name="connsiteX15" fmla="*/ 766763 w 1087754"/>
                <a:gd name="connsiteY15" fmla="*/ 1637729 h 1672494"/>
                <a:gd name="connsiteX16" fmla="*/ 540353 w 1087754"/>
                <a:gd name="connsiteY16" fmla="*/ 1672495 h 1672494"/>
                <a:gd name="connsiteX17" fmla="*/ 622268 w 1087754"/>
                <a:gd name="connsiteY17" fmla="*/ 0 h 1672494"/>
                <a:gd name="connsiteX18" fmla="*/ 855821 w 1087754"/>
                <a:gd name="connsiteY18" fmla="*/ 101632 h 1672494"/>
                <a:gd name="connsiteX19" fmla="*/ 627602 w 1087754"/>
                <a:gd name="connsiteY19" fmla="*/ 315563 h 1672494"/>
                <a:gd name="connsiteX20" fmla="*/ 420719 w 1087754"/>
                <a:gd name="connsiteY20" fmla="*/ 315563 h 1672494"/>
                <a:gd name="connsiteX21" fmla="*/ 622268 w 1087754"/>
                <a:gd name="connsiteY21" fmla="*/ 0 h 16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754" h="1672494">
                  <a:moveTo>
                    <a:pt x="540258" y="1672495"/>
                  </a:moveTo>
                  <a:cubicBezTo>
                    <a:pt x="372618" y="1672495"/>
                    <a:pt x="240697" y="1626108"/>
                    <a:pt x="144399" y="1533430"/>
                  </a:cubicBezTo>
                  <a:cubicBezTo>
                    <a:pt x="48101" y="1440752"/>
                    <a:pt x="0" y="1302258"/>
                    <a:pt x="0" y="1117949"/>
                  </a:cubicBezTo>
                  <a:lnTo>
                    <a:pt x="0" y="404717"/>
                  </a:lnTo>
                  <a:lnTo>
                    <a:pt x="274606" y="404717"/>
                  </a:lnTo>
                  <a:lnTo>
                    <a:pt x="274606" y="1110806"/>
                  </a:lnTo>
                  <a:cubicBezTo>
                    <a:pt x="274606" y="1213009"/>
                    <a:pt x="298418" y="1289971"/>
                    <a:pt x="345948" y="1341692"/>
                  </a:cubicBezTo>
                  <a:cubicBezTo>
                    <a:pt x="393478" y="1393412"/>
                    <a:pt x="459486" y="1419225"/>
                    <a:pt x="543877" y="1419225"/>
                  </a:cubicBezTo>
                  <a:cubicBezTo>
                    <a:pt x="628269" y="1419225"/>
                    <a:pt x="694277" y="1394270"/>
                    <a:pt x="741807" y="1344359"/>
                  </a:cubicBezTo>
                  <a:cubicBezTo>
                    <a:pt x="789337" y="1294448"/>
                    <a:pt x="813149" y="1219581"/>
                    <a:pt x="813149" y="1119664"/>
                  </a:cubicBezTo>
                  <a:lnTo>
                    <a:pt x="813149" y="404717"/>
                  </a:lnTo>
                  <a:lnTo>
                    <a:pt x="1087755" y="404717"/>
                  </a:lnTo>
                  <a:lnTo>
                    <a:pt x="1087755" y="1108996"/>
                  </a:lnTo>
                  <a:cubicBezTo>
                    <a:pt x="1087755" y="1204151"/>
                    <a:pt x="1074992" y="1286732"/>
                    <a:pt x="1049369" y="1356836"/>
                  </a:cubicBezTo>
                  <a:cubicBezTo>
                    <a:pt x="1023747" y="1426940"/>
                    <a:pt x="987266" y="1485519"/>
                    <a:pt x="939737" y="1532477"/>
                  </a:cubicBezTo>
                  <a:cubicBezTo>
                    <a:pt x="892207" y="1579436"/>
                    <a:pt x="834485" y="1614488"/>
                    <a:pt x="766763" y="1637729"/>
                  </a:cubicBezTo>
                  <a:cubicBezTo>
                    <a:pt x="699040" y="1660874"/>
                    <a:pt x="623507" y="1672495"/>
                    <a:pt x="540353" y="1672495"/>
                  </a:cubicBezTo>
                  <a:close/>
                  <a:moveTo>
                    <a:pt x="622268" y="0"/>
                  </a:moveTo>
                  <a:lnTo>
                    <a:pt x="855821" y="101632"/>
                  </a:lnTo>
                  <a:lnTo>
                    <a:pt x="627602" y="315563"/>
                  </a:lnTo>
                  <a:lnTo>
                    <a:pt x="420719" y="315563"/>
                  </a:lnTo>
                  <a:lnTo>
                    <a:pt x="622268" y="0"/>
                  </a:lnTo>
                  <a:close/>
                </a:path>
              </a:pathLst>
            </a:custGeom>
            <a:solidFill>
              <a:srgbClr val="44505E"/>
            </a:solidFill>
            <a:ln w="9525" cap="flat">
              <a:noFill/>
              <a:prstDash val="solid"/>
              <a:miter/>
            </a:ln>
          </p:spPr>
          <p:txBody>
            <a:bodyPr rtlCol="0" anchor="ctr"/>
            <a:lstStyle/>
            <a:p>
              <a:endParaRPr lang="pt-BR" noProof="0"/>
            </a:p>
          </p:txBody>
        </p:sp>
        <p:sp>
          <p:nvSpPr>
            <p:cNvPr id="19" name="Freeform: Shape 18">
              <a:extLst>
                <a:ext uri="{FF2B5EF4-FFF2-40B4-BE49-F238E27FC236}">
                  <a16:creationId xmlns:a16="http://schemas.microsoft.com/office/drawing/2014/main" id="{68FB9A3F-3938-8407-B014-29E68A9A88AD}"/>
                </a:ext>
              </a:extLst>
            </p:cNvPr>
            <p:cNvSpPr/>
            <p:nvPr/>
          </p:nvSpPr>
          <p:spPr>
            <a:xfrm>
              <a:off x="6143795" y="313094"/>
              <a:ext cx="289101" cy="313764"/>
            </a:xfrm>
            <a:custGeom>
              <a:avLst/>
              <a:gdLst>
                <a:gd name="connsiteX0" fmla="*/ 0 w 1150048"/>
                <a:gd name="connsiteY0" fmla="*/ 0 h 1248155"/>
                <a:gd name="connsiteX1" fmla="*/ 486728 w 1150048"/>
                <a:gd name="connsiteY1" fmla="*/ 0 h 1248155"/>
                <a:gd name="connsiteX2" fmla="*/ 755047 w 1150048"/>
                <a:gd name="connsiteY2" fmla="*/ 47244 h 1248155"/>
                <a:gd name="connsiteX3" fmla="*/ 965454 w 1150048"/>
                <a:gd name="connsiteY3" fmla="*/ 178308 h 1248155"/>
                <a:gd name="connsiteX4" fmla="*/ 1101852 w 1150048"/>
                <a:gd name="connsiteY4" fmla="*/ 375380 h 1248155"/>
                <a:gd name="connsiteX5" fmla="*/ 1150049 w 1150048"/>
                <a:gd name="connsiteY5" fmla="*/ 620554 h 1248155"/>
                <a:gd name="connsiteX6" fmla="*/ 1150049 w 1150048"/>
                <a:gd name="connsiteY6" fmla="*/ 624173 h 1248155"/>
                <a:gd name="connsiteX7" fmla="*/ 1101852 w 1150048"/>
                <a:gd name="connsiteY7" fmla="*/ 870204 h 1248155"/>
                <a:gd name="connsiteX8" fmla="*/ 965454 w 1150048"/>
                <a:gd name="connsiteY8" fmla="*/ 1068134 h 1248155"/>
                <a:gd name="connsiteX9" fmla="*/ 755047 w 1150048"/>
                <a:gd name="connsiteY9" fmla="*/ 1200055 h 1248155"/>
                <a:gd name="connsiteX10" fmla="*/ 486728 w 1150048"/>
                <a:gd name="connsiteY10" fmla="*/ 1248156 h 1248155"/>
                <a:gd name="connsiteX11" fmla="*/ 0 w 1150048"/>
                <a:gd name="connsiteY11" fmla="*/ 1248156 h 1248155"/>
                <a:gd name="connsiteX12" fmla="*/ 0 w 1150048"/>
                <a:gd name="connsiteY12" fmla="*/ 0 h 1248155"/>
                <a:gd name="connsiteX13" fmla="*/ 486728 w 1150048"/>
                <a:gd name="connsiteY13" fmla="*/ 1000315 h 1248155"/>
                <a:gd name="connsiteX14" fmla="*/ 640080 w 1150048"/>
                <a:gd name="connsiteY14" fmla="*/ 973550 h 1248155"/>
                <a:gd name="connsiteX15" fmla="*/ 758667 w 1150048"/>
                <a:gd name="connsiteY15" fmla="*/ 896874 h 1248155"/>
                <a:gd name="connsiteX16" fmla="*/ 835343 w 1150048"/>
                <a:gd name="connsiteY16" fmla="*/ 779240 h 1248155"/>
                <a:gd name="connsiteX17" fmla="*/ 862965 w 1150048"/>
                <a:gd name="connsiteY17" fmla="*/ 627698 h 1248155"/>
                <a:gd name="connsiteX18" fmla="*/ 862965 w 1150048"/>
                <a:gd name="connsiteY18" fmla="*/ 624078 h 1248155"/>
                <a:gd name="connsiteX19" fmla="*/ 835343 w 1150048"/>
                <a:gd name="connsiteY19" fmla="*/ 472535 h 1248155"/>
                <a:gd name="connsiteX20" fmla="*/ 758667 w 1150048"/>
                <a:gd name="connsiteY20" fmla="*/ 353092 h 1248155"/>
                <a:gd name="connsiteX21" fmla="*/ 640080 w 1150048"/>
                <a:gd name="connsiteY21" fmla="*/ 275558 h 1248155"/>
                <a:gd name="connsiteX22" fmla="*/ 486728 w 1150048"/>
                <a:gd name="connsiteY22" fmla="*/ 247936 h 1248155"/>
                <a:gd name="connsiteX23" fmla="*/ 274511 w 1150048"/>
                <a:gd name="connsiteY23" fmla="*/ 247936 h 1248155"/>
                <a:gd name="connsiteX24" fmla="*/ 274511 w 1150048"/>
                <a:gd name="connsiteY24" fmla="*/ 1000411 h 1248155"/>
                <a:gd name="connsiteX25" fmla="*/ 486728 w 1150048"/>
                <a:gd name="connsiteY25" fmla="*/ 1000411 h 124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50048" h="1248155">
                  <a:moveTo>
                    <a:pt x="0" y="0"/>
                  </a:moveTo>
                  <a:lnTo>
                    <a:pt x="486728" y="0"/>
                  </a:lnTo>
                  <a:cubicBezTo>
                    <a:pt x="584168" y="0"/>
                    <a:pt x="673608" y="15811"/>
                    <a:pt x="755047" y="47244"/>
                  </a:cubicBezTo>
                  <a:cubicBezTo>
                    <a:pt x="836486" y="78772"/>
                    <a:pt x="906590" y="122396"/>
                    <a:pt x="965454" y="178308"/>
                  </a:cubicBezTo>
                  <a:cubicBezTo>
                    <a:pt x="1024319" y="234220"/>
                    <a:pt x="1069753" y="299847"/>
                    <a:pt x="1101852" y="375380"/>
                  </a:cubicBezTo>
                  <a:cubicBezTo>
                    <a:pt x="1133951" y="450914"/>
                    <a:pt x="1150049" y="532543"/>
                    <a:pt x="1150049" y="620554"/>
                  </a:cubicBezTo>
                  <a:lnTo>
                    <a:pt x="1150049" y="624173"/>
                  </a:lnTo>
                  <a:cubicBezTo>
                    <a:pt x="1150049" y="712184"/>
                    <a:pt x="1133951" y="794195"/>
                    <a:pt x="1101852" y="870204"/>
                  </a:cubicBezTo>
                  <a:cubicBezTo>
                    <a:pt x="1069753" y="946309"/>
                    <a:pt x="1024319" y="1012222"/>
                    <a:pt x="965454" y="1068134"/>
                  </a:cubicBezTo>
                  <a:cubicBezTo>
                    <a:pt x="906590" y="1124045"/>
                    <a:pt x="836486" y="1167956"/>
                    <a:pt x="755047" y="1200055"/>
                  </a:cubicBezTo>
                  <a:cubicBezTo>
                    <a:pt x="673608" y="1232154"/>
                    <a:pt x="584168" y="1248156"/>
                    <a:pt x="486728" y="1248156"/>
                  </a:cubicBezTo>
                  <a:lnTo>
                    <a:pt x="0" y="1248156"/>
                  </a:lnTo>
                  <a:lnTo>
                    <a:pt x="0" y="0"/>
                  </a:lnTo>
                  <a:close/>
                  <a:moveTo>
                    <a:pt x="486728" y="1000315"/>
                  </a:moveTo>
                  <a:cubicBezTo>
                    <a:pt x="542639" y="1000315"/>
                    <a:pt x="593693" y="991457"/>
                    <a:pt x="640080" y="973550"/>
                  </a:cubicBezTo>
                  <a:cubicBezTo>
                    <a:pt x="686467" y="955739"/>
                    <a:pt x="725900" y="930211"/>
                    <a:pt x="758667" y="896874"/>
                  </a:cubicBezTo>
                  <a:cubicBezTo>
                    <a:pt x="791337" y="863632"/>
                    <a:pt x="816864" y="824389"/>
                    <a:pt x="835343" y="779240"/>
                  </a:cubicBezTo>
                  <a:cubicBezTo>
                    <a:pt x="853726" y="734092"/>
                    <a:pt x="862965" y="683609"/>
                    <a:pt x="862965" y="627698"/>
                  </a:cubicBezTo>
                  <a:lnTo>
                    <a:pt x="862965" y="624078"/>
                  </a:lnTo>
                  <a:cubicBezTo>
                    <a:pt x="862965" y="569404"/>
                    <a:pt x="853726" y="518827"/>
                    <a:pt x="835343" y="472535"/>
                  </a:cubicBezTo>
                  <a:cubicBezTo>
                    <a:pt x="816864" y="426149"/>
                    <a:pt x="791337" y="386334"/>
                    <a:pt x="758667" y="353092"/>
                  </a:cubicBezTo>
                  <a:cubicBezTo>
                    <a:pt x="725996" y="319849"/>
                    <a:pt x="686467" y="293941"/>
                    <a:pt x="640080" y="275558"/>
                  </a:cubicBezTo>
                  <a:cubicBezTo>
                    <a:pt x="593693" y="257175"/>
                    <a:pt x="542639" y="247936"/>
                    <a:pt x="486728" y="247936"/>
                  </a:cubicBezTo>
                  <a:lnTo>
                    <a:pt x="274511" y="247936"/>
                  </a:lnTo>
                  <a:lnTo>
                    <a:pt x="274511" y="1000411"/>
                  </a:lnTo>
                  <a:lnTo>
                    <a:pt x="486728" y="1000411"/>
                  </a:lnTo>
                  <a:close/>
                </a:path>
              </a:pathLst>
            </a:custGeom>
            <a:solidFill>
              <a:srgbClr val="44505E"/>
            </a:solidFill>
            <a:ln w="9525" cap="flat">
              <a:noFill/>
              <a:prstDash val="solid"/>
              <a:miter/>
            </a:ln>
          </p:spPr>
          <p:txBody>
            <a:bodyPr rtlCol="0" anchor="ctr"/>
            <a:lstStyle/>
            <a:p>
              <a:endParaRPr lang="pt-BR" noProof="0"/>
            </a:p>
          </p:txBody>
        </p:sp>
        <p:sp>
          <p:nvSpPr>
            <p:cNvPr id="20" name="Freeform: Shape 19">
              <a:extLst>
                <a:ext uri="{FF2B5EF4-FFF2-40B4-BE49-F238E27FC236}">
                  <a16:creationId xmlns:a16="http://schemas.microsoft.com/office/drawing/2014/main" id="{EC13A3C7-82EF-FE96-0197-32CAE75DA6BF}"/>
                </a:ext>
              </a:extLst>
            </p:cNvPr>
            <p:cNvSpPr/>
            <p:nvPr/>
          </p:nvSpPr>
          <p:spPr>
            <a:xfrm>
              <a:off x="6460217" y="313094"/>
              <a:ext cx="238459" cy="313788"/>
            </a:xfrm>
            <a:custGeom>
              <a:avLst/>
              <a:gdLst>
                <a:gd name="connsiteX0" fmla="*/ 95 w 948594"/>
                <a:gd name="connsiteY0" fmla="*/ 0 h 1248251"/>
                <a:gd name="connsiteX1" fmla="*/ 939737 w 948594"/>
                <a:gd name="connsiteY1" fmla="*/ 0 h 1248251"/>
                <a:gd name="connsiteX2" fmla="*/ 939737 w 948594"/>
                <a:gd name="connsiteY2" fmla="*/ 244316 h 1248251"/>
                <a:gd name="connsiteX3" fmla="*/ 271081 w 948594"/>
                <a:gd name="connsiteY3" fmla="*/ 244316 h 1248251"/>
                <a:gd name="connsiteX4" fmla="*/ 271081 w 948594"/>
                <a:gd name="connsiteY4" fmla="*/ 497491 h 1248251"/>
                <a:gd name="connsiteX5" fmla="*/ 859441 w 948594"/>
                <a:gd name="connsiteY5" fmla="*/ 497491 h 1248251"/>
                <a:gd name="connsiteX6" fmla="*/ 859441 w 948594"/>
                <a:gd name="connsiteY6" fmla="*/ 741807 h 1248251"/>
                <a:gd name="connsiteX7" fmla="*/ 271081 w 948594"/>
                <a:gd name="connsiteY7" fmla="*/ 741807 h 1248251"/>
                <a:gd name="connsiteX8" fmla="*/ 271081 w 948594"/>
                <a:gd name="connsiteY8" fmla="*/ 1003935 h 1248251"/>
                <a:gd name="connsiteX9" fmla="*/ 948595 w 948594"/>
                <a:gd name="connsiteY9" fmla="*/ 1003935 h 1248251"/>
                <a:gd name="connsiteX10" fmla="*/ 948595 w 948594"/>
                <a:gd name="connsiteY10" fmla="*/ 1248251 h 1248251"/>
                <a:gd name="connsiteX11" fmla="*/ 0 w 948594"/>
                <a:gd name="connsiteY11" fmla="*/ 1248251 h 1248251"/>
                <a:gd name="connsiteX12" fmla="*/ 0 w 948594"/>
                <a:gd name="connsiteY12" fmla="*/ 0 h 124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594" h="1248251">
                  <a:moveTo>
                    <a:pt x="95" y="0"/>
                  </a:moveTo>
                  <a:lnTo>
                    <a:pt x="939737" y="0"/>
                  </a:lnTo>
                  <a:lnTo>
                    <a:pt x="939737" y="244316"/>
                  </a:lnTo>
                  <a:lnTo>
                    <a:pt x="271081" y="244316"/>
                  </a:lnTo>
                  <a:lnTo>
                    <a:pt x="271081" y="497491"/>
                  </a:lnTo>
                  <a:lnTo>
                    <a:pt x="859441" y="497491"/>
                  </a:lnTo>
                  <a:lnTo>
                    <a:pt x="859441" y="741807"/>
                  </a:lnTo>
                  <a:lnTo>
                    <a:pt x="271081" y="741807"/>
                  </a:lnTo>
                  <a:lnTo>
                    <a:pt x="271081" y="1003935"/>
                  </a:lnTo>
                  <a:lnTo>
                    <a:pt x="948595" y="1003935"/>
                  </a:lnTo>
                  <a:lnTo>
                    <a:pt x="948595" y="1248251"/>
                  </a:lnTo>
                  <a:lnTo>
                    <a:pt x="0" y="1248251"/>
                  </a:lnTo>
                  <a:lnTo>
                    <a:pt x="0" y="0"/>
                  </a:lnTo>
                  <a:close/>
                </a:path>
              </a:pathLst>
            </a:custGeom>
            <a:solidFill>
              <a:srgbClr val="44505E"/>
            </a:solidFill>
            <a:ln w="9525" cap="flat">
              <a:noFill/>
              <a:prstDash val="solid"/>
              <a:miter/>
            </a:ln>
          </p:spPr>
          <p:txBody>
            <a:bodyPr rtlCol="0" anchor="ctr"/>
            <a:lstStyle/>
            <a:p>
              <a:endParaRPr lang="pt-BR" noProof="0"/>
            </a:p>
          </p:txBody>
        </p:sp>
        <p:sp>
          <p:nvSpPr>
            <p:cNvPr id="21" name="Freeform: Shape 20">
              <a:extLst>
                <a:ext uri="{FF2B5EF4-FFF2-40B4-BE49-F238E27FC236}">
                  <a16:creationId xmlns:a16="http://schemas.microsoft.com/office/drawing/2014/main" id="{56B83F4A-5967-2248-96DE-360176EEB13A}"/>
                </a:ext>
              </a:extLst>
            </p:cNvPr>
            <p:cNvSpPr/>
            <p:nvPr/>
          </p:nvSpPr>
          <p:spPr>
            <a:xfrm>
              <a:off x="5253193" y="699983"/>
              <a:ext cx="90796" cy="97883"/>
            </a:xfrm>
            <a:custGeom>
              <a:avLst/>
              <a:gdLst>
                <a:gd name="connsiteX0" fmla="*/ 191548 w 361187"/>
                <a:gd name="connsiteY0" fmla="*/ 389382 h 389381"/>
                <a:gd name="connsiteX1" fmla="*/ 116300 w 361187"/>
                <a:gd name="connsiteY1" fmla="*/ 375285 h 389381"/>
                <a:gd name="connsiteX2" fmla="*/ 55531 w 361187"/>
                <a:gd name="connsiteY2" fmla="*/ 335756 h 389381"/>
                <a:gd name="connsiteX3" fmla="*/ 14859 w 361187"/>
                <a:gd name="connsiteY3" fmla="*/ 274606 h 389381"/>
                <a:gd name="connsiteX4" fmla="*/ 0 w 361187"/>
                <a:gd name="connsiteY4" fmla="*/ 195834 h 389381"/>
                <a:gd name="connsiteX5" fmla="*/ 0 w 361187"/>
                <a:gd name="connsiteY5" fmla="*/ 194405 h 389381"/>
                <a:gd name="connsiteX6" fmla="*/ 13430 w 361187"/>
                <a:gd name="connsiteY6" fmla="*/ 118777 h 389381"/>
                <a:gd name="connsiteX7" fmla="*/ 51245 w 361187"/>
                <a:gd name="connsiteY7" fmla="*/ 56959 h 389381"/>
                <a:gd name="connsiteX8" fmla="*/ 108871 w 361187"/>
                <a:gd name="connsiteY8" fmla="*/ 15240 h 389381"/>
                <a:gd name="connsiteX9" fmla="*/ 182404 w 361187"/>
                <a:gd name="connsiteY9" fmla="*/ 0 h 389381"/>
                <a:gd name="connsiteX10" fmla="*/ 260509 w 361187"/>
                <a:gd name="connsiteY10" fmla="*/ 16288 h 389381"/>
                <a:gd name="connsiteX11" fmla="*/ 316325 w 361187"/>
                <a:gd name="connsiteY11" fmla="*/ 60103 h 389381"/>
                <a:gd name="connsiteX12" fmla="*/ 349853 w 361187"/>
                <a:gd name="connsiteY12" fmla="*/ 124015 h 389381"/>
                <a:gd name="connsiteX13" fmla="*/ 361188 w 361187"/>
                <a:gd name="connsiteY13" fmla="*/ 200692 h 389381"/>
                <a:gd name="connsiteX14" fmla="*/ 360807 w 361187"/>
                <a:gd name="connsiteY14" fmla="*/ 212312 h 389381"/>
                <a:gd name="connsiteX15" fmla="*/ 359759 w 361187"/>
                <a:gd name="connsiteY15" fmla="*/ 224695 h 389381"/>
                <a:gd name="connsiteX16" fmla="*/ 85534 w 361187"/>
                <a:gd name="connsiteY16" fmla="*/ 224695 h 389381"/>
                <a:gd name="connsiteX17" fmla="*/ 121920 w 361187"/>
                <a:gd name="connsiteY17" fmla="*/ 294989 h 389381"/>
                <a:gd name="connsiteX18" fmla="*/ 192977 w 361187"/>
                <a:gd name="connsiteY18" fmla="*/ 319373 h 389381"/>
                <a:gd name="connsiteX19" fmla="*/ 248126 w 361187"/>
                <a:gd name="connsiteY19" fmla="*/ 308038 h 389381"/>
                <a:gd name="connsiteX20" fmla="*/ 294037 w 361187"/>
                <a:gd name="connsiteY20" fmla="*/ 274796 h 389381"/>
                <a:gd name="connsiteX21" fmla="*/ 344234 w 361187"/>
                <a:gd name="connsiteY21" fmla="*/ 319278 h 389381"/>
                <a:gd name="connsiteX22" fmla="*/ 280226 w 361187"/>
                <a:gd name="connsiteY22" fmla="*/ 370141 h 389381"/>
                <a:gd name="connsiteX23" fmla="*/ 191548 w 361187"/>
                <a:gd name="connsiteY23" fmla="*/ 389191 h 389381"/>
                <a:gd name="connsiteX24" fmla="*/ 276320 w 361187"/>
                <a:gd name="connsiteY24" fmla="*/ 168211 h 389381"/>
                <a:gd name="connsiteX25" fmla="*/ 267176 w 361187"/>
                <a:gd name="connsiteY25" fmla="*/ 129730 h 389381"/>
                <a:gd name="connsiteX26" fmla="*/ 248126 w 361187"/>
                <a:gd name="connsiteY26" fmla="*/ 98679 h 389381"/>
                <a:gd name="connsiteX27" fmla="*/ 219551 w 361187"/>
                <a:gd name="connsiteY27" fmla="*/ 77819 h 389381"/>
                <a:gd name="connsiteX28" fmla="*/ 181737 w 361187"/>
                <a:gd name="connsiteY28" fmla="*/ 70009 h 389381"/>
                <a:gd name="connsiteX29" fmla="*/ 116396 w 361187"/>
                <a:gd name="connsiteY29" fmla="*/ 97250 h 389381"/>
                <a:gd name="connsiteX30" fmla="*/ 84963 w 361187"/>
                <a:gd name="connsiteY30" fmla="*/ 168307 h 389381"/>
                <a:gd name="connsiteX31" fmla="*/ 276511 w 361187"/>
                <a:gd name="connsiteY31" fmla="*/ 168307 h 38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187" h="389381">
                  <a:moveTo>
                    <a:pt x="191548" y="389382"/>
                  </a:moveTo>
                  <a:cubicBezTo>
                    <a:pt x="164687" y="389382"/>
                    <a:pt x="139637" y="384715"/>
                    <a:pt x="116300" y="375285"/>
                  </a:cubicBezTo>
                  <a:cubicBezTo>
                    <a:pt x="92964" y="365855"/>
                    <a:pt x="72771" y="352711"/>
                    <a:pt x="55531" y="335756"/>
                  </a:cubicBezTo>
                  <a:cubicBezTo>
                    <a:pt x="38291" y="318802"/>
                    <a:pt x="24765" y="298418"/>
                    <a:pt x="14859" y="274606"/>
                  </a:cubicBezTo>
                  <a:cubicBezTo>
                    <a:pt x="4953" y="250793"/>
                    <a:pt x="0" y="224599"/>
                    <a:pt x="0" y="195834"/>
                  </a:cubicBezTo>
                  <a:lnTo>
                    <a:pt x="0" y="194405"/>
                  </a:lnTo>
                  <a:cubicBezTo>
                    <a:pt x="0" y="167545"/>
                    <a:pt x="4477" y="142399"/>
                    <a:pt x="13430" y="118777"/>
                  </a:cubicBezTo>
                  <a:cubicBezTo>
                    <a:pt x="22384" y="95250"/>
                    <a:pt x="34957" y="74581"/>
                    <a:pt x="51245" y="56959"/>
                  </a:cubicBezTo>
                  <a:cubicBezTo>
                    <a:pt x="67532" y="39338"/>
                    <a:pt x="86677" y="25432"/>
                    <a:pt x="108871" y="15240"/>
                  </a:cubicBezTo>
                  <a:cubicBezTo>
                    <a:pt x="131064" y="5143"/>
                    <a:pt x="155543" y="0"/>
                    <a:pt x="182404" y="0"/>
                  </a:cubicBezTo>
                  <a:cubicBezTo>
                    <a:pt x="212122" y="0"/>
                    <a:pt x="238125" y="5429"/>
                    <a:pt x="260509" y="16288"/>
                  </a:cubicBezTo>
                  <a:cubicBezTo>
                    <a:pt x="282893" y="27146"/>
                    <a:pt x="301466" y="41719"/>
                    <a:pt x="316325" y="60103"/>
                  </a:cubicBezTo>
                  <a:cubicBezTo>
                    <a:pt x="331184" y="78486"/>
                    <a:pt x="342329" y="99822"/>
                    <a:pt x="349853" y="124015"/>
                  </a:cubicBezTo>
                  <a:cubicBezTo>
                    <a:pt x="357378" y="148304"/>
                    <a:pt x="361188" y="173831"/>
                    <a:pt x="361188" y="200692"/>
                  </a:cubicBezTo>
                  <a:cubicBezTo>
                    <a:pt x="361188" y="204502"/>
                    <a:pt x="361093" y="208312"/>
                    <a:pt x="360807" y="212312"/>
                  </a:cubicBezTo>
                  <a:cubicBezTo>
                    <a:pt x="360521" y="216313"/>
                    <a:pt x="360236" y="220409"/>
                    <a:pt x="359759" y="224695"/>
                  </a:cubicBezTo>
                  <a:lnTo>
                    <a:pt x="85534" y="224695"/>
                  </a:lnTo>
                  <a:cubicBezTo>
                    <a:pt x="90202" y="255365"/>
                    <a:pt x="102394" y="278797"/>
                    <a:pt x="121920" y="294989"/>
                  </a:cubicBezTo>
                  <a:cubicBezTo>
                    <a:pt x="141446" y="311277"/>
                    <a:pt x="165164" y="319373"/>
                    <a:pt x="192977" y="319373"/>
                  </a:cubicBezTo>
                  <a:cubicBezTo>
                    <a:pt x="214217" y="319373"/>
                    <a:pt x="232505" y="315563"/>
                    <a:pt x="248126" y="308038"/>
                  </a:cubicBezTo>
                  <a:cubicBezTo>
                    <a:pt x="263652" y="300514"/>
                    <a:pt x="278987" y="289465"/>
                    <a:pt x="294037" y="274796"/>
                  </a:cubicBezTo>
                  <a:lnTo>
                    <a:pt x="344234" y="319278"/>
                  </a:lnTo>
                  <a:cubicBezTo>
                    <a:pt x="326327" y="340519"/>
                    <a:pt x="304991" y="357473"/>
                    <a:pt x="280226" y="370141"/>
                  </a:cubicBezTo>
                  <a:cubicBezTo>
                    <a:pt x="255461" y="382810"/>
                    <a:pt x="225933" y="389191"/>
                    <a:pt x="191548" y="389191"/>
                  </a:cubicBezTo>
                  <a:close/>
                  <a:moveTo>
                    <a:pt x="276320" y="168211"/>
                  </a:moveTo>
                  <a:cubicBezTo>
                    <a:pt x="274892" y="154591"/>
                    <a:pt x="271844" y="141732"/>
                    <a:pt x="267176" y="129730"/>
                  </a:cubicBezTo>
                  <a:cubicBezTo>
                    <a:pt x="262414" y="117729"/>
                    <a:pt x="256127" y="107347"/>
                    <a:pt x="248126" y="98679"/>
                  </a:cubicBezTo>
                  <a:cubicBezTo>
                    <a:pt x="240125" y="89916"/>
                    <a:pt x="230600" y="82963"/>
                    <a:pt x="219551" y="77819"/>
                  </a:cubicBezTo>
                  <a:cubicBezTo>
                    <a:pt x="208502" y="72676"/>
                    <a:pt x="195834" y="70009"/>
                    <a:pt x="181737" y="70009"/>
                  </a:cubicBezTo>
                  <a:cubicBezTo>
                    <a:pt x="155353" y="70009"/>
                    <a:pt x="133541" y="79057"/>
                    <a:pt x="116396" y="97250"/>
                  </a:cubicBezTo>
                  <a:cubicBezTo>
                    <a:pt x="99155" y="115348"/>
                    <a:pt x="88678" y="139065"/>
                    <a:pt x="84963" y="168307"/>
                  </a:cubicBezTo>
                  <a:lnTo>
                    <a:pt x="276511" y="168307"/>
                  </a:lnTo>
                  <a:close/>
                </a:path>
              </a:pathLst>
            </a:custGeom>
            <a:solidFill>
              <a:srgbClr val="44505E"/>
            </a:solidFill>
            <a:ln w="9525" cap="flat">
              <a:noFill/>
              <a:prstDash val="solid"/>
              <a:miter/>
            </a:ln>
          </p:spPr>
          <p:txBody>
            <a:bodyPr rtlCol="0" anchor="ctr"/>
            <a:lstStyle/>
            <a:p>
              <a:endParaRPr lang="pt-BR" noProof="0"/>
            </a:p>
          </p:txBody>
        </p:sp>
        <p:sp>
          <p:nvSpPr>
            <p:cNvPr id="22" name="Freeform: Shape 21">
              <a:extLst>
                <a:ext uri="{FF2B5EF4-FFF2-40B4-BE49-F238E27FC236}">
                  <a16:creationId xmlns:a16="http://schemas.microsoft.com/office/drawing/2014/main" id="{1934D91D-C925-F473-33BD-31CA2FFF68E4}"/>
                </a:ext>
              </a:extLst>
            </p:cNvPr>
            <p:cNvSpPr/>
            <p:nvPr/>
          </p:nvSpPr>
          <p:spPr>
            <a:xfrm>
              <a:off x="5365659"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5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8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3 w 568166"/>
                <a:gd name="connsiteY21" fmla="*/ 381000 h 381000"/>
                <a:gd name="connsiteX22" fmla="*/ 240983 w 568166"/>
                <a:gd name="connsiteY22" fmla="*/ 168783 h 381000"/>
                <a:gd name="connsiteX23" fmla="*/ 221266 w 568166"/>
                <a:gd name="connsiteY23" fmla="*/ 101822 h 381000"/>
                <a:gd name="connsiteX24" fmla="*/ 165640 w 568166"/>
                <a:gd name="connsiteY24" fmla="*/ 78581 h 381000"/>
                <a:gd name="connsiteX25" fmla="*/ 108014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70" y="48196"/>
                    <a:pt x="105918" y="40576"/>
                  </a:cubicBezTo>
                  <a:cubicBezTo>
                    <a:pt x="112967" y="32956"/>
                    <a:pt x="121063" y="26099"/>
                    <a:pt x="130207" y="19907"/>
                  </a:cubicBezTo>
                  <a:cubicBezTo>
                    <a:pt x="139351" y="13716"/>
                    <a:pt x="149733" y="8858"/>
                    <a:pt x="161163" y="5334"/>
                  </a:cubicBezTo>
                  <a:cubicBezTo>
                    <a:pt x="172688" y="1714"/>
                    <a:pt x="185452" y="0"/>
                    <a:pt x="199549" y="0"/>
                  </a:cubicBezTo>
                  <a:cubicBezTo>
                    <a:pt x="226314" y="0"/>
                    <a:pt x="248984" y="6096"/>
                    <a:pt x="267557" y="18193"/>
                  </a:cubicBezTo>
                  <a:cubicBezTo>
                    <a:pt x="286131" y="30289"/>
                    <a:pt x="300323" y="46387"/>
                    <a:pt x="310134" y="66294"/>
                  </a:cubicBezTo>
                  <a:cubicBezTo>
                    <a:pt x="325279" y="46387"/>
                    <a:pt x="343091" y="30289"/>
                    <a:pt x="363665" y="18193"/>
                  </a:cubicBezTo>
                  <a:cubicBezTo>
                    <a:pt x="384239" y="6096"/>
                    <a:pt x="408718" y="0"/>
                    <a:pt x="437007" y="0"/>
                  </a:cubicBezTo>
                  <a:cubicBezTo>
                    <a:pt x="478060"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8" y="78486"/>
                  </a:cubicBezTo>
                  <a:cubicBezTo>
                    <a:pt x="382810" y="78486"/>
                    <a:pt x="364141" y="86392"/>
                    <a:pt x="349377" y="102108"/>
                  </a:cubicBezTo>
                  <a:cubicBezTo>
                    <a:pt x="334613" y="117824"/>
                    <a:pt x="327184" y="140779"/>
                    <a:pt x="327184" y="170879"/>
                  </a:cubicBezTo>
                  <a:lnTo>
                    <a:pt x="327184" y="381000"/>
                  </a:lnTo>
                  <a:lnTo>
                    <a:pt x="240983" y="381000"/>
                  </a:lnTo>
                  <a:lnTo>
                    <a:pt x="240983" y="168783"/>
                  </a:lnTo>
                  <a:cubicBezTo>
                    <a:pt x="240983" y="139637"/>
                    <a:pt x="234410" y="117348"/>
                    <a:pt x="221266" y="101822"/>
                  </a:cubicBezTo>
                  <a:cubicBezTo>
                    <a:pt x="208121" y="86296"/>
                    <a:pt x="189643" y="78581"/>
                    <a:pt x="165640" y="78581"/>
                  </a:cubicBezTo>
                  <a:cubicBezTo>
                    <a:pt x="141637" y="78581"/>
                    <a:pt x="122492" y="86773"/>
                    <a:pt x="108014"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23" name="Freeform: Shape 22">
              <a:extLst>
                <a:ext uri="{FF2B5EF4-FFF2-40B4-BE49-F238E27FC236}">
                  <a16:creationId xmlns:a16="http://schemas.microsoft.com/office/drawing/2014/main" id="{57B87108-534C-CE14-E489-75D3F086BD19}"/>
                </a:ext>
              </a:extLst>
            </p:cNvPr>
            <p:cNvSpPr/>
            <p:nvPr/>
          </p:nvSpPr>
          <p:spPr>
            <a:xfrm>
              <a:off x="5587693" y="700007"/>
              <a:ext cx="84211" cy="95752"/>
            </a:xfrm>
            <a:custGeom>
              <a:avLst/>
              <a:gdLst>
                <a:gd name="connsiteX0" fmla="*/ 95 w 334994"/>
                <a:gd name="connsiteY0" fmla="*/ 7715 h 380904"/>
                <a:gd name="connsiteX1" fmla="*/ 86296 w 334994"/>
                <a:gd name="connsiteY1" fmla="*/ 7715 h 380904"/>
                <a:gd name="connsiteX2" fmla="*/ 86296 w 334994"/>
                <a:gd name="connsiteY2" fmla="*/ 66294 h 380904"/>
                <a:gd name="connsiteX3" fmla="*/ 106394 w 334994"/>
                <a:gd name="connsiteY3" fmla="*/ 40958 h 380904"/>
                <a:gd name="connsiteX4" fmla="*/ 131731 w 334994"/>
                <a:gd name="connsiteY4" fmla="*/ 19907 h 380904"/>
                <a:gd name="connsiteX5" fmla="*/ 163449 w 334994"/>
                <a:gd name="connsiteY5" fmla="*/ 5334 h 380904"/>
                <a:gd name="connsiteX6" fmla="*/ 202597 w 334994"/>
                <a:gd name="connsiteY6" fmla="*/ 0 h 380904"/>
                <a:gd name="connsiteX7" fmla="*/ 300514 w 334994"/>
                <a:gd name="connsiteY7" fmla="*/ 38862 h 380904"/>
                <a:gd name="connsiteX8" fmla="*/ 334994 w 334994"/>
                <a:gd name="connsiteY8" fmla="*/ 143446 h 380904"/>
                <a:gd name="connsiteX9" fmla="*/ 334994 w 334994"/>
                <a:gd name="connsiteY9" fmla="*/ 380905 h 380904"/>
                <a:gd name="connsiteX10" fmla="*/ 248793 w 334994"/>
                <a:gd name="connsiteY10" fmla="*/ 380905 h 380904"/>
                <a:gd name="connsiteX11" fmla="*/ 248793 w 334994"/>
                <a:gd name="connsiteY11" fmla="*/ 169450 h 380904"/>
                <a:gd name="connsiteX12" fmla="*/ 228124 w 334994"/>
                <a:gd name="connsiteY12" fmla="*/ 102108 h 380904"/>
                <a:gd name="connsiteX13" fmla="*/ 169640 w 334994"/>
                <a:gd name="connsiteY13" fmla="*/ 78486 h 380904"/>
                <a:gd name="connsiteX14" fmla="*/ 109347 w 334994"/>
                <a:gd name="connsiteY14" fmla="*/ 102775 h 380904"/>
                <a:gd name="connsiteX15" fmla="*/ 86201 w 334994"/>
                <a:gd name="connsiteY15" fmla="*/ 170783 h 380904"/>
                <a:gd name="connsiteX16" fmla="*/ 86201 w 334994"/>
                <a:gd name="connsiteY16" fmla="*/ 380905 h 380904"/>
                <a:gd name="connsiteX17" fmla="*/ 0 w 334994"/>
                <a:gd name="connsiteY17" fmla="*/ 380905 h 380904"/>
                <a:gd name="connsiteX18" fmla="*/ 0 w 334994"/>
                <a:gd name="connsiteY18" fmla="*/ 7810 h 38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94" h="380904">
                  <a:moveTo>
                    <a:pt x="95" y="7715"/>
                  </a:moveTo>
                  <a:lnTo>
                    <a:pt x="86296" y="7715"/>
                  </a:lnTo>
                  <a:lnTo>
                    <a:pt x="86296" y="66294"/>
                  </a:lnTo>
                  <a:cubicBezTo>
                    <a:pt x="92392" y="57245"/>
                    <a:pt x="99060" y="48863"/>
                    <a:pt x="106394" y="40958"/>
                  </a:cubicBezTo>
                  <a:cubicBezTo>
                    <a:pt x="113633" y="33147"/>
                    <a:pt x="122110" y="26099"/>
                    <a:pt x="131731" y="19907"/>
                  </a:cubicBezTo>
                  <a:cubicBezTo>
                    <a:pt x="141351" y="13716"/>
                    <a:pt x="151924" y="8858"/>
                    <a:pt x="163449" y="5334"/>
                  </a:cubicBezTo>
                  <a:cubicBezTo>
                    <a:pt x="174974" y="1714"/>
                    <a:pt x="188024" y="0"/>
                    <a:pt x="202597" y="0"/>
                  </a:cubicBezTo>
                  <a:cubicBezTo>
                    <a:pt x="244888" y="0"/>
                    <a:pt x="277559" y="12954"/>
                    <a:pt x="300514" y="38862"/>
                  </a:cubicBezTo>
                  <a:cubicBezTo>
                    <a:pt x="323564" y="64770"/>
                    <a:pt x="334994" y="99631"/>
                    <a:pt x="334994" y="143446"/>
                  </a:cubicBezTo>
                  <a:lnTo>
                    <a:pt x="334994" y="380905"/>
                  </a:lnTo>
                  <a:lnTo>
                    <a:pt x="248793" y="380905"/>
                  </a:lnTo>
                  <a:lnTo>
                    <a:pt x="248793" y="169450"/>
                  </a:lnTo>
                  <a:cubicBezTo>
                    <a:pt x="248793" y="140303"/>
                    <a:pt x="241935" y="117824"/>
                    <a:pt x="228124" y="102108"/>
                  </a:cubicBezTo>
                  <a:cubicBezTo>
                    <a:pt x="214313" y="86392"/>
                    <a:pt x="194881" y="78486"/>
                    <a:pt x="169640" y="78486"/>
                  </a:cubicBezTo>
                  <a:cubicBezTo>
                    <a:pt x="144399" y="78486"/>
                    <a:pt x="124777" y="86582"/>
                    <a:pt x="109347" y="102775"/>
                  </a:cubicBezTo>
                  <a:cubicBezTo>
                    <a:pt x="93917" y="118967"/>
                    <a:pt x="86201" y="141637"/>
                    <a:pt x="86201" y="170783"/>
                  </a:cubicBezTo>
                  <a:lnTo>
                    <a:pt x="86201" y="380905"/>
                  </a:lnTo>
                  <a:lnTo>
                    <a:pt x="0" y="380905"/>
                  </a:lnTo>
                  <a:lnTo>
                    <a:pt x="0" y="7810"/>
                  </a:lnTo>
                  <a:close/>
                </a:path>
              </a:pathLst>
            </a:custGeom>
            <a:solidFill>
              <a:srgbClr val="44505E"/>
            </a:solidFill>
            <a:ln w="9525" cap="flat">
              <a:noFill/>
              <a:prstDash val="solid"/>
              <a:miter/>
            </a:ln>
          </p:spPr>
          <p:txBody>
            <a:bodyPr rtlCol="0" anchor="ctr"/>
            <a:lstStyle/>
            <a:p>
              <a:endParaRPr lang="pt-BR" noProof="0"/>
            </a:p>
          </p:txBody>
        </p:sp>
        <p:sp>
          <p:nvSpPr>
            <p:cNvPr id="24" name="Freeform: Shape 23">
              <a:extLst>
                <a:ext uri="{FF2B5EF4-FFF2-40B4-BE49-F238E27FC236}">
                  <a16:creationId xmlns:a16="http://schemas.microsoft.com/office/drawing/2014/main" id="{4598B1A2-73F0-AAB8-6FA3-1662FC804D1E}"/>
                </a:ext>
              </a:extLst>
            </p:cNvPr>
            <p:cNvSpPr/>
            <p:nvPr/>
          </p:nvSpPr>
          <p:spPr>
            <a:xfrm>
              <a:off x="5692712" y="699959"/>
              <a:ext cx="100015" cy="97908"/>
            </a:xfrm>
            <a:custGeom>
              <a:avLst/>
              <a:gdLst>
                <a:gd name="connsiteX0" fmla="*/ 197834 w 397859"/>
                <a:gd name="connsiteY0" fmla="*/ 389477 h 389477"/>
                <a:gd name="connsiteX1" fmla="*/ 119063 w 397859"/>
                <a:gd name="connsiteY1" fmla="*/ 374237 h 389477"/>
                <a:gd name="connsiteX2" fmla="*/ 56197 w 397859"/>
                <a:gd name="connsiteY2" fmla="*/ 332899 h 389477"/>
                <a:gd name="connsiteX3" fmla="*/ 14859 w 397859"/>
                <a:gd name="connsiteY3" fmla="*/ 271463 h 389477"/>
                <a:gd name="connsiteX4" fmla="*/ 0 w 397859"/>
                <a:gd name="connsiteY4" fmla="*/ 196501 h 389477"/>
                <a:gd name="connsiteX5" fmla="*/ 0 w 397859"/>
                <a:gd name="connsiteY5" fmla="*/ 195072 h 389477"/>
                <a:gd name="connsiteX6" fmla="*/ 15145 w 397859"/>
                <a:gd name="connsiteY6" fmla="*/ 119444 h 389477"/>
                <a:gd name="connsiteX7" fmla="*/ 56864 w 397859"/>
                <a:gd name="connsiteY7" fmla="*/ 57626 h 389477"/>
                <a:gd name="connsiteX8" fmla="*/ 119729 w 397859"/>
                <a:gd name="connsiteY8" fmla="*/ 15526 h 389477"/>
                <a:gd name="connsiteX9" fmla="*/ 199263 w 397859"/>
                <a:gd name="connsiteY9" fmla="*/ 0 h 389477"/>
                <a:gd name="connsiteX10" fmla="*/ 278797 w 397859"/>
                <a:gd name="connsiteY10" fmla="*/ 15240 h 389477"/>
                <a:gd name="connsiteX11" fmla="*/ 341662 w 397859"/>
                <a:gd name="connsiteY11" fmla="*/ 56959 h 389477"/>
                <a:gd name="connsiteX12" fmla="*/ 383000 w 397859"/>
                <a:gd name="connsiteY12" fmla="*/ 118396 h 389477"/>
                <a:gd name="connsiteX13" fmla="*/ 397859 w 397859"/>
                <a:gd name="connsiteY13" fmla="*/ 193643 h 389477"/>
                <a:gd name="connsiteX14" fmla="*/ 397859 w 397859"/>
                <a:gd name="connsiteY14" fmla="*/ 195072 h 389477"/>
                <a:gd name="connsiteX15" fmla="*/ 382619 w 397859"/>
                <a:gd name="connsiteY15" fmla="*/ 270034 h 389477"/>
                <a:gd name="connsiteX16" fmla="*/ 340900 w 397859"/>
                <a:gd name="connsiteY16" fmla="*/ 331851 h 389477"/>
                <a:gd name="connsiteX17" fmla="*/ 277654 w 397859"/>
                <a:gd name="connsiteY17" fmla="*/ 373856 h 389477"/>
                <a:gd name="connsiteX18" fmla="*/ 197834 w 397859"/>
                <a:gd name="connsiteY18" fmla="*/ 389382 h 389477"/>
                <a:gd name="connsiteX19" fmla="*/ 199263 w 397859"/>
                <a:gd name="connsiteY19" fmla="*/ 315278 h 389477"/>
                <a:gd name="connsiteX20" fmla="*/ 245935 w 397859"/>
                <a:gd name="connsiteY20" fmla="*/ 305753 h 389477"/>
                <a:gd name="connsiteX21" fmla="*/ 281368 w 397859"/>
                <a:gd name="connsiteY21" fmla="*/ 279940 h 389477"/>
                <a:gd name="connsiteX22" fmla="*/ 303847 w 397859"/>
                <a:gd name="connsiteY22" fmla="*/ 242125 h 389477"/>
                <a:gd name="connsiteX23" fmla="*/ 311563 w 397859"/>
                <a:gd name="connsiteY23" fmla="*/ 196501 h 389477"/>
                <a:gd name="connsiteX24" fmla="*/ 311563 w 397859"/>
                <a:gd name="connsiteY24" fmla="*/ 195072 h 389477"/>
                <a:gd name="connsiteX25" fmla="*/ 303181 w 397859"/>
                <a:gd name="connsiteY25" fmla="*/ 148400 h 389477"/>
                <a:gd name="connsiteX26" fmla="*/ 279654 w 397859"/>
                <a:gd name="connsiteY26" fmla="*/ 110204 h 389477"/>
                <a:gd name="connsiteX27" fmla="*/ 243840 w 397859"/>
                <a:gd name="connsiteY27" fmla="*/ 84392 h 389477"/>
                <a:gd name="connsiteX28" fmla="*/ 197834 w 397859"/>
                <a:gd name="connsiteY28" fmla="*/ 74867 h 389477"/>
                <a:gd name="connsiteX29" fmla="*/ 151829 w 397859"/>
                <a:gd name="connsiteY29" fmla="*/ 84392 h 389477"/>
                <a:gd name="connsiteX30" fmla="*/ 116396 w 397859"/>
                <a:gd name="connsiteY30" fmla="*/ 109823 h 389477"/>
                <a:gd name="connsiteX31" fmla="*/ 93917 w 397859"/>
                <a:gd name="connsiteY31" fmla="*/ 147638 h 389477"/>
                <a:gd name="connsiteX32" fmla="*/ 86201 w 397859"/>
                <a:gd name="connsiteY32" fmla="*/ 193548 h 389477"/>
                <a:gd name="connsiteX33" fmla="*/ 86201 w 397859"/>
                <a:gd name="connsiteY33" fmla="*/ 194977 h 389477"/>
                <a:gd name="connsiteX34" fmla="*/ 94583 w 397859"/>
                <a:gd name="connsiteY34" fmla="*/ 241268 h 389477"/>
                <a:gd name="connsiteX35" fmla="*/ 118110 w 397859"/>
                <a:gd name="connsiteY35" fmla="*/ 279463 h 389477"/>
                <a:gd name="connsiteX36" fmla="*/ 153924 w 397859"/>
                <a:gd name="connsiteY36" fmla="*/ 305562 h 389477"/>
                <a:gd name="connsiteX37" fmla="*/ 199263 w 397859"/>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859" h="389477">
                  <a:moveTo>
                    <a:pt x="197834" y="389477"/>
                  </a:moveTo>
                  <a:cubicBezTo>
                    <a:pt x="169545" y="389477"/>
                    <a:pt x="143351" y="384429"/>
                    <a:pt x="119063" y="374237"/>
                  </a:cubicBezTo>
                  <a:cubicBezTo>
                    <a:pt x="94774" y="364141"/>
                    <a:pt x="73819" y="350330"/>
                    <a:pt x="56197" y="332899"/>
                  </a:cubicBezTo>
                  <a:cubicBezTo>
                    <a:pt x="38481" y="315468"/>
                    <a:pt x="24765" y="294989"/>
                    <a:pt x="14859" y="271463"/>
                  </a:cubicBezTo>
                  <a:cubicBezTo>
                    <a:pt x="4953" y="247936"/>
                    <a:pt x="0" y="222980"/>
                    <a:pt x="0" y="196501"/>
                  </a:cubicBezTo>
                  <a:lnTo>
                    <a:pt x="0" y="195072"/>
                  </a:lnTo>
                  <a:cubicBezTo>
                    <a:pt x="0" y="168212"/>
                    <a:pt x="5048" y="143066"/>
                    <a:pt x="15145" y="119444"/>
                  </a:cubicBezTo>
                  <a:cubicBezTo>
                    <a:pt x="25241" y="95917"/>
                    <a:pt x="39148" y="75248"/>
                    <a:pt x="56864" y="57626"/>
                  </a:cubicBezTo>
                  <a:cubicBezTo>
                    <a:pt x="74581" y="39910"/>
                    <a:pt x="95536" y="25908"/>
                    <a:pt x="119729" y="15526"/>
                  </a:cubicBezTo>
                  <a:cubicBezTo>
                    <a:pt x="144018" y="5144"/>
                    <a:pt x="170497" y="0"/>
                    <a:pt x="199263" y="0"/>
                  </a:cubicBezTo>
                  <a:cubicBezTo>
                    <a:pt x="228029" y="0"/>
                    <a:pt x="254508" y="5048"/>
                    <a:pt x="278797" y="15240"/>
                  </a:cubicBezTo>
                  <a:cubicBezTo>
                    <a:pt x="303085" y="25337"/>
                    <a:pt x="324041" y="39243"/>
                    <a:pt x="341662" y="56959"/>
                  </a:cubicBezTo>
                  <a:cubicBezTo>
                    <a:pt x="359378" y="74676"/>
                    <a:pt x="373094" y="95155"/>
                    <a:pt x="383000" y="118396"/>
                  </a:cubicBezTo>
                  <a:cubicBezTo>
                    <a:pt x="392906" y="141732"/>
                    <a:pt x="397859" y="166783"/>
                    <a:pt x="397859" y="193643"/>
                  </a:cubicBezTo>
                  <a:lnTo>
                    <a:pt x="397859" y="195072"/>
                  </a:lnTo>
                  <a:cubicBezTo>
                    <a:pt x="397859" y="221456"/>
                    <a:pt x="392811" y="246412"/>
                    <a:pt x="382619" y="270034"/>
                  </a:cubicBezTo>
                  <a:cubicBezTo>
                    <a:pt x="372523" y="293561"/>
                    <a:pt x="358616" y="314230"/>
                    <a:pt x="340900" y="331851"/>
                  </a:cubicBezTo>
                  <a:cubicBezTo>
                    <a:pt x="323183" y="349472"/>
                    <a:pt x="302133" y="363569"/>
                    <a:pt x="277654" y="373856"/>
                  </a:cubicBezTo>
                  <a:cubicBezTo>
                    <a:pt x="253175" y="384238"/>
                    <a:pt x="226504" y="389382"/>
                    <a:pt x="197834" y="389382"/>
                  </a:cubicBezTo>
                  <a:close/>
                  <a:moveTo>
                    <a:pt x="199263" y="315278"/>
                  </a:moveTo>
                  <a:cubicBezTo>
                    <a:pt x="216598" y="315278"/>
                    <a:pt x="232124" y="312039"/>
                    <a:pt x="245935" y="305753"/>
                  </a:cubicBezTo>
                  <a:cubicBezTo>
                    <a:pt x="259747" y="299371"/>
                    <a:pt x="271558" y="290798"/>
                    <a:pt x="281368" y="279940"/>
                  </a:cubicBezTo>
                  <a:cubicBezTo>
                    <a:pt x="291179" y="269081"/>
                    <a:pt x="298704" y="256508"/>
                    <a:pt x="303847" y="242125"/>
                  </a:cubicBezTo>
                  <a:cubicBezTo>
                    <a:pt x="308991" y="227743"/>
                    <a:pt x="311563" y="212598"/>
                    <a:pt x="311563" y="196501"/>
                  </a:cubicBezTo>
                  <a:lnTo>
                    <a:pt x="311563" y="195072"/>
                  </a:lnTo>
                  <a:cubicBezTo>
                    <a:pt x="311563" y="178594"/>
                    <a:pt x="308800" y="163068"/>
                    <a:pt x="303181" y="148400"/>
                  </a:cubicBezTo>
                  <a:cubicBezTo>
                    <a:pt x="297561" y="133826"/>
                    <a:pt x="289750" y="121063"/>
                    <a:pt x="279654" y="110204"/>
                  </a:cubicBezTo>
                  <a:cubicBezTo>
                    <a:pt x="269558" y="99346"/>
                    <a:pt x="257651" y="90773"/>
                    <a:pt x="243840" y="84392"/>
                  </a:cubicBezTo>
                  <a:cubicBezTo>
                    <a:pt x="230029" y="78010"/>
                    <a:pt x="214693" y="74867"/>
                    <a:pt x="197834" y="74867"/>
                  </a:cubicBezTo>
                  <a:cubicBezTo>
                    <a:pt x="180975" y="74867"/>
                    <a:pt x="165640" y="78010"/>
                    <a:pt x="151829" y="84392"/>
                  </a:cubicBezTo>
                  <a:cubicBezTo>
                    <a:pt x="138017" y="90773"/>
                    <a:pt x="126206" y="99250"/>
                    <a:pt x="116396" y="109823"/>
                  </a:cubicBezTo>
                  <a:cubicBezTo>
                    <a:pt x="106585" y="120396"/>
                    <a:pt x="99060" y="133064"/>
                    <a:pt x="93917" y="147638"/>
                  </a:cubicBezTo>
                  <a:cubicBezTo>
                    <a:pt x="88773" y="162211"/>
                    <a:pt x="86201" y="177546"/>
                    <a:pt x="86201" y="193548"/>
                  </a:cubicBezTo>
                  <a:lnTo>
                    <a:pt x="86201" y="194977"/>
                  </a:lnTo>
                  <a:cubicBezTo>
                    <a:pt x="86201" y="211455"/>
                    <a:pt x="88963" y="226886"/>
                    <a:pt x="94583" y="241268"/>
                  </a:cubicBezTo>
                  <a:cubicBezTo>
                    <a:pt x="100203" y="255651"/>
                    <a:pt x="108013" y="268319"/>
                    <a:pt x="118110" y="279463"/>
                  </a:cubicBezTo>
                  <a:cubicBezTo>
                    <a:pt x="128206" y="290513"/>
                    <a:pt x="140113" y="299275"/>
                    <a:pt x="153924" y="305562"/>
                  </a:cubicBezTo>
                  <a:cubicBezTo>
                    <a:pt x="167735" y="311944"/>
                    <a:pt x="182880"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25" name="Freeform: Shape 24">
              <a:extLst>
                <a:ext uri="{FF2B5EF4-FFF2-40B4-BE49-F238E27FC236}">
                  <a16:creationId xmlns:a16="http://schemas.microsoft.com/office/drawing/2014/main" id="{01C3A6EE-7A5E-47B0-FA6B-C88D28486A03}"/>
                </a:ext>
              </a:extLst>
            </p:cNvPr>
            <p:cNvSpPr/>
            <p:nvPr/>
          </p:nvSpPr>
          <p:spPr>
            <a:xfrm>
              <a:off x="5806925"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2 w 296894"/>
                <a:gd name="connsiteY36" fmla="*/ 224980 h 386714"/>
                <a:gd name="connsiteX37" fmla="*/ 296894 w 296894"/>
                <a:gd name="connsiteY37" fmla="*/ 267938 h 386714"/>
                <a:gd name="connsiteX38" fmla="*/ 296894 w 296894"/>
                <a:gd name="connsiteY38" fmla="*/ 269367 h 386714"/>
                <a:gd name="connsiteX39" fmla="*/ 286322 w 296894"/>
                <a:gd name="connsiteY39" fmla="*/ 320897 h 386714"/>
                <a:gd name="connsiteX40" fmla="*/ 256984 w 296894"/>
                <a:gd name="connsiteY40" fmla="*/ 357188 h 386714"/>
                <a:gd name="connsiteX41" fmla="*/ 212789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8" y="298704"/>
                    <a:pt x="100013" y="306514"/>
                  </a:cubicBezTo>
                  <a:cubicBezTo>
                    <a:pt x="120967" y="314325"/>
                    <a:pt x="141161" y="318135"/>
                    <a:pt x="160401" y="318135"/>
                  </a:cubicBezTo>
                  <a:cubicBezTo>
                    <a:pt x="179642" y="318135"/>
                    <a:pt x="192976"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2" y="241078"/>
                    <a:pt x="176498" y="237553"/>
                    <a:pt x="166402" y="234220"/>
                  </a:cubicBezTo>
                  <a:cubicBezTo>
                    <a:pt x="156305" y="230886"/>
                    <a:pt x="145733" y="227647"/>
                    <a:pt x="134969" y="224314"/>
                  </a:cubicBezTo>
                  <a:cubicBezTo>
                    <a:pt x="121253" y="220599"/>
                    <a:pt x="107537" y="216122"/>
                    <a:pt x="93631" y="210884"/>
                  </a:cubicBezTo>
                  <a:cubicBezTo>
                    <a:pt x="79724" y="205740"/>
                    <a:pt x="67246" y="198977"/>
                    <a:pt x="56197" y="190786"/>
                  </a:cubicBezTo>
                  <a:cubicBezTo>
                    <a:pt x="45149" y="182594"/>
                    <a:pt x="36100" y="172307"/>
                    <a:pt x="28956" y="160115"/>
                  </a:cubicBezTo>
                  <a:cubicBezTo>
                    <a:pt x="21908"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5"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7" y="156210"/>
                    <a:pt x="180975" y="159448"/>
                  </a:cubicBezTo>
                  <a:cubicBezTo>
                    <a:pt x="194596" y="163639"/>
                    <a:pt x="208312" y="168592"/>
                    <a:pt x="222028" y="174212"/>
                  </a:cubicBezTo>
                  <a:cubicBezTo>
                    <a:pt x="235649" y="179832"/>
                    <a:pt x="248031" y="186785"/>
                    <a:pt x="259080" y="194977"/>
                  </a:cubicBezTo>
                  <a:cubicBezTo>
                    <a:pt x="270129" y="203168"/>
                    <a:pt x="279273" y="213169"/>
                    <a:pt x="286322" y="224980"/>
                  </a:cubicBezTo>
                  <a:cubicBezTo>
                    <a:pt x="293370" y="236696"/>
                    <a:pt x="296894" y="251079"/>
                    <a:pt x="296894" y="267938"/>
                  </a:cubicBezTo>
                  <a:lnTo>
                    <a:pt x="296894" y="269367"/>
                  </a:lnTo>
                  <a:cubicBezTo>
                    <a:pt x="296894" y="289084"/>
                    <a:pt x="293370" y="306229"/>
                    <a:pt x="286322" y="320897"/>
                  </a:cubicBezTo>
                  <a:cubicBezTo>
                    <a:pt x="279273" y="335470"/>
                    <a:pt x="269462" y="347567"/>
                    <a:pt x="256984" y="357188"/>
                  </a:cubicBezTo>
                  <a:cubicBezTo>
                    <a:pt x="244507" y="366808"/>
                    <a:pt x="229743" y="374142"/>
                    <a:pt x="212789"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6" name="Freeform: Shape 25">
              <a:extLst>
                <a:ext uri="{FF2B5EF4-FFF2-40B4-BE49-F238E27FC236}">
                  <a16:creationId xmlns:a16="http://schemas.microsoft.com/office/drawing/2014/main" id="{C4092D96-0500-8E05-9C3B-C10DD6540957}"/>
                </a:ext>
              </a:extLst>
            </p:cNvPr>
            <p:cNvSpPr/>
            <p:nvPr/>
          </p:nvSpPr>
          <p:spPr>
            <a:xfrm>
              <a:off x="589573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6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160" y="318135"/>
                    <a:pt x="160401" y="318135"/>
                  </a:cubicBezTo>
                  <a:cubicBezTo>
                    <a:pt x="179641" y="318135"/>
                    <a:pt x="192976"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4"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792"/>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7" name="Freeform: Shape 26">
              <a:extLst>
                <a:ext uri="{FF2B5EF4-FFF2-40B4-BE49-F238E27FC236}">
                  <a16:creationId xmlns:a16="http://schemas.microsoft.com/office/drawing/2014/main" id="{D65B3C68-00F2-873C-4D7A-9A1D4DF73962}"/>
                </a:ext>
              </a:extLst>
            </p:cNvPr>
            <p:cNvSpPr/>
            <p:nvPr/>
          </p:nvSpPr>
          <p:spPr>
            <a:xfrm>
              <a:off x="5985812" y="700558"/>
              <a:ext cx="85097" cy="97141"/>
            </a:xfrm>
            <a:custGeom>
              <a:avLst/>
              <a:gdLst>
                <a:gd name="connsiteX0" fmla="*/ 253651 w 338518"/>
                <a:gd name="connsiteY0" fmla="*/ 378619 h 386429"/>
                <a:gd name="connsiteX1" fmla="*/ 253651 w 338518"/>
                <a:gd name="connsiteY1" fmla="*/ 332708 h 386429"/>
                <a:gd name="connsiteX2" fmla="*/ 204883 w 338518"/>
                <a:gd name="connsiteY2" fmla="*/ 370904 h 386429"/>
                <a:gd name="connsiteX3" fmla="*/ 132779 w 338518"/>
                <a:gd name="connsiteY3" fmla="*/ 386429 h 386429"/>
                <a:gd name="connsiteX4" fmla="*/ 81915 w 338518"/>
                <a:gd name="connsiteY4" fmla="*/ 379000 h 386429"/>
                <a:gd name="connsiteX5" fmla="*/ 39910 w 338518"/>
                <a:gd name="connsiteY5" fmla="*/ 357092 h 386429"/>
                <a:gd name="connsiteX6" fmla="*/ 10954 w 338518"/>
                <a:gd name="connsiteY6" fmla="*/ 321088 h 386429"/>
                <a:gd name="connsiteX7" fmla="*/ 0 w 338518"/>
                <a:gd name="connsiteY7" fmla="*/ 271272 h 386429"/>
                <a:gd name="connsiteX8" fmla="*/ 0 w 338518"/>
                <a:gd name="connsiteY8" fmla="*/ 269843 h 386429"/>
                <a:gd name="connsiteX9" fmla="*/ 11335 w 338518"/>
                <a:gd name="connsiteY9" fmla="*/ 215741 h 386429"/>
                <a:gd name="connsiteX10" fmla="*/ 42767 w 338518"/>
                <a:gd name="connsiteY10" fmla="*/ 177546 h 386429"/>
                <a:gd name="connsiteX11" fmla="*/ 90773 w 338518"/>
                <a:gd name="connsiteY11" fmla="*/ 154972 h 386429"/>
                <a:gd name="connsiteX12" fmla="*/ 151162 w 338518"/>
                <a:gd name="connsiteY12" fmla="*/ 147542 h 386429"/>
                <a:gd name="connsiteX13" fmla="*/ 208788 w 338518"/>
                <a:gd name="connsiteY13" fmla="*/ 151829 h 386429"/>
                <a:gd name="connsiteX14" fmla="*/ 254413 w 338518"/>
                <a:gd name="connsiteY14" fmla="*/ 163163 h 386429"/>
                <a:gd name="connsiteX15" fmla="*/ 254413 w 338518"/>
                <a:gd name="connsiteY15" fmla="*/ 156115 h 386429"/>
                <a:gd name="connsiteX16" fmla="*/ 230696 w 338518"/>
                <a:gd name="connsiteY16" fmla="*/ 96774 h 386429"/>
                <a:gd name="connsiteX17" fmla="*/ 162496 w 338518"/>
                <a:gd name="connsiteY17" fmla="*/ 76295 h 386429"/>
                <a:gd name="connsiteX18" fmla="*/ 106013 w 338518"/>
                <a:gd name="connsiteY18" fmla="*/ 82677 h 386429"/>
                <a:gd name="connsiteX19" fmla="*/ 55816 w 338518"/>
                <a:gd name="connsiteY19" fmla="*/ 99632 h 386429"/>
                <a:gd name="connsiteX20" fmla="*/ 32480 w 338518"/>
                <a:gd name="connsiteY20" fmla="*/ 31052 h 386429"/>
                <a:gd name="connsiteX21" fmla="*/ 96107 w 338518"/>
                <a:gd name="connsiteY21" fmla="*/ 8477 h 386429"/>
                <a:gd name="connsiteX22" fmla="*/ 174593 w 338518"/>
                <a:gd name="connsiteY22" fmla="*/ 0 h 386429"/>
                <a:gd name="connsiteX23" fmla="*/ 298228 w 338518"/>
                <a:gd name="connsiteY23" fmla="*/ 41338 h 386429"/>
                <a:gd name="connsiteX24" fmla="*/ 338519 w 338518"/>
                <a:gd name="connsiteY24" fmla="*/ 157544 h 386429"/>
                <a:gd name="connsiteX25" fmla="*/ 338519 w 338518"/>
                <a:gd name="connsiteY25" fmla="*/ 378714 h 386429"/>
                <a:gd name="connsiteX26" fmla="*/ 253746 w 338518"/>
                <a:gd name="connsiteY26" fmla="*/ 378714 h 386429"/>
                <a:gd name="connsiteX27" fmla="*/ 255746 w 338518"/>
                <a:gd name="connsiteY27" fmla="*/ 222409 h 386429"/>
                <a:gd name="connsiteX28" fmla="*/ 217265 w 338518"/>
                <a:gd name="connsiteY28" fmla="*/ 211836 h 386429"/>
                <a:gd name="connsiteX29" fmla="*/ 170307 w 338518"/>
                <a:gd name="connsiteY29" fmla="*/ 207550 h 386429"/>
                <a:gd name="connsiteX30" fmla="*/ 107442 w 338518"/>
                <a:gd name="connsiteY30" fmla="*/ 223075 h 386429"/>
                <a:gd name="connsiteX31" fmla="*/ 84868 w 338518"/>
                <a:gd name="connsiteY31" fmla="*/ 265462 h 386429"/>
                <a:gd name="connsiteX32" fmla="*/ 84868 w 338518"/>
                <a:gd name="connsiteY32" fmla="*/ 266891 h 386429"/>
                <a:gd name="connsiteX33" fmla="*/ 105728 w 338518"/>
                <a:gd name="connsiteY33" fmla="*/ 307848 h 386429"/>
                <a:gd name="connsiteX34" fmla="*/ 156972 w 338518"/>
                <a:gd name="connsiteY34" fmla="*/ 321945 h 386429"/>
                <a:gd name="connsiteX35" fmla="*/ 196215 w 338518"/>
                <a:gd name="connsiteY35" fmla="*/ 316325 h 386429"/>
                <a:gd name="connsiteX36" fmla="*/ 227647 w 338518"/>
                <a:gd name="connsiteY36" fmla="*/ 300419 h 386429"/>
                <a:gd name="connsiteX37" fmla="*/ 248507 w 338518"/>
                <a:gd name="connsiteY37" fmla="*/ 275654 h 386429"/>
                <a:gd name="connsiteX38" fmla="*/ 255937 w 338518"/>
                <a:gd name="connsiteY38" fmla="*/ 243459 h 386429"/>
                <a:gd name="connsiteX39" fmla="*/ 255937 w 338518"/>
                <a:gd name="connsiteY39" fmla="*/ 222218 h 3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8518" h="386429">
                  <a:moveTo>
                    <a:pt x="253651" y="378619"/>
                  </a:moveTo>
                  <a:lnTo>
                    <a:pt x="253651" y="332708"/>
                  </a:lnTo>
                  <a:cubicBezTo>
                    <a:pt x="240887" y="347758"/>
                    <a:pt x="224695" y="360521"/>
                    <a:pt x="204883" y="370904"/>
                  </a:cubicBezTo>
                  <a:cubicBezTo>
                    <a:pt x="185071" y="381286"/>
                    <a:pt x="161068" y="386429"/>
                    <a:pt x="132779" y="386429"/>
                  </a:cubicBezTo>
                  <a:cubicBezTo>
                    <a:pt x="114871" y="386429"/>
                    <a:pt x="97917" y="383953"/>
                    <a:pt x="81915" y="379000"/>
                  </a:cubicBezTo>
                  <a:cubicBezTo>
                    <a:pt x="65913" y="374047"/>
                    <a:pt x="51911" y="366713"/>
                    <a:pt x="39910" y="357092"/>
                  </a:cubicBezTo>
                  <a:cubicBezTo>
                    <a:pt x="27908" y="347472"/>
                    <a:pt x="18193" y="335471"/>
                    <a:pt x="10954" y="321088"/>
                  </a:cubicBezTo>
                  <a:cubicBezTo>
                    <a:pt x="3620" y="306705"/>
                    <a:pt x="0" y="290132"/>
                    <a:pt x="0" y="271272"/>
                  </a:cubicBezTo>
                  <a:lnTo>
                    <a:pt x="0" y="269843"/>
                  </a:lnTo>
                  <a:cubicBezTo>
                    <a:pt x="0" y="249079"/>
                    <a:pt x="3810" y="231077"/>
                    <a:pt x="11335" y="215741"/>
                  </a:cubicBezTo>
                  <a:cubicBezTo>
                    <a:pt x="18859" y="200406"/>
                    <a:pt x="29337" y="187738"/>
                    <a:pt x="42767" y="177546"/>
                  </a:cubicBezTo>
                  <a:cubicBezTo>
                    <a:pt x="56197" y="167450"/>
                    <a:pt x="72199" y="159925"/>
                    <a:pt x="90773" y="154972"/>
                  </a:cubicBezTo>
                  <a:cubicBezTo>
                    <a:pt x="109347" y="150019"/>
                    <a:pt x="129540" y="147542"/>
                    <a:pt x="151162" y="147542"/>
                  </a:cubicBezTo>
                  <a:cubicBezTo>
                    <a:pt x="172783" y="147542"/>
                    <a:pt x="192976" y="148971"/>
                    <a:pt x="208788" y="151829"/>
                  </a:cubicBezTo>
                  <a:cubicBezTo>
                    <a:pt x="224599" y="154686"/>
                    <a:pt x="239744" y="158401"/>
                    <a:pt x="254413" y="163163"/>
                  </a:cubicBezTo>
                  <a:lnTo>
                    <a:pt x="254413" y="156115"/>
                  </a:lnTo>
                  <a:cubicBezTo>
                    <a:pt x="254413" y="130207"/>
                    <a:pt x="246507" y="110395"/>
                    <a:pt x="230696" y="96774"/>
                  </a:cubicBezTo>
                  <a:cubicBezTo>
                    <a:pt x="214884" y="83153"/>
                    <a:pt x="192214" y="76295"/>
                    <a:pt x="162496" y="76295"/>
                  </a:cubicBezTo>
                  <a:cubicBezTo>
                    <a:pt x="141351" y="76295"/>
                    <a:pt x="122491" y="78391"/>
                    <a:pt x="106013" y="82677"/>
                  </a:cubicBezTo>
                  <a:cubicBezTo>
                    <a:pt x="89535" y="86963"/>
                    <a:pt x="72771" y="92583"/>
                    <a:pt x="55816" y="99632"/>
                  </a:cubicBezTo>
                  <a:lnTo>
                    <a:pt x="32480" y="31052"/>
                  </a:lnTo>
                  <a:cubicBezTo>
                    <a:pt x="53149" y="21622"/>
                    <a:pt x="74390" y="14097"/>
                    <a:pt x="96107" y="8477"/>
                  </a:cubicBezTo>
                  <a:cubicBezTo>
                    <a:pt x="117729" y="2858"/>
                    <a:pt x="143923" y="0"/>
                    <a:pt x="174593" y="0"/>
                  </a:cubicBezTo>
                  <a:cubicBezTo>
                    <a:pt x="230124" y="0"/>
                    <a:pt x="271367" y="13811"/>
                    <a:pt x="298228" y="41338"/>
                  </a:cubicBezTo>
                  <a:cubicBezTo>
                    <a:pt x="325088" y="68866"/>
                    <a:pt x="338519" y="107633"/>
                    <a:pt x="338519" y="157544"/>
                  </a:cubicBezTo>
                  <a:lnTo>
                    <a:pt x="338519" y="378714"/>
                  </a:lnTo>
                  <a:lnTo>
                    <a:pt x="253746" y="378714"/>
                  </a:lnTo>
                  <a:close/>
                  <a:moveTo>
                    <a:pt x="255746" y="222409"/>
                  </a:moveTo>
                  <a:cubicBezTo>
                    <a:pt x="244888" y="218123"/>
                    <a:pt x="232029" y="214598"/>
                    <a:pt x="217265" y="211836"/>
                  </a:cubicBezTo>
                  <a:cubicBezTo>
                    <a:pt x="202406" y="208979"/>
                    <a:pt x="186785" y="207550"/>
                    <a:pt x="170307" y="207550"/>
                  </a:cubicBezTo>
                  <a:cubicBezTo>
                    <a:pt x="143446" y="207550"/>
                    <a:pt x="122491" y="212693"/>
                    <a:pt x="107442" y="223075"/>
                  </a:cubicBezTo>
                  <a:cubicBezTo>
                    <a:pt x="92392" y="233458"/>
                    <a:pt x="84868" y="247555"/>
                    <a:pt x="84868" y="265462"/>
                  </a:cubicBezTo>
                  <a:lnTo>
                    <a:pt x="84868" y="266891"/>
                  </a:lnTo>
                  <a:cubicBezTo>
                    <a:pt x="84868" y="284798"/>
                    <a:pt x="91821" y="298418"/>
                    <a:pt x="105728" y="307848"/>
                  </a:cubicBezTo>
                  <a:cubicBezTo>
                    <a:pt x="119634" y="317278"/>
                    <a:pt x="136684" y="321945"/>
                    <a:pt x="156972" y="321945"/>
                  </a:cubicBezTo>
                  <a:cubicBezTo>
                    <a:pt x="171069" y="321945"/>
                    <a:pt x="184213" y="320040"/>
                    <a:pt x="196215" y="316325"/>
                  </a:cubicBezTo>
                  <a:cubicBezTo>
                    <a:pt x="208216" y="312515"/>
                    <a:pt x="218694" y="307277"/>
                    <a:pt x="227647" y="300419"/>
                  </a:cubicBezTo>
                  <a:cubicBezTo>
                    <a:pt x="236601" y="293561"/>
                    <a:pt x="243554" y="285369"/>
                    <a:pt x="248507" y="275654"/>
                  </a:cubicBezTo>
                  <a:cubicBezTo>
                    <a:pt x="253460" y="266033"/>
                    <a:pt x="255937" y="255270"/>
                    <a:pt x="255937" y="243459"/>
                  </a:cubicBezTo>
                  <a:lnTo>
                    <a:pt x="255937" y="222218"/>
                  </a:lnTo>
                  <a:close/>
                </a:path>
              </a:pathLst>
            </a:custGeom>
            <a:solidFill>
              <a:srgbClr val="44505E"/>
            </a:solidFill>
            <a:ln w="9525" cap="flat">
              <a:noFill/>
              <a:prstDash val="solid"/>
              <a:miter/>
            </a:ln>
          </p:spPr>
          <p:txBody>
            <a:bodyPr rtlCol="0" anchor="ctr"/>
            <a:lstStyle/>
            <a:p>
              <a:endParaRPr lang="pt-BR" noProof="0"/>
            </a:p>
          </p:txBody>
        </p:sp>
        <p:sp>
          <p:nvSpPr>
            <p:cNvPr id="28" name="Freeform: Shape 27">
              <a:extLst>
                <a:ext uri="{FF2B5EF4-FFF2-40B4-BE49-F238E27FC236}">
                  <a16:creationId xmlns:a16="http://schemas.microsoft.com/office/drawing/2014/main" id="{0963F9B5-A86B-F030-C604-7C2E535776D4}"/>
                </a:ext>
              </a:extLst>
            </p:cNvPr>
            <p:cNvSpPr/>
            <p:nvPr/>
          </p:nvSpPr>
          <p:spPr>
            <a:xfrm>
              <a:off x="6088843" y="700318"/>
              <a:ext cx="74610" cy="97213"/>
            </a:xfrm>
            <a:custGeom>
              <a:avLst/>
              <a:gdLst>
                <a:gd name="connsiteX0" fmla="*/ 158305 w 296799"/>
                <a:gd name="connsiteY0" fmla="*/ 386715 h 386714"/>
                <a:gd name="connsiteX1" fmla="*/ 76676 w 296799"/>
                <a:gd name="connsiteY1" fmla="*/ 372427 h 386714"/>
                <a:gd name="connsiteX2" fmla="*/ 0 w 296799"/>
                <a:gd name="connsiteY2" fmla="*/ 330327 h 386714"/>
                <a:gd name="connsiteX3" fmla="*/ 38195 w 296799"/>
                <a:gd name="connsiteY3" fmla="*/ 272224 h 386714"/>
                <a:gd name="connsiteX4" fmla="*/ 100013 w 296799"/>
                <a:gd name="connsiteY4" fmla="*/ 306514 h 386714"/>
                <a:gd name="connsiteX5" fmla="*/ 160401 w 296799"/>
                <a:gd name="connsiteY5" fmla="*/ 318135 h 386714"/>
                <a:gd name="connsiteX6" fmla="*/ 203168 w 296799"/>
                <a:gd name="connsiteY6" fmla="*/ 307181 h 386714"/>
                <a:gd name="connsiteX7" fmla="*/ 218408 w 296799"/>
                <a:gd name="connsiteY7" fmla="*/ 277939 h 386714"/>
                <a:gd name="connsiteX8" fmla="*/ 218408 w 296799"/>
                <a:gd name="connsiteY8" fmla="*/ 276511 h 386714"/>
                <a:gd name="connsiteX9" fmla="*/ 211646 w 296799"/>
                <a:gd name="connsiteY9" fmla="*/ 258223 h 386714"/>
                <a:gd name="connsiteX10" fmla="*/ 193262 w 296799"/>
                <a:gd name="connsiteY10" fmla="*/ 244792 h 386714"/>
                <a:gd name="connsiteX11" fmla="*/ 166402 w 296799"/>
                <a:gd name="connsiteY11" fmla="*/ 234220 h 386714"/>
                <a:gd name="connsiteX12" fmla="*/ 134969 w 296799"/>
                <a:gd name="connsiteY12" fmla="*/ 224314 h 386714"/>
                <a:gd name="connsiteX13" fmla="*/ 93631 w 296799"/>
                <a:gd name="connsiteY13" fmla="*/ 210884 h 386714"/>
                <a:gd name="connsiteX14" fmla="*/ 56197 w 296799"/>
                <a:gd name="connsiteY14" fmla="*/ 190786 h 386714"/>
                <a:gd name="connsiteX15" fmla="*/ 28956 w 296799"/>
                <a:gd name="connsiteY15" fmla="*/ 160115 h 386714"/>
                <a:gd name="connsiteX16" fmla="*/ 18383 w 296799"/>
                <a:gd name="connsiteY16" fmla="*/ 114967 h 386714"/>
                <a:gd name="connsiteX17" fmla="*/ 18383 w 296799"/>
                <a:gd name="connsiteY17" fmla="*/ 113538 h 386714"/>
                <a:gd name="connsiteX18" fmla="*/ 28575 w 296799"/>
                <a:gd name="connsiteY18" fmla="*/ 66294 h 386714"/>
                <a:gd name="connsiteX19" fmla="*/ 56864 w 296799"/>
                <a:gd name="connsiteY19" fmla="*/ 30385 h 386714"/>
                <a:gd name="connsiteX20" fmla="*/ 99250 w 296799"/>
                <a:gd name="connsiteY20" fmla="*/ 7810 h 386714"/>
                <a:gd name="connsiteX21" fmla="*/ 151162 w 296799"/>
                <a:gd name="connsiteY21" fmla="*/ 0 h 386714"/>
                <a:gd name="connsiteX22" fmla="*/ 222504 w 296799"/>
                <a:gd name="connsiteY22" fmla="*/ 11430 h 386714"/>
                <a:gd name="connsiteX23" fmla="*/ 288227 w 296799"/>
                <a:gd name="connsiteY23" fmla="*/ 42863 h 386714"/>
                <a:gd name="connsiteX24" fmla="*/ 254317 w 296799"/>
                <a:gd name="connsiteY24" fmla="*/ 103918 h 386714"/>
                <a:gd name="connsiteX25" fmla="*/ 199930 w 296799"/>
                <a:gd name="connsiteY25" fmla="*/ 78105 h 386714"/>
                <a:gd name="connsiteX26" fmla="*/ 149066 w 296799"/>
                <a:gd name="connsiteY26" fmla="*/ 68580 h 386714"/>
                <a:gd name="connsiteX27" fmla="*/ 110585 w 296799"/>
                <a:gd name="connsiteY27" fmla="*/ 79153 h 386714"/>
                <a:gd name="connsiteX28" fmla="*/ 96774 w 296799"/>
                <a:gd name="connsiteY28" fmla="*/ 105918 h 386714"/>
                <a:gd name="connsiteX29" fmla="*/ 96774 w 296799"/>
                <a:gd name="connsiteY29" fmla="*/ 107347 h 386714"/>
                <a:gd name="connsiteX30" fmla="*/ 103822 w 296799"/>
                <a:gd name="connsiteY30" fmla="*/ 124587 h 386714"/>
                <a:gd name="connsiteX31" fmla="*/ 122587 w 296799"/>
                <a:gd name="connsiteY31" fmla="*/ 138017 h 386714"/>
                <a:gd name="connsiteX32" fmla="*/ 149447 w 296799"/>
                <a:gd name="connsiteY32" fmla="*/ 149257 h 386714"/>
                <a:gd name="connsiteX33" fmla="*/ 180880 w 296799"/>
                <a:gd name="connsiteY33" fmla="*/ 159448 h 386714"/>
                <a:gd name="connsiteX34" fmla="*/ 221837 w 296799"/>
                <a:gd name="connsiteY34" fmla="*/ 174212 h 386714"/>
                <a:gd name="connsiteX35" fmla="*/ 258985 w 296799"/>
                <a:gd name="connsiteY35" fmla="*/ 194977 h 386714"/>
                <a:gd name="connsiteX36" fmla="*/ 286226 w 296799"/>
                <a:gd name="connsiteY36" fmla="*/ 224980 h 386714"/>
                <a:gd name="connsiteX37" fmla="*/ 296799 w 296799"/>
                <a:gd name="connsiteY37" fmla="*/ 267938 h 386714"/>
                <a:gd name="connsiteX38" fmla="*/ 296799 w 296799"/>
                <a:gd name="connsiteY38" fmla="*/ 269367 h 386714"/>
                <a:gd name="connsiteX39" fmla="*/ 286226 w 296799"/>
                <a:gd name="connsiteY39" fmla="*/ 320897 h 386714"/>
                <a:gd name="connsiteX40" fmla="*/ 256889 w 296799"/>
                <a:gd name="connsiteY40" fmla="*/ 357188 h 386714"/>
                <a:gd name="connsiteX41" fmla="*/ 212693 w 296799"/>
                <a:gd name="connsiteY41" fmla="*/ 379095 h 386714"/>
                <a:gd name="connsiteX42" fmla="*/ 158305 w 296799"/>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799"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065" y="318135"/>
                    <a:pt x="160401" y="318135"/>
                  </a:cubicBezTo>
                  <a:cubicBezTo>
                    <a:pt x="179737" y="318135"/>
                    <a:pt x="193072"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828" y="227647"/>
                    <a:pt x="134969" y="224314"/>
                  </a:cubicBezTo>
                  <a:cubicBezTo>
                    <a:pt x="121348" y="220599"/>
                    <a:pt x="107537" y="216122"/>
                    <a:pt x="93631" y="210884"/>
                  </a:cubicBezTo>
                  <a:cubicBezTo>
                    <a:pt x="79724" y="205740"/>
                    <a:pt x="67246" y="198977"/>
                    <a:pt x="56197" y="190786"/>
                  </a:cubicBezTo>
                  <a:cubicBezTo>
                    <a:pt x="45148" y="182594"/>
                    <a:pt x="36004"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874" y="0"/>
                    <a:pt x="151162" y="0"/>
                  </a:cubicBezTo>
                  <a:cubicBezTo>
                    <a:pt x="174688" y="0"/>
                    <a:pt x="198501" y="3810"/>
                    <a:pt x="222504" y="11430"/>
                  </a:cubicBezTo>
                  <a:cubicBezTo>
                    <a:pt x="246507" y="19050"/>
                    <a:pt x="268414" y="29527"/>
                    <a:pt x="288227" y="42863"/>
                  </a:cubicBezTo>
                  <a:lnTo>
                    <a:pt x="254317"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774" y="95155"/>
                    <a:pt x="96774" y="105918"/>
                  </a:cubicBezTo>
                  <a:lnTo>
                    <a:pt x="96774" y="107347"/>
                  </a:lnTo>
                  <a:cubicBezTo>
                    <a:pt x="96774" y="113919"/>
                    <a:pt x="99155" y="119634"/>
                    <a:pt x="103822" y="124587"/>
                  </a:cubicBezTo>
                  <a:cubicBezTo>
                    <a:pt x="108490" y="129540"/>
                    <a:pt x="114776" y="134017"/>
                    <a:pt x="122587" y="138017"/>
                  </a:cubicBezTo>
                  <a:cubicBezTo>
                    <a:pt x="130397" y="142018"/>
                    <a:pt x="139351" y="145732"/>
                    <a:pt x="149447" y="149257"/>
                  </a:cubicBezTo>
                  <a:cubicBezTo>
                    <a:pt x="159544" y="152781"/>
                    <a:pt x="170021" y="156210"/>
                    <a:pt x="180880" y="159448"/>
                  </a:cubicBezTo>
                  <a:cubicBezTo>
                    <a:pt x="194500" y="163639"/>
                    <a:pt x="208216" y="168592"/>
                    <a:pt x="221837" y="174212"/>
                  </a:cubicBezTo>
                  <a:cubicBezTo>
                    <a:pt x="235458" y="179832"/>
                    <a:pt x="247840" y="186785"/>
                    <a:pt x="258985" y="194977"/>
                  </a:cubicBezTo>
                  <a:cubicBezTo>
                    <a:pt x="270034" y="203168"/>
                    <a:pt x="279178" y="213169"/>
                    <a:pt x="286226" y="224980"/>
                  </a:cubicBezTo>
                  <a:cubicBezTo>
                    <a:pt x="293275" y="236696"/>
                    <a:pt x="296799" y="251079"/>
                    <a:pt x="296799" y="267938"/>
                  </a:cubicBezTo>
                  <a:lnTo>
                    <a:pt x="296799" y="269367"/>
                  </a:lnTo>
                  <a:cubicBezTo>
                    <a:pt x="296799" y="289084"/>
                    <a:pt x="293275" y="306229"/>
                    <a:pt x="286226" y="320897"/>
                  </a:cubicBezTo>
                  <a:cubicBezTo>
                    <a:pt x="279178" y="335470"/>
                    <a:pt x="269367" y="347567"/>
                    <a:pt x="256889" y="357188"/>
                  </a:cubicBezTo>
                  <a:cubicBezTo>
                    <a:pt x="244412" y="366808"/>
                    <a:pt x="229648" y="374142"/>
                    <a:pt x="212693" y="379095"/>
                  </a:cubicBezTo>
                  <a:cubicBezTo>
                    <a:pt x="195739" y="384048"/>
                    <a:pt x="177641" y="386524"/>
                    <a:pt x="158305" y="386524"/>
                  </a:cubicBezTo>
                  <a:close/>
                </a:path>
              </a:pathLst>
            </a:custGeom>
            <a:solidFill>
              <a:srgbClr val="44505E"/>
            </a:solidFill>
            <a:ln w="9525" cap="flat">
              <a:noFill/>
              <a:prstDash val="solid"/>
              <a:miter/>
            </a:ln>
          </p:spPr>
          <p:txBody>
            <a:bodyPr rtlCol="0" anchor="ctr"/>
            <a:lstStyle/>
            <a:p>
              <a:endParaRPr lang="pt-BR" noProof="0"/>
            </a:p>
          </p:txBody>
        </p:sp>
        <p:sp>
          <p:nvSpPr>
            <p:cNvPr id="29" name="Freeform: Shape 28">
              <a:extLst>
                <a:ext uri="{FF2B5EF4-FFF2-40B4-BE49-F238E27FC236}">
                  <a16:creationId xmlns:a16="http://schemas.microsoft.com/office/drawing/2014/main" id="{6290DADF-50E4-D925-720C-D442B552A4AC}"/>
                </a:ext>
              </a:extLst>
            </p:cNvPr>
            <p:cNvSpPr/>
            <p:nvPr/>
          </p:nvSpPr>
          <p:spPr>
            <a:xfrm>
              <a:off x="6238590"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4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7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2 w 568166"/>
                <a:gd name="connsiteY21" fmla="*/ 381000 h 381000"/>
                <a:gd name="connsiteX22" fmla="*/ 240982 w 568166"/>
                <a:gd name="connsiteY22" fmla="*/ 168783 h 381000"/>
                <a:gd name="connsiteX23" fmla="*/ 221266 w 568166"/>
                <a:gd name="connsiteY23" fmla="*/ 101822 h 381000"/>
                <a:gd name="connsiteX24" fmla="*/ 165640 w 568166"/>
                <a:gd name="connsiteY24" fmla="*/ 78581 h 381000"/>
                <a:gd name="connsiteX25" fmla="*/ 108013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69" y="48196"/>
                    <a:pt x="105918" y="40576"/>
                  </a:cubicBezTo>
                  <a:cubicBezTo>
                    <a:pt x="112966" y="32956"/>
                    <a:pt x="121063" y="26099"/>
                    <a:pt x="130207" y="19907"/>
                  </a:cubicBezTo>
                  <a:cubicBezTo>
                    <a:pt x="139351" y="13716"/>
                    <a:pt x="149638" y="8858"/>
                    <a:pt x="161163" y="5334"/>
                  </a:cubicBezTo>
                  <a:cubicBezTo>
                    <a:pt x="172688" y="1714"/>
                    <a:pt x="185452" y="0"/>
                    <a:pt x="199549" y="0"/>
                  </a:cubicBezTo>
                  <a:cubicBezTo>
                    <a:pt x="226314" y="0"/>
                    <a:pt x="248983" y="6096"/>
                    <a:pt x="267557" y="18193"/>
                  </a:cubicBezTo>
                  <a:cubicBezTo>
                    <a:pt x="286131" y="30289"/>
                    <a:pt x="300323" y="46387"/>
                    <a:pt x="310134" y="66294"/>
                  </a:cubicBezTo>
                  <a:cubicBezTo>
                    <a:pt x="325279" y="46387"/>
                    <a:pt x="343090" y="30289"/>
                    <a:pt x="363664" y="18193"/>
                  </a:cubicBezTo>
                  <a:cubicBezTo>
                    <a:pt x="384238" y="6096"/>
                    <a:pt x="408718" y="0"/>
                    <a:pt x="437007" y="0"/>
                  </a:cubicBezTo>
                  <a:cubicBezTo>
                    <a:pt x="478155"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7" y="78486"/>
                  </a:cubicBezTo>
                  <a:cubicBezTo>
                    <a:pt x="382809" y="78486"/>
                    <a:pt x="364141" y="86392"/>
                    <a:pt x="349377" y="102108"/>
                  </a:cubicBezTo>
                  <a:cubicBezTo>
                    <a:pt x="334613" y="117824"/>
                    <a:pt x="327184" y="140779"/>
                    <a:pt x="327184" y="170879"/>
                  </a:cubicBezTo>
                  <a:lnTo>
                    <a:pt x="327184" y="381000"/>
                  </a:lnTo>
                  <a:lnTo>
                    <a:pt x="240982" y="381000"/>
                  </a:lnTo>
                  <a:lnTo>
                    <a:pt x="240982" y="168783"/>
                  </a:lnTo>
                  <a:cubicBezTo>
                    <a:pt x="240982" y="139637"/>
                    <a:pt x="234410" y="117348"/>
                    <a:pt x="221266" y="101822"/>
                  </a:cubicBezTo>
                  <a:cubicBezTo>
                    <a:pt x="208121" y="86296"/>
                    <a:pt x="189547" y="78581"/>
                    <a:pt x="165640" y="78581"/>
                  </a:cubicBezTo>
                  <a:cubicBezTo>
                    <a:pt x="141732" y="78581"/>
                    <a:pt x="122491" y="86773"/>
                    <a:pt x="108013"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30" name="Freeform: Shape 29">
              <a:extLst>
                <a:ext uri="{FF2B5EF4-FFF2-40B4-BE49-F238E27FC236}">
                  <a16:creationId xmlns:a16="http://schemas.microsoft.com/office/drawing/2014/main" id="{0F827F4E-493F-9187-2543-70720A4E47DE}"/>
                </a:ext>
              </a:extLst>
            </p:cNvPr>
            <p:cNvSpPr/>
            <p:nvPr/>
          </p:nvSpPr>
          <p:spPr>
            <a:xfrm>
              <a:off x="6400979" y="664258"/>
              <a:ext cx="85097" cy="133441"/>
            </a:xfrm>
            <a:custGeom>
              <a:avLst/>
              <a:gdLst>
                <a:gd name="connsiteX0" fmla="*/ 253651 w 338518"/>
                <a:gd name="connsiteY0" fmla="*/ 523018 h 530828"/>
                <a:gd name="connsiteX1" fmla="*/ 253651 w 338518"/>
                <a:gd name="connsiteY1" fmla="*/ 477107 h 530828"/>
                <a:gd name="connsiteX2" fmla="*/ 204883 w 338518"/>
                <a:gd name="connsiteY2" fmla="*/ 515303 h 530828"/>
                <a:gd name="connsiteX3" fmla="*/ 132779 w 338518"/>
                <a:gd name="connsiteY3" fmla="*/ 530828 h 530828"/>
                <a:gd name="connsiteX4" fmla="*/ 81915 w 338518"/>
                <a:gd name="connsiteY4" fmla="*/ 523399 h 530828"/>
                <a:gd name="connsiteX5" fmla="*/ 39910 w 338518"/>
                <a:gd name="connsiteY5" fmla="*/ 501491 h 530828"/>
                <a:gd name="connsiteX6" fmla="*/ 10954 w 338518"/>
                <a:gd name="connsiteY6" fmla="*/ 465487 h 530828"/>
                <a:gd name="connsiteX7" fmla="*/ 0 w 338518"/>
                <a:gd name="connsiteY7" fmla="*/ 415671 h 530828"/>
                <a:gd name="connsiteX8" fmla="*/ 0 w 338518"/>
                <a:gd name="connsiteY8" fmla="*/ 414242 h 530828"/>
                <a:gd name="connsiteX9" fmla="*/ 11335 w 338518"/>
                <a:gd name="connsiteY9" fmla="*/ 360140 h 530828"/>
                <a:gd name="connsiteX10" fmla="*/ 42767 w 338518"/>
                <a:gd name="connsiteY10" fmla="*/ 321945 h 530828"/>
                <a:gd name="connsiteX11" fmla="*/ 90773 w 338518"/>
                <a:gd name="connsiteY11" fmla="*/ 299371 h 530828"/>
                <a:gd name="connsiteX12" fmla="*/ 151162 w 338518"/>
                <a:gd name="connsiteY12" fmla="*/ 291941 h 530828"/>
                <a:gd name="connsiteX13" fmla="*/ 208788 w 338518"/>
                <a:gd name="connsiteY13" fmla="*/ 296228 h 530828"/>
                <a:gd name="connsiteX14" fmla="*/ 254413 w 338518"/>
                <a:gd name="connsiteY14" fmla="*/ 307562 h 530828"/>
                <a:gd name="connsiteX15" fmla="*/ 254413 w 338518"/>
                <a:gd name="connsiteY15" fmla="*/ 300514 h 530828"/>
                <a:gd name="connsiteX16" fmla="*/ 230696 w 338518"/>
                <a:gd name="connsiteY16" fmla="*/ 241173 h 530828"/>
                <a:gd name="connsiteX17" fmla="*/ 162496 w 338518"/>
                <a:gd name="connsiteY17" fmla="*/ 220694 h 530828"/>
                <a:gd name="connsiteX18" fmla="*/ 106013 w 338518"/>
                <a:gd name="connsiteY18" fmla="*/ 227076 h 530828"/>
                <a:gd name="connsiteX19" fmla="*/ 55817 w 338518"/>
                <a:gd name="connsiteY19" fmla="*/ 244031 h 530828"/>
                <a:gd name="connsiteX20" fmla="*/ 32480 w 338518"/>
                <a:gd name="connsiteY20" fmla="*/ 175451 h 530828"/>
                <a:gd name="connsiteX21" fmla="*/ 96107 w 338518"/>
                <a:gd name="connsiteY21" fmla="*/ 152876 h 530828"/>
                <a:gd name="connsiteX22" fmla="*/ 174593 w 338518"/>
                <a:gd name="connsiteY22" fmla="*/ 144399 h 530828"/>
                <a:gd name="connsiteX23" fmla="*/ 298228 w 338518"/>
                <a:gd name="connsiteY23" fmla="*/ 185738 h 530828"/>
                <a:gd name="connsiteX24" fmla="*/ 338519 w 338518"/>
                <a:gd name="connsiteY24" fmla="*/ 301943 h 530828"/>
                <a:gd name="connsiteX25" fmla="*/ 338519 w 338518"/>
                <a:gd name="connsiteY25" fmla="*/ 523113 h 530828"/>
                <a:gd name="connsiteX26" fmla="*/ 253746 w 338518"/>
                <a:gd name="connsiteY26" fmla="*/ 523113 h 530828"/>
                <a:gd name="connsiteX27" fmla="*/ 45911 w 338518"/>
                <a:gd name="connsiteY27" fmla="*/ 95441 h 530828"/>
                <a:gd name="connsiteX28" fmla="*/ 75248 w 338518"/>
                <a:gd name="connsiteY28" fmla="*/ 29718 h 530828"/>
                <a:gd name="connsiteX29" fmla="*/ 125063 w 338518"/>
                <a:gd name="connsiteY29" fmla="*/ 7144 h 530828"/>
                <a:gd name="connsiteX30" fmla="*/ 154019 w 338518"/>
                <a:gd name="connsiteY30" fmla="*/ 11716 h 530828"/>
                <a:gd name="connsiteX31" fmla="*/ 181261 w 338518"/>
                <a:gd name="connsiteY31" fmla="*/ 21622 h 530828"/>
                <a:gd name="connsiteX32" fmla="*/ 205645 w 338518"/>
                <a:gd name="connsiteY32" fmla="*/ 31147 h 530828"/>
                <a:gd name="connsiteX33" fmla="*/ 226790 w 338518"/>
                <a:gd name="connsiteY33" fmla="*/ 35338 h 530828"/>
                <a:gd name="connsiteX34" fmla="*/ 250127 w 338518"/>
                <a:gd name="connsiteY34" fmla="*/ 26861 h 530828"/>
                <a:gd name="connsiteX35" fmla="*/ 265652 w 338518"/>
                <a:gd name="connsiteY35" fmla="*/ 0 h 530828"/>
                <a:gd name="connsiteX36" fmla="*/ 312991 w 338518"/>
                <a:gd name="connsiteY36" fmla="*/ 14859 h 530828"/>
                <a:gd name="connsiteX37" fmla="*/ 283655 w 338518"/>
                <a:gd name="connsiteY37" fmla="*/ 79820 h 530828"/>
                <a:gd name="connsiteX38" fmla="*/ 233839 w 338518"/>
                <a:gd name="connsiteY38" fmla="*/ 102394 h 530828"/>
                <a:gd name="connsiteX39" fmla="*/ 204883 w 338518"/>
                <a:gd name="connsiteY39" fmla="*/ 98203 h 530828"/>
                <a:gd name="connsiteX40" fmla="*/ 177641 w 338518"/>
                <a:gd name="connsiteY40" fmla="*/ 88678 h 530828"/>
                <a:gd name="connsiteX41" fmla="*/ 152876 w 338518"/>
                <a:gd name="connsiteY41" fmla="*/ 78772 h 530828"/>
                <a:gd name="connsiteX42" fmla="*/ 132017 w 338518"/>
                <a:gd name="connsiteY42" fmla="*/ 74200 h 530828"/>
                <a:gd name="connsiteX43" fmla="*/ 108680 w 338518"/>
                <a:gd name="connsiteY43" fmla="*/ 82677 h 530828"/>
                <a:gd name="connsiteX44" fmla="*/ 93154 w 338518"/>
                <a:gd name="connsiteY44" fmla="*/ 109538 h 530828"/>
                <a:gd name="connsiteX45" fmla="*/ 45815 w 338518"/>
                <a:gd name="connsiteY45" fmla="*/ 95441 h 530828"/>
                <a:gd name="connsiteX46" fmla="*/ 255842 w 338518"/>
                <a:gd name="connsiteY46" fmla="*/ 366808 h 530828"/>
                <a:gd name="connsiteX47" fmla="*/ 217361 w 338518"/>
                <a:gd name="connsiteY47" fmla="*/ 356235 h 530828"/>
                <a:gd name="connsiteX48" fmla="*/ 170402 w 338518"/>
                <a:gd name="connsiteY48" fmla="*/ 351949 h 530828"/>
                <a:gd name="connsiteX49" fmla="*/ 107537 w 338518"/>
                <a:gd name="connsiteY49" fmla="*/ 367475 h 530828"/>
                <a:gd name="connsiteX50" fmla="*/ 84963 w 338518"/>
                <a:gd name="connsiteY50" fmla="*/ 409861 h 530828"/>
                <a:gd name="connsiteX51" fmla="*/ 84963 w 338518"/>
                <a:gd name="connsiteY51" fmla="*/ 411290 h 530828"/>
                <a:gd name="connsiteX52" fmla="*/ 105823 w 338518"/>
                <a:gd name="connsiteY52" fmla="*/ 452247 h 530828"/>
                <a:gd name="connsiteX53" fmla="*/ 157067 w 338518"/>
                <a:gd name="connsiteY53" fmla="*/ 466344 h 530828"/>
                <a:gd name="connsiteX54" fmla="*/ 196310 w 338518"/>
                <a:gd name="connsiteY54" fmla="*/ 460724 h 530828"/>
                <a:gd name="connsiteX55" fmla="*/ 227743 w 338518"/>
                <a:gd name="connsiteY55" fmla="*/ 444818 h 530828"/>
                <a:gd name="connsiteX56" fmla="*/ 248603 w 338518"/>
                <a:gd name="connsiteY56" fmla="*/ 420053 h 530828"/>
                <a:gd name="connsiteX57" fmla="*/ 256032 w 338518"/>
                <a:gd name="connsiteY57" fmla="*/ 387858 h 530828"/>
                <a:gd name="connsiteX58" fmla="*/ 256032 w 338518"/>
                <a:gd name="connsiteY58" fmla="*/ 366617 h 5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8518" h="530828">
                  <a:moveTo>
                    <a:pt x="253651" y="523018"/>
                  </a:moveTo>
                  <a:lnTo>
                    <a:pt x="253651" y="477107"/>
                  </a:lnTo>
                  <a:cubicBezTo>
                    <a:pt x="240887" y="492157"/>
                    <a:pt x="224695" y="504920"/>
                    <a:pt x="204883" y="515303"/>
                  </a:cubicBezTo>
                  <a:cubicBezTo>
                    <a:pt x="185071" y="525685"/>
                    <a:pt x="161068" y="530828"/>
                    <a:pt x="132779" y="530828"/>
                  </a:cubicBezTo>
                  <a:cubicBezTo>
                    <a:pt x="114871" y="530828"/>
                    <a:pt x="97917" y="528352"/>
                    <a:pt x="81915" y="523399"/>
                  </a:cubicBezTo>
                  <a:cubicBezTo>
                    <a:pt x="65913" y="518446"/>
                    <a:pt x="51911" y="511112"/>
                    <a:pt x="39910" y="501491"/>
                  </a:cubicBezTo>
                  <a:cubicBezTo>
                    <a:pt x="27908" y="491871"/>
                    <a:pt x="18193" y="479870"/>
                    <a:pt x="10954" y="465487"/>
                  </a:cubicBezTo>
                  <a:cubicBezTo>
                    <a:pt x="3620" y="451104"/>
                    <a:pt x="0" y="434531"/>
                    <a:pt x="0" y="415671"/>
                  </a:cubicBezTo>
                  <a:lnTo>
                    <a:pt x="0" y="414242"/>
                  </a:lnTo>
                  <a:cubicBezTo>
                    <a:pt x="0" y="393478"/>
                    <a:pt x="3810" y="375476"/>
                    <a:pt x="11335" y="360140"/>
                  </a:cubicBezTo>
                  <a:cubicBezTo>
                    <a:pt x="18860" y="344805"/>
                    <a:pt x="29337" y="332137"/>
                    <a:pt x="42767" y="321945"/>
                  </a:cubicBezTo>
                  <a:cubicBezTo>
                    <a:pt x="56198" y="311849"/>
                    <a:pt x="72200" y="304324"/>
                    <a:pt x="90773" y="299371"/>
                  </a:cubicBezTo>
                  <a:cubicBezTo>
                    <a:pt x="109347" y="294418"/>
                    <a:pt x="129540" y="291941"/>
                    <a:pt x="151162" y="291941"/>
                  </a:cubicBezTo>
                  <a:cubicBezTo>
                    <a:pt x="172784" y="291941"/>
                    <a:pt x="192977" y="293370"/>
                    <a:pt x="208788" y="296228"/>
                  </a:cubicBezTo>
                  <a:cubicBezTo>
                    <a:pt x="224600" y="299085"/>
                    <a:pt x="239744" y="302800"/>
                    <a:pt x="254413" y="307562"/>
                  </a:cubicBezTo>
                  <a:lnTo>
                    <a:pt x="254413" y="300514"/>
                  </a:lnTo>
                  <a:cubicBezTo>
                    <a:pt x="254413" y="274606"/>
                    <a:pt x="246507" y="254794"/>
                    <a:pt x="230696" y="241173"/>
                  </a:cubicBezTo>
                  <a:cubicBezTo>
                    <a:pt x="214884" y="227552"/>
                    <a:pt x="192215" y="220694"/>
                    <a:pt x="162496" y="220694"/>
                  </a:cubicBezTo>
                  <a:cubicBezTo>
                    <a:pt x="141351" y="220694"/>
                    <a:pt x="122492" y="222790"/>
                    <a:pt x="106013" y="227076"/>
                  </a:cubicBezTo>
                  <a:cubicBezTo>
                    <a:pt x="89535" y="231362"/>
                    <a:pt x="72771" y="236982"/>
                    <a:pt x="55817" y="244031"/>
                  </a:cubicBezTo>
                  <a:lnTo>
                    <a:pt x="32480" y="175451"/>
                  </a:lnTo>
                  <a:cubicBezTo>
                    <a:pt x="53150" y="166021"/>
                    <a:pt x="74390" y="158496"/>
                    <a:pt x="96107" y="152876"/>
                  </a:cubicBezTo>
                  <a:cubicBezTo>
                    <a:pt x="117729" y="147257"/>
                    <a:pt x="143923" y="144399"/>
                    <a:pt x="174593" y="144399"/>
                  </a:cubicBezTo>
                  <a:cubicBezTo>
                    <a:pt x="230124" y="144399"/>
                    <a:pt x="271367" y="158210"/>
                    <a:pt x="298228" y="185738"/>
                  </a:cubicBezTo>
                  <a:cubicBezTo>
                    <a:pt x="325088" y="213265"/>
                    <a:pt x="338519" y="252032"/>
                    <a:pt x="338519" y="301943"/>
                  </a:cubicBezTo>
                  <a:lnTo>
                    <a:pt x="338519" y="523113"/>
                  </a:lnTo>
                  <a:lnTo>
                    <a:pt x="253746" y="523113"/>
                  </a:lnTo>
                  <a:close/>
                  <a:moveTo>
                    <a:pt x="45911" y="95441"/>
                  </a:moveTo>
                  <a:cubicBezTo>
                    <a:pt x="53912" y="66675"/>
                    <a:pt x="63722" y="44768"/>
                    <a:pt x="75248" y="29718"/>
                  </a:cubicBezTo>
                  <a:cubicBezTo>
                    <a:pt x="86773" y="14669"/>
                    <a:pt x="103442" y="7144"/>
                    <a:pt x="125063" y="7144"/>
                  </a:cubicBezTo>
                  <a:cubicBezTo>
                    <a:pt x="134969" y="7144"/>
                    <a:pt x="144590" y="8668"/>
                    <a:pt x="154019" y="11716"/>
                  </a:cubicBezTo>
                  <a:cubicBezTo>
                    <a:pt x="163449" y="14764"/>
                    <a:pt x="172498" y="18098"/>
                    <a:pt x="181261" y="21622"/>
                  </a:cubicBezTo>
                  <a:cubicBezTo>
                    <a:pt x="189929" y="25146"/>
                    <a:pt x="198120" y="28385"/>
                    <a:pt x="205645" y="31147"/>
                  </a:cubicBezTo>
                  <a:cubicBezTo>
                    <a:pt x="213170" y="34004"/>
                    <a:pt x="220218" y="35338"/>
                    <a:pt x="226790" y="35338"/>
                  </a:cubicBezTo>
                  <a:cubicBezTo>
                    <a:pt x="237173" y="35338"/>
                    <a:pt x="244888" y="32480"/>
                    <a:pt x="250127" y="26861"/>
                  </a:cubicBezTo>
                  <a:cubicBezTo>
                    <a:pt x="255270" y="21241"/>
                    <a:pt x="260509" y="12287"/>
                    <a:pt x="265652" y="0"/>
                  </a:cubicBezTo>
                  <a:lnTo>
                    <a:pt x="312991" y="14859"/>
                  </a:lnTo>
                  <a:cubicBezTo>
                    <a:pt x="304991" y="43148"/>
                    <a:pt x="295180" y="64770"/>
                    <a:pt x="283655" y="79820"/>
                  </a:cubicBezTo>
                  <a:cubicBezTo>
                    <a:pt x="272129" y="94869"/>
                    <a:pt x="255461" y="102394"/>
                    <a:pt x="233839" y="102394"/>
                  </a:cubicBezTo>
                  <a:cubicBezTo>
                    <a:pt x="223933" y="102394"/>
                    <a:pt x="214313" y="100965"/>
                    <a:pt x="204883" y="98203"/>
                  </a:cubicBezTo>
                  <a:cubicBezTo>
                    <a:pt x="195453" y="95345"/>
                    <a:pt x="186404" y="92202"/>
                    <a:pt x="177641" y="88678"/>
                  </a:cubicBezTo>
                  <a:cubicBezTo>
                    <a:pt x="168878" y="85154"/>
                    <a:pt x="160687" y="81820"/>
                    <a:pt x="152876" y="78772"/>
                  </a:cubicBezTo>
                  <a:cubicBezTo>
                    <a:pt x="145066" y="75724"/>
                    <a:pt x="138113" y="74200"/>
                    <a:pt x="132017" y="74200"/>
                  </a:cubicBezTo>
                  <a:cubicBezTo>
                    <a:pt x="121634" y="74200"/>
                    <a:pt x="113919" y="77057"/>
                    <a:pt x="108680" y="82677"/>
                  </a:cubicBezTo>
                  <a:cubicBezTo>
                    <a:pt x="103537" y="88297"/>
                    <a:pt x="98298" y="97250"/>
                    <a:pt x="93154" y="109538"/>
                  </a:cubicBezTo>
                  <a:lnTo>
                    <a:pt x="45815" y="95441"/>
                  </a:lnTo>
                  <a:close/>
                  <a:moveTo>
                    <a:pt x="255842" y="366808"/>
                  </a:moveTo>
                  <a:cubicBezTo>
                    <a:pt x="244983" y="362522"/>
                    <a:pt x="232124" y="358997"/>
                    <a:pt x="217361" y="356235"/>
                  </a:cubicBezTo>
                  <a:cubicBezTo>
                    <a:pt x="202502" y="353378"/>
                    <a:pt x="186880" y="351949"/>
                    <a:pt x="170402" y="351949"/>
                  </a:cubicBezTo>
                  <a:cubicBezTo>
                    <a:pt x="143542" y="351949"/>
                    <a:pt x="122587" y="357092"/>
                    <a:pt x="107537" y="367475"/>
                  </a:cubicBezTo>
                  <a:cubicBezTo>
                    <a:pt x="92488" y="377857"/>
                    <a:pt x="84963" y="391954"/>
                    <a:pt x="84963" y="409861"/>
                  </a:cubicBezTo>
                  <a:lnTo>
                    <a:pt x="84963" y="411290"/>
                  </a:lnTo>
                  <a:cubicBezTo>
                    <a:pt x="84963" y="429197"/>
                    <a:pt x="91916" y="442817"/>
                    <a:pt x="105823" y="452247"/>
                  </a:cubicBezTo>
                  <a:cubicBezTo>
                    <a:pt x="119729" y="461677"/>
                    <a:pt x="136779" y="466344"/>
                    <a:pt x="157067" y="466344"/>
                  </a:cubicBezTo>
                  <a:cubicBezTo>
                    <a:pt x="171164" y="466344"/>
                    <a:pt x="184309" y="464439"/>
                    <a:pt x="196310" y="460724"/>
                  </a:cubicBezTo>
                  <a:cubicBezTo>
                    <a:pt x="208312" y="456914"/>
                    <a:pt x="218789" y="451676"/>
                    <a:pt x="227743" y="444818"/>
                  </a:cubicBezTo>
                  <a:cubicBezTo>
                    <a:pt x="236696" y="437960"/>
                    <a:pt x="243650" y="429768"/>
                    <a:pt x="248603" y="420053"/>
                  </a:cubicBezTo>
                  <a:cubicBezTo>
                    <a:pt x="253555" y="410432"/>
                    <a:pt x="256032" y="399669"/>
                    <a:pt x="256032" y="387858"/>
                  </a:cubicBezTo>
                  <a:lnTo>
                    <a:pt x="256032" y="366617"/>
                  </a:lnTo>
                  <a:close/>
                </a:path>
              </a:pathLst>
            </a:custGeom>
            <a:solidFill>
              <a:srgbClr val="44505E"/>
            </a:solidFill>
            <a:ln w="9525" cap="flat">
              <a:noFill/>
              <a:prstDash val="solid"/>
              <a:miter/>
            </a:ln>
          </p:spPr>
          <p:txBody>
            <a:bodyPr rtlCol="0" anchor="ctr"/>
            <a:lstStyle/>
            <a:p>
              <a:endParaRPr lang="pt-BR" noProof="0"/>
            </a:p>
          </p:txBody>
        </p:sp>
        <p:sp>
          <p:nvSpPr>
            <p:cNvPr id="31" name="Freeform: Shape 30">
              <a:extLst>
                <a:ext uri="{FF2B5EF4-FFF2-40B4-BE49-F238E27FC236}">
                  <a16:creationId xmlns:a16="http://schemas.microsoft.com/office/drawing/2014/main" id="{78B97227-8D64-13F0-062B-0921952180C2}"/>
                </a:ext>
              </a:extLst>
            </p:cNvPr>
            <p:cNvSpPr/>
            <p:nvPr/>
          </p:nvSpPr>
          <p:spPr>
            <a:xfrm>
              <a:off x="6506477" y="699959"/>
              <a:ext cx="100038" cy="97908"/>
            </a:xfrm>
            <a:custGeom>
              <a:avLst/>
              <a:gdLst>
                <a:gd name="connsiteX0" fmla="*/ 197834 w 397954"/>
                <a:gd name="connsiteY0" fmla="*/ 389477 h 389477"/>
                <a:gd name="connsiteX1" fmla="*/ 119063 w 397954"/>
                <a:gd name="connsiteY1" fmla="*/ 374237 h 389477"/>
                <a:gd name="connsiteX2" fmla="*/ 56198 w 397954"/>
                <a:gd name="connsiteY2" fmla="*/ 332899 h 389477"/>
                <a:gd name="connsiteX3" fmla="*/ 14859 w 397954"/>
                <a:gd name="connsiteY3" fmla="*/ 271463 h 389477"/>
                <a:gd name="connsiteX4" fmla="*/ 0 w 397954"/>
                <a:gd name="connsiteY4" fmla="*/ 196501 h 389477"/>
                <a:gd name="connsiteX5" fmla="*/ 0 w 397954"/>
                <a:gd name="connsiteY5" fmla="*/ 195072 h 389477"/>
                <a:gd name="connsiteX6" fmla="*/ 15240 w 397954"/>
                <a:gd name="connsiteY6" fmla="*/ 119444 h 389477"/>
                <a:gd name="connsiteX7" fmla="*/ 56960 w 397954"/>
                <a:gd name="connsiteY7" fmla="*/ 57626 h 389477"/>
                <a:gd name="connsiteX8" fmla="*/ 119825 w 397954"/>
                <a:gd name="connsiteY8" fmla="*/ 15526 h 389477"/>
                <a:gd name="connsiteX9" fmla="*/ 199358 w 397954"/>
                <a:gd name="connsiteY9" fmla="*/ 0 h 389477"/>
                <a:gd name="connsiteX10" fmla="*/ 278892 w 397954"/>
                <a:gd name="connsiteY10" fmla="*/ 15240 h 389477"/>
                <a:gd name="connsiteX11" fmla="*/ 341757 w 397954"/>
                <a:gd name="connsiteY11" fmla="*/ 56959 h 389477"/>
                <a:gd name="connsiteX12" fmla="*/ 383096 w 397954"/>
                <a:gd name="connsiteY12" fmla="*/ 118396 h 389477"/>
                <a:gd name="connsiteX13" fmla="*/ 397955 w 397954"/>
                <a:gd name="connsiteY13" fmla="*/ 193643 h 389477"/>
                <a:gd name="connsiteX14" fmla="*/ 397955 w 397954"/>
                <a:gd name="connsiteY14" fmla="*/ 195072 h 389477"/>
                <a:gd name="connsiteX15" fmla="*/ 382714 w 397954"/>
                <a:gd name="connsiteY15" fmla="*/ 270034 h 389477"/>
                <a:gd name="connsiteX16" fmla="*/ 340995 w 397954"/>
                <a:gd name="connsiteY16" fmla="*/ 331851 h 389477"/>
                <a:gd name="connsiteX17" fmla="*/ 277749 w 397954"/>
                <a:gd name="connsiteY17" fmla="*/ 373856 h 389477"/>
                <a:gd name="connsiteX18" fmla="*/ 197834 w 397954"/>
                <a:gd name="connsiteY18" fmla="*/ 389382 h 389477"/>
                <a:gd name="connsiteX19" fmla="*/ 199263 w 397954"/>
                <a:gd name="connsiteY19" fmla="*/ 315278 h 389477"/>
                <a:gd name="connsiteX20" fmla="*/ 245936 w 397954"/>
                <a:gd name="connsiteY20" fmla="*/ 305753 h 389477"/>
                <a:gd name="connsiteX21" fmla="*/ 281369 w 397954"/>
                <a:gd name="connsiteY21" fmla="*/ 279940 h 389477"/>
                <a:gd name="connsiteX22" fmla="*/ 303848 w 397954"/>
                <a:gd name="connsiteY22" fmla="*/ 242125 h 389477"/>
                <a:gd name="connsiteX23" fmla="*/ 311563 w 397954"/>
                <a:gd name="connsiteY23" fmla="*/ 196501 h 389477"/>
                <a:gd name="connsiteX24" fmla="*/ 311563 w 397954"/>
                <a:gd name="connsiteY24" fmla="*/ 195072 h 389477"/>
                <a:gd name="connsiteX25" fmla="*/ 303181 w 397954"/>
                <a:gd name="connsiteY25" fmla="*/ 148400 h 389477"/>
                <a:gd name="connsiteX26" fmla="*/ 279654 w 397954"/>
                <a:gd name="connsiteY26" fmla="*/ 110204 h 389477"/>
                <a:gd name="connsiteX27" fmla="*/ 243840 w 397954"/>
                <a:gd name="connsiteY27" fmla="*/ 84392 h 389477"/>
                <a:gd name="connsiteX28" fmla="*/ 197834 w 397954"/>
                <a:gd name="connsiteY28" fmla="*/ 74867 h 389477"/>
                <a:gd name="connsiteX29" fmla="*/ 151829 w 397954"/>
                <a:gd name="connsiteY29" fmla="*/ 84392 h 389477"/>
                <a:gd name="connsiteX30" fmla="*/ 116396 w 397954"/>
                <a:gd name="connsiteY30" fmla="*/ 109823 h 389477"/>
                <a:gd name="connsiteX31" fmla="*/ 93916 w 397954"/>
                <a:gd name="connsiteY31" fmla="*/ 147638 h 389477"/>
                <a:gd name="connsiteX32" fmla="*/ 86201 w 397954"/>
                <a:gd name="connsiteY32" fmla="*/ 193548 h 389477"/>
                <a:gd name="connsiteX33" fmla="*/ 86201 w 397954"/>
                <a:gd name="connsiteY33" fmla="*/ 194977 h 389477"/>
                <a:gd name="connsiteX34" fmla="*/ 94583 w 397954"/>
                <a:gd name="connsiteY34" fmla="*/ 241268 h 389477"/>
                <a:gd name="connsiteX35" fmla="*/ 118110 w 397954"/>
                <a:gd name="connsiteY35" fmla="*/ 279463 h 389477"/>
                <a:gd name="connsiteX36" fmla="*/ 153924 w 397954"/>
                <a:gd name="connsiteY36" fmla="*/ 305562 h 389477"/>
                <a:gd name="connsiteX37" fmla="*/ 199263 w 397954"/>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954" h="389477">
                  <a:moveTo>
                    <a:pt x="197834" y="389477"/>
                  </a:moveTo>
                  <a:cubicBezTo>
                    <a:pt x="169545" y="389477"/>
                    <a:pt x="143351" y="384429"/>
                    <a:pt x="119063" y="374237"/>
                  </a:cubicBezTo>
                  <a:cubicBezTo>
                    <a:pt x="94774" y="364141"/>
                    <a:pt x="73819" y="350330"/>
                    <a:pt x="56198" y="332899"/>
                  </a:cubicBezTo>
                  <a:cubicBezTo>
                    <a:pt x="38576" y="315468"/>
                    <a:pt x="24765" y="294989"/>
                    <a:pt x="14859" y="271463"/>
                  </a:cubicBezTo>
                  <a:cubicBezTo>
                    <a:pt x="4953" y="247936"/>
                    <a:pt x="0" y="222980"/>
                    <a:pt x="0" y="196501"/>
                  </a:cubicBezTo>
                  <a:lnTo>
                    <a:pt x="0" y="195072"/>
                  </a:lnTo>
                  <a:cubicBezTo>
                    <a:pt x="0" y="168212"/>
                    <a:pt x="5049" y="143066"/>
                    <a:pt x="15240" y="119444"/>
                  </a:cubicBezTo>
                  <a:cubicBezTo>
                    <a:pt x="25337" y="95917"/>
                    <a:pt x="39243" y="75248"/>
                    <a:pt x="56960" y="57626"/>
                  </a:cubicBezTo>
                  <a:cubicBezTo>
                    <a:pt x="74676" y="39910"/>
                    <a:pt x="95631" y="25908"/>
                    <a:pt x="119825" y="15526"/>
                  </a:cubicBezTo>
                  <a:cubicBezTo>
                    <a:pt x="144113" y="5144"/>
                    <a:pt x="170593" y="0"/>
                    <a:pt x="199358" y="0"/>
                  </a:cubicBezTo>
                  <a:cubicBezTo>
                    <a:pt x="228124" y="0"/>
                    <a:pt x="254604" y="5048"/>
                    <a:pt x="278892" y="15240"/>
                  </a:cubicBezTo>
                  <a:cubicBezTo>
                    <a:pt x="303181" y="25337"/>
                    <a:pt x="324136" y="39243"/>
                    <a:pt x="341757" y="56959"/>
                  </a:cubicBezTo>
                  <a:cubicBezTo>
                    <a:pt x="359379" y="74676"/>
                    <a:pt x="373189" y="95155"/>
                    <a:pt x="383096" y="118396"/>
                  </a:cubicBezTo>
                  <a:cubicBezTo>
                    <a:pt x="393002" y="141732"/>
                    <a:pt x="397955" y="166783"/>
                    <a:pt x="397955" y="193643"/>
                  </a:cubicBezTo>
                  <a:lnTo>
                    <a:pt x="397955" y="195072"/>
                  </a:lnTo>
                  <a:cubicBezTo>
                    <a:pt x="397955" y="221456"/>
                    <a:pt x="392906" y="246412"/>
                    <a:pt x="382714" y="270034"/>
                  </a:cubicBezTo>
                  <a:cubicBezTo>
                    <a:pt x="372618" y="293561"/>
                    <a:pt x="358712" y="314230"/>
                    <a:pt x="340995" y="331851"/>
                  </a:cubicBezTo>
                  <a:cubicBezTo>
                    <a:pt x="323279" y="349472"/>
                    <a:pt x="302229" y="363569"/>
                    <a:pt x="277749" y="373856"/>
                  </a:cubicBezTo>
                  <a:cubicBezTo>
                    <a:pt x="253270" y="384238"/>
                    <a:pt x="226600" y="389382"/>
                    <a:pt x="197834" y="389382"/>
                  </a:cubicBezTo>
                  <a:close/>
                  <a:moveTo>
                    <a:pt x="199263" y="315278"/>
                  </a:moveTo>
                  <a:cubicBezTo>
                    <a:pt x="216598" y="315278"/>
                    <a:pt x="232124" y="312039"/>
                    <a:pt x="245936" y="305753"/>
                  </a:cubicBezTo>
                  <a:cubicBezTo>
                    <a:pt x="259747" y="299371"/>
                    <a:pt x="271558" y="290798"/>
                    <a:pt x="281369" y="279940"/>
                  </a:cubicBezTo>
                  <a:cubicBezTo>
                    <a:pt x="291179" y="269081"/>
                    <a:pt x="298704" y="256508"/>
                    <a:pt x="303848" y="242125"/>
                  </a:cubicBezTo>
                  <a:cubicBezTo>
                    <a:pt x="308991" y="227743"/>
                    <a:pt x="311563" y="212598"/>
                    <a:pt x="311563" y="196501"/>
                  </a:cubicBezTo>
                  <a:lnTo>
                    <a:pt x="311563" y="195072"/>
                  </a:lnTo>
                  <a:cubicBezTo>
                    <a:pt x="311563" y="178594"/>
                    <a:pt x="308706" y="163068"/>
                    <a:pt x="303181" y="148400"/>
                  </a:cubicBezTo>
                  <a:cubicBezTo>
                    <a:pt x="297561" y="133826"/>
                    <a:pt x="289750" y="121063"/>
                    <a:pt x="279654" y="110204"/>
                  </a:cubicBezTo>
                  <a:cubicBezTo>
                    <a:pt x="269557" y="99346"/>
                    <a:pt x="257651" y="90773"/>
                    <a:pt x="243840" y="84392"/>
                  </a:cubicBezTo>
                  <a:cubicBezTo>
                    <a:pt x="230029" y="78010"/>
                    <a:pt x="214694" y="74867"/>
                    <a:pt x="197834" y="74867"/>
                  </a:cubicBezTo>
                  <a:cubicBezTo>
                    <a:pt x="180975" y="74867"/>
                    <a:pt x="165640" y="78010"/>
                    <a:pt x="151829" y="84392"/>
                  </a:cubicBezTo>
                  <a:cubicBezTo>
                    <a:pt x="138017" y="90773"/>
                    <a:pt x="126206" y="99250"/>
                    <a:pt x="116396" y="109823"/>
                  </a:cubicBezTo>
                  <a:cubicBezTo>
                    <a:pt x="106585" y="120396"/>
                    <a:pt x="99060" y="133064"/>
                    <a:pt x="93916" y="147638"/>
                  </a:cubicBezTo>
                  <a:cubicBezTo>
                    <a:pt x="88773" y="162211"/>
                    <a:pt x="86201" y="177546"/>
                    <a:pt x="86201" y="193548"/>
                  </a:cubicBezTo>
                  <a:lnTo>
                    <a:pt x="86201" y="194977"/>
                  </a:lnTo>
                  <a:cubicBezTo>
                    <a:pt x="86201" y="211455"/>
                    <a:pt x="89059" y="226886"/>
                    <a:pt x="94583" y="241268"/>
                  </a:cubicBezTo>
                  <a:cubicBezTo>
                    <a:pt x="100203" y="255651"/>
                    <a:pt x="108014" y="268319"/>
                    <a:pt x="118110" y="279463"/>
                  </a:cubicBezTo>
                  <a:cubicBezTo>
                    <a:pt x="128207" y="290608"/>
                    <a:pt x="140113" y="299275"/>
                    <a:pt x="153924" y="305562"/>
                  </a:cubicBezTo>
                  <a:cubicBezTo>
                    <a:pt x="167735" y="311944"/>
                    <a:pt x="182785"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32" name="Freeform: Shape 31">
              <a:extLst>
                <a:ext uri="{FF2B5EF4-FFF2-40B4-BE49-F238E27FC236}">
                  <a16:creationId xmlns:a16="http://schemas.microsoft.com/office/drawing/2014/main" id="{2B7E7EC9-B5A0-67B3-5764-A93CE6364A72}"/>
                </a:ext>
              </a:extLst>
            </p:cNvPr>
            <p:cNvSpPr/>
            <p:nvPr/>
          </p:nvSpPr>
          <p:spPr>
            <a:xfrm>
              <a:off x="662071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1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7 w 296894"/>
                <a:gd name="connsiteY23" fmla="*/ 42863 h 386714"/>
                <a:gd name="connsiteX24" fmla="*/ 254318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7 w 296894"/>
                <a:gd name="connsiteY30" fmla="*/ 124587 h 386714"/>
                <a:gd name="connsiteX31" fmla="*/ 122682 w 296894"/>
                <a:gd name="connsiteY31" fmla="*/ 138017 h 386714"/>
                <a:gd name="connsiteX32" fmla="*/ 149543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6" y="348901"/>
                    <a:pt x="0" y="330327"/>
                  </a:cubicBezTo>
                  <a:lnTo>
                    <a:pt x="38195" y="272224"/>
                  </a:lnTo>
                  <a:cubicBezTo>
                    <a:pt x="58484" y="287274"/>
                    <a:pt x="79057" y="298704"/>
                    <a:pt x="100013" y="306514"/>
                  </a:cubicBezTo>
                  <a:cubicBezTo>
                    <a:pt x="120968" y="314325"/>
                    <a:pt x="141161" y="318135"/>
                    <a:pt x="160401" y="318135"/>
                  </a:cubicBezTo>
                  <a:cubicBezTo>
                    <a:pt x="179641" y="318135"/>
                    <a:pt x="192977"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1" y="241078"/>
                    <a:pt x="176498" y="237553"/>
                    <a:pt x="166401"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2" y="40195"/>
                    <a:pt x="56864" y="30385"/>
                  </a:cubicBezTo>
                  <a:cubicBezTo>
                    <a:pt x="68866" y="20479"/>
                    <a:pt x="82962" y="12954"/>
                    <a:pt x="99250" y="7810"/>
                  </a:cubicBezTo>
                  <a:cubicBezTo>
                    <a:pt x="115538" y="2667"/>
                    <a:pt x="132779" y="0"/>
                    <a:pt x="151162" y="0"/>
                  </a:cubicBezTo>
                  <a:cubicBezTo>
                    <a:pt x="174688" y="0"/>
                    <a:pt x="198501" y="3810"/>
                    <a:pt x="222504" y="11430"/>
                  </a:cubicBezTo>
                  <a:cubicBezTo>
                    <a:pt x="246507" y="19050"/>
                    <a:pt x="268414" y="29527"/>
                    <a:pt x="288227" y="42863"/>
                  </a:cubicBezTo>
                  <a:lnTo>
                    <a:pt x="254318"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7" y="124587"/>
                  </a:cubicBezTo>
                  <a:cubicBezTo>
                    <a:pt x="108585" y="129540"/>
                    <a:pt x="114871" y="134017"/>
                    <a:pt x="122682" y="138017"/>
                  </a:cubicBezTo>
                  <a:cubicBezTo>
                    <a:pt x="130493" y="142018"/>
                    <a:pt x="139351" y="145732"/>
                    <a:pt x="149543"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696"/>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33" name="Freeform: Shape 32">
              <a:extLst>
                <a:ext uri="{FF2B5EF4-FFF2-40B4-BE49-F238E27FC236}">
                  <a16:creationId xmlns:a16="http://schemas.microsoft.com/office/drawing/2014/main" id="{8F04DBC2-CA5F-5801-AA64-3899A6E43762}"/>
                </a:ext>
              </a:extLst>
            </p:cNvPr>
            <p:cNvSpPr/>
            <p:nvPr/>
          </p:nvSpPr>
          <p:spPr>
            <a:xfrm>
              <a:off x="526693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4 w 202977"/>
                <a:gd name="connsiteY17" fmla="*/ 19907 h 239267"/>
                <a:gd name="connsiteX18" fmla="*/ 59246 w 202977"/>
                <a:gd name="connsiteY18" fmla="*/ 5429 h 239267"/>
                <a:gd name="connsiteX19" fmla="*/ 104299 w 202977"/>
                <a:gd name="connsiteY19" fmla="*/ 0 h 239267"/>
                <a:gd name="connsiteX20" fmla="*/ 178880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5 w 202977"/>
                <a:gd name="connsiteY27" fmla="*/ 211169 h 239267"/>
                <a:gd name="connsiteX28" fmla="*/ 122968 w 202977"/>
                <a:gd name="connsiteY28" fmla="*/ 206788 h 239267"/>
                <a:gd name="connsiteX29" fmla="*/ 147257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9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9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3" y="99155"/>
                    <a:pt x="58674" y="95917"/>
                  </a:cubicBezTo>
                  <a:cubicBezTo>
                    <a:pt x="70771" y="92678"/>
                    <a:pt x="84011" y="90964"/>
                    <a:pt x="98584" y="90964"/>
                  </a:cubicBezTo>
                  <a:cubicBezTo>
                    <a:pt x="113157" y="90964"/>
                    <a:pt x="126301" y="91821"/>
                    <a:pt x="137160" y="93631"/>
                  </a:cubicBezTo>
                  <a:cubicBezTo>
                    <a:pt x="148019" y="95440"/>
                    <a:pt x="158687" y="97822"/>
                    <a:pt x="169069" y="100774"/>
                  </a:cubicBezTo>
                  <a:lnTo>
                    <a:pt x="169069" y="93726"/>
                  </a:lnTo>
                  <a:cubicBezTo>
                    <a:pt x="169069" y="73342"/>
                    <a:pt x="163068" y="57912"/>
                    <a:pt x="151162" y="47339"/>
                  </a:cubicBezTo>
                  <a:cubicBezTo>
                    <a:pt x="139256" y="36862"/>
                    <a:pt x="122492" y="31623"/>
                    <a:pt x="100679" y="31623"/>
                  </a:cubicBezTo>
                  <a:cubicBezTo>
                    <a:pt x="86963" y="31623"/>
                    <a:pt x="74581" y="33147"/>
                    <a:pt x="63437" y="36100"/>
                  </a:cubicBezTo>
                  <a:cubicBezTo>
                    <a:pt x="52292" y="39053"/>
                    <a:pt x="41339" y="43053"/>
                    <a:pt x="30671" y="48196"/>
                  </a:cubicBezTo>
                  <a:lnTo>
                    <a:pt x="20384" y="19907"/>
                  </a:lnTo>
                  <a:cubicBezTo>
                    <a:pt x="33147" y="13906"/>
                    <a:pt x="46101" y="9049"/>
                    <a:pt x="59246" y="5429"/>
                  </a:cubicBezTo>
                  <a:cubicBezTo>
                    <a:pt x="72295" y="1810"/>
                    <a:pt x="87344" y="0"/>
                    <a:pt x="104299" y="0"/>
                  </a:cubicBezTo>
                  <a:cubicBezTo>
                    <a:pt x="137065" y="0"/>
                    <a:pt x="161925" y="8477"/>
                    <a:pt x="178880"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99" y="239173"/>
                    <a:pt x="86011" y="239173"/>
                  </a:cubicBezTo>
                  <a:close/>
                  <a:moveTo>
                    <a:pt x="93155" y="211169"/>
                  </a:moveTo>
                  <a:cubicBezTo>
                    <a:pt x="103823" y="211169"/>
                    <a:pt x="113728" y="209740"/>
                    <a:pt x="122968" y="206788"/>
                  </a:cubicBezTo>
                  <a:cubicBezTo>
                    <a:pt x="132207" y="203835"/>
                    <a:pt x="140208" y="199644"/>
                    <a:pt x="147257"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9" y="121444"/>
                  </a:cubicBezTo>
                  <a:cubicBezTo>
                    <a:pt x="129445" y="119348"/>
                    <a:pt x="116776"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244" y="190500"/>
                    <a:pt x="47435" y="195358"/>
                    <a:pt x="52769" y="199263"/>
                  </a:cubicBezTo>
                  <a:cubicBezTo>
                    <a:pt x="58103" y="203073"/>
                    <a:pt x="64294" y="206026"/>
                    <a:pt x="71247" y="208121"/>
                  </a:cubicBezTo>
                  <a:cubicBezTo>
                    <a:pt x="78200" y="210217"/>
                    <a:pt x="85535"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34" name="Freeform: Shape 33">
              <a:extLst>
                <a:ext uri="{FF2B5EF4-FFF2-40B4-BE49-F238E27FC236}">
                  <a16:creationId xmlns:a16="http://schemas.microsoft.com/office/drawing/2014/main" id="{2D3DD127-36E2-A470-8EB0-03136F9890EF}"/>
                </a:ext>
              </a:extLst>
            </p:cNvPr>
            <p:cNvSpPr/>
            <p:nvPr/>
          </p:nvSpPr>
          <p:spPr>
            <a:xfrm>
              <a:off x="5331227"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9" y="303276"/>
                    <a:pt x="71438" y="300895"/>
                  </a:cubicBezTo>
                  <a:cubicBezTo>
                    <a:pt x="63437"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2"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5" name="Freeform: Shape 34">
              <a:extLst>
                <a:ext uri="{FF2B5EF4-FFF2-40B4-BE49-F238E27FC236}">
                  <a16:creationId xmlns:a16="http://schemas.microsoft.com/office/drawing/2014/main" id="{1336ABFF-B378-3927-5890-B1BC2B8CD668}"/>
                </a:ext>
              </a:extLst>
            </p:cNvPr>
            <p:cNvSpPr/>
            <p:nvPr/>
          </p:nvSpPr>
          <p:spPr>
            <a:xfrm>
              <a:off x="5381845"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191 w 39242"/>
                <a:gd name="connsiteY5" fmla="*/ 88392 h 319182"/>
                <a:gd name="connsiteX6" fmla="*/ 36576 w 39242"/>
                <a:gd name="connsiteY6" fmla="*/ 88392 h 319182"/>
                <a:gd name="connsiteX7" fmla="*/ 36576 w 39242"/>
                <a:gd name="connsiteY7" fmla="*/ 319183 h 319182"/>
                <a:gd name="connsiteX8" fmla="*/ 2191 w 39242"/>
                <a:gd name="connsiteY8" fmla="*/ 319183 h 319182"/>
                <a:gd name="connsiteX9" fmla="*/ 2191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191" y="88392"/>
                  </a:moveTo>
                  <a:lnTo>
                    <a:pt x="36576" y="88392"/>
                  </a:lnTo>
                  <a:lnTo>
                    <a:pt x="36576" y="319183"/>
                  </a:lnTo>
                  <a:lnTo>
                    <a:pt x="2191" y="319183"/>
                  </a:lnTo>
                  <a:lnTo>
                    <a:pt x="2191" y="88392"/>
                  </a:lnTo>
                  <a:close/>
                </a:path>
              </a:pathLst>
            </a:custGeom>
            <a:solidFill>
              <a:srgbClr val="44505E"/>
            </a:solidFill>
            <a:ln w="9525" cap="flat">
              <a:noFill/>
              <a:prstDash val="solid"/>
              <a:miter/>
            </a:ln>
          </p:spPr>
          <p:txBody>
            <a:bodyPr rtlCol="0" anchor="ctr"/>
            <a:lstStyle/>
            <a:p>
              <a:endParaRPr lang="pt-BR" noProof="0"/>
            </a:p>
          </p:txBody>
        </p:sp>
        <p:sp>
          <p:nvSpPr>
            <p:cNvPr id="36" name="Freeform: Shape 35">
              <a:extLst>
                <a:ext uri="{FF2B5EF4-FFF2-40B4-BE49-F238E27FC236}">
                  <a16:creationId xmlns:a16="http://schemas.microsoft.com/office/drawing/2014/main" id="{C98CE06B-A8D3-7E57-8CD1-E1CCDEE7D6AA}"/>
                </a:ext>
              </a:extLst>
            </p:cNvPr>
            <p:cNvSpPr/>
            <p:nvPr/>
          </p:nvSpPr>
          <p:spPr>
            <a:xfrm>
              <a:off x="5406076"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8" y="303276"/>
                    <a:pt x="71438" y="300895"/>
                  </a:cubicBezTo>
                  <a:cubicBezTo>
                    <a:pt x="63436"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1"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7" name="Freeform: Shape 36">
              <a:extLst>
                <a:ext uri="{FF2B5EF4-FFF2-40B4-BE49-F238E27FC236}">
                  <a16:creationId xmlns:a16="http://schemas.microsoft.com/office/drawing/2014/main" id="{EA6E7B94-C13B-30CA-8EF4-F47FB16A0A3F}"/>
                </a:ext>
              </a:extLst>
            </p:cNvPr>
            <p:cNvSpPr/>
            <p:nvPr/>
          </p:nvSpPr>
          <p:spPr>
            <a:xfrm>
              <a:off x="5455545" y="925297"/>
              <a:ext cx="50594" cy="59238"/>
            </a:xfrm>
            <a:custGeom>
              <a:avLst/>
              <a:gdLst>
                <a:gd name="connsiteX0" fmla="*/ 88392 w 201263"/>
                <a:gd name="connsiteY0" fmla="*/ 235648 h 235648"/>
                <a:gd name="connsiteX1" fmla="*/ 51149 w 201263"/>
                <a:gd name="connsiteY1" fmla="*/ 228981 h 235648"/>
                <a:gd name="connsiteX2" fmla="*/ 23431 w 201263"/>
                <a:gd name="connsiteY2" fmla="*/ 210026 h 235648"/>
                <a:gd name="connsiteX3" fmla="*/ 6001 w 201263"/>
                <a:gd name="connsiteY3" fmla="*/ 180784 h 235648"/>
                <a:gd name="connsiteX4" fmla="*/ 0 w 201263"/>
                <a:gd name="connsiteY4" fmla="*/ 143256 h 235648"/>
                <a:gd name="connsiteX5" fmla="*/ 0 w 201263"/>
                <a:gd name="connsiteY5" fmla="*/ 0 h 235648"/>
                <a:gd name="connsiteX6" fmla="*/ 34385 w 201263"/>
                <a:gd name="connsiteY6" fmla="*/ 0 h 235648"/>
                <a:gd name="connsiteX7" fmla="*/ 34385 w 201263"/>
                <a:gd name="connsiteY7" fmla="*/ 134493 h 235648"/>
                <a:gd name="connsiteX8" fmla="*/ 50864 w 201263"/>
                <a:gd name="connsiteY8" fmla="*/ 185261 h 235648"/>
                <a:gd name="connsiteX9" fmla="*/ 98203 w 201263"/>
                <a:gd name="connsiteY9" fmla="*/ 203930 h 235648"/>
                <a:gd name="connsiteX10" fmla="*/ 125635 w 201263"/>
                <a:gd name="connsiteY10" fmla="*/ 198787 h 235648"/>
                <a:gd name="connsiteX11" fmla="*/ 147542 w 201263"/>
                <a:gd name="connsiteY11" fmla="*/ 184118 h 235648"/>
                <a:gd name="connsiteX12" fmla="*/ 162020 w 201263"/>
                <a:gd name="connsiteY12" fmla="*/ 161163 h 235648"/>
                <a:gd name="connsiteX13" fmla="*/ 167354 w 201263"/>
                <a:gd name="connsiteY13" fmla="*/ 131826 h 235648"/>
                <a:gd name="connsiteX14" fmla="*/ 167354 w 201263"/>
                <a:gd name="connsiteY14" fmla="*/ 0 h 235648"/>
                <a:gd name="connsiteX15" fmla="*/ 201263 w 201263"/>
                <a:gd name="connsiteY15" fmla="*/ 0 h 235648"/>
                <a:gd name="connsiteX16" fmla="*/ 201263 w 201263"/>
                <a:gd name="connsiteY16" fmla="*/ 230791 h 235648"/>
                <a:gd name="connsiteX17" fmla="*/ 167354 w 201263"/>
                <a:gd name="connsiteY17" fmla="*/ 230791 h 235648"/>
                <a:gd name="connsiteX18" fmla="*/ 167354 w 201263"/>
                <a:gd name="connsiteY18" fmla="*/ 190595 h 235648"/>
                <a:gd name="connsiteX19" fmla="*/ 136969 w 201263"/>
                <a:gd name="connsiteY19" fmla="*/ 222504 h 235648"/>
                <a:gd name="connsiteX20" fmla="*/ 88297 w 201263"/>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263" h="235648">
                  <a:moveTo>
                    <a:pt x="88392" y="235648"/>
                  </a:moveTo>
                  <a:cubicBezTo>
                    <a:pt x="74390" y="235648"/>
                    <a:pt x="62008" y="233363"/>
                    <a:pt x="51149" y="228981"/>
                  </a:cubicBezTo>
                  <a:cubicBezTo>
                    <a:pt x="40291" y="224504"/>
                    <a:pt x="31052" y="218218"/>
                    <a:pt x="23431"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864" y="185261"/>
                  </a:cubicBezTo>
                  <a:cubicBezTo>
                    <a:pt x="61913" y="197739"/>
                    <a:pt x="77629" y="203930"/>
                    <a:pt x="98203" y="203930"/>
                  </a:cubicBezTo>
                  <a:cubicBezTo>
                    <a:pt x="108014" y="203930"/>
                    <a:pt x="117158" y="202216"/>
                    <a:pt x="125635" y="198787"/>
                  </a:cubicBezTo>
                  <a:cubicBezTo>
                    <a:pt x="134112" y="195358"/>
                    <a:pt x="141351" y="190500"/>
                    <a:pt x="147542" y="184118"/>
                  </a:cubicBezTo>
                  <a:cubicBezTo>
                    <a:pt x="153638" y="177736"/>
                    <a:pt x="158496" y="170116"/>
                    <a:pt x="162020" y="161163"/>
                  </a:cubicBezTo>
                  <a:cubicBezTo>
                    <a:pt x="165640" y="152305"/>
                    <a:pt x="167354" y="142494"/>
                    <a:pt x="167354" y="131826"/>
                  </a:cubicBezTo>
                  <a:lnTo>
                    <a:pt x="167354" y="0"/>
                  </a:lnTo>
                  <a:lnTo>
                    <a:pt x="201263" y="0"/>
                  </a:lnTo>
                  <a:lnTo>
                    <a:pt x="201263" y="230791"/>
                  </a:lnTo>
                  <a:lnTo>
                    <a:pt x="167354" y="230791"/>
                  </a:lnTo>
                  <a:lnTo>
                    <a:pt x="167354" y="190595"/>
                  </a:lnTo>
                  <a:cubicBezTo>
                    <a:pt x="159639" y="203073"/>
                    <a:pt x="149447" y="213741"/>
                    <a:pt x="136969" y="222504"/>
                  </a:cubicBezTo>
                  <a:cubicBezTo>
                    <a:pt x="124492" y="231267"/>
                    <a:pt x="108299" y="235648"/>
                    <a:pt x="88297" y="235648"/>
                  </a:cubicBezTo>
                  <a:close/>
                </a:path>
              </a:pathLst>
            </a:custGeom>
            <a:solidFill>
              <a:srgbClr val="44505E"/>
            </a:solidFill>
            <a:ln w="9525" cap="flat">
              <a:noFill/>
              <a:prstDash val="solid"/>
              <a:miter/>
            </a:ln>
          </p:spPr>
          <p:txBody>
            <a:bodyPr rtlCol="0" anchor="ctr"/>
            <a:lstStyle/>
            <a:p>
              <a:endParaRPr lang="pt-BR" noProof="0"/>
            </a:p>
          </p:txBody>
        </p:sp>
        <p:sp>
          <p:nvSpPr>
            <p:cNvPr id="38" name="Freeform: Shape 37">
              <a:extLst>
                <a:ext uri="{FF2B5EF4-FFF2-40B4-BE49-F238E27FC236}">
                  <a16:creationId xmlns:a16="http://schemas.microsoft.com/office/drawing/2014/main" id="{14B335D0-7F6D-697E-BF5B-0A1E769C796F}"/>
                </a:ext>
              </a:extLst>
            </p:cNvPr>
            <p:cNvSpPr/>
            <p:nvPr/>
          </p:nvSpPr>
          <p:spPr>
            <a:xfrm>
              <a:off x="5522205" y="901353"/>
              <a:ext cx="58567" cy="83182"/>
            </a:xfrm>
            <a:custGeom>
              <a:avLst/>
              <a:gdLst>
                <a:gd name="connsiteX0" fmla="*/ 110204 w 232981"/>
                <a:gd name="connsiteY0" fmla="*/ 330898 h 330898"/>
                <a:gd name="connsiteX1" fmla="*/ 69628 w 232981"/>
                <a:gd name="connsiteY1" fmla="*/ 322897 h 330898"/>
                <a:gd name="connsiteX2" fmla="*/ 34385 w 232981"/>
                <a:gd name="connsiteY2" fmla="*/ 299466 h 330898"/>
                <a:gd name="connsiteX3" fmla="*/ 9334 w 232981"/>
                <a:gd name="connsiteY3" fmla="*/ 261938 h 330898"/>
                <a:gd name="connsiteX4" fmla="*/ 0 w 232981"/>
                <a:gd name="connsiteY4" fmla="*/ 211264 h 330898"/>
                <a:gd name="connsiteX5" fmla="*/ 0 w 232981"/>
                <a:gd name="connsiteY5" fmla="*/ 210407 h 330898"/>
                <a:gd name="connsiteX6" fmla="*/ 9334 w 232981"/>
                <a:gd name="connsiteY6" fmla="*/ 159925 h 330898"/>
                <a:gd name="connsiteX7" fmla="*/ 34385 w 232981"/>
                <a:gd name="connsiteY7" fmla="*/ 122206 h 330898"/>
                <a:gd name="connsiteX8" fmla="*/ 69628 w 232981"/>
                <a:gd name="connsiteY8" fmla="*/ 98488 h 330898"/>
                <a:gd name="connsiteX9" fmla="*/ 110204 w 232981"/>
                <a:gd name="connsiteY9" fmla="*/ 90202 h 330898"/>
                <a:gd name="connsiteX10" fmla="*/ 139636 w 232981"/>
                <a:gd name="connsiteY10" fmla="*/ 94202 h 330898"/>
                <a:gd name="connsiteX11" fmla="*/ 163735 w 232981"/>
                <a:gd name="connsiteY11" fmla="*/ 104870 h 330898"/>
                <a:gd name="connsiteX12" fmla="*/ 183166 w 232981"/>
                <a:gd name="connsiteY12" fmla="*/ 120491 h 330898"/>
                <a:gd name="connsiteX13" fmla="*/ 198596 w 232981"/>
                <a:gd name="connsiteY13" fmla="*/ 139255 h 330898"/>
                <a:gd name="connsiteX14" fmla="*/ 198596 w 232981"/>
                <a:gd name="connsiteY14" fmla="*/ 0 h 330898"/>
                <a:gd name="connsiteX15" fmla="*/ 232981 w 232981"/>
                <a:gd name="connsiteY15" fmla="*/ 0 h 330898"/>
                <a:gd name="connsiteX16" fmla="*/ 232981 w 232981"/>
                <a:gd name="connsiteY16" fmla="*/ 325850 h 330898"/>
                <a:gd name="connsiteX17" fmla="*/ 198596 w 232981"/>
                <a:gd name="connsiteY17" fmla="*/ 325850 h 330898"/>
                <a:gd name="connsiteX18" fmla="*/ 198596 w 232981"/>
                <a:gd name="connsiteY18" fmla="*/ 279463 h 330898"/>
                <a:gd name="connsiteX19" fmla="*/ 182785 w 232981"/>
                <a:gd name="connsiteY19" fmla="*/ 299085 h 330898"/>
                <a:gd name="connsiteX20" fmla="*/ 163354 w 232981"/>
                <a:gd name="connsiteY20" fmla="*/ 315658 h 330898"/>
                <a:gd name="connsiteX21" fmla="*/ 139446 w 232981"/>
                <a:gd name="connsiteY21" fmla="*/ 326803 h 330898"/>
                <a:gd name="connsiteX22" fmla="*/ 110204 w 232981"/>
                <a:gd name="connsiteY22" fmla="*/ 330803 h 330898"/>
                <a:gd name="connsiteX23" fmla="*/ 116491 w 232981"/>
                <a:gd name="connsiteY23" fmla="*/ 300133 h 330898"/>
                <a:gd name="connsiteX24" fmla="*/ 147542 w 232981"/>
                <a:gd name="connsiteY24" fmla="*/ 293656 h 330898"/>
                <a:gd name="connsiteX25" fmla="*/ 174307 w 232981"/>
                <a:gd name="connsiteY25" fmla="*/ 275368 h 330898"/>
                <a:gd name="connsiteX26" fmla="*/ 193072 w 232981"/>
                <a:gd name="connsiteY26" fmla="*/ 247269 h 330898"/>
                <a:gd name="connsiteX27" fmla="*/ 200025 w 232981"/>
                <a:gd name="connsiteY27" fmla="*/ 210883 h 330898"/>
                <a:gd name="connsiteX28" fmla="*/ 200025 w 232981"/>
                <a:gd name="connsiteY28" fmla="*/ 210026 h 330898"/>
                <a:gd name="connsiteX29" fmla="*/ 193072 w 232981"/>
                <a:gd name="connsiteY29" fmla="*/ 173641 h 330898"/>
                <a:gd name="connsiteX30" fmla="*/ 174307 w 232981"/>
                <a:gd name="connsiteY30" fmla="*/ 145732 h 330898"/>
                <a:gd name="connsiteX31" fmla="*/ 147542 w 232981"/>
                <a:gd name="connsiteY31" fmla="*/ 127635 h 330898"/>
                <a:gd name="connsiteX32" fmla="*/ 116491 w 232981"/>
                <a:gd name="connsiteY32" fmla="*/ 121158 h 330898"/>
                <a:gd name="connsiteX33" fmla="*/ 84772 w 232981"/>
                <a:gd name="connsiteY33" fmla="*/ 127159 h 330898"/>
                <a:gd name="connsiteX34" fmla="*/ 59150 w 232981"/>
                <a:gd name="connsiteY34" fmla="*/ 144589 h 330898"/>
                <a:gd name="connsiteX35" fmla="*/ 41719 w 232981"/>
                <a:gd name="connsiteY35" fmla="*/ 172498 h 330898"/>
                <a:gd name="connsiteX36" fmla="*/ 35242 w 232981"/>
                <a:gd name="connsiteY36" fmla="*/ 210026 h 330898"/>
                <a:gd name="connsiteX37" fmla="*/ 35242 w 232981"/>
                <a:gd name="connsiteY37" fmla="*/ 210883 h 330898"/>
                <a:gd name="connsiteX38" fmla="*/ 41719 w 232981"/>
                <a:gd name="connsiteY38" fmla="*/ 247936 h 330898"/>
                <a:gd name="connsiteX39" fmla="*/ 59341 w 232981"/>
                <a:gd name="connsiteY39" fmla="*/ 276034 h 330898"/>
                <a:gd name="connsiteX40" fmla="*/ 85249 w 232981"/>
                <a:gd name="connsiteY40" fmla="*/ 293941 h 330898"/>
                <a:gd name="connsiteX41" fmla="*/ 116491 w 23298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30898">
                  <a:moveTo>
                    <a:pt x="110204" y="330898"/>
                  </a:moveTo>
                  <a:cubicBezTo>
                    <a:pt x="96202" y="330898"/>
                    <a:pt x="82677" y="328231"/>
                    <a:pt x="69628" y="322897"/>
                  </a:cubicBezTo>
                  <a:cubicBezTo>
                    <a:pt x="56578" y="317563"/>
                    <a:pt x="44767" y="309753"/>
                    <a:pt x="34385" y="299466"/>
                  </a:cubicBezTo>
                  <a:cubicBezTo>
                    <a:pt x="24003" y="289179"/>
                    <a:pt x="15621" y="276701"/>
                    <a:pt x="9334" y="261938"/>
                  </a:cubicBezTo>
                  <a:cubicBezTo>
                    <a:pt x="3048" y="247174"/>
                    <a:pt x="0" y="230314"/>
                    <a:pt x="0" y="211264"/>
                  </a:cubicBezTo>
                  <a:lnTo>
                    <a:pt x="0" y="210407"/>
                  </a:lnTo>
                  <a:cubicBezTo>
                    <a:pt x="0" y="191643"/>
                    <a:pt x="3143" y="174879"/>
                    <a:pt x="9334" y="159925"/>
                  </a:cubicBezTo>
                  <a:cubicBezTo>
                    <a:pt x="15621" y="145066"/>
                    <a:pt x="23908" y="132493"/>
                    <a:pt x="34385" y="122206"/>
                  </a:cubicBezTo>
                  <a:cubicBezTo>
                    <a:pt x="44767" y="111919"/>
                    <a:pt x="56578" y="104013"/>
                    <a:pt x="69628" y="98488"/>
                  </a:cubicBezTo>
                  <a:cubicBezTo>
                    <a:pt x="82677" y="92964"/>
                    <a:pt x="96298" y="90202"/>
                    <a:pt x="110204" y="90202"/>
                  </a:cubicBezTo>
                  <a:cubicBezTo>
                    <a:pt x="120967" y="90202"/>
                    <a:pt x="130778" y="91535"/>
                    <a:pt x="139636" y="94202"/>
                  </a:cubicBezTo>
                  <a:cubicBezTo>
                    <a:pt x="148590" y="96869"/>
                    <a:pt x="156591" y="100489"/>
                    <a:pt x="163735" y="104870"/>
                  </a:cubicBezTo>
                  <a:cubicBezTo>
                    <a:pt x="170878" y="109347"/>
                    <a:pt x="177356" y="114586"/>
                    <a:pt x="183166" y="120491"/>
                  </a:cubicBezTo>
                  <a:cubicBezTo>
                    <a:pt x="188976" y="126492"/>
                    <a:pt x="194119" y="132683"/>
                    <a:pt x="198596" y="139255"/>
                  </a:cubicBezTo>
                  <a:lnTo>
                    <a:pt x="198596" y="0"/>
                  </a:lnTo>
                  <a:lnTo>
                    <a:pt x="232981" y="0"/>
                  </a:lnTo>
                  <a:lnTo>
                    <a:pt x="232981" y="325850"/>
                  </a:lnTo>
                  <a:lnTo>
                    <a:pt x="198596" y="325850"/>
                  </a:lnTo>
                  <a:lnTo>
                    <a:pt x="198596" y="279463"/>
                  </a:lnTo>
                  <a:cubicBezTo>
                    <a:pt x="193834" y="286321"/>
                    <a:pt x="188595" y="292894"/>
                    <a:pt x="182785" y="299085"/>
                  </a:cubicBezTo>
                  <a:cubicBezTo>
                    <a:pt x="176974" y="305371"/>
                    <a:pt x="170498" y="310896"/>
                    <a:pt x="163354" y="315658"/>
                  </a:cubicBezTo>
                  <a:cubicBezTo>
                    <a:pt x="156210" y="320421"/>
                    <a:pt x="148209" y="324136"/>
                    <a:pt x="139446" y="326803"/>
                  </a:cubicBezTo>
                  <a:cubicBezTo>
                    <a:pt x="130683" y="329470"/>
                    <a:pt x="120967" y="330803"/>
                    <a:pt x="110204" y="330803"/>
                  </a:cubicBezTo>
                  <a:close/>
                  <a:moveTo>
                    <a:pt x="116491" y="300133"/>
                  </a:moveTo>
                  <a:cubicBezTo>
                    <a:pt x="127159" y="300133"/>
                    <a:pt x="137541" y="297942"/>
                    <a:pt x="147542" y="293656"/>
                  </a:cubicBezTo>
                  <a:cubicBezTo>
                    <a:pt x="157544" y="289369"/>
                    <a:pt x="166402" y="283273"/>
                    <a:pt x="174307" y="275368"/>
                  </a:cubicBezTo>
                  <a:cubicBezTo>
                    <a:pt x="182213" y="267462"/>
                    <a:pt x="188404" y="258127"/>
                    <a:pt x="193072" y="247269"/>
                  </a:cubicBezTo>
                  <a:cubicBezTo>
                    <a:pt x="197644" y="236410"/>
                    <a:pt x="200025" y="224314"/>
                    <a:pt x="200025" y="210883"/>
                  </a:cubicBezTo>
                  <a:lnTo>
                    <a:pt x="200025" y="210026"/>
                  </a:lnTo>
                  <a:cubicBezTo>
                    <a:pt x="200025" y="196596"/>
                    <a:pt x="197739" y="184499"/>
                    <a:pt x="193072" y="173641"/>
                  </a:cubicBezTo>
                  <a:cubicBezTo>
                    <a:pt x="188500" y="162782"/>
                    <a:pt x="182213" y="153448"/>
                    <a:pt x="174307" y="145732"/>
                  </a:cubicBezTo>
                  <a:cubicBezTo>
                    <a:pt x="166402" y="138017"/>
                    <a:pt x="157448" y="132016"/>
                    <a:pt x="147542" y="127635"/>
                  </a:cubicBezTo>
                  <a:cubicBezTo>
                    <a:pt x="137541" y="123349"/>
                    <a:pt x="127254" y="121158"/>
                    <a:pt x="116491" y="121158"/>
                  </a:cubicBezTo>
                  <a:cubicBezTo>
                    <a:pt x="105156" y="121158"/>
                    <a:pt x="94583" y="123158"/>
                    <a:pt x="84772" y="127159"/>
                  </a:cubicBezTo>
                  <a:cubicBezTo>
                    <a:pt x="74962" y="131159"/>
                    <a:pt x="66389" y="136969"/>
                    <a:pt x="59150" y="144589"/>
                  </a:cubicBezTo>
                  <a:cubicBezTo>
                    <a:pt x="51816" y="152114"/>
                    <a:pt x="46101" y="161449"/>
                    <a:pt x="41719" y="172498"/>
                  </a:cubicBezTo>
                  <a:cubicBezTo>
                    <a:pt x="37433" y="183451"/>
                    <a:pt x="35242" y="196024"/>
                    <a:pt x="35242" y="210026"/>
                  </a:cubicBezTo>
                  <a:lnTo>
                    <a:pt x="35242" y="210883"/>
                  </a:lnTo>
                  <a:cubicBezTo>
                    <a:pt x="35242" y="224599"/>
                    <a:pt x="37433" y="236982"/>
                    <a:pt x="41719" y="247936"/>
                  </a:cubicBezTo>
                  <a:cubicBezTo>
                    <a:pt x="46006" y="258984"/>
                    <a:pt x="51911" y="268319"/>
                    <a:pt x="59341" y="276034"/>
                  </a:cubicBezTo>
                  <a:cubicBezTo>
                    <a:pt x="66770" y="283750"/>
                    <a:pt x="75438" y="289750"/>
                    <a:pt x="85249" y="293941"/>
                  </a:cubicBezTo>
                  <a:cubicBezTo>
                    <a:pt x="95059" y="298132"/>
                    <a:pt x="105442" y="300228"/>
                    <a:pt x="116491" y="300228"/>
                  </a:cubicBezTo>
                  <a:close/>
                </a:path>
              </a:pathLst>
            </a:custGeom>
            <a:solidFill>
              <a:srgbClr val="44505E"/>
            </a:solidFill>
            <a:ln w="9525" cap="flat">
              <a:noFill/>
              <a:prstDash val="solid"/>
              <a:miter/>
            </a:ln>
          </p:spPr>
          <p:txBody>
            <a:bodyPr rtlCol="0" anchor="ctr"/>
            <a:lstStyle/>
            <a:p>
              <a:endParaRPr lang="pt-BR" noProof="0"/>
            </a:p>
          </p:txBody>
        </p:sp>
        <p:sp>
          <p:nvSpPr>
            <p:cNvPr id="39" name="Freeform: Shape 38">
              <a:extLst>
                <a:ext uri="{FF2B5EF4-FFF2-40B4-BE49-F238E27FC236}">
                  <a16:creationId xmlns:a16="http://schemas.microsoft.com/office/drawing/2014/main" id="{3F7553E0-3438-A480-55C7-C61FA77E9CD0}"/>
                </a:ext>
              </a:extLst>
            </p:cNvPr>
            <p:cNvSpPr/>
            <p:nvPr/>
          </p:nvSpPr>
          <p:spPr>
            <a:xfrm>
              <a:off x="5596504"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6963 w 218217"/>
                <a:gd name="connsiteY3" fmla="*/ 206026 h 241077"/>
                <a:gd name="connsiteX4" fmla="*/ 116015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8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1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452 w 218217"/>
                <a:gd name="connsiteY25" fmla="*/ 106299 h 241077"/>
                <a:gd name="connsiteX26" fmla="*/ 176784 w 218217"/>
                <a:gd name="connsiteY26" fmla="*/ 76771 h 241077"/>
                <a:gd name="connsiteX27" fmla="*/ 162306 w 218217"/>
                <a:gd name="connsiteY27" fmla="*/ 52101 h 241077"/>
                <a:gd name="connsiteX28" fmla="*/ 140018 w 218217"/>
                <a:gd name="connsiteY28" fmla="*/ 35242 h 241077"/>
                <a:gd name="connsiteX29" fmla="*/ 109919 w 218217"/>
                <a:gd name="connsiteY29" fmla="*/ 29051 h 241077"/>
                <a:gd name="connsiteX30" fmla="*/ 82201 w 218217"/>
                <a:gd name="connsiteY30" fmla="*/ 34766 h 241077"/>
                <a:gd name="connsiteX31" fmla="*/ 59436 w 218217"/>
                <a:gd name="connsiteY31" fmla="*/ 50959 h 241077"/>
                <a:gd name="connsiteX32" fmla="*/ 43148 w 218217"/>
                <a:gd name="connsiteY32" fmla="*/ 75628 h 241077"/>
                <a:gd name="connsiteX33" fmla="*/ 34862 w 218217"/>
                <a:gd name="connsiteY33" fmla="*/ 106204 h 241077"/>
                <a:gd name="connsiteX34" fmla="*/ 183547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724" y="202597"/>
                    <a:pt x="86963" y="206026"/>
                  </a:cubicBezTo>
                  <a:cubicBezTo>
                    <a:pt x="96203" y="209455"/>
                    <a:pt x="105823" y="211169"/>
                    <a:pt x="116015" y="211169"/>
                  </a:cubicBezTo>
                  <a:cubicBezTo>
                    <a:pt x="132112" y="211169"/>
                    <a:pt x="145828" y="208216"/>
                    <a:pt x="157353" y="202216"/>
                  </a:cubicBezTo>
                  <a:cubicBezTo>
                    <a:pt x="168783" y="196310"/>
                    <a:pt x="179261" y="188404"/>
                    <a:pt x="188786" y="178594"/>
                  </a:cubicBezTo>
                  <a:lnTo>
                    <a:pt x="210217" y="197834"/>
                  </a:lnTo>
                  <a:cubicBezTo>
                    <a:pt x="198596" y="210979"/>
                    <a:pt x="185357" y="221361"/>
                    <a:pt x="170498" y="229267"/>
                  </a:cubicBezTo>
                  <a:cubicBezTo>
                    <a:pt x="155639"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679" y="0"/>
                    <a:pt x="110681"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452" y="106299"/>
                  </a:moveTo>
                  <a:cubicBezTo>
                    <a:pt x="182594" y="95917"/>
                    <a:pt x="180308" y="86106"/>
                    <a:pt x="176784" y="76771"/>
                  </a:cubicBezTo>
                  <a:cubicBezTo>
                    <a:pt x="173165" y="67437"/>
                    <a:pt x="168402" y="59245"/>
                    <a:pt x="162306" y="52101"/>
                  </a:cubicBezTo>
                  <a:cubicBezTo>
                    <a:pt x="156210" y="44958"/>
                    <a:pt x="148781" y="39338"/>
                    <a:pt x="140018" y="35242"/>
                  </a:cubicBezTo>
                  <a:cubicBezTo>
                    <a:pt x="131254" y="31147"/>
                    <a:pt x="121158" y="29051"/>
                    <a:pt x="109919" y="29051"/>
                  </a:cubicBezTo>
                  <a:cubicBezTo>
                    <a:pt x="100108" y="29051"/>
                    <a:pt x="90869" y="30956"/>
                    <a:pt x="82201" y="34766"/>
                  </a:cubicBezTo>
                  <a:cubicBezTo>
                    <a:pt x="73533" y="38671"/>
                    <a:pt x="66008" y="44005"/>
                    <a:pt x="59436" y="50959"/>
                  </a:cubicBezTo>
                  <a:cubicBezTo>
                    <a:pt x="52864" y="57912"/>
                    <a:pt x="47435" y="66103"/>
                    <a:pt x="43148" y="75628"/>
                  </a:cubicBezTo>
                  <a:cubicBezTo>
                    <a:pt x="38862" y="85058"/>
                    <a:pt x="36100" y="95345"/>
                    <a:pt x="34862" y="106204"/>
                  </a:cubicBezTo>
                  <a:lnTo>
                    <a:pt x="183547" y="106204"/>
                  </a:lnTo>
                  <a:close/>
                </a:path>
              </a:pathLst>
            </a:custGeom>
            <a:solidFill>
              <a:srgbClr val="44505E"/>
            </a:solidFill>
            <a:ln w="9525" cap="flat">
              <a:noFill/>
              <a:prstDash val="solid"/>
              <a:miter/>
            </a:ln>
          </p:spPr>
          <p:txBody>
            <a:bodyPr rtlCol="0" anchor="ctr"/>
            <a:lstStyle/>
            <a:p>
              <a:endParaRPr lang="pt-BR" noProof="0"/>
            </a:p>
          </p:txBody>
        </p:sp>
        <p:sp>
          <p:nvSpPr>
            <p:cNvPr id="40" name="Freeform: Shape 39">
              <a:extLst>
                <a:ext uri="{FF2B5EF4-FFF2-40B4-BE49-F238E27FC236}">
                  <a16:creationId xmlns:a16="http://schemas.microsoft.com/office/drawing/2014/main" id="{ABB3B440-6E4F-D12C-7F5B-F1553C0E6D17}"/>
                </a:ext>
              </a:extLst>
            </p:cNvPr>
            <p:cNvSpPr/>
            <p:nvPr/>
          </p:nvSpPr>
          <p:spPr>
            <a:xfrm>
              <a:off x="5661680" y="924268"/>
              <a:ext cx="44656" cy="60195"/>
            </a:xfrm>
            <a:custGeom>
              <a:avLst/>
              <a:gdLst>
                <a:gd name="connsiteX0" fmla="*/ 95536 w 177641"/>
                <a:gd name="connsiteY0" fmla="*/ 239268 h 239458"/>
                <a:gd name="connsiteX1" fmla="*/ 45053 w 177641"/>
                <a:gd name="connsiteY1" fmla="*/ 230124 h 239458"/>
                <a:gd name="connsiteX2" fmla="*/ 0 w 177641"/>
                <a:gd name="connsiteY2" fmla="*/ 205359 h 239458"/>
                <a:gd name="connsiteX3" fmla="*/ 17431 w 177641"/>
                <a:gd name="connsiteY3" fmla="*/ 180785 h 239458"/>
                <a:gd name="connsiteX4" fmla="*/ 56483 w 177641"/>
                <a:gd name="connsiteY4" fmla="*/ 202692 h 239458"/>
                <a:gd name="connsiteX5" fmla="*/ 97346 w 177641"/>
                <a:gd name="connsiteY5" fmla="*/ 210217 h 239458"/>
                <a:gd name="connsiteX6" fmla="*/ 131731 w 177641"/>
                <a:gd name="connsiteY6" fmla="*/ 200406 h 239458"/>
                <a:gd name="connsiteX7" fmla="*/ 145161 w 177641"/>
                <a:gd name="connsiteY7" fmla="*/ 173641 h 239458"/>
                <a:gd name="connsiteX8" fmla="*/ 145161 w 177641"/>
                <a:gd name="connsiteY8" fmla="*/ 172784 h 239458"/>
                <a:gd name="connsiteX9" fmla="*/ 140494 w 177641"/>
                <a:gd name="connsiteY9" fmla="*/ 158020 h 239458"/>
                <a:gd name="connsiteX10" fmla="*/ 127730 w 177641"/>
                <a:gd name="connsiteY10" fmla="*/ 147066 h 239458"/>
                <a:gd name="connsiteX11" fmla="*/ 109157 w 177641"/>
                <a:gd name="connsiteY11" fmla="*/ 138779 h 239458"/>
                <a:gd name="connsiteX12" fmla="*/ 87535 w 177641"/>
                <a:gd name="connsiteY12" fmla="*/ 132112 h 239458"/>
                <a:gd name="connsiteX13" fmla="*/ 60484 w 177641"/>
                <a:gd name="connsiteY13" fmla="*/ 123444 h 239458"/>
                <a:gd name="connsiteX14" fmla="*/ 35909 w 177641"/>
                <a:gd name="connsiteY14" fmla="*/ 111633 h 239458"/>
                <a:gd name="connsiteX15" fmla="*/ 18098 w 177641"/>
                <a:gd name="connsiteY15" fmla="*/ 93726 h 239458"/>
                <a:gd name="connsiteX16" fmla="*/ 11144 w 177641"/>
                <a:gd name="connsiteY16" fmla="*/ 66961 h 239458"/>
                <a:gd name="connsiteX17" fmla="*/ 11144 w 177641"/>
                <a:gd name="connsiteY17" fmla="*/ 66008 h 239458"/>
                <a:gd name="connsiteX18" fmla="*/ 16954 w 177641"/>
                <a:gd name="connsiteY18" fmla="*/ 39053 h 239458"/>
                <a:gd name="connsiteX19" fmla="*/ 33242 w 177641"/>
                <a:gd name="connsiteY19" fmla="*/ 18098 h 239458"/>
                <a:gd name="connsiteX20" fmla="*/ 58293 w 177641"/>
                <a:gd name="connsiteY20" fmla="*/ 4667 h 239458"/>
                <a:gd name="connsiteX21" fmla="*/ 89725 w 177641"/>
                <a:gd name="connsiteY21" fmla="*/ 0 h 239458"/>
                <a:gd name="connsiteX22" fmla="*/ 133064 w 177641"/>
                <a:gd name="connsiteY22" fmla="*/ 6953 h 239458"/>
                <a:gd name="connsiteX23" fmla="*/ 172784 w 177641"/>
                <a:gd name="connsiteY23" fmla="*/ 25527 h 239458"/>
                <a:gd name="connsiteX24" fmla="*/ 157163 w 177641"/>
                <a:gd name="connsiteY24" fmla="*/ 51435 h 239458"/>
                <a:gd name="connsiteX25" fmla="*/ 123444 w 177641"/>
                <a:gd name="connsiteY25" fmla="*/ 35147 h 239458"/>
                <a:gd name="connsiteX26" fmla="*/ 88868 w 177641"/>
                <a:gd name="connsiteY26" fmla="*/ 29146 h 239458"/>
                <a:gd name="connsiteX27" fmla="*/ 56293 w 177641"/>
                <a:gd name="connsiteY27" fmla="*/ 38767 h 239458"/>
                <a:gd name="connsiteX28" fmla="*/ 44196 w 177641"/>
                <a:gd name="connsiteY28" fmla="*/ 62675 h 239458"/>
                <a:gd name="connsiteX29" fmla="*/ 44196 w 177641"/>
                <a:gd name="connsiteY29" fmla="*/ 63627 h 239458"/>
                <a:gd name="connsiteX30" fmla="*/ 49149 w 177641"/>
                <a:gd name="connsiteY30" fmla="*/ 77724 h 239458"/>
                <a:gd name="connsiteX31" fmla="*/ 62294 w 177641"/>
                <a:gd name="connsiteY31" fmla="*/ 88202 h 239458"/>
                <a:gd name="connsiteX32" fmla="*/ 81248 w 177641"/>
                <a:gd name="connsiteY32" fmla="*/ 96203 h 239458"/>
                <a:gd name="connsiteX33" fmla="*/ 103537 w 177641"/>
                <a:gd name="connsiteY33" fmla="*/ 103346 h 239458"/>
                <a:gd name="connsiteX34" fmla="*/ 130112 w 177641"/>
                <a:gd name="connsiteY34" fmla="*/ 112300 h 239458"/>
                <a:gd name="connsiteX35" fmla="*/ 154019 w 177641"/>
                <a:gd name="connsiteY35" fmla="*/ 124778 h 239458"/>
                <a:gd name="connsiteX36" fmla="*/ 171164 w 177641"/>
                <a:gd name="connsiteY36" fmla="*/ 143066 h 239458"/>
                <a:gd name="connsiteX37" fmla="*/ 177641 w 177641"/>
                <a:gd name="connsiteY37" fmla="*/ 169450 h 239458"/>
                <a:gd name="connsiteX38" fmla="*/ 177641 w 177641"/>
                <a:gd name="connsiteY38" fmla="*/ 170307 h 239458"/>
                <a:gd name="connsiteX39" fmla="*/ 171164 w 177641"/>
                <a:gd name="connsiteY39" fmla="*/ 199549 h 239458"/>
                <a:gd name="connsiteX40" fmla="*/ 153734 w 177641"/>
                <a:gd name="connsiteY40" fmla="*/ 221171 h 239458"/>
                <a:gd name="connsiteX41" fmla="*/ 127825 w 177641"/>
                <a:gd name="connsiteY41" fmla="*/ 234791 h 239458"/>
                <a:gd name="connsiteX42" fmla="*/ 95441 w 177641"/>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641" h="239458">
                  <a:moveTo>
                    <a:pt x="95536" y="239268"/>
                  </a:moveTo>
                  <a:cubicBezTo>
                    <a:pt x="78867" y="239268"/>
                    <a:pt x="62008" y="236220"/>
                    <a:pt x="45053" y="230124"/>
                  </a:cubicBezTo>
                  <a:cubicBezTo>
                    <a:pt x="28099" y="224028"/>
                    <a:pt x="13049" y="215741"/>
                    <a:pt x="0" y="205359"/>
                  </a:cubicBezTo>
                  <a:lnTo>
                    <a:pt x="17431" y="180785"/>
                  </a:lnTo>
                  <a:cubicBezTo>
                    <a:pt x="29908"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542" y="162211"/>
                    <a:pt x="140494" y="158020"/>
                  </a:cubicBezTo>
                  <a:cubicBezTo>
                    <a:pt x="137350" y="153829"/>
                    <a:pt x="133160" y="150209"/>
                    <a:pt x="127730" y="147066"/>
                  </a:cubicBezTo>
                  <a:cubicBezTo>
                    <a:pt x="122396" y="143923"/>
                    <a:pt x="116205" y="141161"/>
                    <a:pt x="109157" y="138779"/>
                  </a:cubicBezTo>
                  <a:cubicBezTo>
                    <a:pt x="102203" y="136398"/>
                    <a:pt x="94964" y="134207"/>
                    <a:pt x="87535" y="132112"/>
                  </a:cubicBezTo>
                  <a:cubicBezTo>
                    <a:pt x="78581" y="129445"/>
                    <a:pt x="69628" y="126492"/>
                    <a:pt x="60484" y="123444"/>
                  </a:cubicBezTo>
                  <a:cubicBezTo>
                    <a:pt x="51435" y="120301"/>
                    <a:pt x="43244" y="116396"/>
                    <a:pt x="35909" y="111633"/>
                  </a:cubicBezTo>
                  <a:cubicBezTo>
                    <a:pt x="28575" y="106871"/>
                    <a:pt x="22670" y="100870"/>
                    <a:pt x="18098" y="93726"/>
                  </a:cubicBezTo>
                  <a:cubicBezTo>
                    <a:pt x="13525" y="86582"/>
                    <a:pt x="11144" y="77629"/>
                    <a:pt x="11144" y="66961"/>
                  </a:cubicBezTo>
                  <a:lnTo>
                    <a:pt x="11144" y="66008"/>
                  </a:lnTo>
                  <a:cubicBezTo>
                    <a:pt x="11144" y="56198"/>
                    <a:pt x="13049" y="47149"/>
                    <a:pt x="16954" y="39053"/>
                  </a:cubicBezTo>
                  <a:cubicBezTo>
                    <a:pt x="20860" y="30861"/>
                    <a:pt x="26289" y="23908"/>
                    <a:pt x="33242" y="18098"/>
                  </a:cubicBezTo>
                  <a:cubicBezTo>
                    <a:pt x="40196" y="12287"/>
                    <a:pt x="48578" y="7811"/>
                    <a:pt x="58293" y="4667"/>
                  </a:cubicBezTo>
                  <a:cubicBezTo>
                    <a:pt x="67913" y="1524"/>
                    <a:pt x="78486" y="0"/>
                    <a:pt x="89725" y="0"/>
                  </a:cubicBezTo>
                  <a:cubicBezTo>
                    <a:pt x="104013" y="0"/>
                    <a:pt x="118396" y="2286"/>
                    <a:pt x="133064" y="6953"/>
                  </a:cubicBezTo>
                  <a:cubicBezTo>
                    <a:pt x="147638" y="11621"/>
                    <a:pt x="160877" y="17717"/>
                    <a:pt x="172784" y="25527"/>
                  </a:cubicBezTo>
                  <a:lnTo>
                    <a:pt x="157163" y="51435"/>
                  </a:lnTo>
                  <a:cubicBezTo>
                    <a:pt x="146399" y="44577"/>
                    <a:pt x="135255" y="39148"/>
                    <a:pt x="123444" y="35147"/>
                  </a:cubicBezTo>
                  <a:cubicBezTo>
                    <a:pt x="111728" y="31147"/>
                    <a:pt x="100203" y="29146"/>
                    <a:pt x="88868" y="29146"/>
                  </a:cubicBezTo>
                  <a:cubicBezTo>
                    <a:pt x="75152" y="29146"/>
                    <a:pt x="64294" y="32385"/>
                    <a:pt x="56293" y="38767"/>
                  </a:cubicBezTo>
                  <a:cubicBezTo>
                    <a:pt x="48292" y="45149"/>
                    <a:pt x="44196" y="53150"/>
                    <a:pt x="44196" y="62675"/>
                  </a:cubicBezTo>
                  <a:lnTo>
                    <a:pt x="44196" y="63627"/>
                  </a:lnTo>
                  <a:cubicBezTo>
                    <a:pt x="44196" y="68961"/>
                    <a:pt x="45815" y="73628"/>
                    <a:pt x="49149" y="77724"/>
                  </a:cubicBezTo>
                  <a:cubicBezTo>
                    <a:pt x="52388" y="81725"/>
                    <a:pt x="56769" y="85249"/>
                    <a:pt x="62294" y="88202"/>
                  </a:cubicBezTo>
                  <a:cubicBezTo>
                    <a:pt x="67818" y="91154"/>
                    <a:pt x="74104" y="93821"/>
                    <a:pt x="81248" y="96203"/>
                  </a:cubicBezTo>
                  <a:cubicBezTo>
                    <a:pt x="88392" y="98584"/>
                    <a:pt x="95821" y="100965"/>
                    <a:pt x="103537" y="103346"/>
                  </a:cubicBezTo>
                  <a:cubicBezTo>
                    <a:pt x="112490" y="106013"/>
                    <a:pt x="121349" y="108966"/>
                    <a:pt x="130112" y="112300"/>
                  </a:cubicBezTo>
                  <a:cubicBezTo>
                    <a:pt x="138875" y="115538"/>
                    <a:pt x="146875" y="119729"/>
                    <a:pt x="154019" y="124778"/>
                  </a:cubicBezTo>
                  <a:cubicBezTo>
                    <a:pt x="161163" y="129826"/>
                    <a:pt x="166878" y="135922"/>
                    <a:pt x="171164" y="143066"/>
                  </a:cubicBezTo>
                  <a:cubicBezTo>
                    <a:pt x="175450" y="150209"/>
                    <a:pt x="177641" y="158972"/>
                    <a:pt x="177641" y="169450"/>
                  </a:cubicBezTo>
                  <a:lnTo>
                    <a:pt x="177641" y="170307"/>
                  </a:lnTo>
                  <a:cubicBezTo>
                    <a:pt x="177641" y="181356"/>
                    <a:pt x="175450" y="191071"/>
                    <a:pt x="171164" y="199549"/>
                  </a:cubicBezTo>
                  <a:cubicBezTo>
                    <a:pt x="166878" y="208026"/>
                    <a:pt x="161068" y="215265"/>
                    <a:pt x="153734" y="221171"/>
                  </a:cubicBezTo>
                  <a:cubicBezTo>
                    <a:pt x="146495" y="227171"/>
                    <a:pt x="137827" y="231648"/>
                    <a:pt x="127825" y="234791"/>
                  </a:cubicBezTo>
                  <a:cubicBezTo>
                    <a:pt x="117824" y="237935"/>
                    <a:pt x="107061" y="239459"/>
                    <a:pt x="95441" y="239459"/>
                  </a:cubicBezTo>
                  <a:close/>
                </a:path>
              </a:pathLst>
            </a:custGeom>
            <a:solidFill>
              <a:srgbClr val="44505E"/>
            </a:solidFill>
            <a:ln w="9525" cap="flat">
              <a:noFill/>
              <a:prstDash val="solid"/>
              <a:miter/>
            </a:ln>
          </p:spPr>
          <p:txBody>
            <a:bodyPr rtlCol="0" anchor="ctr"/>
            <a:lstStyle/>
            <a:p>
              <a:endParaRPr lang="pt-BR" noProof="0"/>
            </a:p>
          </p:txBody>
        </p:sp>
        <p:sp>
          <p:nvSpPr>
            <p:cNvPr id="41" name="Freeform: Shape 40">
              <a:extLst>
                <a:ext uri="{FF2B5EF4-FFF2-40B4-BE49-F238E27FC236}">
                  <a16:creationId xmlns:a16="http://schemas.microsoft.com/office/drawing/2014/main" id="{6A9524D5-425E-31F5-5C33-DB2FD5F2C159}"/>
                </a:ext>
              </a:extLst>
            </p:cNvPr>
            <p:cNvSpPr/>
            <p:nvPr/>
          </p:nvSpPr>
          <p:spPr>
            <a:xfrm>
              <a:off x="5752668" y="924028"/>
              <a:ext cx="58567" cy="77196"/>
            </a:xfrm>
            <a:custGeom>
              <a:avLst/>
              <a:gdLst>
                <a:gd name="connsiteX0" fmla="*/ 198596 w 232981"/>
                <a:gd name="connsiteY0" fmla="*/ 189357 h 307085"/>
                <a:gd name="connsiteX1" fmla="*/ 182785 w 232981"/>
                <a:gd name="connsiteY1" fmla="*/ 208978 h 307085"/>
                <a:gd name="connsiteX2" fmla="*/ 163354 w 232981"/>
                <a:gd name="connsiteY2" fmla="*/ 225552 h 307085"/>
                <a:gd name="connsiteX3" fmla="*/ 139446 w 232981"/>
                <a:gd name="connsiteY3" fmla="*/ 236696 h 307085"/>
                <a:gd name="connsiteX4" fmla="*/ 110204 w 232981"/>
                <a:gd name="connsiteY4" fmla="*/ 240697 h 307085"/>
                <a:gd name="connsiteX5" fmla="*/ 69628 w 232981"/>
                <a:gd name="connsiteY5" fmla="*/ 232696 h 307085"/>
                <a:gd name="connsiteX6" fmla="*/ 34385 w 232981"/>
                <a:gd name="connsiteY6" fmla="*/ 209264 h 307085"/>
                <a:gd name="connsiteX7" fmla="*/ 9335 w 232981"/>
                <a:gd name="connsiteY7" fmla="*/ 171736 h 307085"/>
                <a:gd name="connsiteX8" fmla="*/ 0 w 232981"/>
                <a:gd name="connsiteY8" fmla="*/ 121063 h 307085"/>
                <a:gd name="connsiteX9" fmla="*/ 0 w 232981"/>
                <a:gd name="connsiteY9" fmla="*/ 120205 h 307085"/>
                <a:gd name="connsiteX10" fmla="*/ 9335 w 232981"/>
                <a:gd name="connsiteY10" fmla="*/ 69723 h 307085"/>
                <a:gd name="connsiteX11" fmla="*/ 34385 w 232981"/>
                <a:gd name="connsiteY11" fmla="*/ 32004 h 307085"/>
                <a:gd name="connsiteX12" fmla="*/ 69628 w 232981"/>
                <a:gd name="connsiteY12" fmla="*/ 8287 h 307085"/>
                <a:gd name="connsiteX13" fmla="*/ 110204 w 232981"/>
                <a:gd name="connsiteY13" fmla="*/ 0 h 307085"/>
                <a:gd name="connsiteX14" fmla="*/ 139637 w 232981"/>
                <a:gd name="connsiteY14" fmla="*/ 4000 h 307085"/>
                <a:gd name="connsiteX15" fmla="*/ 163735 w 232981"/>
                <a:gd name="connsiteY15" fmla="*/ 14668 h 307085"/>
                <a:gd name="connsiteX16" fmla="*/ 183166 w 232981"/>
                <a:gd name="connsiteY16" fmla="*/ 30289 h 307085"/>
                <a:gd name="connsiteX17" fmla="*/ 198596 w 232981"/>
                <a:gd name="connsiteY17" fmla="*/ 49054 h 307085"/>
                <a:gd name="connsiteX18" fmla="*/ 198596 w 232981"/>
                <a:gd name="connsiteY18" fmla="*/ 4858 h 307085"/>
                <a:gd name="connsiteX19" fmla="*/ 232982 w 232981"/>
                <a:gd name="connsiteY19" fmla="*/ 4858 h 307085"/>
                <a:gd name="connsiteX20" fmla="*/ 232982 w 232981"/>
                <a:gd name="connsiteY20" fmla="*/ 307086 h 307085"/>
                <a:gd name="connsiteX21" fmla="*/ 198596 w 232981"/>
                <a:gd name="connsiteY21" fmla="*/ 307086 h 307085"/>
                <a:gd name="connsiteX22" fmla="*/ 198596 w 232981"/>
                <a:gd name="connsiteY22" fmla="*/ 189262 h 307085"/>
                <a:gd name="connsiteX23" fmla="*/ 116491 w 232981"/>
                <a:gd name="connsiteY23" fmla="*/ 209931 h 307085"/>
                <a:gd name="connsiteX24" fmla="*/ 147542 w 232981"/>
                <a:gd name="connsiteY24" fmla="*/ 203454 h 307085"/>
                <a:gd name="connsiteX25" fmla="*/ 174308 w 232981"/>
                <a:gd name="connsiteY25" fmla="*/ 185166 h 307085"/>
                <a:gd name="connsiteX26" fmla="*/ 193072 w 232981"/>
                <a:gd name="connsiteY26" fmla="*/ 157067 h 307085"/>
                <a:gd name="connsiteX27" fmla="*/ 200025 w 232981"/>
                <a:gd name="connsiteY27" fmla="*/ 120682 h 307085"/>
                <a:gd name="connsiteX28" fmla="*/ 200025 w 232981"/>
                <a:gd name="connsiteY28" fmla="*/ 119824 h 307085"/>
                <a:gd name="connsiteX29" fmla="*/ 193072 w 232981"/>
                <a:gd name="connsiteY29" fmla="*/ 83439 h 307085"/>
                <a:gd name="connsiteX30" fmla="*/ 174308 w 232981"/>
                <a:gd name="connsiteY30" fmla="*/ 55531 h 307085"/>
                <a:gd name="connsiteX31" fmla="*/ 147542 w 232981"/>
                <a:gd name="connsiteY31" fmla="*/ 37433 h 307085"/>
                <a:gd name="connsiteX32" fmla="*/ 116491 w 232981"/>
                <a:gd name="connsiteY32" fmla="*/ 30956 h 307085"/>
                <a:gd name="connsiteX33" fmla="*/ 84773 w 232981"/>
                <a:gd name="connsiteY33" fmla="*/ 36957 h 307085"/>
                <a:gd name="connsiteX34" fmla="*/ 59150 w 232981"/>
                <a:gd name="connsiteY34" fmla="*/ 54388 h 307085"/>
                <a:gd name="connsiteX35" fmla="*/ 41720 w 232981"/>
                <a:gd name="connsiteY35" fmla="*/ 82296 h 307085"/>
                <a:gd name="connsiteX36" fmla="*/ 35242 w 232981"/>
                <a:gd name="connsiteY36" fmla="*/ 119824 h 307085"/>
                <a:gd name="connsiteX37" fmla="*/ 35242 w 232981"/>
                <a:gd name="connsiteY37" fmla="*/ 120682 h 307085"/>
                <a:gd name="connsiteX38" fmla="*/ 41720 w 232981"/>
                <a:gd name="connsiteY38" fmla="*/ 157734 h 307085"/>
                <a:gd name="connsiteX39" fmla="*/ 59341 w 232981"/>
                <a:gd name="connsiteY39" fmla="*/ 185833 h 307085"/>
                <a:gd name="connsiteX40" fmla="*/ 85249 w 232981"/>
                <a:gd name="connsiteY40" fmla="*/ 203740 h 307085"/>
                <a:gd name="connsiteX41" fmla="*/ 116491 w 232981"/>
                <a:gd name="connsiteY41" fmla="*/ 210026 h 30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07085">
                  <a:moveTo>
                    <a:pt x="198596" y="189357"/>
                  </a:moveTo>
                  <a:cubicBezTo>
                    <a:pt x="193834" y="196215"/>
                    <a:pt x="188595" y="202787"/>
                    <a:pt x="182785" y="208978"/>
                  </a:cubicBezTo>
                  <a:cubicBezTo>
                    <a:pt x="176975" y="215265"/>
                    <a:pt x="170498" y="220789"/>
                    <a:pt x="163354" y="225552"/>
                  </a:cubicBezTo>
                  <a:cubicBezTo>
                    <a:pt x="156210" y="230314"/>
                    <a:pt x="148209" y="234029"/>
                    <a:pt x="139446" y="236696"/>
                  </a:cubicBezTo>
                  <a:cubicBezTo>
                    <a:pt x="130683" y="239363"/>
                    <a:pt x="120967" y="240697"/>
                    <a:pt x="110204" y="240697"/>
                  </a:cubicBezTo>
                  <a:cubicBezTo>
                    <a:pt x="96203" y="240697"/>
                    <a:pt x="82677" y="238030"/>
                    <a:pt x="69628" y="232696"/>
                  </a:cubicBezTo>
                  <a:cubicBezTo>
                    <a:pt x="56579" y="227362"/>
                    <a:pt x="44767" y="219551"/>
                    <a:pt x="34385" y="209264"/>
                  </a:cubicBezTo>
                  <a:cubicBezTo>
                    <a:pt x="24003" y="198977"/>
                    <a:pt x="15621" y="186499"/>
                    <a:pt x="9335" y="171736"/>
                  </a:cubicBezTo>
                  <a:cubicBezTo>
                    <a:pt x="3048" y="156972"/>
                    <a:pt x="0" y="140113"/>
                    <a:pt x="0" y="121063"/>
                  </a:cubicBezTo>
                  <a:lnTo>
                    <a:pt x="0" y="120205"/>
                  </a:lnTo>
                  <a:cubicBezTo>
                    <a:pt x="0" y="101441"/>
                    <a:pt x="3143" y="84677"/>
                    <a:pt x="9335" y="69723"/>
                  </a:cubicBezTo>
                  <a:cubicBezTo>
                    <a:pt x="15621" y="54864"/>
                    <a:pt x="23908" y="42291"/>
                    <a:pt x="34385" y="32004"/>
                  </a:cubicBezTo>
                  <a:cubicBezTo>
                    <a:pt x="44767" y="21717"/>
                    <a:pt x="56579" y="13811"/>
                    <a:pt x="69628" y="8287"/>
                  </a:cubicBezTo>
                  <a:cubicBezTo>
                    <a:pt x="82677" y="2762"/>
                    <a:pt x="96298" y="0"/>
                    <a:pt x="110204" y="0"/>
                  </a:cubicBezTo>
                  <a:cubicBezTo>
                    <a:pt x="120967" y="0"/>
                    <a:pt x="130778" y="1333"/>
                    <a:pt x="139637" y="4000"/>
                  </a:cubicBezTo>
                  <a:cubicBezTo>
                    <a:pt x="148590" y="6667"/>
                    <a:pt x="156591" y="10287"/>
                    <a:pt x="163735" y="14668"/>
                  </a:cubicBezTo>
                  <a:cubicBezTo>
                    <a:pt x="170879" y="19145"/>
                    <a:pt x="177356" y="24384"/>
                    <a:pt x="183166" y="30289"/>
                  </a:cubicBezTo>
                  <a:cubicBezTo>
                    <a:pt x="188976" y="36290"/>
                    <a:pt x="194120" y="42481"/>
                    <a:pt x="198596" y="49054"/>
                  </a:cubicBezTo>
                  <a:lnTo>
                    <a:pt x="198596" y="4858"/>
                  </a:lnTo>
                  <a:lnTo>
                    <a:pt x="232982" y="4858"/>
                  </a:lnTo>
                  <a:lnTo>
                    <a:pt x="232982" y="307086"/>
                  </a:lnTo>
                  <a:lnTo>
                    <a:pt x="198596" y="307086"/>
                  </a:lnTo>
                  <a:lnTo>
                    <a:pt x="198596" y="189262"/>
                  </a:lnTo>
                  <a:close/>
                  <a:moveTo>
                    <a:pt x="116491" y="209931"/>
                  </a:moveTo>
                  <a:cubicBezTo>
                    <a:pt x="127159" y="209931"/>
                    <a:pt x="137541" y="207740"/>
                    <a:pt x="147542" y="203454"/>
                  </a:cubicBezTo>
                  <a:cubicBezTo>
                    <a:pt x="157544" y="199168"/>
                    <a:pt x="166402" y="193072"/>
                    <a:pt x="174308" y="185166"/>
                  </a:cubicBezTo>
                  <a:cubicBezTo>
                    <a:pt x="182213" y="177260"/>
                    <a:pt x="188404" y="167926"/>
                    <a:pt x="193072" y="157067"/>
                  </a:cubicBezTo>
                  <a:cubicBezTo>
                    <a:pt x="197739" y="146209"/>
                    <a:pt x="200025" y="134112"/>
                    <a:pt x="200025" y="120682"/>
                  </a:cubicBezTo>
                  <a:lnTo>
                    <a:pt x="200025" y="119824"/>
                  </a:lnTo>
                  <a:cubicBezTo>
                    <a:pt x="200025" y="106394"/>
                    <a:pt x="197739" y="94297"/>
                    <a:pt x="193072" y="83439"/>
                  </a:cubicBezTo>
                  <a:cubicBezTo>
                    <a:pt x="188500" y="72580"/>
                    <a:pt x="182213" y="63246"/>
                    <a:pt x="174308" y="55531"/>
                  </a:cubicBezTo>
                  <a:cubicBezTo>
                    <a:pt x="166402" y="47815"/>
                    <a:pt x="157544" y="41815"/>
                    <a:pt x="147542" y="37433"/>
                  </a:cubicBezTo>
                  <a:cubicBezTo>
                    <a:pt x="137541" y="33147"/>
                    <a:pt x="127254" y="30956"/>
                    <a:pt x="116491" y="30956"/>
                  </a:cubicBezTo>
                  <a:cubicBezTo>
                    <a:pt x="105156" y="30956"/>
                    <a:pt x="94583" y="32956"/>
                    <a:pt x="84773" y="36957"/>
                  </a:cubicBezTo>
                  <a:cubicBezTo>
                    <a:pt x="74962" y="40957"/>
                    <a:pt x="66389" y="46767"/>
                    <a:pt x="59150" y="54388"/>
                  </a:cubicBezTo>
                  <a:cubicBezTo>
                    <a:pt x="51816" y="61913"/>
                    <a:pt x="46101" y="71247"/>
                    <a:pt x="41720" y="82296"/>
                  </a:cubicBezTo>
                  <a:cubicBezTo>
                    <a:pt x="37433" y="93250"/>
                    <a:pt x="35242" y="105823"/>
                    <a:pt x="35242" y="119824"/>
                  </a:cubicBezTo>
                  <a:lnTo>
                    <a:pt x="35242" y="120682"/>
                  </a:lnTo>
                  <a:cubicBezTo>
                    <a:pt x="35242" y="134398"/>
                    <a:pt x="37433" y="146780"/>
                    <a:pt x="41720" y="157734"/>
                  </a:cubicBezTo>
                  <a:cubicBezTo>
                    <a:pt x="46006" y="168783"/>
                    <a:pt x="51911" y="178117"/>
                    <a:pt x="59341" y="185833"/>
                  </a:cubicBezTo>
                  <a:cubicBezTo>
                    <a:pt x="66770" y="193548"/>
                    <a:pt x="75438" y="199549"/>
                    <a:pt x="85249" y="203740"/>
                  </a:cubicBezTo>
                  <a:cubicBezTo>
                    <a:pt x="95060" y="207931"/>
                    <a:pt x="105442" y="210026"/>
                    <a:pt x="116491" y="210026"/>
                  </a:cubicBezTo>
                  <a:close/>
                </a:path>
              </a:pathLst>
            </a:custGeom>
            <a:solidFill>
              <a:srgbClr val="44505E"/>
            </a:solidFill>
            <a:ln w="9525" cap="flat">
              <a:noFill/>
              <a:prstDash val="solid"/>
              <a:miter/>
            </a:ln>
          </p:spPr>
          <p:txBody>
            <a:bodyPr rtlCol="0" anchor="ctr"/>
            <a:lstStyle/>
            <a:p>
              <a:endParaRPr lang="pt-BR" noProof="0"/>
            </a:p>
          </p:txBody>
        </p:sp>
        <p:sp>
          <p:nvSpPr>
            <p:cNvPr id="42" name="Freeform: Shape 41">
              <a:extLst>
                <a:ext uri="{FF2B5EF4-FFF2-40B4-BE49-F238E27FC236}">
                  <a16:creationId xmlns:a16="http://schemas.microsoft.com/office/drawing/2014/main" id="{5FE59096-94C6-F482-008D-3FDFE6288921}"/>
                </a:ext>
              </a:extLst>
            </p:cNvPr>
            <p:cNvSpPr/>
            <p:nvPr/>
          </p:nvSpPr>
          <p:spPr>
            <a:xfrm>
              <a:off x="5829624" y="925297"/>
              <a:ext cx="50618" cy="59238"/>
            </a:xfrm>
            <a:custGeom>
              <a:avLst/>
              <a:gdLst>
                <a:gd name="connsiteX0" fmla="*/ 88392 w 201358"/>
                <a:gd name="connsiteY0" fmla="*/ 235648 h 235648"/>
                <a:gd name="connsiteX1" fmla="*/ 51149 w 201358"/>
                <a:gd name="connsiteY1" fmla="*/ 228981 h 235648"/>
                <a:gd name="connsiteX2" fmla="*/ 23432 w 201358"/>
                <a:gd name="connsiteY2" fmla="*/ 210026 h 235648"/>
                <a:gd name="connsiteX3" fmla="*/ 6001 w 201358"/>
                <a:gd name="connsiteY3" fmla="*/ 180784 h 235648"/>
                <a:gd name="connsiteX4" fmla="*/ 0 w 201358"/>
                <a:gd name="connsiteY4" fmla="*/ 143256 h 235648"/>
                <a:gd name="connsiteX5" fmla="*/ 0 w 201358"/>
                <a:gd name="connsiteY5" fmla="*/ 0 h 235648"/>
                <a:gd name="connsiteX6" fmla="*/ 34385 w 201358"/>
                <a:gd name="connsiteY6" fmla="*/ 0 h 235648"/>
                <a:gd name="connsiteX7" fmla="*/ 34385 w 201358"/>
                <a:gd name="connsiteY7" fmla="*/ 134493 h 235648"/>
                <a:gd name="connsiteX8" fmla="*/ 50959 w 201358"/>
                <a:gd name="connsiteY8" fmla="*/ 185261 h 235648"/>
                <a:gd name="connsiteX9" fmla="*/ 98298 w 201358"/>
                <a:gd name="connsiteY9" fmla="*/ 203930 h 235648"/>
                <a:gd name="connsiteX10" fmla="*/ 125730 w 201358"/>
                <a:gd name="connsiteY10" fmla="*/ 198787 h 235648"/>
                <a:gd name="connsiteX11" fmla="*/ 147638 w 201358"/>
                <a:gd name="connsiteY11" fmla="*/ 184118 h 235648"/>
                <a:gd name="connsiteX12" fmla="*/ 162116 w 201358"/>
                <a:gd name="connsiteY12" fmla="*/ 161163 h 235648"/>
                <a:gd name="connsiteX13" fmla="*/ 167450 w 201358"/>
                <a:gd name="connsiteY13" fmla="*/ 131826 h 235648"/>
                <a:gd name="connsiteX14" fmla="*/ 167450 w 201358"/>
                <a:gd name="connsiteY14" fmla="*/ 0 h 235648"/>
                <a:gd name="connsiteX15" fmla="*/ 201359 w 201358"/>
                <a:gd name="connsiteY15" fmla="*/ 0 h 235648"/>
                <a:gd name="connsiteX16" fmla="*/ 201359 w 201358"/>
                <a:gd name="connsiteY16" fmla="*/ 230791 h 235648"/>
                <a:gd name="connsiteX17" fmla="*/ 167450 w 201358"/>
                <a:gd name="connsiteY17" fmla="*/ 230791 h 235648"/>
                <a:gd name="connsiteX18" fmla="*/ 167450 w 201358"/>
                <a:gd name="connsiteY18" fmla="*/ 190595 h 235648"/>
                <a:gd name="connsiteX19" fmla="*/ 137065 w 201358"/>
                <a:gd name="connsiteY19" fmla="*/ 222504 h 235648"/>
                <a:gd name="connsiteX20" fmla="*/ 88392 w 201358"/>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358" h="235648">
                  <a:moveTo>
                    <a:pt x="88392" y="235648"/>
                  </a:moveTo>
                  <a:cubicBezTo>
                    <a:pt x="74390" y="235648"/>
                    <a:pt x="62008" y="233363"/>
                    <a:pt x="51149" y="228981"/>
                  </a:cubicBezTo>
                  <a:cubicBezTo>
                    <a:pt x="40291" y="224504"/>
                    <a:pt x="31052" y="218218"/>
                    <a:pt x="23432"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959" y="185261"/>
                  </a:cubicBezTo>
                  <a:cubicBezTo>
                    <a:pt x="61913" y="197739"/>
                    <a:pt x="77724" y="203930"/>
                    <a:pt x="98298" y="203930"/>
                  </a:cubicBezTo>
                  <a:cubicBezTo>
                    <a:pt x="108109" y="203930"/>
                    <a:pt x="117253" y="202216"/>
                    <a:pt x="125730" y="198787"/>
                  </a:cubicBezTo>
                  <a:cubicBezTo>
                    <a:pt x="134207" y="195358"/>
                    <a:pt x="141446" y="190500"/>
                    <a:pt x="147638" y="184118"/>
                  </a:cubicBezTo>
                  <a:cubicBezTo>
                    <a:pt x="153734" y="177736"/>
                    <a:pt x="158591" y="170116"/>
                    <a:pt x="162116" y="161163"/>
                  </a:cubicBezTo>
                  <a:cubicBezTo>
                    <a:pt x="165735" y="152305"/>
                    <a:pt x="167450" y="142494"/>
                    <a:pt x="167450" y="131826"/>
                  </a:cubicBezTo>
                  <a:lnTo>
                    <a:pt x="167450" y="0"/>
                  </a:lnTo>
                  <a:lnTo>
                    <a:pt x="201359" y="0"/>
                  </a:lnTo>
                  <a:lnTo>
                    <a:pt x="201359" y="230791"/>
                  </a:lnTo>
                  <a:lnTo>
                    <a:pt x="167450" y="230791"/>
                  </a:lnTo>
                  <a:lnTo>
                    <a:pt x="167450" y="190595"/>
                  </a:lnTo>
                  <a:cubicBezTo>
                    <a:pt x="159734" y="203073"/>
                    <a:pt x="149543" y="213741"/>
                    <a:pt x="137065" y="222504"/>
                  </a:cubicBezTo>
                  <a:cubicBezTo>
                    <a:pt x="124587" y="231267"/>
                    <a:pt x="108395" y="235648"/>
                    <a:pt x="88392" y="235648"/>
                  </a:cubicBezTo>
                  <a:close/>
                </a:path>
              </a:pathLst>
            </a:custGeom>
            <a:solidFill>
              <a:srgbClr val="44505E"/>
            </a:solidFill>
            <a:ln w="9525" cap="flat">
              <a:noFill/>
              <a:prstDash val="solid"/>
              <a:miter/>
            </a:ln>
          </p:spPr>
          <p:txBody>
            <a:bodyPr rtlCol="0" anchor="ctr"/>
            <a:lstStyle/>
            <a:p>
              <a:endParaRPr lang="pt-BR" noProof="0"/>
            </a:p>
          </p:txBody>
        </p:sp>
        <p:sp>
          <p:nvSpPr>
            <p:cNvPr id="43" name="Freeform: Shape 42">
              <a:extLst>
                <a:ext uri="{FF2B5EF4-FFF2-40B4-BE49-F238E27FC236}">
                  <a16:creationId xmlns:a16="http://schemas.microsoft.com/office/drawing/2014/main" id="{48B91C0E-5E48-E0D5-BECD-EFCB21230EF1}"/>
                </a:ext>
              </a:extLst>
            </p:cNvPr>
            <p:cNvSpPr/>
            <p:nvPr/>
          </p:nvSpPr>
          <p:spPr>
            <a:xfrm>
              <a:off x="5896069"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7059 w 218217"/>
                <a:gd name="connsiteY3" fmla="*/ 206026 h 241077"/>
                <a:gd name="connsiteX4" fmla="*/ 116110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7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0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356 w 218217"/>
                <a:gd name="connsiteY25" fmla="*/ 106299 h 241077"/>
                <a:gd name="connsiteX26" fmla="*/ 176689 w 218217"/>
                <a:gd name="connsiteY26" fmla="*/ 76771 h 241077"/>
                <a:gd name="connsiteX27" fmla="*/ 162211 w 218217"/>
                <a:gd name="connsiteY27" fmla="*/ 52101 h 241077"/>
                <a:gd name="connsiteX28" fmla="*/ 139922 w 218217"/>
                <a:gd name="connsiteY28" fmla="*/ 35242 h 241077"/>
                <a:gd name="connsiteX29" fmla="*/ 109823 w 218217"/>
                <a:gd name="connsiteY29" fmla="*/ 29051 h 241077"/>
                <a:gd name="connsiteX30" fmla="*/ 82105 w 218217"/>
                <a:gd name="connsiteY30" fmla="*/ 34766 h 241077"/>
                <a:gd name="connsiteX31" fmla="*/ 59341 w 218217"/>
                <a:gd name="connsiteY31" fmla="*/ 50959 h 241077"/>
                <a:gd name="connsiteX32" fmla="*/ 43053 w 218217"/>
                <a:gd name="connsiteY32" fmla="*/ 75628 h 241077"/>
                <a:gd name="connsiteX33" fmla="*/ 34766 w 218217"/>
                <a:gd name="connsiteY33" fmla="*/ 106204 h 241077"/>
                <a:gd name="connsiteX34" fmla="*/ 183356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819" y="202597"/>
                    <a:pt x="87059" y="206026"/>
                  </a:cubicBezTo>
                  <a:cubicBezTo>
                    <a:pt x="96298" y="209455"/>
                    <a:pt x="105918" y="211169"/>
                    <a:pt x="116110" y="211169"/>
                  </a:cubicBezTo>
                  <a:cubicBezTo>
                    <a:pt x="132207" y="211169"/>
                    <a:pt x="145923" y="208216"/>
                    <a:pt x="157353" y="202216"/>
                  </a:cubicBezTo>
                  <a:cubicBezTo>
                    <a:pt x="168783" y="196310"/>
                    <a:pt x="179261" y="188404"/>
                    <a:pt x="188786" y="178594"/>
                  </a:cubicBezTo>
                  <a:lnTo>
                    <a:pt x="210217" y="197834"/>
                  </a:lnTo>
                  <a:cubicBezTo>
                    <a:pt x="198596" y="210979"/>
                    <a:pt x="185356" y="221361"/>
                    <a:pt x="170497" y="229267"/>
                  </a:cubicBezTo>
                  <a:cubicBezTo>
                    <a:pt x="155638"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583" y="0"/>
                    <a:pt x="110680"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356" y="106299"/>
                  </a:moveTo>
                  <a:cubicBezTo>
                    <a:pt x="182499" y="95917"/>
                    <a:pt x="180213" y="86106"/>
                    <a:pt x="176689" y="76771"/>
                  </a:cubicBezTo>
                  <a:cubicBezTo>
                    <a:pt x="173069" y="67437"/>
                    <a:pt x="168307" y="59245"/>
                    <a:pt x="162211" y="52101"/>
                  </a:cubicBezTo>
                  <a:cubicBezTo>
                    <a:pt x="156115" y="44958"/>
                    <a:pt x="148685" y="39338"/>
                    <a:pt x="139922" y="35242"/>
                  </a:cubicBezTo>
                  <a:cubicBezTo>
                    <a:pt x="131159" y="31147"/>
                    <a:pt x="121063" y="29051"/>
                    <a:pt x="109823" y="29051"/>
                  </a:cubicBezTo>
                  <a:cubicBezTo>
                    <a:pt x="100013" y="29051"/>
                    <a:pt x="90773" y="30956"/>
                    <a:pt x="82105" y="34766"/>
                  </a:cubicBezTo>
                  <a:cubicBezTo>
                    <a:pt x="73438" y="38671"/>
                    <a:pt x="65913" y="44005"/>
                    <a:pt x="59341" y="50959"/>
                  </a:cubicBezTo>
                  <a:cubicBezTo>
                    <a:pt x="52769" y="57912"/>
                    <a:pt x="47339" y="66103"/>
                    <a:pt x="43053" y="75628"/>
                  </a:cubicBezTo>
                  <a:cubicBezTo>
                    <a:pt x="38767" y="85058"/>
                    <a:pt x="36004" y="95345"/>
                    <a:pt x="34766" y="106204"/>
                  </a:cubicBezTo>
                  <a:lnTo>
                    <a:pt x="183356" y="106204"/>
                  </a:lnTo>
                  <a:close/>
                </a:path>
              </a:pathLst>
            </a:custGeom>
            <a:solidFill>
              <a:srgbClr val="44505E"/>
            </a:solidFill>
            <a:ln w="9525" cap="flat">
              <a:noFill/>
              <a:prstDash val="solid"/>
              <a:miter/>
            </a:ln>
          </p:spPr>
          <p:txBody>
            <a:bodyPr rtlCol="0" anchor="ctr"/>
            <a:lstStyle/>
            <a:p>
              <a:endParaRPr lang="pt-BR" noProof="0"/>
            </a:p>
          </p:txBody>
        </p:sp>
        <p:sp>
          <p:nvSpPr>
            <p:cNvPr id="44" name="Freeform: Shape 43">
              <a:extLst>
                <a:ext uri="{FF2B5EF4-FFF2-40B4-BE49-F238E27FC236}">
                  <a16:creationId xmlns:a16="http://schemas.microsoft.com/office/drawing/2014/main" id="{234C7C40-AE1B-7144-3067-167FAE1ECCFE}"/>
                </a:ext>
              </a:extLst>
            </p:cNvPr>
            <p:cNvSpPr/>
            <p:nvPr/>
          </p:nvSpPr>
          <p:spPr>
            <a:xfrm>
              <a:off x="5994910" y="924268"/>
              <a:ext cx="44680" cy="60195"/>
            </a:xfrm>
            <a:custGeom>
              <a:avLst/>
              <a:gdLst>
                <a:gd name="connsiteX0" fmla="*/ 95536 w 177736"/>
                <a:gd name="connsiteY0" fmla="*/ 239268 h 239458"/>
                <a:gd name="connsiteX1" fmla="*/ 45053 w 177736"/>
                <a:gd name="connsiteY1" fmla="*/ 230124 h 239458"/>
                <a:gd name="connsiteX2" fmla="*/ 0 w 177736"/>
                <a:gd name="connsiteY2" fmla="*/ 205359 h 239458"/>
                <a:gd name="connsiteX3" fmla="*/ 17431 w 177736"/>
                <a:gd name="connsiteY3" fmla="*/ 180785 h 239458"/>
                <a:gd name="connsiteX4" fmla="*/ 56483 w 177736"/>
                <a:gd name="connsiteY4" fmla="*/ 202692 h 239458"/>
                <a:gd name="connsiteX5" fmla="*/ 97346 w 177736"/>
                <a:gd name="connsiteY5" fmla="*/ 210217 h 239458"/>
                <a:gd name="connsiteX6" fmla="*/ 131731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730 w 177736"/>
                <a:gd name="connsiteY10" fmla="*/ 147066 h 239458"/>
                <a:gd name="connsiteX11" fmla="*/ 109252 w 177736"/>
                <a:gd name="connsiteY11" fmla="*/ 138779 h 239458"/>
                <a:gd name="connsiteX12" fmla="*/ 87630 w 177736"/>
                <a:gd name="connsiteY12" fmla="*/ 132112 h 239458"/>
                <a:gd name="connsiteX13" fmla="*/ 60674 w 177736"/>
                <a:gd name="connsiteY13" fmla="*/ 123444 h 239458"/>
                <a:gd name="connsiteX14" fmla="*/ 36100 w 177736"/>
                <a:gd name="connsiteY14" fmla="*/ 111633 h 239458"/>
                <a:gd name="connsiteX15" fmla="*/ 18193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60 w 177736"/>
                <a:gd name="connsiteY22" fmla="*/ 6953 h 239458"/>
                <a:gd name="connsiteX23" fmla="*/ 172879 w 177736"/>
                <a:gd name="connsiteY23" fmla="*/ 25527 h 239458"/>
                <a:gd name="connsiteX24" fmla="*/ 157258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4 w 177736"/>
                <a:gd name="connsiteY32" fmla="*/ 96203 h 239458"/>
                <a:gd name="connsiteX33" fmla="*/ 103632 w 177736"/>
                <a:gd name="connsiteY33" fmla="*/ 103346 h 239458"/>
                <a:gd name="connsiteX34" fmla="*/ 130207 w 177736"/>
                <a:gd name="connsiteY34" fmla="*/ 112300 h 239458"/>
                <a:gd name="connsiteX35" fmla="*/ 154114 w 177736"/>
                <a:gd name="connsiteY35" fmla="*/ 124778 h 239458"/>
                <a:gd name="connsiteX36" fmla="*/ 171260 w 177736"/>
                <a:gd name="connsiteY36" fmla="*/ 143066 h 239458"/>
                <a:gd name="connsiteX37" fmla="*/ 177737 w 177736"/>
                <a:gd name="connsiteY37" fmla="*/ 169450 h 239458"/>
                <a:gd name="connsiteX38" fmla="*/ 177737 w 177736"/>
                <a:gd name="connsiteY38" fmla="*/ 170307 h 239458"/>
                <a:gd name="connsiteX39" fmla="*/ 171260 w 177736"/>
                <a:gd name="connsiteY39" fmla="*/ 199549 h 239458"/>
                <a:gd name="connsiteX40" fmla="*/ 153829 w 177736"/>
                <a:gd name="connsiteY40" fmla="*/ 221171 h 239458"/>
                <a:gd name="connsiteX41" fmla="*/ 127921 w 177736"/>
                <a:gd name="connsiteY41" fmla="*/ 234791 h 239458"/>
                <a:gd name="connsiteX42" fmla="*/ 95536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6" y="239268"/>
                  </a:moveTo>
                  <a:cubicBezTo>
                    <a:pt x="78867" y="239268"/>
                    <a:pt x="62008" y="236220"/>
                    <a:pt x="45053" y="230124"/>
                  </a:cubicBezTo>
                  <a:cubicBezTo>
                    <a:pt x="28099" y="224028"/>
                    <a:pt x="13049" y="215741"/>
                    <a:pt x="0" y="205359"/>
                  </a:cubicBezTo>
                  <a:lnTo>
                    <a:pt x="17431" y="180785"/>
                  </a:lnTo>
                  <a:cubicBezTo>
                    <a:pt x="29909"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637" y="162211"/>
                    <a:pt x="140494" y="158020"/>
                  </a:cubicBezTo>
                  <a:cubicBezTo>
                    <a:pt x="137351" y="153829"/>
                    <a:pt x="133160" y="150209"/>
                    <a:pt x="127730" y="147066"/>
                  </a:cubicBezTo>
                  <a:cubicBezTo>
                    <a:pt x="122396" y="143923"/>
                    <a:pt x="116205" y="141161"/>
                    <a:pt x="109252" y="138779"/>
                  </a:cubicBezTo>
                  <a:cubicBezTo>
                    <a:pt x="102299" y="136398"/>
                    <a:pt x="95060" y="134207"/>
                    <a:pt x="87630" y="132112"/>
                  </a:cubicBezTo>
                  <a:cubicBezTo>
                    <a:pt x="78677" y="129445"/>
                    <a:pt x="69723" y="126492"/>
                    <a:pt x="60674" y="123444"/>
                  </a:cubicBezTo>
                  <a:cubicBezTo>
                    <a:pt x="51626" y="120301"/>
                    <a:pt x="43434" y="116396"/>
                    <a:pt x="36100" y="111633"/>
                  </a:cubicBezTo>
                  <a:cubicBezTo>
                    <a:pt x="28766" y="106871"/>
                    <a:pt x="22860" y="100870"/>
                    <a:pt x="18193" y="93726"/>
                  </a:cubicBezTo>
                  <a:cubicBezTo>
                    <a:pt x="13621" y="86582"/>
                    <a:pt x="11239" y="77629"/>
                    <a:pt x="11239" y="66961"/>
                  </a:cubicBezTo>
                  <a:lnTo>
                    <a:pt x="11239" y="66008"/>
                  </a:lnTo>
                  <a:cubicBezTo>
                    <a:pt x="11239" y="56198"/>
                    <a:pt x="13145" y="47149"/>
                    <a:pt x="17050" y="39053"/>
                  </a:cubicBezTo>
                  <a:cubicBezTo>
                    <a:pt x="20860" y="30861"/>
                    <a:pt x="26289" y="23908"/>
                    <a:pt x="33338" y="18098"/>
                  </a:cubicBezTo>
                  <a:cubicBezTo>
                    <a:pt x="40291" y="12287"/>
                    <a:pt x="48673" y="7811"/>
                    <a:pt x="58388" y="4667"/>
                  </a:cubicBezTo>
                  <a:cubicBezTo>
                    <a:pt x="68009" y="1524"/>
                    <a:pt x="78581" y="0"/>
                    <a:pt x="89821" y="0"/>
                  </a:cubicBezTo>
                  <a:cubicBezTo>
                    <a:pt x="104108" y="0"/>
                    <a:pt x="118491" y="2286"/>
                    <a:pt x="133160" y="6953"/>
                  </a:cubicBezTo>
                  <a:cubicBezTo>
                    <a:pt x="147733" y="11621"/>
                    <a:pt x="160972" y="17717"/>
                    <a:pt x="172879" y="25527"/>
                  </a:cubicBezTo>
                  <a:lnTo>
                    <a:pt x="157258" y="51435"/>
                  </a:lnTo>
                  <a:cubicBezTo>
                    <a:pt x="146495" y="44577"/>
                    <a:pt x="135350" y="39148"/>
                    <a:pt x="123539" y="35147"/>
                  </a:cubicBezTo>
                  <a:cubicBezTo>
                    <a:pt x="111824" y="31147"/>
                    <a:pt x="100298" y="29146"/>
                    <a:pt x="88963" y="29146"/>
                  </a:cubicBezTo>
                  <a:cubicBezTo>
                    <a:pt x="75247" y="29146"/>
                    <a:pt x="64389" y="32385"/>
                    <a:pt x="56388" y="38767"/>
                  </a:cubicBezTo>
                  <a:cubicBezTo>
                    <a:pt x="48387" y="45149"/>
                    <a:pt x="44291" y="53150"/>
                    <a:pt x="44291" y="62675"/>
                  </a:cubicBezTo>
                  <a:lnTo>
                    <a:pt x="44291" y="63627"/>
                  </a:lnTo>
                  <a:cubicBezTo>
                    <a:pt x="44291" y="68961"/>
                    <a:pt x="45911" y="73628"/>
                    <a:pt x="49244" y="77724"/>
                  </a:cubicBezTo>
                  <a:cubicBezTo>
                    <a:pt x="52483" y="81725"/>
                    <a:pt x="56960" y="85249"/>
                    <a:pt x="62389" y="88202"/>
                  </a:cubicBezTo>
                  <a:cubicBezTo>
                    <a:pt x="67913" y="91154"/>
                    <a:pt x="74200" y="93821"/>
                    <a:pt x="81344" y="96203"/>
                  </a:cubicBezTo>
                  <a:cubicBezTo>
                    <a:pt x="88487" y="98584"/>
                    <a:pt x="95917" y="100965"/>
                    <a:pt x="103632" y="103346"/>
                  </a:cubicBezTo>
                  <a:cubicBezTo>
                    <a:pt x="112586" y="106013"/>
                    <a:pt x="121444" y="108966"/>
                    <a:pt x="130207" y="112300"/>
                  </a:cubicBezTo>
                  <a:cubicBezTo>
                    <a:pt x="138970" y="115538"/>
                    <a:pt x="146971" y="119729"/>
                    <a:pt x="154114" y="124778"/>
                  </a:cubicBezTo>
                  <a:cubicBezTo>
                    <a:pt x="161258" y="129826"/>
                    <a:pt x="166973" y="135922"/>
                    <a:pt x="171260" y="143066"/>
                  </a:cubicBezTo>
                  <a:cubicBezTo>
                    <a:pt x="175546" y="150209"/>
                    <a:pt x="177737" y="158972"/>
                    <a:pt x="177737" y="169450"/>
                  </a:cubicBezTo>
                  <a:lnTo>
                    <a:pt x="177737" y="170307"/>
                  </a:lnTo>
                  <a:cubicBezTo>
                    <a:pt x="177737" y="181356"/>
                    <a:pt x="175546" y="191071"/>
                    <a:pt x="171260" y="199549"/>
                  </a:cubicBezTo>
                  <a:cubicBezTo>
                    <a:pt x="166973" y="208026"/>
                    <a:pt x="161163" y="215265"/>
                    <a:pt x="153829" y="221171"/>
                  </a:cubicBezTo>
                  <a:cubicBezTo>
                    <a:pt x="146495" y="227171"/>
                    <a:pt x="137922" y="231648"/>
                    <a:pt x="127921" y="234791"/>
                  </a:cubicBezTo>
                  <a:cubicBezTo>
                    <a:pt x="117920" y="237935"/>
                    <a:pt x="107156" y="239459"/>
                    <a:pt x="95536" y="239459"/>
                  </a:cubicBezTo>
                  <a:close/>
                </a:path>
              </a:pathLst>
            </a:custGeom>
            <a:solidFill>
              <a:srgbClr val="44505E"/>
            </a:solidFill>
            <a:ln w="9525" cap="flat">
              <a:noFill/>
              <a:prstDash val="solid"/>
              <a:miter/>
            </a:ln>
          </p:spPr>
          <p:txBody>
            <a:bodyPr rtlCol="0" anchor="ctr"/>
            <a:lstStyle/>
            <a:p>
              <a:endParaRPr lang="pt-BR" noProof="0"/>
            </a:p>
          </p:txBody>
        </p:sp>
        <p:sp>
          <p:nvSpPr>
            <p:cNvPr id="45" name="Freeform: Shape 44">
              <a:extLst>
                <a:ext uri="{FF2B5EF4-FFF2-40B4-BE49-F238E27FC236}">
                  <a16:creationId xmlns:a16="http://schemas.microsoft.com/office/drawing/2014/main" id="{080E57A9-F7B3-2A20-6DAB-EF94727D9FCC}"/>
                </a:ext>
              </a:extLst>
            </p:cNvPr>
            <p:cNvSpPr/>
            <p:nvPr/>
          </p:nvSpPr>
          <p:spPr>
            <a:xfrm>
              <a:off x="605122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4 w 202977"/>
                <a:gd name="connsiteY30" fmla="*/ 174593 h 239267"/>
                <a:gd name="connsiteX31" fmla="*/ 169735 w 202977"/>
                <a:gd name="connsiteY31" fmla="*/ 149447 h 239267"/>
                <a:gd name="connsiteX32" fmla="*/ 169735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0" y="90964"/>
                    <a:pt x="98584" y="90964"/>
                  </a:cubicBezTo>
                  <a:cubicBezTo>
                    <a:pt x="113157" y="90964"/>
                    <a:pt x="126301"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1" y="33147"/>
                    <a:pt x="63436" y="36100"/>
                  </a:cubicBezTo>
                  <a:cubicBezTo>
                    <a:pt x="52292" y="39053"/>
                    <a:pt x="41338" y="43053"/>
                    <a:pt x="30671" y="48196"/>
                  </a:cubicBezTo>
                  <a:lnTo>
                    <a:pt x="20383" y="19907"/>
                  </a:lnTo>
                  <a:cubicBezTo>
                    <a:pt x="33147" y="13906"/>
                    <a:pt x="46101" y="9049"/>
                    <a:pt x="59246" y="5429"/>
                  </a:cubicBezTo>
                  <a:cubicBezTo>
                    <a:pt x="72295"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1" y="239173"/>
                  </a:cubicBezTo>
                  <a:close/>
                  <a:moveTo>
                    <a:pt x="93154" y="211169"/>
                  </a:moveTo>
                  <a:cubicBezTo>
                    <a:pt x="103822" y="211169"/>
                    <a:pt x="113728" y="209740"/>
                    <a:pt x="122967" y="206788"/>
                  </a:cubicBezTo>
                  <a:cubicBezTo>
                    <a:pt x="132207" y="203835"/>
                    <a:pt x="140208" y="199644"/>
                    <a:pt x="147256" y="194120"/>
                  </a:cubicBezTo>
                  <a:cubicBezTo>
                    <a:pt x="154209" y="188595"/>
                    <a:pt x="159734" y="182118"/>
                    <a:pt x="163734" y="174593"/>
                  </a:cubicBezTo>
                  <a:cubicBezTo>
                    <a:pt x="167735" y="167068"/>
                    <a:pt x="169735" y="158687"/>
                    <a:pt x="169735" y="149447"/>
                  </a:cubicBezTo>
                  <a:lnTo>
                    <a:pt x="169735" y="128111"/>
                  </a:lnTo>
                  <a:cubicBezTo>
                    <a:pt x="161163" y="125730"/>
                    <a:pt x="151352" y="123539"/>
                    <a:pt x="140398" y="121444"/>
                  </a:cubicBezTo>
                  <a:cubicBezTo>
                    <a:pt x="129445" y="119348"/>
                    <a:pt x="116872"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46" name="Freeform: Shape 45">
              <a:extLst>
                <a:ext uri="{FF2B5EF4-FFF2-40B4-BE49-F238E27FC236}">
                  <a16:creationId xmlns:a16="http://schemas.microsoft.com/office/drawing/2014/main" id="{25E9BB61-E9AD-10D5-BD7D-F75C13D0FF4A}"/>
                </a:ext>
              </a:extLst>
            </p:cNvPr>
            <p:cNvSpPr/>
            <p:nvPr/>
          </p:nvSpPr>
          <p:spPr>
            <a:xfrm>
              <a:off x="6121359" y="901377"/>
              <a:ext cx="8644" cy="81913"/>
            </a:xfrm>
            <a:custGeom>
              <a:avLst/>
              <a:gdLst>
                <a:gd name="connsiteX0" fmla="*/ 0 w 34385"/>
                <a:gd name="connsiteY0" fmla="*/ 0 h 325850"/>
                <a:gd name="connsiteX1" fmla="*/ 34385 w 34385"/>
                <a:gd name="connsiteY1" fmla="*/ 0 h 325850"/>
                <a:gd name="connsiteX2" fmla="*/ 34385 w 34385"/>
                <a:gd name="connsiteY2" fmla="*/ 325850 h 325850"/>
                <a:gd name="connsiteX3" fmla="*/ 0 w 34385"/>
                <a:gd name="connsiteY3" fmla="*/ 325850 h 325850"/>
                <a:gd name="connsiteX4" fmla="*/ 0 w 34385"/>
                <a:gd name="connsiteY4" fmla="*/ 0 h 32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 h="325850">
                  <a:moveTo>
                    <a:pt x="0" y="0"/>
                  </a:moveTo>
                  <a:lnTo>
                    <a:pt x="34385" y="0"/>
                  </a:lnTo>
                  <a:lnTo>
                    <a:pt x="34385" y="325850"/>
                  </a:lnTo>
                  <a:lnTo>
                    <a:pt x="0" y="325850"/>
                  </a:lnTo>
                  <a:lnTo>
                    <a:pt x="0" y="0"/>
                  </a:lnTo>
                  <a:close/>
                </a:path>
              </a:pathLst>
            </a:custGeom>
            <a:solidFill>
              <a:srgbClr val="44505E"/>
            </a:solidFill>
            <a:ln w="9525" cap="flat">
              <a:noFill/>
              <a:prstDash val="solid"/>
              <a:miter/>
            </a:ln>
          </p:spPr>
          <p:txBody>
            <a:bodyPr rtlCol="0" anchor="ctr"/>
            <a:lstStyle/>
            <a:p>
              <a:endParaRPr lang="pt-BR" noProof="0"/>
            </a:p>
          </p:txBody>
        </p:sp>
        <p:sp>
          <p:nvSpPr>
            <p:cNvPr id="47" name="Freeform: Shape 46">
              <a:extLst>
                <a:ext uri="{FF2B5EF4-FFF2-40B4-BE49-F238E27FC236}">
                  <a16:creationId xmlns:a16="http://schemas.microsoft.com/office/drawing/2014/main" id="{EC4231C0-F5F3-B5DE-B597-B54C23348E4D}"/>
                </a:ext>
              </a:extLst>
            </p:cNvPr>
            <p:cNvSpPr/>
            <p:nvPr/>
          </p:nvSpPr>
          <p:spPr>
            <a:xfrm>
              <a:off x="6144346" y="925273"/>
              <a:ext cx="58016" cy="58448"/>
            </a:xfrm>
            <a:custGeom>
              <a:avLst/>
              <a:gdLst>
                <a:gd name="connsiteX0" fmla="*/ 95 w 230790"/>
                <a:gd name="connsiteY0" fmla="*/ 0 h 232505"/>
                <a:gd name="connsiteX1" fmla="*/ 38005 w 230790"/>
                <a:gd name="connsiteY1" fmla="*/ 0 h 232505"/>
                <a:gd name="connsiteX2" fmla="*/ 115634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4"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48" name="Freeform: Shape 47">
              <a:extLst>
                <a:ext uri="{FF2B5EF4-FFF2-40B4-BE49-F238E27FC236}">
                  <a16:creationId xmlns:a16="http://schemas.microsoft.com/office/drawing/2014/main" id="{3C774624-7A88-80EA-485B-E621F06A6ABE}"/>
                </a:ext>
              </a:extLst>
            </p:cNvPr>
            <p:cNvSpPr/>
            <p:nvPr/>
          </p:nvSpPr>
          <p:spPr>
            <a:xfrm>
              <a:off x="621155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8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338 w 202977"/>
                <a:gd name="connsiteY36" fmla="*/ 164497 h 239267"/>
                <a:gd name="connsiteX37" fmla="*/ 35338 w 202977"/>
                <a:gd name="connsiteY37" fmla="*/ 165449 h 239267"/>
                <a:gd name="connsiteX38" fmla="*/ 40005 w 202977"/>
                <a:gd name="connsiteY38" fmla="*/ 184785 h 239267"/>
                <a:gd name="connsiteX39" fmla="*/ 52673 w 202977"/>
                <a:gd name="connsiteY39" fmla="*/ 199263 h 239267"/>
                <a:gd name="connsiteX40" fmla="*/ 71152 w 202977"/>
                <a:gd name="connsiteY40" fmla="*/ 208121 h 239267"/>
                <a:gd name="connsiteX41" fmla="*/ 93154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438" y="239268"/>
                    <a:pt x="64961"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1" y="90964"/>
                    <a:pt x="98584" y="90964"/>
                  </a:cubicBezTo>
                  <a:cubicBezTo>
                    <a:pt x="113157" y="90964"/>
                    <a:pt x="126302" y="91821"/>
                    <a:pt x="137160" y="93631"/>
                  </a:cubicBezTo>
                  <a:cubicBezTo>
                    <a:pt x="148019" y="95440"/>
                    <a:pt x="158687" y="97822"/>
                    <a:pt x="169069" y="100774"/>
                  </a:cubicBezTo>
                  <a:lnTo>
                    <a:pt x="169069" y="93726"/>
                  </a:lnTo>
                  <a:cubicBezTo>
                    <a:pt x="169069" y="73342"/>
                    <a:pt x="163068" y="57912"/>
                    <a:pt x="151162" y="47339"/>
                  </a:cubicBezTo>
                  <a:cubicBezTo>
                    <a:pt x="139255" y="36862"/>
                    <a:pt x="122491" y="31623"/>
                    <a:pt x="100679" y="31623"/>
                  </a:cubicBezTo>
                  <a:cubicBezTo>
                    <a:pt x="86963" y="31623"/>
                    <a:pt x="74581" y="33147"/>
                    <a:pt x="63437" y="36100"/>
                  </a:cubicBezTo>
                  <a:cubicBezTo>
                    <a:pt x="52292" y="39053"/>
                    <a:pt x="41338" y="43053"/>
                    <a:pt x="30671" y="48196"/>
                  </a:cubicBezTo>
                  <a:lnTo>
                    <a:pt x="20383" y="19907"/>
                  </a:lnTo>
                  <a:cubicBezTo>
                    <a:pt x="33147" y="13906"/>
                    <a:pt x="46101" y="9049"/>
                    <a:pt x="59246" y="5429"/>
                  </a:cubicBezTo>
                  <a:cubicBezTo>
                    <a:pt x="72390"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04" y="239173"/>
                    <a:pt x="86011" y="239173"/>
                  </a:cubicBezTo>
                  <a:close/>
                  <a:moveTo>
                    <a:pt x="93154" y="211169"/>
                  </a:moveTo>
                  <a:cubicBezTo>
                    <a:pt x="103822" y="211169"/>
                    <a:pt x="113824" y="209740"/>
                    <a:pt x="122968" y="206788"/>
                  </a:cubicBezTo>
                  <a:cubicBezTo>
                    <a:pt x="132112"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5" y="119348"/>
                    <a:pt x="116777" y="118300"/>
                    <a:pt x="102584" y="118300"/>
                  </a:cubicBezTo>
                  <a:cubicBezTo>
                    <a:pt x="81248" y="118300"/>
                    <a:pt x="64675" y="122491"/>
                    <a:pt x="52959" y="130969"/>
                  </a:cubicBezTo>
                  <a:cubicBezTo>
                    <a:pt x="41243" y="139446"/>
                    <a:pt x="35338" y="150590"/>
                    <a:pt x="35338" y="164497"/>
                  </a:cubicBezTo>
                  <a:lnTo>
                    <a:pt x="35338" y="165449"/>
                  </a:lnTo>
                  <a:cubicBezTo>
                    <a:pt x="35338" y="172498"/>
                    <a:pt x="36862" y="178975"/>
                    <a:pt x="40005" y="184785"/>
                  </a:cubicBezTo>
                  <a:cubicBezTo>
                    <a:pt x="43148" y="190500"/>
                    <a:pt x="47339" y="195358"/>
                    <a:pt x="52673" y="199263"/>
                  </a:cubicBezTo>
                  <a:cubicBezTo>
                    <a:pt x="58007" y="203073"/>
                    <a:pt x="64198" y="206026"/>
                    <a:pt x="71152" y="208121"/>
                  </a:cubicBezTo>
                  <a:cubicBezTo>
                    <a:pt x="78105" y="210217"/>
                    <a:pt x="85439" y="211169"/>
                    <a:pt x="93154" y="211169"/>
                  </a:cubicBezTo>
                  <a:close/>
                </a:path>
              </a:pathLst>
            </a:custGeom>
            <a:solidFill>
              <a:srgbClr val="44505E"/>
            </a:solidFill>
            <a:ln w="9525" cap="flat">
              <a:noFill/>
              <a:prstDash val="solid"/>
              <a:miter/>
            </a:ln>
          </p:spPr>
          <p:txBody>
            <a:bodyPr rtlCol="0" anchor="ctr"/>
            <a:lstStyle/>
            <a:p>
              <a:endParaRPr lang="pt-BR" noProof="0"/>
            </a:p>
          </p:txBody>
        </p:sp>
        <p:sp>
          <p:nvSpPr>
            <p:cNvPr id="49" name="Freeform: Shape 48">
              <a:extLst>
                <a:ext uri="{FF2B5EF4-FFF2-40B4-BE49-F238E27FC236}">
                  <a16:creationId xmlns:a16="http://schemas.microsoft.com/office/drawing/2014/main" id="{BB5D29C7-0BD2-3F84-7828-7D60F604CEC1}"/>
                </a:ext>
              </a:extLst>
            </p:cNvPr>
            <p:cNvSpPr/>
            <p:nvPr/>
          </p:nvSpPr>
          <p:spPr>
            <a:xfrm>
              <a:off x="6280899" y="923980"/>
              <a:ext cx="87995" cy="59238"/>
            </a:xfrm>
            <a:custGeom>
              <a:avLst/>
              <a:gdLst>
                <a:gd name="connsiteX0" fmla="*/ 0 w 350043"/>
                <a:gd name="connsiteY0" fmla="*/ 5144 h 235648"/>
                <a:gd name="connsiteX1" fmla="*/ 34385 w 350043"/>
                <a:gd name="connsiteY1" fmla="*/ 5144 h 235648"/>
                <a:gd name="connsiteX2" fmla="*/ 34385 w 350043"/>
                <a:gd name="connsiteY2" fmla="*/ 44005 h 235648"/>
                <a:gd name="connsiteX3" fmla="*/ 47149 w 350043"/>
                <a:gd name="connsiteY3" fmla="*/ 27432 h 235648"/>
                <a:gd name="connsiteX4" fmla="*/ 62960 w 350043"/>
                <a:gd name="connsiteY4" fmla="*/ 13335 h 235648"/>
                <a:gd name="connsiteX5" fmla="*/ 83058 w 350043"/>
                <a:gd name="connsiteY5" fmla="*/ 3715 h 235648"/>
                <a:gd name="connsiteX6" fmla="*/ 108966 w 350043"/>
                <a:gd name="connsiteY6" fmla="*/ 95 h 235648"/>
                <a:gd name="connsiteX7" fmla="*/ 155448 w 350043"/>
                <a:gd name="connsiteY7" fmla="*/ 13240 h 235648"/>
                <a:gd name="connsiteX8" fmla="*/ 183166 w 350043"/>
                <a:gd name="connsiteY8" fmla="*/ 46006 h 235648"/>
                <a:gd name="connsiteX9" fmla="*/ 197168 w 350043"/>
                <a:gd name="connsiteY9" fmla="*/ 28194 h 235648"/>
                <a:gd name="connsiteX10" fmla="*/ 214789 w 350043"/>
                <a:gd name="connsiteY10" fmla="*/ 13430 h 235648"/>
                <a:gd name="connsiteX11" fmla="*/ 236887 w 350043"/>
                <a:gd name="connsiteY11" fmla="*/ 3620 h 235648"/>
                <a:gd name="connsiteX12" fmla="*/ 264319 w 350043"/>
                <a:gd name="connsiteY12" fmla="*/ 0 h 235648"/>
                <a:gd name="connsiteX13" fmla="*/ 327279 w 350043"/>
                <a:gd name="connsiteY13" fmla="*/ 24765 h 235648"/>
                <a:gd name="connsiteX14" fmla="*/ 350044 w 350043"/>
                <a:gd name="connsiteY14" fmla="*/ 92773 h 235648"/>
                <a:gd name="connsiteX15" fmla="*/ 350044 w 350043"/>
                <a:gd name="connsiteY15" fmla="*/ 235648 h 235648"/>
                <a:gd name="connsiteX16" fmla="*/ 315659 w 350043"/>
                <a:gd name="connsiteY16" fmla="*/ 235648 h 235648"/>
                <a:gd name="connsiteX17" fmla="*/ 315659 w 350043"/>
                <a:gd name="connsiteY17" fmla="*/ 101155 h 235648"/>
                <a:gd name="connsiteX18" fmla="*/ 299847 w 350043"/>
                <a:gd name="connsiteY18" fmla="*/ 49721 h 235648"/>
                <a:gd name="connsiteX19" fmla="*/ 255937 w 350043"/>
                <a:gd name="connsiteY19" fmla="*/ 31718 h 235648"/>
                <a:gd name="connsiteX20" fmla="*/ 231362 w 350043"/>
                <a:gd name="connsiteY20" fmla="*/ 36386 h 235648"/>
                <a:gd name="connsiteX21" fmla="*/ 211074 w 350043"/>
                <a:gd name="connsiteY21" fmla="*/ 50197 h 235648"/>
                <a:gd name="connsiteX22" fmla="*/ 197263 w 350043"/>
                <a:gd name="connsiteY22" fmla="*/ 72676 h 235648"/>
                <a:gd name="connsiteX23" fmla="*/ 192119 w 350043"/>
                <a:gd name="connsiteY23" fmla="*/ 102965 h 235648"/>
                <a:gd name="connsiteX24" fmla="*/ 192119 w 350043"/>
                <a:gd name="connsiteY24" fmla="*/ 235648 h 235648"/>
                <a:gd name="connsiteX25" fmla="*/ 158210 w 350043"/>
                <a:gd name="connsiteY25" fmla="*/ 235648 h 235648"/>
                <a:gd name="connsiteX26" fmla="*/ 158210 w 350043"/>
                <a:gd name="connsiteY26" fmla="*/ 100298 h 235648"/>
                <a:gd name="connsiteX27" fmla="*/ 142399 w 350043"/>
                <a:gd name="connsiteY27" fmla="*/ 49721 h 235648"/>
                <a:gd name="connsiteX28" fmla="*/ 98870 w 350043"/>
                <a:gd name="connsiteY28" fmla="*/ 31718 h 235648"/>
                <a:gd name="connsiteX29" fmla="*/ 73438 w 350043"/>
                <a:gd name="connsiteY29" fmla="*/ 37052 h 235648"/>
                <a:gd name="connsiteX30" fmla="*/ 53150 w 350043"/>
                <a:gd name="connsiteY30" fmla="*/ 52197 h 235648"/>
                <a:gd name="connsiteX31" fmla="*/ 39529 w 350043"/>
                <a:gd name="connsiteY31" fmla="*/ 75152 h 235648"/>
                <a:gd name="connsiteX32" fmla="*/ 34576 w 350043"/>
                <a:gd name="connsiteY32" fmla="*/ 104299 h 235648"/>
                <a:gd name="connsiteX33" fmla="*/ 34576 w 350043"/>
                <a:gd name="connsiteY33" fmla="*/ 235648 h 235648"/>
                <a:gd name="connsiteX34" fmla="*/ 190 w 350043"/>
                <a:gd name="connsiteY34" fmla="*/ 235648 h 235648"/>
                <a:gd name="connsiteX35" fmla="*/ 190 w 350043"/>
                <a:gd name="connsiteY35" fmla="*/ 485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0043" h="235648">
                  <a:moveTo>
                    <a:pt x="0" y="5144"/>
                  </a:moveTo>
                  <a:lnTo>
                    <a:pt x="34385" y="5144"/>
                  </a:lnTo>
                  <a:lnTo>
                    <a:pt x="34385" y="44005"/>
                  </a:lnTo>
                  <a:cubicBezTo>
                    <a:pt x="38290" y="38386"/>
                    <a:pt x="42481" y="32861"/>
                    <a:pt x="47149" y="27432"/>
                  </a:cubicBezTo>
                  <a:cubicBezTo>
                    <a:pt x="51721" y="22098"/>
                    <a:pt x="57055" y="17431"/>
                    <a:pt x="62960" y="13335"/>
                  </a:cubicBezTo>
                  <a:cubicBezTo>
                    <a:pt x="68866" y="9335"/>
                    <a:pt x="75629" y="6096"/>
                    <a:pt x="83058" y="3715"/>
                  </a:cubicBezTo>
                  <a:cubicBezTo>
                    <a:pt x="90488" y="1334"/>
                    <a:pt x="99155" y="95"/>
                    <a:pt x="108966" y="95"/>
                  </a:cubicBezTo>
                  <a:cubicBezTo>
                    <a:pt x="127730" y="95"/>
                    <a:pt x="143161" y="4477"/>
                    <a:pt x="155448" y="13240"/>
                  </a:cubicBezTo>
                  <a:cubicBezTo>
                    <a:pt x="167640" y="22003"/>
                    <a:pt x="176879" y="32956"/>
                    <a:pt x="183166" y="46006"/>
                  </a:cubicBezTo>
                  <a:cubicBezTo>
                    <a:pt x="187357" y="39719"/>
                    <a:pt x="192024" y="33814"/>
                    <a:pt x="197168" y="28194"/>
                  </a:cubicBezTo>
                  <a:cubicBezTo>
                    <a:pt x="202406" y="22574"/>
                    <a:pt x="208217" y="17621"/>
                    <a:pt x="214789" y="13430"/>
                  </a:cubicBezTo>
                  <a:cubicBezTo>
                    <a:pt x="221361" y="9239"/>
                    <a:pt x="228695" y="6001"/>
                    <a:pt x="236887" y="3620"/>
                  </a:cubicBezTo>
                  <a:cubicBezTo>
                    <a:pt x="245078" y="1238"/>
                    <a:pt x="254222" y="0"/>
                    <a:pt x="264319" y="0"/>
                  </a:cubicBezTo>
                  <a:cubicBezTo>
                    <a:pt x="291084" y="0"/>
                    <a:pt x="312039" y="8287"/>
                    <a:pt x="327279" y="24765"/>
                  </a:cubicBezTo>
                  <a:cubicBezTo>
                    <a:pt x="342519" y="41243"/>
                    <a:pt x="350044" y="63913"/>
                    <a:pt x="350044" y="92773"/>
                  </a:cubicBezTo>
                  <a:lnTo>
                    <a:pt x="350044" y="235648"/>
                  </a:lnTo>
                  <a:lnTo>
                    <a:pt x="315659" y="235648"/>
                  </a:lnTo>
                  <a:lnTo>
                    <a:pt x="315659" y="101155"/>
                  </a:lnTo>
                  <a:cubicBezTo>
                    <a:pt x="315659" y="78867"/>
                    <a:pt x="310420" y="61722"/>
                    <a:pt x="299847" y="49721"/>
                  </a:cubicBezTo>
                  <a:cubicBezTo>
                    <a:pt x="289274" y="37719"/>
                    <a:pt x="274606" y="31718"/>
                    <a:pt x="255937" y="31718"/>
                  </a:cubicBezTo>
                  <a:cubicBezTo>
                    <a:pt x="247269" y="31718"/>
                    <a:pt x="239078" y="33242"/>
                    <a:pt x="231362" y="36386"/>
                  </a:cubicBezTo>
                  <a:cubicBezTo>
                    <a:pt x="223647" y="39529"/>
                    <a:pt x="216884" y="44101"/>
                    <a:pt x="211074" y="50197"/>
                  </a:cubicBezTo>
                  <a:cubicBezTo>
                    <a:pt x="205264" y="56293"/>
                    <a:pt x="200692" y="63818"/>
                    <a:pt x="197263" y="72676"/>
                  </a:cubicBezTo>
                  <a:cubicBezTo>
                    <a:pt x="193834" y="81629"/>
                    <a:pt x="192119" y="91726"/>
                    <a:pt x="192119" y="102965"/>
                  </a:cubicBezTo>
                  <a:lnTo>
                    <a:pt x="192119" y="235648"/>
                  </a:lnTo>
                  <a:lnTo>
                    <a:pt x="158210" y="235648"/>
                  </a:lnTo>
                  <a:lnTo>
                    <a:pt x="158210" y="100298"/>
                  </a:lnTo>
                  <a:cubicBezTo>
                    <a:pt x="158210" y="78677"/>
                    <a:pt x="152971" y="61817"/>
                    <a:pt x="142399" y="49721"/>
                  </a:cubicBezTo>
                  <a:cubicBezTo>
                    <a:pt x="131826" y="37719"/>
                    <a:pt x="117348" y="31718"/>
                    <a:pt x="98870" y="31718"/>
                  </a:cubicBezTo>
                  <a:cubicBezTo>
                    <a:pt x="89630" y="31718"/>
                    <a:pt x="81153" y="33528"/>
                    <a:pt x="73438" y="37052"/>
                  </a:cubicBezTo>
                  <a:cubicBezTo>
                    <a:pt x="65722" y="40672"/>
                    <a:pt x="58960" y="45720"/>
                    <a:pt x="53150" y="52197"/>
                  </a:cubicBezTo>
                  <a:cubicBezTo>
                    <a:pt x="47339" y="58769"/>
                    <a:pt x="42767" y="66389"/>
                    <a:pt x="39529" y="75152"/>
                  </a:cubicBezTo>
                  <a:cubicBezTo>
                    <a:pt x="36290" y="83915"/>
                    <a:pt x="34576" y="93631"/>
                    <a:pt x="34576" y="104299"/>
                  </a:cubicBezTo>
                  <a:lnTo>
                    <a:pt x="34576" y="235648"/>
                  </a:lnTo>
                  <a:lnTo>
                    <a:pt x="190" y="235648"/>
                  </a:lnTo>
                  <a:lnTo>
                    <a:pt x="190" y="4858"/>
                  </a:lnTo>
                  <a:close/>
                </a:path>
              </a:pathLst>
            </a:custGeom>
            <a:solidFill>
              <a:srgbClr val="44505E"/>
            </a:solidFill>
            <a:ln w="9525" cap="flat">
              <a:noFill/>
              <a:prstDash val="solid"/>
              <a:miter/>
            </a:ln>
          </p:spPr>
          <p:txBody>
            <a:bodyPr rtlCol="0" anchor="ctr"/>
            <a:lstStyle/>
            <a:p>
              <a:endParaRPr lang="pt-BR" noProof="0"/>
            </a:p>
          </p:txBody>
        </p:sp>
        <p:sp>
          <p:nvSpPr>
            <p:cNvPr id="50" name="Freeform: Shape 49">
              <a:extLst>
                <a:ext uri="{FF2B5EF4-FFF2-40B4-BE49-F238E27FC236}">
                  <a16:creationId xmlns:a16="http://schemas.microsoft.com/office/drawing/2014/main" id="{D424754E-18AE-A552-E9C1-B7A1385A8E78}"/>
                </a:ext>
              </a:extLst>
            </p:cNvPr>
            <p:cNvSpPr/>
            <p:nvPr/>
          </p:nvSpPr>
          <p:spPr>
            <a:xfrm>
              <a:off x="6415537" y="925273"/>
              <a:ext cx="58016" cy="58448"/>
            </a:xfrm>
            <a:custGeom>
              <a:avLst/>
              <a:gdLst>
                <a:gd name="connsiteX0" fmla="*/ 95 w 230790"/>
                <a:gd name="connsiteY0" fmla="*/ 0 h 232505"/>
                <a:gd name="connsiteX1" fmla="*/ 38005 w 230790"/>
                <a:gd name="connsiteY1" fmla="*/ 0 h 232505"/>
                <a:gd name="connsiteX2" fmla="*/ 115633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3"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51" name="Freeform: Shape 50">
              <a:extLst>
                <a:ext uri="{FF2B5EF4-FFF2-40B4-BE49-F238E27FC236}">
                  <a16:creationId xmlns:a16="http://schemas.microsoft.com/office/drawing/2014/main" id="{1C532DCD-3484-E926-2968-7C6F3EA23FCE}"/>
                </a:ext>
              </a:extLst>
            </p:cNvPr>
            <p:cNvSpPr/>
            <p:nvPr/>
          </p:nvSpPr>
          <p:spPr>
            <a:xfrm>
              <a:off x="6487369"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286 w 39242"/>
                <a:gd name="connsiteY5" fmla="*/ 88392 h 319182"/>
                <a:gd name="connsiteX6" fmla="*/ 36671 w 39242"/>
                <a:gd name="connsiteY6" fmla="*/ 88392 h 319182"/>
                <a:gd name="connsiteX7" fmla="*/ 36671 w 39242"/>
                <a:gd name="connsiteY7" fmla="*/ 319183 h 319182"/>
                <a:gd name="connsiteX8" fmla="*/ 2286 w 39242"/>
                <a:gd name="connsiteY8" fmla="*/ 319183 h 319182"/>
                <a:gd name="connsiteX9" fmla="*/ 2286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286" y="88392"/>
                  </a:moveTo>
                  <a:lnTo>
                    <a:pt x="36671" y="88392"/>
                  </a:lnTo>
                  <a:lnTo>
                    <a:pt x="36671" y="319183"/>
                  </a:lnTo>
                  <a:lnTo>
                    <a:pt x="2286" y="319183"/>
                  </a:lnTo>
                  <a:lnTo>
                    <a:pt x="2286" y="88392"/>
                  </a:lnTo>
                  <a:close/>
                </a:path>
              </a:pathLst>
            </a:custGeom>
            <a:solidFill>
              <a:srgbClr val="44505E"/>
            </a:solidFill>
            <a:ln w="9525" cap="flat">
              <a:noFill/>
              <a:prstDash val="solid"/>
              <a:miter/>
            </a:ln>
          </p:spPr>
          <p:txBody>
            <a:bodyPr rtlCol="0" anchor="ctr"/>
            <a:lstStyle/>
            <a:p>
              <a:endParaRPr lang="pt-BR" noProof="0"/>
            </a:p>
          </p:txBody>
        </p:sp>
        <p:sp>
          <p:nvSpPr>
            <p:cNvPr id="52" name="Freeform: Shape 51">
              <a:extLst>
                <a:ext uri="{FF2B5EF4-FFF2-40B4-BE49-F238E27FC236}">
                  <a16:creationId xmlns:a16="http://schemas.microsoft.com/office/drawing/2014/main" id="{45DDD8FC-D733-7EBB-9A93-A6EB489CBE4E}"/>
                </a:ext>
              </a:extLst>
            </p:cNvPr>
            <p:cNvSpPr/>
            <p:nvPr/>
          </p:nvSpPr>
          <p:spPr>
            <a:xfrm>
              <a:off x="6513253" y="901353"/>
              <a:ext cx="58615" cy="83182"/>
            </a:xfrm>
            <a:custGeom>
              <a:avLst/>
              <a:gdLst>
                <a:gd name="connsiteX0" fmla="*/ 110394 w 233171"/>
                <a:gd name="connsiteY0" fmla="*/ 330898 h 330898"/>
                <a:gd name="connsiteX1" fmla="*/ 69723 w 233171"/>
                <a:gd name="connsiteY1" fmla="*/ 322897 h 330898"/>
                <a:gd name="connsiteX2" fmla="*/ 34480 w 233171"/>
                <a:gd name="connsiteY2" fmla="*/ 299466 h 330898"/>
                <a:gd name="connsiteX3" fmla="*/ 9430 w 233171"/>
                <a:gd name="connsiteY3" fmla="*/ 261938 h 330898"/>
                <a:gd name="connsiteX4" fmla="*/ 0 w 233171"/>
                <a:gd name="connsiteY4" fmla="*/ 211264 h 330898"/>
                <a:gd name="connsiteX5" fmla="*/ 0 w 233171"/>
                <a:gd name="connsiteY5" fmla="*/ 210407 h 330898"/>
                <a:gd name="connsiteX6" fmla="*/ 9430 w 233171"/>
                <a:gd name="connsiteY6" fmla="*/ 159925 h 330898"/>
                <a:gd name="connsiteX7" fmla="*/ 34480 w 233171"/>
                <a:gd name="connsiteY7" fmla="*/ 122206 h 330898"/>
                <a:gd name="connsiteX8" fmla="*/ 69723 w 233171"/>
                <a:gd name="connsiteY8" fmla="*/ 98488 h 330898"/>
                <a:gd name="connsiteX9" fmla="*/ 110394 w 233171"/>
                <a:gd name="connsiteY9" fmla="*/ 90202 h 330898"/>
                <a:gd name="connsiteX10" fmla="*/ 139827 w 233171"/>
                <a:gd name="connsiteY10" fmla="*/ 94202 h 330898"/>
                <a:gd name="connsiteX11" fmla="*/ 163925 w 233171"/>
                <a:gd name="connsiteY11" fmla="*/ 104870 h 330898"/>
                <a:gd name="connsiteX12" fmla="*/ 183356 w 233171"/>
                <a:gd name="connsiteY12" fmla="*/ 120491 h 330898"/>
                <a:gd name="connsiteX13" fmla="*/ 198787 w 233171"/>
                <a:gd name="connsiteY13" fmla="*/ 139255 h 330898"/>
                <a:gd name="connsiteX14" fmla="*/ 198787 w 233171"/>
                <a:gd name="connsiteY14" fmla="*/ 0 h 330898"/>
                <a:gd name="connsiteX15" fmla="*/ 233172 w 233171"/>
                <a:gd name="connsiteY15" fmla="*/ 0 h 330898"/>
                <a:gd name="connsiteX16" fmla="*/ 233172 w 233171"/>
                <a:gd name="connsiteY16" fmla="*/ 325850 h 330898"/>
                <a:gd name="connsiteX17" fmla="*/ 198787 w 233171"/>
                <a:gd name="connsiteY17" fmla="*/ 325850 h 330898"/>
                <a:gd name="connsiteX18" fmla="*/ 198787 w 233171"/>
                <a:gd name="connsiteY18" fmla="*/ 279463 h 330898"/>
                <a:gd name="connsiteX19" fmla="*/ 182975 w 233171"/>
                <a:gd name="connsiteY19" fmla="*/ 299085 h 330898"/>
                <a:gd name="connsiteX20" fmla="*/ 163544 w 233171"/>
                <a:gd name="connsiteY20" fmla="*/ 315658 h 330898"/>
                <a:gd name="connsiteX21" fmla="*/ 139636 w 233171"/>
                <a:gd name="connsiteY21" fmla="*/ 326803 h 330898"/>
                <a:gd name="connsiteX22" fmla="*/ 110394 w 233171"/>
                <a:gd name="connsiteY22" fmla="*/ 330803 h 330898"/>
                <a:gd name="connsiteX23" fmla="*/ 116681 w 233171"/>
                <a:gd name="connsiteY23" fmla="*/ 300133 h 330898"/>
                <a:gd name="connsiteX24" fmla="*/ 147733 w 233171"/>
                <a:gd name="connsiteY24" fmla="*/ 293656 h 330898"/>
                <a:gd name="connsiteX25" fmla="*/ 174498 w 233171"/>
                <a:gd name="connsiteY25" fmla="*/ 275368 h 330898"/>
                <a:gd name="connsiteX26" fmla="*/ 193262 w 233171"/>
                <a:gd name="connsiteY26" fmla="*/ 247269 h 330898"/>
                <a:gd name="connsiteX27" fmla="*/ 200216 w 233171"/>
                <a:gd name="connsiteY27" fmla="*/ 210883 h 330898"/>
                <a:gd name="connsiteX28" fmla="*/ 200216 w 233171"/>
                <a:gd name="connsiteY28" fmla="*/ 210026 h 330898"/>
                <a:gd name="connsiteX29" fmla="*/ 193262 w 233171"/>
                <a:gd name="connsiteY29" fmla="*/ 173641 h 330898"/>
                <a:gd name="connsiteX30" fmla="*/ 174498 w 233171"/>
                <a:gd name="connsiteY30" fmla="*/ 145732 h 330898"/>
                <a:gd name="connsiteX31" fmla="*/ 147733 w 233171"/>
                <a:gd name="connsiteY31" fmla="*/ 127635 h 330898"/>
                <a:gd name="connsiteX32" fmla="*/ 116681 w 233171"/>
                <a:gd name="connsiteY32" fmla="*/ 121158 h 330898"/>
                <a:gd name="connsiteX33" fmla="*/ 84963 w 233171"/>
                <a:gd name="connsiteY33" fmla="*/ 127159 h 330898"/>
                <a:gd name="connsiteX34" fmla="*/ 59341 w 233171"/>
                <a:gd name="connsiteY34" fmla="*/ 144589 h 330898"/>
                <a:gd name="connsiteX35" fmla="*/ 41910 w 233171"/>
                <a:gd name="connsiteY35" fmla="*/ 172498 h 330898"/>
                <a:gd name="connsiteX36" fmla="*/ 35433 w 233171"/>
                <a:gd name="connsiteY36" fmla="*/ 210026 h 330898"/>
                <a:gd name="connsiteX37" fmla="*/ 35433 w 233171"/>
                <a:gd name="connsiteY37" fmla="*/ 210883 h 330898"/>
                <a:gd name="connsiteX38" fmla="*/ 41910 w 233171"/>
                <a:gd name="connsiteY38" fmla="*/ 247936 h 330898"/>
                <a:gd name="connsiteX39" fmla="*/ 59531 w 233171"/>
                <a:gd name="connsiteY39" fmla="*/ 276034 h 330898"/>
                <a:gd name="connsiteX40" fmla="*/ 85439 w 233171"/>
                <a:gd name="connsiteY40" fmla="*/ 293941 h 330898"/>
                <a:gd name="connsiteX41" fmla="*/ 116681 w 23317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3171" h="330898">
                  <a:moveTo>
                    <a:pt x="110394" y="330898"/>
                  </a:moveTo>
                  <a:cubicBezTo>
                    <a:pt x="96393" y="330898"/>
                    <a:pt x="82868" y="328231"/>
                    <a:pt x="69723" y="322897"/>
                  </a:cubicBezTo>
                  <a:cubicBezTo>
                    <a:pt x="56674" y="317563"/>
                    <a:pt x="44863" y="309753"/>
                    <a:pt x="34480" y="299466"/>
                  </a:cubicBezTo>
                  <a:cubicBezTo>
                    <a:pt x="24003" y="289179"/>
                    <a:pt x="15716" y="276701"/>
                    <a:pt x="9430" y="261938"/>
                  </a:cubicBezTo>
                  <a:cubicBezTo>
                    <a:pt x="3143" y="247174"/>
                    <a:pt x="0" y="230314"/>
                    <a:pt x="0" y="211264"/>
                  </a:cubicBezTo>
                  <a:lnTo>
                    <a:pt x="0" y="210407"/>
                  </a:lnTo>
                  <a:cubicBezTo>
                    <a:pt x="0" y="191643"/>
                    <a:pt x="3143" y="174879"/>
                    <a:pt x="9430" y="159925"/>
                  </a:cubicBezTo>
                  <a:cubicBezTo>
                    <a:pt x="15716" y="145066"/>
                    <a:pt x="24003" y="132493"/>
                    <a:pt x="34480" y="122206"/>
                  </a:cubicBezTo>
                  <a:cubicBezTo>
                    <a:pt x="44863" y="111919"/>
                    <a:pt x="56674" y="104013"/>
                    <a:pt x="69723" y="98488"/>
                  </a:cubicBezTo>
                  <a:cubicBezTo>
                    <a:pt x="82868" y="92964"/>
                    <a:pt x="96393" y="90202"/>
                    <a:pt x="110394" y="90202"/>
                  </a:cubicBezTo>
                  <a:cubicBezTo>
                    <a:pt x="121158" y="90202"/>
                    <a:pt x="130969" y="91535"/>
                    <a:pt x="139827" y="94202"/>
                  </a:cubicBezTo>
                  <a:cubicBezTo>
                    <a:pt x="148780" y="96869"/>
                    <a:pt x="156782" y="100489"/>
                    <a:pt x="163925" y="104870"/>
                  </a:cubicBezTo>
                  <a:cubicBezTo>
                    <a:pt x="171069" y="109347"/>
                    <a:pt x="177546" y="114586"/>
                    <a:pt x="183356" y="120491"/>
                  </a:cubicBezTo>
                  <a:cubicBezTo>
                    <a:pt x="189166" y="126492"/>
                    <a:pt x="194310" y="132683"/>
                    <a:pt x="198787" y="139255"/>
                  </a:cubicBezTo>
                  <a:lnTo>
                    <a:pt x="198787" y="0"/>
                  </a:lnTo>
                  <a:lnTo>
                    <a:pt x="233172" y="0"/>
                  </a:lnTo>
                  <a:lnTo>
                    <a:pt x="233172" y="325850"/>
                  </a:lnTo>
                  <a:lnTo>
                    <a:pt x="198787" y="325850"/>
                  </a:lnTo>
                  <a:lnTo>
                    <a:pt x="198787" y="279463"/>
                  </a:lnTo>
                  <a:cubicBezTo>
                    <a:pt x="194024" y="286321"/>
                    <a:pt x="188786" y="292894"/>
                    <a:pt x="182975" y="299085"/>
                  </a:cubicBezTo>
                  <a:cubicBezTo>
                    <a:pt x="177165" y="305371"/>
                    <a:pt x="170688" y="310896"/>
                    <a:pt x="163544" y="315658"/>
                  </a:cubicBezTo>
                  <a:cubicBezTo>
                    <a:pt x="156400" y="320421"/>
                    <a:pt x="148494" y="324136"/>
                    <a:pt x="139636" y="326803"/>
                  </a:cubicBezTo>
                  <a:cubicBezTo>
                    <a:pt x="130873" y="329470"/>
                    <a:pt x="121158" y="330803"/>
                    <a:pt x="110394" y="330803"/>
                  </a:cubicBezTo>
                  <a:close/>
                  <a:moveTo>
                    <a:pt x="116681" y="300133"/>
                  </a:moveTo>
                  <a:cubicBezTo>
                    <a:pt x="127445" y="300133"/>
                    <a:pt x="137732" y="297942"/>
                    <a:pt x="147733" y="293656"/>
                  </a:cubicBezTo>
                  <a:cubicBezTo>
                    <a:pt x="157734" y="289369"/>
                    <a:pt x="166592" y="283273"/>
                    <a:pt x="174498" y="275368"/>
                  </a:cubicBezTo>
                  <a:cubicBezTo>
                    <a:pt x="182404" y="267462"/>
                    <a:pt x="188595" y="258127"/>
                    <a:pt x="193262" y="247269"/>
                  </a:cubicBezTo>
                  <a:cubicBezTo>
                    <a:pt x="197834" y="236410"/>
                    <a:pt x="200216" y="224314"/>
                    <a:pt x="200216" y="210883"/>
                  </a:cubicBezTo>
                  <a:lnTo>
                    <a:pt x="200216" y="210026"/>
                  </a:lnTo>
                  <a:cubicBezTo>
                    <a:pt x="200216" y="196596"/>
                    <a:pt x="197929" y="184499"/>
                    <a:pt x="193262" y="173641"/>
                  </a:cubicBezTo>
                  <a:cubicBezTo>
                    <a:pt x="188595" y="162782"/>
                    <a:pt x="182404" y="153448"/>
                    <a:pt x="174498" y="145732"/>
                  </a:cubicBezTo>
                  <a:cubicBezTo>
                    <a:pt x="166592" y="138017"/>
                    <a:pt x="157639" y="132016"/>
                    <a:pt x="147733" y="127635"/>
                  </a:cubicBezTo>
                  <a:cubicBezTo>
                    <a:pt x="137732" y="123349"/>
                    <a:pt x="127445" y="121158"/>
                    <a:pt x="116681" y="121158"/>
                  </a:cubicBezTo>
                  <a:cubicBezTo>
                    <a:pt x="105346" y="121158"/>
                    <a:pt x="94774" y="123158"/>
                    <a:pt x="84963" y="127159"/>
                  </a:cubicBezTo>
                  <a:cubicBezTo>
                    <a:pt x="75152" y="131159"/>
                    <a:pt x="66580" y="136969"/>
                    <a:pt x="59341" y="144589"/>
                  </a:cubicBezTo>
                  <a:cubicBezTo>
                    <a:pt x="52007" y="152114"/>
                    <a:pt x="46291" y="161449"/>
                    <a:pt x="41910" y="172498"/>
                  </a:cubicBezTo>
                  <a:cubicBezTo>
                    <a:pt x="37624" y="183451"/>
                    <a:pt x="35433" y="196024"/>
                    <a:pt x="35433" y="210026"/>
                  </a:cubicBezTo>
                  <a:lnTo>
                    <a:pt x="35433" y="210883"/>
                  </a:lnTo>
                  <a:cubicBezTo>
                    <a:pt x="35433" y="224599"/>
                    <a:pt x="37624" y="236982"/>
                    <a:pt x="41910" y="247936"/>
                  </a:cubicBezTo>
                  <a:cubicBezTo>
                    <a:pt x="46196" y="258984"/>
                    <a:pt x="52101" y="268319"/>
                    <a:pt x="59531" y="276034"/>
                  </a:cubicBezTo>
                  <a:cubicBezTo>
                    <a:pt x="66960" y="283750"/>
                    <a:pt x="75629" y="289750"/>
                    <a:pt x="85439" y="293941"/>
                  </a:cubicBezTo>
                  <a:cubicBezTo>
                    <a:pt x="95250" y="298132"/>
                    <a:pt x="105632" y="300228"/>
                    <a:pt x="116681" y="300228"/>
                  </a:cubicBezTo>
                  <a:close/>
                </a:path>
              </a:pathLst>
            </a:custGeom>
            <a:solidFill>
              <a:srgbClr val="44505E"/>
            </a:solidFill>
            <a:ln w="9525" cap="flat">
              <a:noFill/>
              <a:prstDash val="solid"/>
              <a:miter/>
            </a:ln>
          </p:spPr>
          <p:txBody>
            <a:bodyPr rtlCol="0" anchor="ctr"/>
            <a:lstStyle/>
            <a:p>
              <a:endParaRPr lang="pt-BR" noProof="0"/>
            </a:p>
          </p:txBody>
        </p:sp>
        <p:sp>
          <p:nvSpPr>
            <p:cNvPr id="53" name="Freeform: Shape 52">
              <a:extLst>
                <a:ext uri="{FF2B5EF4-FFF2-40B4-BE49-F238E27FC236}">
                  <a16:creationId xmlns:a16="http://schemas.microsoft.com/office/drawing/2014/main" id="{E8685EFE-0B99-F279-4E8C-2F66BFBC163D}"/>
                </a:ext>
              </a:extLst>
            </p:cNvPr>
            <p:cNvSpPr/>
            <p:nvPr/>
          </p:nvSpPr>
          <p:spPr>
            <a:xfrm>
              <a:off x="6586762"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0 w 202977"/>
                <a:gd name="connsiteY16" fmla="*/ 48196 h 239267"/>
                <a:gd name="connsiteX17" fmla="*/ 20383 w 202977"/>
                <a:gd name="connsiteY17" fmla="*/ 19907 h 239267"/>
                <a:gd name="connsiteX18" fmla="*/ 59245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0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1"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675" y="92678"/>
                    <a:pt x="84011" y="90964"/>
                    <a:pt x="98584" y="90964"/>
                  </a:cubicBezTo>
                  <a:cubicBezTo>
                    <a:pt x="113157" y="90964"/>
                    <a:pt x="126302"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0" y="33147"/>
                    <a:pt x="63436" y="36100"/>
                  </a:cubicBezTo>
                  <a:cubicBezTo>
                    <a:pt x="52292" y="39053"/>
                    <a:pt x="41338" y="43053"/>
                    <a:pt x="30670" y="48196"/>
                  </a:cubicBezTo>
                  <a:lnTo>
                    <a:pt x="20383" y="19907"/>
                  </a:lnTo>
                  <a:cubicBezTo>
                    <a:pt x="33147" y="13906"/>
                    <a:pt x="46101" y="9049"/>
                    <a:pt x="59245" y="5429"/>
                  </a:cubicBezTo>
                  <a:cubicBezTo>
                    <a:pt x="72294" y="1810"/>
                    <a:pt x="87344" y="0"/>
                    <a:pt x="104299" y="0"/>
                  </a:cubicBezTo>
                  <a:cubicBezTo>
                    <a:pt x="137064" y="0"/>
                    <a:pt x="161925" y="8477"/>
                    <a:pt x="178879" y="25432"/>
                  </a:cubicBezTo>
                  <a:cubicBezTo>
                    <a:pt x="194976"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0" y="239173"/>
                  </a:cubicBezTo>
                  <a:close/>
                  <a:moveTo>
                    <a:pt x="93154" y="211169"/>
                  </a:moveTo>
                  <a:cubicBezTo>
                    <a:pt x="103822" y="211169"/>
                    <a:pt x="113729" y="209740"/>
                    <a:pt x="122967" y="206788"/>
                  </a:cubicBezTo>
                  <a:cubicBezTo>
                    <a:pt x="132207"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4" y="119348"/>
                    <a:pt x="116871"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54" name="Freeform: Shape 53">
              <a:extLst>
                <a:ext uri="{FF2B5EF4-FFF2-40B4-BE49-F238E27FC236}">
                  <a16:creationId xmlns:a16="http://schemas.microsoft.com/office/drawing/2014/main" id="{A4D2BA6F-2A25-B2EF-C590-A6AFCB7C7FE8}"/>
                </a:ext>
              </a:extLst>
            </p:cNvPr>
            <p:cNvSpPr/>
            <p:nvPr/>
          </p:nvSpPr>
          <p:spPr>
            <a:xfrm>
              <a:off x="6651291" y="924268"/>
              <a:ext cx="44680" cy="60195"/>
            </a:xfrm>
            <a:custGeom>
              <a:avLst/>
              <a:gdLst>
                <a:gd name="connsiteX0" fmla="*/ 95535 w 177736"/>
                <a:gd name="connsiteY0" fmla="*/ 239268 h 239458"/>
                <a:gd name="connsiteX1" fmla="*/ 45053 w 177736"/>
                <a:gd name="connsiteY1" fmla="*/ 230124 h 239458"/>
                <a:gd name="connsiteX2" fmla="*/ 0 w 177736"/>
                <a:gd name="connsiteY2" fmla="*/ 205359 h 239458"/>
                <a:gd name="connsiteX3" fmla="*/ 17430 w 177736"/>
                <a:gd name="connsiteY3" fmla="*/ 180785 h 239458"/>
                <a:gd name="connsiteX4" fmla="*/ 56483 w 177736"/>
                <a:gd name="connsiteY4" fmla="*/ 202692 h 239458"/>
                <a:gd name="connsiteX5" fmla="*/ 97345 w 177736"/>
                <a:gd name="connsiteY5" fmla="*/ 210217 h 239458"/>
                <a:gd name="connsiteX6" fmla="*/ 131730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825 w 177736"/>
                <a:gd name="connsiteY10" fmla="*/ 147066 h 239458"/>
                <a:gd name="connsiteX11" fmla="*/ 109251 w 177736"/>
                <a:gd name="connsiteY11" fmla="*/ 138779 h 239458"/>
                <a:gd name="connsiteX12" fmla="*/ 87630 w 177736"/>
                <a:gd name="connsiteY12" fmla="*/ 132112 h 239458"/>
                <a:gd name="connsiteX13" fmla="*/ 60579 w 177736"/>
                <a:gd name="connsiteY13" fmla="*/ 123444 h 239458"/>
                <a:gd name="connsiteX14" fmla="*/ 36004 w 177736"/>
                <a:gd name="connsiteY14" fmla="*/ 111633 h 239458"/>
                <a:gd name="connsiteX15" fmla="*/ 18192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59 w 177736"/>
                <a:gd name="connsiteY22" fmla="*/ 6953 h 239458"/>
                <a:gd name="connsiteX23" fmla="*/ 172878 w 177736"/>
                <a:gd name="connsiteY23" fmla="*/ 25527 h 239458"/>
                <a:gd name="connsiteX24" fmla="*/ 157257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3 w 177736"/>
                <a:gd name="connsiteY32" fmla="*/ 96203 h 239458"/>
                <a:gd name="connsiteX33" fmla="*/ 103631 w 177736"/>
                <a:gd name="connsiteY33" fmla="*/ 103346 h 239458"/>
                <a:gd name="connsiteX34" fmla="*/ 130207 w 177736"/>
                <a:gd name="connsiteY34" fmla="*/ 112300 h 239458"/>
                <a:gd name="connsiteX35" fmla="*/ 154114 w 177736"/>
                <a:gd name="connsiteY35" fmla="*/ 124778 h 239458"/>
                <a:gd name="connsiteX36" fmla="*/ 171259 w 177736"/>
                <a:gd name="connsiteY36" fmla="*/ 143066 h 239458"/>
                <a:gd name="connsiteX37" fmla="*/ 177736 w 177736"/>
                <a:gd name="connsiteY37" fmla="*/ 169450 h 239458"/>
                <a:gd name="connsiteX38" fmla="*/ 177736 w 177736"/>
                <a:gd name="connsiteY38" fmla="*/ 170307 h 239458"/>
                <a:gd name="connsiteX39" fmla="*/ 171259 w 177736"/>
                <a:gd name="connsiteY39" fmla="*/ 199549 h 239458"/>
                <a:gd name="connsiteX40" fmla="*/ 153828 w 177736"/>
                <a:gd name="connsiteY40" fmla="*/ 221171 h 239458"/>
                <a:gd name="connsiteX41" fmla="*/ 127921 w 177736"/>
                <a:gd name="connsiteY41" fmla="*/ 234791 h 239458"/>
                <a:gd name="connsiteX42" fmla="*/ 95535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5" y="239268"/>
                  </a:moveTo>
                  <a:cubicBezTo>
                    <a:pt x="78867" y="239268"/>
                    <a:pt x="62007" y="236220"/>
                    <a:pt x="45053" y="230124"/>
                  </a:cubicBezTo>
                  <a:cubicBezTo>
                    <a:pt x="28098" y="224028"/>
                    <a:pt x="13049" y="215741"/>
                    <a:pt x="0" y="205359"/>
                  </a:cubicBezTo>
                  <a:lnTo>
                    <a:pt x="17430" y="180785"/>
                  </a:lnTo>
                  <a:cubicBezTo>
                    <a:pt x="29908" y="190310"/>
                    <a:pt x="42957" y="197644"/>
                    <a:pt x="56483" y="202692"/>
                  </a:cubicBezTo>
                  <a:cubicBezTo>
                    <a:pt x="70009" y="207740"/>
                    <a:pt x="83629" y="210217"/>
                    <a:pt x="97345" y="210217"/>
                  </a:cubicBezTo>
                  <a:cubicBezTo>
                    <a:pt x="111061" y="210217"/>
                    <a:pt x="122777" y="206978"/>
                    <a:pt x="131730" y="200406"/>
                  </a:cubicBezTo>
                  <a:cubicBezTo>
                    <a:pt x="140684" y="193834"/>
                    <a:pt x="145161" y="184976"/>
                    <a:pt x="145161" y="173641"/>
                  </a:cubicBezTo>
                  <a:lnTo>
                    <a:pt x="145161" y="172784"/>
                  </a:lnTo>
                  <a:cubicBezTo>
                    <a:pt x="145161" y="167164"/>
                    <a:pt x="143541" y="162211"/>
                    <a:pt x="140494" y="158020"/>
                  </a:cubicBezTo>
                  <a:cubicBezTo>
                    <a:pt x="137350" y="153829"/>
                    <a:pt x="133159" y="150209"/>
                    <a:pt x="127825" y="147066"/>
                  </a:cubicBezTo>
                  <a:cubicBezTo>
                    <a:pt x="122491" y="143923"/>
                    <a:pt x="116300" y="141161"/>
                    <a:pt x="109251" y="138779"/>
                  </a:cubicBezTo>
                  <a:cubicBezTo>
                    <a:pt x="102298" y="136398"/>
                    <a:pt x="95059" y="134207"/>
                    <a:pt x="87630" y="132112"/>
                  </a:cubicBezTo>
                  <a:cubicBezTo>
                    <a:pt x="78676" y="129445"/>
                    <a:pt x="69722" y="126492"/>
                    <a:pt x="60579" y="123444"/>
                  </a:cubicBezTo>
                  <a:cubicBezTo>
                    <a:pt x="51530" y="120301"/>
                    <a:pt x="43339" y="116396"/>
                    <a:pt x="36004" y="111633"/>
                  </a:cubicBezTo>
                  <a:cubicBezTo>
                    <a:pt x="28670" y="106871"/>
                    <a:pt x="22764" y="100870"/>
                    <a:pt x="18192" y="93726"/>
                  </a:cubicBezTo>
                  <a:cubicBezTo>
                    <a:pt x="13525" y="86582"/>
                    <a:pt x="11239" y="77629"/>
                    <a:pt x="11239" y="66961"/>
                  </a:cubicBezTo>
                  <a:lnTo>
                    <a:pt x="11239" y="66008"/>
                  </a:lnTo>
                  <a:cubicBezTo>
                    <a:pt x="11239" y="56198"/>
                    <a:pt x="13144" y="47149"/>
                    <a:pt x="17050" y="39053"/>
                  </a:cubicBezTo>
                  <a:cubicBezTo>
                    <a:pt x="20955" y="30861"/>
                    <a:pt x="26384" y="23908"/>
                    <a:pt x="33338" y="18098"/>
                  </a:cubicBezTo>
                  <a:cubicBezTo>
                    <a:pt x="40291" y="12287"/>
                    <a:pt x="48673" y="7811"/>
                    <a:pt x="58388" y="4667"/>
                  </a:cubicBezTo>
                  <a:cubicBezTo>
                    <a:pt x="68008" y="1524"/>
                    <a:pt x="78581" y="0"/>
                    <a:pt x="89821" y="0"/>
                  </a:cubicBezTo>
                  <a:cubicBezTo>
                    <a:pt x="104108" y="0"/>
                    <a:pt x="118586" y="2286"/>
                    <a:pt x="133159" y="6953"/>
                  </a:cubicBezTo>
                  <a:cubicBezTo>
                    <a:pt x="147732" y="11621"/>
                    <a:pt x="160972" y="17717"/>
                    <a:pt x="172878" y="25527"/>
                  </a:cubicBezTo>
                  <a:lnTo>
                    <a:pt x="157257" y="51435"/>
                  </a:lnTo>
                  <a:cubicBezTo>
                    <a:pt x="146494" y="44577"/>
                    <a:pt x="135255" y="39148"/>
                    <a:pt x="123539" y="35147"/>
                  </a:cubicBezTo>
                  <a:cubicBezTo>
                    <a:pt x="111823" y="31147"/>
                    <a:pt x="100203" y="29146"/>
                    <a:pt x="88963" y="29146"/>
                  </a:cubicBezTo>
                  <a:cubicBezTo>
                    <a:pt x="75247" y="29146"/>
                    <a:pt x="64389" y="32385"/>
                    <a:pt x="56388" y="38767"/>
                  </a:cubicBezTo>
                  <a:cubicBezTo>
                    <a:pt x="48291" y="45149"/>
                    <a:pt x="44291" y="53150"/>
                    <a:pt x="44291" y="62675"/>
                  </a:cubicBezTo>
                  <a:lnTo>
                    <a:pt x="44291" y="63627"/>
                  </a:lnTo>
                  <a:cubicBezTo>
                    <a:pt x="44291" y="68961"/>
                    <a:pt x="45910" y="73628"/>
                    <a:pt x="49244" y="77724"/>
                  </a:cubicBezTo>
                  <a:cubicBezTo>
                    <a:pt x="52482" y="81725"/>
                    <a:pt x="56864" y="85249"/>
                    <a:pt x="62389" y="88202"/>
                  </a:cubicBezTo>
                  <a:cubicBezTo>
                    <a:pt x="67913" y="91154"/>
                    <a:pt x="74200" y="93821"/>
                    <a:pt x="81343" y="96203"/>
                  </a:cubicBezTo>
                  <a:cubicBezTo>
                    <a:pt x="88487" y="98584"/>
                    <a:pt x="95916" y="100965"/>
                    <a:pt x="103631" y="103346"/>
                  </a:cubicBezTo>
                  <a:cubicBezTo>
                    <a:pt x="112585" y="106013"/>
                    <a:pt x="121444" y="108966"/>
                    <a:pt x="130207" y="112300"/>
                  </a:cubicBezTo>
                  <a:cubicBezTo>
                    <a:pt x="138969" y="115538"/>
                    <a:pt x="146971" y="119729"/>
                    <a:pt x="154114" y="124778"/>
                  </a:cubicBezTo>
                  <a:cubicBezTo>
                    <a:pt x="161258" y="129826"/>
                    <a:pt x="166973" y="135922"/>
                    <a:pt x="171259" y="143066"/>
                  </a:cubicBezTo>
                  <a:cubicBezTo>
                    <a:pt x="175546" y="150209"/>
                    <a:pt x="177736" y="158972"/>
                    <a:pt x="177736" y="169450"/>
                  </a:cubicBezTo>
                  <a:lnTo>
                    <a:pt x="177736" y="170307"/>
                  </a:lnTo>
                  <a:cubicBezTo>
                    <a:pt x="177736" y="181356"/>
                    <a:pt x="175546" y="191071"/>
                    <a:pt x="171259" y="199549"/>
                  </a:cubicBezTo>
                  <a:cubicBezTo>
                    <a:pt x="166973" y="208026"/>
                    <a:pt x="161163" y="215265"/>
                    <a:pt x="153828" y="221171"/>
                  </a:cubicBezTo>
                  <a:cubicBezTo>
                    <a:pt x="146589" y="227171"/>
                    <a:pt x="137922" y="231648"/>
                    <a:pt x="127921" y="234791"/>
                  </a:cubicBezTo>
                  <a:cubicBezTo>
                    <a:pt x="117919" y="237935"/>
                    <a:pt x="107156" y="239459"/>
                    <a:pt x="95535" y="239459"/>
                  </a:cubicBezTo>
                  <a:close/>
                </a:path>
              </a:pathLst>
            </a:custGeom>
            <a:solidFill>
              <a:srgbClr val="44505E"/>
            </a:solidFill>
            <a:ln w="9525" cap="flat">
              <a:noFill/>
              <a:prstDash val="solid"/>
              <a:miter/>
            </a:ln>
          </p:spPr>
          <p:txBody>
            <a:bodyPr rtlCol="0" anchor="ctr"/>
            <a:lstStyle/>
            <a:p>
              <a:endParaRPr lang="pt-BR" noProof="0"/>
            </a:p>
          </p:txBody>
        </p:sp>
        <p:sp>
          <p:nvSpPr>
            <p:cNvPr id="55" name="Freeform: Shape 54">
              <a:extLst>
                <a:ext uri="{FF2B5EF4-FFF2-40B4-BE49-F238E27FC236}">
                  <a16:creationId xmlns:a16="http://schemas.microsoft.com/office/drawing/2014/main" id="{00615E63-F529-FE8F-0017-368710E3E647}"/>
                </a:ext>
              </a:extLst>
            </p:cNvPr>
            <p:cNvSpPr/>
            <p:nvPr/>
          </p:nvSpPr>
          <p:spPr>
            <a:xfrm>
              <a:off x="5250320" y="846952"/>
              <a:ext cx="1459036" cy="16186"/>
            </a:xfrm>
            <a:custGeom>
              <a:avLst/>
              <a:gdLst>
                <a:gd name="connsiteX0" fmla="*/ 0 w 5804058"/>
                <a:gd name="connsiteY0" fmla="*/ 0 h 64388"/>
                <a:gd name="connsiteX1" fmla="*/ 5804059 w 5804058"/>
                <a:gd name="connsiteY1" fmla="*/ 0 h 64388"/>
                <a:gd name="connsiteX2" fmla="*/ 5804059 w 5804058"/>
                <a:gd name="connsiteY2" fmla="*/ 64389 h 64388"/>
                <a:gd name="connsiteX3" fmla="*/ 0 w 5804058"/>
                <a:gd name="connsiteY3" fmla="*/ 64389 h 64388"/>
              </a:gdLst>
              <a:ahLst/>
              <a:cxnLst>
                <a:cxn ang="0">
                  <a:pos x="connsiteX0" y="connsiteY0"/>
                </a:cxn>
                <a:cxn ang="0">
                  <a:pos x="connsiteX1" y="connsiteY1"/>
                </a:cxn>
                <a:cxn ang="0">
                  <a:pos x="connsiteX2" y="connsiteY2"/>
                </a:cxn>
                <a:cxn ang="0">
                  <a:pos x="connsiteX3" y="connsiteY3"/>
                </a:cxn>
              </a:cxnLst>
              <a:rect l="l" t="t" r="r" b="b"/>
              <a:pathLst>
                <a:path w="5804058" h="64388">
                  <a:moveTo>
                    <a:pt x="0" y="0"/>
                  </a:moveTo>
                  <a:lnTo>
                    <a:pt x="5804059" y="0"/>
                  </a:lnTo>
                  <a:lnTo>
                    <a:pt x="5804059" y="64389"/>
                  </a:lnTo>
                  <a:lnTo>
                    <a:pt x="0" y="64389"/>
                  </a:lnTo>
                  <a:close/>
                </a:path>
              </a:pathLst>
            </a:custGeom>
            <a:solidFill>
              <a:srgbClr val="44505E"/>
            </a:solidFill>
            <a:ln w="9525" cap="flat">
              <a:noFill/>
              <a:prstDash val="solid"/>
              <a:miter/>
            </a:ln>
          </p:spPr>
          <p:txBody>
            <a:bodyPr rtlCol="0" anchor="ctr"/>
            <a:lstStyle/>
            <a:p>
              <a:endParaRPr lang="pt-BR" noProof="0"/>
            </a:p>
          </p:txBody>
        </p:sp>
        <p:sp>
          <p:nvSpPr>
            <p:cNvPr id="56" name="Freeform: Shape 55">
              <a:extLst>
                <a:ext uri="{FF2B5EF4-FFF2-40B4-BE49-F238E27FC236}">
                  <a16:creationId xmlns:a16="http://schemas.microsoft.com/office/drawing/2014/main" id="{52230871-2896-9734-4B06-71591F03ACED}"/>
                </a:ext>
              </a:extLst>
            </p:cNvPr>
            <p:cNvSpPr/>
            <p:nvPr/>
          </p:nvSpPr>
          <p:spPr>
            <a:xfrm>
              <a:off x="6902633" y="268821"/>
              <a:ext cx="273418" cy="601046"/>
            </a:xfrm>
            <a:custGeom>
              <a:avLst/>
              <a:gdLst>
                <a:gd name="connsiteX0" fmla="*/ 0 w 1087659"/>
                <a:gd name="connsiteY0" fmla="*/ 210979 h 2390965"/>
                <a:gd name="connsiteX1" fmla="*/ 125063 w 1087659"/>
                <a:gd name="connsiteY1" fmla="*/ 103442 h 2390965"/>
                <a:gd name="connsiteX2" fmla="*/ 250031 w 1087659"/>
                <a:gd name="connsiteY2" fmla="*/ 210979 h 2390965"/>
                <a:gd name="connsiteX3" fmla="*/ 250031 w 1087659"/>
                <a:gd name="connsiteY3" fmla="*/ 1922717 h 2390965"/>
                <a:gd name="connsiteX4" fmla="*/ 249841 w 1087659"/>
                <a:gd name="connsiteY4" fmla="*/ 1922717 h 2390965"/>
                <a:gd name="connsiteX5" fmla="*/ 249841 w 1087659"/>
                <a:gd name="connsiteY5" fmla="*/ 1925955 h 2390965"/>
                <a:gd name="connsiteX6" fmla="*/ 333756 w 1087659"/>
                <a:gd name="connsiteY6" fmla="*/ 2100263 h 2390965"/>
                <a:gd name="connsiteX7" fmla="*/ 335566 w 1087659"/>
                <a:gd name="connsiteY7" fmla="*/ 2101787 h 2390965"/>
                <a:gd name="connsiteX8" fmla="*/ 336042 w 1087659"/>
                <a:gd name="connsiteY8" fmla="*/ 2102168 h 2390965"/>
                <a:gd name="connsiteX9" fmla="*/ 543877 w 1087659"/>
                <a:gd name="connsiteY9" fmla="*/ 2175891 h 2390965"/>
                <a:gd name="connsiteX10" fmla="*/ 749998 w 1087659"/>
                <a:gd name="connsiteY10" fmla="*/ 2103692 h 2390965"/>
                <a:gd name="connsiteX11" fmla="*/ 751713 w 1087659"/>
                <a:gd name="connsiteY11" fmla="*/ 2102168 h 2390965"/>
                <a:gd name="connsiteX12" fmla="*/ 752189 w 1087659"/>
                <a:gd name="connsiteY12" fmla="*/ 2101787 h 2390965"/>
                <a:gd name="connsiteX13" fmla="*/ 837819 w 1087659"/>
                <a:gd name="connsiteY13" fmla="*/ 1922812 h 2390965"/>
                <a:gd name="connsiteX14" fmla="*/ 837819 w 1087659"/>
                <a:gd name="connsiteY14" fmla="*/ 107537 h 2390965"/>
                <a:gd name="connsiteX15" fmla="*/ 962787 w 1087659"/>
                <a:gd name="connsiteY15" fmla="*/ 0 h 2390965"/>
                <a:gd name="connsiteX16" fmla="*/ 1087660 w 1087659"/>
                <a:gd name="connsiteY16" fmla="*/ 107537 h 2390965"/>
                <a:gd name="connsiteX17" fmla="*/ 1087660 w 1087659"/>
                <a:gd name="connsiteY17" fmla="*/ 1922621 h 2390965"/>
                <a:gd name="connsiteX18" fmla="*/ 928307 w 1087659"/>
                <a:gd name="connsiteY18" fmla="*/ 2253234 h 2390965"/>
                <a:gd name="connsiteX19" fmla="*/ 928116 w 1087659"/>
                <a:gd name="connsiteY19" fmla="*/ 2253424 h 2390965"/>
                <a:gd name="connsiteX20" fmla="*/ 927830 w 1087659"/>
                <a:gd name="connsiteY20" fmla="*/ 2253710 h 2390965"/>
                <a:gd name="connsiteX21" fmla="*/ 927354 w 1087659"/>
                <a:gd name="connsiteY21" fmla="*/ 2254187 h 2390965"/>
                <a:gd name="connsiteX22" fmla="*/ 543783 w 1087659"/>
                <a:gd name="connsiteY22" fmla="*/ 2390966 h 2390965"/>
                <a:gd name="connsiteX23" fmla="*/ 159734 w 1087659"/>
                <a:gd name="connsiteY23" fmla="*/ 2253710 h 2390965"/>
                <a:gd name="connsiteX24" fmla="*/ 159734 w 1087659"/>
                <a:gd name="connsiteY24" fmla="*/ 2253424 h 2390965"/>
                <a:gd name="connsiteX25" fmla="*/ 159353 w 1087659"/>
                <a:gd name="connsiteY25" fmla="*/ 2253234 h 2390965"/>
                <a:gd name="connsiteX26" fmla="*/ 158877 w 1087659"/>
                <a:gd name="connsiteY26" fmla="*/ 2252948 h 2390965"/>
                <a:gd name="connsiteX27" fmla="*/ 0 w 1087659"/>
                <a:gd name="connsiteY27" fmla="*/ 1922621 h 2390965"/>
                <a:gd name="connsiteX28" fmla="*/ 0 w 1087659"/>
                <a:gd name="connsiteY28" fmla="*/ 1922621 h 2390965"/>
                <a:gd name="connsiteX29" fmla="*/ 0 w 1087659"/>
                <a:gd name="connsiteY29" fmla="*/ 210979 h 239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87659" h="2390965">
                  <a:moveTo>
                    <a:pt x="0" y="210979"/>
                  </a:moveTo>
                  <a:cubicBezTo>
                    <a:pt x="0" y="151638"/>
                    <a:pt x="56007" y="103442"/>
                    <a:pt x="125063" y="103442"/>
                  </a:cubicBezTo>
                  <a:cubicBezTo>
                    <a:pt x="194120" y="103442"/>
                    <a:pt x="250031" y="151638"/>
                    <a:pt x="250031" y="210979"/>
                  </a:cubicBezTo>
                  <a:lnTo>
                    <a:pt x="250031" y="1922717"/>
                  </a:lnTo>
                  <a:lnTo>
                    <a:pt x="249841" y="1922717"/>
                  </a:lnTo>
                  <a:lnTo>
                    <a:pt x="249841" y="1925955"/>
                  </a:lnTo>
                  <a:cubicBezTo>
                    <a:pt x="250793" y="1994059"/>
                    <a:pt x="282797" y="2055495"/>
                    <a:pt x="333756" y="2100263"/>
                  </a:cubicBezTo>
                  <a:lnTo>
                    <a:pt x="335566" y="2101787"/>
                  </a:lnTo>
                  <a:lnTo>
                    <a:pt x="336042" y="2102168"/>
                  </a:lnTo>
                  <a:cubicBezTo>
                    <a:pt x="388906" y="2147697"/>
                    <a:pt x="462343" y="2175891"/>
                    <a:pt x="543877" y="2175891"/>
                  </a:cubicBezTo>
                  <a:cubicBezTo>
                    <a:pt x="625411" y="2175891"/>
                    <a:pt x="697420" y="2148364"/>
                    <a:pt x="749998" y="2103692"/>
                  </a:cubicBezTo>
                  <a:lnTo>
                    <a:pt x="751713" y="2102168"/>
                  </a:lnTo>
                  <a:lnTo>
                    <a:pt x="752189" y="2101787"/>
                  </a:lnTo>
                  <a:cubicBezTo>
                    <a:pt x="805053" y="2056352"/>
                    <a:pt x="837819" y="1993011"/>
                    <a:pt x="837819" y="1922812"/>
                  </a:cubicBezTo>
                  <a:lnTo>
                    <a:pt x="837819" y="107537"/>
                  </a:lnTo>
                  <a:cubicBezTo>
                    <a:pt x="837819" y="48196"/>
                    <a:pt x="893731" y="0"/>
                    <a:pt x="962787" y="0"/>
                  </a:cubicBezTo>
                  <a:cubicBezTo>
                    <a:pt x="1031843" y="0"/>
                    <a:pt x="1087660" y="48196"/>
                    <a:pt x="1087660" y="107537"/>
                  </a:cubicBezTo>
                  <a:lnTo>
                    <a:pt x="1087660" y="1922621"/>
                  </a:lnTo>
                  <a:cubicBezTo>
                    <a:pt x="1087660" y="2051399"/>
                    <a:pt x="1026795" y="2168366"/>
                    <a:pt x="928307" y="2253234"/>
                  </a:cubicBezTo>
                  <a:lnTo>
                    <a:pt x="928116" y="2253424"/>
                  </a:lnTo>
                  <a:lnTo>
                    <a:pt x="927830" y="2253710"/>
                  </a:lnTo>
                  <a:lnTo>
                    <a:pt x="927354" y="2254187"/>
                  </a:lnTo>
                  <a:cubicBezTo>
                    <a:pt x="828770" y="2338673"/>
                    <a:pt x="693134" y="2390966"/>
                    <a:pt x="543783" y="2390966"/>
                  </a:cubicBezTo>
                  <a:cubicBezTo>
                    <a:pt x="394430" y="2390966"/>
                    <a:pt x="258413" y="2338483"/>
                    <a:pt x="159734" y="2253710"/>
                  </a:cubicBezTo>
                  <a:lnTo>
                    <a:pt x="159734" y="2253424"/>
                  </a:lnTo>
                  <a:cubicBezTo>
                    <a:pt x="159734" y="2253424"/>
                    <a:pt x="159353" y="2253234"/>
                    <a:pt x="159353" y="2253234"/>
                  </a:cubicBezTo>
                  <a:lnTo>
                    <a:pt x="158877" y="2252948"/>
                  </a:lnTo>
                  <a:cubicBezTo>
                    <a:pt x="60770" y="2167985"/>
                    <a:pt x="0" y="2051304"/>
                    <a:pt x="0" y="1922621"/>
                  </a:cubicBezTo>
                  <a:lnTo>
                    <a:pt x="0" y="1922621"/>
                  </a:lnTo>
                  <a:lnTo>
                    <a:pt x="0" y="210979"/>
                  </a:lnTo>
                  <a:close/>
                </a:path>
              </a:pathLst>
            </a:custGeom>
            <a:solidFill>
              <a:srgbClr val="8FC640"/>
            </a:solidFill>
            <a:ln w="9525" cap="flat">
              <a:noFill/>
              <a:prstDash val="solid"/>
              <a:miter/>
            </a:ln>
          </p:spPr>
          <p:txBody>
            <a:bodyPr rtlCol="0" anchor="ctr"/>
            <a:lstStyle/>
            <a:p>
              <a:endParaRPr lang="pt-BR" noProof="0"/>
            </a:p>
          </p:txBody>
        </p:sp>
        <p:sp>
          <p:nvSpPr>
            <p:cNvPr id="57" name="Freeform: Shape 56">
              <a:extLst>
                <a:ext uri="{FF2B5EF4-FFF2-40B4-BE49-F238E27FC236}">
                  <a16:creationId xmlns:a16="http://schemas.microsoft.com/office/drawing/2014/main" id="{9B2AC423-8995-832E-E717-E0C07C15E610}"/>
                </a:ext>
              </a:extLst>
            </p:cNvPr>
            <p:cNvSpPr/>
            <p:nvPr/>
          </p:nvSpPr>
          <p:spPr>
            <a:xfrm>
              <a:off x="7013590" y="213965"/>
              <a:ext cx="54018" cy="562280"/>
            </a:xfrm>
            <a:custGeom>
              <a:avLst/>
              <a:gdLst>
                <a:gd name="connsiteX0" fmla="*/ 0 w 214883"/>
                <a:gd name="connsiteY0" fmla="*/ 107537 h 2236755"/>
                <a:gd name="connsiteX1" fmla="*/ 107537 w 214883"/>
                <a:gd name="connsiteY1" fmla="*/ 0 h 2236755"/>
                <a:gd name="connsiteX2" fmla="*/ 214884 w 214883"/>
                <a:gd name="connsiteY2" fmla="*/ 107537 h 2236755"/>
                <a:gd name="connsiteX3" fmla="*/ 214884 w 214883"/>
                <a:gd name="connsiteY3" fmla="*/ 2129219 h 2236755"/>
                <a:gd name="connsiteX4" fmla="*/ 107537 w 214883"/>
                <a:gd name="connsiteY4" fmla="*/ 2236756 h 2236755"/>
                <a:gd name="connsiteX5" fmla="*/ 0 w 214883"/>
                <a:gd name="connsiteY5" fmla="*/ 2129219 h 2236755"/>
                <a:gd name="connsiteX6" fmla="*/ 0 w 214883"/>
                <a:gd name="connsiteY6" fmla="*/ 107537 h 223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 h="2236755">
                  <a:moveTo>
                    <a:pt x="0" y="107537"/>
                  </a:moveTo>
                  <a:cubicBezTo>
                    <a:pt x="0" y="48197"/>
                    <a:pt x="48101" y="0"/>
                    <a:pt x="107537" y="0"/>
                  </a:cubicBezTo>
                  <a:cubicBezTo>
                    <a:pt x="166973" y="0"/>
                    <a:pt x="214884" y="48197"/>
                    <a:pt x="214884" y="107537"/>
                  </a:cubicBezTo>
                  <a:lnTo>
                    <a:pt x="214884" y="2129219"/>
                  </a:lnTo>
                  <a:cubicBezTo>
                    <a:pt x="214884" y="2188559"/>
                    <a:pt x="166782" y="2236756"/>
                    <a:pt x="107537" y="2236756"/>
                  </a:cubicBezTo>
                  <a:cubicBezTo>
                    <a:pt x="48291" y="2236756"/>
                    <a:pt x="0" y="2188559"/>
                    <a:pt x="0" y="2129219"/>
                  </a:cubicBezTo>
                  <a:lnTo>
                    <a:pt x="0" y="107537"/>
                  </a:lnTo>
                  <a:close/>
                </a:path>
              </a:pathLst>
            </a:custGeom>
            <a:solidFill>
              <a:srgbClr val="3698B0"/>
            </a:solidFill>
            <a:ln w="9525" cap="flat">
              <a:noFill/>
              <a:prstDash val="solid"/>
              <a:miter/>
            </a:ln>
          </p:spPr>
          <p:txBody>
            <a:bodyPr rtlCol="0" anchor="ctr"/>
            <a:lstStyle/>
            <a:p>
              <a:endParaRPr lang="pt-BR" noProof="0"/>
            </a:p>
          </p:txBody>
        </p:sp>
        <p:sp>
          <p:nvSpPr>
            <p:cNvPr id="58" name="Freeform: Shape 57">
              <a:extLst>
                <a:ext uri="{FF2B5EF4-FFF2-40B4-BE49-F238E27FC236}">
                  <a16:creationId xmlns:a16="http://schemas.microsoft.com/office/drawing/2014/main" id="{758A3F6C-674D-D440-A1F8-6D62FC4A77BC}"/>
                </a:ext>
              </a:extLst>
            </p:cNvPr>
            <p:cNvSpPr/>
            <p:nvPr/>
          </p:nvSpPr>
          <p:spPr>
            <a:xfrm>
              <a:off x="6795770" y="332991"/>
              <a:ext cx="485994" cy="649437"/>
            </a:xfrm>
            <a:custGeom>
              <a:avLst/>
              <a:gdLst>
                <a:gd name="connsiteX0" fmla="*/ 1933290 w 1933289"/>
                <a:gd name="connsiteY0" fmla="*/ 138017 h 2583465"/>
                <a:gd name="connsiteX1" fmla="*/ 1933290 w 1933289"/>
                <a:gd name="connsiteY1" fmla="*/ 1734122 h 2583465"/>
                <a:gd name="connsiteX2" fmla="*/ 1796606 w 1933289"/>
                <a:gd name="connsiteY2" fmla="*/ 2229136 h 2583465"/>
                <a:gd name="connsiteX3" fmla="*/ 977742 w 1933289"/>
                <a:gd name="connsiteY3" fmla="*/ 2583466 h 2583465"/>
                <a:gd name="connsiteX4" fmla="*/ 955357 w 1933289"/>
                <a:gd name="connsiteY4" fmla="*/ 2583466 h 2583465"/>
                <a:gd name="connsiteX5" fmla="*/ 136589 w 1933289"/>
                <a:gd name="connsiteY5" fmla="*/ 2229136 h 2583465"/>
                <a:gd name="connsiteX6" fmla="*/ 0 w 1933289"/>
                <a:gd name="connsiteY6" fmla="*/ 1734122 h 2583465"/>
                <a:gd name="connsiteX7" fmla="*/ 0 w 1933289"/>
                <a:gd name="connsiteY7" fmla="*/ 794194 h 2583465"/>
                <a:gd name="connsiteX8" fmla="*/ 137827 w 1933289"/>
                <a:gd name="connsiteY8" fmla="*/ 656273 h 2583465"/>
                <a:gd name="connsiteX9" fmla="*/ 275463 w 1933289"/>
                <a:gd name="connsiteY9" fmla="*/ 794194 h 2583465"/>
                <a:gd name="connsiteX10" fmla="*/ 275463 w 1933289"/>
                <a:gd name="connsiteY10" fmla="*/ 1734122 h 2583465"/>
                <a:gd name="connsiteX11" fmla="*/ 354235 w 1933289"/>
                <a:gd name="connsiteY11" fmla="*/ 2059686 h 2583465"/>
                <a:gd name="connsiteX12" fmla="*/ 958215 w 1933289"/>
                <a:gd name="connsiteY12" fmla="*/ 2307527 h 2583465"/>
                <a:gd name="connsiteX13" fmla="*/ 974789 w 1933289"/>
                <a:gd name="connsiteY13" fmla="*/ 2307527 h 2583465"/>
                <a:gd name="connsiteX14" fmla="*/ 1578959 w 1933289"/>
                <a:gd name="connsiteY14" fmla="*/ 2059686 h 2583465"/>
                <a:gd name="connsiteX15" fmla="*/ 1657636 w 1933289"/>
                <a:gd name="connsiteY15" fmla="*/ 1734122 h 2583465"/>
                <a:gd name="connsiteX16" fmla="*/ 1657636 w 1933289"/>
                <a:gd name="connsiteY16" fmla="*/ 138017 h 2583465"/>
                <a:gd name="connsiteX17" fmla="*/ 1795463 w 1933289"/>
                <a:gd name="connsiteY17" fmla="*/ 0 h 2583465"/>
                <a:gd name="connsiteX18" fmla="*/ 1933290 w 1933289"/>
                <a:gd name="connsiteY18" fmla="*/ 138017 h 25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3289" h="2583465">
                  <a:moveTo>
                    <a:pt x="1933290" y="138017"/>
                  </a:moveTo>
                  <a:lnTo>
                    <a:pt x="1933290" y="1734122"/>
                  </a:lnTo>
                  <a:cubicBezTo>
                    <a:pt x="1933290" y="1870996"/>
                    <a:pt x="1919002" y="2071211"/>
                    <a:pt x="1796606" y="2229136"/>
                  </a:cubicBezTo>
                  <a:cubicBezTo>
                    <a:pt x="1634395" y="2438305"/>
                    <a:pt x="1432084" y="2578703"/>
                    <a:pt x="977742" y="2583466"/>
                  </a:cubicBezTo>
                  <a:lnTo>
                    <a:pt x="955357" y="2583466"/>
                  </a:lnTo>
                  <a:cubicBezTo>
                    <a:pt x="501015" y="2578703"/>
                    <a:pt x="298704" y="2438400"/>
                    <a:pt x="136589" y="2229136"/>
                  </a:cubicBezTo>
                  <a:cubicBezTo>
                    <a:pt x="14192" y="2071211"/>
                    <a:pt x="0" y="1870996"/>
                    <a:pt x="0" y="1734122"/>
                  </a:cubicBezTo>
                  <a:lnTo>
                    <a:pt x="0" y="794194"/>
                  </a:lnTo>
                  <a:cubicBezTo>
                    <a:pt x="0" y="718185"/>
                    <a:pt x="61436" y="656273"/>
                    <a:pt x="137827" y="656273"/>
                  </a:cubicBezTo>
                  <a:cubicBezTo>
                    <a:pt x="214217" y="656273"/>
                    <a:pt x="275463" y="718185"/>
                    <a:pt x="275463" y="794194"/>
                  </a:cubicBezTo>
                  <a:lnTo>
                    <a:pt x="275463" y="1734122"/>
                  </a:lnTo>
                  <a:cubicBezTo>
                    <a:pt x="275463" y="1887188"/>
                    <a:pt x="300324" y="1990630"/>
                    <a:pt x="354235" y="2059686"/>
                  </a:cubicBezTo>
                  <a:cubicBezTo>
                    <a:pt x="476250" y="2217611"/>
                    <a:pt x="609791" y="2304479"/>
                    <a:pt x="958215" y="2307527"/>
                  </a:cubicBezTo>
                  <a:lnTo>
                    <a:pt x="974789" y="2307527"/>
                  </a:lnTo>
                  <a:cubicBezTo>
                    <a:pt x="1323499" y="2304479"/>
                    <a:pt x="1456563" y="2217611"/>
                    <a:pt x="1578959" y="2059686"/>
                  </a:cubicBezTo>
                  <a:cubicBezTo>
                    <a:pt x="1632490" y="1990630"/>
                    <a:pt x="1657636" y="1887093"/>
                    <a:pt x="1657636" y="1734122"/>
                  </a:cubicBezTo>
                  <a:lnTo>
                    <a:pt x="1657636" y="138017"/>
                  </a:lnTo>
                  <a:cubicBezTo>
                    <a:pt x="1657636" y="61531"/>
                    <a:pt x="1719453" y="0"/>
                    <a:pt x="1795463" y="0"/>
                  </a:cubicBezTo>
                  <a:cubicBezTo>
                    <a:pt x="1871472" y="0"/>
                    <a:pt x="1933290" y="61531"/>
                    <a:pt x="1933290" y="138017"/>
                  </a:cubicBezTo>
                </a:path>
              </a:pathLst>
            </a:custGeom>
            <a:solidFill>
              <a:srgbClr val="49306E"/>
            </a:solidFill>
            <a:ln w="9525" cap="flat">
              <a:noFill/>
              <a:prstDash val="solid"/>
              <a:miter/>
            </a:ln>
          </p:spPr>
          <p:txBody>
            <a:bodyPr rtlCol="0" anchor="ctr"/>
            <a:lstStyle/>
            <a:p>
              <a:endParaRPr lang="pt-BR" noProof="0"/>
            </a:p>
          </p:txBody>
        </p:sp>
      </p:grpSp>
      <p:sp>
        <p:nvSpPr>
          <p:cNvPr id="5" name="Rectangle 3">
            <a:extLst>
              <a:ext uri="{FF2B5EF4-FFF2-40B4-BE49-F238E27FC236}">
                <a16:creationId xmlns:a16="http://schemas.microsoft.com/office/drawing/2014/main" id="{63093CC9-4F9C-CB94-D410-A3FA0888E100}"/>
              </a:ext>
            </a:extLst>
          </p:cNvPr>
          <p:cNvSpPr>
            <a:spLocks noChangeArrowheads="1"/>
          </p:cNvSpPr>
          <p:nvPr/>
        </p:nvSpPr>
        <p:spPr bwMode="auto">
          <a:xfrm>
            <a:off x="428153" y="692497"/>
            <a:ext cx="264816" cy="2862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p:txBody>
      </p:sp>
      <p:sp>
        <p:nvSpPr>
          <p:cNvPr id="7" name="CaixaDeTexto 6">
            <a:extLst>
              <a:ext uri="{FF2B5EF4-FFF2-40B4-BE49-F238E27FC236}">
                <a16:creationId xmlns:a16="http://schemas.microsoft.com/office/drawing/2014/main" id="{9408F1D1-411B-9547-3D18-F4937BF9BA82}"/>
              </a:ext>
            </a:extLst>
          </p:cNvPr>
          <p:cNvSpPr txBox="1"/>
          <p:nvPr/>
        </p:nvSpPr>
        <p:spPr>
          <a:xfrm>
            <a:off x="5706809" y="1648589"/>
            <a:ext cx="6466849" cy="3276282"/>
          </a:xfrm>
          <a:prstGeom prst="rect">
            <a:avLst/>
          </a:prstGeom>
          <a:noFill/>
        </p:spPr>
        <p:txBody>
          <a:bodyPr wrap="square" rtlCol="0">
            <a:spAutoFit/>
          </a:bodyPr>
          <a:lstStyle/>
          <a:p>
            <a:pPr marL="342900" indent="-342900">
              <a:lnSpc>
                <a:spcPct val="150000"/>
              </a:lnSpc>
              <a:buFont typeface="Arial" panose="020B0604020202020204" pitchFamily="34" charset="0"/>
              <a:buChar char="•"/>
            </a:pPr>
            <a:r>
              <a:rPr lang="pt-BR" sz="2000" dirty="0">
                <a:solidFill>
                  <a:srgbClr val="1C1C1C"/>
                </a:solidFill>
              </a:rPr>
              <a:t>Paciente internada por insuficiência cardíaca descompensada</a:t>
            </a:r>
          </a:p>
          <a:p>
            <a:pPr marL="342900" indent="-342900">
              <a:lnSpc>
                <a:spcPct val="150000"/>
              </a:lnSpc>
              <a:buFont typeface="Arial" panose="020B0604020202020204" pitchFamily="34" charset="0"/>
              <a:buChar char="•"/>
            </a:pPr>
            <a:endParaRPr lang="pt-BR" sz="2000" noProof="0" dirty="0">
              <a:solidFill>
                <a:srgbClr val="1C1C1C"/>
              </a:solidFill>
            </a:endParaRPr>
          </a:p>
          <a:p>
            <a:pPr marL="342900" indent="-342900">
              <a:lnSpc>
                <a:spcPct val="150000"/>
              </a:lnSpc>
              <a:buFont typeface="Arial" panose="020B0604020202020204" pitchFamily="34" charset="0"/>
              <a:buChar char="•"/>
            </a:pPr>
            <a:r>
              <a:rPr lang="pt-BR" sz="2000" dirty="0">
                <a:solidFill>
                  <a:srgbClr val="1C1C1C"/>
                </a:solidFill>
              </a:rPr>
              <a:t>Paciente em uso de: </a:t>
            </a:r>
          </a:p>
          <a:p>
            <a:pPr marL="800100" lvl="1" indent="-342900">
              <a:lnSpc>
                <a:spcPct val="150000"/>
              </a:lnSpc>
              <a:buFont typeface="Arial" panose="020B0604020202020204" pitchFamily="34" charset="0"/>
              <a:buChar char="•"/>
            </a:pPr>
            <a:r>
              <a:rPr lang="pt-BR" sz="2000" dirty="0">
                <a:solidFill>
                  <a:srgbClr val="1C1C1C"/>
                </a:solidFill>
              </a:rPr>
              <a:t>CVC (D4)</a:t>
            </a:r>
          </a:p>
          <a:p>
            <a:pPr marL="800100" lvl="1" indent="-342900">
              <a:lnSpc>
                <a:spcPct val="150000"/>
              </a:lnSpc>
              <a:buFont typeface="Arial" panose="020B0604020202020204" pitchFamily="34" charset="0"/>
              <a:buChar char="•"/>
            </a:pPr>
            <a:r>
              <a:rPr lang="pt-BR" sz="2000" dirty="0">
                <a:solidFill>
                  <a:srgbClr val="1C1C1C"/>
                </a:solidFill>
              </a:rPr>
              <a:t>CVD (D4)</a:t>
            </a:r>
          </a:p>
          <a:p>
            <a:pPr marL="800100" lvl="1" indent="-342900">
              <a:lnSpc>
                <a:spcPct val="150000"/>
              </a:lnSpc>
              <a:buFont typeface="Arial" panose="020B0604020202020204" pitchFamily="34" charset="0"/>
              <a:buChar char="•"/>
            </a:pPr>
            <a:r>
              <a:rPr lang="pt-BR" sz="2000" dirty="0">
                <a:solidFill>
                  <a:srgbClr val="1C1C1C"/>
                </a:solidFill>
              </a:rPr>
              <a:t>IOT/VM (D4)</a:t>
            </a:r>
            <a:endParaRPr lang="pt-BR" sz="2000" noProof="0" dirty="0"/>
          </a:p>
        </p:txBody>
      </p:sp>
      <p:sp>
        <p:nvSpPr>
          <p:cNvPr id="8" name="CaixaDeTexto 7">
            <a:extLst>
              <a:ext uri="{FF2B5EF4-FFF2-40B4-BE49-F238E27FC236}">
                <a16:creationId xmlns:a16="http://schemas.microsoft.com/office/drawing/2014/main" id="{5C33105F-6C08-438A-9B6D-F82C365C9929}"/>
              </a:ext>
            </a:extLst>
          </p:cNvPr>
          <p:cNvSpPr txBox="1"/>
          <p:nvPr/>
        </p:nvSpPr>
        <p:spPr>
          <a:xfrm>
            <a:off x="2519500" y="361172"/>
            <a:ext cx="2957454" cy="461665"/>
          </a:xfrm>
          <a:prstGeom prst="rect">
            <a:avLst/>
          </a:prstGeom>
          <a:noFill/>
        </p:spPr>
        <p:txBody>
          <a:bodyPr wrap="square" lIns="91440" tIns="45720" rIns="91440" bIns="45720" rtlCol="0" anchor="t">
            <a:spAutoFit/>
          </a:bodyPr>
          <a:lstStyle/>
          <a:p>
            <a:r>
              <a:rPr lang="pt-BR" sz="2400" b="1" noProof="0"/>
              <a:t>CASO </a:t>
            </a:r>
            <a:r>
              <a:rPr lang="pt-BR" sz="2400" b="1"/>
              <a:t>3 -</a:t>
            </a:r>
            <a:r>
              <a:rPr lang="pt-BR" sz="2400" b="1" noProof="0"/>
              <a:t> Adulto</a:t>
            </a:r>
          </a:p>
        </p:txBody>
      </p:sp>
      <p:sp>
        <p:nvSpPr>
          <p:cNvPr id="60" name="Seta: para Baixo 59">
            <a:extLst>
              <a:ext uri="{FF2B5EF4-FFF2-40B4-BE49-F238E27FC236}">
                <a16:creationId xmlns:a16="http://schemas.microsoft.com/office/drawing/2014/main" id="{45E7D678-2ED1-FD98-20B7-DDAFC48A16A5}"/>
              </a:ext>
            </a:extLst>
          </p:cNvPr>
          <p:cNvSpPr/>
          <p:nvPr/>
        </p:nvSpPr>
        <p:spPr>
          <a:xfrm rot="16200000">
            <a:off x="4982927" y="2566855"/>
            <a:ext cx="457200" cy="542417"/>
          </a:xfrm>
          <a:prstGeom prst="downArrow">
            <a:avLst/>
          </a:prstGeom>
          <a:solidFill>
            <a:srgbClr val="D9D9D9"/>
          </a:solidFill>
          <a:ln w="19050">
            <a:solidFill>
              <a:srgbClr val="7F3D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lgn="just">
              <a:buFont typeface="Arial" panose="020B0604020202020204" pitchFamily="34" charset="0"/>
              <a:buChar char="•"/>
            </a:pPr>
            <a:endParaRPr lang="pt-BR" sz="1800" noProof="0"/>
          </a:p>
        </p:txBody>
      </p:sp>
      <p:sp>
        <p:nvSpPr>
          <p:cNvPr id="61" name="Seta: para Baixo 60">
            <a:extLst>
              <a:ext uri="{FF2B5EF4-FFF2-40B4-BE49-F238E27FC236}">
                <a16:creationId xmlns:a16="http://schemas.microsoft.com/office/drawing/2014/main" id="{440DB1D7-EBA5-36A5-A64F-1C33682FB76D}"/>
              </a:ext>
            </a:extLst>
          </p:cNvPr>
          <p:cNvSpPr/>
          <p:nvPr/>
        </p:nvSpPr>
        <p:spPr>
          <a:xfrm rot="16200000">
            <a:off x="11352906" y="5914519"/>
            <a:ext cx="457200" cy="542417"/>
          </a:xfrm>
          <a:prstGeom prst="downArrow">
            <a:avLst/>
          </a:prstGeom>
          <a:solidFill>
            <a:srgbClr val="D9D9D9"/>
          </a:solidFill>
          <a:ln w="19050">
            <a:solidFill>
              <a:srgbClr val="7F3D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lgn="just">
              <a:buFont typeface="Arial" panose="020B0604020202020204" pitchFamily="34" charset="0"/>
              <a:buChar char="•"/>
            </a:pPr>
            <a:endParaRPr lang="pt-BR" sz="1800" noProof="0"/>
          </a:p>
        </p:txBody>
      </p:sp>
      <p:grpSp>
        <p:nvGrpSpPr>
          <p:cNvPr id="3" name="Agrupar 2">
            <a:extLst>
              <a:ext uri="{FF2B5EF4-FFF2-40B4-BE49-F238E27FC236}">
                <a16:creationId xmlns:a16="http://schemas.microsoft.com/office/drawing/2014/main" id="{F303D283-8F42-6CC6-A7D1-2D8216D47A8A}"/>
              </a:ext>
            </a:extLst>
          </p:cNvPr>
          <p:cNvGrpSpPr/>
          <p:nvPr/>
        </p:nvGrpSpPr>
        <p:grpSpPr>
          <a:xfrm>
            <a:off x="263956" y="1714751"/>
            <a:ext cx="4125687" cy="4093029"/>
            <a:chOff x="263956" y="1714751"/>
            <a:chExt cx="4125687" cy="4093029"/>
          </a:xfrm>
        </p:grpSpPr>
        <p:sp>
          <p:nvSpPr>
            <p:cNvPr id="4" name="Retângulo 3">
              <a:extLst>
                <a:ext uri="{FF2B5EF4-FFF2-40B4-BE49-F238E27FC236}">
                  <a16:creationId xmlns:a16="http://schemas.microsoft.com/office/drawing/2014/main" id="{DBBD63F8-2A2D-AF77-9FD9-2DF0887F2CFF}"/>
                </a:ext>
              </a:extLst>
            </p:cNvPr>
            <p:cNvSpPr/>
            <p:nvPr/>
          </p:nvSpPr>
          <p:spPr>
            <a:xfrm>
              <a:off x="263956" y="1714751"/>
              <a:ext cx="4125687" cy="4093029"/>
            </a:xfrm>
            <a:prstGeom prst="rect">
              <a:avLst/>
            </a:prstGeom>
            <a:solidFill>
              <a:srgbClr val="D9D9D9"/>
            </a:solidFill>
            <a:ln>
              <a:solidFill>
                <a:srgbClr val="8EC6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9" name="Imagem 8">
              <a:extLst>
                <a:ext uri="{FF2B5EF4-FFF2-40B4-BE49-F238E27FC236}">
                  <a16:creationId xmlns:a16="http://schemas.microsoft.com/office/drawing/2014/main" id="{2589DE41-0A0C-901D-4051-AF8E939FC54B}"/>
                </a:ext>
              </a:extLst>
            </p:cNvPr>
            <p:cNvPicPr>
              <a:picLocks noChangeAspect="1"/>
            </p:cNvPicPr>
            <p:nvPr/>
          </p:nvPicPr>
          <p:blipFill rotWithShape="1">
            <a:blip r:embed="rId6"/>
            <a:srcRect l="35536" t="16583" r="55446" b="68218"/>
            <a:stretch/>
          </p:blipFill>
          <p:spPr>
            <a:xfrm>
              <a:off x="1777070" y="1915888"/>
              <a:ext cx="1099457" cy="1042311"/>
            </a:xfrm>
            <a:prstGeom prst="rect">
              <a:avLst/>
            </a:prstGeom>
          </p:spPr>
        </p:pic>
        <p:sp>
          <p:nvSpPr>
            <p:cNvPr id="10" name="CaixaDeTexto 9">
              <a:extLst>
                <a:ext uri="{FF2B5EF4-FFF2-40B4-BE49-F238E27FC236}">
                  <a16:creationId xmlns:a16="http://schemas.microsoft.com/office/drawing/2014/main" id="{63F3B8EA-E3AE-5370-E099-E63276BD010D}"/>
                </a:ext>
              </a:extLst>
            </p:cNvPr>
            <p:cNvSpPr txBox="1"/>
            <p:nvPr/>
          </p:nvSpPr>
          <p:spPr>
            <a:xfrm>
              <a:off x="434125" y="4243447"/>
              <a:ext cx="3777338" cy="1015663"/>
            </a:xfrm>
            <a:prstGeom prst="rect">
              <a:avLst/>
            </a:prstGeom>
            <a:noFill/>
          </p:spPr>
          <p:txBody>
            <a:bodyPr wrap="square" rtlCol="0">
              <a:spAutoFit/>
            </a:bodyPr>
            <a:lstStyle/>
            <a:p>
              <a:pPr algn="ctr"/>
              <a:r>
                <a:rPr lang="pt-BR" sz="2000" b="1" i="1" dirty="0">
                  <a:solidFill>
                    <a:srgbClr val="1C1C1C"/>
                  </a:solidFill>
                </a:rPr>
                <a:t>Status</a:t>
              </a:r>
            </a:p>
            <a:p>
              <a:pPr algn="ctr"/>
              <a:endParaRPr lang="pt-BR" sz="2000" b="1" i="1" dirty="0">
                <a:solidFill>
                  <a:srgbClr val="1C1C1C"/>
                </a:solidFill>
              </a:endParaRPr>
            </a:p>
            <a:p>
              <a:pPr algn="ctr"/>
              <a:r>
                <a:rPr lang="pt-BR" sz="2000" dirty="0">
                  <a:solidFill>
                    <a:srgbClr val="1C1C1C"/>
                  </a:solidFill>
                </a:rPr>
                <a:t>HAS, DM e Insuficiência cardíaca </a:t>
              </a:r>
            </a:p>
          </p:txBody>
        </p:sp>
        <p:pic>
          <p:nvPicPr>
            <p:cNvPr id="15" name="Imagem 14">
              <a:extLst>
                <a:ext uri="{FF2B5EF4-FFF2-40B4-BE49-F238E27FC236}">
                  <a16:creationId xmlns:a16="http://schemas.microsoft.com/office/drawing/2014/main" id="{3DD000E3-62F0-6A0E-F307-5FC31D9E1716}"/>
                </a:ext>
              </a:extLst>
            </p:cNvPr>
            <p:cNvPicPr>
              <a:picLocks noChangeAspect="1"/>
            </p:cNvPicPr>
            <p:nvPr/>
          </p:nvPicPr>
          <p:blipFill rotWithShape="1">
            <a:blip r:embed="rId6"/>
            <a:srcRect l="35536" t="38918" r="55446" b="58924"/>
            <a:stretch/>
          </p:blipFill>
          <p:spPr>
            <a:xfrm>
              <a:off x="438130" y="3886200"/>
              <a:ext cx="1099457" cy="147964"/>
            </a:xfrm>
            <a:prstGeom prst="rect">
              <a:avLst/>
            </a:prstGeom>
          </p:spPr>
        </p:pic>
        <p:pic>
          <p:nvPicPr>
            <p:cNvPr id="59" name="Imagem 58">
              <a:extLst>
                <a:ext uri="{FF2B5EF4-FFF2-40B4-BE49-F238E27FC236}">
                  <a16:creationId xmlns:a16="http://schemas.microsoft.com/office/drawing/2014/main" id="{32B9AD68-10B6-F9D3-FAF3-711AA935CB75}"/>
                </a:ext>
              </a:extLst>
            </p:cNvPr>
            <p:cNvPicPr>
              <a:picLocks noChangeAspect="1"/>
            </p:cNvPicPr>
            <p:nvPr/>
          </p:nvPicPr>
          <p:blipFill rotWithShape="1">
            <a:blip r:embed="rId6"/>
            <a:srcRect l="35536" t="41623" r="55446" b="47107"/>
            <a:stretch/>
          </p:blipFill>
          <p:spPr>
            <a:xfrm>
              <a:off x="1766183" y="3206341"/>
              <a:ext cx="1099457" cy="772886"/>
            </a:xfrm>
            <a:prstGeom prst="rect">
              <a:avLst/>
            </a:prstGeom>
          </p:spPr>
        </p:pic>
        <p:pic>
          <p:nvPicPr>
            <p:cNvPr id="68" name="Imagem 67">
              <a:extLst>
                <a:ext uri="{FF2B5EF4-FFF2-40B4-BE49-F238E27FC236}">
                  <a16:creationId xmlns:a16="http://schemas.microsoft.com/office/drawing/2014/main" id="{D277C6AA-D745-F9E5-CF92-B89A87EAEB97}"/>
                </a:ext>
              </a:extLst>
            </p:cNvPr>
            <p:cNvPicPr>
              <a:picLocks noChangeAspect="1"/>
            </p:cNvPicPr>
            <p:nvPr/>
          </p:nvPicPr>
          <p:blipFill rotWithShape="1">
            <a:blip r:embed="rId6"/>
            <a:srcRect l="35536" t="54169" r="55446" b="31076"/>
            <a:stretch/>
          </p:blipFill>
          <p:spPr>
            <a:xfrm>
              <a:off x="3116011" y="2983374"/>
              <a:ext cx="1099457" cy="1011931"/>
            </a:xfrm>
            <a:prstGeom prst="rect">
              <a:avLst/>
            </a:prstGeom>
          </p:spPr>
        </p:pic>
        <p:pic>
          <p:nvPicPr>
            <p:cNvPr id="69" name="Imagem 68">
              <a:extLst>
                <a:ext uri="{FF2B5EF4-FFF2-40B4-BE49-F238E27FC236}">
                  <a16:creationId xmlns:a16="http://schemas.microsoft.com/office/drawing/2014/main" id="{BB065AAF-84DB-E348-6A7D-A13AC9D25FAC}"/>
                </a:ext>
              </a:extLst>
            </p:cNvPr>
            <p:cNvPicPr>
              <a:picLocks noChangeAspect="1"/>
            </p:cNvPicPr>
            <p:nvPr/>
          </p:nvPicPr>
          <p:blipFill rotWithShape="1">
            <a:blip r:embed="rId6"/>
            <a:srcRect l="35536" t="33016" r="55446" b="61081"/>
            <a:stretch/>
          </p:blipFill>
          <p:spPr>
            <a:xfrm>
              <a:off x="394586" y="3439886"/>
              <a:ext cx="1099457" cy="404790"/>
            </a:xfrm>
            <a:prstGeom prst="rect">
              <a:avLst/>
            </a:prstGeom>
          </p:spPr>
        </p:pic>
      </p:grpSp>
    </p:spTree>
    <p:extLst>
      <p:ext uri="{BB962C8B-B14F-4D97-AF65-F5344CB8AC3E}">
        <p14:creationId xmlns:p14="http://schemas.microsoft.com/office/powerpoint/2010/main" val="41332222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60" grpId="0" animBg="1"/>
      <p:bldP spid="61"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91B3DD-5D69-4E1B-BBF5-3DEDE38701F7}"/>
            </a:ext>
          </a:extLst>
        </p:cNvPr>
        <p:cNvGrpSpPr/>
        <p:nvPr/>
      </p:nvGrpSpPr>
      <p:grpSpPr>
        <a:xfrm>
          <a:off x="0" y="0"/>
          <a:ext cx="0" cy="0"/>
          <a:chOff x="0" y="0"/>
          <a:chExt cx="0" cy="0"/>
        </a:xfrm>
      </p:grpSpPr>
      <p:pic>
        <p:nvPicPr>
          <p:cNvPr id="15362" name="Picture 2" descr="Design PNG E SVG De Ilustração De Envelope Para Camisetas">
            <a:extLst>
              <a:ext uri="{FF2B5EF4-FFF2-40B4-BE49-F238E27FC236}">
                <a16:creationId xmlns:a16="http://schemas.microsoft.com/office/drawing/2014/main" id="{D95A1A1B-044F-13CD-3D94-13529BDD8591}"/>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069" t="24190" r="4060" b="25133"/>
          <a:stretch/>
        </p:blipFill>
        <p:spPr bwMode="auto">
          <a:xfrm>
            <a:off x="1341409" y="739035"/>
            <a:ext cx="9669995" cy="533410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2" name="think-cell data - do not delete" hidden="1">
            <a:extLst>
              <a:ext uri="{FF2B5EF4-FFF2-40B4-BE49-F238E27FC236}">
                <a16:creationId xmlns:a16="http://schemas.microsoft.com/office/drawing/2014/main" id="{DFA1BF0B-D4AD-E2A1-8EDD-92011A7379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8" progId="TCLayout.ActiveDocument.1">
                  <p:embed/>
                </p:oleObj>
              </mc:Choice>
              <mc:Fallback>
                <p:oleObj name="think-cell Slide" r:id="rId5" imgW="306" imgH="308" progId="TCLayout.ActiveDocument.1">
                  <p:embed/>
                  <p:pic>
                    <p:nvPicPr>
                      <p:cNvPr id="12" name="think-cell data - do not delete" hidden="1">
                        <a:extLst>
                          <a:ext uri="{FF2B5EF4-FFF2-40B4-BE49-F238E27FC236}">
                            <a16:creationId xmlns:a16="http://schemas.microsoft.com/office/drawing/2014/main" id="{DFA1BF0B-D4AD-E2A1-8EDD-92011A73799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3" name="Group 12">
            <a:extLst>
              <a:ext uri="{FF2B5EF4-FFF2-40B4-BE49-F238E27FC236}">
                <a16:creationId xmlns:a16="http://schemas.microsoft.com/office/drawing/2014/main" id="{D60CD601-D0F1-3ED6-0436-50E6DA8E3452}"/>
              </a:ext>
            </a:extLst>
          </p:cNvPr>
          <p:cNvGrpSpPr/>
          <p:nvPr/>
        </p:nvGrpSpPr>
        <p:grpSpPr>
          <a:xfrm>
            <a:off x="304800" y="249455"/>
            <a:ext cx="1193800" cy="462985"/>
            <a:chOff x="5245100" y="211355"/>
            <a:chExt cx="2036664" cy="789869"/>
          </a:xfrm>
        </p:grpSpPr>
        <p:sp>
          <p:nvSpPr>
            <p:cNvPr id="14" name="Freeform: Shape 13">
              <a:extLst>
                <a:ext uri="{FF2B5EF4-FFF2-40B4-BE49-F238E27FC236}">
                  <a16:creationId xmlns:a16="http://schemas.microsoft.com/office/drawing/2014/main" id="{5A5062B5-A6B6-5071-9482-516C99CBB68D}"/>
                </a:ext>
              </a:extLst>
            </p:cNvPr>
            <p:cNvSpPr/>
            <p:nvPr/>
          </p:nvSpPr>
          <p:spPr>
            <a:xfrm>
              <a:off x="5245100" y="308520"/>
              <a:ext cx="247894" cy="322815"/>
            </a:xfrm>
            <a:custGeom>
              <a:avLst/>
              <a:gdLst>
                <a:gd name="connsiteX0" fmla="*/ 529590 w 986123"/>
                <a:gd name="connsiteY0" fmla="*/ 1284160 h 1284160"/>
                <a:gd name="connsiteX1" fmla="*/ 249650 w 986123"/>
                <a:gd name="connsiteY1" fmla="*/ 1235107 h 1284160"/>
                <a:gd name="connsiteX2" fmla="*/ 0 w 986123"/>
                <a:gd name="connsiteY2" fmla="*/ 1084421 h 1284160"/>
                <a:gd name="connsiteX3" fmla="*/ 162306 w 986123"/>
                <a:gd name="connsiteY3" fmla="*/ 890016 h 1284160"/>
                <a:gd name="connsiteX4" fmla="*/ 337947 w 986123"/>
                <a:gd name="connsiteY4" fmla="*/ 1000601 h 1284160"/>
                <a:gd name="connsiteX5" fmla="*/ 535019 w 986123"/>
                <a:gd name="connsiteY5" fmla="*/ 1041654 h 1284160"/>
                <a:gd name="connsiteX6" fmla="*/ 667893 w 986123"/>
                <a:gd name="connsiteY6" fmla="*/ 1010412 h 1284160"/>
                <a:gd name="connsiteX7" fmla="*/ 715137 w 986123"/>
                <a:gd name="connsiteY7" fmla="*/ 923925 h 1284160"/>
                <a:gd name="connsiteX8" fmla="*/ 715137 w 986123"/>
                <a:gd name="connsiteY8" fmla="*/ 920305 h 1284160"/>
                <a:gd name="connsiteX9" fmla="*/ 705326 w 986123"/>
                <a:gd name="connsiteY9" fmla="*/ 873062 h 1284160"/>
                <a:gd name="connsiteX10" fmla="*/ 667798 w 986123"/>
                <a:gd name="connsiteY10" fmla="*/ 834676 h 1284160"/>
                <a:gd name="connsiteX11" fmla="*/ 590931 w 986123"/>
                <a:gd name="connsiteY11" fmla="*/ 798957 h 1284160"/>
                <a:gd name="connsiteX12" fmla="*/ 463106 w 986123"/>
                <a:gd name="connsiteY12" fmla="*/ 761524 h 1284160"/>
                <a:gd name="connsiteX13" fmla="*/ 291465 w 986123"/>
                <a:gd name="connsiteY13" fmla="*/ 709803 h 1284160"/>
                <a:gd name="connsiteX14" fmla="*/ 160973 w 986123"/>
                <a:gd name="connsiteY14" fmla="*/ 639318 h 1284160"/>
                <a:gd name="connsiteX15" fmla="*/ 77819 w 986123"/>
                <a:gd name="connsiteY15" fmla="*/ 535019 h 1284160"/>
                <a:gd name="connsiteX16" fmla="*/ 48292 w 986123"/>
                <a:gd name="connsiteY16" fmla="*/ 379857 h 1284160"/>
                <a:gd name="connsiteX17" fmla="*/ 48292 w 986123"/>
                <a:gd name="connsiteY17" fmla="*/ 376238 h 1284160"/>
                <a:gd name="connsiteX18" fmla="*/ 80201 w 986123"/>
                <a:gd name="connsiteY18" fmla="*/ 222028 h 1284160"/>
                <a:gd name="connsiteX19" fmla="*/ 169640 w 986123"/>
                <a:gd name="connsiteY19" fmla="*/ 103441 h 1284160"/>
                <a:gd name="connsiteX20" fmla="*/ 307181 w 986123"/>
                <a:gd name="connsiteY20" fmla="*/ 26765 h 1284160"/>
                <a:gd name="connsiteX21" fmla="*/ 483394 w 986123"/>
                <a:gd name="connsiteY21" fmla="*/ 0 h 1284160"/>
                <a:gd name="connsiteX22" fmla="*/ 735711 w 986123"/>
                <a:gd name="connsiteY22" fmla="*/ 41053 h 1284160"/>
                <a:gd name="connsiteX23" fmla="*/ 946976 w 986123"/>
                <a:gd name="connsiteY23" fmla="*/ 158687 h 1284160"/>
                <a:gd name="connsiteX24" fmla="*/ 804291 w 986123"/>
                <a:gd name="connsiteY24" fmla="*/ 365569 h 1284160"/>
                <a:gd name="connsiteX25" fmla="*/ 640271 w 986123"/>
                <a:gd name="connsiteY25" fmla="*/ 275558 h 1284160"/>
                <a:gd name="connsiteX26" fmla="*/ 479774 w 986123"/>
                <a:gd name="connsiteY26" fmla="*/ 242602 h 1284160"/>
                <a:gd name="connsiteX27" fmla="*/ 359378 w 986123"/>
                <a:gd name="connsiteY27" fmla="*/ 273844 h 1284160"/>
                <a:gd name="connsiteX28" fmla="*/ 319278 w 986123"/>
                <a:gd name="connsiteY28" fmla="*/ 351377 h 1284160"/>
                <a:gd name="connsiteX29" fmla="*/ 319278 w 986123"/>
                <a:gd name="connsiteY29" fmla="*/ 354997 h 1284160"/>
                <a:gd name="connsiteX30" fmla="*/ 330899 w 986123"/>
                <a:gd name="connsiteY30" fmla="*/ 407575 h 1284160"/>
                <a:gd name="connsiteX31" fmla="*/ 372904 w 986123"/>
                <a:gd name="connsiteY31" fmla="*/ 447675 h 1284160"/>
                <a:gd name="connsiteX32" fmla="*/ 456057 w 986123"/>
                <a:gd name="connsiteY32" fmla="*/ 481489 h 1284160"/>
                <a:gd name="connsiteX33" fmla="*/ 589217 w 986123"/>
                <a:gd name="connsiteY33" fmla="*/ 518922 h 1284160"/>
                <a:gd name="connsiteX34" fmla="*/ 758190 w 986123"/>
                <a:gd name="connsiteY34" fmla="*/ 575120 h 1284160"/>
                <a:gd name="connsiteX35" fmla="*/ 883349 w 986123"/>
                <a:gd name="connsiteY35" fmla="*/ 649986 h 1284160"/>
                <a:gd name="connsiteX36" fmla="*/ 960215 w 986123"/>
                <a:gd name="connsiteY36" fmla="*/ 752570 h 1284160"/>
                <a:gd name="connsiteX37" fmla="*/ 986123 w 986123"/>
                <a:gd name="connsiteY37" fmla="*/ 893445 h 1284160"/>
                <a:gd name="connsiteX38" fmla="*/ 986123 w 986123"/>
                <a:gd name="connsiteY38" fmla="*/ 897064 h 1284160"/>
                <a:gd name="connsiteX39" fmla="*/ 952500 w 986123"/>
                <a:gd name="connsiteY39" fmla="*/ 1062038 h 1284160"/>
                <a:gd name="connsiteX40" fmla="*/ 858584 w 986123"/>
                <a:gd name="connsiteY40" fmla="*/ 1183291 h 1284160"/>
                <a:gd name="connsiteX41" fmla="*/ 714851 w 986123"/>
                <a:gd name="connsiteY41" fmla="*/ 1258157 h 1284160"/>
                <a:gd name="connsiteX42" fmla="*/ 529685 w 986123"/>
                <a:gd name="connsiteY42" fmla="*/ 1284065 h 128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6123" h="1284160">
                  <a:moveTo>
                    <a:pt x="529590" y="1284160"/>
                  </a:moveTo>
                  <a:cubicBezTo>
                    <a:pt x="434435" y="1284160"/>
                    <a:pt x="341186" y="1267777"/>
                    <a:pt x="249650" y="1235107"/>
                  </a:cubicBezTo>
                  <a:cubicBezTo>
                    <a:pt x="158115" y="1202436"/>
                    <a:pt x="74867" y="1152239"/>
                    <a:pt x="0" y="1084421"/>
                  </a:cubicBezTo>
                  <a:lnTo>
                    <a:pt x="162306" y="890016"/>
                  </a:lnTo>
                  <a:cubicBezTo>
                    <a:pt x="219361" y="936403"/>
                    <a:pt x="277844" y="973264"/>
                    <a:pt x="337947" y="1000601"/>
                  </a:cubicBezTo>
                  <a:cubicBezTo>
                    <a:pt x="397955" y="1027938"/>
                    <a:pt x="463677" y="1041654"/>
                    <a:pt x="535019" y="1041654"/>
                  </a:cubicBezTo>
                  <a:cubicBezTo>
                    <a:pt x="592074" y="1041654"/>
                    <a:pt x="636365" y="1031272"/>
                    <a:pt x="667893" y="1010412"/>
                  </a:cubicBezTo>
                  <a:cubicBezTo>
                    <a:pt x="699421" y="989647"/>
                    <a:pt x="715137" y="960787"/>
                    <a:pt x="715137" y="923925"/>
                  </a:cubicBezTo>
                  <a:lnTo>
                    <a:pt x="715137" y="920305"/>
                  </a:lnTo>
                  <a:cubicBezTo>
                    <a:pt x="715137" y="902494"/>
                    <a:pt x="711803" y="886777"/>
                    <a:pt x="705326" y="873062"/>
                  </a:cubicBezTo>
                  <a:cubicBezTo>
                    <a:pt x="698754" y="859441"/>
                    <a:pt x="686276" y="846582"/>
                    <a:pt x="667798" y="834676"/>
                  </a:cubicBezTo>
                  <a:cubicBezTo>
                    <a:pt x="649319" y="822770"/>
                    <a:pt x="623697" y="810863"/>
                    <a:pt x="590931" y="798957"/>
                  </a:cubicBezTo>
                  <a:cubicBezTo>
                    <a:pt x="558165" y="787146"/>
                    <a:pt x="515493" y="774573"/>
                    <a:pt x="463106" y="761524"/>
                  </a:cubicBezTo>
                  <a:cubicBezTo>
                    <a:pt x="399955" y="746093"/>
                    <a:pt x="342710" y="728853"/>
                    <a:pt x="291465" y="709803"/>
                  </a:cubicBezTo>
                  <a:cubicBezTo>
                    <a:pt x="240221" y="690753"/>
                    <a:pt x="196691" y="667322"/>
                    <a:pt x="160973" y="639318"/>
                  </a:cubicBezTo>
                  <a:cubicBezTo>
                    <a:pt x="125159" y="611410"/>
                    <a:pt x="97536" y="576644"/>
                    <a:pt x="77819" y="535019"/>
                  </a:cubicBezTo>
                  <a:cubicBezTo>
                    <a:pt x="58103" y="493395"/>
                    <a:pt x="48292" y="441674"/>
                    <a:pt x="48292" y="379857"/>
                  </a:cubicBezTo>
                  <a:lnTo>
                    <a:pt x="48292" y="376238"/>
                  </a:lnTo>
                  <a:cubicBezTo>
                    <a:pt x="48292" y="319183"/>
                    <a:pt x="58865" y="267748"/>
                    <a:pt x="80201" y="222028"/>
                  </a:cubicBezTo>
                  <a:cubicBezTo>
                    <a:pt x="101441" y="176308"/>
                    <a:pt x="131255" y="136779"/>
                    <a:pt x="169640" y="103441"/>
                  </a:cubicBezTo>
                  <a:cubicBezTo>
                    <a:pt x="208026" y="70199"/>
                    <a:pt x="253841" y="44577"/>
                    <a:pt x="307181" y="26765"/>
                  </a:cubicBezTo>
                  <a:cubicBezTo>
                    <a:pt x="360426" y="8953"/>
                    <a:pt x="419195" y="0"/>
                    <a:pt x="483394" y="0"/>
                  </a:cubicBezTo>
                  <a:cubicBezTo>
                    <a:pt x="574929" y="0"/>
                    <a:pt x="659035" y="13716"/>
                    <a:pt x="735711" y="41053"/>
                  </a:cubicBezTo>
                  <a:cubicBezTo>
                    <a:pt x="812387" y="68389"/>
                    <a:pt x="882777" y="107632"/>
                    <a:pt x="946976" y="158687"/>
                  </a:cubicBezTo>
                  <a:lnTo>
                    <a:pt x="804291" y="365569"/>
                  </a:lnTo>
                  <a:cubicBezTo>
                    <a:pt x="748379" y="327565"/>
                    <a:pt x="693706" y="297561"/>
                    <a:pt x="640271" y="275558"/>
                  </a:cubicBezTo>
                  <a:cubicBezTo>
                    <a:pt x="586740" y="253555"/>
                    <a:pt x="533305" y="242602"/>
                    <a:pt x="479774" y="242602"/>
                  </a:cubicBezTo>
                  <a:cubicBezTo>
                    <a:pt x="426244" y="242602"/>
                    <a:pt x="386144" y="252984"/>
                    <a:pt x="359378" y="273844"/>
                  </a:cubicBezTo>
                  <a:cubicBezTo>
                    <a:pt x="332613" y="294608"/>
                    <a:pt x="319278" y="320516"/>
                    <a:pt x="319278" y="351377"/>
                  </a:cubicBezTo>
                  <a:lnTo>
                    <a:pt x="319278" y="354997"/>
                  </a:lnTo>
                  <a:cubicBezTo>
                    <a:pt x="319278" y="375190"/>
                    <a:pt x="323183" y="392716"/>
                    <a:pt x="330899" y="407575"/>
                  </a:cubicBezTo>
                  <a:cubicBezTo>
                    <a:pt x="338614" y="422434"/>
                    <a:pt x="352616" y="435864"/>
                    <a:pt x="372904" y="447675"/>
                  </a:cubicBezTo>
                  <a:cubicBezTo>
                    <a:pt x="393192" y="459581"/>
                    <a:pt x="420910" y="470821"/>
                    <a:pt x="456057" y="481489"/>
                  </a:cubicBezTo>
                  <a:cubicBezTo>
                    <a:pt x="491204" y="492157"/>
                    <a:pt x="535591" y="504730"/>
                    <a:pt x="589217" y="518922"/>
                  </a:cubicBezTo>
                  <a:cubicBezTo>
                    <a:pt x="652367" y="535591"/>
                    <a:pt x="708660" y="554260"/>
                    <a:pt x="758190" y="575120"/>
                  </a:cubicBezTo>
                  <a:cubicBezTo>
                    <a:pt x="807625" y="595979"/>
                    <a:pt x="849344" y="620935"/>
                    <a:pt x="883349" y="649986"/>
                  </a:cubicBezTo>
                  <a:cubicBezTo>
                    <a:pt x="917353" y="679132"/>
                    <a:pt x="942975" y="713327"/>
                    <a:pt x="960215" y="752570"/>
                  </a:cubicBezTo>
                  <a:cubicBezTo>
                    <a:pt x="977456" y="791813"/>
                    <a:pt x="986123" y="838772"/>
                    <a:pt x="986123" y="893445"/>
                  </a:cubicBezTo>
                  <a:lnTo>
                    <a:pt x="986123" y="897064"/>
                  </a:lnTo>
                  <a:cubicBezTo>
                    <a:pt x="986123" y="958882"/>
                    <a:pt x="974884" y="1013841"/>
                    <a:pt x="952500" y="1062038"/>
                  </a:cubicBezTo>
                  <a:cubicBezTo>
                    <a:pt x="930021" y="1110139"/>
                    <a:pt x="898779" y="1150620"/>
                    <a:pt x="858584" y="1183291"/>
                  </a:cubicBezTo>
                  <a:cubicBezTo>
                    <a:pt x="818388" y="1216057"/>
                    <a:pt x="770477" y="1241012"/>
                    <a:pt x="714851" y="1258157"/>
                  </a:cubicBezTo>
                  <a:cubicBezTo>
                    <a:pt x="659130" y="1275398"/>
                    <a:pt x="597503" y="1284065"/>
                    <a:pt x="529685" y="1284065"/>
                  </a:cubicBezTo>
                  <a:close/>
                </a:path>
              </a:pathLst>
            </a:custGeom>
            <a:solidFill>
              <a:srgbClr val="44505E"/>
            </a:solidFill>
            <a:ln w="9525" cap="flat">
              <a:noFill/>
              <a:prstDash val="solid"/>
              <a:miter/>
            </a:ln>
          </p:spPr>
          <p:txBody>
            <a:bodyPr rtlCol="0" anchor="ctr"/>
            <a:lstStyle/>
            <a:p>
              <a:endParaRPr lang="pt-BR" noProof="0"/>
            </a:p>
          </p:txBody>
        </p:sp>
        <p:sp>
          <p:nvSpPr>
            <p:cNvPr id="17" name="Freeform: Shape 16">
              <a:extLst>
                <a:ext uri="{FF2B5EF4-FFF2-40B4-BE49-F238E27FC236}">
                  <a16:creationId xmlns:a16="http://schemas.microsoft.com/office/drawing/2014/main" id="{BD87D58A-8BA5-9786-9026-0620D1FF7739}"/>
                </a:ext>
              </a:extLst>
            </p:cNvPr>
            <p:cNvSpPr/>
            <p:nvPr/>
          </p:nvSpPr>
          <p:spPr>
            <a:xfrm>
              <a:off x="5492084" y="310867"/>
              <a:ext cx="332584" cy="315991"/>
            </a:xfrm>
            <a:custGeom>
              <a:avLst/>
              <a:gdLst>
                <a:gd name="connsiteX0" fmla="*/ 534924 w 1323022"/>
                <a:gd name="connsiteY0" fmla="*/ 0 h 1257014"/>
                <a:gd name="connsiteX1" fmla="*/ 788099 w 1323022"/>
                <a:gd name="connsiteY1" fmla="*/ 0 h 1257014"/>
                <a:gd name="connsiteX2" fmla="*/ 1323023 w 1323022"/>
                <a:gd name="connsiteY2" fmla="*/ 1257014 h 1257014"/>
                <a:gd name="connsiteX3" fmla="*/ 1035939 w 1323022"/>
                <a:gd name="connsiteY3" fmla="*/ 1257014 h 1257014"/>
                <a:gd name="connsiteX4" fmla="*/ 921829 w 1323022"/>
                <a:gd name="connsiteY4" fmla="*/ 977075 h 1257014"/>
                <a:gd name="connsiteX5" fmla="*/ 394049 w 1323022"/>
                <a:gd name="connsiteY5" fmla="*/ 977075 h 1257014"/>
                <a:gd name="connsiteX6" fmla="*/ 279940 w 1323022"/>
                <a:gd name="connsiteY6" fmla="*/ 1257014 h 1257014"/>
                <a:gd name="connsiteX7" fmla="*/ 0 w 1323022"/>
                <a:gd name="connsiteY7" fmla="*/ 1257014 h 1257014"/>
                <a:gd name="connsiteX8" fmla="*/ 534924 w 1323022"/>
                <a:gd name="connsiteY8" fmla="*/ 0 h 1257014"/>
                <a:gd name="connsiteX9" fmla="*/ 823817 w 1323022"/>
                <a:gd name="connsiteY9" fmla="*/ 734568 h 1257014"/>
                <a:gd name="connsiteX10" fmla="*/ 657987 w 1323022"/>
                <a:gd name="connsiteY10" fmla="*/ 329851 h 1257014"/>
                <a:gd name="connsiteX11" fmla="*/ 492157 w 1323022"/>
                <a:gd name="connsiteY11" fmla="*/ 734568 h 1257014"/>
                <a:gd name="connsiteX12" fmla="*/ 823817 w 1323022"/>
                <a:gd name="connsiteY12" fmla="*/ 734568 h 125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022" h="1257014">
                  <a:moveTo>
                    <a:pt x="534924" y="0"/>
                  </a:moveTo>
                  <a:lnTo>
                    <a:pt x="788099" y="0"/>
                  </a:lnTo>
                  <a:lnTo>
                    <a:pt x="1323023" y="1257014"/>
                  </a:lnTo>
                  <a:lnTo>
                    <a:pt x="1035939" y="1257014"/>
                  </a:lnTo>
                  <a:lnTo>
                    <a:pt x="921829" y="977075"/>
                  </a:lnTo>
                  <a:lnTo>
                    <a:pt x="394049" y="977075"/>
                  </a:lnTo>
                  <a:lnTo>
                    <a:pt x="279940" y="1257014"/>
                  </a:lnTo>
                  <a:lnTo>
                    <a:pt x="0" y="1257014"/>
                  </a:lnTo>
                  <a:lnTo>
                    <a:pt x="534924" y="0"/>
                  </a:lnTo>
                  <a:close/>
                  <a:moveTo>
                    <a:pt x="823817" y="734568"/>
                  </a:moveTo>
                  <a:lnTo>
                    <a:pt x="657987" y="329851"/>
                  </a:lnTo>
                  <a:lnTo>
                    <a:pt x="492157" y="734568"/>
                  </a:lnTo>
                  <a:lnTo>
                    <a:pt x="823817" y="734568"/>
                  </a:lnTo>
                  <a:close/>
                </a:path>
              </a:pathLst>
            </a:custGeom>
            <a:solidFill>
              <a:srgbClr val="44505E"/>
            </a:solidFill>
            <a:ln w="9525" cap="flat">
              <a:noFill/>
              <a:prstDash val="solid"/>
              <a:miter/>
            </a:ln>
          </p:spPr>
          <p:txBody>
            <a:bodyPr rtlCol="0" anchor="ctr"/>
            <a:lstStyle/>
            <a:p>
              <a:endParaRPr lang="pt-BR" noProof="0"/>
            </a:p>
          </p:txBody>
        </p:sp>
        <p:sp>
          <p:nvSpPr>
            <p:cNvPr id="18" name="Freeform: Shape 17">
              <a:extLst>
                <a:ext uri="{FF2B5EF4-FFF2-40B4-BE49-F238E27FC236}">
                  <a16:creationId xmlns:a16="http://schemas.microsoft.com/office/drawing/2014/main" id="{30E4D94B-88BD-9C63-CC9D-59EFFD847755}"/>
                </a:ext>
              </a:extLst>
            </p:cNvPr>
            <p:cNvSpPr/>
            <p:nvPr/>
          </p:nvSpPr>
          <p:spPr>
            <a:xfrm>
              <a:off x="5834078" y="211355"/>
              <a:ext cx="273442" cy="420435"/>
            </a:xfrm>
            <a:custGeom>
              <a:avLst/>
              <a:gdLst>
                <a:gd name="connsiteX0" fmla="*/ 540258 w 1087754"/>
                <a:gd name="connsiteY0" fmla="*/ 1672495 h 1672494"/>
                <a:gd name="connsiteX1" fmla="*/ 144399 w 1087754"/>
                <a:gd name="connsiteY1" fmla="*/ 1533430 h 1672494"/>
                <a:gd name="connsiteX2" fmla="*/ 0 w 1087754"/>
                <a:gd name="connsiteY2" fmla="*/ 1117949 h 1672494"/>
                <a:gd name="connsiteX3" fmla="*/ 0 w 1087754"/>
                <a:gd name="connsiteY3" fmla="*/ 404717 h 1672494"/>
                <a:gd name="connsiteX4" fmla="*/ 274606 w 1087754"/>
                <a:gd name="connsiteY4" fmla="*/ 404717 h 1672494"/>
                <a:gd name="connsiteX5" fmla="*/ 274606 w 1087754"/>
                <a:gd name="connsiteY5" fmla="*/ 1110806 h 1672494"/>
                <a:gd name="connsiteX6" fmla="*/ 345948 w 1087754"/>
                <a:gd name="connsiteY6" fmla="*/ 1341692 h 1672494"/>
                <a:gd name="connsiteX7" fmla="*/ 543877 w 1087754"/>
                <a:gd name="connsiteY7" fmla="*/ 1419225 h 1672494"/>
                <a:gd name="connsiteX8" fmla="*/ 741807 w 1087754"/>
                <a:gd name="connsiteY8" fmla="*/ 1344359 h 1672494"/>
                <a:gd name="connsiteX9" fmla="*/ 813149 w 1087754"/>
                <a:gd name="connsiteY9" fmla="*/ 1119664 h 1672494"/>
                <a:gd name="connsiteX10" fmla="*/ 813149 w 1087754"/>
                <a:gd name="connsiteY10" fmla="*/ 404717 h 1672494"/>
                <a:gd name="connsiteX11" fmla="*/ 1087755 w 1087754"/>
                <a:gd name="connsiteY11" fmla="*/ 404717 h 1672494"/>
                <a:gd name="connsiteX12" fmla="*/ 1087755 w 1087754"/>
                <a:gd name="connsiteY12" fmla="*/ 1108996 h 1672494"/>
                <a:gd name="connsiteX13" fmla="*/ 1049369 w 1087754"/>
                <a:gd name="connsiteY13" fmla="*/ 1356836 h 1672494"/>
                <a:gd name="connsiteX14" fmla="*/ 939737 w 1087754"/>
                <a:gd name="connsiteY14" fmla="*/ 1532477 h 1672494"/>
                <a:gd name="connsiteX15" fmla="*/ 766763 w 1087754"/>
                <a:gd name="connsiteY15" fmla="*/ 1637729 h 1672494"/>
                <a:gd name="connsiteX16" fmla="*/ 540353 w 1087754"/>
                <a:gd name="connsiteY16" fmla="*/ 1672495 h 1672494"/>
                <a:gd name="connsiteX17" fmla="*/ 622268 w 1087754"/>
                <a:gd name="connsiteY17" fmla="*/ 0 h 1672494"/>
                <a:gd name="connsiteX18" fmla="*/ 855821 w 1087754"/>
                <a:gd name="connsiteY18" fmla="*/ 101632 h 1672494"/>
                <a:gd name="connsiteX19" fmla="*/ 627602 w 1087754"/>
                <a:gd name="connsiteY19" fmla="*/ 315563 h 1672494"/>
                <a:gd name="connsiteX20" fmla="*/ 420719 w 1087754"/>
                <a:gd name="connsiteY20" fmla="*/ 315563 h 1672494"/>
                <a:gd name="connsiteX21" fmla="*/ 622268 w 1087754"/>
                <a:gd name="connsiteY21" fmla="*/ 0 h 16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754" h="1672494">
                  <a:moveTo>
                    <a:pt x="540258" y="1672495"/>
                  </a:moveTo>
                  <a:cubicBezTo>
                    <a:pt x="372618" y="1672495"/>
                    <a:pt x="240697" y="1626108"/>
                    <a:pt x="144399" y="1533430"/>
                  </a:cubicBezTo>
                  <a:cubicBezTo>
                    <a:pt x="48101" y="1440752"/>
                    <a:pt x="0" y="1302258"/>
                    <a:pt x="0" y="1117949"/>
                  </a:cubicBezTo>
                  <a:lnTo>
                    <a:pt x="0" y="404717"/>
                  </a:lnTo>
                  <a:lnTo>
                    <a:pt x="274606" y="404717"/>
                  </a:lnTo>
                  <a:lnTo>
                    <a:pt x="274606" y="1110806"/>
                  </a:lnTo>
                  <a:cubicBezTo>
                    <a:pt x="274606" y="1213009"/>
                    <a:pt x="298418" y="1289971"/>
                    <a:pt x="345948" y="1341692"/>
                  </a:cubicBezTo>
                  <a:cubicBezTo>
                    <a:pt x="393478" y="1393412"/>
                    <a:pt x="459486" y="1419225"/>
                    <a:pt x="543877" y="1419225"/>
                  </a:cubicBezTo>
                  <a:cubicBezTo>
                    <a:pt x="628269" y="1419225"/>
                    <a:pt x="694277" y="1394270"/>
                    <a:pt x="741807" y="1344359"/>
                  </a:cubicBezTo>
                  <a:cubicBezTo>
                    <a:pt x="789337" y="1294448"/>
                    <a:pt x="813149" y="1219581"/>
                    <a:pt x="813149" y="1119664"/>
                  </a:cubicBezTo>
                  <a:lnTo>
                    <a:pt x="813149" y="404717"/>
                  </a:lnTo>
                  <a:lnTo>
                    <a:pt x="1087755" y="404717"/>
                  </a:lnTo>
                  <a:lnTo>
                    <a:pt x="1087755" y="1108996"/>
                  </a:lnTo>
                  <a:cubicBezTo>
                    <a:pt x="1087755" y="1204151"/>
                    <a:pt x="1074992" y="1286732"/>
                    <a:pt x="1049369" y="1356836"/>
                  </a:cubicBezTo>
                  <a:cubicBezTo>
                    <a:pt x="1023747" y="1426940"/>
                    <a:pt x="987266" y="1485519"/>
                    <a:pt x="939737" y="1532477"/>
                  </a:cubicBezTo>
                  <a:cubicBezTo>
                    <a:pt x="892207" y="1579436"/>
                    <a:pt x="834485" y="1614488"/>
                    <a:pt x="766763" y="1637729"/>
                  </a:cubicBezTo>
                  <a:cubicBezTo>
                    <a:pt x="699040" y="1660874"/>
                    <a:pt x="623507" y="1672495"/>
                    <a:pt x="540353" y="1672495"/>
                  </a:cubicBezTo>
                  <a:close/>
                  <a:moveTo>
                    <a:pt x="622268" y="0"/>
                  </a:moveTo>
                  <a:lnTo>
                    <a:pt x="855821" y="101632"/>
                  </a:lnTo>
                  <a:lnTo>
                    <a:pt x="627602" y="315563"/>
                  </a:lnTo>
                  <a:lnTo>
                    <a:pt x="420719" y="315563"/>
                  </a:lnTo>
                  <a:lnTo>
                    <a:pt x="622268" y="0"/>
                  </a:lnTo>
                  <a:close/>
                </a:path>
              </a:pathLst>
            </a:custGeom>
            <a:solidFill>
              <a:srgbClr val="44505E"/>
            </a:solidFill>
            <a:ln w="9525" cap="flat">
              <a:noFill/>
              <a:prstDash val="solid"/>
              <a:miter/>
            </a:ln>
          </p:spPr>
          <p:txBody>
            <a:bodyPr rtlCol="0" anchor="ctr"/>
            <a:lstStyle/>
            <a:p>
              <a:endParaRPr lang="pt-BR" noProof="0"/>
            </a:p>
          </p:txBody>
        </p:sp>
        <p:sp>
          <p:nvSpPr>
            <p:cNvPr id="19" name="Freeform: Shape 18">
              <a:extLst>
                <a:ext uri="{FF2B5EF4-FFF2-40B4-BE49-F238E27FC236}">
                  <a16:creationId xmlns:a16="http://schemas.microsoft.com/office/drawing/2014/main" id="{243E9BC8-13A8-E86F-5B01-7BD37C300712}"/>
                </a:ext>
              </a:extLst>
            </p:cNvPr>
            <p:cNvSpPr/>
            <p:nvPr/>
          </p:nvSpPr>
          <p:spPr>
            <a:xfrm>
              <a:off x="6143795" y="313094"/>
              <a:ext cx="289101" cy="313764"/>
            </a:xfrm>
            <a:custGeom>
              <a:avLst/>
              <a:gdLst>
                <a:gd name="connsiteX0" fmla="*/ 0 w 1150048"/>
                <a:gd name="connsiteY0" fmla="*/ 0 h 1248155"/>
                <a:gd name="connsiteX1" fmla="*/ 486728 w 1150048"/>
                <a:gd name="connsiteY1" fmla="*/ 0 h 1248155"/>
                <a:gd name="connsiteX2" fmla="*/ 755047 w 1150048"/>
                <a:gd name="connsiteY2" fmla="*/ 47244 h 1248155"/>
                <a:gd name="connsiteX3" fmla="*/ 965454 w 1150048"/>
                <a:gd name="connsiteY3" fmla="*/ 178308 h 1248155"/>
                <a:gd name="connsiteX4" fmla="*/ 1101852 w 1150048"/>
                <a:gd name="connsiteY4" fmla="*/ 375380 h 1248155"/>
                <a:gd name="connsiteX5" fmla="*/ 1150049 w 1150048"/>
                <a:gd name="connsiteY5" fmla="*/ 620554 h 1248155"/>
                <a:gd name="connsiteX6" fmla="*/ 1150049 w 1150048"/>
                <a:gd name="connsiteY6" fmla="*/ 624173 h 1248155"/>
                <a:gd name="connsiteX7" fmla="*/ 1101852 w 1150048"/>
                <a:gd name="connsiteY7" fmla="*/ 870204 h 1248155"/>
                <a:gd name="connsiteX8" fmla="*/ 965454 w 1150048"/>
                <a:gd name="connsiteY8" fmla="*/ 1068134 h 1248155"/>
                <a:gd name="connsiteX9" fmla="*/ 755047 w 1150048"/>
                <a:gd name="connsiteY9" fmla="*/ 1200055 h 1248155"/>
                <a:gd name="connsiteX10" fmla="*/ 486728 w 1150048"/>
                <a:gd name="connsiteY10" fmla="*/ 1248156 h 1248155"/>
                <a:gd name="connsiteX11" fmla="*/ 0 w 1150048"/>
                <a:gd name="connsiteY11" fmla="*/ 1248156 h 1248155"/>
                <a:gd name="connsiteX12" fmla="*/ 0 w 1150048"/>
                <a:gd name="connsiteY12" fmla="*/ 0 h 1248155"/>
                <a:gd name="connsiteX13" fmla="*/ 486728 w 1150048"/>
                <a:gd name="connsiteY13" fmla="*/ 1000315 h 1248155"/>
                <a:gd name="connsiteX14" fmla="*/ 640080 w 1150048"/>
                <a:gd name="connsiteY14" fmla="*/ 973550 h 1248155"/>
                <a:gd name="connsiteX15" fmla="*/ 758667 w 1150048"/>
                <a:gd name="connsiteY15" fmla="*/ 896874 h 1248155"/>
                <a:gd name="connsiteX16" fmla="*/ 835343 w 1150048"/>
                <a:gd name="connsiteY16" fmla="*/ 779240 h 1248155"/>
                <a:gd name="connsiteX17" fmla="*/ 862965 w 1150048"/>
                <a:gd name="connsiteY17" fmla="*/ 627698 h 1248155"/>
                <a:gd name="connsiteX18" fmla="*/ 862965 w 1150048"/>
                <a:gd name="connsiteY18" fmla="*/ 624078 h 1248155"/>
                <a:gd name="connsiteX19" fmla="*/ 835343 w 1150048"/>
                <a:gd name="connsiteY19" fmla="*/ 472535 h 1248155"/>
                <a:gd name="connsiteX20" fmla="*/ 758667 w 1150048"/>
                <a:gd name="connsiteY20" fmla="*/ 353092 h 1248155"/>
                <a:gd name="connsiteX21" fmla="*/ 640080 w 1150048"/>
                <a:gd name="connsiteY21" fmla="*/ 275558 h 1248155"/>
                <a:gd name="connsiteX22" fmla="*/ 486728 w 1150048"/>
                <a:gd name="connsiteY22" fmla="*/ 247936 h 1248155"/>
                <a:gd name="connsiteX23" fmla="*/ 274511 w 1150048"/>
                <a:gd name="connsiteY23" fmla="*/ 247936 h 1248155"/>
                <a:gd name="connsiteX24" fmla="*/ 274511 w 1150048"/>
                <a:gd name="connsiteY24" fmla="*/ 1000411 h 1248155"/>
                <a:gd name="connsiteX25" fmla="*/ 486728 w 1150048"/>
                <a:gd name="connsiteY25" fmla="*/ 1000411 h 124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50048" h="1248155">
                  <a:moveTo>
                    <a:pt x="0" y="0"/>
                  </a:moveTo>
                  <a:lnTo>
                    <a:pt x="486728" y="0"/>
                  </a:lnTo>
                  <a:cubicBezTo>
                    <a:pt x="584168" y="0"/>
                    <a:pt x="673608" y="15811"/>
                    <a:pt x="755047" y="47244"/>
                  </a:cubicBezTo>
                  <a:cubicBezTo>
                    <a:pt x="836486" y="78772"/>
                    <a:pt x="906590" y="122396"/>
                    <a:pt x="965454" y="178308"/>
                  </a:cubicBezTo>
                  <a:cubicBezTo>
                    <a:pt x="1024319" y="234220"/>
                    <a:pt x="1069753" y="299847"/>
                    <a:pt x="1101852" y="375380"/>
                  </a:cubicBezTo>
                  <a:cubicBezTo>
                    <a:pt x="1133951" y="450914"/>
                    <a:pt x="1150049" y="532543"/>
                    <a:pt x="1150049" y="620554"/>
                  </a:cubicBezTo>
                  <a:lnTo>
                    <a:pt x="1150049" y="624173"/>
                  </a:lnTo>
                  <a:cubicBezTo>
                    <a:pt x="1150049" y="712184"/>
                    <a:pt x="1133951" y="794195"/>
                    <a:pt x="1101852" y="870204"/>
                  </a:cubicBezTo>
                  <a:cubicBezTo>
                    <a:pt x="1069753" y="946309"/>
                    <a:pt x="1024319" y="1012222"/>
                    <a:pt x="965454" y="1068134"/>
                  </a:cubicBezTo>
                  <a:cubicBezTo>
                    <a:pt x="906590" y="1124045"/>
                    <a:pt x="836486" y="1167956"/>
                    <a:pt x="755047" y="1200055"/>
                  </a:cubicBezTo>
                  <a:cubicBezTo>
                    <a:pt x="673608" y="1232154"/>
                    <a:pt x="584168" y="1248156"/>
                    <a:pt x="486728" y="1248156"/>
                  </a:cubicBezTo>
                  <a:lnTo>
                    <a:pt x="0" y="1248156"/>
                  </a:lnTo>
                  <a:lnTo>
                    <a:pt x="0" y="0"/>
                  </a:lnTo>
                  <a:close/>
                  <a:moveTo>
                    <a:pt x="486728" y="1000315"/>
                  </a:moveTo>
                  <a:cubicBezTo>
                    <a:pt x="542639" y="1000315"/>
                    <a:pt x="593693" y="991457"/>
                    <a:pt x="640080" y="973550"/>
                  </a:cubicBezTo>
                  <a:cubicBezTo>
                    <a:pt x="686467" y="955739"/>
                    <a:pt x="725900" y="930211"/>
                    <a:pt x="758667" y="896874"/>
                  </a:cubicBezTo>
                  <a:cubicBezTo>
                    <a:pt x="791337" y="863632"/>
                    <a:pt x="816864" y="824389"/>
                    <a:pt x="835343" y="779240"/>
                  </a:cubicBezTo>
                  <a:cubicBezTo>
                    <a:pt x="853726" y="734092"/>
                    <a:pt x="862965" y="683609"/>
                    <a:pt x="862965" y="627698"/>
                  </a:cubicBezTo>
                  <a:lnTo>
                    <a:pt x="862965" y="624078"/>
                  </a:lnTo>
                  <a:cubicBezTo>
                    <a:pt x="862965" y="569404"/>
                    <a:pt x="853726" y="518827"/>
                    <a:pt x="835343" y="472535"/>
                  </a:cubicBezTo>
                  <a:cubicBezTo>
                    <a:pt x="816864" y="426149"/>
                    <a:pt x="791337" y="386334"/>
                    <a:pt x="758667" y="353092"/>
                  </a:cubicBezTo>
                  <a:cubicBezTo>
                    <a:pt x="725996" y="319849"/>
                    <a:pt x="686467" y="293941"/>
                    <a:pt x="640080" y="275558"/>
                  </a:cubicBezTo>
                  <a:cubicBezTo>
                    <a:pt x="593693" y="257175"/>
                    <a:pt x="542639" y="247936"/>
                    <a:pt x="486728" y="247936"/>
                  </a:cubicBezTo>
                  <a:lnTo>
                    <a:pt x="274511" y="247936"/>
                  </a:lnTo>
                  <a:lnTo>
                    <a:pt x="274511" y="1000411"/>
                  </a:lnTo>
                  <a:lnTo>
                    <a:pt x="486728" y="1000411"/>
                  </a:lnTo>
                  <a:close/>
                </a:path>
              </a:pathLst>
            </a:custGeom>
            <a:solidFill>
              <a:srgbClr val="44505E"/>
            </a:solidFill>
            <a:ln w="9525" cap="flat">
              <a:noFill/>
              <a:prstDash val="solid"/>
              <a:miter/>
            </a:ln>
          </p:spPr>
          <p:txBody>
            <a:bodyPr rtlCol="0" anchor="ctr"/>
            <a:lstStyle/>
            <a:p>
              <a:endParaRPr lang="pt-BR" noProof="0"/>
            </a:p>
          </p:txBody>
        </p:sp>
        <p:sp>
          <p:nvSpPr>
            <p:cNvPr id="20" name="Freeform: Shape 19">
              <a:extLst>
                <a:ext uri="{FF2B5EF4-FFF2-40B4-BE49-F238E27FC236}">
                  <a16:creationId xmlns:a16="http://schemas.microsoft.com/office/drawing/2014/main" id="{E18FDF54-6585-44C4-944F-880E0B933CFA}"/>
                </a:ext>
              </a:extLst>
            </p:cNvPr>
            <p:cNvSpPr/>
            <p:nvPr/>
          </p:nvSpPr>
          <p:spPr>
            <a:xfrm>
              <a:off x="6460217" y="313094"/>
              <a:ext cx="238459" cy="313788"/>
            </a:xfrm>
            <a:custGeom>
              <a:avLst/>
              <a:gdLst>
                <a:gd name="connsiteX0" fmla="*/ 95 w 948594"/>
                <a:gd name="connsiteY0" fmla="*/ 0 h 1248251"/>
                <a:gd name="connsiteX1" fmla="*/ 939737 w 948594"/>
                <a:gd name="connsiteY1" fmla="*/ 0 h 1248251"/>
                <a:gd name="connsiteX2" fmla="*/ 939737 w 948594"/>
                <a:gd name="connsiteY2" fmla="*/ 244316 h 1248251"/>
                <a:gd name="connsiteX3" fmla="*/ 271081 w 948594"/>
                <a:gd name="connsiteY3" fmla="*/ 244316 h 1248251"/>
                <a:gd name="connsiteX4" fmla="*/ 271081 w 948594"/>
                <a:gd name="connsiteY4" fmla="*/ 497491 h 1248251"/>
                <a:gd name="connsiteX5" fmla="*/ 859441 w 948594"/>
                <a:gd name="connsiteY5" fmla="*/ 497491 h 1248251"/>
                <a:gd name="connsiteX6" fmla="*/ 859441 w 948594"/>
                <a:gd name="connsiteY6" fmla="*/ 741807 h 1248251"/>
                <a:gd name="connsiteX7" fmla="*/ 271081 w 948594"/>
                <a:gd name="connsiteY7" fmla="*/ 741807 h 1248251"/>
                <a:gd name="connsiteX8" fmla="*/ 271081 w 948594"/>
                <a:gd name="connsiteY8" fmla="*/ 1003935 h 1248251"/>
                <a:gd name="connsiteX9" fmla="*/ 948595 w 948594"/>
                <a:gd name="connsiteY9" fmla="*/ 1003935 h 1248251"/>
                <a:gd name="connsiteX10" fmla="*/ 948595 w 948594"/>
                <a:gd name="connsiteY10" fmla="*/ 1248251 h 1248251"/>
                <a:gd name="connsiteX11" fmla="*/ 0 w 948594"/>
                <a:gd name="connsiteY11" fmla="*/ 1248251 h 1248251"/>
                <a:gd name="connsiteX12" fmla="*/ 0 w 948594"/>
                <a:gd name="connsiteY12" fmla="*/ 0 h 124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594" h="1248251">
                  <a:moveTo>
                    <a:pt x="95" y="0"/>
                  </a:moveTo>
                  <a:lnTo>
                    <a:pt x="939737" y="0"/>
                  </a:lnTo>
                  <a:lnTo>
                    <a:pt x="939737" y="244316"/>
                  </a:lnTo>
                  <a:lnTo>
                    <a:pt x="271081" y="244316"/>
                  </a:lnTo>
                  <a:lnTo>
                    <a:pt x="271081" y="497491"/>
                  </a:lnTo>
                  <a:lnTo>
                    <a:pt x="859441" y="497491"/>
                  </a:lnTo>
                  <a:lnTo>
                    <a:pt x="859441" y="741807"/>
                  </a:lnTo>
                  <a:lnTo>
                    <a:pt x="271081" y="741807"/>
                  </a:lnTo>
                  <a:lnTo>
                    <a:pt x="271081" y="1003935"/>
                  </a:lnTo>
                  <a:lnTo>
                    <a:pt x="948595" y="1003935"/>
                  </a:lnTo>
                  <a:lnTo>
                    <a:pt x="948595" y="1248251"/>
                  </a:lnTo>
                  <a:lnTo>
                    <a:pt x="0" y="1248251"/>
                  </a:lnTo>
                  <a:lnTo>
                    <a:pt x="0" y="0"/>
                  </a:lnTo>
                  <a:close/>
                </a:path>
              </a:pathLst>
            </a:custGeom>
            <a:solidFill>
              <a:srgbClr val="44505E"/>
            </a:solidFill>
            <a:ln w="9525" cap="flat">
              <a:noFill/>
              <a:prstDash val="solid"/>
              <a:miter/>
            </a:ln>
          </p:spPr>
          <p:txBody>
            <a:bodyPr rtlCol="0" anchor="ctr"/>
            <a:lstStyle/>
            <a:p>
              <a:endParaRPr lang="pt-BR" noProof="0"/>
            </a:p>
          </p:txBody>
        </p:sp>
        <p:sp>
          <p:nvSpPr>
            <p:cNvPr id="21" name="Freeform: Shape 20">
              <a:extLst>
                <a:ext uri="{FF2B5EF4-FFF2-40B4-BE49-F238E27FC236}">
                  <a16:creationId xmlns:a16="http://schemas.microsoft.com/office/drawing/2014/main" id="{9DB88C78-EB4D-0C3C-B29F-E764B0AD6EE1}"/>
                </a:ext>
              </a:extLst>
            </p:cNvPr>
            <p:cNvSpPr/>
            <p:nvPr/>
          </p:nvSpPr>
          <p:spPr>
            <a:xfrm>
              <a:off x="5253193" y="699983"/>
              <a:ext cx="90796" cy="97883"/>
            </a:xfrm>
            <a:custGeom>
              <a:avLst/>
              <a:gdLst>
                <a:gd name="connsiteX0" fmla="*/ 191548 w 361187"/>
                <a:gd name="connsiteY0" fmla="*/ 389382 h 389381"/>
                <a:gd name="connsiteX1" fmla="*/ 116300 w 361187"/>
                <a:gd name="connsiteY1" fmla="*/ 375285 h 389381"/>
                <a:gd name="connsiteX2" fmla="*/ 55531 w 361187"/>
                <a:gd name="connsiteY2" fmla="*/ 335756 h 389381"/>
                <a:gd name="connsiteX3" fmla="*/ 14859 w 361187"/>
                <a:gd name="connsiteY3" fmla="*/ 274606 h 389381"/>
                <a:gd name="connsiteX4" fmla="*/ 0 w 361187"/>
                <a:gd name="connsiteY4" fmla="*/ 195834 h 389381"/>
                <a:gd name="connsiteX5" fmla="*/ 0 w 361187"/>
                <a:gd name="connsiteY5" fmla="*/ 194405 h 389381"/>
                <a:gd name="connsiteX6" fmla="*/ 13430 w 361187"/>
                <a:gd name="connsiteY6" fmla="*/ 118777 h 389381"/>
                <a:gd name="connsiteX7" fmla="*/ 51245 w 361187"/>
                <a:gd name="connsiteY7" fmla="*/ 56959 h 389381"/>
                <a:gd name="connsiteX8" fmla="*/ 108871 w 361187"/>
                <a:gd name="connsiteY8" fmla="*/ 15240 h 389381"/>
                <a:gd name="connsiteX9" fmla="*/ 182404 w 361187"/>
                <a:gd name="connsiteY9" fmla="*/ 0 h 389381"/>
                <a:gd name="connsiteX10" fmla="*/ 260509 w 361187"/>
                <a:gd name="connsiteY10" fmla="*/ 16288 h 389381"/>
                <a:gd name="connsiteX11" fmla="*/ 316325 w 361187"/>
                <a:gd name="connsiteY11" fmla="*/ 60103 h 389381"/>
                <a:gd name="connsiteX12" fmla="*/ 349853 w 361187"/>
                <a:gd name="connsiteY12" fmla="*/ 124015 h 389381"/>
                <a:gd name="connsiteX13" fmla="*/ 361188 w 361187"/>
                <a:gd name="connsiteY13" fmla="*/ 200692 h 389381"/>
                <a:gd name="connsiteX14" fmla="*/ 360807 w 361187"/>
                <a:gd name="connsiteY14" fmla="*/ 212312 h 389381"/>
                <a:gd name="connsiteX15" fmla="*/ 359759 w 361187"/>
                <a:gd name="connsiteY15" fmla="*/ 224695 h 389381"/>
                <a:gd name="connsiteX16" fmla="*/ 85534 w 361187"/>
                <a:gd name="connsiteY16" fmla="*/ 224695 h 389381"/>
                <a:gd name="connsiteX17" fmla="*/ 121920 w 361187"/>
                <a:gd name="connsiteY17" fmla="*/ 294989 h 389381"/>
                <a:gd name="connsiteX18" fmla="*/ 192977 w 361187"/>
                <a:gd name="connsiteY18" fmla="*/ 319373 h 389381"/>
                <a:gd name="connsiteX19" fmla="*/ 248126 w 361187"/>
                <a:gd name="connsiteY19" fmla="*/ 308038 h 389381"/>
                <a:gd name="connsiteX20" fmla="*/ 294037 w 361187"/>
                <a:gd name="connsiteY20" fmla="*/ 274796 h 389381"/>
                <a:gd name="connsiteX21" fmla="*/ 344234 w 361187"/>
                <a:gd name="connsiteY21" fmla="*/ 319278 h 389381"/>
                <a:gd name="connsiteX22" fmla="*/ 280226 w 361187"/>
                <a:gd name="connsiteY22" fmla="*/ 370141 h 389381"/>
                <a:gd name="connsiteX23" fmla="*/ 191548 w 361187"/>
                <a:gd name="connsiteY23" fmla="*/ 389191 h 389381"/>
                <a:gd name="connsiteX24" fmla="*/ 276320 w 361187"/>
                <a:gd name="connsiteY24" fmla="*/ 168211 h 389381"/>
                <a:gd name="connsiteX25" fmla="*/ 267176 w 361187"/>
                <a:gd name="connsiteY25" fmla="*/ 129730 h 389381"/>
                <a:gd name="connsiteX26" fmla="*/ 248126 w 361187"/>
                <a:gd name="connsiteY26" fmla="*/ 98679 h 389381"/>
                <a:gd name="connsiteX27" fmla="*/ 219551 w 361187"/>
                <a:gd name="connsiteY27" fmla="*/ 77819 h 389381"/>
                <a:gd name="connsiteX28" fmla="*/ 181737 w 361187"/>
                <a:gd name="connsiteY28" fmla="*/ 70009 h 389381"/>
                <a:gd name="connsiteX29" fmla="*/ 116396 w 361187"/>
                <a:gd name="connsiteY29" fmla="*/ 97250 h 389381"/>
                <a:gd name="connsiteX30" fmla="*/ 84963 w 361187"/>
                <a:gd name="connsiteY30" fmla="*/ 168307 h 389381"/>
                <a:gd name="connsiteX31" fmla="*/ 276511 w 361187"/>
                <a:gd name="connsiteY31" fmla="*/ 168307 h 38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187" h="389381">
                  <a:moveTo>
                    <a:pt x="191548" y="389382"/>
                  </a:moveTo>
                  <a:cubicBezTo>
                    <a:pt x="164687" y="389382"/>
                    <a:pt x="139637" y="384715"/>
                    <a:pt x="116300" y="375285"/>
                  </a:cubicBezTo>
                  <a:cubicBezTo>
                    <a:pt x="92964" y="365855"/>
                    <a:pt x="72771" y="352711"/>
                    <a:pt x="55531" y="335756"/>
                  </a:cubicBezTo>
                  <a:cubicBezTo>
                    <a:pt x="38291" y="318802"/>
                    <a:pt x="24765" y="298418"/>
                    <a:pt x="14859" y="274606"/>
                  </a:cubicBezTo>
                  <a:cubicBezTo>
                    <a:pt x="4953" y="250793"/>
                    <a:pt x="0" y="224599"/>
                    <a:pt x="0" y="195834"/>
                  </a:cubicBezTo>
                  <a:lnTo>
                    <a:pt x="0" y="194405"/>
                  </a:lnTo>
                  <a:cubicBezTo>
                    <a:pt x="0" y="167545"/>
                    <a:pt x="4477" y="142399"/>
                    <a:pt x="13430" y="118777"/>
                  </a:cubicBezTo>
                  <a:cubicBezTo>
                    <a:pt x="22384" y="95250"/>
                    <a:pt x="34957" y="74581"/>
                    <a:pt x="51245" y="56959"/>
                  </a:cubicBezTo>
                  <a:cubicBezTo>
                    <a:pt x="67532" y="39338"/>
                    <a:pt x="86677" y="25432"/>
                    <a:pt x="108871" y="15240"/>
                  </a:cubicBezTo>
                  <a:cubicBezTo>
                    <a:pt x="131064" y="5143"/>
                    <a:pt x="155543" y="0"/>
                    <a:pt x="182404" y="0"/>
                  </a:cubicBezTo>
                  <a:cubicBezTo>
                    <a:pt x="212122" y="0"/>
                    <a:pt x="238125" y="5429"/>
                    <a:pt x="260509" y="16288"/>
                  </a:cubicBezTo>
                  <a:cubicBezTo>
                    <a:pt x="282893" y="27146"/>
                    <a:pt x="301466" y="41719"/>
                    <a:pt x="316325" y="60103"/>
                  </a:cubicBezTo>
                  <a:cubicBezTo>
                    <a:pt x="331184" y="78486"/>
                    <a:pt x="342329" y="99822"/>
                    <a:pt x="349853" y="124015"/>
                  </a:cubicBezTo>
                  <a:cubicBezTo>
                    <a:pt x="357378" y="148304"/>
                    <a:pt x="361188" y="173831"/>
                    <a:pt x="361188" y="200692"/>
                  </a:cubicBezTo>
                  <a:cubicBezTo>
                    <a:pt x="361188" y="204502"/>
                    <a:pt x="361093" y="208312"/>
                    <a:pt x="360807" y="212312"/>
                  </a:cubicBezTo>
                  <a:cubicBezTo>
                    <a:pt x="360521" y="216313"/>
                    <a:pt x="360236" y="220409"/>
                    <a:pt x="359759" y="224695"/>
                  </a:cubicBezTo>
                  <a:lnTo>
                    <a:pt x="85534" y="224695"/>
                  </a:lnTo>
                  <a:cubicBezTo>
                    <a:pt x="90202" y="255365"/>
                    <a:pt x="102394" y="278797"/>
                    <a:pt x="121920" y="294989"/>
                  </a:cubicBezTo>
                  <a:cubicBezTo>
                    <a:pt x="141446" y="311277"/>
                    <a:pt x="165164" y="319373"/>
                    <a:pt x="192977" y="319373"/>
                  </a:cubicBezTo>
                  <a:cubicBezTo>
                    <a:pt x="214217" y="319373"/>
                    <a:pt x="232505" y="315563"/>
                    <a:pt x="248126" y="308038"/>
                  </a:cubicBezTo>
                  <a:cubicBezTo>
                    <a:pt x="263652" y="300514"/>
                    <a:pt x="278987" y="289465"/>
                    <a:pt x="294037" y="274796"/>
                  </a:cubicBezTo>
                  <a:lnTo>
                    <a:pt x="344234" y="319278"/>
                  </a:lnTo>
                  <a:cubicBezTo>
                    <a:pt x="326327" y="340519"/>
                    <a:pt x="304991" y="357473"/>
                    <a:pt x="280226" y="370141"/>
                  </a:cubicBezTo>
                  <a:cubicBezTo>
                    <a:pt x="255461" y="382810"/>
                    <a:pt x="225933" y="389191"/>
                    <a:pt x="191548" y="389191"/>
                  </a:cubicBezTo>
                  <a:close/>
                  <a:moveTo>
                    <a:pt x="276320" y="168211"/>
                  </a:moveTo>
                  <a:cubicBezTo>
                    <a:pt x="274892" y="154591"/>
                    <a:pt x="271844" y="141732"/>
                    <a:pt x="267176" y="129730"/>
                  </a:cubicBezTo>
                  <a:cubicBezTo>
                    <a:pt x="262414" y="117729"/>
                    <a:pt x="256127" y="107347"/>
                    <a:pt x="248126" y="98679"/>
                  </a:cubicBezTo>
                  <a:cubicBezTo>
                    <a:pt x="240125" y="89916"/>
                    <a:pt x="230600" y="82963"/>
                    <a:pt x="219551" y="77819"/>
                  </a:cubicBezTo>
                  <a:cubicBezTo>
                    <a:pt x="208502" y="72676"/>
                    <a:pt x="195834" y="70009"/>
                    <a:pt x="181737" y="70009"/>
                  </a:cubicBezTo>
                  <a:cubicBezTo>
                    <a:pt x="155353" y="70009"/>
                    <a:pt x="133541" y="79057"/>
                    <a:pt x="116396" y="97250"/>
                  </a:cubicBezTo>
                  <a:cubicBezTo>
                    <a:pt x="99155" y="115348"/>
                    <a:pt x="88678" y="139065"/>
                    <a:pt x="84963" y="168307"/>
                  </a:cubicBezTo>
                  <a:lnTo>
                    <a:pt x="276511" y="168307"/>
                  </a:lnTo>
                  <a:close/>
                </a:path>
              </a:pathLst>
            </a:custGeom>
            <a:solidFill>
              <a:srgbClr val="44505E"/>
            </a:solidFill>
            <a:ln w="9525" cap="flat">
              <a:noFill/>
              <a:prstDash val="solid"/>
              <a:miter/>
            </a:ln>
          </p:spPr>
          <p:txBody>
            <a:bodyPr rtlCol="0" anchor="ctr"/>
            <a:lstStyle/>
            <a:p>
              <a:endParaRPr lang="pt-BR" noProof="0"/>
            </a:p>
          </p:txBody>
        </p:sp>
        <p:sp>
          <p:nvSpPr>
            <p:cNvPr id="22" name="Freeform: Shape 21">
              <a:extLst>
                <a:ext uri="{FF2B5EF4-FFF2-40B4-BE49-F238E27FC236}">
                  <a16:creationId xmlns:a16="http://schemas.microsoft.com/office/drawing/2014/main" id="{D1EC9EF0-63D2-56AD-93A9-31811E21C244}"/>
                </a:ext>
              </a:extLst>
            </p:cNvPr>
            <p:cNvSpPr/>
            <p:nvPr/>
          </p:nvSpPr>
          <p:spPr>
            <a:xfrm>
              <a:off x="5365659"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5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8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3 w 568166"/>
                <a:gd name="connsiteY21" fmla="*/ 381000 h 381000"/>
                <a:gd name="connsiteX22" fmla="*/ 240983 w 568166"/>
                <a:gd name="connsiteY22" fmla="*/ 168783 h 381000"/>
                <a:gd name="connsiteX23" fmla="*/ 221266 w 568166"/>
                <a:gd name="connsiteY23" fmla="*/ 101822 h 381000"/>
                <a:gd name="connsiteX24" fmla="*/ 165640 w 568166"/>
                <a:gd name="connsiteY24" fmla="*/ 78581 h 381000"/>
                <a:gd name="connsiteX25" fmla="*/ 108014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70" y="48196"/>
                    <a:pt x="105918" y="40576"/>
                  </a:cubicBezTo>
                  <a:cubicBezTo>
                    <a:pt x="112967" y="32956"/>
                    <a:pt x="121063" y="26099"/>
                    <a:pt x="130207" y="19907"/>
                  </a:cubicBezTo>
                  <a:cubicBezTo>
                    <a:pt x="139351" y="13716"/>
                    <a:pt x="149733" y="8858"/>
                    <a:pt x="161163" y="5334"/>
                  </a:cubicBezTo>
                  <a:cubicBezTo>
                    <a:pt x="172688" y="1714"/>
                    <a:pt x="185452" y="0"/>
                    <a:pt x="199549" y="0"/>
                  </a:cubicBezTo>
                  <a:cubicBezTo>
                    <a:pt x="226314" y="0"/>
                    <a:pt x="248984" y="6096"/>
                    <a:pt x="267557" y="18193"/>
                  </a:cubicBezTo>
                  <a:cubicBezTo>
                    <a:pt x="286131" y="30289"/>
                    <a:pt x="300323" y="46387"/>
                    <a:pt x="310134" y="66294"/>
                  </a:cubicBezTo>
                  <a:cubicBezTo>
                    <a:pt x="325279" y="46387"/>
                    <a:pt x="343091" y="30289"/>
                    <a:pt x="363665" y="18193"/>
                  </a:cubicBezTo>
                  <a:cubicBezTo>
                    <a:pt x="384239" y="6096"/>
                    <a:pt x="408718" y="0"/>
                    <a:pt x="437007" y="0"/>
                  </a:cubicBezTo>
                  <a:cubicBezTo>
                    <a:pt x="478060"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8" y="78486"/>
                  </a:cubicBezTo>
                  <a:cubicBezTo>
                    <a:pt x="382810" y="78486"/>
                    <a:pt x="364141" y="86392"/>
                    <a:pt x="349377" y="102108"/>
                  </a:cubicBezTo>
                  <a:cubicBezTo>
                    <a:pt x="334613" y="117824"/>
                    <a:pt x="327184" y="140779"/>
                    <a:pt x="327184" y="170879"/>
                  </a:cubicBezTo>
                  <a:lnTo>
                    <a:pt x="327184" y="381000"/>
                  </a:lnTo>
                  <a:lnTo>
                    <a:pt x="240983" y="381000"/>
                  </a:lnTo>
                  <a:lnTo>
                    <a:pt x="240983" y="168783"/>
                  </a:lnTo>
                  <a:cubicBezTo>
                    <a:pt x="240983" y="139637"/>
                    <a:pt x="234410" y="117348"/>
                    <a:pt x="221266" y="101822"/>
                  </a:cubicBezTo>
                  <a:cubicBezTo>
                    <a:pt x="208121" y="86296"/>
                    <a:pt x="189643" y="78581"/>
                    <a:pt x="165640" y="78581"/>
                  </a:cubicBezTo>
                  <a:cubicBezTo>
                    <a:pt x="141637" y="78581"/>
                    <a:pt x="122492" y="86773"/>
                    <a:pt x="108014"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23" name="Freeform: Shape 22">
              <a:extLst>
                <a:ext uri="{FF2B5EF4-FFF2-40B4-BE49-F238E27FC236}">
                  <a16:creationId xmlns:a16="http://schemas.microsoft.com/office/drawing/2014/main" id="{5B688D62-42FD-1EAE-F53B-EAD8529251B8}"/>
                </a:ext>
              </a:extLst>
            </p:cNvPr>
            <p:cNvSpPr/>
            <p:nvPr/>
          </p:nvSpPr>
          <p:spPr>
            <a:xfrm>
              <a:off x="5587693" y="700007"/>
              <a:ext cx="84211" cy="95752"/>
            </a:xfrm>
            <a:custGeom>
              <a:avLst/>
              <a:gdLst>
                <a:gd name="connsiteX0" fmla="*/ 95 w 334994"/>
                <a:gd name="connsiteY0" fmla="*/ 7715 h 380904"/>
                <a:gd name="connsiteX1" fmla="*/ 86296 w 334994"/>
                <a:gd name="connsiteY1" fmla="*/ 7715 h 380904"/>
                <a:gd name="connsiteX2" fmla="*/ 86296 w 334994"/>
                <a:gd name="connsiteY2" fmla="*/ 66294 h 380904"/>
                <a:gd name="connsiteX3" fmla="*/ 106394 w 334994"/>
                <a:gd name="connsiteY3" fmla="*/ 40958 h 380904"/>
                <a:gd name="connsiteX4" fmla="*/ 131731 w 334994"/>
                <a:gd name="connsiteY4" fmla="*/ 19907 h 380904"/>
                <a:gd name="connsiteX5" fmla="*/ 163449 w 334994"/>
                <a:gd name="connsiteY5" fmla="*/ 5334 h 380904"/>
                <a:gd name="connsiteX6" fmla="*/ 202597 w 334994"/>
                <a:gd name="connsiteY6" fmla="*/ 0 h 380904"/>
                <a:gd name="connsiteX7" fmla="*/ 300514 w 334994"/>
                <a:gd name="connsiteY7" fmla="*/ 38862 h 380904"/>
                <a:gd name="connsiteX8" fmla="*/ 334994 w 334994"/>
                <a:gd name="connsiteY8" fmla="*/ 143446 h 380904"/>
                <a:gd name="connsiteX9" fmla="*/ 334994 w 334994"/>
                <a:gd name="connsiteY9" fmla="*/ 380905 h 380904"/>
                <a:gd name="connsiteX10" fmla="*/ 248793 w 334994"/>
                <a:gd name="connsiteY10" fmla="*/ 380905 h 380904"/>
                <a:gd name="connsiteX11" fmla="*/ 248793 w 334994"/>
                <a:gd name="connsiteY11" fmla="*/ 169450 h 380904"/>
                <a:gd name="connsiteX12" fmla="*/ 228124 w 334994"/>
                <a:gd name="connsiteY12" fmla="*/ 102108 h 380904"/>
                <a:gd name="connsiteX13" fmla="*/ 169640 w 334994"/>
                <a:gd name="connsiteY13" fmla="*/ 78486 h 380904"/>
                <a:gd name="connsiteX14" fmla="*/ 109347 w 334994"/>
                <a:gd name="connsiteY14" fmla="*/ 102775 h 380904"/>
                <a:gd name="connsiteX15" fmla="*/ 86201 w 334994"/>
                <a:gd name="connsiteY15" fmla="*/ 170783 h 380904"/>
                <a:gd name="connsiteX16" fmla="*/ 86201 w 334994"/>
                <a:gd name="connsiteY16" fmla="*/ 380905 h 380904"/>
                <a:gd name="connsiteX17" fmla="*/ 0 w 334994"/>
                <a:gd name="connsiteY17" fmla="*/ 380905 h 380904"/>
                <a:gd name="connsiteX18" fmla="*/ 0 w 334994"/>
                <a:gd name="connsiteY18" fmla="*/ 7810 h 38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94" h="380904">
                  <a:moveTo>
                    <a:pt x="95" y="7715"/>
                  </a:moveTo>
                  <a:lnTo>
                    <a:pt x="86296" y="7715"/>
                  </a:lnTo>
                  <a:lnTo>
                    <a:pt x="86296" y="66294"/>
                  </a:lnTo>
                  <a:cubicBezTo>
                    <a:pt x="92392" y="57245"/>
                    <a:pt x="99060" y="48863"/>
                    <a:pt x="106394" y="40958"/>
                  </a:cubicBezTo>
                  <a:cubicBezTo>
                    <a:pt x="113633" y="33147"/>
                    <a:pt x="122110" y="26099"/>
                    <a:pt x="131731" y="19907"/>
                  </a:cubicBezTo>
                  <a:cubicBezTo>
                    <a:pt x="141351" y="13716"/>
                    <a:pt x="151924" y="8858"/>
                    <a:pt x="163449" y="5334"/>
                  </a:cubicBezTo>
                  <a:cubicBezTo>
                    <a:pt x="174974" y="1714"/>
                    <a:pt x="188024" y="0"/>
                    <a:pt x="202597" y="0"/>
                  </a:cubicBezTo>
                  <a:cubicBezTo>
                    <a:pt x="244888" y="0"/>
                    <a:pt x="277559" y="12954"/>
                    <a:pt x="300514" y="38862"/>
                  </a:cubicBezTo>
                  <a:cubicBezTo>
                    <a:pt x="323564" y="64770"/>
                    <a:pt x="334994" y="99631"/>
                    <a:pt x="334994" y="143446"/>
                  </a:cubicBezTo>
                  <a:lnTo>
                    <a:pt x="334994" y="380905"/>
                  </a:lnTo>
                  <a:lnTo>
                    <a:pt x="248793" y="380905"/>
                  </a:lnTo>
                  <a:lnTo>
                    <a:pt x="248793" y="169450"/>
                  </a:lnTo>
                  <a:cubicBezTo>
                    <a:pt x="248793" y="140303"/>
                    <a:pt x="241935" y="117824"/>
                    <a:pt x="228124" y="102108"/>
                  </a:cubicBezTo>
                  <a:cubicBezTo>
                    <a:pt x="214313" y="86392"/>
                    <a:pt x="194881" y="78486"/>
                    <a:pt x="169640" y="78486"/>
                  </a:cubicBezTo>
                  <a:cubicBezTo>
                    <a:pt x="144399" y="78486"/>
                    <a:pt x="124777" y="86582"/>
                    <a:pt x="109347" y="102775"/>
                  </a:cubicBezTo>
                  <a:cubicBezTo>
                    <a:pt x="93917" y="118967"/>
                    <a:pt x="86201" y="141637"/>
                    <a:pt x="86201" y="170783"/>
                  </a:cubicBezTo>
                  <a:lnTo>
                    <a:pt x="86201" y="380905"/>
                  </a:lnTo>
                  <a:lnTo>
                    <a:pt x="0" y="380905"/>
                  </a:lnTo>
                  <a:lnTo>
                    <a:pt x="0" y="7810"/>
                  </a:lnTo>
                  <a:close/>
                </a:path>
              </a:pathLst>
            </a:custGeom>
            <a:solidFill>
              <a:srgbClr val="44505E"/>
            </a:solidFill>
            <a:ln w="9525" cap="flat">
              <a:noFill/>
              <a:prstDash val="solid"/>
              <a:miter/>
            </a:ln>
          </p:spPr>
          <p:txBody>
            <a:bodyPr rtlCol="0" anchor="ctr"/>
            <a:lstStyle/>
            <a:p>
              <a:endParaRPr lang="pt-BR" noProof="0"/>
            </a:p>
          </p:txBody>
        </p:sp>
        <p:sp>
          <p:nvSpPr>
            <p:cNvPr id="24" name="Freeform: Shape 23">
              <a:extLst>
                <a:ext uri="{FF2B5EF4-FFF2-40B4-BE49-F238E27FC236}">
                  <a16:creationId xmlns:a16="http://schemas.microsoft.com/office/drawing/2014/main" id="{9135FB3D-6501-AFC7-501B-7681D18CF847}"/>
                </a:ext>
              </a:extLst>
            </p:cNvPr>
            <p:cNvSpPr/>
            <p:nvPr/>
          </p:nvSpPr>
          <p:spPr>
            <a:xfrm>
              <a:off x="5692712" y="699959"/>
              <a:ext cx="100015" cy="97908"/>
            </a:xfrm>
            <a:custGeom>
              <a:avLst/>
              <a:gdLst>
                <a:gd name="connsiteX0" fmla="*/ 197834 w 397859"/>
                <a:gd name="connsiteY0" fmla="*/ 389477 h 389477"/>
                <a:gd name="connsiteX1" fmla="*/ 119063 w 397859"/>
                <a:gd name="connsiteY1" fmla="*/ 374237 h 389477"/>
                <a:gd name="connsiteX2" fmla="*/ 56197 w 397859"/>
                <a:gd name="connsiteY2" fmla="*/ 332899 h 389477"/>
                <a:gd name="connsiteX3" fmla="*/ 14859 w 397859"/>
                <a:gd name="connsiteY3" fmla="*/ 271463 h 389477"/>
                <a:gd name="connsiteX4" fmla="*/ 0 w 397859"/>
                <a:gd name="connsiteY4" fmla="*/ 196501 h 389477"/>
                <a:gd name="connsiteX5" fmla="*/ 0 w 397859"/>
                <a:gd name="connsiteY5" fmla="*/ 195072 h 389477"/>
                <a:gd name="connsiteX6" fmla="*/ 15145 w 397859"/>
                <a:gd name="connsiteY6" fmla="*/ 119444 h 389477"/>
                <a:gd name="connsiteX7" fmla="*/ 56864 w 397859"/>
                <a:gd name="connsiteY7" fmla="*/ 57626 h 389477"/>
                <a:gd name="connsiteX8" fmla="*/ 119729 w 397859"/>
                <a:gd name="connsiteY8" fmla="*/ 15526 h 389477"/>
                <a:gd name="connsiteX9" fmla="*/ 199263 w 397859"/>
                <a:gd name="connsiteY9" fmla="*/ 0 h 389477"/>
                <a:gd name="connsiteX10" fmla="*/ 278797 w 397859"/>
                <a:gd name="connsiteY10" fmla="*/ 15240 h 389477"/>
                <a:gd name="connsiteX11" fmla="*/ 341662 w 397859"/>
                <a:gd name="connsiteY11" fmla="*/ 56959 h 389477"/>
                <a:gd name="connsiteX12" fmla="*/ 383000 w 397859"/>
                <a:gd name="connsiteY12" fmla="*/ 118396 h 389477"/>
                <a:gd name="connsiteX13" fmla="*/ 397859 w 397859"/>
                <a:gd name="connsiteY13" fmla="*/ 193643 h 389477"/>
                <a:gd name="connsiteX14" fmla="*/ 397859 w 397859"/>
                <a:gd name="connsiteY14" fmla="*/ 195072 h 389477"/>
                <a:gd name="connsiteX15" fmla="*/ 382619 w 397859"/>
                <a:gd name="connsiteY15" fmla="*/ 270034 h 389477"/>
                <a:gd name="connsiteX16" fmla="*/ 340900 w 397859"/>
                <a:gd name="connsiteY16" fmla="*/ 331851 h 389477"/>
                <a:gd name="connsiteX17" fmla="*/ 277654 w 397859"/>
                <a:gd name="connsiteY17" fmla="*/ 373856 h 389477"/>
                <a:gd name="connsiteX18" fmla="*/ 197834 w 397859"/>
                <a:gd name="connsiteY18" fmla="*/ 389382 h 389477"/>
                <a:gd name="connsiteX19" fmla="*/ 199263 w 397859"/>
                <a:gd name="connsiteY19" fmla="*/ 315278 h 389477"/>
                <a:gd name="connsiteX20" fmla="*/ 245935 w 397859"/>
                <a:gd name="connsiteY20" fmla="*/ 305753 h 389477"/>
                <a:gd name="connsiteX21" fmla="*/ 281368 w 397859"/>
                <a:gd name="connsiteY21" fmla="*/ 279940 h 389477"/>
                <a:gd name="connsiteX22" fmla="*/ 303847 w 397859"/>
                <a:gd name="connsiteY22" fmla="*/ 242125 h 389477"/>
                <a:gd name="connsiteX23" fmla="*/ 311563 w 397859"/>
                <a:gd name="connsiteY23" fmla="*/ 196501 h 389477"/>
                <a:gd name="connsiteX24" fmla="*/ 311563 w 397859"/>
                <a:gd name="connsiteY24" fmla="*/ 195072 h 389477"/>
                <a:gd name="connsiteX25" fmla="*/ 303181 w 397859"/>
                <a:gd name="connsiteY25" fmla="*/ 148400 h 389477"/>
                <a:gd name="connsiteX26" fmla="*/ 279654 w 397859"/>
                <a:gd name="connsiteY26" fmla="*/ 110204 h 389477"/>
                <a:gd name="connsiteX27" fmla="*/ 243840 w 397859"/>
                <a:gd name="connsiteY27" fmla="*/ 84392 h 389477"/>
                <a:gd name="connsiteX28" fmla="*/ 197834 w 397859"/>
                <a:gd name="connsiteY28" fmla="*/ 74867 h 389477"/>
                <a:gd name="connsiteX29" fmla="*/ 151829 w 397859"/>
                <a:gd name="connsiteY29" fmla="*/ 84392 h 389477"/>
                <a:gd name="connsiteX30" fmla="*/ 116396 w 397859"/>
                <a:gd name="connsiteY30" fmla="*/ 109823 h 389477"/>
                <a:gd name="connsiteX31" fmla="*/ 93917 w 397859"/>
                <a:gd name="connsiteY31" fmla="*/ 147638 h 389477"/>
                <a:gd name="connsiteX32" fmla="*/ 86201 w 397859"/>
                <a:gd name="connsiteY32" fmla="*/ 193548 h 389477"/>
                <a:gd name="connsiteX33" fmla="*/ 86201 w 397859"/>
                <a:gd name="connsiteY33" fmla="*/ 194977 h 389477"/>
                <a:gd name="connsiteX34" fmla="*/ 94583 w 397859"/>
                <a:gd name="connsiteY34" fmla="*/ 241268 h 389477"/>
                <a:gd name="connsiteX35" fmla="*/ 118110 w 397859"/>
                <a:gd name="connsiteY35" fmla="*/ 279463 h 389477"/>
                <a:gd name="connsiteX36" fmla="*/ 153924 w 397859"/>
                <a:gd name="connsiteY36" fmla="*/ 305562 h 389477"/>
                <a:gd name="connsiteX37" fmla="*/ 199263 w 397859"/>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859" h="389477">
                  <a:moveTo>
                    <a:pt x="197834" y="389477"/>
                  </a:moveTo>
                  <a:cubicBezTo>
                    <a:pt x="169545" y="389477"/>
                    <a:pt x="143351" y="384429"/>
                    <a:pt x="119063" y="374237"/>
                  </a:cubicBezTo>
                  <a:cubicBezTo>
                    <a:pt x="94774" y="364141"/>
                    <a:pt x="73819" y="350330"/>
                    <a:pt x="56197" y="332899"/>
                  </a:cubicBezTo>
                  <a:cubicBezTo>
                    <a:pt x="38481" y="315468"/>
                    <a:pt x="24765" y="294989"/>
                    <a:pt x="14859" y="271463"/>
                  </a:cubicBezTo>
                  <a:cubicBezTo>
                    <a:pt x="4953" y="247936"/>
                    <a:pt x="0" y="222980"/>
                    <a:pt x="0" y="196501"/>
                  </a:cubicBezTo>
                  <a:lnTo>
                    <a:pt x="0" y="195072"/>
                  </a:lnTo>
                  <a:cubicBezTo>
                    <a:pt x="0" y="168212"/>
                    <a:pt x="5048" y="143066"/>
                    <a:pt x="15145" y="119444"/>
                  </a:cubicBezTo>
                  <a:cubicBezTo>
                    <a:pt x="25241" y="95917"/>
                    <a:pt x="39148" y="75248"/>
                    <a:pt x="56864" y="57626"/>
                  </a:cubicBezTo>
                  <a:cubicBezTo>
                    <a:pt x="74581" y="39910"/>
                    <a:pt x="95536" y="25908"/>
                    <a:pt x="119729" y="15526"/>
                  </a:cubicBezTo>
                  <a:cubicBezTo>
                    <a:pt x="144018" y="5144"/>
                    <a:pt x="170497" y="0"/>
                    <a:pt x="199263" y="0"/>
                  </a:cubicBezTo>
                  <a:cubicBezTo>
                    <a:pt x="228029" y="0"/>
                    <a:pt x="254508" y="5048"/>
                    <a:pt x="278797" y="15240"/>
                  </a:cubicBezTo>
                  <a:cubicBezTo>
                    <a:pt x="303085" y="25337"/>
                    <a:pt x="324041" y="39243"/>
                    <a:pt x="341662" y="56959"/>
                  </a:cubicBezTo>
                  <a:cubicBezTo>
                    <a:pt x="359378" y="74676"/>
                    <a:pt x="373094" y="95155"/>
                    <a:pt x="383000" y="118396"/>
                  </a:cubicBezTo>
                  <a:cubicBezTo>
                    <a:pt x="392906" y="141732"/>
                    <a:pt x="397859" y="166783"/>
                    <a:pt x="397859" y="193643"/>
                  </a:cubicBezTo>
                  <a:lnTo>
                    <a:pt x="397859" y="195072"/>
                  </a:lnTo>
                  <a:cubicBezTo>
                    <a:pt x="397859" y="221456"/>
                    <a:pt x="392811" y="246412"/>
                    <a:pt x="382619" y="270034"/>
                  </a:cubicBezTo>
                  <a:cubicBezTo>
                    <a:pt x="372523" y="293561"/>
                    <a:pt x="358616" y="314230"/>
                    <a:pt x="340900" y="331851"/>
                  </a:cubicBezTo>
                  <a:cubicBezTo>
                    <a:pt x="323183" y="349472"/>
                    <a:pt x="302133" y="363569"/>
                    <a:pt x="277654" y="373856"/>
                  </a:cubicBezTo>
                  <a:cubicBezTo>
                    <a:pt x="253175" y="384238"/>
                    <a:pt x="226504" y="389382"/>
                    <a:pt x="197834" y="389382"/>
                  </a:cubicBezTo>
                  <a:close/>
                  <a:moveTo>
                    <a:pt x="199263" y="315278"/>
                  </a:moveTo>
                  <a:cubicBezTo>
                    <a:pt x="216598" y="315278"/>
                    <a:pt x="232124" y="312039"/>
                    <a:pt x="245935" y="305753"/>
                  </a:cubicBezTo>
                  <a:cubicBezTo>
                    <a:pt x="259747" y="299371"/>
                    <a:pt x="271558" y="290798"/>
                    <a:pt x="281368" y="279940"/>
                  </a:cubicBezTo>
                  <a:cubicBezTo>
                    <a:pt x="291179" y="269081"/>
                    <a:pt x="298704" y="256508"/>
                    <a:pt x="303847" y="242125"/>
                  </a:cubicBezTo>
                  <a:cubicBezTo>
                    <a:pt x="308991" y="227743"/>
                    <a:pt x="311563" y="212598"/>
                    <a:pt x="311563" y="196501"/>
                  </a:cubicBezTo>
                  <a:lnTo>
                    <a:pt x="311563" y="195072"/>
                  </a:lnTo>
                  <a:cubicBezTo>
                    <a:pt x="311563" y="178594"/>
                    <a:pt x="308800" y="163068"/>
                    <a:pt x="303181" y="148400"/>
                  </a:cubicBezTo>
                  <a:cubicBezTo>
                    <a:pt x="297561" y="133826"/>
                    <a:pt x="289750" y="121063"/>
                    <a:pt x="279654" y="110204"/>
                  </a:cubicBezTo>
                  <a:cubicBezTo>
                    <a:pt x="269558" y="99346"/>
                    <a:pt x="257651" y="90773"/>
                    <a:pt x="243840" y="84392"/>
                  </a:cubicBezTo>
                  <a:cubicBezTo>
                    <a:pt x="230029" y="78010"/>
                    <a:pt x="214693" y="74867"/>
                    <a:pt x="197834" y="74867"/>
                  </a:cubicBezTo>
                  <a:cubicBezTo>
                    <a:pt x="180975" y="74867"/>
                    <a:pt x="165640" y="78010"/>
                    <a:pt x="151829" y="84392"/>
                  </a:cubicBezTo>
                  <a:cubicBezTo>
                    <a:pt x="138017" y="90773"/>
                    <a:pt x="126206" y="99250"/>
                    <a:pt x="116396" y="109823"/>
                  </a:cubicBezTo>
                  <a:cubicBezTo>
                    <a:pt x="106585" y="120396"/>
                    <a:pt x="99060" y="133064"/>
                    <a:pt x="93917" y="147638"/>
                  </a:cubicBezTo>
                  <a:cubicBezTo>
                    <a:pt x="88773" y="162211"/>
                    <a:pt x="86201" y="177546"/>
                    <a:pt x="86201" y="193548"/>
                  </a:cubicBezTo>
                  <a:lnTo>
                    <a:pt x="86201" y="194977"/>
                  </a:lnTo>
                  <a:cubicBezTo>
                    <a:pt x="86201" y="211455"/>
                    <a:pt x="88963" y="226886"/>
                    <a:pt x="94583" y="241268"/>
                  </a:cubicBezTo>
                  <a:cubicBezTo>
                    <a:pt x="100203" y="255651"/>
                    <a:pt x="108013" y="268319"/>
                    <a:pt x="118110" y="279463"/>
                  </a:cubicBezTo>
                  <a:cubicBezTo>
                    <a:pt x="128206" y="290513"/>
                    <a:pt x="140113" y="299275"/>
                    <a:pt x="153924" y="305562"/>
                  </a:cubicBezTo>
                  <a:cubicBezTo>
                    <a:pt x="167735" y="311944"/>
                    <a:pt x="182880"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25" name="Freeform: Shape 24">
              <a:extLst>
                <a:ext uri="{FF2B5EF4-FFF2-40B4-BE49-F238E27FC236}">
                  <a16:creationId xmlns:a16="http://schemas.microsoft.com/office/drawing/2014/main" id="{5E3FD802-3E29-BC00-7ED4-B1C3974B44BA}"/>
                </a:ext>
              </a:extLst>
            </p:cNvPr>
            <p:cNvSpPr/>
            <p:nvPr/>
          </p:nvSpPr>
          <p:spPr>
            <a:xfrm>
              <a:off x="5806925"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2 w 296894"/>
                <a:gd name="connsiteY36" fmla="*/ 224980 h 386714"/>
                <a:gd name="connsiteX37" fmla="*/ 296894 w 296894"/>
                <a:gd name="connsiteY37" fmla="*/ 267938 h 386714"/>
                <a:gd name="connsiteX38" fmla="*/ 296894 w 296894"/>
                <a:gd name="connsiteY38" fmla="*/ 269367 h 386714"/>
                <a:gd name="connsiteX39" fmla="*/ 286322 w 296894"/>
                <a:gd name="connsiteY39" fmla="*/ 320897 h 386714"/>
                <a:gd name="connsiteX40" fmla="*/ 256984 w 296894"/>
                <a:gd name="connsiteY40" fmla="*/ 357188 h 386714"/>
                <a:gd name="connsiteX41" fmla="*/ 212789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8" y="298704"/>
                    <a:pt x="100013" y="306514"/>
                  </a:cubicBezTo>
                  <a:cubicBezTo>
                    <a:pt x="120967" y="314325"/>
                    <a:pt x="141161" y="318135"/>
                    <a:pt x="160401" y="318135"/>
                  </a:cubicBezTo>
                  <a:cubicBezTo>
                    <a:pt x="179642" y="318135"/>
                    <a:pt x="192976"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2" y="241078"/>
                    <a:pt x="176498" y="237553"/>
                    <a:pt x="166402" y="234220"/>
                  </a:cubicBezTo>
                  <a:cubicBezTo>
                    <a:pt x="156305" y="230886"/>
                    <a:pt x="145733" y="227647"/>
                    <a:pt x="134969" y="224314"/>
                  </a:cubicBezTo>
                  <a:cubicBezTo>
                    <a:pt x="121253" y="220599"/>
                    <a:pt x="107537" y="216122"/>
                    <a:pt x="93631" y="210884"/>
                  </a:cubicBezTo>
                  <a:cubicBezTo>
                    <a:pt x="79724" y="205740"/>
                    <a:pt x="67246" y="198977"/>
                    <a:pt x="56197" y="190786"/>
                  </a:cubicBezTo>
                  <a:cubicBezTo>
                    <a:pt x="45149" y="182594"/>
                    <a:pt x="36100" y="172307"/>
                    <a:pt x="28956" y="160115"/>
                  </a:cubicBezTo>
                  <a:cubicBezTo>
                    <a:pt x="21908"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5"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7" y="156210"/>
                    <a:pt x="180975" y="159448"/>
                  </a:cubicBezTo>
                  <a:cubicBezTo>
                    <a:pt x="194596" y="163639"/>
                    <a:pt x="208312" y="168592"/>
                    <a:pt x="222028" y="174212"/>
                  </a:cubicBezTo>
                  <a:cubicBezTo>
                    <a:pt x="235649" y="179832"/>
                    <a:pt x="248031" y="186785"/>
                    <a:pt x="259080" y="194977"/>
                  </a:cubicBezTo>
                  <a:cubicBezTo>
                    <a:pt x="270129" y="203168"/>
                    <a:pt x="279273" y="213169"/>
                    <a:pt x="286322" y="224980"/>
                  </a:cubicBezTo>
                  <a:cubicBezTo>
                    <a:pt x="293370" y="236696"/>
                    <a:pt x="296894" y="251079"/>
                    <a:pt x="296894" y="267938"/>
                  </a:cubicBezTo>
                  <a:lnTo>
                    <a:pt x="296894" y="269367"/>
                  </a:lnTo>
                  <a:cubicBezTo>
                    <a:pt x="296894" y="289084"/>
                    <a:pt x="293370" y="306229"/>
                    <a:pt x="286322" y="320897"/>
                  </a:cubicBezTo>
                  <a:cubicBezTo>
                    <a:pt x="279273" y="335470"/>
                    <a:pt x="269462" y="347567"/>
                    <a:pt x="256984" y="357188"/>
                  </a:cubicBezTo>
                  <a:cubicBezTo>
                    <a:pt x="244507" y="366808"/>
                    <a:pt x="229743" y="374142"/>
                    <a:pt x="212789"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6" name="Freeform: Shape 25">
              <a:extLst>
                <a:ext uri="{FF2B5EF4-FFF2-40B4-BE49-F238E27FC236}">
                  <a16:creationId xmlns:a16="http://schemas.microsoft.com/office/drawing/2014/main" id="{F8FC281B-7F58-C237-E029-CEC317E2E6A0}"/>
                </a:ext>
              </a:extLst>
            </p:cNvPr>
            <p:cNvSpPr/>
            <p:nvPr/>
          </p:nvSpPr>
          <p:spPr>
            <a:xfrm>
              <a:off x="589573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6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160" y="318135"/>
                    <a:pt x="160401" y="318135"/>
                  </a:cubicBezTo>
                  <a:cubicBezTo>
                    <a:pt x="179641" y="318135"/>
                    <a:pt x="192976"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4"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792"/>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7" name="Freeform: Shape 26">
              <a:extLst>
                <a:ext uri="{FF2B5EF4-FFF2-40B4-BE49-F238E27FC236}">
                  <a16:creationId xmlns:a16="http://schemas.microsoft.com/office/drawing/2014/main" id="{92E2F68F-12E1-D206-8686-483B206259B7}"/>
                </a:ext>
              </a:extLst>
            </p:cNvPr>
            <p:cNvSpPr/>
            <p:nvPr/>
          </p:nvSpPr>
          <p:spPr>
            <a:xfrm>
              <a:off x="5985812" y="700558"/>
              <a:ext cx="85097" cy="97141"/>
            </a:xfrm>
            <a:custGeom>
              <a:avLst/>
              <a:gdLst>
                <a:gd name="connsiteX0" fmla="*/ 253651 w 338518"/>
                <a:gd name="connsiteY0" fmla="*/ 378619 h 386429"/>
                <a:gd name="connsiteX1" fmla="*/ 253651 w 338518"/>
                <a:gd name="connsiteY1" fmla="*/ 332708 h 386429"/>
                <a:gd name="connsiteX2" fmla="*/ 204883 w 338518"/>
                <a:gd name="connsiteY2" fmla="*/ 370904 h 386429"/>
                <a:gd name="connsiteX3" fmla="*/ 132779 w 338518"/>
                <a:gd name="connsiteY3" fmla="*/ 386429 h 386429"/>
                <a:gd name="connsiteX4" fmla="*/ 81915 w 338518"/>
                <a:gd name="connsiteY4" fmla="*/ 379000 h 386429"/>
                <a:gd name="connsiteX5" fmla="*/ 39910 w 338518"/>
                <a:gd name="connsiteY5" fmla="*/ 357092 h 386429"/>
                <a:gd name="connsiteX6" fmla="*/ 10954 w 338518"/>
                <a:gd name="connsiteY6" fmla="*/ 321088 h 386429"/>
                <a:gd name="connsiteX7" fmla="*/ 0 w 338518"/>
                <a:gd name="connsiteY7" fmla="*/ 271272 h 386429"/>
                <a:gd name="connsiteX8" fmla="*/ 0 w 338518"/>
                <a:gd name="connsiteY8" fmla="*/ 269843 h 386429"/>
                <a:gd name="connsiteX9" fmla="*/ 11335 w 338518"/>
                <a:gd name="connsiteY9" fmla="*/ 215741 h 386429"/>
                <a:gd name="connsiteX10" fmla="*/ 42767 w 338518"/>
                <a:gd name="connsiteY10" fmla="*/ 177546 h 386429"/>
                <a:gd name="connsiteX11" fmla="*/ 90773 w 338518"/>
                <a:gd name="connsiteY11" fmla="*/ 154972 h 386429"/>
                <a:gd name="connsiteX12" fmla="*/ 151162 w 338518"/>
                <a:gd name="connsiteY12" fmla="*/ 147542 h 386429"/>
                <a:gd name="connsiteX13" fmla="*/ 208788 w 338518"/>
                <a:gd name="connsiteY13" fmla="*/ 151829 h 386429"/>
                <a:gd name="connsiteX14" fmla="*/ 254413 w 338518"/>
                <a:gd name="connsiteY14" fmla="*/ 163163 h 386429"/>
                <a:gd name="connsiteX15" fmla="*/ 254413 w 338518"/>
                <a:gd name="connsiteY15" fmla="*/ 156115 h 386429"/>
                <a:gd name="connsiteX16" fmla="*/ 230696 w 338518"/>
                <a:gd name="connsiteY16" fmla="*/ 96774 h 386429"/>
                <a:gd name="connsiteX17" fmla="*/ 162496 w 338518"/>
                <a:gd name="connsiteY17" fmla="*/ 76295 h 386429"/>
                <a:gd name="connsiteX18" fmla="*/ 106013 w 338518"/>
                <a:gd name="connsiteY18" fmla="*/ 82677 h 386429"/>
                <a:gd name="connsiteX19" fmla="*/ 55816 w 338518"/>
                <a:gd name="connsiteY19" fmla="*/ 99632 h 386429"/>
                <a:gd name="connsiteX20" fmla="*/ 32480 w 338518"/>
                <a:gd name="connsiteY20" fmla="*/ 31052 h 386429"/>
                <a:gd name="connsiteX21" fmla="*/ 96107 w 338518"/>
                <a:gd name="connsiteY21" fmla="*/ 8477 h 386429"/>
                <a:gd name="connsiteX22" fmla="*/ 174593 w 338518"/>
                <a:gd name="connsiteY22" fmla="*/ 0 h 386429"/>
                <a:gd name="connsiteX23" fmla="*/ 298228 w 338518"/>
                <a:gd name="connsiteY23" fmla="*/ 41338 h 386429"/>
                <a:gd name="connsiteX24" fmla="*/ 338519 w 338518"/>
                <a:gd name="connsiteY24" fmla="*/ 157544 h 386429"/>
                <a:gd name="connsiteX25" fmla="*/ 338519 w 338518"/>
                <a:gd name="connsiteY25" fmla="*/ 378714 h 386429"/>
                <a:gd name="connsiteX26" fmla="*/ 253746 w 338518"/>
                <a:gd name="connsiteY26" fmla="*/ 378714 h 386429"/>
                <a:gd name="connsiteX27" fmla="*/ 255746 w 338518"/>
                <a:gd name="connsiteY27" fmla="*/ 222409 h 386429"/>
                <a:gd name="connsiteX28" fmla="*/ 217265 w 338518"/>
                <a:gd name="connsiteY28" fmla="*/ 211836 h 386429"/>
                <a:gd name="connsiteX29" fmla="*/ 170307 w 338518"/>
                <a:gd name="connsiteY29" fmla="*/ 207550 h 386429"/>
                <a:gd name="connsiteX30" fmla="*/ 107442 w 338518"/>
                <a:gd name="connsiteY30" fmla="*/ 223075 h 386429"/>
                <a:gd name="connsiteX31" fmla="*/ 84868 w 338518"/>
                <a:gd name="connsiteY31" fmla="*/ 265462 h 386429"/>
                <a:gd name="connsiteX32" fmla="*/ 84868 w 338518"/>
                <a:gd name="connsiteY32" fmla="*/ 266891 h 386429"/>
                <a:gd name="connsiteX33" fmla="*/ 105728 w 338518"/>
                <a:gd name="connsiteY33" fmla="*/ 307848 h 386429"/>
                <a:gd name="connsiteX34" fmla="*/ 156972 w 338518"/>
                <a:gd name="connsiteY34" fmla="*/ 321945 h 386429"/>
                <a:gd name="connsiteX35" fmla="*/ 196215 w 338518"/>
                <a:gd name="connsiteY35" fmla="*/ 316325 h 386429"/>
                <a:gd name="connsiteX36" fmla="*/ 227647 w 338518"/>
                <a:gd name="connsiteY36" fmla="*/ 300419 h 386429"/>
                <a:gd name="connsiteX37" fmla="*/ 248507 w 338518"/>
                <a:gd name="connsiteY37" fmla="*/ 275654 h 386429"/>
                <a:gd name="connsiteX38" fmla="*/ 255937 w 338518"/>
                <a:gd name="connsiteY38" fmla="*/ 243459 h 386429"/>
                <a:gd name="connsiteX39" fmla="*/ 255937 w 338518"/>
                <a:gd name="connsiteY39" fmla="*/ 222218 h 3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8518" h="386429">
                  <a:moveTo>
                    <a:pt x="253651" y="378619"/>
                  </a:moveTo>
                  <a:lnTo>
                    <a:pt x="253651" y="332708"/>
                  </a:lnTo>
                  <a:cubicBezTo>
                    <a:pt x="240887" y="347758"/>
                    <a:pt x="224695" y="360521"/>
                    <a:pt x="204883" y="370904"/>
                  </a:cubicBezTo>
                  <a:cubicBezTo>
                    <a:pt x="185071" y="381286"/>
                    <a:pt x="161068" y="386429"/>
                    <a:pt x="132779" y="386429"/>
                  </a:cubicBezTo>
                  <a:cubicBezTo>
                    <a:pt x="114871" y="386429"/>
                    <a:pt x="97917" y="383953"/>
                    <a:pt x="81915" y="379000"/>
                  </a:cubicBezTo>
                  <a:cubicBezTo>
                    <a:pt x="65913" y="374047"/>
                    <a:pt x="51911" y="366713"/>
                    <a:pt x="39910" y="357092"/>
                  </a:cubicBezTo>
                  <a:cubicBezTo>
                    <a:pt x="27908" y="347472"/>
                    <a:pt x="18193" y="335471"/>
                    <a:pt x="10954" y="321088"/>
                  </a:cubicBezTo>
                  <a:cubicBezTo>
                    <a:pt x="3620" y="306705"/>
                    <a:pt x="0" y="290132"/>
                    <a:pt x="0" y="271272"/>
                  </a:cubicBezTo>
                  <a:lnTo>
                    <a:pt x="0" y="269843"/>
                  </a:lnTo>
                  <a:cubicBezTo>
                    <a:pt x="0" y="249079"/>
                    <a:pt x="3810" y="231077"/>
                    <a:pt x="11335" y="215741"/>
                  </a:cubicBezTo>
                  <a:cubicBezTo>
                    <a:pt x="18859" y="200406"/>
                    <a:pt x="29337" y="187738"/>
                    <a:pt x="42767" y="177546"/>
                  </a:cubicBezTo>
                  <a:cubicBezTo>
                    <a:pt x="56197" y="167450"/>
                    <a:pt x="72199" y="159925"/>
                    <a:pt x="90773" y="154972"/>
                  </a:cubicBezTo>
                  <a:cubicBezTo>
                    <a:pt x="109347" y="150019"/>
                    <a:pt x="129540" y="147542"/>
                    <a:pt x="151162" y="147542"/>
                  </a:cubicBezTo>
                  <a:cubicBezTo>
                    <a:pt x="172783" y="147542"/>
                    <a:pt x="192976" y="148971"/>
                    <a:pt x="208788" y="151829"/>
                  </a:cubicBezTo>
                  <a:cubicBezTo>
                    <a:pt x="224599" y="154686"/>
                    <a:pt x="239744" y="158401"/>
                    <a:pt x="254413" y="163163"/>
                  </a:cubicBezTo>
                  <a:lnTo>
                    <a:pt x="254413" y="156115"/>
                  </a:lnTo>
                  <a:cubicBezTo>
                    <a:pt x="254413" y="130207"/>
                    <a:pt x="246507" y="110395"/>
                    <a:pt x="230696" y="96774"/>
                  </a:cubicBezTo>
                  <a:cubicBezTo>
                    <a:pt x="214884" y="83153"/>
                    <a:pt x="192214" y="76295"/>
                    <a:pt x="162496" y="76295"/>
                  </a:cubicBezTo>
                  <a:cubicBezTo>
                    <a:pt x="141351" y="76295"/>
                    <a:pt x="122491" y="78391"/>
                    <a:pt x="106013" y="82677"/>
                  </a:cubicBezTo>
                  <a:cubicBezTo>
                    <a:pt x="89535" y="86963"/>
                    <a:pt x="72771" y="92583"/>
                    <a:pt x="55816" y="99632"/>
                  </a:cubicBezTo>
                  <a:lnTo>
                    <a:pt x="32480" y="31052"/>
                  </a:lnTo>
                  <a:cubicBezTo>
                    <a:pt x="53149" y="21622"/>
                    <a:pt x="74390" y="14097"/>
                    <a:pt x="96107" y="8477"/>
                  </a:cubicBezTo>
                  <a:cubicBezTo>
                    <a:pt x="117729" y="2858"/>
                    <a:pt x="143923" y="0"/>
                    <a:pt x="174593" y="0"/>
                  </a:cubicBezTo>
                  <a:cubicBezTo>
                    <a:pt x="230124" y="0"/>
                    <a:pt x="271367" y="13811"/>
                    <a:pt x="298228" y="41338"/>
                  </a:cubicBezTo>
                  <a:cubicBezTo>
                    <a:pt x="325088" y="68866"/>
                    <a:pt x="338519" y="107633"/>
                    <a:pt x="338519" y="157544"/>
                  </a:cubicBezTo>
                  <a:lnTo>
                    <a:pt x="338519" y="378714"/>
                  </a:lnTo>
                  <a:lnTo>
                    <a:pt x="253746" y="378714"/>
                  </a:lnTo>
                  <a:close/>
                  <a:moveTo>
                    <a:pt x="255746" y="222409"/>
                  </a:moveTo>
                  <a:cubicBezTo>
                    <a:pt x="244888" y="218123"/>
                    <a:pt x="232029" y="214598"/>
                    <a:pt x="217265" y="211836"/>
                  </a:cubicBezTo>
                  <a:cubicBezTo>
                    <a:pt x="202406" y="208979"/>
                    <a:pt x="186785" y="207550"/>
                    <a:pt x="170307" y="207550"/>
                  </a:cubicBezTo>
                  <a:cubicBezTo>
                    <a:pt x="143446" y="207550"/>
                    <a:pt x="122491" y="212693"/>
                    <a:pt x="107442" y="223075"/>
                  </a:cubicBezTo>
                  <a:cubicBezTo>
                    <a:pt x="92392" y="233458"/>
                    <a:pt x="84868" y="247555"/>
                    <a:pt x="84868" y="265462"/>
                  </a:cubicBezTo>
                  <a:lnTo>
                    <a:pt x="84868" y="266891"/>
                  </a:lnTo>
                  <a:cubicBezTo>
                    <a:pt x="84868" y="284798"/>
                    <a:pt x="91821" y="298418"/>
                    <a:pt x="105728" y="307848"/>
                  </a:cubicBezTo>
                  <a:cubicBezTo>
                    <a:pt x="119634" y="317278"/>
                    <a:pt x="136684" y="321945"/>
                    <a:pt x="156972" y="321945"/>
                  </a:cubicBezTo>
                  <a:cubicBezTo>
                    <a:pt x="171069" y="321945"/>
                    <a:pt x="184213" y="320040"/>
                    <a:pt x="196215" y="316325"/>
                  </a:cubicBezTo>
                  <a:cubicBezTo>
                    <a:pt x="208216" y="312515"/>
                    <a:pt x="218694" y="307277"/>
                    <a:pt x="227647" y="300419"/>
                  </a:cubicBezTo>
                  <a:cubicBezTo>
                    <a:pt x="236601" y="293561"/>
                    <a:pt x="243554" y="285369"/>
                    <a:pt x="248507" y="275654"/>
                  </a:cubicBezTo>
                  <a:cubicBezTo>
                    <a:pt x="253460" y="266033"/>
                    <a:pt x="255937" y="255270"/>
                    <a:pt x="255937" y="243459"/>
                  </a:cubicBezTo>
                  <a:lnTo>
                    <a:pt x="255937" y="222218"/>
                  </a:lnTo>
                  <a:close/>
                </a:path>
              </a:pathLst>
            </a:custGeom>
            <a:solidFill>
              <a:srgbClr val="44505E"/>
            </a:solidFill>
            <a:ln w="9525" cap="flat">
              <a:noFill/>
              <a:prstDash val="solid"/>
              <a:miter/>
            </a:ln>
          </p:spPr>
          <p:txBody>
            <a:bodyPr rtlCol="0" anchor="ctr"/>
            <a:lstStyle/>
            <a:p>
              <a:endParaRPr lang="pt-BR" noProof="0"/>
            </a:p>
          </p:txBody>
        </p:sp>
        <p:sp>
          <p:nvSpPr>
            <p:cNvPr id="28" name="Freeform: Shape 27">
              <a:extLst>
                <a:ext uri="{FF2B5EF4-FFF2-40B4-BE49-F238E27FC236}">
                  <a16:creationId xmlns:a16="http://schemas.microsoft.com/office/drawing/2014/main" id="{AC483B2B-4AF1-74E7-FC28-73B109A20C47}"/>
                </a:ext>
              </a:extLst>
            </p:cNvPr>
            <p:cNvSpPr/>
            <p:nvPr/>
          </p:nvSpPr>
          <p:spPr>
            <a:xfrm>
              <a:off x="6088843" y="700318"/>
              <a:ext cx="74610" cy="97213"/>
            </a:xfrm>
            <a:custGeom>
              <a:avLst/>
              <a:gdLst>
                <a:gd name="connsiteX0" fmla="*/ 158305 w 296799"/>
                <a:gd name="connsiteY0" fmla="*/ 386715 h 386714"/>
                <a:gd name="connsiteX1" fmla="*/ 76676 w 296799"/>
                <a:gd name="connsiteY1" fmla="*/ 372427 h 386714"/>
                <a:gd name="connsiteX2" fmla="*/ 0 w 296799"/>
                <a:gd name="connsiteY2" fmla="*/ 330327 h 386714"/>
                <a:gd name="connsiteX3" fmla="*/ 38195 w 296799"/>
                <a:gd name="connsiteY3" fmla="*/ 272224 h 386714"/>
                <a:gd name="connsiteX4" fmla="*/ 100013 w 296799"/>
                <a:gd name="connsiteY4" fmla="*/ 306514 h 386714"/>
                <a:gd name="connsiteX5" fmla="*/ 160401 w 296799"/>
                <a:gd name="connsiteY5" fmla="*/ 318135 h 386714"/>
                <a:gd name="connsiteX6" fmla="*/ 203168 w 296799"/>
                <a:gd name="connsiteY6" fmla="*/ 307181 h 386714"/>
                <a:gd name="connsiteX7" fmla="*/ 218408 w 296799"/>
                <a:gd name="connsiteY7" fmla="*/ 277939 h 386714"/>
                <a:gd name="connsiteX8" fmla="*/ 218408 w 296799"/>
                <a:gd name="connsiteY8" fmla="*/ 276511 h 386714"/>
                <a:gd name="connsiteX9" fmla="*/ 211646 w 296799"/>
                <a:gd name="connsiteY9" fmla="*/ 258223 h 386714"/>
                <a:gd name="connsiteX10" fmla="*/ 193262 w 296799"/>
                <a:gd name="connsiteY10" fmla="*/ 244792 h 386714"/>
                <a:gd name="connsiteX11" fmla="*/ 166402 w 296799"/>
                <a:gd name="connsiteY11" fmla="*/ 234220 h 386714"/>
                <a:gd name="connsiteX12" fmla="*/ 134969 w 296799"/>
                <a:gd name="connsiteY12" fmla="*/ 224314 h 386714"/>
                <a:gd name="connsiteX13" fmla="*/ 93631 w 296799"/>
                <a:gd name="connsiteY13" fmla="*/ 210884 h 386714"/>
                <a:gd name="connsiteX14" fmla="*/ 56197 w 296799"/>
                <a:gd name="connsiteY14" fmla="*/ 190786 h 386714"/>
                <a:gd name="connsiteX15" fmla="*/ 28956 w 296799"/>
                <a:gd name="connsiteY15" fmla="*/ 160115 h 386714"/>
                <a:gd name="connsiteX16" fmla="*/ 18383 w 296799"/>
                <a:gd name="connsiteY16" fmla="*/ 114967 h 386714"/>
                <a:gd name="connsiteX17" fmla="*/ 18383 w 296799"/>
                <a:gd name="connsiteY17" fmla="*/ 113538 h 386714"/>
                <a:gd name="connsiteX18" fmla="*/ 28575 w 296799"/>
                <a:gd name="connsiteY18" fmla="*/ 66294 h 386714"/>
                <a:gd name="connsiteX19" fmla="*/ 56864 w 296799"/>
                <a:gd name="connsiteY19" fmla="*/ 30385 h 386714"/>
                <a:gd name="connsiteX20" fmla="*/ 99250 w 296799"/>
                <a:gd name="connsiteY20" fmla="*/ 7810 h 386714"/>
                <a:gd name="connsiteX21" fmla="*/ 151162 w 296799"/>
                <a:gd name="connsiteY21" fmla="*/ 0 h 386714"/>
                <a:gd name="connsiteX22" fmla="*/ 222504 w 296799"/>
                <a:gd name="connsiteY22" fmla="*/ 11430 h 386714"/>
                <a:gd name="connsiteX23" fmla="*/ 288227 w 296799"/>
                <a:gd name="connsiteY23" fmla="*/ 42863 h 386714"/>
                <a:gd name="connsiteX24" fmla="*/ 254317 w 296799"/>
                <a:gd name="connsiteY24" fmla="*/ 103918 h 386714"/>
                <a:gd name="connsiteX25" fmla="*/ 199930 w 296799"/>
                <a:gd name="connsiteY25" fmla="*/ 78105 h 386714"/>
                <a:gd name="connsiteX26" fmla="*/ 149066 w 296799"/>
                <a:gd name="connsiteY26" fmla="*/ 68580 h 386714"/>
                <a:gd name="connsiteX27" fmla="*/ 110585 w 296799"/>
                <a:gd name="connsiteY27" fmla="*/ 79153 h 386714"/>
                <a:gd name="connsiteX28" fmla="*/ 96774 w 296799"/>
                <a:gd name="connsiteY28" fmla="*/ 105918 h 386714"/>
                <a:gd name="connsiteX29" fmla="*/ 96774 w 296799"/>
                <a:gd name="connsiteY29" fmla="*/ 107347 h 386714"/>
                <a:gd name="connsiteX30" fmla="*/ 103822 w 296799"/>
                <a:gd name="connsiteY30" fmla="*/ 124587 h 386714"/>
                <a:gd name="connsiteX31" fmla="*/ 122587 w 296799"/>
                <a:gd name="connsiteY31" fmla="*/ 138017 h 386714"/>
                <a:gd name="connsiteX32" fmla="*/ 149447 w 296799"/>
                <a:gd name="connsiteY32" fmla="*/ 149257 h 386714"/>
                <a:gd name="connsiteX33" fmla="*/ 180880 w 296799"/>
                <a:gd name="connsiteY33" fmla="*/ 159448 h 386714"/>
                <a:gd name="connsiteX34" fmla="*/ 221837 w 296799"/>
                <a:gd name="connsiteY34" fmla="*/ 174212 h 386714"/>
                <a:gd name="connsiteX35" fmla="*/ 258985 w 296799"/>
                <a:gd name="connsiteY35" fmla="*/ 194977 h 386714"/>
                <a:gd name="connsiteX36" fmla="*/ 286226 w 296799"/>
                <a:gd name="connsiteY36" fmla="*/ 224980 h 386714"/>
                <a:gd name="connsiteX37" fmla="*/ 296799 w 296799"/>
                <a:gd name="connsiteY37" fmla="*/ 267938 h 386714"/>
                <a:gd name="connsiteX38" fmla="*/ 296799 w 296799"/>
                <a:gd name="connsiteY38" fmla="*/ 269367 h 386714"/>
                <a:gd name="connsiteX39" fmla="*/ 286226 w 296799"/>
                <a:gd name="connsiteY39" fmla="*/ 320897 h 386714"/>
                <a:gd name="connsiteX40" fmla="*/ 256889 w 296799"/>
                <a:gd name="connsiteY40" fmla="*/ 357188 h 386714"/>
                <a:gd name="connsiteX41" fmla="*/ 212693 w 296799"/>
                <a:gd name="connsiteY41" fmla="*/ 379095 h 386714"/>
                <a:gd name="connsiteX42" fmla="*/ 158305 w 296799"/>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799"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065" y="318135"/>
                    <a:pt x="160401" y="318135"/>
                  </a:cubicBezTo>
                  <a:cubicBezTo>
                    <a:pt x="179737" y="318135"/>
                    <a:pt x="193072"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828" y="227647"/>
                    <a:pt x="134969" y="224314"/>
                  </a:cubicBezTo>
                  <a:cubicBezTo>
                    <a:pt x="121348" y="220599"/>
                    <a:pt x="107537" y="216122"/>
                    <a:pt x="93631" y="210884"/>
                  </a:cubicBezTo>
                  <a:cubicBezTo>
                    <a:pt x="79724" y="205740"/>
                    <a:pt x="67246" y="198977"/>
                    <a:pt x="56197" y="190786"/>
                  </a:cubicBezTo>
                  <a:cubicBezTo>
                    <a:pt x="45148" y="182594"/>
                    <a:pt x="36004"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874" y="0"/>
                    <a:pt x="151162" y="0"/>
                  </a:cubicBezTo>
                  <a:cubicBezTo>
                    <a:pt x="174688" y="0"/>
                    <a:pt x="198501" y="3810"/>
                    <a:pt x="222504" y="11430"/>
                  </a:cubicBezTo>
                  <a:cubicBezTo>
                    <a:pt x="246507" y="19050"/>
                    <a:pt x="268414" y="29527"/>
                    <a:pt x="288227" y="42863"/>
                  </a:cubicBezTo>
                  <a:lnTo>
                    <a:pt x="254317"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774" y="95155"/>
                    <a:pt x="96774" y="105918"/>
                  </a:cubicBezTo>
                  <a:lnTo>
                    <a:pt x="96774" y="107347"/>
                  </a:lnTo>
                  <a:cubicBezTo>
                    <a:pt x="96774" y="113919"/>
                    <a:pt x="99155" y="119634"/>
                    <a:pt x="103822" y="124587"/>
                  </a:cubicBezTo>
                  <a:cubicBezTo>
                    <a:pt x="108490" y="129540"/>
                    <a:pt x="114776" y="134017"/>
                    <a:pt x="122587" y="138017"/>
                  </a:cubicBezTo>
                  <a:cubicBezTo>
                    <a:pt x="130397" y="142018"/>
                    <a:pt x="139351" y="145732"/>
                    <a:pt x="149447" y="149257"/>
                  </a:cubicBezTo>
                  <a:cubicBezTo>
                    <a:pt x="159544" y="152781"/>
                    <a:pt x="170021" y="156210"/>
                    <a:pt x="180880" y="159448"/>
                  </a:cubicBezTo>
                  <a:cubicBezTo>
                    <a:pt x="194500" y="163639"/>
                    <a:pt x="208216" y="168592"/>
                    <a:pt x="221837" y="174212"/>
                  </a:cubicBezTo>
                  <a:cubicBezTo>
                    <a:pt x="235458" y="179832"/>
                    <a:pt x="247840" y="186785"/>
                    <a:pt x="258985" y="194977"/>
                  </a:cubicBezTo>
                  <a:cubicBezTo>
                    <a:pt x="270034" y="203168"/>
                    <a:pt x="279178" y="213169"/>
                    <a:pt x="286226" y="224980"/>
                  </a:cubicBezTo>
                  <a:cubicBezTo>
                    <a:pt x="293275" y="236696"/>
                    <a:pt x="296799" y="251079"/>
                    <a:pt x="296799" y="267938"/>
                  </a:cubicBezTo>
                  <a:lnTo>
                    <a:pt x="296799" y="269367"/>
                  </a:lnTo>
                  <a:cubicBezTo>
                    <a:pt x="296799" y="289084"/>
                    <a:pt x="293275" y="306229"/>
                    <a:pt x="286226" y="320897"/>
                  </a:cubicBezTo>
                  <a:cubicBezTo>
                    <a:pt x="279178" y="335470"/>
                    <a:pt x="269367" y="347567"/>
                    <a:pt x="256889" y="357188"/>
                  </a:cubicBezTo>
                  <a:cubicBezTo>
                    <a:pt x="244412" y="366808"/>
                    <a:pt x="229648" y="374142"/>
                    <a:pt x="212693" y="379095"/>
                  </a:cubicBezTo>
                  <a:cubicBezTo>
                    <a:pt x="195739" y="384048"/>
                    <a:pt x="177641" y="386524"/>
                    <a:pt x="158305" y="386524"/>
                  </a:cubicBezTo>
                  <a:close/>
                </a:path>
              </a:pathLst>
            </a:custGeom>
            <a:solidFill>
              <a:srgbClr val="44505E"/>
            </a:solidFill>
            <a:ln w="9525" cap="flat">
              <a:noFill/>
              <a:prstDash val="solid"/>
              <a:miter/>
            </a:ln>
          </p:spPr>
          <p:txBody>
            <a:bodyPr rtlCol="0" anchor="ctr"/>
            <a:lstStyle/>
            <a:p>
              <a:endParaRPr lang="pt-BR" noProof="0"/>
            </a:p>
          </p:txBody>
        </p:sp>
        <p:sp>
          <p:nvSpPr>
            <p:cNvPr id="29" name="Freeform: Shape 28">
              <a:extLst>
                <a:ext uri="{FF2B5EF4-FFF2-40B4-BE49-F238E27FC236}">
                  <a16:creationId xmlns:a16="http://schemas.microsoft.com/office/drawing/2014/main" id="{AF398E3B-2B09-EAF2-F856-CA1D246B3A3B}"/>
                </a:ext>
              </a:extLst>
            </p:cNvPr>
            <p:cNvSpPr/>
            <p:nvPr/>
          </p:nvSpPr>
          <p:spPr>
            <a:xfrm>
              <a:off x="6238590"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4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7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2 w 568166"/>
                <a:gd name="connsiteY21" fmla="*/ 381000 h 381000"/>
                <a:gd name="connsiteX22" fmla="*/ 240982 w 568166"/>
                <a:gd name="connsiteY22" fmla="*/ 168783 h 381000"/>
                <a:gd name="connsiteX23" fmla="*/ 221266 w 568166"/>
                <a:gd name="connsiteY23" fmla="*/ 101822 h 381000"/>
                <a:gd name="connsiteX24" fmla="*/ 165640 w 568166"/>
                <a:gd name="connsiteY24" fmla="*/ 78581 h 381000"/>
                <a:gd name="connsiteX25" fmla="*/ 108013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69" y="48196"/>
                    <a:pt x="105918" y="40576"/>
                  </a:cubicBezTo>
                  <a:cubicBezTo>
                    <a:pt x="112966" y="32956"/>
                    <a:pt x="121063" y="26099"/>
                    <a:pt x="130207" y="19907"/>
                  </a:cubicBezTo>
                  <a:cubicBezTo>
                    <a:pt x="139351" y="13716"/>
                    <a:pt x="149638" y="8858"/>
                    <a:pt x="161163" y="5334"/>
                  </a:cubicBezTo>
                  <a:cubicBezTo>
                    <a:pt x="172688" y="1714"/>
                    <a:pt x="185452" y="0"/>
                    <a:pt x="199549" y="0"/>
                  </a:cubicBezTo>
                  <a:cubicBezTo>
                    <a:pt x="226314" y="0"/>
                    <a:pt x="248983" y="6096"/>
                    <a:pt x="267557" y="18193"/>
                  </a:cubicBezTo>
                  <a:cubicBezTo>
                    <a:pt x="286131" y="30289"/>
                    <a:pt x="300323" y="46387"/>
                    <a:pt x="310134" y="66294"/>
                  </a:cubicBezTo>
                  <a:cubicBezTo>
                    <a:pt x="325279" y="46387"/>
                    <a:pt x="343090" y="30289"/>
                    <a:pt x="363664" y="18193"/>
                  </a:cubicBezTo>
                  <a:cubicBezTo>
                    <a:pt x="384238" y="6096"/>
                    <a:pt x="408718" y="0"/>
                    <a:pt x="437007" y="0"/>
                  </a:cubicBezTo>
                  <a:cubicBezTo>
                    <a:pt x="478155"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7" y="78486"/>
                  </a:cubicBezTo>
                  <a:cubicBezTo>
                    <a:pt x="382809" y="78486"/>
                    <a:pt x="364141" y="86392"/>
                    <a:pt x="349377" y="102108"/>
                  </a:cubicBezTo>
                  <a:cubicBezTo>
                    <a:pt x="334613" y="117824"/>
                    <a:pt x="327184" y="140779"/>
                    <a:pt x="327184" y="170879"/>
                  </a:cubicBezTo>
                  <a:lnTo>
                    <a:pt x="327184" y="381000"/>
                  </a:lnTo>
                  <a:lnTo>
                    <a:pt x="240982" y="381000"/>
                  </a:lnTo>
                  <a:lnTo>
                    <a:pt x="240982" y="168783"/>
                  </a:lnTo>
                  <a:cubicBezTo>
                    <a:pt x="240982" y="139637"/>
                    <a:pt x="234410" y="117348"/>
                    <a:pt x="221266" y="101822"/>
                  </a:cubicBezTo>
                  <a:cubicBezTo>
                    <a:pt x="208121" y="86296"/>
                    <a:pt x="189547" y="78581"/>
                    <a:pt x="165640" y="78581"/>
                  </a:cubicBezTo>
                  <a:cubicBezTo>
                    <a:pt x="141732" y="78581"/>
                    <a:pt x="122491" y="86773"/>
                    <a:pt x="108013"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30" name="Freeform: Shape 29">
              <a:extLst>
                <a:ext uri="{FF2B5EF4-FFF2-40B4-BE49-F238E27FC236}">
                  <a16:creationId xmlns:a16="http://schemas.microsoft.com/office/drawing/2014/main" id="{C87C7725-C8EE-9A04-A5FD-6BA031BE7251}"/>
                </a:ext>
              </a:extLst>
            </p:cNvPr>
            <p:cNvSpPr/>
            <p:nvPr/>
          </p:nvSpPr>
          <p:spPr>
            <a:xfrm>
              <a:off x="6400979" y="664258"/>
              <a:ext cx="85097" cy="133441"/>
            </a:xfrm>
            <a:custGeom>
              <a:avLst/>
              <a:gdLst>
                <a:gd name="connsiteX0" fmla="*/ 253651 w 338518"/>
                <a:gd name="connsiteY0" fmla="*/ 523018 h 530828"/>
                <a:gd name="connsiteX1" fmla="*/ 253651 w 338518"/>
                <a:gd name="connsiteY1" fmla="*/ 477107 h 530828"/>
                <a:gd name="connsiteX2" fmla="*/ 204883 w 338518"/>
                <a:gd name="connsiteY2" fmla="*/ 515303 h 530828"/>
                <a:gd name="connsiteX3" fmla="*/ 132779 w 338518"/>
                <a:gd name="connsiteY3" fmla="*/ 530828 h 530828"/>
                <a:gd name="connsiteX4" fmla="*/ 81915 w 338518"/>
                <a:gd name="connsiteY4" fmla="*/ 523399 h 530828"/>
                <a:gd name="connsiteX5" fmla="*/ 39910 w 338518"/>
                <a:gd name="connsiteY5" fmla="*/ 501491 h 530828"/>
                <a:gd name="connsiteX6" fmla="*/ 10954 w 338518"/>
                <a:gd name="connsiteY6" fmla="*/ 465487 h 530828"/>
                <a:gd name="connsiteX7" fmla="*/ 0 w 338518"/>
                <a:gd name="connsiteY7" fmla="*/ 415671 h 530828"/>
                <a:gd name="connsiteX8" fmla="*/ 0 w 338518"/>
                <a:gd name="connsiteY8" fmla="*/ 414242 h 530828"/>
                <a:gd name="connsiteX9" fmla="*/ 11335 w 338518"/>
                <a:gd name="connsiteY9" fmla="*/ 360140 h 530828"/>
                <a:gd name="connsiteX10" fmla="*/ 42767 w 338518"/>
                <a:gd name="connsiteY10" fmla="*/ 321945 h 530828"/>
                <a:gd name="connsiteX11" fmla="*/ 90773 w 338518"/>
                <a:gd name="connsiteY11" fmla="*/ 299371 h 530828"/>
                <a:gd name="connsiteX12" fmla="*/ 151162 w 338518"/>
                <a:gd name="connsiteY12" fmla="*/ 291941 h 530828"/>
                <a:gd name="connsiteX13" fmla="*/ 208788 w 338518"/>
                <a:gd name="connsiteY13" fmla="*/ 296228 h 530828"/>
                <a:gd name="connsiteX14" fmla="*/ 254413 w 338518"/>
                <a:gd name="connsiteY14" fmla="*/ 307562 h 530828"/>
                <a:gd name="connsiteX15" fmla="*/ 254413 w 338518"/>
                <a:gd name="connsiteY15" fmla="*/ 300514 h 530828"/>
                <a:gd name="connsiteX16" fmla="*/ 230696 w 338518"/>
                <a:gd name="connsiteY16" fmla="*/ 241173 h 530828"/>
                <a:gd name="connsiteX17" fmla="*/ 162496 w 338518"/>
                <a:gd name="connsiteY17" fmla="*/ 220694 h 530828"/>
                <a:gd name="connsiteX18" fmla="*/ 106013 w 338518"/>
                <a:gd name="connsiteY18" fmla="*/ 227076 h 530828"/>
                <a:gd name="connsiteX19" fmla="*/ 55817 w 338518"/>
                <a:gd name="connsiteY19" fmla="*/ 244031 h 530828"/>
                <a:gd name="connsiteX20" fmla="*/ 32480 w 338518"/>
                <a:gd name="connsiteY20" fmla="*/ 175451 h 530828"/>
                <a:gd name="connsiteX21" fmla="*/ 96107 w 338518"/>
                <a:gd name="connsiteY21" fmla="*/ 152876 h 530828"/>
                <a:gd name="connsiteX22" fmla="*/ 174593 w 338518"/>
                <a:gd name="connsiteY22" fmla="*/ 144399 h 530828"/>
                <a:gd name="connsiteX23" fmla="*/ 298228 w 338518"/>
                <a:gd name="connsiteY23" fmla="*/ 185738 h 530828"/>
                <a:gd name="connsiteX24" fmla="*/ 338519 w 338518"/>
                <a:gd name="connsiteY24" fmla="*/ 301943 h 530828"/>
                <a:gd name="connsiteX25" fmla="*/ 338519 w 338518"/>
                <a:gd name="connsiteY25" fmla="*/ 523113 h 530828"/>
                <a:gd name="connsiteX26" fmla="*/ 253746 w 338518"/>
                <a:gd name="connsiteY26" fmla="*/ 523113 h 530828"/>
                <a:gd name="connsiteX27" fmla="*/ 45911 w 338518"/>
                <a:gd name="connsiteY27" fmla="*/ 95441 h 530828"/>
                <a:gd name="connsiteX28" fmla="*/ 75248 w 338518"/>
                <a:gd name="connsiteY28" fmla="*/ 29718 h 530828"/>
                <a:gd name="connsiteX29" fmla="*/ 125063 w 338518"/>
                <a:gd name="connsiteY29" fmla="*/ 7144 h 530828"/>
                <a:gd name="connsiteX30" fmla="*/ 154019 w 338518"/>
                <a:gd name="connsiteY30" fmla="*/ 11716 h 530828"/>
                <a:gd name="connsiteX31" fmla="*/ 181261 w 338518"/>
                <a:gd name="connsiteY31" fmla="*/ 21622 h 530828"/>
                <a:gd name="connsiteX32" fmla="*/ 205645 w 338518"/>
                <a:gd name="connsiteY32" fmla="*/ 31147 h 530828"/>
                <a:gd name="connsiteX33" fmla="*/ 226790 w 338518"/>
                <a:gd name="connsiteY33" fmla="*/ 35338 h 530828"/>
                <a:gd name="connsiteX34" fmla="*/ 250127 w 338518"/>
                <a:gd name="connsiteY34" fmla="*/ 26861 h 530828"/>
                <a:gd name="connsiteX35" fmla="*/ 265652 w 338518"/>
                <a:gd name="connsiteY35" fmla="*/ 0 h 530828"/>
                <a:gd name="connsiteX36" fmla="*/ 312991 w 338518"/>
                <a:gd name="connsiteY36" fmla="*/ 14859 h 530828"/>
                <a:gd name="connsiteX37" fmla="*/ 283655 w 338518"/>
                <a:gd name="connsiteY37" fmla="*/ 79820 h 530828"/>
                <a:gd name="connsiteX38" fmla="*/ 233839 w 338518"/>
                <a:gd name="connsiteY38" fmla="*/ 102394 h 530828"/>
                <a:gd name="connsiteX39" fmla="*/ 204883 w 338518"/>
                <a:gd name="connsiteY39" fmla="*/ 98203 h 530828"/>
                <a:gd name="connsiteX40" fmla="*/ 177641 w 338518"/>
                <a:gd name="connsiteY40" fmla="*/ 88678 h 530828"/>
                <a:gd name="connsiteX41" fmla="*/ 152876 w 338518"/>
                <a:gd name="connsiteY41" fmla="*/ 78772 h 530828"/>
                <a:gd name="connsiteX42" fmla="*/ 132017 w 338518"/>
                <a:gd name="connsiteY42" fmla="*/ 74200 h 530828"/>
                <a:gd name="connsiteX43" fmla="*/ 108680 w 338518"/>
                <a:gd name="connsiteY43" fmla="*/ 82677 h 530828"/>
                <a:gd name="connsiteX44" fmla="*/ 93154 w 338518"/>
                <a:gd name="connsiteY44" fmla="*/ 109538 h 530828"/>
                <a:gd name="connsiteX45" fmla="*/ 45815 w 338518"/>
                <a:gd name="connsiteY45" fmla="*/ 95441 h 530828"/>
                <a:gd name="connsiteX46" fmla="*/ 255842 w 338518"/>
                <a:gd name="connsiteY46" fmla="*/ 366808 h 530828"/>
                <a:gd name="connsiteX47" fmla="*/ 217361 w 338518"/>
                <a:gd name="connsiteY47" fmla="*/ 356235 h 530828"/>
                <a:gd name="connsiteX48" fmla="*/ 170402 w 338518"/>
                <a:gd name="connsiteY48" fmla="*/ 351949 h 530828"/>
                <a:gd name="connsiteX49" fmla="*/ 107537 w 338518"/>
                <a:gd name="connsiteY49" fmla="*/ 367475 h 530828"/>
                <a:gd name="connsiteX50" fmla="*/ 84963 w 338518"/>
                <a:gd name="connsiteY50" fmla="*/ 409861 h 530828"/>
                <a:gd name="connsiteX51" fmla="*/ 84963 w 338518"/>
                <a:gd name="connsiteY51" fmla="*/ 411290 h 530828"/>
                <a:gd name="connsiteX52" fmla="*/ 105823 w 338518"/>
                <a:gd name="connsiteY52" fmla="*/ 452247 h 530828"/>
                <a:gd name="connsiteX53" fmla="*/ 157067 w 338518"/>
                <a:gd name="connsiteY53" fmla="*/ 466344 h 530828"/>
                <a:gd name="connsiteX54" fmla="*/ 196310 w 338518"/>
                <a:gd name="connsiteY54" fmla="*/ 460724 h 530828"/>
                <a:gd name="connsiteX55" fmla="*/ 227743 w 338518"/>
                <a:gd name="connsiteY55" fmla="*/ 444818 h 530828"/>
                <a:gd name="connsiteX56" fmla="*/ 248603 w 338518"/>
                <a:gd name="connsiteY56" fmla="*/ 420053 h 530828"/>
                <a:gd name="connsiteX57" fmla="*/ 256032 w 338518"/>
                <a:gd name="connsiteY57" fmla="*/ 387858 h 530828"/>
                <a:gd name="connsiteX58" fmla="*/ 256032 w 338518"/>
                <a:gd name="connsiteY58" fmla="*/ 366617 h 5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8518" h="530828">
                  <a:moveTo>
                    <a:pt x="253651" y="523018"/>
                  </a:moveTo>
                  <a:lnTo>
                    <a:pt x="253651" y="477107"/>
                  </a:lnTo>
                  <a:cubicBezTo>
                    <a:pt x="240887" y="492157"/>
                    <a:pt x="224695" y="504920"/>
                    <a:pt x="204883" y="515303"/>
                  </a:cubicBezTo>
                  <a:cubicBezTo>
                    <a:pt x="185071" y="525685"/>
                    <a:pt x="161068" y="530828"/>
                    <a:pt x="132779" y="530828"/>
                  </a:cubicBezTo>
                  <a:cubicBezTo>
                    <a:pt x="114871" y="530828"/>
                    <a:pt x="97917" y="528352"/>
                    <a:pt x="81915" y="523399"/>
                  </a:cubicBezTo>
                  <a:cubicBezTo>
                    <a:pt x="65913" y="518446"/>
                    <a:pt x="51911" y="511112"/>
                    <a:pt x="39910" y="501491"/>
                  </a:cubicBezTo>
                  <a:cubicBezTo>
                    <a:pt x="27908" y="491871"/>
                    <a:pt x="18193" y="479870"/>
                    <a:pt x="10954" y="465487"/>
                  </a:cubicBezTo>
                  <a:cubicBezTo>
                    <a:pt x="3620" y="451104"/>
                    <a:pt x="0" y="434531"/>
                    <a:pt x="0" y="415671"/>
                  </a:cubicBezTo>
                  <a:lnTo>
                    <a:pt x="0" y="414242"/>
                  </a:lnTo>
                  <a:cubicBezTo>
                    <a:pt x="0" y="393478"/>
                    <a:pt x="3810" y="375476"/>
                    <a:pt x="11335" y="360140"/>
                  </a:cubicBezTo>
                  <a:cubicBezTo>
                    <a:pt x="18860" y="344805"/>
                    <a:pt x="29337" y="332137"/>
                    <a:pt x="42767" y="321945"/>
                  </a:cubicBezTo>
                  <a:cubicBezTo>
                    <a:pt x="56198" y="311849"/>
                    <a:pt x="72200" y="304324"/>
                    <a:pt x="90773" y="299371"/>
                  </a:cubicBezTo>
                  <a:cubicBezTo>
                    <a:pt x="109347" y="294418"/>
                    <a:pt x="129540" y="291941"/>
                    <a:pt x="151162" y="291941"/>
                  </a:cubicBezTo>
                  <a:cubicBezTo>
                    <a:pt x="172784" y="291941"/>
                    <a:pt x="192977" y="293370"/>
                    <a:pt x="208788" y="296228"/>
                  </a:cubicBezTo>
                  <a:cubicBezTo>
                    <a:pt x="224600" y="299085"/>
                    <a:pt x="239744" y="302800"/>
                    <a:pt x="254413" y="307562"/>
                  </a:cubicBezTo>
                  <a:lnTo>
                    <a:pt x="254413" y="300514"/>
                  </a:lnTo>
                  <a:cubicBezTo>
                    <a:pt x="254413" y="274606"/>
                    <a:pt x="246507" y="254794"/>
                    <a:pt x="230696" y="241173"/>
                  </a:cubicBezTo>
                  <a:cubicBezTo>
                    <a:pt x="214884" y="227552"/>
                    <a:pt x="192215" y="220694"/>
                    <a:pt x="162496" y="220694"/>
                  </a:cubicBezTo>
                  <a:cubicBezTo>
                    <a:pt x="141351" y="220694"/>
                    <a:pt x="122492" y="222790"/>
                    <a:pt x="106013" y="227076"/>
                  </a:cubicBezTo>
                  <a:cubicBezTo>
                    <a:pt x="89535" y="231362"/>
                    <a:pt x="72771" y="236982"/>
                    <a:pt x="55817" y="244031"/>
                  </a:cubicBezTo>
                  <a:lnTo>
                    <a:pt x="32480" y="175451"/>
                  </a:lnTo>
                  <a:cubicBezTo>
                    <a:pt x="53150" y="166021"/>
                    <a:pt x="74390" y="158496"/>
                    <a:pt x="96107" y="152876"/>
                  </a:cubicBezTo>
                  <a:cubicBezTo>
                    <a:pt x="117729" y="147257"/>
                    <a:pt x="143923" y="144399"/>
                    <a:pt x="174593" y="144399"/>
                  </a:cubicBezTo>
                  <a:cubicBezTo>
                    <a:pt x="230124" y="144399"/>
                    <a:pt x="271367" y="158210"/>
                    <a:pt x="298228" y="185738"/>
                  </a:cubicBezTo>
                  <a:cubicBezTo>
                    <a:pt x="325088" y="213265"/>
                    <a:pt x="338519" y="252032"/>
                    <a:pt x="338519" y="301943"/>
                  </a:cubicBezTo>
                  <a:lnTo>
                    <a:pt x="338519" y="523113"/>
                  </a:lnTo>
                  <a:lnTo>
                    <a:pt x="253746" y="523113"/>
                  </a:lnTo>
                  <a:close/>
                  <a:moveTo>
                    <a:pt x="45911" y="95441"/>
                  </a:moveTo>
                  <a:cubicBezTo>
                    <a:pt x="53912" y="66675"/>
                    <a:pt x="63722" y="44768"/>
                    <a:pt x="75248" y="29718"/>
                  </a:cubicBezTo>
                  <a:cubicBezTo>
                    <a:pt x="86773" y="14669"/>
                    <a:pt x="103442" y="7144"/>
                    <a:pt x="125063" y="7144"/>
                  </a:cubicBezTo>
                  <a:cubicBezTo>
                    <a:pt x="134969" y="7144"/>
                    <a:pt x="144590" y="8668"/>
                    <a:pt x="154019" y="11716"/>
                  </a:cubicBezTo>
                  <a:cubicBezTo>
                    <a:pt x="163449" y="14764"/>
                    <a:pt x="172498" y="18098"/>
                    <a:pt x="181261" y="21622"/>
                  </a:cubicBezTo>
                  <a:cubicBezTo>
                    <a:pt x="189929" y="25146"/>
                    <a:pt x="198120" y="28385"/>
                    <a:pt x="205645" y="31147"/>
                  </a:cubicBezTo>
                  <a:cubicBezTo>
                    <a:pt x="213170" y="34004"/>
                    <a:pt x="220218" y="35338"/>
                    <a:pt x="226790" y="35338"/>
                  </a:cubicBezTo>
                  <a:cubicBezTo>
                    <a:pt x="237173" y="35338"/>
                    <a:pt x="244888" y="32480"/>
                    <a:pt x="250127" y="26861"/>
                  </a:cubicBezTo>
                  <a:cubicBezTo>
                    <a:pt x="255270" y="21241"/>
                    <a:pt x="260509" y="12287"/>
                    <a:pt x="265652" y="0"/>
                  </a:cubicBezTo>
                  <a:lnTo>
                    <a:pt x="312991" y="14859"/>
                  </a:lnTo>
                  <a:cubicBezTo>
                    <a:pt x="304991" y="43148"/>
                    <a:pt x="295180" y="64770"/>
                    <a:pt x="283655" y="79820"/>
                  </a:cubicBezTo>
                  <a:cubicBezTo>
                    <a:pt x="272129" y="94869"/>
                    <a:pt x="255461" y="102394"/>
                    <a:pt x="233839" y="102394"/>
                  </a:cubicBezTo>
                  <a:cubicBezTo>
                    <a:pt x="223933" y="102394"/>
                    <a:pt x="214313" y="100965"/>
                    <a:pt x="204883" y="98203"/>
                  </a:cubicBezTo>
                  <a:cubicBezTo>
                    <a:pt x="195453" y="95345"/>
                    <a:pt x="186404" y="92202"/>
                    <a:pt x="177641" y="88678"/>
                  </a:cubicBezTo>
                  <a:cubicBezTo>
                    <a:pt x="168878" y="85154"/>
                    <a:pt x="160687" y="81820"/>
                    <a:pt x="152876" y="78772"/>
                  </a:cubicBezTo>
                  <a:cubicBezTo>
                    <a:pt x="145066" y="75724"/>
                    <a:pt x="138113" y="74200"/>
                    <a:pt x="132017" y="74200"/>
                  </a:cubicBezTo>
                  <a:cubicBezTo>
                    <a:pt x="121634" y="74200"/>
                    <a:pt x="113919" y="77057"/>
                    <a:pt x="108680" y="82677"/>
                  </a:cubicBezTo>
                  <a:cubicBezTo>
                    <a:pt x="103537" y="88297"/>
                    <a:pt x="98298" y="97250"/>
                    <a:pt x="93154" y="109538"/>
                  </a:cubicBezTo>
                  <a:lnTo>
                    <a:pt x="45815" y="95441"/>
                  </a:lnTo>
                  <a:close/>
                  <a:moveTo>
                    <a:pt x="255842" y="366808"/>
                  </a:moveTo>
                  <a:cubicBezTo>
                    <a:pt x="244983" y="362522"/>
                    <a:pt x="232124" y="358997"/>
                    <a:pt x="217361" y="356235"/>
                  </a:cubicBezTo>
                  <a:cubicBezTo>
                    <a:pt x="202502" y="353378"/>
                    <a:pt x="186880" y="351949"/>
                    <a:pt x="170402" y="351949"/>
                  </a:cubicBezTo>
                  <a:cubicBezTo>
                    <a:pt x="143542" y="351949"/>
                    <a:pt x="122587" y="357092"/>
                    <a:pt x="107537" y="367475"/>
                  </a:cubicBezTo>
                  <a:cubicBezTo>
                    <a:pt x="92488" y="377857"/>
                    <a:pt x="84963" y="391954"/>
                    <a:pt x="84963" y="409861"/>
                  </a:cubicBezTo>
                  <a:lnTo>
                    <a:pt x="84963" y="411290"/>
                  </a:lnTo>
                  <a:cubicBezTo>
                    <a:pt x="84963" y="429197"/>
                    <a:pt x="91916" y="442817"/>
                    <a:pt x="105823" y="452247"/>
                  </a:cubicBezTo>
                  <a:cubicBezTo>
                    <a:pt x="119729" y="461677"/>
                    <a:pt x="136779" y="466344"/>
                    <a:pt x="157067" y="466344"/>
                  </a:cubicBezTo>
                  <a:cubicBezTo>
                    <a:pt x="171164" y="466344"/>
                    <a:pt x="184309" y="464439"/>
                    <a:pt x="196310" y="460724"/>
                  </a:cubicBezTo>
                  <a:cubicBezTo>
                    <a:pt x="208312" y="456914"/>
                    <a:pt x="218789" y="451676"/>
                    <a:pt x="227743" y="444818"/>
                  </a:cubicBezTo>
                  <a:cubicBezTo>
                    <a:pt x="236696" y="437960"/>
                    <a:pt x="243650" y="429768"/>
                    <a:pt x="248603" y="420053"/>
                  </a:cubicBezTo>
                  <a:cubicBezTo>
                    <a:pt x="253555" y="410432"/>
                    <a:pt x="256032" y="399669"/>
                    <a:pt x="256032" y="387858"/>
                  </a:cubicBezTo>
                  <a:lnTo>
                    <a:pt x="256032" y="366617"/>
                  </a:lnTo>
                  <a:close/>
                </a:path>
              </a:pathLst>
            </a:custGeom>
            <a:solidFill>
              <a:srgbClr val="44505E"/>
            </a:solidFill>
            <a:ln w="9525" cap="flat">
              <a:noFill/>
              <a:prstDash val="solid"/>
              <a:miter/>
            </a:ln>
          </p:spPr>
          <p:txBody>
            <a:bodyPr rtlCol="0" anchor="ctr"/>
            <a:lstStyle/>
            <a:p>
              <a:endParaRPr lang="pt-BR" noProof="0"/>
            </a:p>
          </p:txBody>
        </p:sp>
        <p:sp>
          <p:nvSpPr>
            <p:cNvPr id="31" name="Freeform: Shape 30">
              <a:extLst>
                <a:ext uri="{FF2B5EF4-FFF2-40B4-BE49-F238E27FC236}">
                  <a16:creationId xmlns:a16="http://schemas.microsoft.com/office/drawing/2014/main" id="{1219854B-C780-3D20-3032-51076FF187A8}"/>
                </a:ext>
              </a:extLst>
            </p:cNvPr>
            <p:cNvSpPr/>
            <p:nvPr/>
          </p:nvSpPr>
          <p:spPr>
            <a:xfrm>
              <a:off x="6506477" y="699959"/>
              <a:ext cx="100038" cy="97908"/>
            </a:xfrm>
            <a:custGeom>
              <a:avLst/>
              <a:gdLst>
                <a:gd name="connsiteX0" fmla="*/ 197834 w 397954"/>
                <a:gd name="connsiteY0" fmla="*/ 389477 h 389477"/>
                <a:gd name="connsiteX1" fmla="*/ 119063 w 397954"/>
                <a:gd name="connsiteY1" fmla="*/ 374237 h 389477"/>
                <a:gd name="connsiteX2" fmla="*/ 56198 w 397954"/>
                <a:gd name="connsiteY2" fmla="*/ 332899 h 389477"/>
                <a:gd name="connsiteX3" fmla="*/ 14859 w 397954"/>
                <a:gd name="connsiteY3" fmla="*/ 271463 h 389477"/>
                <a:gd name="connsiteX4" fmla="*/ 0 w 397954"/>
                <a:gd name="connsiteY4" fmla="*/ 196501 h 389477"/>
                <a:gd name="connsiteX5" fmla="*/ 0 w 397954"/>
                <a:gd name="connsiteY5" fmla="*/ 195072 h 389477"/>
                <a:gd name="connsiteX6" fmla="*/ 15240 w 397954"/>
                <a:gd name="connsiteY6" fmla="*/ 119444 h 389477"/>
                <a:gd name="connsiteX7" fmla="*/ 56960 w 397954"/>
                <a:gd name="connsiteY7" fmla="*/ 57626 h 389477"/>
                <a:gd name="connsiteX8" fmla="*/ 119825 w 397954"/>
                <a:gd name="connsiteY8" fmla="*/ 15526 h 389477"/>
                <a:gd name="connsiteX9" fmla="*/ 199358 w 397954"/>
                <a:gd name="connsiteY9" fmla="*/ 0 h 389477"/>
                <a:gd name="connsiteX10" fmla="*/ 278892 w 397954"/>
                <a:gd name="connsiteY10" fmla="*/ 15240 h 389477"/>
                <a:gd name="connsiteX11" fmla="*/ 341757 w 397954"/>
                <a:gd name="connsiteY11" fmla="*/ 56959 h 389477"/>
                <a:gd name="connsiteX12" fmla="*/ 383096 w 397954"/>
                <a:gd name="connsiteY12" fmla="*/ 118396 h 389477"/>
                <a:gd name="connsiteX13" fmla="*/ 397955 w 397954"/>
                <a:gd name="connsiteY13" fmla="*/ 193643 h 389477"/>
                <a:gd name="connsiteX14" fmla="*/ 397955 w 397954"/>
                <a:gd name="connsiteY14" fmla="*/ 195072 h 389477"/>
                <a:gd name="connsiteX15" fmla="*/ 382714 w 397954"/>
                <a:gd name="connsiteY15" fmla="*/ 270034 h 389477"/>
                <a:gd name="connsiteX16" fmla="*/ 340995 w 397954"/>
                <a:gd name="connsiteY16" fmla="*/ 331851 h 389477"/>
                <a:gd name="connsiteX17" fmla="*/ 277749 w 397954"/>
                <a:gd name="connsiteY17" fmla="*/ 373856 h 389477"/>
                <a:gd name="connsiteX18" fmla="*/ 197834 w 397954"/>
                <a:gd name="connsiteY18" fmla="*/ 389382 h 389477"/>
                <a:gd name="connsiteX19" fmla="*/ 199263 w 397954"/>
                <a:gd name="connsiteY19" fmla="*/ 315278 h 389477"/>
                <a:gd name="connsiteX20" fmla="*/ 245936 w 397954"/>
                <a:gd name="connsiteY20" fmla="*/ 305753 h 389477"/>
                <a:gd name="connsiteX21" fmla="*/ 281369 w 397954"/>
                <a:gd name="connsiteY21" fmla="*/ 279940 h 389477"/>
                <a:gd name="connsiteX22" fmla="*/ 303848 w 397954"/>
                <a:gd name="connsiteY22" fmla="*/ 242125 h 389477"/>
                <a:gd name="connsiteX23" fmla="*/ 311563 w 397954"/>
                <a:gd name="connsiteY23" fmla="*/ 196501 h 389477"/>
                <a:gd name="connsiteX24" fmla="*/ 311563 w 397954"/>
                <a:gd name="connsiteY24" fmla="*/ 195072 h 389477"/>
                <a:gd name="connsiteX25" fmla="*/ 303181 w 397954"/>
                <a:gd name="connsiteY25" fmla="*/ 148400 h 389477"/>
                <a:gd name="connsiteX26" fmla="*/ 279654 w 397954"/>
                <a:gd name="connsiteY26" fmla="*/ 110204 h 389477"/>
                <a:gd name="connsiteX27" fmla="*/ 243840 w 397954"/>
                <a:gd name="connsiteY27" fmla="*/ 84392 h 389477"/>
                <a:gd name="connsiteX28" fmla="*/ 197834 w 397954"/>
                <a:gd name="connsiteY28" fmla="*/ 74867 h 389477"/>
                <a:gd name="connsiteX29" fmla="*/ 151829 w 397954"/>
                <a:gd name="connsiteY29" fmla="*/ 84392 h 389477"/>
                <a:gd name="connsiteX30" fmla="*/ 116396 w 397954"/>
                <a:gd name="connsiteY30" fmla="*/ 109823 h 389477"/>
                <a:gd name="connsiteX31" fmla="*/ 93916 w 397954"/>
                <a:gd name="connsiteY31" fmla="*/ 147638 h 389477"/>
                <a:gd name="connsiteX32" fmla="*/ 86201 w 397954"/>
                <a:gd name="connsiteY32" fmla="*/ 193548 h 389477"/>
                <a:gd name="connsiteX33" fmla="*/ 86201 w 397954"/>
                <a:gd name="connsiteY33" fmla="*/ 194977 h 389477"/>
                <a:gd name="connsiteX34" fmla="*/ 94583 w 397954"/>
                <a:gd name="connsiteY34" fmla="*/ 241268 h 389477"/>
                <a:gd name="connsiteX35" fmla="*/ 118110 w 397954"/>
                <a:gd name="connsiteY35" fmla="*/ 279463 h 389477"/>
                <a:gd name="connsiteX36" fmla="*/ 153924 w 397954"/>
                <a:gd name="connsiteY36" fmla="*/ 305562 h 389477"/>
                <a:gd name="connsiteX37" fmla="*/ 199263 w 397954"/>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954" h="389477">
                  <a:moveTo>
                    <a:pt x="197834" y="389477"/>
                  </a:moveTo>
                  <a:cubicBezTo>
                    <a:pt x="169545" y="389477"/>
                    <a:pt x="143351" y="384429"/>
                    <a:pt x="119063" y="374237"/>
                  </a:cubicBezTo>
                  <a:cubicBezTo>
                    <a:pt x="94774" y="364141"/>
                    <a:pt x="73819" y="350330"/>
                    <a:pt x="56198" y="332899"/>
                  </a:cubicBezTo>
                  <a:cubicBezTo>
                    <a:pt x="38576" y="315468"/>
                    <a:pt x="24765" y="294989"/>
                    <a:pt x="14859" y="271463"/>
                  </a:cubicBezTo>
                  <a:cubicBezTo>
                    <a:pt x="4953" y="247936"/>
                    <a:pt x="0" y="222980"/>
                    <a:pt x="0" y="196501"/>
                  </a:cubicBezTo>
                  <a:lnTo>
                    <a:pt x="0" y="195072"/>
                  </a:lnTo>
                  <a:cubicBezTo>
                    <a:pt x="0" y="168212"/>
                    <a:pt x="5049" y="143066"/>
                    <a:pt x="15240" y="119444"/>
                  </a:cubicBezTo>
                  <a:cubicBezTo>
                    <a:pt x="25337" y="95917"/>
                    <a:pt x="39243" y="75248"/>
                    <a:pt x="56960" y="57626"/>
                  </a:cubicBezTo>
                  <a:cubicBezTo>
                    <a:pt x="74676" y="39910"/>
                    <a:pt x="95631" y="25908"/>
                    <a:pt x="119825" y="15526"/>
                  </a:cubicBezTo>
                  <a:cubicBezTo>
                    <a:pt x="144113" y="5144"/>
                    <a:pt x="170593" y="0"/>
                    <a:pt x="199358" y="0"/>
                  </a:cubicBezTo>
                  <a:cubicBezTo>
                    <a:pt x="228124" y="0"/>
                    <a:pt x="254604" y="5048"/>
                    <a:pt x="278892" y="15240"/>
                  </a:cubicBezTo>
                  <a:cubicBezTo>
                    <a:pt x="303181" y="25337"/>
                    <a:pt x="324136" y="39243"/>
                    <a:pt x="341757" y="56959"/>
                  </a:cubicBezTo>
                  <a:cubicBezTo>
                    <a:pt x="359379" y="74676"/>
                    <a:pt x="373189" y="95155"/>
                    <a:pt x="383096" y="118396"/>
                  </a:cubicBezTo>
                  <a:cubicBezTo>
                    <a:pt x="393002" y="141732"/>
                    <a:pt x="397955" y="166783"/>
                    <a:pt x="397955" y="193643"/>
                  </a:cubicBezTo>
                  <a:lnTo>
                    <a:pt x="397955" y="195072"/>
                  </a:lnTo>
                  <a:cubicBezTo>
                    <a:pt x="397955" y="221456"/>
                    <a:pt x="392906" y="246412"/>
                    <a:pt x="382714" y="270034"/>
                  </a:cubicBezTo>
                  <a:cubicBezTo>
                    <a:pt x="372618" y="293561"/>
                    <a:pt x="358712" y="314230"/>
                    <a:pt x="340995" y="331851"/>
                  </a:cubicBezTo>
                  <a:cubicBezTo>
                    <a:pt x="323279" y="349472"/>
                    <a:pt x="302229" y="363569"/>
                    <a:pt x="277749" y="373856"/>
                  </a:cubicBezTo>
                  <a:cubicBezTo>
                    <a:pt x="253270" y="384238"/>
                    <a:pt x="226600" y="389382"/>
                    <a:pt x="197834" y="389382"/>
                  </a:cubicBezTo>
                  <a:close/>
                  <a:moveTo>
                    <a:pt x="199263" y="315278"/>
                  </a:moveTo>
                  <a:cubicBezTo>
                    <a:pt x="216598" y="315278"/>
                    <a:pt x="232124" y="312039"/>
                    <a:pt x="245936" y="305753"/>
                  </a:cubicBezTo>
                  <a:cubicBezTo>
                    <a:pt x="259747" y="299371"/>
                    <a:pt x="271558" y="290798"/>
                    <a:pt x="281369" y="279940"/>
                  </a:cubicBezTo>
                  <a:cubicBezTo>
                    <a:pt x="291179" y="269081"/>
                    <a:pt x="298704" y="256508"/>
                    <a:pt x="303848" y="242125"/>
                  </a:cubicBezTo>
                  <a:cubicBezTo>
                    <a:pt x="308991" y="227743"/>
                    <a:pt x="311563" y="212598"/>
                    <a:pt x="311563" y="196501"/>
                  </a:cubicBezTo>
                  <a:lnTo>
                    <a:pt x="311563" y="195072"/>
                  </a:lnTo>
                  <a:cubicBezTo>
                    <a:pt x="311563" y="178594"/>
                    <a:pt x="308706" y="163068"/>
                    <a:pt x="303181" y="148400"/>
                  </a:cubicBezTo>
                  <a:cubicBezTo>
                    <a:pt x="297561" y="133826"/>
                    <a:pt x="289750" y="121063"/>
                    <a:pt x="279654" y="110204"/>
                  </a:cubicBezTo>
                  <a:cubicBezTo>
                    <a:pt x="269557" y="99346"/>
                    <a:pt x="257651" y="90773"/>
                    <a:pt x="243840" y="84392"/>
                  </a:cubicBezTo>
                  <a:cubicBezTo>
                    <a:pt x="230029" y="78010"/>
                    <a:pt x="214694" y="74867"/>
                    <a:pt x="197834" y="74867"/>
                  </a:cubicBezTo>
                  <a:cubicBezTo>
                    <a:pt x="180975" y="74867"/>
                    <a:pt x="165640" y="78010"/>
                    <a:pt x="151829" y="84392"/>
                  </a:cubicBezTo>
                  <a:cubicBezTo>
                    <a:pt x="138017" y="90773"/>
                    <a:pt x="126206" y="99250"/>
                    <a:pt x="116396" y="109823"/>
                  </a:cubicBezTo>
                  <a:cubicBezTo>
                    <a:pt x="106585" y="120396"/>
                    <a:pt x="99060" y="133064"/>
                    <a:pt x="93916" y="147638"/>
                  </a:cubicBezTo>
                  <a:cubicBezTo>
                    <a:pt x="88773" y="162211"/>
                    <a:pt x="86201" y="177546"/>
                    <a:pt x="86201" y="193548"/>
                  </a:cubicBezTo>
                  <a:lnTo>
                    <a:pt x="86201" y="194977"/>
                  </a:lnTo>
                  <a:cubicBezTo>
                    <a:pt x="86201" y="211455"/>
                    <a:pt x="89059" y="226886"/>
                    <a:pt x="94583" y="241268"/>
                  </a:cubicBezTo>
                  <a:cubicBezTo>
                    <a:pt x="100203" y="255651"/>
                    <a:pt x="108014" y="268319"/>
                    <a:pt x="118110" y="279463"/>
                  </a:cubicBezTo>
                  <a:cubicBezTo>
                    <a:pt x="128207" y="290608"/>
                    <a:pt x="140113" y="299275"/>
                    <a:pt x="153924" y="305562"/>
                  </a:cubicBezTo>
                  <a:cubicBezTo>
                    <a:pt x="167735" y="311944"/>
                    <a:pt x="182785"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32" name="Freeform: Shape 31">
              <a:extLst>
                <a:ext uri="{FF2B5EF4-FFF2-40B4-BE49-F238E27FC236}">
                  <a16:creationId xmlns:a16="http://schemas.microsoft.com/office/drawing/2014/main" id="{6CE9338B-F380-CFF3-2C53-C290A7982438}"/>
                </a:ext>
              </a:extLst>
            </p:cNvPr>
            <p:cNvSpPr/>
            <p:nvPr/>
          </p:nvSpPr>
          <p:spPr>
            <a:xfrm>
              <a:off x="662071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1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7 w 296894"/>
                <a:gd name="connsiteY23" fmla="*/ 42863 h 386714"/>
                <a:gd name="connsiteX24" fmla="*/ 254318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7 w 296894"/>
                <a:gd name="connsiteY30" fmla="*/ 124587 h 386714"/>
                <a:gd name="connsiteX31" fmla="*/ 122682 w 296894"/>
                <a:gd name="connsiteY31" fmla="*/ 138017 h 386714"/>
                <a:gd name="connsiteX32" fmla="*/ 149543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6" y="348901"/>
                    <a:pt x="0" y="330327"/>
                  </a:cubicBezTo>
                  <a:lnTo>
                    <a:pt x="38195" y="272224"/>
                  </a:lnTo>
                  <a:cubicBezTo>
                    <a:pt x="58484" y="287274"/>
                    <a:pt x="79057" y="298704"/>
                    <a:pt x="100013" y="306514"/>
                  </a:cubicBezTo>
                  <a:cubicBezTo>
                    <a:pt x="120968" y="314325"/>
                    <a:pt x="141161" y="318135"/>
                    <a:pt x="160401" y="318135"/>
                  </a:cubicBezTo>
                  <a:cubicBezTo>
                    <a:pt x="179641" y="318135"/>
                    <a:pt x="192977"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1" y="241078"/>
                    <a:pt x="176498" y="237553"/>
                    <a:pt x="166401"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2" y="40195"/>
                    <a:pt x="56864" y="30385"/>
                  </a:cubicBezTo>
                  <a:cubicBezTo>
                    <a:pt x="68866" y="20479"/>
                    <a:pt x="82962" y="12954"/>
                    <a:pt x="99250" y="7810"/>
                  </a:cubicBezTo>
                  <a:cubicBezTo>
                    <a:pt x="115538" y="2667"/>
                    <a:pt x="132779" y="0"/>
                    <a:pt x="151162" y="0"/>
                  </a:cubicBezTo>
                  <a:cubicBezTo>
                    <a:pt x="174688" y="0"/>
                    <a:pt x="198501" y="3810"/>
                    <a:pt x="222504" y="11430"/>
                  </a:cubicBezTo>
                  <a:cubicBezTo>
                    <a:pt x="246507" y="19050"/>
                    <a:pt x="268414" y="29527"/>
                    <a:pt x="288227" y="42863"/>
                  </a:cubicBezTo>
                  <a:lnTo>
                    <a:pt x="254318"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7" y="124587"/>
                  </a:cubicBezTo>
                  <a:cubicBezTo>
                    <a:pt x="108585" y="129540"/>
                    <a:pt x="114871" y="134017"/>
                    <a:pt x="122682" y="138017"/>
                  </a:cubicBezTo>
                  <a:cubicBezTo>
                    <a:pt x="130493" y="142018"/>
                    <a:pt x="139351" y="145732"/>
                    <a:pt x="149543"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696"/>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33" name="Freeform: Shape 32">
              <a:extLst>
                <a:ext uri="{FF2B5EF4-FFF2-40B4-BE49-F238E27FC236}">
                  <a16:creationId xmlns:a16="http://schemas.microsoft.com/office/drawing/2014/main" id="{953BDA26-A78D-1AAD-F56B-3D744FE938CC}"/>
                </a:ext>
              </a:extLst>
            </p:cNvPr>
            <p:cNvSpPr/>
            <p:nvPr/>
          </p:nvSpPr>
          <p:spPr>
            <a:xfrm>
              <a:off x="526693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4 w 202977"/>
                <a:gd name="connsiteY17" fmla="*/ 19907 h 239267"/>
                <a:gd name="connsiteX18" fmla="*/ 59246 w 202977"/>
                <a:gd name="connsiteY18" fmla="*/ 5429 h 239267"/>
                <a:gd name="connsiteX19" fmla="*/ 104299 w 202977"/>
                <a:gd name="connsiteY19" fmla="*/ 0 h 239267"/>
                <a:gd name="connsiteX20" fmla="*/ 178880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5 w 202977"/>
                <a:gd name="connsiteY27" fmla="*/ 211169 h 239267"/>
                <a:gd name="connsiteX28" fmla="*/ 122968 w 202977"/>
                <a:gd name="connsiteY28" fmla="*/ 206788 h 239267"/>
                <a:gd name="connsiteX29" fmla="*/ 147257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9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9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3" y="99155"/>
                    <a:pt x="58674" y="95917"/>
                  </a:cubicBezTo>
                  <a:cubicBezTo>
                    <a:pt x="70771" y="92678"/>
                    <a:pt x="84011" y="90964"/>
                    <a:pt x="98584" y="90964"/>
                  </a:cubicBezTo>
                  <a:cubicBezTo>
                    <a:pt x="113157" y="90964"/>
                    <a:pt x="126301" y="91821"/>
                    <a:pt x="137160" y="93631"/>
                  </a:cubicBezTo>
                  <a:cubicBezTo>
                    <a:pt x="148019" y="95440"/>
                    <a:pt x="158687" y="97822"/>
                    <a:pt x="169069" y="100774"/>
                  </a:cubicBezTo>
                  <a:lnTo>
                    <a:pt x="169069" y="93726"/>
                  </a:lnTo>
                  <a:cubicBezTo>
                    <a:pt x="169069" y="73342"/>
                    <a:pt x="163068" y="57912"/>
                    <a:pt x="151162" y="47339"/>
                  </a:cubicBezTo>
                  <a:cubicBezTo>
                    <a:pt x="139256" y="36862"/>
                    <a:pt x="122492" y="31623"/>
                    <a:pt x="100679" y="31623"/>
                  </a:cubicBezTo>
                  <a:cubicBezTo>
                    <a:pt x="86963" y="31623"/>
                    <a:pt x="74581" y="33147"/>
                    <a:pt x="63437" y="36100"/>
                  </a:cubicBezTo>
                  <a:cubicBezTo>
                    <a:pt x="52292" y="39053"/>
                    <a:pt x="41339" y="43053"/>
                    <a:pt x="30671" y="48196"/>
                  </a:cubicBezTo>
                  <a:lnTo>
                    <a:pt x="20384" y="19907"/>
                  </a:lnTo>
                  <a:cubicBezTo>
                    <a:pt x="33147" y="13906"/>
                    <a:pt x="46101" y="9049"/>
                    <a:pt x="59246" y="5429"/>
                  </a:cubicBezTo>
                  <a:cubicBezTo>
                    <a:pt x="72295" y="1810"/>
                    <a:pt x="87344" y="0"/>
                    <a:pt x="104299" y="0"/>
                  </a:cubicBezTo>
                  <a:cubicBezTo>
                    <a:pt x="137065" y="0"/>
                    <a:pt x="161925" y="8477"/>
                    <a:pt x="178880"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99" y="239173"/>
                    <a:pt x="86011" y="239173"/>
                  </a:cubicBezTo>
                  <a:close/>
                  <a:moveTo>
                    <a:pt x="93155" y="211169"/>
                  </a:moveTo>
                  <a:cubicBezTo>
                    <a:pt x="103823" y="211169"/>
                    <a:pt x="113728" y="209740"/>
                    <a:pt x="122968" y="206788"/>
                  </a:cubicBezTo>
                  <a:cubicBezTo>
                    <a:pt x="132207" y="203835"/>
                    <a:pt x="140208" y="199644"/>
                    <a:pt x="147257"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9" y="121444"/>
                  </a:cubicBezTo>
                  <a:cubicBezTo>
                    <a:pt x="129445" y="119348"/>
                    <a:pt x="116776"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244" y="190500"/>
                    <a:pt x="47435" y="195358"/>
                    <a:pt x="52769" y="199263"/>
                  </a:cubicBezTo>
                  <a:cubicBezTo>
                    <a:pt x="58103" y="203073"/>
                    <a:pt x="64294" y="206026"/>
                    <a:pt x="71247" y="208121"/>
                  </a:cubicBezTo>
                  <a:cubicBezTo>
                    <a:pt x="78200" y="210217"/>
                    <a:pt x="85535"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34" name="Freeform: Shape 33">
              <a:extLst>
                <a:ext uri="{FF2B5EF4-FFF2-40B4-BE49-F238E27FC236}">
                  <a16:creationId xmlns:a16="http://schemas.microsoft.com/office/drawing/2014/main" id="{30731604-2009-B28A-FE88-BD35509F6999}"/>
                </a:ext>
              </a:extLst>
            </p:cNvPr>
            <p:cNvSpPr/>
            <p:nvPr/>
          </p:nvSpPr>
          <p:spPr>
            <a:xfrm>
              <a:off x="5331227"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9" y="303276"/>
                    <a:pt x="71438" y="300895"/>
                  </a:cubicBezTo>
                  <a:cubicBezTo>
                    <a:pt x="63437"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2"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5" name="Freeform: Shape 34">
              <a:extLst>
                <a:ext uri="{FF2B5EF4-FFF2-40B4-BE49-F238E27FC236}">
                  <a16:creationId xmlns:a16="http://schemas.microsoft.com/office/drawing/2014/main" id="{162290E6-5884-F5CE-E5CD-0E7EFEF1A2CA}"/>
                </a:ext>
              </a:extLst>
            </p:cNvPr>
            <p:cNvSpPr/>
            <p:nvPr/>
          </p:nvSpPr>
          <p:spPr>
            <a:xfrm>
              <a:off x="5381845"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191 w 39242"/>
                <a:gd name="connsiteY5" fmla="*/ 88392 h 319182"/>
                <a:gd name="connsiteX6" fmla="*/ 36576 w 39242"/>
                <a:gd name="connsiteY6" fmla="*/ 88392 h 319182"/>
                <a:gd name="connsiteX7" fmla="*/ 36576 w 39242"/>
                <a:gd name="connsiteY7" fmla="*/ 319183 h 319182"/>
                <a:gd name="connsiteX8" fmla="*/ 2191 w 39242"/>
                <a:gd name="connsiteY8" fmla="*/ 319183 h 319182"/>
                <a:gd name="connsiteX9" fmla="*/ 2191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191" y="88392"/>
                  </a:moveTo>
                  <a:lnTo>
                    <a:pt x="36576" y="88392"/>
                  </a:lnTo>
                  <a:lnTo>
                    <a:pt x="36576" y="319183"/>
                  </a:lnTo>
                  <a:lnTo>
                    <a:pt x="2191" y="319183"/>
                  </a:lnTo>
                  <a:lnTo>
                    <a:pt x="2191" y="88392"/>
                  </a:lnTo>
                  <a:close/>
                </a:path>
              </a:pathLst>
            </a:custGeom>
            <a:solidFill>
              <a:srgbClr val="44505E"/>
            </a:solidFill>
            <a:ln w="9525" cap="flat">
              <a:noFill/>
              <a:prstDash val="solid"/>
              <a:miter/>
            </a:ln>
          </p:spPr>
          <p:txBody>
            <a:bodyPr rtlCol="0" anchor="ctr"/>
            <a:lstStyle/>
            <a:p>
              <a:endParaRPr lang="pt-BR" noProof="0"/>
            </a:p>
          </p:txBody>
        </p:sp>
        <p:sp>
          <p:nvSpPr>
            <p:cNvPr id="36" name="Freeform: Shape 35">
              <a:extLst>
                <a:ext uri="{FF2B5EF4-FFF2-40B4-BE49-F238E27FC236}">
                  <a16:creationId xmlns:a16="http://schemas.microsoft.com/office/drawing/2014/main" id="{CEC7ADBE-6731-9A5B-8F41-EEDC83DF53F2}"/>
                </a:ext>
              </a:extLst>
            </p:cNvPr>
            <p:cNvSpPr/>
            <p:nvPr/>
          </p:nvSpPr>
          <p:spPr>
            <a:xfrm>
              <a:off x="5406076"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8" y="303276"/>
                    <a:pt x="71438" y="300895"/>
                  </a:cubicBezTo>
                  <a:cubicBezTo>
                    <a:pt x="63436"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1"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7" name="Freeform: Shape 36">
              <a:extLst>
                <a:ext uri="{FF2B5EF4-FFF2-40B4-BE49-F238E27FC236}">
                  <a16:creationId xmlns:a16="http://schemas.microsoft.com/office/drawing/2014/main" id="{EDFA25DD-2E4A-57AE-EF8A-E66D8C578A41}"/>
                </a:ext>
              </a:extLst>
            </p:cNvPr>
            <p:cNvSpPr/>
            <p:nvPr/>
          </p:nvSpPr>
          <p:spPr>
            <a:xfrm>
              <a:off x="5455545" y="925297"/>
              <a:ext cx="50594" cy="59238"/>
            </a:xfrm>
            <a:custGeom>
              <a:avLst/>
              <a:gdLst>
                <a:gd name="connsiteX0" fmla="*/ 88392 w 201263"/>
                <a:gd name="connsiteY0" fmla="*/ 235648 h 235648"/>
                <a:gd name="connsiteX1" fmla="*/ 51149 w 201263"/>
                <a:gd name="connsiteY1" fmla="*/ 228981 h 235648"/>
                <a:gd name="connsiteX2" fmla="*/ 23431 w 201263"/>
                <a:gd name="connsiteY2" fmla="*/ 210026 h 235648"/>
                <a:gd name="connsiteX3" fmla="*/ 6001 w 201263"/>
                <a:gd name="connsiteY3" fmla="*/ 180784 h 235648"/>
                <a:gd name="connsiteX4" fmla="*/ 0 w 201263"/>
                <a:gd name="connsiteY4" fmla="*/ 143256 h 235648"/>
                <a:gd name="connsiteX5" fmla="*/ 0 w 201263"/>
                <a:gd name="connsiteY5" fmla="*/ 0 h 235648"/>
                <a:gd name="connsiteX6" fmla="*/ 34385 w 201263"/>
                <a:gd name="connsiteY6" fmla="*/ 0 h 235648"/>
                <a:gd name="connsiteX7" fmla="*/ 34385 w 201263"/>
                <a:gd name="connsiteY7" fmla="*/ 134493 h 235648"/>
                <a:gd name="connsiteX8" fmla="*/ 50864 w 201263"/>
                <a:gd name="connsiteY8" fmla="*/ 185261 h 235648"/>
                <a:gd name="connsiteX9" fmla="*/ 98203 w 201263"/>
                <a:gd name="connsiteY9" fmla="*/ 203930 h 235648"/>
                <a:gd name="connsiteX10" fmla="*/ 125635 w 201263"/>
                <a:gd name="connsiteY10" fmla="*/ 198787 h 235648"/>
                <a:gd name="connsiteX11" fmla="*/ 147542 w 201263"/>
                <a:gd name="connsiteY11" fmla="*/ 184118 h 235648"/>
                <a:gd name="connsiteX12" fmla="*/ 162020 w 201263"/>
                <a:gd name="connsiteY12" fmla="*/ 161163 h 235648"/>
                <a:gd name="connsiteX13" fmla="*/ 167354 w 201263"/>
                <a:gd name="connsiteY13" fmla="*/ 131826 h 235648"/>
                <a:gd name="connsiteX14" fmla="*/ 167354 w 201263"/>
                <a:gd name="connsiteY14" fmla="*/ 0 h 235648"/>
                <a:gd name="connsiteX15" fmla="*/ 201263 w 201263"/>
                <a:gd name="connsiteY15" fmla="*/ 0 h 235648"/>
                <a:gd name="connsiteX16" fmla="*/ 201263 w 201263"/>
                <a:gd name="connsiteY16" fmla="*/ 230791 h 235648"/>
                <a:gd name="connsiteX17" fmla="*/ 167354 w 201263"/>
                <a:gd name="connsiteY17" fmla="*/ 230791 h 235648"/>
                <a:gd name="connsiteX18" fmla="*/ 167354 w 201263"/>
                <a:gd name="connsiteY18" fmla="*/ 190595 h 235648"/>
                <a:gd name="connsiteX19" fmla="*/ 136969 w 201263"/>
                <a:gd name="connsiteY19" fmla="*/ 222504 h 235648"/>
                <a:gd name="connsiteX20" fmla="*/ 88297 w 201263"/>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263" h="235648">
                  <a:moveTo>
                    <a:pt x="88392" y="235648"/>
                  </a:moveTo>
                  <a:cubicBezTo>
                    <a:pt x="74390" y="235648"/>
                    <a:pt x="62008" y="233363"/>
                    <a:pt x="51149" y="228981"/>
                  </a:cubicBezTo>
                  <a:cubicBezTo>
                    <a:pt x="40291" y="224504"/>
                    <a:pt x="31052" y="218218"/>
                    <a:pt x="23431"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864" y="185261"/>
                  </a:cubicBezTo>
                  <a:cubicBezTo>
                    <a:pt x="61913" y="197739"/>
                    <a:pt x="77629" y="203930"/>
                    <a:pt x="98203" y="203930"/>
                  </a:cubicBezTo>
                  <a:cubicBezTo>
                    <a:pt x="108014" y="203930"/>
                    <a:pt x="117158" y="202216"/>
                    <a:pt x="125635" y="198787"/>
                  </a:cubicBezTo>
                  <a:cubicBezTo>
                    <a:pt x="134112" y="195358"/>
                    <a:pt x="141351" y="190500"/>
                    <a:pt x="147542" y="184118"/>
                  </a:cubicBezTo>
                  <a:cubicBezTo>
                    <a:pt x="153638" y="177736"/>
                    <a:pt x="158496" y="170116"/>
                    <a:pt x="162020" y="161163"/>
                  </a:cubicBezTo>
                  <a:cubicBezTo>
                    <a:pt x="165640" y="152305"/>
                    <a:pt x="167354" y="142494"/>
                    <a:pt x="167354" y="131826"/>
                  </a:cubicBezTo>
                  <a:lnTo>
                    <a:pt x="167354" y="0"/>
                  </a:lnTo>
                  <a:lnTo>
                    <a:pt x="201263" y="0"/>
                  </a:lnTo>
                  <a:lnTo>
                    <a:pt x="201263" y="230791"/>
                  </a:lnTo>
                  <a:lnTo>
                    <a:pt x="167354" y="230791"/>
                  </a:lnTo>
                  <a:lnTo>
                    <a:pt x="167354" y="190595"/>
                  </a:lnTo>
                  <a:cubicBezTo>
                    <a:pt x="159639" y="203073"/>
                    <a:pt x="149447" y="213741"/>
                    <a:pt x="136969" y="222504"/>
                  </a:cubicBezTo>
                  <a:cubicBezTo>
                    <a:pt x="124492" y="231267"/>
                    <a:pt x="108299" y="235648"/>
                    <a:pt x="88297" y="235648"/>
                  </a:cubicBezTo>
                  <a:close/>
                </a:path>
              </a:pathLst>
            </a:custGeom>
            <a:solidFill>
              <a:srgbClr val="44505E"/>
            </a:solidFill>
            <a:ln w="9525" cap="flat">
              <a:noFill/>
              <a:prstDash val="solid"/>
              <a:miter/>
            </a:ln>
          </p:spPr>
          <p:txBody>
            <a:bodyPr rtlCol="0" anchor="ctr"/>
            <a:lstStyle/>
            <a:p>
              <a:endParaRPr lang="pt-BR" noProof="0"/>
            </a:p>
          </p:txBody>
        </p:sp>
        <p:sp>
          <p:nvSpPr>
            <p:cNvPr id="38" name="Freeform: Shape 37">
              <a:extLst>
                <a:ext uri="{FF2B5EF4-FFF2-40B4-BE49-F238E27FC236}">
                  <a16:creationId xmlns:a16="http://schemas.microsoft.com/office/drawing/2014/main" id="{67EBC025-90A5-2B9A-4A3E-74B8879D8F27}"/>
                </a:ext>
              </a:extLst>
            </p:cNvPr>
            <p:cNvSpPr/>
            <p:nvPr/>
          </p:nvSpPr>
          <p:spPr>
            <a:xfrm>
              <a:off x="5522205" y="901353"/>
              <a:ext cx="58567" cy="83182"/>
            </a:xfrm>
            <a:custGeom>
              <a:avLst/>
              <a:gdLst>
                <a:gd name="connsiteX0" fmla="*/ 110204 w 232981"/>
                <a:gd name="connsiteY0" fmla="*/ 330898 h 330898"/>
                <a:gd name="connsiteX1" fmla="*/ 69628 w 232981"/>
                <a:gd name="connsiteY1" fmla="*/ 322897 h 330898"/>
                <a:gd name="connsiteX2" fmla="*/ 34385 w 232981"/>
                <a:gd name="connsiteY2" fmla="*/ 299466 h 330898"/>
                <a:gd name="connsiteX3" fmla="*/ 9334 w 232981"/>
                <a:gd name="connsiteY3" fmla="*/ 261938 h 330898"/>
                <a:gd name="connsiteX4" fmla="*/ 0 w 232981"/>
                <a:gd name="connsiteY4" fmla="*/ 211264 h 330898"/>
                <a:gd name="connsiteX5" fmla="*/ 0 w 232981"/>
                <a:gd name="connsiteY5" fmla="*/ 210407 h 330898"/>
                <a:gd name="connsiteX6" fmla="*/ 9334 w 232981"/>
                <a:gd name="connsiteY6" fmla="*/ 159925 h 330898"/>
                <a:gd name="connsiteX7" fmla="*/ 34385 w 232981"/>
                <a:gd name="connsiteY7" fmla="*/ 122206 h 330898"/>
                <a:gd name="connsiteX8" fmla="*/ 69628 w 232981"/>
                <a:gd name="connsiteY8" fmla="*/ 98488 h 330898"/>
                <a:gd name="connsiteX9" fmla="*/ 110204 w 232981"/>
                <a:gd name="connsiteY9" fmla="*/ 90202 h 330898"/>
                <a:gd name="connsiteX10" fmla="*/ 139636 w 232981"/>
                <a:gd name="connsiteY10" fmla="*/ 94202 h 330898"/>
                <a:gd name="connsiteX11" fmla="*/ 163735 w 232981"/>
                <a:gd name="connsiteY11" fmla="*/ 104870 h 330898"/>
                <a:gd name="connsiteX12" fmla="*/ 183166 w 232981"/>
                <a:gd name="connsiteY12" fmla="*/ 120491 h 330898"/>
                <a:gd name="connsiteX13" fmla="*/ 198596 w 232981"/>
                <a:gd name="connsiteY13" fmla="*/ 139255 h 330898"/>
                <a:gd name="connsiteX14" fmla="*/ 198596 w 232981"/>
                <a:gd name="connsiteY14" fmla="*/ 0 h 330898"/>
                <a:gd name="connsiteX15" fmla="*/ 232981 w 232981"/>
                <a:gd name="connsiteY15" fmla="*/ 0 h 330898"/>
                <a:gd name="connsiteX16" fmla="*/ 232981 w 232981"/>
                <a:gd name="connsiteY16" fmla="*/ 325850 h 330898"/>
                <a:gd name="connsiteX17" fmla="*/ 198596 w 232981"/>
                <a:gd name="connsiteY17" fmla="*/ 325850 h 330898"/>
                <a:gd name="connsiteX18" fmla="*/ 198596 w 232981"/>
                <a:gd name="connsiteY18" fmla="*/ 279463 h 330898"/>
                <a:gd name="connsiteX19" fmla="*/ 182785 w 232981"/>
                <a:gd name="connsiteY19" fmla="*/ 299085 h 330898"/>
                <a:gd name="connsiteX20" fmla="*/ 163354 w 232981"/>
                <a:gd name="connsiteY20" fmla="*/ 315658 h 330898"/>
                <a:gd name="connsiteX21" fmla="*/ 139446 w 232981"/>
                <a:gd name="connsiteY21" fmla="*/ 326803 h 330898"/>
                <a:gd name="connsiteX22" fmla="*/ 110204 w 232981"/>
                <a:gd name="connsiteY22" fmla="*/ 330803 h 330898"/>
                <a:gd name="connsiteX23" fmla="*/ 116491 w 232981"/>
                <a:gd name="connsiteY23" fmla="*/ 300133 h 330898"/>
                <a:gd name="connsiteX24" fmla="*/ 147542 w 232981"/>
                <a:gd name="connsiteY24" fmla="*/ 293656 h 330898"/>
                <a:gd name="connsiteX25" fmla="*/ 174307 w 232981"/>
                <a:gd name="connsiteY25" fmla="*/ 275368 h 330898"/>
                <a:gd name="connsiteX26" fmla="*/ 193072 w 232981"/>
                <a:gd name="connsiteY26" fmla="*/ 247269 h 330898"/>
                <a:gd name="connsiteX27" fmla="*/ 200025 w 232981"/>
                <a:gd name="connsiteY27" fmla="*/ 210883 h 330898"/>
                <a:gd name="connsiteX28" fmla="*/ 200025 w 232981"/>
                <a:gd name="connsiteY28" fmla="*/ 210026 h 330898"/>
                <a:gd name="connsiteX29" fmla="*/ 193072 w 232981"/>
                <a:gd name="connsiteY29" fmla="*/ 173641 h 330898"/>
                <a:gd name="connsiteX30" fmla="*/ 174307 w 232981"/>
                <a:gd name="connsiteY30" fmla="*/ 145732 h 330898"/>
                <a:gd name="connsiteX31" fmla="*/ 147542 w 232981"/>
                <a:gd name="connsiteY31" fmla="*/ 127635 h 330898"/>
                <a:gd name="connsiteX32" fmla="*/ 116491 w 232981"/>
                <a:gd name="connsiteY32" fmla="*/ 121158 h 330898"/>
                <a:gd name="connsiteX33" fmla="*/ 84772 w 232981"/>
                <a:gd name="connsiteY33" fmla="*/ 127159 h 330898"/>
                <a:gd name="connsiteX34" fmla="*/ 59150 w 232981"/>
                <a:gd name="connsiteY34" fmla="*/ 144589 h 330898"/>
                <a:gd name="connsiteX35" fmla="*/ 41719 w 232981"/>
                <a:gd name="connsiteY35" fmla="*/ 172498 h 330898"/>
                <a:gd name="connsiteX36" fmla="*/ 35242 w 232981"/>
                <a:gd name="connsiteY36" fmla="*/ 210026 h 330898"/>
                <a:gd name="connsiteX37" fmla="*/ 35242 w 232981"/>
                <a:gd name="connsiteY37" fmla="*/ 210883 h 330898"/>
                <a:gd name="connsiteX38" fmla="*/ 41719 w 232981"/>
                <a:gd name="connsiteY38" fmla="*/ 247936 h 330898"/>
                <a:gd name="connsiteX39" fmla="*/ 59341 w 232981"/>
                <a:gd name="connsiteY39" fmla="*/ 276034 h 330898"/>
                <a:gd name="connsiteX40" fmla="*/ 85249 w 232981"/>
                <a:gd name="connsiteY40" fmla="*/ 293941 h 330898"/>
                <a:gd name="connsiteX41" fmla="*/ 116491 w 23298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30898">
                  <a:moveTo>
                    <a:pt x="110204" y="330898"/>
                  </a:moveTo>
                  <a:cubicBezTo>
                    <a:pt x="96202" y="330898"/>
                    <a:pt x="82677" y="328231"/>
                    <a:pt x="69628" y="322897"/>
                  </a:cubicBezTo>
                  <a:cubicBezTo>
                    <a:pt x="56578" y="317563"/>
                    <a:pt x="44767" y="309753"/>
                    <a:pt x="34385" y="299466"/>
                  </a:cubicBezTo>
                  <a:cubicBezTo>
                    <a:pt x="24003" y="289179"/>
                    <a:pt x="15621" y="276701"/>
                    <a:pt x="9334" y="261938"/>
                  </a:cubicBezTo>
                  <a:cubicBezTo>
                    <a:pt x="3048" y="247174"/>
                    <a:pt x="0" y="230314"/>
                    <a:pt x="0" y="211264"/>
                  </a:cubicBezTo>
                  <a:lnTo>
                    <a:pt x="0" y="210407"/>
                  </a:lnTo>
                  <a:cubicBezTo>
                    <a:pt x="0" y="191643"/>
                    <a:pt x="3143" y="174879"/>
                    <a:pt x="9334" y="159925"/>
                  </a:cubicBezTo>
                  <a:cubicBezTo>
                    <a:pt x="15621" y="145066"/>
                    <a:pt x="23908" y="132493"/>
                    <a:pt x="34385" y="122206"/>
                  </a:cubicBezTo>
                  <a:cubicBezTo>
                    <a:pt x="44767" y="111919"/>
                    <a:pt x="56578" y="104013"/>
                    <a:pt x="69628" y="98488"/>
                  </a:cubicBezTo>
                  <a:cubicBezTo>
                    <a:pt x="82677" y="92964"/>
                    <a:pt x="96298" y="90202"/>
                    <a:pt x="110204" y="90202"/>
                  </a:cubicBezTo>
                  <a:cubicBezTo>
                    <a:pt x="120967" y="90202"/>
                    <a:pt x="130778" y="91535"/>
                    <a:pt x="139636" y="94202"/>
                  </a:cubicBezTo>
                  <a:cubicBezTo>
                    <a:pt x="148590" y="96869"/>
                    <a:pt x="156591" y="100489"/>
                    <a:pt x="163735" y="104870"/>
                  </a:cubicBezTo>
                  <a:cubicBezTo>
                    <a:pt x="170878" y="109347"/>
                    <a:pt x="177356" y="114586"/>
                    <a:pt x="183166" y="120491"/>
                  </a:cubicBezTo>
                  <a:cubicBezTo>
                    <a:pt x="188976" y="126492"/>
                    <a:pt x="194119" y="132683"/>
                    <a:pt x="198596" y="139255"/>
                  </a:cubicBezTo>
                  <a:lnTo>
                    <a:pt x="198596" y="0"/>
                  </a:lnTo>
                  <a:lnTo>
                    <a:pt x="232981" y="0"/>
                  </a:lnTo>
                  <a:lnTo>
                    <a:pt x="232981" y="325850"/>
                  </a:lnTo>
                  <a:lnTo>
                    <a:pt x="198596" y="325850"/>
                  </a:lnTo>
                  <a:lnTo>
                    <a:pt x="198596" y="279463"/>
                  </a:lnTo>
                  <a:cubicBezTo>
                    <a:pt x="193834" y="286321"/>
                    <a:pt x="188595" y="292894"/>
                    <a:pt x="182785" y="299085"/>
                  </a:cubicBezTo>
                  <a:cubicBezTo>
                    <a:pt x="176974" y="305371"/>
                    <a:pt x="170498" y="310896"/>
                    <a:pt x="163354" y="315658"/>
                  </a:cubicBezTo>
                  <a:cubicBezTo>
                    <a:pt x="156210" y="320421"/>
                    <a:pt x="148209" y="324136"/>
                    <a:pt x="139446" y="326803"/>
                  </a:cubicBezTo>
                  <a:cubicBezTo>
                    <a:pt x="130683" y="329470"/>
                    <a:pt x="120967" y="330803"/>
                    <a:pt x="110204" y="330803"/>
                  </a:cubicBezTo>
                  <a:close/>
                  <a:moveTo>
                    <a:pt x="116491" y="300133"/>
                  </a:moveTo>
                  <a:cubicBezTo>
                    <a:pt x="127159" y="300133"/>
                    <a:pt x="137541" y="297942"/>
                    <a:pt x="147542" y="293656"/>
                  </a:cubicBezTo>
                  <a:cubicBezTo>
                    <a:pt x="157544" y="289369"/>
                    <a:pt x="166402" y="283273"/>
                    <a:pt x="174307" y="275368"/>
                  </a:cubicBezTo>
                  <a:cubicBezTo>
                    <a:pt x="182213" y="267462"/>
                    <a:pt x="188404" y="258127"/>
                    <a:pt x="193072" y="247269"/>
                  </a:cubicBezTo>
                  <a:cubicBezTo>
                    <a:pt x="197644" y="236410"/>
                    <a:pt x="200025" y="224314"/>
                    <a:pt x="200025" y="210883"/>
                  </a:cubicBezTo>
                  <a:lnTo>
                    <a:pt x="200025" y="210026"/>
                  </a:lnTo>
                  <a:cubicBezTo>
                    <a:pt x="200025" y="196596"/>
                    <a:pt x="197739" y="184499"/>
                    <a:pt x="193072" y="173641"/>
                  </a:cubicBezTo>
                  <a:cubicBezTo>
                    <a:pt x="188500" y="162782"/>
                    <a:pt x="182213" y="153448"/>
                    <a:pt x="174307" y="145732"/>
                  </a:cubicBezTo>
                  <a:cubicBezTo>
                    <a:pt x="166402" y="138017"/>
                    <a:pt x="157448" y="132016"/>
                    <a:pt x="147542" y="127635"/>
                  </a:cubicBezTo>
                  <a:cubicBezTo>
                    <a:pt x="137541" y="123349"/>
                    <a:pt x="127254" y="121158"/>
                    <a:pt x="116491" y="121158"/>
                  </a:cubicBezTo>
                  <a:cubicBezTo>
                    <a:pt x="105156" y="121158"/>
                    <a:pt x="94583" y="123158"/>
                    <a:pt x="84772" y="127159"/>
                  </a:cubicBezTo>
                  <a:cubicBezTo>
                    <a:pt x="74962" y="131159"/>
                    <a:pt x="66389" y="136969"/>
                    <a:pt x="59150" y="144589"/>
                  </a:cubicBezTo>
                  <a:cubicBezTo>
                    <a:pt x="51816" y="152114"/>
                    <a:pt x="46101" y="161449"/>
                    <a:pt x="41719" y="172498"/>
                  </a:cubicBezTo>
                  <a:cubicBezTo>
                    <a:pt x="37433" y="183451"/>
                    <a:pt x="35242" y="196024"/>
                    <a:pt x="35242" y="210026"/>
                  </a:cubicBezTo>
                  <a:lnTo>
                    <a:pt x="35242" y="210883"/>
                  </a:lnTo>
                  <a:cubicBezTo>
                    <a:pt x="35242" y="224599"/>
                    <a:pt x="37433" y="236982"/>
                    <a:pt x="41719" y="247936"/>
                  </a:cubicBezTo>
                  <a:cubicBezTo>
                    <a:pt x="46006" y="258984"/>
                    <a:pt x="51911" y="268319"/>
                    <a:pt x="59341" y="276034"/>
                  </a:cubicBezTo>
                  <a:cubicBezTo>
                    <a:pt x="66770" y="283750"/>
                    <a:pt x="75438" y="289750"/>
                    <a:pt x="85249" y="293941"/>
                  </a:cubicBezTo>
                  <a:cubicBezTo>
                    <a:pt x="95059" y="298132"/>
                    <a:pt x="105442" y="300228"/>
                    <a:pt x="116491" y="300228"/>
                  </a:cubicBezTo>
                  <a:close/>
                </a:path>
              </a:pathLst>
            </a:custGeom>
            <a:solidFill>
              <a:srgbClr val="44505E"/>
            </a:solidFill>
            <a:ln w="9525" cap="flat">
              <a:noFill/>
              <a:prstDash val="solid"/>
              <a:miter/>
            </a:ln>
          </p:spPr>
          <p:txBody>
            <a:bodyPr rtlCol="0" anchor="ctr"/>
            <a:lstStyle/>
            <a:p>
              <a:endParaRPr lang="pt-BR" noProof="0"/>
            </a:p>
          </p:txBody>
        </p:sp>
        <p:sp>
          <p:nvSpPr>
            <p:cNvPr id="39" name="Freeform: Shape 38">
              <a:extLst>
                <a:ext uri="{FF2B5EF4-FFF2-40B4-BE49-F238E27FC236}">
                  <a16:creationId xmlns:a16="http://schemas.microsoft.com/office/drawing/2014/main" id="{7C93BC15-BE57-B277-D95B-C8050D70768F}"/>
                </a:ext>
              </a:extLst>
            </p:cNvPr>
            <p:cNvSpPr/>
            <p:nvPr/>
          </p:nvSpPr>
          <p:spPr>
            <a:xfrm>
              <a:off x="5596504"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6963 w 218217"/>
                <a:gd name="connsiteY3" fmla="*/ 206026 h 241077"/>
                <a:gd name="connsiteX4" fmla="*/ 116015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8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1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452 w 218217"/>
                <a:gd name="connsiteY25" fmla="*/ 106299 h 241077"/>
                <a:gd name="connsiteX26" fmla="*/ 176784 w 218217"/>
                <a:gd name="connsiteY26" fmla="*/ 76771 h 241077"/>
                <a:gd name="connsiteX27" fmla="*/ 162306 w 218217"/>
                <a:gd name="connsiteY27" fmla="*/ 52101 h 241077"/>
                <a:gd name="connsiteX28" fmla="*/ 140018 w 218217"/>
                <a:gd name="connsiteY28" fmla="*/ 35242 h 241077"/>
                <a:gd name="connsiteX29" fmla="*/ 109919 w 218217"/>
                <a:gd name="connsiteY29" fmla="*/ 29051 h 241077"/>
                <a:gd name="connsiteX30" fmla="*/ 82201 w 218217"/>
                <a:gd name="connsiteY30" fmla="*/ 34766 h 241077"/>
                <a:gd name="connsiteX31" fmla="*/ 59436 w 218217"/>
                <a:gd name="connsiteY31" fmla="*/ 50959 h 241077"/>
                <a:gd name="connsiteX32" fmla="*/ 43148 w 218217"/>
                <a:gd name="connsiteY32" fmla="*/ 75628 h 241077"/>
                <a:gd name="connsiteX33" fmla="*/ 34862 w 218217"/>
                <a:gd name="connsiteY33" fmla="*/ 106204 h 241077"/>
                <a:gd name="connsiteX34" fmla="*/ 183547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724" y="202597"/>
                    <a:pt x="86963" y="206026"/>
                  </a:cubicBezTo>
                  <a:cubicBezTo>
                    <a:pt x="96203" y="209455"/>
                    <a:pt x="105823" y="211169"/>
                    <a:pt x="116015" y="211169"/>
                  </a:cubicBezTo>
                  <a:cubicBezTo>
                    <a:pt x="132112" y="211169"/>
                    <a:pt x="145828" y="208216"/>
                    <a:pt x="157353" y="202216"/>
                  </a:cubicBezTo>
                  <a:cubicBezTo>
                    <a:pt x="168783" y="196310"/>
                    <a:pt x="179261" y="188404"/>
                    <a:pt x="188786" y="178594"/>
                  </a:cubicBezTo>
                  <a:lnTo>
                    <a:pt x="210217" y="197834"/>
                  </a:lnTo>
                  <a:cubicBezTo>
                    <a:pt x="198596" y="210979"/>
                    <a:pt x="185357" y="221361"/>
                    <a:pt x="170498" y="229267"/>
                  </a:cubicBezTo>
                  <a:cubicBezTo>
                    <a:pt x="155639"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679" y="0"/>
                    <a:pt x="110681"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452" y="106299"/>
                  </a:moveTo>
                  <a:cubicBezTo>
                    <a:pt x="182594" y="95917"/>
                    <a:pt x="180308" y="86106"/>
                    <a:pt x="176784" y="76771"/>
                  </a:cubicBezTo>
                  <a:cubicBezTo>
                    <a:pt x="173165" y="67437"/>
                    <a:pt x="168402" y="59245"/>
                    <a:pt x="162306" y="52101"/>
                  </a:cubicBezTo>
                  <a:cubicBezTo>
                    <a:pt x="156210" y="44958"/>
                    <a:pt x="148781" y="39338"/>
                    <a:pt x="140018" y="35242"/>
                  </a:cubicBezTo>
                  <a:cubicBezTo>
                    <a:pt x="131254" y="31147"/>
                    <a:pt x="121158" y="29051"/>
                    <a:pt x="109919" y="29051"/>
                  </a:cubicBezTo>
                  <a:cubicBezTo>
                    <a:pt x="100108" y="29051"/>
                    <a:pt x="90869" y="30956"/>
                    <a:pt x="82201" y="34766"/>
                  </a:cubicBezTo>
                  <a:cubicBezTo>
                    <a:pt x="73533" y="38671"/>
                    <a:pt x="66008" y="44005"/>
                    <a:pt x="59436" y="50959"/>
                  </a:cubicBezTo>
                  <a:cubicBezTo>
                    <a:pt x="52864" y="57912"/>
                    <a:pt x="47435" y="66103"/>
                    <a:pt x="43148" y="75628"/>
                  </a:cubicBezTo>
                  <a:cubicBezTo>
                    <a:pt x="38862" y="85058"/>
                    <a:pt x="36100" y="95345"/>
                    <a:pt x="34862" y="106204"/>
                  </a:cubicBezTo>
                  <a:lnTo>
                    <a:pt x="183547" y="106204"/>
                  </a:lnTo>
                  <a:close/>
                </a:path>
              </a:pathLst>
            </a:custGeom>
            <a:solidFill>
              <a:srgbClr val="44505E"/>
            </a:solidFill>
            <a:ln w="9525" cap="flat">
              <a:noFill/>
              <a:prstDash val="solid"/>
              <a:miter/>
            </a:ln>
          </p:spPr>
          <p:txBody>
            <a:bodyPr rtlCol="0" anchor="ctr"/>
            <a:lstStyle/>
            <a:p>
              <a:endParaRPr lang="pt-BR" noProof="0"/>
            </a:p>
          </p:txBody>
        </p:sp>
        <p:sp>
          <p:nvSpPr>
            <p:cNvPr id="40" name="Freeform: Shape 39">
              <a:extLst>
                <a:ext uri="{FF2B5EF4-FFF2-40B4-BE49-F238E27FC236}">
                  <a16:creationId xmlns:a16="http://schemas.microsoft.com/office/drawing/2014/main" id="{4E92E97A-4ED8-C94A-16E9-C9A17D60E9C8}"/>
                </a:ext>
              </a:extLst>
            </p:cNvPr>
            <p:cNvSpPr/>
            <p:nvPr/>
          </p:nvSpPr>
          <p:spPr>
            <a:xfrm>
              <a:off x="5661680" y="924268"/>
              <a:ext cx="44656" cy="60195"/>
            </a:xfrm>
            <a:custGeom>
              <a:avLst/>
              <a:gdLst>
                <a:gd name="connsiteX0" fmla="*/ 95536 w 177641"/>
                <a:gd name="connsiteY0" fmla="*/ 239268 h 239458"/>
                <a:gd name="connsiteX1" fmla="*/ 45053 w 177641"/>
                <a:gd name="connsiteY1" fmla="*/ 230124 h 239458"/>
                <a:gd name="connsiteX2" fmla="*/ 0 w 177641"/>
                <a:gd name="connsiteY2" fmla="*/ 205359 h 239458"/>
                <a:gd name="connsiteX3" fmla="*/ 17431 w 177641"/>
                <a:gd name="connsiteY3" fmla="*/ 180785 h 239458"/>
                <a:gd name="connsiteX4" fmla="*/ 56483 w 177641"/>
                <a:gd name="connsiteY4" fmla="*/ 202692 h 239458"/>
                <a:gd name="connsiteX5" fmla="*/ 97346 w 177641"/>
                <a:gd name="connsiteY5" fmla="*/ 210217 h 239458"/>
                <a:gd name="connsiteX6" fmla="*/ 131731 w 177641"/>
                <a:gd name="connsiteY6" fmla="*/ 200406 h 239458"/>
                <a:gd name="connsiteX7" fmla="*/ 145161 w 177641"/>
                <a:gd name="connsiteY7" fmla="*/ 173641 h 239458"/>
                <a:gd name="connsiteX8" fmla="*/ 145161 w 177641"/>
                <a:gd name="connsiteY8" fmla="*/ 172784 h 239458"/>
                <a:gd name="connsiteX9" fmla="*/ 140494 w 177641"/>
                <a:gd name="connsiteY9" fmla="*/ 158020 h 239458"/>
                <a:gd name="connsiteX10" fmla="*/ 127730 w 177641"/>
                <a:gd name="connsiteY10" fmla="*/ 147066 h 239458"/>
                <a:gd name="connsiteX11" fmla="*/ 109157 w 177641"/>
                <a:gd name="connsiteY11" fmla="*/ 138779 h 239458"/>
                <a:gd name="connsiteX12" fmla="*/ 87535 w 177641"/>
                <a:gd name="connsiteY12" fmla="*/ 132112 h 239458"/>
                <a:gd name="connsiteX13" fmla="*/ 60484 w 177641"/>
                <a:gd name="connsiteY13" fmla="*/ 123444 h 239458"/>
                <a:gd name="connsiteX14" fmla="*/ 35909 w 177641"/>
                <a:gd name="connsiteY14" fmla="*/ 111633 h 239458"/>
                <a:gd name="connsiteX15" fmla="*/ 18098 w 177641"/>
                <a:gd name="connsiteY15" fmla="*/ 93726 h 239458"/>
                <a:gd name="connsiteX16" fmla="*/ 11144 w 177641"/>
                <a:gd name="connsiteY16" fmla="*/ 66961 h 239458"/>
                <a:gd name="connsiteX17" fmla="*/ 11144 w 177641"/>
                <a:gd name="connsiteY17" fmla="*/ 66008 h 239458"/>
                <a:gd name="connsiteX18" fmla="*/ 16954 w 177641"/>
                <a:gd name="connsiteY18" fmla="*/ 39053 h 239458"/>
                <a:gd name="connsiteX19" fmla="*/ 33242 w 177641"/>
                <a:gd name="connsiteY19" fmla="*/ 18098 h 239458"/>
                <a:gd name="connsiteX20" fmla="*/ 58293 w 177641"/>
                <a:gd name="connsiteY20" fmla="*/ 4667 h 239458"/>
                <a:gd name="connsiteX21" fmla="*/ 89725 w 177641"/>
                <a:gd name="connsiteY21" fmla="*/ 0 h 239458"/>
                <a:gd name="connsiteX22" fmla="*/ 133064 w 177641"/>
                <a:gd name="connsiteY22" fmla="*/ 6953 h 239458"/>
                <a:gd name="connsiteX23" fmla="*/ 172784 w 177641"/>
                <a:gd name="connsiteY23" fmla="*/ 25527 h 239458"/>
                <a:gd name="connsiteX24" fmla="*/ 157163 w 177641"/>
                <a:gd name="connsiteY24" fmla="*/ 51435 h 239458"/>
                <a:gd name="connsiteX25" fmla="*/ 123444 w 177641"/>
                <a:gd name="connsiteY25" fmla="*/ 35147 h 239458"/>
                <a:gd name="connsiteX26" fmla="*/ 88868 w 177641"/>
                <a:gd name="connsiteY26" fmla="*/ 29146 h 239458"/>
                <a:gd name="connsiteX27" fmla="*/ 56293 w 177641"/>
                <a:gd name="connsiteY27" fmla="*/ 38767 h 239458"/>
                <a:gd name="connsiteX28" fmla="*/ 44196 w 177641"/>
                <a:gd name="connsiteY28" fmla="*/ 62675 h 239458"/>
                <a:gd name="connsiteX29" fmla="*/ 44196 w 177641"/>
                <a:gd name="connsiteY29" fmla="*/ 63627 h 239458"/>
                <a:gd name="connsiteX30" fmla="*/ 49149 w 177641"/>
                <a:gd name="connsiteY30" fmla="*/ 77724 h 239458"/>
                <a:gd name="connsiteX31" fmla="*/ 62294 w 177641"/>
                <a:gd name="connsiteY31" fmla="*/ 88202 h 239458"/>
                <a:gd name="connsiteX32" fmla="*/ 81248 w 177641"/>
                <a:gd name="connsiteY32" fmla="*/ 96203 h 239458"/>
                <a:gd name="connsiteX33" fmla="*/ 103537 w 177641"/>
                <a:gd name="connsiteY33" fmla="*/ 103346 h 239458"/>
                <a:gd name="connsiteX34" fmla="*/ 130112 w 177641"/>
                <a:gd name="connsiteY34" fmla="*/ 112300 h 239458"/>
                <a:gd name="connsiteX35" fmla="*/ 154019 w 177641"/>
                <a:gd name="connsiteY35" fmla="*/ 124778 h 239458"/>
                <a:gd name="connsiteX36" fmla="*/ 171164 w 177641"/>
                <a:gd name="connsiteY36" fmla="*/ 143066 h 239458"/>
                <a:gd name="connsiteX37" fmla="*/ 177641 w 177641"/>
                <a:gd name="connsiteY37" fmla="*/ 169450 h 239458"/>
                <a:gd name="connsiteX38" fmla="*/ 177641 w 177641"/>
                <a:gd name="connsiteY38" fmla="*/ 170307 h 239458"/>
                <a:gd name="connsiteX39" fmla="*/ 171164 w 177641"/>
                <a:gd name="connsiteY39" fmla="*/ 199549 h 239458"/>
                <a:gd name="connsiteX40" fmla="*/ 153734 w 177641"/>
                <a:gd name="connsiteY40" fmla="*/ 221171 h 239458"/>
                <a:gd name="connsiteX41" fmla="*/ 127825 w 177641"/>
                <a:gd name="connsiteY41" fmla="*/ 234791 h 239458"/>
                <a:gd name="connsiteX42" fmla="*/ 95441 w 177641"/>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641" h="239458">
                  <a:moveTo>
                    <a:pt x="95536" y="239268"/>
                  </a:moveTo>
                  <a:cubicBezTo>
                    <a:pt x="78867" y="239268"/>
                    <a:pt x="62008" y="236220"/>
                    <a:pt x="45053" y="230124"/>
                  </a:cubicBezTo>
                  <a:cubicBezTo>
                    <a:pt x="28099" y="224028"/>
                    <a:pt x="13049" y="215741"/>
                    <a:pt x="0" y="205359"/>
                  </a:cubicBezTo>
                  <a:lnTo>
                    <a:pt x="17431" y="180785"/>
                  </a:lnTo>
                  <a:cubicBezTo>
                    <a:pt x="29908"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542" y="162211"/>
                    <a:pt x="140494" y="158020"/>
                  </a:cubicBezTo>
                  <a:cubicBezTo>
                    <a:pt x="137350" y="153829"/>
                    <a:pt x="133160" y="150209"/>
                    <a:pt x="127730" y="147066"/>
                  </a:cubicBezTo>
                  <a:cubicBezTo>
                    <a:pt x="122396" y="143923"/>
                    <a:pt x="116205" y="141161"/>
                    <a:pt x="109157" y="138779"/>
                  </a:cubicBezTo>
                  <a:cubicBezTo>
                    <a:pt x="102203" y="136398"/>
                    <a:pt x="94964" y="134207"/>
                    <a:pt x="87535" y="132112"/>
                  </a:cubicBezTo>
                  <a:cubicBezTo>
                    <a:pt x="78581" y="129445"/>
                    <a:pt x="69628" y="126492"/>
                    <a:pt x="60484" y="123444"/>
                  </a:cubicBezTo>
                  <a:cubicBezTo>
                    <a:pt x="51435" y="120301"/>
                    <a:pt x="43244" y="116396"/>
                    <a:pt x="35909" y="111633"/>
                  </a:cubicBezTo>
                  <a:cubicBezTo>
                    <a:pt x="28575" y="106871"/>
                    <a:pt x="22670" y="100870"/>
                    <a:pt x="18098" y="93726"/>
                  </a:cubicBezTo>
                  <a:cubicBezTo>
                    <a:pt x="13525" y="86582"/>
                    <a:pt x="11144" y="77629"/>
                    <a:pt x="11144" y="66961"/>
                  </a:cubicBezTo>
                  <a:lnTo>
                    <a:pt x="11144" y="66008"/>
                  </a:lnTo>
                  <a:cubicBezTo>
                    <a:pt x="11144" y="56198"/>
                    <a:pt x="13049" y="47149"/>
                    <a:pt x="16954" y="39053"/>
                  </a:cubicBezTo>
                  <a:cubicBezTo>
                    <a:pt x="20860" y="30861"/>
                    <a:pt x="26289" y="23908"/>
                    <a:pt x="33242" y="18098"/>
                  </a:cubicBezTo>
                  <a:cubicBezTo>
                    <a:pt x="40196" y="12287"/>
                    <a:pt x="48578" y="7811"/>
                    <a:pt x="58293" y="4667"/>
                  </a:cubicBezTo>
                  <a:cubicBezTo>
                    <a:pt x="67913" y="1524"/>
                    <a:pt x="78486" y="0"/>
                    <a:pt x="89725" y="0"/>
                  </a:cubicBezTo>
                  <a:cubicBezTo>
                    <a:pt x="104013" y="0"/>
                    <a:pt x="118396" y="2286"/>
                    <a:pt x="133064" y="6953"/>
                  </a:cubicBezTo>
                  <a:cubicBezTo>
                    <a:pt x="147638" y="11621"/>
                    <a:pt x="160877" y="17717"/>
                    <a:pt x="172784" y="25527"/>
                  </a:cubicBezTo>
                  <a:lnTo>
                    <a:pt x="157163" y="51435"/>
                  </a:lnTo>
                  <a:cubicBezTo>
                    <a:pt x="146399" y="44577"/>
                    <a:pt x="135255" y="39148"/>
                    <a:pt x="123444" y="35147"/>
                  </a:cubicBezTo>
                  <a:cubicBezTo>
                    <a:pt x="111728" y="31147"/>
                    <a:pt x="100203" y="29146"/>
                    <a:pt x="88868" y="29146"/>
                  </a:cubicBezTo>
                  <a:cubicBezTo>
                    <a:pt x="75152" y="29146"/>
                    <a:pt x="64294" y="32385"/>
                    <a:pt x="56293" y="38767"/>
                  </a:cubicBezTo>
                  <a:cubicBezTo>
                    <a:pt x="48292" y="45149"/>
                    <a:pt x="44196" y="53150"/>
                    <a:pt x="44196" y="62675"/>
                  </a:cubicBezTo>
                  <a:lnTo>
                    <a:pt x="44196" y="63627"/>
                  </a:lnTo>
                  <a:cubicBezTo>
                    <a:pt x="44196" y="68961"/>
                    <a:pt x="45815" y="73628"/>
                    <a:pt x="49149" y="77724"/>
                  </a:cubicBezTo>
                  <a:cubicBezTo>
                    <a:pt x="52388" y="81725"/>
                    <a:pt x="56769" y="85249"/>
                    <a:pt x="62294" y="88202"/>
                  </a:cubicBezTo>
                  <a:cubicBezTo>
                    <a:pt x="67818" y="91154"/>
                    <a:pt x="74104" y="93821"/>
                    <a:pt x="81248" y="96203"/>
                  </a:cubicBezTo>
                  <a:cubicBezTo>
                    <a:pt x="88392" y="98584"/>
                    <a:pt x="95821" y="100965"/>
                    <a:pt x="103537" y="103346"/>
                  </a:cubicBezTo>
                  <a:cubicBezTo>
                    <a:pt x="112490" y="106013"/>
                    <a:pt x="121349" y="108966"/>
                    <a:pt x="130112" y="112300"/>
                  </a:cubicBezTo>
                  <a:cubicBezTo>
                    <a:pt x="138875" y="115538"/>
                    <a:pt x="146875" y="119729"/>
                    <a:pt x="154019" y="124778"/>
                  </a:cubicBezTo>
                  <a:cubicBezTo>
                    <a:pt x="161163" y="129826"/>
                    <a:pt x="166878" y="135922"/>
                    <a:pt x="171164" y="143066"/>
                  </a:cubicBezTo>
                  <a:cubicBezTo>
                    <a:pt x="175450" y="150209"/>
                    <a:pt x="177641" y="158972"/>
                    <a:pt x="177641" y="169450"/>
                  </a:cubicBezTo>
                  <a:lnTo>
                    <a:pt x="177641" y="170307"/>
                  </a:lnTo>
                  <a:cubicBezTo>
                    <a:pt x="177641" y="181356"/>
                    <a:pt x="175450" y="191071"/>
                    <a:pt x="171164" y="199549"/>
                  </a:cubicBezTo>
                  <a:cubicBezTo>
                    <a:pt x="166878" y="208026"/>
                    <a:pt x="161068" y="215265"/>
                    <a:pt x="153734" y="221171"/>
                  </a:cubicBezTo>
                  <a:cubicBezTo>
                    <a:pt x="146495" y="227171"/>
                    <a:pt x="137827" y="231648"/>
                    <a:pt x="127825" y="234791"/>
                  </a:cubicBezTo>
                  <a:cubicBezTo>
                    <a:pt x="117824" y="237935"/>
                    <a:pt x="107061" y="239459"/>
                    <a:pt x="95441" y="239459"/>
                  </a:cubicBezTo>
                  <a:close/>
                </a:path>
              </a:pathLst>
            </a:custGeom>
            <a:solidFill>
              <a:srgbClr val="44505E"/>
            </a:solidFill>
            <a:ln w="9525" cap="flat">
              <a:noFill/>
              <a:prstDash val="solid"/>
              <a:miter/>
            </a:ln>
          </p:spPr>
          <p:txBody>
            <a:bodyPr rtlCol="0" anchor="ctr"/>
            <a:lstStyle/>
            <a:p>
              <a:endParaRPr lang="pt-BR" noProof="0"/>
            </a:p>
          </p:txBody>
        </p:sp>
        <p:sp>
          <p:nvSpPr>
            <p:cNvPr id="41" name="Freeform: Shape 40">
              <a:extLst>
                <a:ext uri="{FF2B5EF4-FFF2-40B4-BE49-F238E27FC236}">
                  <a16:creationId xmlns:a16="http://schemas.microsoft.com/office/drawing/2014/main" id="{DD221319-BA15-1B3A-3853-D38D10B9A3C5}"/>
                </a:ext>
              </a:extLst>
            </p:cNvPr>
            <p:cNvSpPr/>
            <p:nvPr/>
          </p:nvSpPr>
          <p:spPr>
            <a:xfrm>
              <a:off x="5752668" y="924028"/>
              <a:ext cx="58567" cy="77196"/>
            </a:xfrm>
            <a:custGeom>
              <a:avLst/>
              <a:gdLst>
                <a:gd name="connsiteX0" fmla="*/ 198596 w 232981"/>
                <a:gd name="connsiteY0" fmla="*/ 189357 h 307085"/>
                <a:gd name="connsiteX1" fmla="*/ 182785 w 232981"/>
                <a:gd name="connsiteY1" fmla="*/ 208978 h 307085"/>
                <a:gd name="connsiteX2" fmla="*/ 163354 w 232981"/>
                <a:gd name="connsiteY2" fmla="*/ 225552 h 307085"/>
                <a:gd name="connsiteX3" fmla="*/ 139446 w 232981"/>
                <a:gd name="connsiteY3" fmla="*/ 236696 h 307085"/>
                <a:gd name="connsiteX4" fmla="*/ 110204 w 232981"/>
                <a:gd name="connsiteY4" fmla="*/ 240697 h 307085"/>
                <a:gd name="connsiteX5" fmla="*/ 69628 w 232981"/>
                <a:gd name="connsiteY5" fmla="*/ 232696 h 307085"/>
                <a:gd name="connsiteX6" fmla="*/ 34385 w 232981"/>
                <a:gd name="connsiteY6" fmla="*/ 209264 h 307085"/>
                <a:gd name="connsiteX7" fmla="*/ 9335 w 232981"/>
                <a:gd name="connsiteY7" fmla="*/ 171736 h 307085"/>
                <a:gd name="connsiteX8" fmla="*/ 0 w 232981"/>
                <a:gd name="connsiteY8" fmla="*/ 121063 h 307085"/>
                <a:gd name="connsiteX9" fmla="*/ 0 w 232981"/>
                <a:gd name="connsiteY9" fmla="*/ 120205 h 307085"/>
                <a:gd name="connsiteX10" fmla="*/ 9335 w 232981"/>
                <a:gd name="connsiteY10" fmla="*/ 69723 h 307085"/>
                <a:gd name="connsiteX11" fmla="*/ 34385 w 232981"/>
                <a:gd name="connsiteY11" fmla="*/ 32004 h 307085"/>
                <a:gd name="connsiteX12" fmla="*/ 69628 w 232981"/>
                <a:gd name="connsiteY12" fmla="*/ 8287 h 307085"/>
                <a:gd name="connsiteX13" fmla="*/ 110204 w 232981"/>
                <a:gd name="connsiteY13" fmla="*/ 0 h 307085"/>
                <a:gd name="connsiteX14" fmla="*/ 139637 w 232981"/>
                <a:gd name="connsiteY14" fmla="*/ 4000 h 307085"/>
                <a:gd name="connsiteX15" fmla="*/ 163735 w 232981"/>
                <a:gd name="connsiteY15" fmla="*/ 14668 h 307085"/>
                <a:gd name="connsiteX16" fmla="*/ 183166 w 232981"/>
                <a:gd name="connsiteY16" fmla="*/ 30289 h 307085"/>
                <a:gd name="connsiteX17" fmla="*/ 198596 w 232981"/>
                <a:gd name="connsiteY17" fmla="*/ 49054 h 307085"/>
                <a:gd name="connsiteX18" fmla="*/ 198596 w 232981"/>
                <a:gd name="connsiteY18" fmla="*/ 4858 h 307085"/>
                <a:gd name="connsiteX19" fmla="*/ 232982 w 232981"/>
                <a:gd name="connsiteY19" fmla="*/ 4858 h 307085"/>
                <a:gd name="connsiteX20" fmla="*/ 232982 w 232981"/>
                <a:gd name="connsiteY20" fmla="*/ 307086 h 307085"/>
                <a:gd name="connsiteX21" fmla="*/ 198596 w 232981"/>
                <a:gd name="connsiteY21" fmla="*/ 307086 h 307085"/>
                <a:gd name="connsiteX22" fmla="*/ 198596 w 232981"/>
                <a:gd name="connsiteY22" fmla="*/ 189262 h 307085"/>
                <a:gd name="connsiteX23" fmla="*/ 116491 w 232981"/>
                <a:gd name="connsiteY23" fmla="*/ 209931 h 307085"/>
                <a:gd name="connsiteX24" fmla="*/ 147542 w 232981"/>
                <a:gd name="connsiteY24" fmla="*/ 203454 h 307085"/>
                <a:gd name="connsiteX25" fmla="*/ 174308 w 232981"/>
                <a:gd name="connsiteY25" fmla="*/ 185166 h 307085"/>
                <a:gd name="connsiteX26" fmla="*/ 193072 w 232981"/>
                <a:gd name="connsiteY26" fmla="*/ 157067 h 307085"/>
                <a:gd name="connsiteX27" fmla="*/ 200025 w 232981"/>
                <a:gd name="connsiteY27" fmla="*/ 120682 h 307085"/>
                <a:gd name="connsiteX28" fmla="*/ 200025 w 232981"/>
                <a:gd name="connsiteY28" fmla="*/ 119824 h 307085"/>
                <a:gd name="connsiteX29" fmla="*/ 193072 w 232981"/>
                <a:gd name="connsiteY29" fmla="*/ 83439 h 307085"/>
                <a:gd name="connsiteX30" fmla="*/ 174308 w 232981"/>
                <a:gd name="connsiteY30" fmla="*/ 55531 h 307085"/>
                <a:gd name="connsiteX31" fmla="*/ 147542 w 232981"/>
                <a:gd name="connsiteY31" fmla="*/ 37433 h 307085"/>
                <a:gd name="connsiteX32" fmla="*/ 116491 w 232981"/>
                <a:gd name="connsiteY32" fmla="*/ 30956 h 307085"/>
                <a:gd name="connsiteX33" fmla="*/ 84773 w 232981"/>
                <a:gd name="connsiteY33" fmla="*/ 36957 h 307085"/>
                <a:gd name="connsiteX34" fmla="*/ 59150 w 232981"/>
                <a:gd name="connsiteY34" fmla="*/ 54388 h 307085"/>
                <a:gd name="connsiteX35" fmla="*/ 41720 w 232981"/>
                <a:gd name="connsiteY35" fmla="*/ 82296 h 307085"/>
                <a:gd name="connsiteX36" fmla="*/ 35242 w 232981"/>
                <a:gd name="connsiteY36" fmla="*/ 119824 h 307085"/>
                <a:gd name="connsiteX37" fmla="*/ 35242 w 232981"/>
                <a:gd name="connsiteY37" fmla="*/ 120682 h 307085"/>
                <a:gd name="connsiteX38" fmla="*/ 41720 w 232981"/>
                <a:gd name="connsiteY38" fmla="*/ 157734 h 307085"/>
                <a:gd name="connsiteX39" fmla="*/ 59341 w 232981"/>
                <a:gd name="connsiteY39" fmla="*/ 185833 h 307085"/>
                <a:gd name="connsiteX40" fmla="*/ 85249 w 232981"/>
                <a:gd name="connsiteY40" fmla="*/ 203740 h 307085"/>
                <a:gd name="connsiteX41" fmla="*/ 116491 w 232981"/>
                <a:gd name="connsiteY41" fmla="*/ 210026 h 30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07085">
                  <a:moveTo>
                    <a:pt x="198596" y="189357"/>
                  </a:moveTo>
                  <a:cubicBezTo>
                    <a:pt x="193834" y="196215"/>
                    <a:pt x="188595" y="202787"/>
                    <a:pt x="182785" y="208978"/>
                  </a:cubicBezTo>
                  <a:cubicBezTo>
                    <a:pt x="176975" y="215265"/>
                    <a:pt x="170498" y="220789"/>
                    <a:pt x="163354" y="225552"/>
                  </a:cubicBezTo>
                  <a:cubicBezTo>
                    <a:pt x="156210" y="230314"/>
                    <a:pt x="148209" y="234029"/>
                    <a:pt x="139446" y="236696"/>
                  </a:cubicBezTo>
                  <a:cubicBezTo>
                    <a:pt x="130683" y="239363"/>
                    <a:pt x="120967" y="240697"/>
                    <a:pt x="110204" y="240697"/>
                  </a:cubicBezTo>
                  <a:cubicBezTo>
                    <a:pt x="96203" y="240697"/>
                    <a:pt x="82677" y="238030"/>
                    <a:pt x="69628" y="232696"/>
                  </a:cubicBezTo>
                  <a:cubicBezTo>
                    <a:pt x="56579" y="227362"/>
                    <a:pt x="44767" y="219551"/>
                    <a:pt x="34385" y="209264"/>
                  </a:cubicBezTo>
                  <a:cubicBezTo>
                    <a:pt x="24003" y="198977"/>
                    <a:pt x="15621" y="186499"/>
                    <a:pt x="9335" y="171736"/>
                  </a:cubicBezTo>
                  <a:cubicBezTo>
                    <a:pt x="3048" y="156972"/>
                    <a:pt x="0" y="140113"/>
                    <a:pt x="0" y="121063"/>
                  </a:cubicBezTo>
                  <a:lnTo>
                    <a:pt x="0" y="120205"/>
                  </a:lnTo>
                  <a:cubicBezTo>
                    <a:pt x="0" y="101441"/>
                    <a:pt x="3143" y="84677"/>
                    <a:pt x="9335" y="69723"/>
                  </a:cubicBezTo>
                  <a:cubicBezTo>
                    <a:pt x="15621" y="54864"/>
                    <a:pt x="23908" y="42291"/>
                    <a:pt x="34385" y="32004"/>
                  </a:cubicBezTo>
                  <a:cubicBezTo>
                    <a:pt x="44767" y="21717"/>
                    <a:pt x="56579" y="13811"/>
                    <a:pt x="69628" y="8287"/>
                  </a:cubicBezTo>
                  <a:cubicBezTo>
                    <a:pt x="82677" y="2762"/>
                    <a:pt x="96298" y="0"/>
                    <a:pt x="110204" y="0"/>
                  </a:cubicBezTo>
                  <a:cubicBezTo>
                    <a:pt x="120967" y="0"/>
                    <a:pt x="130778" y="1333"/>
                    <a:pt x="139637" y="4000"/>
                  </a:cubicBezTo>
                  <a:cubicBezTo>
                    <a:pt x="148590" y="6667"/>
                    <a:pt x="156591" y="10287"/>
                    <a:pt x="163735" y="14668"/>
                  </a:cubicBezTo>
                  <a:cubicBezTo>
                    <a:pt x="170879" y="19145"/>
                    <a:pt x="177356" y="24384"/>
                    <a:pt x="183166" y="30289"/>
                  </a:cubicBezTo>
                  <a:cubicBezTo>
                    <a:pt x="188976" y="36290"/>
                    <a:pt x="194120" y="42481"/>
                    <a:pt x="198596" y="49054"/>
                  </a:cubicBezTo>
                  <a:lnTo>
                    <a:pt x="198596" y="4858"/>
                  </a:lnTo>
                  <a:lnTo>
                    <a:pt x="232982" y="4858"/>
                  </a:lnTo>
                  <a:lnTo>
                    <a:pt x="232982" y="307086"/>
                  </a:lnTo>
                  <a:lnTo>
                    <a:pt x="198596" y="307086"/>
                  </a:lnTo>
                  <a:lnTo>
                    <a:pt x="198596" y="189262"/>
                  </a:lnTo>
                  <a:close/>
                  <a:moveTo>
                    <a:pt x="116491" y="209931"/>
                  </a:moveTo>
                  <a:cubicBezTo>
                    <a:pt x="127159" y="209931"/>
                    <a:pt x="137541" y="207740"/>
                    <a:pt x="147542" y="203454"/>
                  </a:cubicBezTo>
                  <a:cubicBezTo>
                    <a:pt x="157544" y="199168"/>
                    <a:pt x="166402" y="193072"/>
                    <a:pt x="174308" y="185166"/>
                  </a:cubicBezTo>
                  <a:cubicBezTo>
                    <a:pt x="182213" y="177260"/>
                    <a:pt x="188404" y="167926"/>
                    <a:pt x="193072" y="157067"/>
                  </a:cubicBezTo>
                  <a:cubicBezTo>
                    <a:pt x="197739" y="146209"/>
                    <a:pt x="200025" y="134112"/>
                    <a:pt x="200025" y="120682"/>
                  </a:cubicBezTo>
                  <a:lnTo>
                    <a:pt x="200025" y="119824"/>
                  </a:lnTo>
                  <a:cubicBezTo>
                    <a:pt x="200025" y="106394"/>
                    <a:pt x="197739" y="94297"/>
                    <a:pt x="193072" y="83439"/>
                  </a:cubicBezTo>
                  <a:cubicBezTo>
                    <a:pt x="188500" y="72580"/>
                    <a:pt x="182213" y="63246"/>
                    <a:pt x="174308" y="55531"/>
                  </a:cubicBezTo>
                  <a:cubicBezTo>
                    <a:pt x="166402" y="47815"/>
                    <a:pt x="157544" y="41815"/>
                    <a:pt x="147542" y="37433"/>
                  </a:cubicBezTo>
                  <a:cubicBezTo>
                    <a:pt x="137541" y="33147"/>
                    <a:pt x="127254" y="30956"/>
                    <a:pt x="116491" y="30956"/>
                  </a:cubicBezTo>
                  <a:cubicBezTo>
                    <a:pt x="105156" y="30956"/>
                    <a:pt x="94583" y="32956"/>
                    <a:pt x="84773" y="36957"/>
                  </a:cubicBezTo>
                  <a:cubicBezTo>
                    <a:pt x="74962" y="40957"/>
                    <a:pt x="66389" y="46767"/>
                    <a:pt x="59150" y="54388"/>
                  </a:cubicBezTo>
                  <a:cubicBezTo>
                    <a:pt x="51816" y="61913"/>
                    <a:pt x="46101" y="71247"/>
                    <a:pt x="41720" y="82296"/>
                  </a:cubicBezTo>
                  <a:cubicBezTo>
                    <a:pt x="37433" y="93250"/>
                    <a:pt x="35242" y="105823"/>
                    <a:pt x="35242" y="119824"/>
                  </a:cubicBezTo>
                  <a:lnTo>
                    <a:pt x="35242" y="120682"/>
                  </a:lnTo>
                  <a:cubicBezTo>
                    <a:pt x="35242" y="134398"/>
                    <a:pt x="37433" y="146780"/>
                    <a:pt x="41720" y="157734"/>
                  </a:cubicBezTo>
                  <a:cubicBezTo>
                    <a:pt x="46006" y="168783"/>
                    <a:pt x="51911" y="178117"/>
                    <a:pt x="59341" y="185833"/>
                  </a:cubicBezTo>
                  <a:cubicBezTo>
                    <a:pt x="66770" y="193548"/>
                    <a:pt x="75438" y="199549"/>
                    <a:pt x="85249" y="203740"/>
                  </a:cubicBezTo>
                  <a:cubicBezTo>
                    <a:pt x="95060" y="207931"/>
                    <a:pt x="105442" y="210026"/>
                    <a:pt x="116491" y="210026"/>
                  </a:cubicBezTo>
                  <a:close/>
                </a:path>
              </a:pathLst>
            </a:custGeom>
            <a:solidFill>
              <a:srgbClr val="44505E"/>
            </a:solidFill>
            <a:ln w="9525" cap="flat">
              <a:noFill/>
              <a:prstDash val="solid"/>
              <a:miter/>
            </a:ln>
          </p:spPr>
          <p:txBody>
            <a:bodyPr rtlCol="0" anchor="ctr"/>
            <a:lstStyle/>
            <a:p>
              <a:endParaRPr lang="pt-BR" noProof="0"/>
            </a:p>
          </p:txBody>
        </p:sp>
        <p:sp>
          <p:nvSpPr>
            <p:cNvPr id="42" name="Freeform: Shape 41">
              <a:extLst>
                <a:ext uri="{FF2B5EF4-FFF2-40B4-BE49-F238E27FC236}">
                  <a16:creationId xmlns:a16="http://schemas.microsoft.com/office/drawing/2014/main" id="{953719CE-52AD-0CC1-C359-EC4BACF5382F}"/>
                </a:ext>
              </a:extLst>
            </p:cNvPr>
            <p:cNvSpPr/>
            <p:nvPr/>
          </p:nvSpPr>
          <p:spPr>
            <a:xfrm>
              <a:off x="5829624" y="925297"/>
              <a:ext cx="50618" cy="59238"/>
            </a:xfrm>
            <a:custGeom>
              <a:avLst/>
              <a:gdLst>
                <a:gd name="connsiteX0" fmla="*/ 88392 w 201358"/>
                <a:gd name="connsiteY0" fmla="*/ 235648 h 235648"/>
                <a:gd name="connsiteX1" fmla="*/ 51149 w 201358"/>
                <a:gd name="connsiteY1" fmla="*/ 228981 h 235648"/>
                <a:gd name="connsiteX2" fmla="*/ 23432 w 201358"/>
                <a:gd name="connsiteY2" fmla="*/ 210026 h 235648"/>
                <a:gd name="connsiteX3" fmla="*/ 6001 w 201358"/>
                <a:gd name="connsiteY3" fmla="*/ 180784 h 235648"/>
                <a:gd name="connsiteX4" fmla="*/ 0 w 201358"/>
                <a:gd name="connsiteY4" fmla="*/ 143256 h 235648"/>
                <a:gd name="connsiteX5" fmla="*/ 0 w 201358"/>
                <a:gd name="connsiteY5" fmla="*/ 0 h 235648"/>
                <a:gd name="connsiteX6" fmla="*/ 34385 w 201358"/>
                <a:gd name="connsiteY6" fmla="*/ 0 h 235648"/>
                <a:gd name="connsiteX7" fmla="*/ 34385 w 201358"/>
                <a:gd name="connsiteY7" fmla="*/ 134493 h 235648"/>
                <a:gd name="connsiteX8" fmla="*/ 50959 w 201358"/>
                <a:gd name="connsiteY8" fmla="*/ 185261 h 235648"/>
                <a:gd name="connsiteX9" fmla="*/ 98298 w 201358"/>
                <a:gd name="connsiteY9" fmla="*/ 203930 h 235648"/>
                <a:gd name="connsiteX10" fmla="*/ 125730 w 201358"/>
                <a:gd name="connsiteY10" fmla="*/ 198787 h 235648"/>
                <a:gd name="connsiteX11" fmla="*/ 147638 w 201358"/>
                <a:gd name="connsiteY11" fmla="*/ 184118 h 235648"/>
                <a:gd name="connsiteX12" fmla="*/ 162116 w 201358"/>
                <a:gd name="connsiteY12" fmla="*/ 161163 h 235648"/>
                <a:gd name="connsiteX13" fmla="*/ 167450 w 201358"/>
                <a:gd name="connsiteY13" fmla="*/ 131826 h 235648"/>
                <a:gd name="connsiteX14" fmla="*/ 167450 w 201358"/>
                <a:gd name="connsiteY14" fmla="*/ 0 h 235648"/>
                <a:gd name="connsiteX15" fmla="*/ 201359 w 201358"/>
                <a:gd name="connsiteY15" fmla="*/ 0 h 235648"/>
                <a:gd name="connsiteX16" fmla="*/ 201359 w 201358"/>
                <a:gd name="connsiteY16" fmla="*/ 230791 h 235648"/>
                <a:gd name="connsiteX17" fmla="*/ 167450 w 201358"/>
                <a:gd name="connsiteY17" fmla="*/ 230791 h 235648"/>
                <a:gd name="connsiteX18" fmla="*/ 167450 w 201358"/>
                <a:gd name="connsiteY18" fmla="*/ 190595 h 235648"/>
                <a:gd name="connsiteX19" fmla="*/ 137065 w 201358"/>
                <a:gd name="connsiteY19" fmla="*/ 222504 h 235648"/>
                <a:gd name="connsiteX20" fmla="*/ 88392 w 201358"/>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358" h="235648">
                  <a:moveTo>
                    <a:pt x="88392" y="235648"/>
                  </a:moveTo>
                  <a:cubicBezTo>
                    <a:pt x="74390" y="235648"/>
                    <a:pt x="62008" y="233363"/>
                    <a:pt x="51149" y="228981"/>
                  </a:cubicBezTo>
                  <a:cubicBezTo>
                    <a:pt x="40291" y="224504"/>
                    <a:pt x="31052" y="218218"/>
                    <a:pt x="23432"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959" y="185261"/>
                  </a:cubicBezTo>
                  <a:cubicBezTo>
                    <a:pt x="61913" y="197739"/>
                    <a:pt x="77724" y="203930"/>
                    <a:pt x="98298" y="203930"/>
                  </a:cubicBezTo>
                  <a:cubicBezTo>
                    <a:pt x="108109" y="203930"/>
                    <a:pt x="117253" y="202216"/>
                    <a:pt x="125730" y="198787"/>
                  </a:cubicBezTo>
                  <a:cubicBezTo>
                    <a:pt x="134207" y="195358"/>
                    <a:pt x="141446" y="190500"/>
                    <a:pt x="147638" y="184118"/>
                  </a:cubicBezTo>
                  <a:cubicBezTo>
                    <a:pt x="153734" y="177736"/>
                    <a:pt x="158591" y="170116"/>
                    <a:pt x="162116" y="161163"/>
                  </a:cubicBezTo>
                  <a:cubicBezTo>
                    <a:pt x="165735" y="152305"/>
                    <a:pt x="167450" y="142494"/>
                    <a:pt x="167450" y="131826"/>
                  </a:cubicBezTo>
                  <a:lnTo>
                    <a:pt x="167450" y="0"/>
                  </a:lnTo>
                  <a:lnTo>
                    <a:pt x="201359" y="0"/>
                  </a:lnTo>
                  <a:lnTo>
                    <a:pt x="201359" y="230791"/>
                  </a:lnTo>
                  <a:lnTo>
                    <a:pt x="167450" y="230791"/>
                  </a:lnTo>
                  <a:lnTo>
                    <a:pt x="167450" y="190595"/>
                  </a:lnTo>
                  <a:cubicBezTo>
                    <a:pt x="159734" y="203073"/>
                    <a:pt x="149543" y="213741"/>
                    <a:pt x="137065" y="222504"/>
                  </a:cubicBezTo>
                  <a:cubicBezTo>
                    <a:pt x="124587" y="231267"/>
                    <a:pt x="108395" y="235648"/>
                    <a:pt x="88392" y="235648"/>
                  </a:cubicBezTo>
                  <a:close/>
                </a:path>
              </a:pathLst>
            </a:custGeom>
            <a:solidFill>
              <a:srgbClr val="44505E"/>
            </a:solidFill>
            <a:ln w="9525" cap="flat">
              <a:noFill/>
              <a:prstDash val="solid"/>
              <a:miter/>
            </a:ln>
          </p:spPr>
          <p:txBody>
            <a:bodyPr rtlCol="0" anchor="ctr"/>
            <a:lstStyle/>
            <a:p>
              <a:endParaRPr lang="pt-BR" noProof="0"/>
            </a:p>
          </p:txBody>
        </p:sp>
        <p:sp>
          <p:nvSpPr>
            <p:cNvPr id="43" name="Freeform: Shape 42">
              <a:extLst>
                <a:ext uri="{FF2B5EF4-FFF2-40B4-BE49-F238E27FC236}">
                  <a16:creationId xmlns:a16="http://schemas.microsoft.com/office/drawing/2014/main" id="{E76209BF-38B9-C2CC-C855-5B0EFDCA79C5}"/>
                </a:ext>
              </a:extLst>
            </p:cNvPr>
            <p:cNvSpPr/>
            <p:nvPr/>
          </p:nvSpPr>
          <p:spPr>
            <a:xfrm>
              <a:off x="5896069"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7059 w 218217"/>
                <a:gd name="connsiteY3" fmla="*/ 206026 h 241077"/>
                <a:gd name="connsiteX4" fmla="*/ 116110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7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0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356 w 218217"/>
                <a:gd name="connsiteY25" fmla="*/ 106299 h 241077"/>
                <a:gd name="connsiteX26" fmla="*/ 176689 w 218217"/>
                <a:gd name="connsiteY26" fmla="*/ 76771 h 241077"/>
                <a:gd name="connsiteX27" fmla="*/ 162211 w 218217"/>
                <a:gd name="connsiteY27" fmla="*/ 52101 h 241077"/>
                <a:gd name="connsiteX28" fmla="*/ 139922 w 218217"/>
                <a:gd name="connsiteY28" fmla="*/ 35242 h 241077"/>
                <a:gd name="connsiteX29" fmla="*/ 109823 w 218217"/>
                <a:gd name="connsiteY29" fmla="*/ 29051 h 241077"/>
                <a:gd name="connsiteX30" fmla="*/ 82105 w 218217"/>
                <a:gd name="connsiteY30" fmla="*/ 34766 h 241077"/>
                <a:gd name="connsiteX31" fmla="*/ 59341 w 218217"/>
                <a:gd name="connsiteY31" fmla="*/ 50959 h 241077"/>
                <a:gd name="connsiteX32" fmla="*/ 43053 w 218217"/>
                <a:gd name="connsiteY32" fmla="*/ 75628 h 241077"/>
                <a:gd name="connsiteX33" fmla="*/ 34766 w 218217"/>
                <a:gd name="connsiteY33" fmla="*/ 106204 h 241077"/>
                <a:gd name="connsiteX34" fmla="*/ 183356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819" y="202597"/>
                    <a:pt x="87059" y="206026"/>
                  </a:cubicBezTo>
                  <a:cubicBezTo>
                    <a:pt x="96298" y="209455"/>
                    <a:pt x="105918" y="211169"/>
                    <a:pt x="116110" y="211169"/>
                  </a:cubicBezTo>
                  <a:cubicBezTo>
                    <a:pt x="132207" y="211169"/>
                    <a:pt x="145923" y="208216"/>
                    <a:pt x="157353" y="202216"/>
                  </a:cubicBezTo>
                  <a:cubicBezTo>
                    <a:pt x="168783" y="196310"/>
                    <a:pt x="179261" y="188404"/>
                    <a:pt x="188786" y="178594"/>
                  </a:cubicBezTo>
                  <a:lnTo>
                    <a:pt x="210217" y="197834"/>
                  </a:lnTo>
                  <a:cubicBezTo>
                    <a:pt x="198596" y="210979"/>
                    <a:pt x="185356" y="221361"/>
                    <a:pt x="170497" y="229267"/>
                  </a:cubicBezTo>
                  <a:cubicBezTo>
                    <a:pt x="155638"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583" y="0"/>
                    <a:pt x="110680"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356" y="106299"/>
                  </a:moveTo>
                  <a:cubicBezTo>
                    <a:pt x="182499" y="95917"/>
                    <a:pt x="180213" y="86106"/>
                    <a:pt x="176689" y="76771"/>
                  </a:cubicBezTo>
                  <a:cubicBezTo>
                    <a:pt x="173069" y="67437"/>
                    <a:pt x="168307" y="59245"/>
                    <a:pt x="162211" y="52101"/>
                  </a:cubicBezTo>
                  <a:cubicBezTo>
                    <a:pt x="156115" y="44958"/>
                    <a:pt x="148685" y="39338"/>
                    <a:pt x="139922" y="35242"/>
                  </a:cubicBezTo>
                  <a:cubicBezTo>
                    <a:pt x="131159" y="31147"/>
                    <a:pt x="121063" y="29051"/>
                    <a:pt x="109823" y="29051"/>
                  </a:cubicBezTo>
                  <a:cubicBezTo>
                    <a:pt x="100013" y="29051"/>
                    <a:pt x="90773" y="30956"/>
                    <a:pt x="82105" y="34766"/>
                  </a:cubicBezTo>
                  <a:cubicBezTo>
                    <a:pt x="73438" y="38671"/>
                    <a:pt x="65913" y="44005"/>
                    <a:pt x="59341" y="50959"/>
                  </a:cubicBezTo>
                  <a:cubicBezTo>
                    <a:pt x="52769" y="57912"/>
                    <a:pt x="47339" y="66103"/>
                    <a:pt x="43053" y="75628"/>
                  </a:cubicBezTo>
                  <a:cubicBezTo>
                    <a:pt x="38767" y="85058"/>
                    <a:pt x="36004" y="95345"/>
                    <a:pt x="34766" y="106204"/>
                  </a:cubicBezTo>
                  <a:lnTo>
                    <a:pt x="183356" y="106204"/>
                  </a:lnTo>
                  <a:close/>
                </a:path>
              </a:pathLst>
            </a:custGeom>
            <a:solidFill>
              <a:srgbClr val="44505E"/>
            </a:solidFill>
            <a:ln w="9525" cap="flat">
              <a:noFill/>
              <a:prstDash val="solid"/>
              <a:miter/>
            </a:ln>
          </p:spPr>
          <p:txBody>
            <a:bodyPr rtlCol="0" anchor="ctr"/>
            <a:lstStyle/>
            <a:p>
              <a:endParaRPr lang="pt-BR" noProof="0"/>
            </a:p>
          </p:txBody>
        </p:sp>
        <p:sp>
          <p:nvSpPr>
            <p:cNvPr id="44" name="Freeform: Shape 43">
              <a:extLst>
                <a:ext uri="{FF2B5EF4-FFF2-40B4-BE49-F238E27FC236}">
                  <a16:creationId xmlns:a16="http://schemas.microsoft.com/office/drawing/2014/main" id="{0047F5EA-A3C2-ED06-0F56-A2EBC67400C6}"/>
                </a:ext>
              </a:extLst>
            </p:cNvPr>
            <p:cNvSpPr/>
            <p:nvPr/>
          </p:nvSpPr>
          <p:spPr>
            <a:xfrm>
              <a:off x="5994910" y="924268"/>
              <a:ext cx="44680" cy="60195"/>
            </a:xfrm>
            <a:custGeom>
              <a:avLst/>
              <a:gdLst>
                <a:gd name="connsiteX0" fmla="*/ 95536 w 177736"/>
                <a:gd name="connsiteY0" fmla="*/ 239268 h 239458"/>
                <a:gd name="connsiteX1" fmla="*/ 45053 w 177736"/>
                <a:gd name="connsiteY1" fmla="*/ 230124 h 239458"/>
                <a:gd name="connsiteX2" fmla="*/ 0 w 177736"/>
                <a:gd name="connsiteY2" fmla="*/ 205359 h 239458"/>
                <a:gd name="connsiteX3" fmla="*/ 17431 w 177736"/>
                <a:gd name="connsiteY3" fmla="*/ 180785 h 239458"/>
                <a:gd name="connsiteX4" fmla="*/ 56483 w 177736"/>
                <a:gd name="connsiteY4" fmla="*/ 202692 h 239458"/>
                <a:gd name="connsiteX5" fmla="*/ 97346 w 177736"/>
                <a:gd name="connsiteY5" fmla="*/ 210217 h 239458"/>
                <a:gd name="connsiteX6" fmla="*/ 131731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730 w 177736"/>
                <a:gd name="connsiteY10" fmla="*/ 147066 h 239458"/>
                <a:gd name="connsiteX11" fmla="*/ 109252 w 177736"/>
                <a:gd name="connsiteY11" fmla="*/ 138779 h 239458"/>
                <a:gd name="connsiteX12" fmla="*/ 87630 w 177736"/>
                <a:gd name="connsiteY12" fmla="*/ 132112 h 239458"/>
                <a:gd name="connsiteX13" fmla="*/ 60674 w 177736"/>
                <a:gd name="connsiteY13" fmla="*/ 123444 h 239458"/>
                <a:gd name="connsiteX14" fmla="*/ 36100 w 177736"/>
                <a:gd name="connsiteY14" fmla="*/ 111633 h 239458"/>
                <a:gd name="connsiteX15" fmla="*/ 18193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60 w 177736"/>
                <a:gd name="connsiteY22" fmla="*/ 6953 h 239458"/>
                <a:gd name="connsiteX23" fmla="*/ 172879 w 177736"/>
                <a:gd name="connsiteY23" fmla="*/ 25527 h 239458"/>
                <a:gd name="connsiteX24" fmla="*/ 157258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4 w 177736"/>
                <a:gd name="connsiteY32" fmla="*/ 96203 h 239458"/>
                <a:gd name="connsiteX33" fmla="*/ 103632 w 177736"/>
                <a:gd name="connsiteY33" fmla="*/ 103346 h 239458"/>
                <a:gd name="connsiteX34" fmla="*/ 130207 w 177736"/>
                <a:gd name="connsiteY34" fmla="*/ 112300 h 239458"/>
                <a:gd name="connsiteX35" fmla="*/ 154114 w 177736"/>
                <a:gd name="connsiteY35" fmla="*/ 124778 h 239458"/>
                <a:gd name="connsiteX36" fmla="*/ 171260 w 177736"/>
                <a:gd name="connsiteY36" fmla="*/ 143066 h 239458"/>
                <a:gd name="connsiteX37" fmla="*/ 177737 w 177736"/>
                <a:gd name="connsiteY37" fmla="*/ 169450 h 239458"/>
                <a:gd name="connsiteX38" fmla="*/ 177737 w 177736"/>
                <a:gd name="connsiteY38" fmla="*/ 170307 h 239458"/>
                <a:gd name="connsiteX39" fmla="*/ 171260 w 177736"/>
                <a:gd name="connsiteY39" fmla="*/ 199549 h 239458"/>
                <a:gd name="connsiteX40" fmla="*/ 153829 w 177736"/>
                <a:gd name="connsiteY40" fmla="*/ 221171 h 239458"/>
                <a:gd name="connsiteX41" fmla="*/ 127921 w 177736"/>
                <a:gd name="connsiteY41" fmla="*/ 234791 h 239458"/>
                <a:gd name="connsiteX42" fmla="*/ 95536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6" y="239268"/>
                  </a:moveTo>
                  <a:cubicBezTo>
                    <a:pt x="78867" y="239268"/>
                    <a:pt x="62008" y="236220"/>
                    <a:pt x="45053" y="230124"/>
                  </a:cubicBezTo>
                  <a:cubicBezTo>
                    <a:pt x="28099" y="224028"/>
                    <a:pt x="13049" y="215741"/>
                    <a:pt x="0" y="205359"/>
                  </a:cubicBezTo>
                  <a:lnTo>
                    <a:pt x="17431" y="180785"/>
                  </a:lnTo>
                  <a:cubicBezTo>
                    <a:pt x="29909"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637" y="162211"/>
                    <a:pt x="140494" y="158020"/>
                  </a:cubicBezTo>
                  <a:cubicBezTo>
                    <a:pt x="137351" y="153829"/>
                    <a:pt x="133160" y="150209"/>
                    <a:pt x="127730" y="147066"/>
                  </a:cubicBezTo>
                  <a:cubicBezTo>
                    <a:pt x="122396" y="143923"/>
                    <a:pt x="116205" y="141161"/>
                    <a:pt x="109252" y="138779"/>
                  </a:cubicBezTo>
                  <a:cubicBezTo>
                    <a:pt x="102299" y="136398"/>
                    <a:pt x="95060" y="134207"/>
                    <a:pt x="87630" y="132112"/>
                  </a:cubicBezTo>
                  <a:cubicBezTo>
                    <a:pt x="78677" y="129445"/>
                    <a:pt x="69723" y="126492"/>
                    <a:pt x="60674" y="123444"/>
                  </a:cubicBezTo>
                  <a:cubicBezTo>
                    <a:pt x="51626" y="120301"/>
                    <a:pt x="43434" y="116396"/>
                    <a:pt x="36100" y="111633"/>
                  </a:cubicBezTo>
                  <a:cubicBezTo>
                    <a:pt x="28766" y="106871"/>
                    <a:pt x="22860" y="100870"/>
                    <a:pt x="18193" y="93726"/>
                  </a:cubicBezTo>
                  <a:cubicBezTo>
                    <a:pt x="13621" y="86582"/>
                    <a:pt x="11239" y="77629"/>
                    <a:pt x="11239" y="66961"/>
                  </a:cubicBezTo>
                  <a:lnTo>
                    <a:pt x="11239" y="66008"/>
                  </a:lnTo>
                  <a:cubicBezTo>
                    <a:pt x="11239" y="56198"/>
                    <a:pt x="13145" y="47149"/>
                    <a:pt x="17050" y="39053"/>
                  </a:cubicBezTo>
                  <a:cubicBezTo>
                    <a:pt x="20860" y="30861"/>
                    <a:pt x="26289" y="23908"/>
                    <a:pt x="33338" y="18098"/>
                  </a:cubicBezTo>
                  <a:cubicBezTo>
                    <a:pt x="40291" y="12287"/>
                    <a:pt x="48673" y="7811"/>
                    <a:pt x="58388" y="4667"/>
                  </a:cubicBezTo>
                  <a:cubicBezTo>
                    <a:pt x="68009" y="1524"/>
                    <a:pt x="78581" y="0"/>
                    <a:pt x="89821" y="0"/>
                  </a:cubicBezTo>
                  <a:cubicBezTo>
                    <a:pt x="104108" y="0"/>
                    <a:pt x="118491" y="2286"/>
                    <a:pt x="133160" y="6953"/>
                  </a:cubicBezTo>
                  <a:cubicBezTo>
                    <a:pt x="147733" y="11621"/>
                    <a:pt x="160972" y="17717"/>
                    <a:pt x="172879" y="25527"/>
                  </a:cubicBezTo>
                  <a:lnTo>
                    <a:pt x="157258" y="51435"/>
                  </a:lnTo>
                  <a:cubicBezTo>
                    <a:pt x="146495" y="44577"/>
                    <a:pt x="135350" y="39148"/>
                    <a:pt x="123539" y="35147"/>
                  </a:cubicBezTo>
                  <a:cubicBezTo>
                    <a:pt x="111824" y="31147"/>
                    <a:pt x="100298" y="29146"/>
                    <a:pt x="88963" y="29146"/>
                  </a:cubicBezTo>
                  <a:cubicBezTo>
                    <a:pt x="75247" y="29146"/>
                    <a:pt x="64389" y="32385"/>
                    <a:pt x="56388" y="38767"/>
                  </a:cubicBezTo>
                  <a:cubicBezTo>
                    <a:pt x="48387" y="45149"/>
                    <a:pt x="44291" y="53150"/>
                    <a:pt x="44291" y="62675"/>
                  </a:cubicBezTo>
                  <a:lnTo>
                    <a:pt x="44291" y="63627"/>
                  </a:lnTo>
                  <a:cubicBezTo>
                    <a:pt x="44291" y="68961"/>
                    <a:pt x="45911" y="73628"/>
                    <a:pt x="49244" y="77724"/>
                  </a:cubicBezTo>
                  <a:cubicBezTo>
                    <a:pt x="52483" y="81725"/>
                    <a:pt x="56960" y="85249"/>
                    <a:pt x="62389" y="88202"/>
                  </a:cubicBezTo>
                  <a:cubicBezTo>
                    <a:pt x="67913" y="91154"/>
                    <a:pt x="74200" y="93821"/>
                    <a:pt x="81344" y="96203"/>
                  </a:cubicBezTo>
                  <a:cubicBezTo>
                    <a:pt x="88487" y="98584"/>
                    <a:pt x="95917" y="100965"/>
                    <a:pt x="103632" y="103346"/>
                  </a:cubicBezTo>
                  <a:cubicBezTo>
                    <a:pt x="112586" y="106013"/>
                    <a:pt x="121444" y="108966"/>
                    <a:pt x="130207" y="112300"/>
                  </a:cubicBezTo>
                  <a:cubicBezTo>
                    <a:pt x="138970" y="115538"/>
                    <a:pt x="146971" y="119729"/>
                    <a:pt x="154114" y="124778"/>
                  </a:cubicBezTo>
                  <a:cubicBezTo>
                    <a:pt x="161258" y="129826"/>
                    <a:pt x="166973" y="135922"/>
                    <a:pt x="171260" y="143066"/>
                  </a:cubicBezTo>
                  <a:cubicBezTo>
                    <a:pt x="175546" y="150209"/>
                    <a:pt x="177737" y="158972"/>
                    <a:pt x="177737" y="169450"/>
                  </a:cubicBezTo>
                  <a:lnTo>
                    <a:pt x="177737" y="170307"/>
                  </a:lnTo>
                  <a:cubicBezTo>
                    <a:pt x="177737" y="181356"/>
                    <a:pt x="175546" y="191071"/>
                    <a:pt x="171260" y="199549"/>
                  </a:cubicBezTo>
                  <a:cubicBezTo>
                    <a:pt x="166973" y="208026"/>
                    <a:pt x="161163" y="215265"/>
                    <a:pt x="153829" y="221171"/>
                  </a:cubicBezTo>
                  <a:cubicBezTo>
                    <a:pt x="146495" y="227171"/>
                    <a:pt x="137922" y="231648"/>
                    <a:pt x="127921" y="234791"/>
                  </a:cubicBezTo>
                  <a:cubicBezTo>
                    <a:pt x="117920" y="237935"/>
                    <a:pt x="107156" y="239459"/>
                    <a:pt x="95536" y="239459"/>
                  </a:cubicBezTo>
                  <a:close/>
                </a:path>
              </a:pathLst>
            </a:custGeom>
            <a:solidFill>
              <a:srgbClr val="44505E"/>
            </a:solidFill>
            <a:ln w="9525" cap="flat">
              <a:noFill/>
              <a:prstDash val="solid"/>
              <a:miter/>
            </a:ln>
          </p:spPr>
          <p:txBody>
            <a:bodyPr rtlCol="0" anchor="ctr"/>
            <a:lstStyle/>
            <a:p>
              <a:endParaRPr lang="pt-BR" noProof="0"/>
            </a:p>
          </p:txBody>
        </p:sp>
        <p:sp>
          <p:nvSpPr>
            <p:cNvPr id="45" name="Freeform: Shape 44">
              <a:extLst>
                <a:ext uri="{FF2B5EF4-FFF2-40B4-BE49-F238E27FC236}">
                  <a16:creationId xmlns:a16="http://schemas.microsoft.com/office/drawing/2014/main" id="{2CD17BAC-2522-91A1-5987-9B580F1E9240}"/>
                </a:ext>
              </a:extLst>
            </p:cNvPr>
            <p:cNvSpPr/>
            <p:nvPr/>
          </p:nvSpPr>
          <p:spPr>
            <a:xfrm>
              <a:off x="605122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4 w 202977"/>
                <a:gd name="connsiteY30" fmla="*/ 174593 h 239267"/>
                <a:gd name="connsiteX31" fmla="*/ 169735 w 202977"/>
                <a:gd name="connsiteY31" fmla="*/ 149447 h 239267"/>
                <a:gd name="connsiteX32" fmla="*/ 169735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0" y="90964"/>
                    <a:pt x="98584" y="90964"/>
                  </a:cubicBezTo>
                  <a:cubicBezTo>
                    <a:pt x="113157" y="90964"/>
                    <a:pt x="126301"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1" y="33147"/>
                    <a:pt x="63436" y="36100"/>
                  </a:cubicBezTo>
                  <a:cubicBezTo>
                    <a:pt x="52292" y="39053"/>
                    <a:pt x="41338" y="43053"/>
                    <a:pt x="30671" y="48196"/>
                  </a:cubicBezTo>
                  <a:lnTo>
                    <a:pt x="20383" y="19907"/>
                  </a:lnTo>
                  <a:cubicBezTo>
                    <a:pt x="33147" y="13906"/>
                    <a:pt x="46101" y="9049"/>
                    <a:pt x="59246" y="5429"/>
                  </a:cubicBezTo>
                  <a:cubicBezTo>
                    <a:pt x="72295"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1" y="239173"/>
                  </a:cubicBezTo>
                  <a:close/>
                  <a:moveTo>
                    <a:pt x="93154" y="211169"/>
                  </a:moveTo>
                  <a:cubicBezTo>
                    <a:pt x="103822" y="211169"/>
                    <a:pt x="113728" y="209740"/>
                    <a:pt x="122967" y="206788"/>
                  </a:cubicBezTo>
                  <a:cubicBezTo>
                    <a:pt x="132207" y="203835"/>
                    <a:pt x="140208" y="199644"/>
                    <a:pt x="147256" y="194120"/>
                  </a:cubicBezTo>
                  <a:cubicBezTo>
                    <a:pt x="154209" y="188595"/>
                    <a:pt x="159734" y="182118"/>
                    <a:pt x="163734" y="174593"/>
                  </a:cubicBezTo>
                  <a:cubicBezTo>
                    <a:pt x="167735" y="167068"/>
                    <a:pt x="169735" y="158687"/>
                    <a:pt x="169735" y="149447"/>
                  </a:cubicBezTo>
                  <a:lnTo>
                    <a:pt x="169735" y="128111"/>
                  </a:lnTo>
                  <a:cubicBezTo>
                    <a:pt x="161163" y="125730"/>
                    <a:pt x="151352" y="123539"/>
                    <a:pt x="140398" y="121444"/>
                  </a:cubicBezTo>
                  <a:cubicBezTo>
                    <a:pt x="129445" y="119348"/>
                    <a:pt x="116872"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46" name="Freeform: Shape 45">
              <a:extLst>
                <a:ext uri="{FF2B5EF4-FFF2-40B4-BE49-F238E27FC236}">
                  <a16:creationId xmlns:a16="http://schemas.microsoft.com/office/drawing/2014/main" id="{42092D44-9910-CC6E-3BCE-15BDB6F97AF4}"/>
                </a:ext>
              </a:extLst>
            </p:cNvPr>
            <p:cNvSpPr/>
            <p:nvPr/>
          </p:nvSpPr>
          <p:spPr>
            <a:xfrm>
              <a:off x="6121359" y="901377"/>
              <a:ext cx="8644" cy="81913"/>
            </a:xfrm>
            <a:custGeom>
              <a:avLst/>
              <a:gdLst>
                <a:gd name="connsiteX0" fmla="*/ 0 w 34385"/>
                <a:gd name="connsiteY0" fmla="*/ 0 h 325850"/>
                <a:gd name="connsiteX1" fmla="*/ 34385 w 34385"/>
                <a:gd name="connsiteY1" fmla="*/ 0 h 325850"/>
                <a:gd name="connsiteX2" fmla="*/ 34385 w 34385"/>
                <a:gd name="connsiteY2" fmla="*/ 325850 h 325850"/>
                <a:gd name="connsiteX3" fmla="*/ 0 w 34385"/>
                <a:gd name="connsiteY3" fmla="*/ 325850 h 325850"/>
                <a:gd name="connsiteX4" fmla="*/ 0 w 34385"/>
                <a:gd name="connsiteY4" fmla="*/ 0 h 32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 h="325850">
                  <a:moveTo>
                    <a:pt x="0" y="0"/>
                  </a:moveTo>
                  <a:lnTo>
                    <a:pt x="34385" y="0"/>
                  </a:lnTo>
                  <a:lnTo>
                    <a:pt x="34385" y="325850"/>
                  </a:lnTo>
                  <a:lnTo>
                    <a:pt x="0" y="325850"/>
                  </a:lnTo>
                  <a:lnTo>
                    <a:pt x="0" y="0"/>
                  </a:lnTo>
                  <a:close/>
                </a:path>
              </a:pathLst>
            </a:custGeom>
            <a:solidFill>
              <a:srgbClr val="44505E"/>
            </a:solidFill>
            <a:ln w="9525" cap="flat">
              <a:noFill/>
              <a:prstDash val="solid"/>
              <a:miter/>
            </a:ln>
          </p:spPr>
          <p:txBody>
            <a:bodyPr rtlCol="0" anchor="ctr"/>
            <a:lstStyle/>
            <a:p>
              <a:endParaRPr lang="pt-BR" noProof="0"/>
            </a:p>
          </p:txBody>
        </p:sp>
        <p:sp>
          <p:nvSpPr>
            <p:cNvPr id="47" name="Freeform: Shape 46">
              <a:extLst>
                <a:ext uri="{FF2B5EF4-FFF2-40B4-BE49-F238E27FC236}">
                  <a16:creationId xmlns:a16="http://schemas.microsoft.com/office/drawing/2014/main" id="{04BB61AB-DEE7-29DB-D654-C0481BC8019C}"/>
                </a:ext>
              </a:extLst>
            </p:cNvPr>
            <p:cNvSpPr/>
            <p:nvPr/>
          </p:nvSpPr>
          <p:spPr>
            <a:xfrm>
              <a:off x="6144346" y="925273"/>
              <a:ext cx="58016" cy="58448"/>
            </a:xfrm>
            <a:custGeom>
              <a:avLst/>
              <a:gdLst>
                <a:gd name="connsiteX0" fmla="*/ 95 w 230790"/>
                <a:gd name="connsiteY0" fmla="*/ 0 h 232505"/>
                <a:gd name="connsiteX1" fmla="*/ 38005 w 230790"/>
                <a:gd name="connsiteY1" fmla="*/ 0 h 232505"/>
                <a:gd name="connsiteX2" fmla="*/ 115634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4"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48" name="Freeform: Shape 47">
              <a:extLst>
                <a:ext uri="{FF2B5EF4-FFF2-40B4-BE49-F238E27FC236}">
                  <a16:creationId xmlns:a16="http://schemas.microsoft.com/office/drawing/2014/main" id="{98EF5A7B-CCDA-217D-D0F3-9449FD8C42A6}"/>
                </a:ext>
              </a:extLst>
            </p:cNvPr>
            <p:cNvSpPr/>
            <p:nvPr/>
          </p:nvSpPr>
          <p:spPr>
            <a:xfrm>
              <a:off x="621155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8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338 w 202977"/>
                <a:gd name="connsiteY36" fmla="*/ 164497 h 239267"/>
                <a:gd name="connsiteX37" fmla="*/ 35338 w 202977"/>
                <a:gd name="connsiteY37" fmla="*/ 165449 h 239267"/>
                <a:gd name="connsiteX38" fmla="*/ 40005 w 202977"/>
                <a:gd name="connsiteY38" fmla="*/ 184785 h 239267"/>
                <a:gd name="connsiteX39" fmla="*/ 52673 w 202977"/>
                <a:gd name="connsiteY39" fmla="*/ 199263 h 239267"/>
                <a:gd name="connsiteX40" fmla="*/ 71152 w 202977"/>
                <a:gd name="connsiteY40" fmla="*/ 208121 h 239267"/>
                <a:gd name="connsiteX41" fmla="*/ 93154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438" y="239268"/>
                    <a:pt x="64961"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1" y="90964"/>
                    <a:pt x="98584" y="90964"/>
                  </a:cubicBezTo>
                  <a:cubicBezTo>
                    <a:pt x="113157" y="90964"/>
                    <a:pt x="126302" y="91821"/>
                    <a:pt x="137160" y="93631"/>
                  </a:cubicBezTo>
                  <a:cubicBezTo>
                    <a:pt x="148019" y="95440"/>
                    <a:pt x="158687" y="97822"/>
                    <a:pt x="169069" y="100774"/>
                  </a:cubicBezTo>
                  <a:lnTo>
                    <a:pt x="169069" y="93726"/>
                  </a:lnTo>
                  <a:cubicBezTo>
                    <a:pt x="169069" y="73342"/>
                    <a:pt x="163068" y="57912"/>
                    <a:pt x="151162" y="47339"/>
                  </a:cubicBezTo>
                  <a:cubicBezTo>
                    <a:pt x="139255" y="36862"/>
                    <a:pt x="122491" y="31623"/>
                    <a:pt x="100679" y="31623"/>
                  </a:cubicBezTo>
                  <a:cubicBezTo>
                    <a:pt x="86963" y="31623"/>
                    <a:pt x="74581" y="33147"/>
                    <a:pt x="63437" y="36100"/>
                  </a:cubicBezTo>
                  <a:cubicBezTo>
                    <a:pt x="52292" y="39053"/>
                    <a:pt x="41338" y="43053"/>
                    <a:pt x="30671" y="48196"/>
                  </a:cubicBezTo>
                  <a:lnTo>
                    <a:pt x="20383" y="19907"/>
                  </a:lnTo>
                  <a:cubicBezTo>
                    <a:pt x="33147" y="13906"/>
                    <a:pt x="46101" y="9049"/>
                    <a:pt x="59246" y="5429"/>
                  </a:cubicBezTo>
                  <a:cubicBezTo>
                    <a:pt x="72390"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04" y="239173"/>
                    <a:pt x="86011" y="239173"/>
                  </a:cubicBezTo>
                  <a:close/>
                  <a:moveTo>
                    <a:pt x="93154" y="211169"/>
                  </a:moveTo>
                  <a:cubicBezTo>
                    <a:pt x="103822" y="211169"/>
                    <a:pt x="113824" y="209740"/>
                    <a:pt x="122968" y="206788"/>
                  </a:cubicBezTo>
                  <a:cubicBezTo>
                    <a:pt x="132112"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5" y="119348"/>
                    <a:pt x="116777" y="118300"/>
                    <a:pt x="102584" y="118300"/>
                  </a:cubicBezTo>
                  <a:cubicBezTo>
                    <a:pt x="81248" y="118300"/>
                    <a:pt x="64675" y="122491"/>
                    <a:pt x="52959" y="130969"/>
                  </a:cubicBezTo>
                  <a:cubicBezTo>
                    <a:pt x="41243" y="139446"/>
                    <a:pt x="35338" y="150590"/>
                    <a:pt x="35338" y="164497"/>
                  </a:cubicBezTo>
                  <a:lnTo>
                    <a:pt x="35338" y="165449"/>
                  </a:lnTo>
                  <a:cubicBezTo>
                    <a:pt x="35338" y="172498"/>
                    <a:pt x="36862" y="178975"/>
                    <a:pt x="40005" y="184785"/>
                  </a:cubicBezTo>
                  <a:cubicBezTo>
                    <a:pt x="43148" y="190500"/>
                    <a:pt x="47339" y="195358"/>
                    <a:pt x="52673" y="199263"/>
                  </a:cubicBezTo>
                  <a:cubicBezTo>
                    <a:pt x="58007" y="203073"/>
                    <a:pt x="64198" y="206026"/>
                    <a:pt x="71152" y="208121"/>
                  </a:cubicBezTo>
                  <a:cubicBezTo>
                    <a:pt x="78105" y="210217"/>
                    <a:pt x="85439" y="211169"/>
                    <a:pt x="93154" y="211169"/>
                  </a:cubicBezTo>
                  <a:close/>
                </a:path>
              </a:pathLst>
            </a:custGeom>
            <a:solidFill>
              <a:srgbClr val="44505E"/>
            </a:solidFill>
            <a:ln w="9525" cap="flat">
              <a:noFill/>
              <a:prstDash val="solid"/>
              <a:miter/>
            </a:ln>
          </p:spPr>
          <p:txBody>
            <a:bodyPr rtlCol="0" anchor="ctr"/>
            <a:lstStyle/>
            <a:p>
              <a:endParaRPr lang="pt-BR" noProof="0"/>
            </a:p>
          </p:txBody>
        </p:sp>
        <p:sp>
          <p:nvSpPr>
            <p:cNvPr id="49" name="Freeform: Shape 48">
              <a:extLst>
                <a:ext uri="{FF2B5EF4-FFF2-40B4-BE49-F238E27FC236}">
                  <a16:creationId xmlns:a16="http://schemas.microsoft.com/office/drawing/2014/main" id="{A5CDE966-C79C-93BC-B07A-F74C00DB9831}"/>
                </a:ext>
              </a:extLst>
            </p:cNvPr>
            <p:cNvSpPr/>
            <p:nvPr/>
          </p:nvSpPr>
          <p:spPr>
            <a:xfrm>
              <a:off x="6280899" y="923980"/>
              <a:ext cx="87995" cy="59238"/>
            </a:xfrm>
            <a:custGeom>
              <a:avLst/>
              <a:gdLst>
                <a:gd name="connsiteX0" fmla="*/ 0 w 350043"/>
                <a:gd name="connsiteY0" fmla="*/ 5144 h 235648"/>
                <a:gd name="connsiteX1" fmla="*/ 34385 w 350043"/>
                <a:gd name="connsiteY1" fmla="*/ 5144 h 235648"/>
                <a:gd name="connsiteX2" fmla="*/ 34385 w 350043"/>
                <a:gd name="connsiteY2" fmla="*/ 44005 h 235648"/>
                <a:gd name="connsiteX3" fmla="*/ 47149 w 350043"/>
                <a:gd name="connsiteY3" fmla="*/ 27432 h 235648"/>
                <a:gd name="connsiteX4" fmla="*/ 62960 w 350043"/>
                <a:gd name="connsiteY4" fmla="*/ 13335 h 235648"/>
                <a:gd name="connsiteX5" fmla="*/ 83058 w 350043"/>
                <a:gd name="connsiteY5" fmla="*/ 3715 h 235648"/>
                <a:gd name="connsiteX6" fmla="*/ 108966 w 350043"/>
                <a:gd name="connsiteY6" fmla="*/ 95 h 235648"/>
                <a:gd name="connsiteX7" fmla="*/ 155448 w 350043"/>
                <a:gd name="connsiteY7" fmla="*/ 13240 h 235648"/>
                <a:gd name="connsiteX8" fmla="*/ 183166 w 350043"/>
                <a:gd name="connsiteY8" fmla="*/ 46006 h 235648"/>
                <a:gd name="connsiteX9" fmla="*/ 197168 w 350043"/>
                <a:gd name="connsiteY9" fmla="*/ 28194 h 235648"/>
                <a:gd name="connsiteX10" fmla="*/ 214789 w 350043"/>
                <a:gd name="connsiteY10" fmla="*/ 13430 h 235648"/>
                <a:gd name="connsiteX11" fmla="*/ 236887 w 350043"/>
                <a:gd name="connsiteY11" fmla="*/ 3620 h 235648"/>
                <a:gd name="connsiteX12" fmla="*/ 264319 w 350043"/>
                <a:gd name="connsiteY12" fmla="*/ 0 h 235648"/>
                <a:gd name="connsiteX13" fmla="*/ 327279 w 350043"/>
                <a:gd name="connsiteY13" fmla="*/ 24765 h 235648"/>
                <a:gd name="connsiteX14" fmla="*/ 350044 w 350043"/>
                <a:gd name="connsiteY14" fmla="*/ 92773 h 235648"/>
                <a:gd name="connsiteX15" fmla="*/ 350044 w 350043"/>
                <a:gd name="connsiteY15" fmla="*/ 235648 h 235648"/>
                <a:gd name="connsiteX16" fmla="*/ 315659 w 350043"/>
                <a:gd name="connsiteY16" fmla="*/ 235648 h 235648"/>
                <a:gd name="connsiteX17" fmla="*/ 315659 w 350043"/>
                <a:gd name="connsiteY17" fmla="*/ 101155 h 235648"/>
                <a:gd name="connsiteX18" fmla="*/ 299847 w 350043"/>
                <a:gd name="connsiteY18" fmla="*/ 49721 h 235648"/>
                <a:gd name="connsiteX19" fmla="*/ 255937 w 350043"/>
                <a:gd name="connsiteY19" fmla="*/ 31718 h 235648"/>
                <a:gd name="connsiteX20" fmla="*/ 231362 w 350043"/>
                <a:gd name="connsiteY20" fmla="*/ 36386 h 235648"/>
                <a:gd name="connsiteX21" fmla="*/ 211074 w 350043"/>
                <a:gd name="connsiteY21" fmla="*/ 50197 h 235648"/>
                <a:gd name="connsiteX22" fmla="*/ 197263 w 350043"/>
                <a:gd name="connsiteY22" fmla="*/ 72676 h 235648"/>
                <a:gd name="connsiteX23" fmla="*/ 192119 w 350043"/>
                <a:gd name="connsiteY23" fmla="*/ 102965 h 235648"/>
                <a:gd name="connsiteX24" fmla="*/ 192119 w 350043"/>
                <a:gd name="connsiteY24" fmla="*/ 235648 h 235648"/>
                <a:gd name="connsiteX25" fmla="*/ 158210 w 350043"/>
                <a:gd name="connsiteY25" fmla="*/ 235648 h 235648"/>
                <a:gd name="connsiteX26" fmla="*/ 158210 w 350043"/>
                <a:gd name="connsiteY26" fmla="*/ 100298 h 235648"/>
                <a:gd name="connsiteX27" fmla="*/ 142399 w 350043"/>
                <a:gd name="connsiteY27" fmla="*/ 49721 h 235648"/>
                <a:gd name="connsiteX28" fmla="*/ 98870 w 350043"/>
                <a:gd name="connsiteY28" fmla="*/ 31718 h 235648"/>
                <a:gd name="connsiteX29" fmla="*/ 73438 w 350043"/>
                <a:gd name="connsiteY29" fmla="*/ 37052 h 235648"/>
                <a:gd name="connsiteX30" fmla="*/ 53150 w 350043"/>
                <a:gd name="connsiteY30" fmla="*/ 52197 h 235648"/>
                <a:gd name="connsiteX31" fmla="*/ 39529 w 350043"/>
                <a:gd name="connsiteY31" fmla="*/ 75152 h 235648"/>
                <a:gd name="connsiteX32" fmla="*/ 34576 w 350043"/>
                <a:gd name="connsiteY32" fmla="*/ 104299 h 235648"/>
                <a:gd name="connsiteX33" fmla="*/ 34576 w 350043"/>
                <a:gd name="connsiteY33" fmla="*/ 235648 h 235648"/>
                <a:gd name="connsiteX34" fmla="*/ 190 w 350043"/>
                <a:gd name="connsiteY34" fmla="*/ 235648 h 235648"/>
                <a:gd name="connsiteX35" fmla="*/ 190 w 350043"/>
                <a:gd name="connsiteY35" fmla="*/ 485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0043" h="235648">
                  <a:moveTo>
                    <a:pt x="0" y="5144"/>
                  </a:moveTo>
                  <a:lnTo>
                    <a:pt x="34385" y="5144"/>
                  </a:lnTo>
                  <a:lnTo>
                    <a:pt x="34385" y="44005"/>
                  </a:lnTo>
                  <a:cubicBezTo>
                    <a:pt x="38290" y="38386"/>
                    <a:pt x="42481" y="32861"/>
                    <a:pt x="47149" y="27432"/>
                  </a:cubicBezTo>
                  <a:cubicBezTo>
                    <a:pt x="51721" y="22098"/>
                    <a:pt x="57055" y="17431"/>
                    <a:pt x="62960" y="13335"/>
                  </a:cubicBezTo>
                  <a:cubicBezTo>
                    <a:pt x="68866" y="9335"/>
                    <a:pt x="75629" y="6096"/>
                    <a:pt x="83058" y="3715"/>
                  </a:cubicBezTo>
                  <a:cubicBezTo>
                    <a:pt x="90488" y="1334"/>
                    <a:pt x="99155" y="95"/>
                    <a:pt x="108966" y="95"/>
                  </a:cubicBezTo>
                  <a:cubicBezTo>
                    <a:pt x="127730" y="95"/>
                    <a:pt x="143161" y="4477"/>
                    <a:pt x="155448" y="13240"/>
                  </a:cubicBezTo>
                  <a:cubicBezTo>
                    <a:pt x="167640" y="22003"/>
                    <a:pt x="176879" y="32956"/>
                    <a:pt x="183166" y="46006"/>
                  </a:cubicBezTo>
                  <a:cubicBezTo>
                    <a:pt x="187357" y="39719"/>
                    <a:pt x="192024" y="33814"/>
                    <a:pt x="197168" y="28194"/>
                  </a:cubicBezTo>
                  <a:cubicBezTo>
                    <a:pt x="202406" y="22574"/>
                    <a:pt x="208217" y="17621"/>
                    <a:pt x="214789" y="13430"/>
                  </a:cubicBezTo>
                  <a:cubicBezTo>
                    <a:pt x="221361" y="9239"/>
                    <a:pt x="228695" y="6001"/>
                    <a:pt x="236887" y="3620"/>
                  </a:cubicBezTo>
                  <a:cubicBezTo>
                    <a:pt x="245078" y="1238"/>
                    <a:pt x="254222" y="0"/>
                    <a:pt x="264319" y="0"/>
                  </a:cubicBezTo>
                  <a:cubicBezTo>
                    <a:pt x="291084" y="0"/>
                    <a:pt x="312039" y="8287"/>
                    <a:pt x="327279" y="24765"/>
                  </a:cubicBezTo>
                  <a:cubicBezTo>
                    <a:pt x="342519" y="41243"/>
                    <a:pt x="350044" y="63913"/>
                    <a:pt x="350044" y="92773"/>
                  </a:cubicBezTo>
                  <a:lnTo>
                    <a:pt x="350044" y="235648"/>
                  </a:lnTo>
                  <a:lnTo>
                    <a:pt x="315659" y="235648"/>
                  </a:lnTo>
                  <a:lnTo>
                    <a:pt x="315659" y="101155"/>
                  </a:lnTo>
                  <a:cubicBezTo>
                    <a:pt x="315659" y="78867"/>
                    <a:pt x="310420" y="61722"/>
                    <a:pt x="299847" y="49721"/>
                  </a:cubicBezTo>
                  <a:cubicBezTo>
                    <a:pt x="289274" y="37719"/>
                    <a:pt x="274606" y="31718"/>
                    <a:pt x="255937" y="31718"/>
                  </a:cubicBezTo>
                  <a:cubicBezTo>
                    <a:pt x="247269" y="31718"/>
                    <a:pt x="239078" y="33242"/>
                    <a:pt x="231362" y="36386"/>
                  </a:cubicBezTo>
                  <a:cubicBezTo>
                    <a:pt x="223647" y="39529"/>
                    <a:pt x="216884" y="44101"/>
                    <a:pt x="211074" y="50197"/>
                  </a:cubicBezTo>
                  <a:cubicBezTo>
                    <a:pt x="205264" y="56293"/>
                    <a:pt x="200692" y="63818"/>
                    <a:pt x="197263" y="72676"/>
                  </a:cubicBezTo>
                  <a:cubicBezTo>
                    <a:pt x="193834" y="81629"/>
                    <a:pt x="192119" y="91726"/>
                    <a:pt x="192119" y="102965"/>
                  </a:cubicBezTo>
                  <a:lnTo>
                    <a:pt x="192119" y="235648"/>
                  </a:lnTo>
                  <a:lnTo>
                    <a:pt x="158210" y="235648"/>
                  </a:lnTo>
                  <a:lnTo>
                    <a:pt x="158210" y="100298"/>
                  </a:lnTo>
                  <a:cubicBezTo>
                    <a:pt x="158210" y="78677"/>
                    <a:pt x="152971" y="61817"/>
                    <a:pt x="142399" y="49721"/>
                  </a:cubicBezTo>
                  <a:cubicBezTo>
                    <a:pt x="131826" y="37719"/>
                    <a:pt x="117348" y="31718"/>
                    <a:pt x="98870" y="31718"/>
                  </a:cubicBezTo>
                  <a:cubicBezTo>
                    <a:pt x="89630" y="31718"/>
                    <a:pt x="81153" y="33528"/>
                    <a:pt x="73438" y="37052"/>
                  </a:cubicBezTo>
                  <a:cubicBezTo>
                    <a:pt x="65722" y="40672"/>
                    <a:pt x="58960" y="45720"/>
                    <a:pt x="53150" y="52197"/>
                  </a:cubicBezTo>
                  <a:cubicBezTo>
                    <a:pt x="47339" y="58769"/>
                    <a:pt x="42767" y="66389"/>
                    <a:pt x="39529" y="75152"/>
                  </a:cubicBezTo>
                  <a:cubicBezTo>
                    <a:pt x="36290" y="83915"/>
                    <a:pt x="34576" y="93631"/>
                    <a:pt x="34576" y="104299"/>
                  </a:cubicBezTo>
                  <a:lnTo>
                    <a:pt x="34576" y="235648"/>
                  </a:lnTo>
                  <a:lnTo>
                    <a:pt x="190" y="235648"/>
                  </a:lnTo>
                  <a:lnTo>
                    <a:pt x="190" y="4858"/>
                  </a:lnTo>
                  <a:close/>
                </a:path>
              </a:pathLst>
            </a:custGeom>
            <a:solidFill>
              <a:srgbClr val="44505E"/>
            </a:solidFill>
            <a:ln w="9525" cap="flat">
              <a:noFill/>
              <a:prstDash val="solid"/>
              <a:miter/>
            </a:ln>
          </p:spPr>
          <p:txBody>
            <a:bodyPr rtlCol="0" anchor="ctr"/>
            <a:lstStyle/>
            <a:p>
              <a:endParaRPr lang="pt-BR" noProof="0"/>
            </a:p>
          </p:txBody>
        </p:sp>
        <p:sp>
          <p:nvSpPr>
            <p:cNvPr id="50" name="Freeform: Shape 49">
              <a:extLst>
                <a:ext uri="{FF2B5EF4-FFF2-40B4-BE49-F238E27FC236}">
                  <a16:creationId xmlns:a16="http://schemas.microsoft.com/office/drawing/2014/main" id="{94C31C37-CC3C-73A1-82A6-8E7E4D521DAB}"/>
                </a:ext>
              </a:extLst>
            </p:cNvPr>
            <p:cNvSpPr/>
            <p:nvPr/>
          </p:nvSpPr>
          <p:spPr>
            <a:xfrm>
              <a:off x="6415537" y="925273"/>
              <a:ext cx="58016" cy="58448"/>
            </a:xfrm>
            <a:custGeom>
              <a:avLst/>
              <a:gdLst>
                <a:gd name="connsiteX0" fmla="*/ 95 w 230790"/>
                <a:gd name="connsiteY0" fmla="*/ 0 h 232505"/>
                <a:gd name="connsiteX1" fmla="*/ 38005 w 230790"/>
                <a:gd name="connsiteY1" fmla="*/ 0 h 232505"/>
                <a:gd name="connsiteX2" fmla="*/ 115633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3"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51" name="Freeform: Shape 50">
              <a:extLst>
                <a:ext uri="{FF2B5EF4-FFF2-40B4-BE49-F238E27FC236}">
                  <a16:creationId xmlns:a16="http://schemas.microsoft.com/office/drawing/2014/main" id="{B162C053-EA97-6803-C7CE-1361AC2D85E8}"/>
                </a:ext>
              </a:extLst>
            </p:cNvPr>
            <p:cNvSpPr/>
            <p:nvPr/>
          </p:nvSpPr>
          <p:spPr>
            <a:xfrm>
              <a:off x="6487369"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286 w 39242"/>
                <a:gd name="connsiteY5" fmla="*/ 88392 h 319182"/>
                <a:gd name="connsiteX6" fmla="*/ 36671 w 39242"/>
                <a:gd name="connsiteY6" fmla="*/ 88392 h 319182"/>
                <a:gd name="connsiteX7" fmla="*/ 36671 w 39242"/>
                <a:gd name="connsiteY7" fmla="*/ 319183 h 319182"/>
                <a:gd name="connsiteX8" fmla="*/ 2286 w 39242"/>
                <a:gd name="connsiteY8" fmla="*/ 319183 h 319182"/>
                <a:gd name="connsiteX9" fmla="*/ 2286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286" y="88392"/>
                  </a:moveTo>
                  <a:lnTo>
                    <a:pt x="36671" y="88392"/>
                  </a:lnTo>
                  <a:lnTo>
                    <a:pt x="36671" y="319183"/>
                  </a:lnTo>
                  <a:lnTo>
                    <a:pt x="2286" y="319183"/>
                  </a:lnTo>
                  <a:lnTo>
                    <a:pt x="2286" y="88392"/>
                  </a:lnTo>
                  <a:close/>
                </a:path>
              </a:pathLst>
            </a:custGeom>
            <a:solidFill>
              <a:srgbClr val="44505E"/>
            </a:solidFill>
            <a:ln w="9525" cap="flat">
              <a:noFill/>
              <a:prstDash val="solid"/>
              <a:miter/>
            </a:ln>
          </p:spPr>
          <p:txBody>
            <a:bodyPr rtlCol="0" anchor="ctr"/>
            <a:lstStyle/>
            <a:p>
              <a:endParaRPr lang="pt-BR" noProof="0"/>
            </a:p>
          </p:txBody>
        </p:sp>
        <p:sp>
          <p:nvSpPr>
            <p:cNvPr id="52" name="Freeform: Shape 51">
              <a:extLst>
                <a:ext uri="{FF2B5EF4-FFF2-40B4-BE49-F238E27FC236}">
                  <a16:creationId xmlns:a16="http://schemas.microsoft.com/office/drawing/2014/main" id="{9B046298-E1F2-DC7C-4475-A1B529D4959C}"/>
                </a:ext>
              </a:extLst>
            </p:cNvPr>
            <p:cNvSpPr/>
            <p:nvPr/>
          </p:nvSpPr>
          <p:spPr>
            <a:xfrm>
              <a:off x="6513253" y="901353"/>
              <a:ext cx="58615" cy="83182"/>
            </a:xfrm>
            <a:custGeom>
              <a:avLst/>
              <a:gdLst>
                <a:gd name="connsiteX0" fmla="*/ 110394 w 233171"/>
                <a:gd name="connsiteY0" fmla="*/ 330898 h 330898"/>
                <a:gd name="connsiteX1" fmla="*/ 69723 w 233171"/>
                <a:gd name="connsiteY1" fmla="*/ 322897 h 330898"/>
                <a:gd name="connsiteX2" fmla="*/ 34480 w 233171"/>
                <a:gd name="connsiteY2" fmla="*/ 299466 h 330898"/>
                <a:gd name="connsiteX3" fmla="*/ 9430 w 233171"/>
                <a:gd name="connsiteY3" fmla="*/ 261938 h 330898"/>
                <a:gd name="connsiteX4" fmla="*/ 0 w 233171"/>
                <a:gd name="connsiteY4" fmla="*/ 211264 h 330898"/>
                <a:gd name="connsiteX5" fmla="*/ 0 w 233171"/>
                <a:gd name="connsiteY5" fmla="*/ 210407 h 330898"/>
                <a:gd name="connsiteX6" fmla="*/ 9430 w 233171"/>
                <a:gd name="connsiteY6" fmla="*/ 159925 h 330898"/>
                <a:gd name="connsiteX7" fmla="*/ 34480 w 233171"/>
                <a:gd name="connsiteY7" fmla="*/ 122206 h 330898"/>
                <a:gd name="connsiteX8" fmla="*/ 69723 w 233171"/>
                <a:gd name="connsiteY8" fmla="*/ 98488 h 330898"/>
                <a:gd name="connsiteX9" fmla="*/ 110394 w 233171"/>
                <a:gd name="connsiteY9" fmla="*/ 90202 h 330898"/>
                <a:gd name="connsiteX10" fmla="*/ 139827 w 233171"/>
                <a:gd name="connsiteY10" fmla="*/ 94202 h 330898"/>
                <a:gd name="connsiteX11" fmla="*/ 163925 w 233171"/>
                <a:gd name="connsiteY11" fmla="*/ 104870 h 330898"/>
                <a:gd name="connsiteX12" fmla="*/ 183356 w 233171"/>
                <a:gd name="connsiteY12" fmla="*/ 120491 h 330898"/>
                <a:gd name="connsiteX13" fmla="*/ 198787 w 233171"/>
                <a:gd name="connsiteY13" fmla="*/ 139255 h 330898"/>
                <a:gd name="connsiteX14" fmla="*/ 198787 w 233171"/>
                <a:gd name="connsiteY14" fmla="*/ 0 h 330898"/>
                <a:gd name="connsiteX15" fmla="*/ 233172 w 233171"/>
                <a:gd name="connsiteY15" fmla="*/ 0 h 330898"/>
                <a:gd name="connsiteX16" fmla="*/ 233172 w 233171"/>
                <a:gd name="connsiteY16" fmla="*/ 325850 h 330898"/>
                <a:gd name="connsiteX17" fmla="*/ 198787 w 233171"/>
                <a:gd name="connsiteY17" fmla="*/ 325850 h 330898"/>
                <a:gd name="connsiteX18" fmla="*/ 198787 w 233171"/>
                <a:gd name="connsiteY18" fmla="*/ 279463 h 330898"/>
                <a:gd name="connsiteX19" fmla="*/ 182975 w 233171"/>
                <a:gd name="connsiteY19" fmla="*/ 299085 h 330898"/>
                <a:gd name="connsiteX20" fmla="*/ 163544 w 233171"/>
                <a:gd name="connsiteY20" fmla="*/ 315658 h 330898"/>
                <a:gd name="connsiteX21" fmla="*/ 139636 w 233171"/>
                <a:gd name="connsiteY21" fmla="*/ 326803 h 330898"/>
                <a:gd name="connsiteX22" fmla="*/ 110394 w 233171"/>
                <a:gd name="connsiteY22" fmla="*/ 330803 h 330898"/>
                <a:gd name="connsiteX23" fmla="*/ 116681 w 233171"/>
                <a:gd name="connsiteY23" fmla="*/ 300133 h 330898"/>
                <a:gd name="connsiteX24" fmla="*/ 147733 w 233171"/>
                <a:gd name="connsiteY24" fmla="*/ 293656 h 330898"/>
                <a:gd name="connsiteX25" fmla="*/ 174498 w 233171"/>
                <a:gd name="connsiteY25" fmla="*/ 275368 h 330898"/>
                <a:gd name="connsiteX26" fmla="*/ 193262 w 233171"/>
                <a:gd name="connsiteY26" fmla="*/ 247269 h 330898"/>
                <a:gd name="connsiteX27" fmla="*/ 200216 w 233171"/>
                <a:gd name="connsiteY27" fmla="*/ 210883 h 330898"/>
                <a:gd name="connsiteX28" fmla="*/ 200216 w 233171"/>
                <a:gd name="connsiteY28" fmla="*/ 210026 h 330898"/>
                <a:gd name="connsiteX29" fmla="*/ 193262 w 233171"/>
                <a:gd name="connsiteY29" fmla="*/ 173641 h 330898"/>
                <a:gd name="connsiteX30" fmla="*/ 174498 w 233171"/>
                <a:gd name="connsiteY30" fmla="*/ 145732 h 330898"/>
                <a:gd name="connsiteX31" fmla="*/ 147733 w 233171"/>
                <a:gd name="connsiteY31" fmla="*/ 127635 h 330898"/>
                <a:gd name="connsiteX32" fmla="*/ 116681 w 233171"/>
                <a:gd name="connsiteY32" fmla="*/ 121158 h 330898"/>
                <a:gd name="connsiteX33" fmla="*/ 84963 w 233171"/>
                <a:gd name="connsiteY33" fmla="*/ 127159 h 330898"/>
                <a:gd name="connsiteX34" fmla="*/ 59341 w 233171"/>
                <a:gd name="connsiteY34" fmla="*/ 144589 h 330898"/>
                <a:gd name="connsiteX35" fmla="*/ 41910 w 233171"/>
                <a:gd name="connsiteY35" fmla="*/ 172498 h 330898"/>
                <a:gd name="connsiteX36" fmla="*/ 35433 w 233171"/>
                <a:gd name="connsiteY36" fmla="*/ 210026 h 330898"/>
                <a:gd name="connsiteX37" fmla="*/ 35433 w 233171"/>
                <a:gd name="connsiteY37" fmla="*/ 210883 h 330898"/>
                <a:gd name="connsiteX38" fmla="*/ 41910 w 233171"/>
                <a:gd name="connsiteY38" fmla="*/ 247936 h 330898"/>
                <a:gd name="connsiteX39" fmla="*/ 59531 w 233171"/>
                <a:gd name="connsiteY39" fmla="*/ 276034 h 330898"/>
                <a:gd name="connsiteX40" fmla="*/ 85439 w 233171"/>
                <a:gd name="connsiteY40" fmla="*/ 293941 h 330898"/>
                <a:gd name="connsiteX41" fmla="*/ 116681 w 23317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3171" h="330898">
                  <a:moveTo>
                    <a:pt x="110394" y="330898"/>
                  </a:moveTo>
                  <a:cubicBezTo>
                    <a:pt x="96393" y="330898"/>
                    <a:pt x="82868" y="328231"/>
                    <a:pt x="69723" y="322897"/>
                  </a:cubicBezTo>
                  <a:cubicBezTo>
                    <a:pt x="56674" y="317563"/>
                    <a:pt x="44863" y="309753"/>
                    <a:pt x="34480" y="299466"/>
                  </a:cubicBezTo>
                  <a:cubicBezTo>
                    <a:pt x="24003" y="289179"/>
                    <a:pt x="15716" y="276701"/>
                    <a:pt x="9430" y="261938"/>
                  </a:cubicBezTo>
                  <a:cubicBezTo>
                    <a:pt x="3143" y="247174"/>
                    <a:pt x="0" y="230314"/>
                    <a:pt x="0" y="211264"/>
                  </a:cubicBezTo>
                  <a:lnTo>
                    <a:pt x="0" y="210407"/>
                  </a:lnTo>
                  <a:cubicBezTo>
                    <a:pt x="0" y="191643"/>
                    <a:pt x="3143" y="174879"/>
                    <a:pt x="9430" y="159925"/>
                  </a:cubicBezTo>
                  <a:cubicBezTo>
                    <a:pt x="15716" y="145066"/>
                    <a:pt x="24003" y="132493"/>
                    <a:pt x="34480" y="122206"/>
                  </a:cubicBezTo>
                  <a:cubicBezTo>
                    <a:pt x="44863" y="111919"/>
                    <a:pt x="56674" y="104013"/>
                    <a:pt x="69723" y="98488"/>
                  </a:cubicBezTo>
                  <a:cubicBezTo>
                    <a:pt x="82868" y="92964"/>
                    <a:pt x="96393" y="90202"/>
                    <a:pt x="110394" y="90202"/>
                  </a:cubicBezTo>
                  <a:cubicBezTo>
                    <a:pt x="121158" y="90202"/>
                    <a:pt x="130969" y="91535"/>
                    <a:pt x="139827" y="94202"/>
                  </a:cubicBezTo>
                  <a:cubicBezTo>
                    <a:pt x="148780" y="96869"/>
                    <a:pt x="156782" y="100489"/>
                    <a:pt x="163925" y="104870"/>
                  </a:cubicBezTo>
                  <a:cubicBezTo>
                    <a:pt x="171069" y="109347"/>
                    <a:pt x="177546" y="114586"/>
                    <a:pt x="183356" y="120491"/>
                  </a:cubicBezTo>
                  <a:cubicBezTo>
                    <a:pt x="189166" y="126492"/>
                    <a:pt x="194310" y="132683"/>
                    <a:pt x="198787" y="139255"/>
                  </a:cubicBezTo>
                  <a:lnTo>
                    <a:pt x="198787" y="0"/>
                  </a:lnTo>
                  <a:lnTo>
                    <a:pt x="233172" y="0"/>
                  </a:lnTo>
                  <a:lnTo>
                    <a:pt x="233172" y="325850"/>
                  </a:lnTo>
                  <a:lnTo>
                    <a:pt x="198787" y="325850"/>
                  </a:lnTo>
                  <a:lnTo>
                    <a:pt x="198787" y="279463"/>
                  </a:lnTo>
                  <a:cubicBezTo>
                    <a:pt x="194024" y="286321"/>
                    <a:pt x="188786" y="292894"/>
                    <a:pt x="182975" y="299085"/>
                  </a:cubicBezTo>
                  <a:cubicBezTo>
                    <a:pt x="177165" y="305371"/>
                    <a:pt x="170688" y="310896"/>
                    <a:pt x="163544" y="315658"/>
                  </a:cubicBezTo>
                  <a:cubicBezTo>
                    <a:pt x="156400" y="320421"/>
                    <a:pt x="148494" y="324136"/>
                    <a:pt x="139636" y="326803"/>
                  </a:cubicBezTo>
                  <a:cubicBezTo>
                    <a:pt x="130873" y="329470"/>
                    <a:pt x="121158" y="330803"/>
                    <a:pt x="110394" y="330803"/>
                  </a:cubicBezTo>
                  <a:close/>
                  <a:moveTo>
                    <a:pt x="116681" y="300133"/>
                  </a:moveTo>
                  <a:cubicBezTo>
                    <a:pt x="127445" y="300133"/>
                    <a:pt x="137732" y="297942"/>
                    <a:pt x="147733" y="293656"/>
                  </a:cubicBezTo>
                  <a:cubicBezTo>
                    <a:pt x="157734" y="289369"/>
                    <a:pt x="166592" y="283273"/>
                    <a:pt x="174498" y="275368"/>
                  </a:cubicBezTo>
                  <a:cubicBezTo>
                    <a:pt x="182404" y="267462"/>
                    <a:pt x="188595" y="258127"/>
                    <a:pt x="193262" y="247269"/>
                  </a:cubicBezTo>
                  <a:cubicBezTo>
                    <a:pt x="197834" y="236410"/>
                    <a:pt x="200216" y="224314"/>
                    <a:pt x="200216" y="210883"/>
                  </a:cubicBezTo>
                  <a:lnTo>
                    <a:pt x="200216" y="210026"/>
                  </a:lnTo>
                  <a:cubicBezTo>
                    <a:pt x="200216" y="196596"/>
                    <a:pt x="197929" y="184499"/>
                    <a:pt x="193262" y="173641"/>
                  </a:cubicBezTo>
                  <a:cubicBezTo>
                    <a:pt x="188595" y="162782"/>
                    <a:pt x="182404" y="153448"/>
                    <a:pt x="174498" y="145732"/>
                  </a:cubicBezTo>
                  <a:cubicBezTo>
                    <a:pt x="166592" y="138017"/>
                    <a:pt x="157639" y="132016"/>
                    <a:pt x="147733" y="127635"/>
                  </a:cubicBezTo>
                  <a:cubicBezTo>
                    <a:pt x="137732" y="123349"/>
                    <a:pt x="127445" y="121158"/>
                    <a:pt x="116681" y="121158"/>
                  </a:cubicBezTo>
                  <a:cubicBezTo>
                    <a:pt x="105346" y="121158"/>
                    <a:pt x="94774" y="123158"/>
                    <a:pt x="84963" y="127159"/>
                  </a:cubicBezTo>
                  <a:cubicBezTo>
                    <a:pt x="75152" y="131159"/>
                    <a:pt x="66580" y="136969"/>
                    <a:pt x="59341" y="144589"/>
                  </a:cubicBezTo>
                  <a:cubicBezTo>
                    <a:pt x="52007" y="152114"/>
                    <a:pt x="46291" y="161449"/>
                    <a:pt x="41910" y="172498"/>
                  </a:cubicBezTo>
                  <a:cubicBezTo>
                    <a:pt x="37624" y="183451"/>
                    <a:pt x="35433" y="196024"/>
                    <a:pt x="35433" y="210026"/>
                  </a:cubicBezTo>
                  <a:lnTo>
                    <a:pt x="35433" y="210883"/>
                  </a:lnTo>
                  <a:cubicBezTo>
                    <a:pt x="35433" y="224599"/>
                    <a:pt x="37624" y="236982"/>
                    <a:pt x="41910" y="247936"/>
                  </a:cubicBezTo>
                  <a:cubicBezTo>
                    <a:pt x="46196" y="258984"/>
                    <a:pt x="52101" y="268319"/>
                    <a:pt x="59531" y="276034"/>
                  </a:cubicBezTo>
                  <a:cubicBezTo>
                    <a:pt x="66960" y="283750"/>
                    <a:pt x="75629" y="289750"/>
                    <a:pt x="85439" y="293941"/>
                  </a:cubicBezTo>
                  <a:cubicBezTo>
                    <a:pt x="95250" y="298132"/>
                    <a:pt x="105632" y="300228"/>
                    <a:pt x="116681" y="300228"/>
                  </a:cubicBezTo>
                  <a:close/>
                </a:path>
              </a:pathLst>
            </a:custGeom>
            <a:solidFill>
              <a:srgbClr val="44505E"/>
            </a:solidFill>
            <a:ln w="9525" cap="flat">
              <a:noFill/>
              <a:prstDash val="solid"/>
              <a:miter/>
            </a:ln>
          </p:spPr>
          <p:txBody>
            <a:bodyPr rtlCol="0" anchor="ctr"/>
            <a:lstStyle/>
            <a:p>
              <a:endParaRPr lang="pt-BR" noProof="0"/>
            </a:p>
          </p:txBody>
        </p:sp>
        <p:sp>
          <p:nvSpPr>
            <p:cNvPr id="53" name="Freeform: Shape 52">
              <a:extLst>
                <a:ext uri="{FF2B5EF4-FFF2-40B4-BE49-F238E27FC236}">
                  <a16:creationId xmlns:a16="http://schemas.microsoft.com/office/drawing/2014/main" id="{33C60698-A1AF-A275-0672-E59131440888}"/>
                </a:ext>
              </a:extLst>
            </p:cNvPr>
            <p:cNvSpPr/>
            <p:nvPr/>
          </p:nvSpPr>
          <p:spPr>
            <a:xfrm>
              <a:off x="6586762"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0 w 202977"/>
                <a:gd name="connsiteY16" fmla="*/ 48196 h 239267"/>
                <a:gd name="connsiteX17" fmla="*/ 20383 w 202977"/>
                <a:gd name="connsiteY17" fmla="*/ 19907 h 239267"/>
                <a:gd name="connsiteX18" fmla="*/ 59245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0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1"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675" y="92678"/>
                    <a:pt x="84011" y="90964"/>
                    <a:pt x="98584" y="90964"/>
                  </a:cubicBezTo>
                  <a:cubicBezTo>
                    <a:pt x="113157" y="90964"/>
                    <a:pt x="126302"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0" y="33147"/>
                    <a:pt x="63436" y="36100"/>
                  </a:cubicBezTo>
                  <a:cubicBezTo>
                    <a:pt x="52292" y="39053"/>
                    <a:pt x="41338" y="43053"/>
                    <a:pt x="30670" y="48196"/>
                  </a:cubicBezTo>
                  <a:lnTo>
                    <a:pt x="20383" y="19907"/>
                  </a:lnTo>
                  <a:cubicBezTo>
                    <a:pt x="33147" y="13906"/>
                    <a:pt x="46101" y="9049"/>
                    <a:pt x="59245" y="5429"/>
                  </a:cubicBezTo>
                  <a:cubicBezTo>
                    <a:pt x="72294" y="1810"/>
                    <a:pt x="87344" y="0"/>
                    <a:pt x="104299" y="0"/>
                  </a:cubicBezTo>
                  <a:cubicBezTo>
                    <a:pt x="137064" y="0"/>
                    <a:pt x="161925" y="8477"/>
                    <a:pt x="178879" y="25432"/>
                  </a:cubicBezTo>
                  <a:cubicBezTo>
                    <a:pt x="194976"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0" y="239173"/>
                  </a:cubicBezTo>
                  <a:close/>
                  <a:moveTo>
                    <a:pt x="93154" y="211169"/>
                  </a:moveTo>
                  <a:cubicBezTo>
                    <a:pt x="103822" y="211169"/>
                    <a:pt x="113729" y="209740"/>
                    <a:pt x="122967" y="206788"/>
                  </a:cubicBezTo>
                  <a:cubicBezTo>
                    <a:pt x="132207"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4" y="119348"/>
                    <a:pt x="116871"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54" name="Freeform: Shape 53">
              <a:extLst>
                <a:ext uri="{FF2B5EF4-FFF2-40B4-BE49-F238E27FC236}">
                  <a16:creationId xmlns:a16="http://schemas.microsoft.com/office/drawing/2014/main" id="{A869E1D6-45DA-E358-8B78-AF75FA570D51}"/>
                </a:ext>
              </a:extLst>
            </p:cNvPr>
            <p:cNvSpPr/>
            <p:nvPr/>
          </p:nvSpPr>
          <p:spPr>
            <a:xfrm>
              <a:off x="6651291" y="924268"/>
              <a:ext cx="44680" cy="60195"/>
            </a:xfrm>
            <a:custGeom>
              <a:avLst/>
              <a:gdLst>
                <a:gd name="connsiteX0" fmla="*/ 95535 w 177736"/>
                <a:gd name="connsiteY0" fmla="*/ 239268 h 239458"/>
                <a:gd name="connsiteX1" fmla="*/ 45053 w 177736"/>
                <a:gd name="connsiteY1" fmla="*/ 230124 h 239458"/>
                <a:gd name="connsiteX2" fmla="*/ 0 w 177736"/>
                <a:gd name="connsiteY2" fmla="*/ 205359 h 239458"/>
                <a:gd name="connsiteX3" fmla="*/ 17430 w 177736"/>
                <a:gd name="connsiteY3" fmla="*/ 180785 h 239458"/>
                <a:gd name="connsiteX4" fmla="*/ 56483 w 177736"/>
                <a:gd name="connsiteY4" fmla="*/ 202692 h 239458"/>
                <a:gd name="connsiteX5" fmla="*/ 97345 w 177736"/>
                <a:gd name="connsiteY5" fmla="*/ 210217 h 239458"/>
                <a:gd name="connsiteX6" fmla="*/ 131730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825 w 177736"/>
                <a:gd name="connsiteY10" fmla="*/ 147066 h 239458"/>
                <a:gd name="connsiteX11" fmla="*/ 109251 w 177736"/>
                <a:gd name="connsiteY11" fmla="*/ 138779 h 239458"/>
                <a:gd name="connsiteX12" fmla="*/ 87630 w 177736"/>
                <a:gd name="connsiteY12" fmla="*/ 132112 h 239458"/>
                <a:gd name="connsiteX13" fmla="*/ 60579 w 177736"/>
                <a:gd name="connsiteY13" fmla="*/ 123444 h 239458"/>
                <a:gd name="connsiteX14" fmla="*/ 36004 w 177736"/>
                <a:gd name="connsiteY14" fmla="*/ 111633 h 239458"/>
                <a:gd name="connsiteX15" fmla="*/ 18192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59 w 177736"/>
                <a:gd name="connsiteY22" fmla="*/ 6953 h 239458"/>
                <a:gd name="connsiteX23" fmla="*/ 172878 w 177736"/>
                <a:gd name="connsiteY23" fmla="*/ 25527 h 239458"/>
                <a:gd name="connsiteX24" fmla="*/ 157257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3 w 177736"/>
                <a:gd name="connsiteY32" fmla="*/ 96203 h 239458"/>
                <a:gd name="connsiteX33" fmla="*/ 103631 w 177736"/>
                <a:gd name="connsiteY33" fmla="*/ 103346 h 239458"/>
                <a:gd name="connsiteX34" fmla="*/ 130207 w 177736"/>
                <a:gd name="connsiteY34" fmla="*/ 112300 h 239458"/>
                <a:gd name="connsiteX35" fmla="*/ 154114 w 177736"/>
                <a:gd name="connsiteY35" fmla="*/ 124778 h 239458"/>
                <a:gd name="connsiteX36" fmla="*/ 171259 w 177736"/>
                <a:gd name="connsiteY36" fmla="*/ 143066 h 239458"/>
                <a:gd name="connsiteX37" fmla="*/ 177736 w 177736"/>
                <a:gd name="connsiteY37" fmla="*/ 169450 h 239458"/>
                <a:gd name="connsiteX38" fmla="*/ 177736 w 177736"/>
                <a:gd name="connsiteY38" fmla="*/ 170307 h 239458"/>
                <a:gd name="connsiteX39" fmla="*/ 171259 w 177736"/>
                <a:gd name="connsiteY39" fmla="*/ 199549 h 239458"/>
                <a:gd name="connsiteX40" fmla="*/ 153828 w 177736"/>
                <a:gd name="connsiteY40" fmla="*/ 221171 h 239458"/>
                <a:gd name="connsiteX41" fmla="*/ 127921 w 177736"/>
                <a:gd name="connsiteY41" fmla="*/ 234791 h 239458"/>
                <a:gd name="connsiteX42" fmla="*/ 95535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5" y="239268"/>
                  </a:moveTo>
                  <a:cubicBezTo>
                    <a:pt x="78867" y="239268"/>
                    <a:pt x="62007" y="236220"/>
                    <a:pt x="45053" y="230124"/>
                  </a:cubicBezTo>
                  <a:cubicBezTo>
                    <a:pt x="28098" y="224028"/>
                    <a:pt x="13049" y="215741"/>
                    <a:pt x="0" y="205359"/>
                  </a:cubicBezTo>
                  <a:lnTo>
                    <a:pt x="17430" y="180785"/>
                  </a:lnTo>
                  <a:cubicBezTo>
                    <a:pt x="29908" y="190310"/>
                    <a:pt x="42957" y="197644"/>
                    <a:pt x="56483" y="202692"/>
                  </a:cubicBezTo>
                  <a:cubicBezTo>
                    <a:pt x="70009" y="207740"/>
                    <a:pt x="83629" y="210217"/>
                    <a:pt x="97345" y="210217"/>
                  </a:cubicBezTo>
                  <a:cubicBezTo>
                    <a:pt x="111061" y="210217"/>
                    <a:pt x="122777" y="206978"/>
                    <a:pt x="131730" y="200406"/>
                  </a:cubicBezTo>
                  <a:cubicBezTo>
                    <a:pt x="140684" y="193834"/>
                    <a:pt x="145161" y="184976"/>
                    <a:pt x="145161" y="173641"/>
                  </a:cubicBezTo>
                  <a:lnTo>
                    <a:pt x="145161" y="172784"/>
                  </a:lnTo>
                  <a:cubicBezTo>
                    <a:pt x="145161" y="167164"/>
                    <a:pt x="143541" y="162211"/>
                    <a:pt x="140494" y="158020"/>
                  </a:cubicBezTo>
                  <a:cubicBezTo>
                    <a:pt x="137350" y="153829"/>
                    <a:pt x="133159" y="150209"/>
                    <a:pt x="127825" y="147066"/>
                  </a:cubicBezTo>
                  <a:cubicBezTo>
                    <a:pt x="122491" y="143923"/>
                    <a:pt x="116300" y="141161"/>
                    <a:pt x="109251" y="138779"/>
                  </a:cubicBezTo>
                  <a:cubicBezTo>
                    <a:pt x="102298" y="136398"/>
                    <a:pt x="95059" y="134207"/>
                    <a:pt x="87630" y="132112"/>
                  </a:cubicBezTo>
                  <a:cubicBezTo>
                    <a:pt x="78676" y="129445"/>
                    <a:pt x="69722" y="126492"/>
                    <a:pt x="60579" y="123444"/>
                  </a:cubicBezTo>
                  <a:cubicBezTo>
                    <a:pt x="51530" y="120301"/>
                    <a:pt x="43339" y="116396"/>
                    <a:pt x="36004" y="111633"/>
                  </a:cubicBezTo>
                  <a:cubicBezTo>
                    <a:pt x="28670" y="106871"/>
                    <a:pt x="22764" y="100870"/>
                    <a:pt x="18192" y="93726"/>
                  </a:cubicBezTo>
                  <a:cubicBezTo>
                    <a:pt x="13525" y="86582"/>
                    <a:pt x="11239" y="77629"/>
                    <a:pt x="11239" y="66961"/>
                  </a:cubicBezTo>
                  <a:lnTo>
                    <a:pt x="11239" y="66008"/>
                  </a:lnTo>
                  <a:cubicBezTo>
                    <a:pt x="11239" y="56198"/>
                    <a:pt x="13144" y="47149"/>
                    <a:pt x="17050" y="39053"/>
                  </a:cubicBezTo>
                  <a:cubicBezTo>
                    <a:pt x="20955" y="30861"/>
                    <a:pt x="26384" y="23908"/>
                    <a:pt x="33338" y="18098"/>
                  </a:cubicBezTo>
                  <a:cubicBezTo>
                    <a:pt x="40291" y="12287"/>
                    <a:pt x="48673" y="7811"/>
                    <a:pt x="58388" y="4667"/>
                  </a:cubicBezTo>
                  <a:cubicBezTo>
                    <a:pt x="68008" y="1524"/>
                    <a:pt x="78581" y="0"/>
                    <a:pt x="89821" y="0"/>
                  </a:cubicBezTo>
                  <a:cubicBezTo>
                    <a:pt x="104108" y="0"/>
                    <a:pt x="118586" y="2286"/>
                    <a:pt x="133159" y="6953"/>
                  </a:cubicBezTo>
                  <a:cubicBezTo>
                    <a:pt x="147732" y="11621"/>
                    <a:pt x="160972" y="17717"/>
                    <a:pt x="172878" y="25527"/>
                  </a:cubicBezTo>
                  <a:lnTo>
                    <a:pt x="157257" y="51435"/>
                  </a:lnTo>
                  <a:cubicBezTo>
                    <a:pt x="146494" y="44577"/>
                    <a:pt x="135255" y="39148"/>
                    <a:pt x="123539" y="35147"/>
                  </a:cubicBezTo>
                  <a:cubicBezTo>
                    <a:pt x="111823" y="31147"/>
                    <a:pt x="100203" y="29146"/>
                    <a:pt x="88963" y="29146"/>
                  </a:cubicBezTo>
                  <a:cubicBezTo>
                    <a:pt x="75247" y="29146"/>
                    <a:pt x="64389" y="32385"/>
                    <a:pt x="56388" y="38767"/>
                  </a:cubicBezTo>
                  <a:cubicBezTo>
                    <a:pt x="48291" y="45149"/>
                    <a:pt x="44291" y="53150"/>
                    <a:pt x="44291" y="62675"/>
                  </a:cubicBezTo>
                  <a:lnTo>
                    <a:pt x="44291" y="63627"/>
                  </a:lnTo>
                  <a:cubicBezTo>
                    <a:pt x="44291" y="68961"/>
                    <a:pt x="45910" y="73628"/>
                    <a:pt x="49244" y="77724"/>
                  </a:cubicBezTo>
                  <a:cubicBezTo>
                    <a:pt x="52482" y="81725"/>
                    <a:pt x="56864" y="85249"/>
                    <a:pt x="62389" y="88202"/>
                  </a:cubicBezTo>
                  <a:cubicBezTo>
                    <a:pt x="67913" y="91154"/>
                    <a:pt x="74200" y="93821"/>
                    <a:pt x="81343" y="96203"/>
                  </a:cubicBezTo>
                  <a:cubicBezTo>
                    <a:pt x="88487" y="98584"/>
                    <a:pt x="95916" y="100965"/>
                    <a:pt x="103631" y="103346"/>
                  </a:cubicBezTo>
                  <a:cubicBezTo>
                    <a:pt x="112585" y="106013"/>
                    <a:pt x="121444" y="108966"/>
                    <a:pt x="130207" y="112300"/>
                  </a:cubicBezTo>
                  <a:cubicBezTo>
                    <a:pt x="138969" y="115538"/>
                    <a:pt x="146971" y="119729"/>
                    <a:pt x="154114" y="124778"/>
                  </a:cubicBezTo>
                  <a:cubicBezTo>
                    <a:pt x="161258" y="129826"/>
                    <a:pt x="166973" y="135922"/>
                    <a:pt x="171259" y="143066"/>
                  </a:cubicBezTo>
                  <a:cubicBezTo>
                    <a:pt x="175546" y="150209"/>
                    <a:pt x="177736" y="158972"/>
                    <a:pt x="177736" y="169450"/>
                  </a:cubicBezTo>
                  <a:lnTo>
                    <a:pt x="177736" y="170307"/>
                  </a:lnTo>
                  <a:cubicBezTo>
                    <a:pt x="177736" y="181356"/>
                    <a:pt x="175546" y="191071"/>
                    <a:pt x="171259" y="199549"/>
                  </a:cubicBezTo>
                  <a:cubicBezTo>
                    <a:pt x="166973" y="208026"/>
                    <a:pt x="161163" y="215265"/>
                    <a:pt x="153828" y="221171"/>
                  </a:cubicBezTo>
                  <a:cubicBezTo>
                    <a:pt x="146589" y="227171"/>
                    <a:pt x="137922" y="231648"/>
                    <a:pt x="127921" y="234791"/>
                  </a:cubicBezTo>
                  <a:cubicBezTo>
                    <a:pt x="117919" y="237935"/>
                    <a:pt x="107156" y="239459"/>
                    <a:pt x="95535" y="239459"/>
                  </a:cubicBezTo>
                  <a:close/>
                </a:path>
              </a:pathLst>
            </a:custGeom>
            <a:solidFill>
              <a:srgbClr val="44505E"/>
            </a:solidFill>
            <a:ln w="9525" cap="flat">
              <a:noFill/>
              <a:prstDash val="solid"/>
              <a:miter/>
            </a:ln>
          </p:spPr>
          <p:txBody>
            <a:bodyPr rtlCol="0" anchor="ctr"/>
            <a:lstStyle/>
            <a:p>
              <a:endParaRPr lang="pt-BR" noProof="0"/>
            </a:p>
          </p:txBody>
        </p:sp>
        <p:sp>
          <p:nvSpPr>
            <p:cNvPr id="55" name="Freeform: Shape 54">
              <a:extLst>
                <a:ext uri="{FF2B5EF4-FFF2-40B4-BE49-F238E27FC236}">
                  <a16:creationId xmlns:a16="http://schemas.microsoft.com/office/drawing/2014/main" id="{ED20BA71-ECF1-D7B5-5E4C-38F9D8DDFB34}"/>
                </a:ext>
              </a:extLst>
            </p:cNvPr>
            <p:cNvSpPr/>
            <p:nvPr/>
          </p:nvSpPr>
          <p:spPr>
            <a:xfrm>
              <a:off x="5250320" y="846952"/>
              <a:ext cx="1459036" cy="16186"/>
            </a:xfrm>
            <a:custGeom>
              <a:avLst/>
              <a:gdLst>
                <a:gd name="connsiteX0" fmla="*/ 0 w 5804058"/>
                <a:gd name="connsiteY0" fmla="*/ 0 h 64388"/>
                <a:gd name="connsiteX1" fmla="*/ 5804059 w 5804058"/>
                <a:gd name="connsiteY1" fmla="*/ 0 h 64388"/>
                <a:gd name="connsiteX2" fmla="*/ 5804059 w 5804058"/>
                <a:gd name="connsiteY2" fmla="*/ 64389 h 64388"/>
                <a:gd name="connsiteX3" fmla="*/ 0 w 5804058"/>
                <a:gd name="connsiteY3" fmla="*/ 64389 h 64388"/>
              </a:gdLst>
              <a:ahLst/>
              <a:cxnLst>
                <a:cxn ang="0">
                  <a:pos x="connsiteX0" y="connsiteY0"/>
                </a:cxn>
                <a:cxn ang="0">
                  <a:pos x="connsiteX1" y="connsiteY1"/>
                </a:cxn>
                <a:cxn ang="0">
                  <a:pos x="connsiteX2" y="connsiteY2"/>
                </a:cxn>
                <a:cxn ang="0">
                  <a:pos x="connsiteX3" y="connsiteY3"/>
                </a:cxn>
              </a:cxnLst>
              <a:rect l="l" t="t" r="r" b="b"/>
              <a:pathLst>
                <a:path w="5804058" h="64388">
                  <a:moveTo>
                    <a:pt x="0" y="0"/>
                  </a:moveTo>
                  <a:lnTo>
                    <a:pt x="5804059" y="0"/>
                  </a:lnTo>
                  <a:lnTo>
                    <a:pt x="5804059" y="64389"/>
                  </a:lnTo>
                  <a:lnTo>
                    <a:pt x="0" y="64389"/>
                  </a:lnTo>
                  <a:close/>
                </a:path>
              </a:pathLst>
            </a:custGeom>
            <a:solidFill>
              <a:srgbClr val="44505E"/>
            </a:solidFill>
            <a:ln w="9525" cap="flat">
              <a:noFill/>
              <a:prstDash val="solid"/>
              <a:miter/>
            </a:ln>
          </p:spPr>
          <p:txBody>
            <a:bodyPr rtlCol="0" anchor="ctr"/>
            <a:lstStyle/>
            <a:p>
              <a:endParaRPr lang="pt-BR" noProof="0"/>
            </a:p>
          </p:txBody>
        </p:sp>
        <p:sp>
          <p:nvSpPr>
            <p:cNvPr id="56" name="Freeform: Shape 55">
              <a:extLst>
                <a:ext uri="{FF2B5EF4-FFF2-40B4-BE49-F238E27FC236}">
                  <a16:creationId xmlns:a16="http://schemas.microsoft.com/office/drawing/2014/main" id="{EF39BC9E-BE2D-06E2-128B-C0AF036E6E33}"/>
                </a:ext>
              </a:extLst>
            </p:cNvPr>
            <p:cNvSpPr/>
            <p:nvPr/>
          </p:nvSpPr>
          <p:spPr>
            <a:xfrm>
              <a:off x="6902633" y="268821"/>
              <a:ext cx="273418" cy="601046"/>
            </a:xfrm>
            <a:custGeom>
              <a:avLst/>
              <a:gdLst>
                <a:gd name="connsiteX0" fmla="*/ 0 w 1087659"/>
                <a:gd name="connsiteY0" fmla="*/ 210979 h 2390965"/>
                <a:gd name="connsiteX1" fmla="*/ 125063 w 1087659"/>
                <a:gd name="connsiteY1" fmla="*/ 103442 h 2390965"/>
                <a:gd name="connsiteX2" fmla="*/ 250031 w 1087659"/>
                <a:gd name="connsiteY2" fmla="*/ 210979 h 2390965"/>
                <a:gd name="connsiteX3" fmla="*/ 250031 w 1087659"/>
                <a:gd name="connsiteY3" fmla="*/ 1922717 h 2390965"/>
                <a:gd name="connsiteX4" fmla="*/ 249841 w 1087659"/>
                <a:gd name="connsiteY4" fmla="*/ 1922717 h 2390965"/>
                <a:gd name="connsiteX5" fmla="*/ 249841 w 1087659"/>
                <a:gd name="connsiteY5" fmla="*/ 1925955 h 2390965"/>
                <a:gd name="connsiteX6" fmla="*/ 333756 w 1087659"/>
                <a:gd name="connsiteY6" fmla="*/ 2100263 h 2390965"/>
                <a:gd name="connsiteX7" fmla="*/ 335566 w 1087659"/>
                <a:gd name="connsiteY7" fmla="*/ 2101787 h 2390965"/>
                <a:gd name="connsiteX8" fmla="*/ 336042 w 1087659"/>
                <a:gd name="connsiteY8" fmla="*/ 2102168 h 2390965"/>
                <a:gd name="connsiteX9" fmla="*/ 543877 w 1087659"/>
                <a:gd name="connsiteY9" fmla="*/ 2175891 h 2390965"/>
                <a:gd name="connsiteX10" fmla="*/ 749998 w 1087659"/>
                <a:gd name="connsiteY10" fmla="*/ 2103692 h 2390965"/>
                <a:gd name="connsiteX11" fmla="*/ 751713 w 1087659"/>
                <a:gd name="connsiteY11" fmla="*/ 2102168 h 2390965"/>
                <a:gd name="connsiteX12" fmla="*/ 752189 w 1087659"/>
                <a:gd name="connsiteY12" fmla="*/ 2101787 h 2390965"/>
                <a:gd name="connsiteX13" fmla="*/ 837819 w 1087659"/>
                <a:gd name="connsiteY13" fmla="*/ 1922812 h 2390965"/>
                <a:gd name="connsiteX14" fmla="*/ 837819 w 1087659"/>
                <a:gd name="connsiteY14" fmla="*/ 107537 h 2390965"/>
                <a:gd name="connsiteX15" fmla="*/ 962787 w 1087659"/>
                <a:gd name="connsiteY15" fmla="*/ 0 h 2390965"/>
                <a:gd name="connsiteX16" fmla="*/ 1087660 w 1087659"/>
                <a:gd name="connsiteY16" fmla="*/ 107537 h 2390965"/>
                <a:gd name="connsiteX17" fmla="*/ 1087660 w 1087659"/>
                <a:gd name="connsiteY17" fmla="*/ 1922621 h 2390965"/>
                <a:gd name="connsiteX18" fmla="*/ 928307 w 1087659"/>
                <a:gd name="connsiteY18" fmla="*/ 2253234 h 2390965"/>
                <a:gd name="connsiteX19" fmla="*/ 928116 w 1087659"/>
                <a:gd name="connsiteY19" fmla="*/ 2253424 h 2390965"/>
                <a:gd name="connsiteX20" fmla="*/ 927830 w 1087659"/>
                <a:gd name="connsiteY20" fmla="*/ 2253710 h 2390965"/>
                <a:gd name="connsiteX21" fmla="*/ 927354 w 1087659"/>
                <a:gd name="connsiteY21" fmla="*/ 2254187 h 2390965"/>
                <a:gd name="connsiteX22" fmla="*/ 543783 w 1087659"/>
                <a:gd name="connsiteY22" fmla="*/ 2390966 h 2390965"/>
                <a:gd name="connsiteX23" fmla="*/ 159734 w 1087659"/>
                <a:gd name="connsiteY23" fmla="*/ 2253710 h 2390965"/>
                <a:gd name="connsiteX24" fmla="*/ 159734 w 1087659"/>
                <a:gd name="connsiteY24" fmla="*/ 2253424 h 2390965"/>
                <a:gd name="connsiteX25" fmla="*/ 159353 w 1087659"/>
                <a:gd name="connsiteY25" fmla="*/ 2253234 h 2390965"/>
                <a:gd name="connsiteX26" fmla="*/ 158877 w 1087659"/>
                <a:gd name="connsiteY26" fmla="*/ 2252948 h 2390965"/>
                <a:gd name="connsiteX27" fmla="*/ 0 w 1087659"/>
                <a:gd name="connsiteY27" fmla="*/ 1922621 h 2390965"/>
                <a:gd name="connsiteX28" fmla="*/ 0 w 1087659"/>
                <a:gd name="connsiteY28" fmla="*/ 1922621 h 2390965"/>
                <a:gd name="connsiteX29" fmla="*/ 0 w 1087659"/>
                <a:gd name="connsiteY29" fmla="*/ 210979 h 239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87659" h="2390965">
                  <a:moveTo>
                    <a:pt x="0" y="210979"/>
                  </a:moveTo>
                  <a:cubicBezTo>
                    <a:pt x="0" y="151638"/>
                    <a:pt x="56007" y="103442"/>
                    <a:pt x="125063" y="103442"/>
                  </a:cubicBezTo>
                  <a:cubicBezTo>
                    <a:pt x="194120" y="103442"/>
                    <a:pt x="250031" y="151638"/>
                    <a:pt x="250031" y="210979"/>
                  </a:cubicBezTo>
                  <a:lnTo>
                    <a:pt x="250031" y="1922717"/>
                  </a:lnTo>
                  <a:lnTo>
                    <a:pt x="249841" y="1922717"/>
                  </a:lnTo>
                  <a:lnTo>
                    <a:pt x="249841" y="1925955"/>
                  </a:lnTo>
                  <a:cubicBezTo>
                    <a:pt x="250793" y="1994059"/>
                    <a:pt x="282797" y="2055495"/>
                    <a:pt x="333756" y="2100263"/>
                  </a:cubicBezTo>
                  <a:lnTo>
                    <a:pt x="335566" y="2101787"/>
                  </a:lnTo>
                  <a:lnTo>
                    <a:pt x="336042" y="2102168"/>
                  </a:lnTo>
                  <a:cubicBezTo>
                    <a:pt x="388906" y="2147697"/>
                    <a:pt x="462343" y="2175891"/>
                    <a:pt x="543877" y="2175891"/>
                  </a:cubicBezTo>
                  <a:cubicBezTo>
                    <a:pt x="625411" y="2175891"/>
                    <a:pt x="697420" y="2148364"/>
                    <a:pt x="749998" y="2103692"/>
                  </a:cubicBezTo>
                  <a:lnTo>
                    <a:pt x="751713" y="2102168"/>
                  </a:lnTo>
                  <a:lnTo>
                    <a:pt x="752189" y="2101787"/>
                  </a:lnTo>
                  <a:cubicBezTo>
                    <a:pt x="805053" y="2056352"/>
                    <a:pt x="837819" y="1993011"/>
                    <a:pt x="837819" y="1922812"/>
                  </a:cubicBezTo>
                  <a:lnTo>
                    <a:pt x="837819" y="107537"/>
                  </a:lnTo>
                  <a:cubicBezTo>
                    <a:pt x="837819" y="48196"/>
                    <a:pt x="893731" y="0"/>
                    <a:pt x="962787" y="0"/>
                  </a:cubicBezTo>
                  <a:cubicBezTo>
                    <a:pt x="1031843" y="0"/>
                    <a:pt x="1087660" y="48196"/>
                    <a:pt x="1087660" y="107537"/>
                  </a:cubicBezTo>
                  <a:lnTo>
                    <a:pt x="1087660" y="1922621"/>
                  </a:lnTo>
                  <a:cubicBezTo>
                    <a:pt x="1087660" y="2051399"/>
                    <a:pt x="1026795" y="2168366"/>
                    <a:pt x="928307" y="2253234"/>
                  </a:cubicBezTo>
                  <a:lnTo>
                    <a:pt x="928116" y="2253424"/>
                  </a:lnTo>
                  <a:lnTo>
                    <a:pt x="927830" y="2253710"/>
                  </a:lnTo>
                  <a:lnTo>
                    <a:pt x="927354" y="2254187"/>
                  </a:lnTo>
                  <a:cubicBezTo>
                    <a:pt x="828770" y="2338673"/>
                    <a:pt x="693134" y="2390966"/>
                    <a:pt x="543783" y="2390966"/>
                  </a:cubicBezTo>
                  <a:cubicBezTo>
                    <a:pt x="394430" y="2390966"/>
                    <a:pt x="258413" y="2338483"/>
                    <a:pt x="159734" y="2253710"/>
                  </a:cubicBezTo>
                  <a:lnTo>
                    <a:pt x="159734" y="2253424"/>
                  </a:lnTo>
                  <a:cubicBezTo>
                    <a:pt x="159734" y="2253424"/>
                    <a:pt x="159353" y="2253234"/>
                    <a:pt x="159353" y="2253234"/>
                  </a:cubicBezTo>
                  <a:lnTo>
                    <a:pt x="158877" y="2252948"/>
                  </a:lnTo>
                  <a:cubicBezTo>
                    <a:pt x="60770" y="2167985"/>
                    <a:pt x="0" y="2051304"/>
                    <a:pt x="0" y="1922621"/>
                  </a:cubicBezTo>
                  <a:lnTo>
                    <a:pt x="0" y="1922621"/>
                  </a:lnTo>
                  <a:lnTo>
                    <a:pt x="0" y="210979"/>
                  </a:lnTo>
                  <a:close/>
                </a:path>
              </a:pathLst>
            </a:custGeom>
            <a:solidFill>
              <a:srgbClr val="8FC640"/>
            </a:solidFill>
            <a:ln w="9525" cap="flat">
              <a:noFill/>
              <a:prstDash val="solid"/>
              <a:miter/>
            </a:ln>
          </p:spPr>
          <p:txBody>
            <a:bodyPr rtlCol="0" anchor="ctr"/>
            <a:lstStyle/>
            <a:p>
              <a:endParaRPr lang="pt-BR" noProof="0"/>
            </a:p>
          </p:txBody>
        </p:sp>
        <p:sp>
          <p:nvSpPr>
            <p:cNvPr id="57" name="Freeform: Shape 56">
              <a:extLst>
                <a:ext uri="{FF2B5EF4-FFF2-40B4-BE49-F238E27FC236}">
                  <a16:creationId xmlns:a16="http://schemas.microsoft.com/office/drawing/2014/main" id="{DFB24F75-C0BD-15A2-B62A-503B6AB25AF3}"/>
                </a:ext>
              </a:extLst>
            </p:cNvPr>
            <p:cNvSpPr/>
            <p:nvPr/>
          </p:nvSpPr>
          <p:spPr>
            <a:xfrm>
              <a:off x="7013590" y="213965"/>
              <a:ext cx="54018" cy="562280"/>
            </a:xfrm>
            <a:custGeom>
              <a:avLst/>
              <a:gdLst>
                <a:gd name="connsiteX0" fmla="*/ 0 w 214883"/>
                <a:gd name="connsiteY0" fmla="*/ 107537 h 2236755"/>
                <a:gd name="connsiteX1" fmla="*/ 107537 w 214883"/>
                <a:gd name="connsiteY1" fmla="*/ 0 h 2236755"/>
                <a:gd name="connsiteX2" fmla="*/ 214884 w 214883"/>
                <a:gd name="connsiteY2" fmla="*/ 107537 h 2236755"/>
                <a:gd name="connsiteX3" fmla="*/ 214884 w 214883"/>
                <a:gd name="connsiteY3" fmla="*/ 2129219 h 2236755"/>
                <a:gd name="connsiteX4" fmla="*/ 107537 w 214883"/>
                <a:gd name="connsiteY4" fmla="*/ 2236756 h 2236755"/>
                <a:gd name="connsiteX5" fmla="*/ 0 w 214883"/>
                <a:gd name="connsiteY5" fmla="*/ 2129219 h 2236755"/>
                <a:gd name="connsiteX6" fmla="*/ 0 w 214883"/>
                <a:gd name="connsiteY6" fmla="*/ 107537 h 223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 h="2236755">
                  <a:moveTo>
                    <a:pt x="0" y="107537"/>
                  </a:moveTo>
                  <a:cubicBezTo>
                    <a:pt x="0" y="48197"/>
                    <a:pt x="48101" y="0"/>
                    <a:pt x="107537" y="0"/>
                  </a:cubicBezTo>
                  <a:cubicBezTo>
                    <a:pt x="166973" y="0"/>
                    <a:pt x="214884" y="48197"/>
                    <a:pt x="214884" y="107537"/>
                  </a:cubicBezTo>
                  <a:lnTo>
                    <a:pt x="214884" y="2129219"/>
                  </a:lnTo>
                  <a:cubicBezTo>
                    <a:pt x="214884" y="2188559"/>
                    <a:pt x="166782" y="2236756"/>
                    <a:pt x="107537" y="2236756"/>
                  </a:cubicBezTo>
                  <a:cubicBezTo>
                    <a:pt x="48291" y="2236756"/>
                    <a:pt x="0" y="2188559"/>
                    <a:pt x="0" y="2129219"/>
                  </a:cubicBezTo>
                  <a:lnTo>
                    <a:pt x="0" y="107537"/>
                  </a:lnTo>
                  <a:close/>
                </a:path>
              </a:pathLst>
            </a:custGeom>
            <a:solidFill>
              <a:srgbClr val="3698B0"/>
            </a:solidFill>
            <a:ln w="9525" cap="flat">
              <a:noFill/>
              <a:prstDash val="solid"/>
              <a:miter/>
            </a:ln>
          </p:spPr>
          <p:txBody>
            <a:bodyPr rtlCol="0" anchor="ctr"/>
            <a:lstStyle/>
            <a:p>
              <a:endParaRPr lang="pt-BR" noProof="0"/>
            </a:p>
          </p:txBody>
        </p:sp>
        <p:sp>
          <p:nvSpPr>
            <p:cNvPr id="58" name="Freeform: Shape 57">
              <a:extLst>
                <a:ext uri="{FF2B5EF4-FFF2-40B4-BE49-F238E27FC236}">
                  <a16:creationId xmlns:a16="http://schemas.microsoft.com/office/drawing/2014/main" id="{6D490200-1EE4-C9BB-F504-755BC568C606}"/>
                </a:ext>
              </a:extLst>
            </p:cNvPr>
            <p:cNvSpPr/>
            <p:nvPr/>
          </p:nvSpPr>
          <p:spPr>
            <a:xfrm>
              <a:off x="6795770" y="332991"/>
              <a:ext cx="485994" cy="649437"/>
            </a:xfrm>
            <a:custGeom>
              <a:avLst/>
              <a:gdLst>
                <a:gd name="connsiteX0" fmla="*/ 1933290 w 1933289"/>
                <a:gd name="connsiteY0" fmla="*/ 138017 h 2583465"/>
                <a:gd name="connsiteX1" fmla="*/ 1933290 w 1933289"/>
                <a:gd name="connsiteY1" fmla="*/ 1734122 h 2583465"/>
                <a:gd name="connsiteX2" fmla="*/ 1796606 w 1933289"/>
                <a:gd name="connsiteY2" fmla="*/ 2229136 h 2583465"/>
                <a:gd name="connsiteX3" fmla="*/ 977742 w 1933289"/>
                <a:gd name="connsiteY3" fmla="*/ 2583466 h 2583465"/>
                <a:gd name="connsiteX4" fmla="*/ 955357 w 1933289"/>
                <a:gd name="connsiteY4" fmla="*/ 2583466 h 2583465"/>
                <a:gd name="connsiteX5" fmla="*/ 136589 w 1933289"/>
                <a:gd name="connsiteY5" fmla="*/ 2229136 h 2583465"/>
                <a:gd name="connsiteX6" fmla="*/ 0 w 1933289"/>
                <a:gd name="connsiteY6" fmla="*/ 1734122 h 2583465"/>
                <a:gd name="connsiteX7" fmla="*/ 0 w 1933289"/>
                <a:gd name="connsiteY7" fmla="*/ 794194 h 2583465"/>
                <a:gd name="connsiteX8" fmla="*/ 137827 w 1933289"/>
                <a:gd name="connsiteY8" fmla="*/ 656273 h 2583465"/>
                <a:gd name="connsiteX9" fmla="*/ 275463 w 1933289"/>
                <a:gd name="connsiteY9" fmla="*/ 794194 h 2583465"/>
                <a:gd name="connsiteX10" fmla="*/ 275463 w 1933289"/>
                <a:gd name="connsiteY10" fmla="*/ 1734122 h 2583465"/>
                <a:gd name="connsiteX11" fmla="*/ 354235 w 1933289"/>
                <a:gd name="connsiteY11" fmla="*/ 2059686 h 2583465"/>
                <a:gd name="connsiteX12" fmla="*/ 958215 w 1933289"/>
                <a:gd name="connsiteY12" fmla="*/ 2307527 h 2583465"/>
                <a:gd name="connsiteX13" fmla="*/ 974789 w 1933289"/>
                <a:gd name="connsiteY13" fmla="*/ 2307527 h 2583465"/>
                <a:gd name="connsiteX14" fmla="*/ 1578959 w 1933289"/>
                <a:gd name="connsiteY14" fmla="*/ 2059686 h 2583465"/>
                <a:gd name="connsiteX15" fmla="*/ 1657636 w 1933289"/>
                <a:gd name="connsiteY15" fmla="*/ 1734122 h 2583465"/>
                <a:gd name="connsiteX16" fmla="*/ 1657636 w 1933289"/>
                <a:gd name="connsiteY16" fmla="*/ 138017 h 2583465"/>
                <a:gd name="connsiteX17" fmla="*/ 1795463 w 1933289"/>
                <a:gd name="connsiteY17" fmla="*/ 0 h 2583465"/>
                <a:gd name="connsiteX18" fmla="*/ 1933290 w 1933289"/>
                <a:gd name="connsiteY18" fmla="*/ 138017 h 25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3289" h="2583465">
                  <a:moveTo>
                    <a:pt x="1933290" y="138017"/>
                  </a:moveTo>
                  <a:lnTo>
                    <a:pt x="1933290" y="1734122"/>
                  </a:lnTo>
                  <a:cubicBezTo>
                    <a:pt x="1933290" y="1870996"/>
                    <a:pt x="1919002" y="2071211"/>
                    <a:pt x="1796606" y="2229136"/>
                  </a:cubicBezTo>
                  <a:cubicBezTo>
                    <a:pt x="1634395" y="2438305"/>
                    <a:pt x="1432084" y="2578703"/>
                    <a:pt x="977742" y="2583466"/>
                  </a:cubicBezTo>
                  <a:lnTo>
                    <a:pt x="955357" y="2583466"/>
                  </a:lnTo>
                  <a:cubicBezTo>
                    <a:pt x="501015" y="2578703"/>
                    <a:pt x="298704" y="2438400"/>
                    <a:pt x="136589" y="2229136"/>
                  </a:cubicBezTo>
                  <a:cubicBezTo>
                    <a:pt x="14192" y="2071211"/>
                    <a:pt x="0" y="1870996"/>
                    <a:pt x="0" y="1734122"/>
                  </a:cubicBezTo>
                  <a:lnTo>
                    <a:pt x="0" y="794194"/>
                  </a:lnTo>
                  <a:cubicBezTo>
                    <a:pt x="0" y="718185"/>
                    <a:pt x="61436" y="656273"/>
                    <a:pt x="137827" y="656273"/>
                  </a:cubicBezTo>
                  <a:cubicBezTo>
                    <a:pt x="214217" y="656273"/>
                    <a:pt x="275463" y="718185"/>
                    <a:pt x="275463" y="794194"/>
                  </a:cubicBezTo>
                  <a:lnTo>
                    <a:pt x="275463" y="1734122"/>
                  </a:lnTo>
                  <a:cubicBezTo>
                    <a:pt x="275463" y="1887188"/>
                    <a:pt x="300324" y="1990630"/>
                    <a:pt x="354235" y="2059686"/>
                  </a:cubicBezTo>
                  <a:cubicBezTo>
                    <a:pt x="476250" y="2217611"/>
                    <a:pt x="609791" y="2304479"/>
                    <a:pt x="958215" y="2307527"/>
                  </a:cubicBezTo>
                  <a:lnTo>
                    <a:pt x="974789" y="2307527"/>
                  </a:lnTo>
                  <a:cubicBezTo>
                    <a:pt x="1323499" y="2304479"/>
                    <a:pt x="1456563" y="2217611"/>
                    <a:pt x="1578959" y="2059686"/>
                  </a:cubicBezTo>
                  <a:cubicBezTo>
                    <a:pt x="1632490" y="1990630"/>
                    <a:pt x="1657636" y="1887093"/>
                    <a:pt x="1657636" y="1734122"/>
                  </a:cubicBezTo>
                  <a:lnTo>
                    <a:pt x="1657636" y="138017"/>
                  </a:lnTo>
                  <a:cubicBezTo>
                    <a:pt x="1657636" y="61531"/>
                    <a:pt x="1719453" y="0"/>
                    <a:pt x="1795463" y="0"/>
                  </a:cubicBezTo>
                  <a:cubicBezTo>
                    <a:pt x="1871472" y="0"/>
                    <a:pt x="1933290" y="61531"/>
                    <a:pt x="1933290" y="138017"/>
                  </a:cubicBezTo>
                </a:path>
              </a:pathLst>
            </a:custGeom>
            <a:solidFill>
              <a:srgbClr val="49306E"/>
            </a:solidFill>
            <a:ln w="9525" cap="flat">
              <a:noFill/>
              <a:prstDash val="solid"/>
              <a:miter/>
            </a:ln>
          </p:spPr>
          <p:txBody>
            <a:bodyPr rtlCol="0" anchor="ctr"/>
            <a:lstStyle/>
            <a:p>
              <a:endParaRPr lang="pt-BR" noProof="0"/>
            </a:p>
          </p:txBody>
        </p:sp>
      </p:grpSp>
      <p:sp>
        <p:nvSpPr>
          <p:cNvPr id="5" name="Rectangle 3">
            <a:extLst>
              <a:ext uri="{FF2B5EF4-FFF2-40B4-BE49-F238E27FC236}">
                <a16:creationId xmlns:a16="http://schemas.microsoft.com/office/drawing/2014/main" id="{BC32ED71-96E9-A0CD-F190-3BE23B885E58}"/>
              </a:ext>
            </a:extLst>
          </p:cNvPr>
          <p:cNvSpPr>
            <a:spLocks noChangeArrowheads="1"/>
          </p:cNvSpPr>
          <p:nvPr/>
        </p:nvSpPr>
        <p:spPr bwMode="auto">
          <a:xfrm>
            <a:off x="428153" y="692497"/>
            <a:ext cx="264816" cy="2862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p:txBody>
      </p:sp>
      <p:sp>
        <p:nvSpPr>
          <p:cNvPr id="8" name="CaixaDeTexto 7">
            <a:extLst>
              <a:ext uri="{FF2B5EF4-FFF2-40B4-BE49-F238E27FC236}">
                <a16:creationId xmlns:a16="http://schemas.microsoft.com/office/drawing/2014/main" id="{AFDD9CC5-0DFB-6437-7929-9A793F618DE7}"/>
              </a:ext>
            </a:extLst>
          </p:cNvPr>
          <p:cNvSpPr txBox="1"/>
          <p:nvPr/>
        </p:nvSpPr>
        <p:spPr>
          <a:xfrm>
            <a:off x="5375715" y="1953667"/>
            <a:ext cx="4049138" cy="523220"/>
          </a:xfrm>
          <a:prstGeom prst="rect">
            <a:avLst/>
          </a:prstGeom>
          <a:noFill/>
        </p:spPr>
        <p:txBody>
          <a:bodyPr wrap="square" rtlCol="0">
            <a:spAutoFit/>
          </a:bodyPr>
          <a:lstStyle/>
          <a:p>
            <a:r>
              <a:rPr lang="pt-BR" sz="2800" b="1" noProof="0">
                <a:solidFill>
                  <a:schemeClr val="bg1"/>
                </a:solidFill>
              </a:rPr>
              <a:t>Envelope 1</a:t>
            </a:r>
          </a:p>
        </p:txBody>
      </p:sp>
    </p:spTree>
    <p:extLst>
      <p:ext uri="{BB962C8B-B14F-4D97-AF65-F5344CB8AC3E}">
        <p14:creationId xmlns:p14="http://schemas.microsoft.com/office/powerpoint/2010/main" val="76908569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2E0369-0CC2-D16A-7A24-C49929DD2008}"/>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D58C070-80AE-B0C2-E168-699B106B20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8" progId="TCLayout.ActiveDocument.1">
                  <p:embed/>
                </p:oleObj>
              </mc:Choice>
              <mc:Fallback>
                <p:oleObj name="think-cell Slide" r:id="rId4" imgW="306" imgH="308" progId="TCLayout.ActiveDocument.1">
                  <p:embed/>
                  <p:pic>
                    <p:nvPicPr>
                      <p:cNvPr id="12" name="think-cell data - do not delete" hidden="1">
                        <a:extLst>
                          <a:ext uri="{FF2B5EF4-FFF2-40B4-BE49-F238E27FC236}">
                            <a16:creationId xmlns:a16="http://schemas.microsoft.com/office/drawing/2014/main" id="{CD58C070-80AE-B0C2-E168-699B106B20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3" name="Group 12">
            <a:extLst>
              <a:ext uri="{FF2B5EF4-FFF2-40B4-BE49-F238E27FC236}">
                <a16:creationId xmlns:a16="http://schemas.microsoft.com/office/drawing/2014/main" id="{F35FD2FF-2F6E-FF9F-77AE-160815EC6E63}"/>
              </a:ext>
            </a:extLst>
          </p:cNvPr>
          <p:cNvGrpSpPr/>
          <p:nvPr/>
        </p:nvGrpSpPr>
        <p:grpSpPr>
          <a:xfrm>
            <a:off x="304800" y="249455"/>
            <a:ext cx="1193800" cy="462985"/>
            <a:chOff x="5245100" y="211355"/>
            <a:chExt cx="2036664" cy="789869"/>
          </a:xfrm>
        </p:grpSpPr>
        <p:sp>
          <p:nvSpPr>
            <p:cNvPr id="14" name="Freeform: Shape 13">
              <a:extLst>
                <a:ext uri="{FF2B5EF4-FFF2-40B4-BE49-F238E27FC236}">
                  <a16:creationId xmlns:a16="http://schemas.microsoft.com/office/drawing/2014/main" id="{E34445FF-03FF-27B9-4670-0ED8A1317929}"/>
                </a:ext>
              </a:extLst>
            </p:cNvPr>
            <p:cNvSpPr/>
            <p:nvPr/>
          </p:nvSpPr>
          <p:spPr>
            <a:xfrm>
              <a:off x="5245100" y="308520"/>
              <a:ext cx="247894" cy="322815"/>
            </a:xfrm>
            <a:custGeom>
              <a:avLst/>
              <a:gdLst>
                <a:gd name="connsiteX0" fmla="*/ 529590 w 986123"/>
                <a:gd name="connsiteY0" fmla="*/ 1284160 h 1284160"/>
                <a:gd name="connsiteX1" fmla="*/ 249650 w 986123"/>
                <a:gd name="connsiteY1" fmla="*/ 1235107 h 1284160"/>
                <a:gd name="connsiteX2" fmla="*/ 0 w 986123"/>
                <a:gd name="connsiteY2" fmla="*/ 1084421 h 1284160"/>
                <a:gd name="connsiteX3" fmla="*/ 162306 w 986123"/>
                <a:gd name="connsiteY3" fmla="*/ 890016 h 1284160"/>
                <a:gd name="connsiteX4" fmla="*/ 337947 w 986123"/>
                <a:gd name="connsiteY4" fmla="*/ 1000601 h 1284160"/>
                <a:gd name="connsiteX5" fmla="*/ 535019 w 986123"/>
                <a:gd name="connsiteY5" fmla="*/ 1041654 h 1284160"/>
                <a:gd name="connsiteX6" fmla="*/ 667893 w 986123"/>
                <a:gd name="connsiteY6" fmla="*/ 1010412 h 1284160"/>
                <a:gd name="connsiteX7" fmla="*/ 715137 w 986123"/>
                <a:gd name="connsiteY7" fmla="*/ 923925 h 1284160"/>
                <a:gd name="connsiteX8" fmla="*/ 715137 w 986123"/>
                <a:gd name="connsiteY8" fmla="*/ 920305 h 1284160"/>
                <a:gd name="connsiteX9" fmla="*/ 705326 w 986123"/>
                <a:gd name="connsiteY9" fmla="*/ 873062 h 1284160"/>
                <a:gd name="connsiteX10" fmla="*/ 667798 w 986123"/>
                <a:gd name="connsiteY10" fmla="*/ 834676 h 1284160"/>
                <a:gd name="connsiteX11" fmla="*/ 590931 w 986123"/>
                <a:gd name="connsiteY11" fmla="*/ 798957 h 1284160"/>
                <a:gd name="connsiteX12" fmla="*/ 463106 w 986123"/>
                <a:gd name="connsiteY12" fmla="*/ 761524 h 1284160"/>
                <a:gd name="connsiteX13" fmla="*/ 291465 w 986123"/>
                <a:gd name="connsiteY13" fmla="*/ 709803 h 1284160"/>
                <a:gd name="connsiteX14" fmla="*/ 160973 w 986123"/>
                <a:gd name="connsiteY14" fmla="*/ 639318 h 1284160"/>
                <a:gd name="connsiteX15" fmla="*/ 77819 w 986123"/>
                <a:gd name="connsiteY15" fmla="*/ 535019 h 1284160"/>
                <a:gd name="connsiteX16" fmla="*/ 48292 w 986123"/>
                <a:gd name="connsiteY16" fmla="*/ 379857 h 1284160"/>
                <a:gd name="connsiteX17" fmla="*/ 48292 w 986123"/>
                <a:gd name="connsiteY17" fmla="*/ 376238 h 1284160"/>
                <a:gd name="connsiteX18" fmla="*/ 80201 w 986123"/>
                <a:gd name="connsiteY18" fmla="*/ 222028 h 1284160"/>
                <a:gd name="connsiteX19" fmla="*/ 169640 w 986123"/>
                <a:gd name="connsiteY19" fmla="*/ 103441 h 1284160"/>
                <a:gd name="connsiteX20" fmla="*/ 307181 w 986123"/>
                <a:gd name="connsiteY20" fmla="*/ 26765 h 1284160"/>
                <a:gd name="connsiteX21" fmla="*/ 483394 w 986123"/>
                <a:gd name="connsiteY21" fmla="*/ 0 h 1284160"/>
                <a:gd name="connsiteX22" fmla="*/ 735711 w 986123"/>
                <a:gd name="connsiteY22" fmla="*/ 41053 h 1284160"/>
                <a:gd name="connsiteX23" fmla="*/ 946976 w 986123"/>
                <a:gd name="connsiteY23" fmla="*/ 158687 h 1284160"/>
                <a:gd name="connsiteX24" fmla="*/ 804291 w 986123"/>
                <a:gd name="connsiteY24" fmla="*/ 365569 h 1284160"/>
                <a:gd name="connsiteX25" fmla="*/ 640271 w 986123"/>
                <a:gd name="connsiteY25" fmla="*/ 275558 h 1284160"/>
                <a:gd name="connsiteX26" fmla="*/ 479774 w 986123"/>
                <a:gd name="connsiteY26" fmla="*/ 242602 h 1284160"/>
                <a:gd name="connsiteX27" fmla="*/ 359378 w 986123"/>
                <a:gd name="connsiteY27" fmla="*/ 273844 h 1284160"/>
                <a:gd name="connsiteX28" fmla="*/ 319278 w 986123"/>
                <a:gd name="connsiteY28" fmla="*/ 351377 h 1284160"/>
                <a:gd name="connsiteX29" fmla="*/ 319278 w 986123"/>
                <a:gd name="connsiteY29" fmla="*/ 354997 h 1284160"/>
                <a:gd name="connsiteX30" fmla="*/ 330899 w 986123"/>
                <a:gd name="connsiteY30" fmla="*/ 407575 h 1284160"/>
                <a:gd name="connsiteX31" fmla="*/ 372904 w 986123"/>
                <a:gd name="connsiteY31" fmla="*/ 447675 h 1284160"/>
                <a:gd name="connsiteX32" fmla="*/ 456057 w 986123"/>
                <a:gd name="connsiteY32" fmla="*/ 481489 h 1284160"/>
                <a:gd name="connsiteX33" fmla="*/ 589217 w 986123"/>
                <a:gd name="connsiteY33" fmla="*/ 518922 h 1284160"/>
                <a:gd name="connsiteX34" fmla="*/ 758190 w 986123"/>
                <a:gd name="connsiteY34" fmla="*/ 575120 h 1284160"/>
                <a:gd name="connsiteX35" fmla="*/ 883349 w 986123"/>
                <a:gd name="connsiteY35" fmla="*/ 649986 h 1284160"/>
                <a:gd name="connsiteX36" fmla="*/ 960215 w 986123"/>
                <a:gd name="connsiteY36" fmla="*/ 752570 h 1284160"/>
                <a:gd name="connsiteX37" fmla="*/ 986123 w 986123"/>
                <a:gd name="connsiteY37" fmla="*/ 893445 h 1284160"/>
                <a:gd name="connsiteX38" fmla="*/ 986123 w 986123"/>
                <a:gd name="connsiteY38" fmla="*/ 897064 h 1284160"/>
                <a:gd name="connsiteX39" fmla="*/ 952500 w 986123"/>
                <a:gd name="connsiteY39" fmla="*/ 1062038 h 1284160"/>
                <a:gd name="connsiteX40" fmla="*/ 858584 w 986123"/>
                <a:gd name="connsiteY40" fmla="*/ 1183291 h 1284160"/>
                <a:gd name="connsiteX41" fmla="*/ 714851 w 986123"/>
                <a:gd name="connsiteY41" fmla="*/ 1258157 h 1284160"/>
                <a:gd name="connsiteX42" fmla="*/ 529685 w 986123"/>
                <a:gd name="connsiteY42" fmla="*/ 1284065 h 128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6123" h="1284160">
                  <a:moveTo>
                    <a:pt x="529590" y="1284160"/>
                  </a:moveTo>
                  <a:cubicBezTo>
                    <a:pt x="434435" y="1284160"/>
                    <a:pt x="341186" y="1267777"/>
                    <a:pt x="249650" y="1235107"/>
                  </a:cubicBezTo>
                  <a:cubicBezTo>
                    <a:pt x="158115" y="1202436"/>
                    <a:pt x="74867" y="1152239"/>
                    <a:pt x="0" y="1084421"/>
                  </a:cubicBezTo>
                  <a:lnTo>
                    <a:pt x="162306" y="890016"/>
                  </a:lnTo>
                  <a:cubicBezTo>
                    <a:pt x="219361" y="936403"/>
                    <a:pt x="277844" y="973264"/>
                    <a:pt x="337947" y="1000601"/>
                  </a:cubicBezTo>
                  <a:cubicBezTo>
                    <a:pt x="397955" y="1027938"/>
                    <a:pt x="463677" y="1041654"/>
                    <a:pt x="535019" y="1041654"/>
                  </a:cubicBezTo>
                  <a:cubicBezTo>
                    <a:pt x="592074" y="1041654"/>
                    <a:pt x="636365" y="1031272"/>
                    <a:pt x="667893" y="1010412"/>
                  </a:cubicBezTo>
                  <a:cubicBezTo>
                    <a:pt x="699421" y="989647"/>
                    <a:pt x="715137" y="960787"/>
                    <a:pt x="715137" y="923925"/>
                  </a:cubicBezTo>
                  <a:lnTo>
                    <a:pt x="715137" y="920305"/>
                  </a:lnTo>
                  <a:cubicBezTo>
                    <a:pt x="715137" y="902494"/>
                    <a:pt x="711803" y="886777"/>
                    <a:pt x="705326" y="873062"/>
                  </a:cubicBezTo>
                  <a:cubicBezTo>
                    <a:pt x="698754" y="859441"/>
                    <a:pt x="686276" y="846582"/>
                    <a:pt x="667798" y="834676"/>
                  </a:cubicBezTo>
                  <a:cubicBezTo>
                    <a:pt x="649319" y="822770"/>
                    <a:pt x="623697" y="810863"/>
                    <a:pt x="590931" y="798957"/>
                  </a:cubicBezTo>
                  <a:cubicBezTo>
                    <a:pt x="558165" y="787146"/>
                    <a:pt x="515493" y="774573"/>
                    <a:pt x="463106" y="761524"/>
                  </a:cubicBezTo>
                  <a:cubicBezTo>
                    <a:pt x="399955" y="746093"/>
                    <a:pt x="342710" y="728853"/>
                    <a:pt x="291465" y="709803"/>
                  </a:cubicBezTo>
                  <a:cubicBezTo>
                    <a:pt x="240221" y="690753"/>
                    <a:pt x="196691" y="667322"/>
                    <a:pt x="160973" y="639318"/>
                  </a:cubicBezTo>
                  <a:cubicBezTo>
                    <a:pt x="125159" y="611410"/>
                    <a:pt x="97536" y="576644"/>
                    <a:pt x="77819" y="535019"/>
                  </a:cubicBezTo>
                  <a:cubicBezTo>
                    <a:pt x="58103" y="493395"/>
                    <a:pt x="48292" y="441674"/>
                    <a:pt x="48292" y="379857"/>
                  </a:cubicBezTo>
                  <a:lnTo>
                    <a:pt x="48292" y="376238"/>
                  </a:lnTo>
                  <a:cubicBezTo>
                    <a:pt x="48292" y="319183"/>
                    <a:pt x="58865" y="267748"/>
                    <a:pt x="80201" y="222028"/>
                  </a:cubicBezTo>
                  <a:cubicBezTo>
                    <a:pt x="101441" y="176308"/>
                    <a:pt x="131255" y="136779"/>
                    <a:pt x="169640" y="103441"/>
                  </a:cubicBezTo>
                  <a:cubicBezTo>
                    <a:pt x="208026" y="70199"/>
                    <a:pt x="253841" y="44577"/>
                    <a:pt x="307181" y="26765"/>
                  </a:cubicBezTo>
                  <a:cubicBezTo>
                    <a:pt x="360426" y="8953"/>
                    <a:pt x="419195" y="0"/>
                    <a:pt x="483394" y="0"/>
                  </a:cubicBezTo>
                  <a:cubicBezTo>
                    <a:pt x="574929" y="0"/>
                    <a:pt x="659035" y="13716"/>
                    <a:pt x="735711" y="41053"/>
                  </a:cubicBezTo>
                  <a:cubicBezTo>
                    <a:pt x="812387" y="68389"/>
                    <a:pt x="882777" y="107632"/>
                    <a:pt x="946976" y="158687"/>
                  </a:cubicBezTo>
                  <a:lnTo>
                    <a:pt x="804291" y="365569"/>
                  </a:lnTo>
                  <a:cubicBezTo>
                    <a:pt x="748379" y="327565"/>
                    <a:pt x="693706" y="297561"/>
                    <a:pt x="640271" y="275558"/>
                  </a:cubicBezTo>
                  <a:cubicBezTo>
                    <a:pt x="586740" y="253555"/>
                    <a:pt x="533305" y="242602"/>
                    <a:pt x="479774" y="242602"/>
                  </a:cubicBezTo>
                  <a:cubicBezTo>
                    <a:pt x="426244" y="242602"/>
                    <a:pt x="386144" y="252984"/>
                    <a:pt x="359378" y="273844"/>
                  </a:cubicBezTo>
                  <a:cubicBezTo>
                    <a:pt x="332613" y="294608"/>
                    <a:pt x="319278" y="320516"/>
                    <a:pt x="319278" y="351377"/>
                  </a:cubicBezTo>
                  <a:lnTo>
                    <a:pt x="319278" y="354997"/>
                  </a:lnTo>
                  <a:cubicBezTo>
                    <a:pt x="319278" y="375190"/>
                    <a:pt x="323183" y="392716"/>
                    <a:pt x="330899" y="407575"/>
                  </a:cubicBezTo>
                  <a:cubicBezTo>
                    <a:pt x="338614" y="422434"/>
                    <a:pt x="352616" y="435864"/>
                    <a:pt x="372904" y="447675"/>
                  </a:cubicBezTo>
                  <a:cubicBezTo>
                    <a:pt x="393192" y="459581"/>
                    <a:pt x="420910" y="470821"/>
                    <a:pt x="456057" y="481489"/>
                  </a:cubicBezTo>
                  <a:cubicBezTo>
                    <a:pt x="491204" y="492157"/>
                    <a:pt x="535591" y="504730"/>
                    <a:pt x="589217" y="518922"/>
                  </a:cubicBezTo>
                  <a:cubicBezTo>
                    <a:pt x="652367" y="535591"/>
                    <a:pt x="708660" y="554260"/>
                    <a:pt x="758190" y="575120"/>
                  </a:cubicBezTo>
                  <a:cubicBezTo>
                    <a:pt x="807625" y="595979"/>
                    <a:pt x="849344" y="620935"/>
                    <a:pt x="883349" y="649986"/>
                  </a:cubicBezTo>
                  <a:cubicBezTo>
                    <a:pt x="917353" y="679132"/>
                    <a:pt x="942975" y="713327"/>
                    <a:pt x="960215" y="752570"/>
                  </a:cubicBezTo>
                  <a:cubicBezTo>
                    <a:pt x="977456" y="791813"/>
                    <a:pt x="986123" y="838772"/>
                    <a:pt x="986123" y="893445"/>
                  </a:cubicBezTo>
                  <a:lnTo>
                    <a:pt x="986123" y="897064"/>
                  </a:lnTo>
                  <a:cubicBezTo>
                    <a:pt x="986123" y="958882"/>
                    <a:pt x="974884" y="1013841"/>
                    <a:pt x="952500" y="1062038"/>
                  </a:cubicBezTo>
                  <a:cubicBezTo>
                    <a:pt x="930021" y="1110139"/>
                    <a:pt x="898779" y="1150620"/>
                    <a:pt x="858584" y="1183291"/>
                  </a:cubicBezTo>
                  <a:cubicBezTo>
                    <a:pt x="818388" y="1216057"/>
                    <a:pt x="770477" y="1241012"/>
                    <a:pt x="714851" y="1258157"/>
                  </a:cubicBezTo>
                  <a:cubicBezTo>
                    <a:pt x="659130" y="1275398"/>
                    <a:pt x="597503" y="1284065"/>
                    <a:pt x="529685" y="1284065"/>
                  </a:cubicBezTo>
                  <a:close/>
                </a:path>
              </a:pathLst>
            </a:custGeom>
            <a:solidFill>
              <a:srgbClr val="44505E"/>
            </a:solidFill>
            <a:ln w="9525" cap="flat">
              <a:noFill/>
              <a:prstDash val="solid"/>
              <a:miter/>
            </a:ln>
          </p:spPr>
          <p:txBody>
            <a:bodyPr rtlCol="0" anchor="ctr"/>
            <a:lstStyle/>
            <a:p>
              <a:endParaRPr lang="pt-BR" noProof="0"/>
            </a:p>
          </p:txBody>
        </p:sp>
        <p:sp>
          <p:nvSpPr>
            <p:cNvPr id="17" name="Freeform: Shape 16">
              <a:extLst>
                <a:ext uri="{FF2B5EF4-FFF2-40B4-BE49-F238E27FC236}">
                  <a16:creationId xmlns:a16="http://schemas.microsoft.com/office/drawing/2014/main" id="{DFB29A03-A686-982F-6860-4AED2954C471}"/>
                </a:ext>
              </a:extLst>
            </p:cNvPr>
            <p:cNvSpPr/>
            <p:nvPr/>
          </p:nvSpPr>
          <p:spPr>
            <a:xfrm>
              <a:off x="5492084" y="310867"/>
              <a:ext cx="332584" cy="315991"/>
            </a:xfrm>
            <a:custGeom>
              <a:avLst/>
              <a:gdLst>
                <a:gd name="connsiteX0" fmla="*/ 534924 w 1323022"/>
                <a:gd name="connsiteY0" fmla="*/ 0 h 1257014"/>
                <a:gd name="connsiteX1" fmla="*/ 788099 w 1323022"/>
                <a:gd name="connsiteY1" fmla="*/ 0 h 1257014"/>
                <a:gd name="connsiteX2" fmla="*/ 1323023 w 1323022"/>
                <a:gd name="connsiteY2" fmla="*/ 1257014 h 1257014"/>
                <a:gd name="connsiteX3" fmla="*/ 1035939 w 1323022"/>
                <a:gd name="connsiteY3" fmla="*/ 1257014 h 1257014"/>
                <a:gd name="connsiteX4" fmla="*/ 921829 w 1323022"/>
                <a:gd name="connsiteY4" fmla="*/ 977075 h 1257014"/>
                <a:gd name="connsiteX5" fmla="*/ 394049 w 1323022"/>
                <a:gd name="connsiteY5" fmla="*/ 977075 h 1257014"/>
                <a:gd name="connsiteX6" fmla="*/ 279940 w 1323022"/>
                <a:gd name="connsiteY6" fmla="*/ 1257014 h 1257014"/>
                <a:gd name="connsiteX7" fmla="*/ 0 w 1323022"/>
                <a:gd name="connsiteY7" fmla="*/ 1257014 h 1257014"/>
                <a:gd name="connsiteX8" fmla="*/ 534924 w 1323022"/>
                <a:gd name="connsiteY8" fmla="*/ 0 h 1257014"/>
                <a:gd name="connsiteX9" fmla="*/ 823817 w 1323022"/>
                <a:gd name="connsiteY9" fmla="*/ 734568 h 1257014"/>
                <a:gd name="connsiteX10" fmla="*/ 657987 w 1323022"/>
                <a:gd name="connsiteY10" fmla="*/ 329851 h 1257014"/>
                <a:gd name="connsiteX11" fmla="*/ 492157 w 1323022"/>
                <a:gd name="connsiteY11" fmla="*/ 734568 h 1257014"/>
                <a:gd name="connsiteX12" fmla="*/ 823817 w 1323022"/>
                <a:gd name="connsiteY12" fmla="*/ 734568 h 125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022" h="1257014">
                  <a:moveTo>
                    <a:pt x="534924" y="0"/>
                  </a:moveTo>
                  <a:lnTo>
                    <a:pt x="788099" y="0"/>
                  </a:lnTo>
                  <a:lnTo>
                    <a:pt x="1323023" y="1257014"/>
                  </a:lnTo>
                  <a:lnTo>
                    <a:pt x="1035939" y="1257014"/>
                  </a:lnTo>
                  <a:lnTo>
                    <a:pt x="921829" y="977075"/>
                  </a:lnTo>
                  <a:lnTo>
                    <a:pt x="394049" y="977075"/>
                  </a:lnTo>
                  <a:lnTo>
                    <a:pt x="279940" y="1257014"/>
                  </a:lnTo>
                  <a:lnTo>
                    <a:pt x="0" y="1257014"/>
                  </a:lnTo>
                  <a:lnTo>
                    <a:pt x="534924" y="0"/>
                  </a:lnTo>
                  <a:close/>
                  <a:moveTo>
                    <a:pt x="823817" y="734568"/>
                  </a:moveTo>
                  <a:lnTo>
                    <a:pt x="657987" y="329851"/>
                  </a:lnTo>
                  <a:lnTo>
                    <a:pt x="492157" y="734568"/>
                  </a:lnTo>
                  <a:lnTo>
                    <a:pt x="823817" y="734568"/>
                  </a:lnTo>
                  <a:close/>
                </a:path>
              </a:pathLst>
            </a:custGeom>
            <a:solidFill>
              <a:srgbClr val="44505E"/>
            </a:solidFill>
            <a:ln w="9525" cap="flat">
              <a:noFill/>
              <a:prstDash val="solid"/>
              <a:miter/>
            </a:ln>
          </p:spPr>
          <p:txBody>
            <a:bodyPr rtlCol="0" anchor="ctr"/>
            <a:lstStyle/>
            <a:p>
              <a:endParaRPr lang="pt-BR" noProof="0"/>
            </a:p>
          </p:txBody>
        </p:sp>
        <p:sp>
          <p:nvSpPr>
            <p:cNvPr id="18" name="Freeform: Shape 17">
              <a:extLst>
                <a:ext uri="{FF2B5EF4-FFF2-40B4-BE49-F238E27FC236}">
                  <a16:creationId xmlns:a16="http://schemas.microsoft.com/office/drawing/2014/main" id="{ACA23AB3-6C72-F605-4443-2597A581D8D9}"/>
                </a:ext>
              </a:extLst>
            </p:cNvPr>
            <p:cNvSpPr/>
            <p:nvPr/>
          </p:nvSpPr>
          <p:spPr>
            <a:xfrm>
              <a:off x="5834078" y="211355"/>
              <a:ext cx="273442" cy="420435"/>
            </a:xfrm>
            <a:custGeom>
              <a:avLst/>
              <a:gdLst>
                <a:gd name="connsiteX0" fmla="*/ 540258 w 1087754"/>
                <a:gd name="connsiteY0" fmla="*/ 1672495 h 1672494"/>
                <a:gd name="connsiteX1" fmla="*/ 144399 w 1087754"/>
                <a:gd name="connsiteY1" fmla="*/ 1533430 h 1672494"/>
                <a:gd name="connsiteX2" fmla="*/ 0 w 1087754"/>
                <a:gd name="connsiteY2" fmla="*/ 1117949 h 1672494"/>
                <a:gd name="connsiteX3" fmla="*/ 0 w 1087754"/>
                <a:gd name="connsiteY3" fmla="*/ 404717 h 1672494"/>
                <a:gd name="connsiteX4" fmla="*/ 274606 w 1087754"/>
                <a:gd name="connsiteY4" fmla="*/ 404717 h 1672494"/>
                <a:gd name="connsiteX5" fmla="*/ 274606 w 1087754"/>
                <a:gd name="connsiteY5" fmla="*/ 1110806 h 1672494"/>
                <a:gd name="connsiteX6" fmla="*/ 345948 w 1087754"/>
                <a:gd name="connsiteY6" fmla="*/ 1341692 h 1672494"/>
                <a:gd name="connsiteX7" fmla="*/ 543877 w 1087754"/>
                <a:gd name="connsiteY7" fmla="*/ 1419225 h 1672494"/>
                <a:gd name="connsiteX8" fmla="*/ 741807 w 1087754"/>
                <a:gd name="connsiteY8" fmla="*/ 1344359 h 1672494"/>
                <a:gd name="connsiteX9" fmla="*/ 813149 w 1087754"/>
                <a:gd name="connsiteY9" fmla="*/ 1119664 h 1672494"/>
                <a:gd name="connsiteX10" fmla="*/ 813149 w 1087754"/>
                <a:gd name="connsiteY10" fmla="*/ 404717 h 1672494"/>
                <a:gd name="connsiteX11" fmla="*/ 1087755 w 1087754"/>
                <a:gd name="connsiteY11" fmla="*/ 404717 h 1672494"/>
                <a:gd name="connsiteX12" fmla="*/ 1087755 w 1087754"/>
                <a:gd name="connsiteY12" fmla="*/ 1108996 h 1672494"/>
                <a:gd name="connsiteX13" fmla="*/ 1049369 w 1087754"/>
                <a:gd name="connsiteY13" fmla="*/ 1356836 h 1672494"/>
                <a:gd name="connsiteX14" fmla="*/ 939737 w 1087754"/>
                <a:gd name="connsiteY14" fmla="*/ 1532477 h 1672494"/>
                <a:gd name="connsiteX15" fmla="*/ 766763 w 1087754"/>
                <a:gd name="connsiteY15" fmla="*/ 1637729 h 1672494"/>
                <a:gd name="connsiteX16" fmla="*/ 540353 w 1087754"/>
                <a:gd name="connsiteY16" fmla="*/ 1672495 h 1672494"/>
                <a:gd name="connsiteX17" fmla="*/ 622268 w 1087754"/>
                <a:gd name="connsiteY17" fmla="*/ 0 h 1672494"/>
                <a:gd name="connsiteX18" fmla="*/ 855821 w 1087754"/>
                <a:gd name="connsiteY18" fmla="*/ 101632 h 1672494"/>
                <a:gd name="connsiteX19" fmla="*/ 627602 w 1087754"/>
                <a:gd name="connsiteY19" fmla="*/ 315563 h 1672494"/>
                <a:gd name="connsiteX20" fmla="*/ 420719 w 1087754"/>
                <a:gd name="connsiteY20" fmla="*/ 315563 h 1672494"/>
                <a:gd name="connsiteX21" fmla="*/ 622268 w 1087754"/>
                <a:gd name="connsiteY21" fmla="*/ 0 h 16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754" h="1672494">
                  <a:moveTo>
                    <a:pt x="540258" y="1672495"/>
                  </a:moveTo>
                  <a:cubicBezTo>
                    <a:pt x="372618" y="1672495"/>
                    <a:pt x="240697" y="1626108"/>
                    <a:pt x="144399" y="1533430"/>
                  </a:cubicBezTo>
                  <a:cubicBezTo>
                    <a:pt x="48101" y="1440752"/>
                    <a:pt x="0" y="1302258"/>
                    <a:pt x="0" y="1117949"/>
                  </a:cubicBezTo>
                  <a:lnTo>
                    <a:pt x="0" y="404717"/>
                  </a:lnTo>
                  <a:lnTo>
                    <a:pt x="274606" y="404717"/>
                  </a:lnTo>
                  <a:lnTo>
                    <a:pt x="274606" y="1110806"/>
                  </a:lnTo>
                  <a:cubicBezTo>
                    <a:pt x="274606" y="1213009"/>
                    <a:pt x="298418" y="1289971"/>
                    <a:pt x="345948" y="1341692"/>
                  </a:cubicBezTo>
                  <a:cubicBezTo>
                    <a:pt x="393478" y="1393412"/>
                    <a:pt x="459486" y="1419225"/>
                    <a:pt x="543877" y="1419225"/>
                  </a:cubicBezTo>
                  <a:cubicBezTo>
                    <a:pt x="628269" y="1419225"/>
                    <a:pt x="694277" y="1394270"/>
                    <a:pt x="741807" y="1344359"/>
                  </a:cubicBezTo>
                  <a:cubicBezTo>
                    <a:pt x="789337" y="1294448"/>
                    <a:pt x="813149" y="1219581"/>
                    <a:pt x="813149" y="1119664"/>
                  </a:cubicBezTo>
                  <a:lnTo>
                    <a:pt x="813149" y="404717"/>
                  </a:lnTo>
                  <a:lnTo>
                    <a:pt x="1087755" y="404717"/>
                  </a:lnTo>
                  <a:lnTo>
                    <a:pt x="1087755" y="1108996"/>
                  </a:lnTo>
                  <a:cubicBezTo>
                    <a:pt x="1087755" y="1204151"/>
                    <a:pt x="1074992" y="1286732"/>
                    <a:pt x="1049369" y="1356836"/>
                  </a:cubicBezTo>
                  <a:cubicBezTo>
                    <a:pt x="1023747" y="1426940"/>
                    <a:pt x="987266" y="1485519"/>
                    <a:pt x="939737" y="1532477"/>
                  </a:cubicBezTo>
                  <a:cubicBezTo>
                    <a:pt x="892207" y="1579436"/>
                    <a:pt x="834485" y="1614488"/>
                    <a:pt x="766763" y="1637729"/>
                  </a:cubicBezTo>
                  <a:cubicBezTo>
                    <a:pt x="699040" y="1660874"/>
                    <a:pt x="623507" y="1672495"/>
                    <a:pt x="540353" y="1672495"/>
                  </a:cubicBezTo>
                  <a:close/>
                  <a:moveTo>
                    <a:pt x="622268" y="0"/>
                  </a:moveTo>
                  <a:lnTo>
                    <a:pt x="855821" y="101632"/>
                  </a:lnTo>
                  <a:lnTo>
                    <a:pt x="627602" y="315563"/>
                  </a:lnTo>
                  <a:lnTo>
                    <a:pt x="420719" y="315563"/>
                  </a:lnTo>
                  <a:lnTo>
                    <a:pt x="622268" y="0"/>
                  </a:lnTo>
                  <a:close/>
                </a:path>
              </a:pathLst>
            </a:custGeom>
            <a:solidFill>
              <a:srgbClr val="44505E"/>
            </a:solidFill>
            <a:ln w="9525" cap="flat">
              <a:noFill/>
              <a:prstDash val="solid"/>
              <a:miter/>
            </a:ln>
          </p:spPr>
          <p:txBody>
            <a:bodyPr rtlCol="0" anchor="ctr"/>
            <a:lstStyle/>
            <a:p>
              <a:endParaRPr lang="pt-BR" noProof="0"/>
            </a:p>
          </p:txBody>
        </p:sp>
        <p:sp>
          <p:nvSpPr>
            <p:cNvPr id="19" name="Freeform: Shape 18">
              <a:extLst>
                <a:ext uri="{FF2B5EF4-FFF2-40B4-BE49-F238E27FC236}">
                  <a16:creationId xmlns:a16="http://schemas.microsoft.com/office/drawing/2014/main" id="{68FB9A3F-3938-8407-B014-29E68A9A88AD}"/>
                </a:ext>
              </a:extLst>
            </p:cNvPr>
            <p:cNvSpPr/>
            <p:nvPr/>
          </p:nvSpPr>
          <p:spPr>
            <a:xfrm>
              <a:off x="6143795" y="313094"/>
              <a:ext cx="289101" cy="313764"/>
            </a:xfrm>
            <a:custGeom>
              <a:avLst/>
              <a:gdLst>
                <a:gd name="connsiteX0" fmla="*/ 0 w 1150048"/>
                <a:gd name="connsiteY0" fmla="*/ 0 h 1248155"/>
                <a:gd name="connsiteX1" fmla="*/ 486728 w 1150048"/>
                <a:gd name="connsiteY1" fmla="*/ 0 h 1248155"/>
                <a:gd name="connsiteX2" fmla="*/ 755047 w 1150048"/>
                <a:gd name="connsiteY2" fmla="*/ 47244 h 1248155"/>
                <a:gd name="connsiteX3" fmla="*/ 965454 w 1150048"/>
                <a:gd name="connsiteY3" fmla="*/ 178308 h 1248155"/>
                <a:gd name="connsiteX4" fmla="*/ 1101852 w 1150048"/>
                <a:gd name="connsiteY4" fmla="*/ 375380 h 1248155"/>
                <a:gd name="connsiteX5" fmla="*/ 1150049 w 1150048"/>
                <a:gd name="connsiteY5" fmla="*/ 620554 h 1248155"/>
                <a:gd name="connsiteX6" fmla="*/ 1150049 w 1150048"/>
                <a:gd name="connsiteY6" fmla="*/ 624173 h 1248155"/>
                <a:gd name="connsiteX7" fmla="*/ 1101852 w 1150048"/>
                <a:gd name="connsiteY7" fmla="*/ 870204 h 1248155"/>
                <a:gd name="connsiteX8" fmla="*/ 965454 w 1150048"/>
                <a:gd name="connsiteY8" fmla="*/ 1068134 h 1248155"/>
                <a:gd name="connsiteX9" fmla="*/ 755047 w 1150048"/>
                <a:gd name="connsiteY9" fmla="*/ 1200055 h 1248155"/>
                <a:gd name="connsiteX10" fmla="*/ 486728 w 1150048"/>
                <a:gd name="connsiteY10" fmla="*/ 1248156 h 1248155"/>
                <a:gd name="connsiteX11" fmla="*/ 0 w 1150048"/>
                <a:gd name="connsiteY11" fmla="*/ 1248156 h 1248155"/>
                <a:gd name="connsiteX12" fmla="*/ 0 w 1150048"/>
                <a:gd name="connsiteY12" fmla="*/ 0 h 1248155"/>
                <a:gd name="connsiteX13" fmla="*/ 486728 w 1150048"/>
                <a:gd name="connsiteY13" fmla="*/ 1000315 h 1248155"/>
                <a:gd name="connsiteX14" fmla="*/ 640080 w 1150048"/>
                <a:gd name="connsiteY14" fmla="*/ 973550 h 1248155"/>
                <a:gd name="connsiteX15" fmla="*/ 758667 w 1150048"/>
                <a:gd name="connsiteY15" fmla="*/ 896874 h 1248155"/>
                <a:gd name="connsiteX16" fmla="*/ 835343 w 1150048"/>
                <a:gd name="connsiteY16" fmla="*/ 779240 h 1248155"/>
                <a:gd name="connsiteX17" fmla="*/ 862965 w 1150048"/>
                <a:gd name="connsiteY17" fmla="*/ 627698 h 1248155"/>
                <a:gd name="connsiteX18" fmla="*/ 862965 w 1150048"/>
                <a:gd name="connsiteY18" fmla="*/ 624078 h 1248155"/>
                <a:gd name="connsiteX19" fmla="*/ 835343 w 1150048"/>
                <a:gd name="connsiteY19" fmla="*/ 472535 h 1248155"/>
                <a:gd name="connsiteX20" fmla="*/ 758667 w 1150048"/>
                <a:gd name="connsiteY20" fmla="*/ 353092 h 1248155"/>
                <a:gd name="connsiteX21" fmla="*/ 640080 w 1150048"/>
                <a:gd name="connsiteY21" fmla="*/ 275558 h 1248155"/>
                <a:gd name="connsiteX22" fmla="*/ 486728 w 1150048"/>
                <a:gd name="connsiteY22" fmla="*/ 247936 h 1248155"/>
                <a:gd name="connsiteX23" fmla="*/ 274511 w 1150048"/>
                <a:gd name="connsiteY23" fmla="*/ 247936 h 1248155"/>
                <a:gd name="connsiteX24" fmla="*/ 274511 w 1150048"/>
                <a:gd name="connsiteY24" fmla="*/ 1000411 h 1248155"/>
                <a:gd name="connsiteX25" fmla="*/ 486728 w 1150048"/>
                <a:gd name="connsiteY25" fmla="*/ 1000411 h 124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50048" h="1248155">
                  <a:moveTo>
                    <a:pt x="0" y="0"/>
                  </a:moveTo>
                  <a:lnTo>
                    <a:pt x="486728" y="0"/>
                  </a:lnTo>
                  <a:cubicBezTo>
                    <a:pt x="584168" y="0"/>
                    <a:pt x="673608" y="15811"/>
                    <a:pt x="755047" y="47244"/>
                  </a:cubicBezTo>
                  <a:cubicBezTo>
                    <a:pt x="836486" y="78772"/>
                    <a:pt x="906590" y="122396"/>
                    <a:pt x="965454" y="178308"/>
                  </a:cubicBezTo>
                  <a:cubicBezTo>
                    <a:pt x="1024319" y="234220"/>
                    <a:pt x="1069753" y="299847"/>
                    <a:pt x="1101852" y="375380"/>
                  </a:cubicBezTo>
                  <a:cubicBezTo>
                    <a:pt x="1133951" y="450914"/>
                    <a:pt x="1150049" y="532543"/>
                    <a:pt x="1150049" y="620554"/>
                  </a:cubicBezTo>
                  <a:lnTo>
                    <a:pt x="1150049" y="624173"/>
                  </a:lnTo>
                  <a:cubicBezTo>
                    <a:pt x="1150049" y="712184"/>
                    <a:pt x="1133951" y="794195"/>
                    <a:pt x="1101852" y="870204"/>
                  </a:cubicBezTo>
                  <a:cubicBezTo>
                    <a:pt x="1069753" y="946309"/>
                    <a:pt x="1024319" y="1012222"/>
                    <a:pt x="965454" y="1068134"/>
                  </a:cubicBezTo>
                  <a:cubicBezTo>
                    <a:pt x="906590" y="1124045"/>
                    <a:pt x="836486" y="1167956"/>
                    <a:pt x="755047" y="1200055"/>
                  </a:cubicBezTo>
                  <a:cubicBezTo>
                    <a:pt x="673608" y="1232154"/>
                    <a:pt x="584168" y="1248156"/>
                    <a:pt x="486728" y="1248156"/>
                  </a:cubicBezTo>
                  <a:lnTo>
                    <a:pt x="0" y="1248156"/>
                  </a:lnTo>
                  <a:lnTo>
                    <a:pt x="0" y="0"/>
                  </a:lnTo>
                  <a:close/>
                  <a:moveTo>
                    <a:pt x="486728" y="1000315"/>
                  </a:moveTo>
                  <a:cubicBezTo>
                    <a:pt x="542639" y="1000315"/>
                    <a:pt x="593693" y="991457"/>
                    <a:pt x="640080" y="973550"/>
                  </a:cubicBezTo>
                  <a:cubicBezTo>
                    <a:pt x="686467" y="955739"/>
                    <a:pt x="725900" y="930211"/>
                    <a:pt x="758667" y="896874"/>
                  </a:cubicBezTo>
                  <a:cubicBezTo>
                    <a:pt x="791337" y="863632"/>
                    <a:pt x="816864" y="824389"/>
                    <a:pt x="835343" y="779240"/>
                  </a:cubicBezTo>
                  <a:cubicBezTo>
                    <a:pt x="853726" y="734092"/>
                    <a:pt x="862965" y="683609"/>
                    <a:pt x="862965" y="627698"/>
                  </a:cubicBezTo>
                  <a:lnTo>
                    <a:pt x="862965" y="624078"/>
                  </a:lnTo>
                  <a:cubicBezTo>
                    <a:pt x="862965" y="569404"/>
                    <a:pt x="853726" y="518827"/>
                    <a:pt x="835343" y="472535"/>
                  </a:cubicBezTo>
                  <a:cubicBezTo>
                    <a:pt x="816864" y="426149"/>
                    <a:pt x="791337" y="386334"/>
                    <a:pt x="758667" y="353092"/>
                  </a:cubicBezTo>
                  <a:cubicBezTo>
                    <a:pt x="725996" y="319849"/>
                    <a:pt x="686467" y="293941"/>
                    <a:pt x="640080" y="275558"/>
                  </a:cubicBezTo>
                  <a:cubicBezTo>
                    <a:pt x="593693" y="257175"/>
                    <a:pt x="542639" y="247936"/>
                    <a:pt x="486728" y="247936"/>
                  </a:cubicBezTo>
                  <a:lnTo>
                    <a:pt x="274511" y="247936"/>
                  </a:lnTo>
                  <a:lnTo>
                    <a:pt x="274511" y="1000411"/>
                  </a:lnTo>
                  <a:lnTo>
                    <a:pt x="486728" y="1000411"/>
                  </a:lnTo>
                  <a:close/>
                </a:path>
              </a:pathLst>
            </a:custGeom>
            <a:solidFill>
              <a:srgbClr val="44505E"/>
            </a:solidFill>
            <a:ln w="9525" cap="flat">
              <a:noFill/>
              <a:prstDash val="solid"/>
              <a:miter/>
            </a:ln>
          </p:spPr>
          <p:txBody>
            <a:bodyPr rtlCol="0" anchor="ctr"/>
            <a:lstStyle/>
            <a:p>
              <a:endParaRPr lang="pt-BR" noProof="0"/>
            </a:p>
          </p:txBody>
        </p:sp>
        <p:sp>
          <p:nvSpPr>
            <p:cNvPr id="20" name="Freeform: Shape 19">
              <a:extLst>
                <a:ext uri="{FF2B5EF4-FFF2-40B4-BE49-F238E27FC236}">
                  <a16:creationId xmlns:a16="http://schemas.microsoft.com/office/drawing/2014/main" id="{EC13A3C7-82EF-FE96-0197-32CAE75DA6BF}"/>
                </a:ext>
              </a:extLst>
            </p:cNvPr>
            <p:cNvSpPr/>
            <p:nvPr/>
          </p:nvSpPr>
          <p:spPr>
            <a:xfrm>
              <a:off x="6460217" y="313094"/>
              <a:ext cx="238459" cy="313788"/>
            </a:xfrm>
            <a:custGeom>
              <a:avLst/>
              <a:gdLst>
                <a:gd name="connsiteX0" fmla="*/ 95 w 948594"/>
                <a:gd name="connsiteY0" fmla="*/ 0 h 1248251"/>
                <a:gd name="connsiteX1" fmla="*/ 939737 w 948594"/>
                <a:gd name="connsiteY1" fmla="*/ 0 h 1248251"/>
                <a:gd name="connsiteX2" fmla="*/ 939737 w 948594"/>
                <a:gd name="connsiteY2" fmla="*/ 244316 h 1248251"/>
                <a:gd name="connsiteX3" fmla="*/ 271081 w 948594"/>
                <a:gd name="connsiteY3" fmla="*/ 244316 h 1248251"/>
                <a:gd name="connsiteX4" fmla="*/ 271081 w 948594"/>
                <a:gd name="connsiteY4" fmla="*/ 497491 h 1248251"/>
                <a:gd name="connsiteX5" fmla="*/ 859441 w 948594"/>
                <a:gd name="connsiteY5" fmla="*/ 497491 h 1248251"/>
                <a:gd name="connsiteX6" fmla="*/ 859441 w 948594"/>
                <a:gd name="connsiteY6" fmla="*/ 741807 h 1248251"/>
                <a:gd name="connsiteX7" fmla="*/ 271081 w 948594"/>
                <a:gd name="connsiteY7" fmla="*/ 741807 h 1248251"/>
                <a:gd name="connsiteX8" fmla="*/ 271081 w 948594"/>
                <a:gd name="connsiteY8" fmla="*/ 1003935 h 1248251"/>
                <a:gd name="connsiteX9" fmla="*/ 948595 w 948594"/>
                <a:gd name="connsiteY9" fmla="*/ 1003935 h 1248251"/>
                <a:gd name="connsiteX10" fmla="*/ 948595 w 948594"/>
                <a:gd name="connsiteY10" fmla="*/ 1248251 h 1248251"/>
                <a:gd name="connsiteX11" fmla="*/ 0 w 948594"/>
                <a:gd name="connsiteY11" fmla="*/ 1248251 h 1248251"/>
                <a:gd name="connsiteX12" fmla="*/ 0 w 948594"/>
                <a:gd name="connsiteY12" fmla="*/ 0 h 124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594" h="1248251">
                  <a:moveTo>
                    <a:pt x="95" y="0"/>
                  </a:moveTo>
                  <a:lnTo>
                    <a:pt x="939737" y="0"/>
                  </a:lnTo>
                  <a:lnTo>
                    <a:pt x="939737" y="244316"/>
                  </a:lnTo>
                  <a:lnTo>
                    <a:pt x="271081" y="244316"/>
                  </a:lnTo>
                  <a:lnTo>
                    <a:pt x="271081" y="497491"/>
                  </a:lnTo>
                  <a:lnTo>
                    <a:pt x="859441" y="497491"/>
                  </a:lnTo>
                  <a:lnTo>
                    <a:pt x="859441" y="741807"/>
                  </a:lnTo>
                  <a:lnTo>
                    <a:pt x="271081" y="741807"/>
                  </a:lnTo>
                  <a:lnTo>
                    <a:pt x="271081" y="1003935"/>
                  </a:lnTo>
                  <a:lnTo>
                    <a:pt x="948595" y="1003935"/>
                  </a:lnTo>
                  <a:lnTo>
                    <a:pt x="948595" y="1248251"/>
                  </a:lnTo>
                  <a:lnTo>
                    <a:pt x="0" y="1248251"/>
                  </a:lnTo>
                  <a:lnTo>
                    <a:pt x="0" y="0"/>
                  </a:lnTo>
                  <a:close/>
                </a:path>
              </a:pathLst>
            </a:custGeom>
            <a:solidFill>
              <a:srgbClr val="44505E"/>
            </a:solidFill>
            <a:ln w="9525" cap="flat">
              <a:noFill/>
              <a:prstDash val="solid"/>
              <a:miter/>
            </a:ln>
          </p:spPr>
          <p:txBody>
            <a:bodyPr rtlCol="0" anchor="ctr"/>
            <a:lstStyle/>
            <a:p>
              <a:endParaRPr lang="pt-BR" noProof="0"/>
            </a:p>
          </p:txBody>
        </p:sp>
        <p:sp>
          <p:nvSpPr>
            <p:cNvPr id="21" name="Freeform: Shape 20">
              <a:extLst>
                <a:ext uri="{FF2B5EF4-FFF2-40B4-BE49-F238E27FC236}">
                  <a16:creationId xmlns:a16="http://schemas.microsoft.com/office/drawing/2014/main" id="{56B83F4A-5967-2248-96DE-360176EEB13A}"/>
                </a:ext>
              </a:extLst>
            </p:cNvPr>
            <p:cNvSpPr/>
            <p:nvPr/>
          </p:nvSpPr>
          <p:spPr>
            <a:xfrm>
              <a:off x="5253193" y="699983"/>
              <a:ext cx="90796" cy="97883"/>
            </a:xfrm>
            <a:custGeom>
              <a:avLst/>
              <a:gdLst>
                <a:gd name="connsiteX0" fmla="*/ 191548 w 361187"/>
                <a:gd name="connsiteY0" fmla="*/ 389382 h 389381"/>
                <a:gd name="connsiteX1" fmla="*/ 116300 w 361187"/>
                <a:gd name="connsiteY1" fmla="*/ 375285 h 389381"/>
                <a:gd name="connsiteX2" fmla="*/ 55531 w 361187"/>
                <a:gd name="connsiteY2" fmla="*/ 335756 h 389381"/>
                <a:gd name="connsiteX3" fmla="*/ 14859 w 361187"/>
                <a:gd name="connsiteY3" fmla="*/ 274606 h 389381"/>
                <a:gd name="connsiteX4" fmla="*/ 0 w 361187"/>
                <a:gd name="connsiteY4" fmla="*/ 195834 h 389381"/>
                <a:gd name="connsiteX5" fmla="*/ 0 w 361187"/>
                <a:gd name="connsiteY5" fmla="*/ 194405 h 389381"/>
                <a:gd name="connsiteX6" fmla="*/ 13430 w 361187"/>
                <a:gd name="connsiteY6" fmla="*/ 118777 h 389381"/>
                <a:gd name="connsiteX7" fmla="*/ 51245 w 361187"/>
                <a:gd name="connsiteY7" fmla="*/ 56959 h 389381"/>
                <a:gd name="connsiteX8" fmla="*/ 108871 w 361187"/>
                <a:gd name="connsiteY8" fmla="*/ 15240 h 389381"/>
                <a:gd name="connsiteX9" fmla="*/ 182404 w 361187"/>
                <a:gd name="connsiteY9" fmla="*/ 0 h 389381"/>
                <a:gd name="connsiteX10" fmla="*/ 260509 w 361187"/>
                <a:gd name="connsiteY10" fmla="*/ 16288 h 389381"/>
                <a:gd name="connsiteX11" fmla="*/ 316325 w 361187"/>
                <a:gd name="connsiteY11" fmla="*/ 60103 h 389381"/>
                <a:gd name="connsiteX12" fmla="*/ 349853 w 361187"/>
                <a:gd name="connsiteY12" fmla="*/ 124015 h 389381"/>
                <a:gd name="connsiteX13" fmla="*/ 361188 w 361187"/>
                <a:gd name="connsiteY13" fmla="*/ 200692 h 389381"/>
                <a:gd name="connsiteX14" fmla="*/ 360807 w 361187"/>
                <a:gd name="connsiteY14" fmla="*/ 212312 h 389381"/>
                <a:gd name="connsiteX15" fmla="*/ 359759 w 361187"/>
                <a:gd name="connsiteY15" fmla="*/ 224695 h 389381"/>
                <a:gd name="connsiteX16" fmla="*/ 85534 w 361187"/>
                <a:gd name="connsiteY16" fmla="*/ 224695 h 389381"/>
                <a:gd name="connsiteX17" fmla="*/ 121920 w 361187"/>
                <a:gd name="connsiteY17" fmla="*/ 294989 h 389381"/>
                <a:gd name="connsiteX18" fmla="*/ 192977 w 361187"/>
                <a:gd name="connsiteY18" fmla="*/ 319373 h 389381"/>
                <a:gd name="connsiteX19" fmla="*/ 248126 w 361187"/>
                <a:gd name="connsiteY19" fmla="*/ 308038 h 389381"/>
                <a:gd name="connsiteX20" fmla="*/ 294037 w 361187"/>
                <a:gd name="connsiteY20" fmla="*/ 274796 h 389381"/>
                <a:gd name="connsiteX21" fmla="*/ 344234 w 361187"/>
                <a:gd name="connsiteY21" fmla="*/ 319278 h 389381"/>
                <a:gd name="connsiteX22" fmla="*/ 280226 w 361187"/>
                <a:gd name="connsiteY22" fmla="*/ 370141 h 389381"/>
                <a:gd name="connsiteX23" fmla="*/ 191548 w 361187"/>
                <a:gd name="connsiteY23" fmla="*/ 389191 h 389381"/>
                <a:gd name="connsiteX24" fmla="*/ 276320 w 361187"/>
                <a:gd name="connsiteY24" fmla="*/ 168211 h 389381"/>
                <a:gd name="connsiteX25" fmla="*/ 267176 w 361187"/>
                <a:gd name="connsiteY25" fmla="*/ 129730 h 389381"/>
                <a:gd name="connsiteX26" fmla="*/ 248126 w 361187"/>
                <a:gd name="connsiteY26" fmla="*/ 98679 h 389381"/>
                <a:gd name="connsiteX27" fmla="*/ 219551 w 361187"/>
                <a:gd name="connsiteY27" fmla="*/ 77819 h 389381"/>
                <a:gd name="connsiteX28" fmla="*/ 181737 w 361187"/>
                <a:gd name="connsiteY28" fmla="*/ 70009 h 389381"/>
                <a:gd name="connsiteX29" fmla="*/ 116396 w 361187"/>
                <a:gd name="connsiteY29" fmla="*/ 97250 h 389381"/>
                <a:gd name="connsiteX30" fmla="*/ 84963 w 361187"/>
                <a:gd name="connsiteY30" fmla="*/ 168307 h 389381"/>
                <a:gd name="connsiteX31" fmla="*/ 276511 w 361187"/>
                <a:gd name="connsiteY31" fmla="*/ 168307 h 38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187" h="389381">
                  <a:moveTo>
                    <a:pt x="191548" y="389382"/>
                  </a:moveTo>
                  <a:cubicBezTo>
                    <a:pt x="164687" y="389382"/>
                    <a:pt x="139637" y="384715"/>
                    <a:pt x="116300" y="375285"/>
                  </a:cubicBezTo>
                  <a:cubicBezTo>
                    <a:pt x="92964" y="365855"/>
                    <a:pt x="72771" y="352711"/>
                    <a:pt x="55531" y="335756"/>
                  </a:cubicBezTo>
                  <a:cubicBezTo>
                    <a:pt x="38291" y="318802"/>
                    <a:pt x="24765" y="298418"/>
                    <a:pt x="14859" y="274606"/>
                  </a:cubicBezTo>
                  <a:cubicBezTo>
                    <a:pt x="4953" y="250793"/>
                    <a:pt x="0" y="224599"/>
                    <a:pt x="0" y="195834"/>
                  </a:cubicBezTo>
                  <a:lnTo>
                    <a:pt x="0" y="194405"/>
                  </a:lnTo>
                  <a:cubicBezTo>
                    <a:pt x="0" y="167545"/>
                    <a:pt x="4477" y="142399"/>
                    <a:pt x="13430" y="118777"/>
                  </a:cubicBezTo>
                  <a:cubicBezTo>
                    <a:pt x="22384" y="95250"/>
                    <a:pt x="34957" y="74581"/>
                    <a:pt x="51245" y="56959"/>
                  </a:cubicBezTo>
                  <a:cubicBezTo>
                    <a:pt x="67532" y="39338"/>
                    <a:pt x="86677" y="25432"/>
                    <a:pt x="108871" y="15240"/>
                  </a:cubicBezTo>
                  <a:cubicBezTo>
                    <a:pt x="131064" y="5143"/>
                    <a:pt x="155543" y="0"/>
                    <a:pt x="182404" y="0"/>
                  </a:cubicBezTo>
                  <a:cubicBezTo>
                    <a:pt x="212122" y="0"/>
                    <a:pt x="238125" y="5429"/>
                    <a:pt x="260509" y="16288"/>
                  </a:cubicBezTo>
                  <a:cubicBezTo>
                    <a:pt x="282893" y="27146"/>
                    <a:pt x="301466" y="41719"/>
                    <a:pt x="316325" y="60103"/>
                  </a:cubicBezTo>
                  <a:cubicBezTo>
                    <a:pt x="331184" y="78486"/>
                    <a:pt x="342329" y="99822"/>
                    <a:pt x="349853" y="124015"/>
                  </a:cubicBezTo>
                  <a:cubicBezTo>
                    <a:pt x="357378" y="148304"/>
                    <a:pt x="361188" y="173831"/>
                    <a:pt x="361188" y="200692"/>
                  </a:cubicBezTo>
                  <a:cubicBezTo>
                    <a:pt x="361188" y="204502"/>
                    <a:pt x="361093" y="208312"/>
                    <a:pt x="360807" y="212312"/>
                  </a:cubicBezTo>
                  <a:cubicBezTo>
                    <a:pt x="360521" y="216313"/>
                    <a:pt x="360236" y="220409"/>
                    <a:pt x="359759" y="224695"/>
                  </a:cubicBezTo>
                  <a:lnTo>
                    <a:pt x="85534" y="224695"/>
                  </a:lnTo>
                  <a:cubicBezTo>
                    <a:pt x="90202" y="255365"/>
                    <a:pt x="102394" y="278797"/>
                    <a:pt x="121920" y="294989"/>
                  </a:cubicBezTo>
                  <a:cubicBezTo>
                    <a:pt x="141446" y="311277"/>
                    <a:pt x="165164" y="319373"/>
                    <a:pt x="192977" y="319373"/>
                  </a:cubicBezTo>
                  <a:cubicBezTo>
                    <a:pt x="214217" y="319373"/>
                    <a:pt x="232505" y="315563"/>
                    <a:pt x="248126" y="308038"/>
                  </a:cubicBezTo>
                  <a:cubicBezTo>
                    <a:pt x="263652" y="300514"/>
                    <a:pt x="278987" y="289465"/>
                    <a:pt x="294037" y="274796"/>
                  </a:cubicBezTo>
                  <a:lnTo>
                    <a:pt x="344234" y="319278"/>
                  </a:lnTo>
                  <a:cubicBezTo>
                    <a:pt x="326327" y="340519"/>
                    <a:pt x="304991" y="357473"/>
                    <a:pt x="280226" y="370141"/>
                  </a:cubicBezTo>
                  <a:cubicBezTo>
                    <a:pt x="255461" y="382810"/>
                    <a:pt x="225933" y="389191"/>
                    <a:pt x="191548" y="389191"/>
                  </a:cubicBezTo>
                  <a:close/>
                  <a:moveTo>
                    <a:pt x="276320" y="168211"/>
                  </a:moveTo>
                  <a:cubicBezTo>
                    <a:pt x="274892" y="154591"/>
                    <a:pt x="271844" y="141732"/>
                    <a:pt x="267176" y="129730"/>
                  </a:cubicBezTo>
                  <a:cubicBezTo>
                    <a:pt x="262414" y="117729"/>
                    <a:pt x="256127" y="107347"/>
                    <a:pt x="248126" y="98679"/>
                  </a:cubicBezTo>
                  <a:cubicBezTo>
                    <a:pt x="240125" y="89916"/>
                    <a:pt x="230600" y="82963"/>
                    <a:pt x="219551" y="77819"/>
                  </a:cubicBezTo>
                  <a:cubicBezTo>
                    <a:pt x="208502" y="72676"/>
                    <a:pt x="195834" y="70009"/>
                    <a:pt x="181737" y="70009"/>
                  </a:cubicBezTo>
                  <a:cubicBezTo>
                    <a:pt x="155353" y="70009"/>
                    <a:pt x="133541" y="79057"/>
                    <a:pt x="116396" y="97250"/>
                  </a:cubicBezTo>
                  <a:cubicBezTo>
                    <a:pt x="99155" y="115348"/>
                    <a:pt x="88678" y="139065"/>
                    <a:pt x="84963" y="168307"/>
                  </a:cubicBezTo>
                  <a:lnTo>
                    <a:pt x="276511" y="168307"/>
                  </a:lnTo>
                  <a:close/>
                </a:path>
              </a:pathLst>
            </a:custGeom>
            <a:solidFill>
              <a:srgbClr val="44505E"/>
            </a:solidFill>
            <a:ln w="9525" cap="flat">
              <a:noFill/>
              <a:prstDash val="solid"/>
              <a:miter/>
            </a:ln>
          </p:spPr>
          <p:txBody>
            <a:bodyPr rtlCol="0" anchor="ctr"/>
            <a:lstStyle/>
            <a:p>
              <a:endParaRPr lang="pt-BR" noProof="0"/>
            </a:p>
          </p:txBody>
        </p:sp>
        <p:sp>
          <p:nvSpPr>
            <p:cNvPr id="22" name="Freeform: Shape 21">
              <a:extLst>
                <a:ext uri="{FF2B5EF4-FFF2-40B4-BE49-F238E27FC236}">
                  <a16:creationId xmlns:a16="http://schemas.microsoft.com/office/drawing/2014/main" id="{1934D91D-C925-F473-33BD-31CA2FFF68E4}"/>
                </a:ext>
              </a:extLst>
            </p:cNvPr>
            <p:cNvSpPr/>
            <p:nvPr/>
          </p:nvSpPr>
          <p:spPr>
            <a:xfrm>
              <a:off x="5365659"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5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8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3 w 568166"/>
                <a:gd name="connsiteY21" fmla="*/ 381000 h 381000"/>
                <a:gd name="connsiteX22" fmla="*/ 240983 w 568166"/>
                <a:gd name="connsiteY22" fmla="*/ 168783 h 381000"/>
                <a:gd name="connsiteX23" fmla="*/ 221266 w 568166"/>
                <a:gd name="connsiteY23" fmla="*/ 101822 h 381000"/>
                <a:gd name="connsiteX24" fmla="*/ 165640 w 568166"/>
                <a:gd name="connsiteY24" fmla="*/ 78581 h 381000"/>
                <a:gd name="connsiteX25" fmla="*/ 108014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70" y="48196"/>
                    <a:pt x="105918" y="40576"/>
                  </a:cubicBezTo>
                  <a:cubicBezTo>
                    <a:pt x="112967" y="32956"/>
                    <a:pt x="121063" y="26099"/>
                    <a:pt x="130207" y="19907"/>
                  </a:cubicBezTo>
                  <a:cubicBezTo>
                    <a:pt x="139351" y="13716"/>
                    <a:pt x="149733" y="8858"/>
                    <a:pt x="161163" y="5334"/>
                  </a:cubicBezTo>
                  <a:cubicBezTo>
                    <a:pt x="172688" y="1714"/>
                    <a:pt x="185452" y="0"/>
                    <a:pt x="199549" y="0"/>
                  </a:cubicBezTo>
                  <a:cubicBezTo>
                    <a:pt x="226314" y="0"/>
                    <a:pt x="248984" y="6096"/>
                    <a:pt x="267557" y="18193"/>
                  </a:cubicBezTo>
                  <a:cubicBezTo>
                    <a:pt x="286131" y="30289"/>
                    <a:pt x="300323" y="46387"/>
                    <a:pt x="310134" y="66294"/>
                  </a:cubicBezTo>
                  <a:cubicBezTo>
                    <a:pt x="325279" y="46387"/>
                    <a:pt x="343091" y="30289"/>
                    <a:pt x="363665" y="18193"/>
                  </a:cubicBezTo>
                  <a:cubicBezTo>
                    <a:pt x="384239" y="6096"/>
                    <a:pt x="408718" y="0"/>
                    <a:pt x="437007" y="0"/>
                  </a:cubicBezTo>
                  <a:cubicBezTo>
                    <a:pt x="478060"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8" y="78486"/>
                  </a:cubicBezTo>
                  <a:cubicBezTo>
                    <a:pt x="382810" y="78486"/>
                    <a:pt x="364141" y="86392"/>
                    <a:pt x="349377" y="102108"/>
                  </a:cubicBezTo>
                  <a:cubicBezTo>
                    <a:pt x="334613" y="117824"/>
                    <a:pt x="327184" y="140779"/>
                    <a:pt x="327184" y="170879"/>
                  </a:cubicBezTo>
                  <a:lnTo>
                    <a:pt x="327184" y="381000"/>
                  </a:lnTo>
                  <a:lnTo>
                    <a:pt x="240983" y="381000"/>
                  </a:lnTo>
                  <a:lnTo>
                    <a:pt x="240983" y="168783"/>
                  </a:lnTo>
                  <a:cubicBezTo>
                    <a:pt x="240983" y="139637"/>
                    <a:pt x="234410" y="117348"/>
                    <a:pt x="221266" y="101822"/>
                  </a:cubicBezTo>
                  <a:cubicBezTo>
                    <a:pt x="208121" y="86296"/>
                    <a:pt x="189643" y="78581"/>
                    <a:pt x="165640" y="78581"/>
                  </a:cubicBezTo>
                  <a:cubicBezTo>
                    <a:pt x="141637" y="78581"/>
                    <a:pt x="122492" y="86773"/>
                    <a:pt x="108014"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23" name="Freeform: Shape 22">
              <a:extLst>
                <a:ext uri="{FF2B5EF4-FFF2-40B4-BE49-F238E27FC236}">
                  <a16:creationId xmlns:a16="http://schemas.microsoft.com/office/drawing/2014/main" id="{57B87108-534C-CE14-E489-75D3F086BD19}"/>
                </a:ext>
              </a:extLst>
            </p:cNvPr>
            <p:cNvSpPr/>
            <p:nvPr/>
          </p:nvSpPr>
          <p:spPr>
            <a:xfrm>
              <a:off x="5587693" y="700007"/>
              <a:ext cx="84211" cy="95752"/>
            </a:xfrm>
            <a:custGeom>
              <a:avLst/>
              <a:gdLst>
                <a:gd name="connsiteX0" fmla="*/ 95 w 334994"/>
                <a:gd name="connsiteY0" fmla="*/ 7715 h 380904"/>
                <a:gd name="connsiteX1" fmla="*/ 86296 w 334994"/>
                <a:gd name="connsiteY1" fmla="*/ 7715 h 380904"/>
                <a:gd name="connsiteX2" fmla="*/ 86296 w 334994"/>
                <a:gd name="connsiteY2" fmla="*/ 66294 h 380904"/>
                <a:gd name="connsiteX3" fmla="*/ 106394 w 334994"/>
                <a:gd name="connsiteY3" fmla="*/ 40958 h 380904"/>
                <a:gd name="connsiteX4" fmla="*/ 131731 w 334994"/>
                <a:gd name="connsiteY4" fmla="*/ 19907 h 380904"/>
                <a:gd name="connsiteX5" fmla="*/ 163449 w 334994"/>
                <a:gd name="connsiteY5" fmla="*/ 5334 h 380904"/>
                <a:gd name="connsiteX6" fmla="*/ 202597 w 334994"/>
                <a:gd name="connsiteY6" fmla="*/ 0 h 380904"/>
                <a:gd name="connsiteX7" fmla="*/ 300514 w 334994"/>
                <a:gd name="connsiteY7" fmla="*/ 38862 h 380904"/>
                <a:gd name="connsiteX8" fmla="*/ 334994 w 334994"/>
                <a:gd name="connsiteY8" fmla="*/ 143446 h 380904"/>
                <a:gd name="connsiteX9" fmla="*/ 334994 w 334994"/>
                <a:gd name="connsiteY9" fmla="*/ 380905 h 380904"/>
                <a:gd name="connsiteX10" fmla="*/ 248793 w 334994"/>
                <a:gd name="connsiteY10" fmla="*/ 380905 h 380904"/>
                <a:gd name="connsiteX11" fmla="*/ 248793 w 334994"/>
                <a:gd name="connsiteY11" fmla="*/ 169450 h 380904"/>
                <a:gd name="connsiteX12" fmla="*/ 228124 w 334994"/>
                <a:gd name="connsiteY12" fmla="*/ 102108 h 380904"/>
                <a:gd name="connsiteX13" fmla="*/ 169640 w 334994"/>
                <a:gd name="connsiteY13" fmla="*/ 78486 h 380904"/>
                <a:gd name="connsiteX14" fmla="*/ 109347 w 334994"/>
                <a:gd name="connsiteY14" fmla="*/ 102775 h 380904"/>
                <a:gd name="connsiteX15" fmla="*/ 86201 w 334994"/>
                <a:gd name="connsiteY15" fmla="*/ 170783 h 380904"/>
                <a:gd name="connsiteX16" fmla="*/ 86201 w 334994"/>
                <a:gd name="connsiteY16" fmla="*/ 380905 h 380904"/>
                <a:gd name="connsiteX17" fmla="*/ 0 w 334994"/>
                <a:gd name="connsiteY17" fmla="*/ 380905 h 380904"/>
                <a:gd name="connsiteX18" fmla="*/ 0 w 334994"/>
                <a:gd name="connsiteY18" fmla="*/ 7810 h 38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94" h="380904">
                  <a:moveTo>
                    <a:pt x="95" y="7715"/>
                  </a:moveTo>
                  <a:lnTo>
                    <a:pt x="86296" y="7715"/>
                  </a:lnTo>
                  <a:lnTo>
                    <a:pt x="86296" y="66294"/>
                  </a:lnTo>
                  <a:cubicBezTo>
                    <a:pt x="92392" y="57245"/>
                    <a:pt x="99060" y="48863"/>
                    <a:pt x="106394" y="40958"/>
                  </a:cubicBezTo>
                  <a:cubicBezTo>
                    <a:pt x="113633" y="33147"/>
                    <a:pt x="122110" y="26099"/>
                    <a:pt x="131731" y="19907"/>
                  </a:cubicBezTo>
                  <a:cubicBezTo>
                    <a:pt x="141351" y="13716"/>
                    <a:pt x="151924" y="8858"/>
                    <a:pt x="163449" y="5334"/>
                  </a:cubicBezTo>
                  <a:cubicBezTo>
                    <a:pt x="174974" y="1714"/>
                    <a:pt x="188024" y="0"/>
                    <a:pt x="202597" y="0"/>
                  </a:cubicBezTo>
                  <a:cubicBezTo>
                    <a:pt x="244888" y="0"/>
                    <a:pt x="277559" y="12954"/>
                    <a:pt x="300514" y="38862"/>
                  </a:cubicBezTo>
                  <a:cubicBezTo>
                    <a:pt x="323564" y="64770"/>
                    <a:pt x="334994" y="99631"/>
                    <a:pt x="334994" y="143446"/>
                  </a:cubicBezTo>
                  <a:lnTo>
                    <a:pt x="334994" y="380905"/>
                  </a:lnTo>
                  <a:lnTo>
                    <a:pt x="248793" y="380905"/>
                  </a:lnTo>
                  <a:lnTo>
                    <a:pt x="248793" y="169450"/>
                  </a:lnTo>
                  <a:cubicBezTo>
                    <a:pt x="248793" y="140303"/>
                    <a:pt x="241935" y="117824"/>
                    <a:pt x="228124" y="102108"/>
                  </a:cubicBezTo>
                  <a:cubicBezTo>
                    <a:pt x="214313" y="86392"/>
                    <a:pt x="194881" y="78486"/>
                    <a:pt x="169640" y="78486"/>
                  </a:cubicBezTo>
                  <a:cubicBezTo>
                    <a:pt x="144399" y="78486"/>
                    <a:pt x="124777" y="86582"/>
                    <a:pt x="109347" y="102775"/>
                  </a:cubicBezTo>
                  <a:cubicBezTo>
                    <a:pt x="93917" y="118967"/>
                    <a:pt x="86201" y="141637"/>
                    <a:pt x="86201" y="170783"/>
                  </a:cubicBezTo>
                  <a:lnTo>
                    <a:pt x="86201" y="380905"/>
                  </a:lnTo>
                  <a:lnTo>
                    <a:pt x="0" y="380905"/>
                  </a:lnTo>
                  <a:lnTo>
                    <a:pt x="0" y="7810"/>
                  </a:lnTo>
                  <a:close/>
                </a:path>
              </a:pathLst>
            </a:custGeom>
            <a:solidFill>
              <a:srgbClr val="44505E"/>
            </a:solidFill>
            <a:ln w="9525" cap="flat">
              <a:noFill/>
              <a:prstDash val="solid"/>
              <a:miter/>
            </a:ln>
          </p:spPr>
          <p:txBody>
            <a:bodyPr rtlCol="0" anchor="ctr"/>
            <a:lstStyle/>
            <a:p>
              <a:endParaRPr lang="pt-BR" noProof="0"/>
            </a:p>
          </p:txBody>
        </p:sp>
        <p:sp>
          <p:nvSpPr>
            <p:cNvPr id="24" name="Freeform: Shape 23">
              <a:extLst>
                <a:ext uri="{FF2B5EF4-FFF2-40B4-BE49-F238E27FC236}">
                  <a16:creationId xmlns:a16="http://schemas.microsoft.com/office/drawing/2014/main" id="{4598B1A2-73F0-AAB8-6FA3-1662FC804D1E}"/>
                </a:ext>
              </a:extLst>
            </p:cNvPr>
            <p:cNvSpPr/>
            <p:nvPr/>
          </p:nvSpPr>
          <p:spPr>
            <a:xfrm>
              <a:off x="5692712" y="699959"/>
              <a:ext cx="100015" cy="97908"/>
            </a:xfrm>
            <a:custGeom>
              <a:avLst/>
              <a:gdLst>
                <a:gd name="connsiteX0" fmla="*/ 197834 w 397859"/>
                <a:gd name="connsiteY0" fmla="*/ 389477 h 389477"/>
                <a:gd name="connsiteX1" fmla="*/ 119063 w 397859"/>
                <a:gd name="connsiteY1" fmla="*/ 374237 h 389477"/>
                <a:gd name="connsiteX2" fmla="*/ 56197 w 397859"/>
                <a:gd name="connsiteY2" fmla="*/ 332899 h 389477"/>
                <a:gd name="connsiteX3" fmla="*/ 14859 w 397859"/>
                <a:gd name="connsiteY3" fmla="*/ 271463 h 389477"/>
                <a:gd name="connsiteX4" fmla="*/ 0 w 397859"/>
                <a:gd name="connsiteY4" fmla="*/ 196501 h 389477"/>
                <a:gd name="connsiteX5" fmla="*/ 0 w 397859"/>
                <a:gd name="connsiteY5" fmla="*/ 195072 h 389477"/>
                <a:gd name="connsiteX6" fmla="*/ 15145 w 397859"/>
                <a:gd name="connsiteY6" fmla="*/ 119444 h 389477"/>
                <a:gd name="connsiteX7" fmla="*/ 56864 w 397859"/>
                <a:gd name="connsiteY7" fmla="*/ 57626 h 389477"/>
                <a:gd name="connsiteX8" fmla="*/ 119729 w 397859"/>
                <a:gd name="connsiteY8" fmla="*/ 15526 h 389477"/>
                <a:gd name="connsiteX9" fmla="*/ 199263 w 397859"/>
                <a:gd name="connsiteY9" fmla="*/ 0 h 389477"/>
                <a:gd name="connsiteX10" fmla="*/ 278797 w 397859"/>
                <a:gd name="connsiteY10" fmla="*/ 15240 h 389477"/>
                <a:gd name="connsiteX11" fmla="*/ 341662 w 397859"/>
                <a:gd name="connsiteY11" fmla="*/ 56959 h 389477"/>
                <a:gd name="connsiteX12" fmla="*/ 383000 w 397859"/>
                <a:gd name="connsiteY12" fmla="*/ 118396 h 389477"/>
                <a:gd name="connsiteX13" fmla="*/ 397859 w 397859"/>
                <a:gd name="connsiteY13" fmla="*/ 193643 h 389477"/>
                <a:gd name="connsiteX14" fmla="*/ 397859 w 397859"/>
                <a:gd name="connsiteY14" fmla="*/ 195072 h 389477"/>
                <a:gd name="connsiteX15" fmla="*/ 382619 w 397859"/>
                <a:gd name="connsiteY15" fmla="*/ 270034 h 389477"/>
                <a:gd name="connsiteX16" fmla="*/ 340900 w 397859"/>
                <a:gd name="connsiteY16" fmla="*/ 331851 h 389477"/>
                <a:gd name="connsiteX17" fmla="*/ 277654 w 397859"/>
                <a:gd name="connsiteY17" fmla="*/ 373856 h 389477"/>
                <a:gd name="connsiteX18" fmla="*/ 197834 w 397859"/>
                <a:gd name="connsiteY18" fmla="*/ 389382 h 389477"/>
                <a:gd name="connsiteX19" fmla="*/ 199263 w 397859"/>
                <a:gd name="connsiteY19" fmla="*/ 315278 h 389477"/>
                <a:gd name="connsiteX20" fmla="*/ 245935 w 397859"/>
                <a:gd name="connsiteY20" fmla="*/ 305753 h 389477"/>
                <a:gd name="connsiteX21" fmla="*/ 281368 w 397859"/>
                <a:gd name="connsiteY21" fmla="*/ 279940 h 389477"/>
                <a:gd name="connsiteX22" fmla="*/ 303847 w 397859"/>
                <a:gd name="connsiteY22" fmla="*/ 242125 h 389477"/>
                <a:gd name="connsiteX23" fmla="*/ 311563 w 397859"/>
                <a:gd name="connsiteY23" fmla="*/ 196501 h 389477"/>
                <a:gd name="connsiteX24" fmla="*/ 311563 w 397859"/>
                <a:gd name="connsiteY24" fmla="*/ 195072 h 389477"/>
                <a:gd name="connsiteX25" fmla="*/ 303181 w 397859"/>
                <a:gd name="connsiteY25" fmla="*/ 148400 h 389477"/>
                <a:gd name="connsiteX26" fmla="*/ 279654 w 397859"/>
                <a:gd name="connsiteY26" fmla="*/ 110204 h 389477"/>
                <a:gd name="connsiteX27" fmla="*/ 243840 w 397859"/>
                <a:gd name="connsiteY27" fmla="*/ 84392 h 389477"/>
                <a:gd name="connsiteX28" fmla="*/ 197834 w 397859"/>
                <a:gd name="connsiteY28" fmla="*/ 74867 h 389477"/>
                <a:gd name="connsiteX29" fmla="*/ 151829 w 397859"/>
                <a:gd name="connsiteY29" fmla="*/ 84392 h 389477"/>
                <a:gd name="connsiteX30" fmla="*/ 116396 w 397859"/>
                <a:gd name="connsiteY30" fmla="*/ 109823 h 389477"/>
                <a:gd name="connsiteX31" fmla="*/ 93917 w 397859"/>
                <a:gd name="connsiteY31" fmla="*/ 147638 h 389477"/>
                <a:gd name="connsiteX32" fmla="*/ 86201 w 397859"/>
                <a:gd name="connsiteY32" fmla="*/ 193548 h 389477"/>
                <a:gd name="connsiteX33" fmla="*/ 86201 w 397859"/>
                <a:gd name="connsiteY33" fmla="*/ 194977 h 389477"/>
                <a:gd name="connsiteX34" fmla="*/ 94583 w 397859"/>
                <a:gd name="connsiteY34" fmla="*/ 241268 h 389477"/>
                <a:gd name="connsiteX35" fmla="*/ 118110 w 397859"/>
                <a:gd name="connsiteY35" fmla="*/ 279463 h 389477"/>
                <a:gd name="connsiteX36" fmla="*/ 153924 w 397859"/>
                <a:gd name="connsiteY36" fmla="*/ 305562 h 389477"/>
                <a:gd name="connsiteX37" fmla="*/ 199263 w 397859"/>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859" h="389477">
                  <a:moveTo>
                    <a:pt x="197834" y="389477"/>
                  </a:moveTo>
                  <a:cubicBezTo>
                    <a:pt x="169545" y="389477"/>
                    <a:pt x="143351" y="384429"/>
                    <a:pt x="119063" y="374237"/>
                  </a:cubicBezTo>
                  <a:cubicBezTo>
                    <a:pt x="94774" y="364141"/>
                    <a:pt x="73819" y="350330"/>
                    <a:pt x="56197" y="332899"/>
                  </a:cubicBezTo>
                  <a:cubicBezTo>
                    <a:pt x="38481" y="315468"/>
                    <a:pt x="24765" y="294989"/>
                    <a:pt x="14859" y="271463"/>
                  </a:cubicBezTo>
                  <a:cubicBezTo>
                    <a:pt x="4953" y="247936"/>
                    <a:pt x="0" y="222980"/>
                    <a:pt x="0" y="196501"/>
                  </a:cubicBezTo>
                  <a:lnTo>
                    <a:pt x="0" y="195072"/>
                  </a:lnTo>
                  <a:cubicBezTo>
                    <a:pt x="0" y="168212"/>
                    <a:pt x="5048" y="143066"/>
                    <a:pt x="15145" y="119444"/>
                  </a:cubicBezTo>
                  <a:cubicBezTo>
                    <a:pt x="25241" y="95917"/>
                    <a:pt x="39148" y="75248"/>
                    <a:pt x="56864" y="57626"/>
                  </a:cubicBezTo>
                  <a:cubicBezTo>
                    <a:pt x="74581" y="39910"/>
                    <a:pt x="95536" y="25908"/>
                    <a:pt x="119729" y="15526"/>
                  </a:cubicBezTo>
                  <a:cubicBezTo>
                    <a:pt x="144018" y="5144"/>
                    <a:pt x="170497" y="0"/>
                    <a:pt x="199263" y="0"/>
                  </a:cubicBezTo>
                  <a:cubicBezTo>
                    <a:pt x="228029" y="0"/>
                    <a:pt x="254508" y="5048"/>
                    <a:pt x="278797" y="15240"/>
                  </a:cubicBezTo>
                  <a:cubicBezTo>
                    <a:pt x="303085" y="25337"/>
                    <a:pt x="324041" y="39243"/>
                    <a:pt x="341662" y="56959"/>
                  </a:cubicBezTo>
                  <a:cubicBezTo>
                    <a:pt x="359378" y="74676"/>
                    <a:pt x="373094" y="95155"/>
                    <a:pt x="383000" y="118396"/>
                  </a:cubicBezTo>
                  <a:cubicBezTo>
                    <a:pt x="392906" y="141732"/>
                    <a:pt x="397859" y="166783"/>
                    <a:pt x="397859" y="193643"/>
                  </a:cubicBezTo>
                  <a:lnTo>
                    <a:pt x="397859" y="195072"/>
                  </a:lnTo>
                  <a:cubicBezTo>
                    <a:pt x="397859" y="221456"/>
                    <a:pt x="392811" y="246412"/>
                    <a:pt x="382619" y="270034"/>
                  </a:cubicBezTo>
                  <a:cubicBezTo>
                    <a:pt x="372523" y="293561"/>
                    <a:pt x="358616" y="314230"/>
                    <a:pt x="340900" y="331851"/>
                  </a:cubicBezTo>
                  <a:cubicBezTo>
                    <a:pt x="323183" y="349472"/>
                    <a:pt x="302133" y="363569"/>
                    <a:pt x="277654" y="373856"/>
                  </a:cubicBezTo>
                  <a:cubicBezTo>
                    <a:pt x="253175" y="384238"/>
                    <a:pt x="226504" y="389382"/>
                    <a:pt x="197834" y="389382"/>
                  </a:cubicBezTo>
                  <a:close/>
                  <a:moveTo>
                    <a:pt x="199263" y="315278"/>
                  </a:moveTo>
                  <a:cubicBezTo>
                    <a:pt x="216598" y="315278"/>
                    <a:pt x="232124" y="312039"/>
                    <a:pt x="245935" y="305753"/>
                  </a:cubicBezTo>
                  <a:cubicBezTo>
                    <a:pt x="259747" y="299371"/>
                    <a:pt x="271558" y="290798"/>
                    <a:pt x="281368" y="279940"/>
                  </a:cubicBezTo>
                  <a:cubicBezTo>
                    <a:pt x="291179" y="269081"/>
                    <a:pt x="298704" y="256508"/>
                    <a:pt x="303847" y="242125"/>
                  </a:cubicBezTo>
                  <a:cubicBezTo>
                    <a:pt x="308991" y="227743"/>
                    <a:pt x="311563" y="212598"/>
                    <a:pt x="311563" y="196501"/>
                  </a:cubicBezTo>
                  <a:lnTo>
                    <a:pt x="311563" y="195072"/>
                  </a:lnTo>
                  <a:cubicBezTo>
                    <a:pt x="311563" y="178594"/>
                    <a:pt x="308800" y="163068"/>
                    <a:pt x="303181" y="148400"/>
                  </a:cubicBezTo>
                  <a:cubicBezTo>
                    <a:pt x="297561" y="133826"/>
                    <a:pt x="289750" y="121063"/>
                    <a:pt x="279654" y="110204"/>
                  </a:cubicBezTo>
                  <a:cubicBezTo>
                    <a:pt x="269558" y="99346"/>
                    <a:pt x="257651" y="90773"/>
                    <a:pt x="243840" y="84392"/>
                  </a:cubicBezTo>
                  <a:cubicBezTo>
                    <a:pt x="230029" y="78010"/>
                    <a:pt x="214693" y="74867"/>
                    <a:pt x="197834" y="74867"/>
                  </a:cubicBezTo>
                  <a:cubicBezTo>
                    <a:pt x="180975" y="74867"/>
                    <a:pt x="165640" y="78010"/>
                    <a:pt x="151829" y="84392"/>
                  </a:cubicBezTo>
                  <a:cubicBezTo>
                    <a:pt x="138017" y="90773"/>
                    <a:pt x="126206" y="99250"/>
                    <a:pt x="116396" y="109823"/>
                  </a:cubicBezTo>
                  <a:cubicBezTo>
                    <a:pt x="106585" y="120396"/>
                    <a:pt x="99060" y="133064"/>
                    <a:pt x="93917" y="147638"/>
                  </a:cubicBezTo>
                  <a:cubicBezTo>
                    <a:pt x="88773" y="162211"/>
                    <a:pt x="86201" y="177546"/>
                    <a:pt x="86201" y="193548"/>
                  </a:cubicBezTo>
                  <a:lnTo>
                    <a:pt x="86201" y="194977"/>
                  </a:lnTo>
                  <a:cubicBezTo>
                    <a:pt x="86201" y="211455"/>
                    <a:pt x="88963" y="226886"/>
                    <a:pt x="94583" y="241268"/>
                  </a:cubicBezTo>
                  <a:cubicBezTo>
                    <a:pt x="100203" y="255651"/>
                    <a:pt x="108013" y="268319"/>
                    <a:pt x="118110" y="279463"/>
                  </a:cubicBezTo>
                  <a:cubicBezTo>
                    <a:pt x="128206" y="290513"/>
                    <a:pt x="140113" y="299275"/>
                    <a:pt x="153924" y="305562"/>
                  </a:cubicBezTo>
                  <a:cubicBezTo>
                    <a:pt x="167735" y="311944"/>
                    <a:pt x="182880"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25" name="Freeform: Shape 24">
              <a:extLst>
                <a:ext uri="{FF2B5EF4-FFF2-40B4-BE49-F238E27FC236}">
                  <a16:creationId xmlns:a16="http://schemas.microsoft.com/office/drawing/2014/main" id="{01C3A6EE-7A5E-47B0-FA6B-C88D28486A03}"/>
                </a:ext>
              </a:extLst>
            </p:cNvPr>
            <p:cNvSpPr/>
            <p:nvPr/>
          </p:nvSpPr>
          <p:spPr>
            <a:xfrm>
              <a:off x="5806925"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2 w 296894"/>
                <a:gd name="connsiteY36" fmla="*/ 224980 h 386714"/>
                <a:gd name="connsiteX37" fmla="*/ 296894 w 296894"/>
                <a:gd name="connsiteY37" fmla="*/ 267938 h 386714"/>
                <a:gd name="connsiteX38" fmla="*/ 296894 w 296894"/>
                <a:gd name="connsiteY38" fmla="*/ 269367 h 386714"/>
                <a:gd name="connsiteX39" fmla="*/ 286322 w 296894"/>
                <a:gd name="connsiteY39" fmla="*/ 320897 h 386714"/>
                <a:gd name="connsiteX40" fmla="*/ 256984 w 296894"/>
                <a:gd name="connsiteY40" fmla="*/ 357188 h 386714"/>
                <a:gd name="connsiteX41" fmla="*/ 212789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8" y="298704"/>
                    <a:pt x="100013" y="306514"/>
                  </a:cubicBezTo>
                  <a:cubicBezTo>
                    <a:pt x="120967" y="314325"/>
                    <a:pt x="141161" y="318135"/>
                    <a:pt x="160401" y="318135"/>
                  </a:cubicBezTo>
                  <a:cubicBezTo>
                    <a:pt x="179642" y="318135"/>
                    <a:pt x="192976"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2" y="241078"/>
                    <a:pt x="176498" y="237553"/>
                    <a:pt x="166402" y="234220"/>
                  </a:cubicBezTo>
                  <a:cubicBezTo>
                    <a:pt x="156305" y="230886"/>
                    <a:pt x="145733" y="227647"/>
                    <a:pt x="134969" y="224314"/>
                  </a:cubicBezTo>
                  <a:cubicBezTo>
                    <a:pt x="121253" y="220599"/>
                    <a:pt x="107537" y="216122"/>
                    <a:pt x="93631" y="210884"/>
                  </a:cubicBezTo>
                  <a:cubicBezTo>
                    <a:pt x="79724" y="205740"/>
                    <a:pt x="67246" y="198977"/>
                    <a:pt x="56197" y="190786"/>
                  </a:cubicBezTo>
                  <a:cubicBezTo>
                    <a:pt x="45149" y="182594"/>
                    <a:pt x="36100" y="172307"/>
                    <a:pt x="28956" y="160115"/>
                  </a:cubicBezTo>
                  <a:cubicBezTo>
                    <a:pt x="21908"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5"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7" y="156210"/>
                    <a:pt x="180975" y="159448"/>
                  </a:cubicBezTo>
                  <a:cubicBezTo>
                    <a:pt x="194596" y="163639"/>
                    <a:pt x="208312" y="168592"/>
                    <a:pt x="222028" y="174212"/>
                  </a:cubicBezTo>
                  <a:cubicBezTo>
                    <a:pt x="235649" y="179832"/>
                    <a:pt x="248031" y="186785"/>
                    <a:pt x="259080" y="194977"/>
                  </a:cubicBezTo>
                  <a:cubicBezTo>
                    <a:pt x="270129" y="203168"/>
                    <a:pt x="279273" y="213169"/>
                    <a:pt x="286322" y="224980"/>
                  </a:cubicBezTo>
                  <a:cubicBezTo>
                    <a:pt x="293370" y="236696"/>
                    <a:pt x="296894" y="251079"/>
                    <a:pt x="296894" y="267938"/>
                  </a:cubicBezTo>
                  <a:lnTo>
                    <a:pt x="296894" y="269367"/>
                  </a:lnTo>
                  <a:cubicBezTo>
                    <a:pt x="296894" y="289084"/>
                    <a:pt x="293370" y="306229"/>
                    <a:pt x="286322" y="320897"/>
                  </a:cubicBezTo>
                  <a:cubicBezTo>
                    <a:pt x="279273" y="335470"/>
                    <a:pt x="269462" y="347567"/>
                    <a:pt x="256984" y="357188"/>
                  </a:cubicBezTo>
                  <a:cubicBezTo>
                    <a:pt x="244507" y="366808"/>
                    <a:pt x="229743" y="374142"/>
                    <a:pt x="212789"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6" name="Freeform: Shape 25">
              <a:extLst>
                <a:ext uri="{FF2B5EF4-FFF2-40B4-BE49-F238E27FC236}">
                  <a16:creationId xmlns:a16="http://schemas.microsoft.com/office/drawing/2014/main" id="{C4092D96-0500-8E05-9C3B-C10DD6540957}"/>
                </a:ext>
              </a:extLst>
            </p:cNvPr>
            <p:cNvSpPr/>
            <p:nvPr/>
          </p:nvSpPr>
          <p:spPr>
            <a:xfrm>
              <a:off x="589573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6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160" y="318135"/>
                    <a:pt x="160401" y="318135"/>
                  </a:cubicBezTo>
                  <a:cubicBezTo>
                    <a:pt x="179641" y="318135"/>
                    <a:pt x="192976"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4"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792"/>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7" name="Freeform: Shape 26">
              <a:extLst>
                <a:ext uri="{FF2B5EF4-FFF2-40B4-BE49-F238E27FC236}">
                  <a16:creationId xmlns:a16="http://schemas.microsoft.com/office/drawing/2014/main" id="{D65B3C68-00F2-873C-4D7A-9A1D4DF73962}"/>
                </a:ext>
              </a:extLst>
            </p:cNvPr>
            <p:cNvSpPr/>
            <p:nvPr/>
          </p:nvSpPr>
          <p:spPr>
            <a:xfrm>
              <a:off x="5985812" y="700558"/>
              <a:ext cx="85097" cy="97141"/>
            </a:xfrm>
            <a:custGeom>
              <a:avLst/>
              <a:gdLst>
                <a:gd name="connsiteX0" fmla="*/ 253651 w 338518"/>
                <a:gd name="connsiteY0" fmla="*/ 378619 h 386429"/>
                <a:gd name="connsiteX1" fmla="*/ 253651 w 338518"/>
                <a:gd name="connsiteY1" fmla="*/ 332708 h 386429"/>
                <a:gd name="connsiteX2" fmla="*/ 204883 w 338518"/>
                <a:gd name="connsiteY2" fmla="*/ 370904 h 386429"/>
                <a:gd name="connsiteX3" fmla="*/ 132779 w 338518"/>
                <a:gd name="connsiteY3" fmla="*/ 386429 h 386429"/>
                <a:gd name="connsiteX4" fmla="*/ 81915 w 338518"/>
                <a:gd name="connsiteY4" fmla="*/ 379000 h 386429"/>
                <a:gd name="connsiteX5" fmla="*/ 39910 w 338518"/>
                <a:gd name="connsiteY5" fmla="*/ 357092 h 386429"/>
                <a:gd name="connsiteX6" fmla="*/ 10954 w 338518"/>
                <a:gd name="connsiteY6" fmla="*/ 321088 h 386429"/>
                <a:gd name="connsiteX7" fmla="*/ 0 w 338518"/>
                <a:gd name="connsiteY7" fmla="*/ 271272 h 386429"/>
                <a:gd name="connsiteX8" fmla="*/ 0 w 338518"/>
                <a:gd name="connsiteY8" fmla="*/ 269843 h 386429"/>
                <a:gd name="connsiteX9" fmla="*/ 11335 w 338518"/>
                <a:gd name="connsiteY9" fmla="*/ 215741 h 386429"/>
                <a:gd name="connsiteX10" fmla="*/ 42767 w 338518"/>
                <a:gd name="connsiteY10" fmla="*/ 177546 h 386429"/>
                <a:gd name="connsiteX11" fmla="*/ 90773 w 338518"/>
                <a:gd name="connsiteY11" fmla="*/ 154972 h 386429"/>
                <a:gd name="connsiteX12" fmla="*/ 151162 w 338518"/>
                <a:gd name="connsiteY12" fmla="*/ 147542 h 386429"/>
                <a:gd name="connsiteX13" fmla="*/ 208788 w 338518"/>
                <a:gd name="connsiteY13" fmla="*/ 151829 h 386429"/>
                <a:gd name="connsiteX14" fmla="*/ 254413 w 338518"/>
                <a:gd name="connsiteY14" fmla="*/ 163163 h 386429"/>
                <a:gd name="connsiteX15" fmla="*/ 254413 w 338518"/>
                <a:gd name="connsiteY15" fmla="*/ 156115 h 386429"/>
                <a:gd name="connsiteX16" fmla="*/ 230696 w 338518"/>
                <a:gd name="connsiteY16" fmla="*/ 96774 h 386429"/>
                <a:gd name="connsiteX17" fmla="*/ 162496 w 338518"/>
                <a:gd name="connsiteY17" fmla="*/ 76295 h 386429"/>
                <a:gd name="connsiteX18" fmla="*/ 106013 w 338518"/>
                <a:gd name="connsiteY18" fmla="*/ 82677 h 386429"/>
                <a:gd name="connsiteX19" fmla="*/ 55816 w 338518"/>
                <a:gd name="connsiteY19" fmla="*/ 99632 h 386429"/>
                <a:gd name="connsiteX20" fmla="*/ 32480 w 338518"/>
                <a:gd name="connsiteY20" fmla="*/ 31052 h 386429"/>
                <a:gd name="connsiteX21" fmla="*/ 96107 w 338518"/>
                <a:gd name="connsiteY21" fmla="*/ 8477 h 386429"/>
                <a:gd name="connsiteX22" fmla="*/ 174593 w 338518"/>
                <a:gd name="connsiteY22" fmla="*/ 0 h 386429"/>
                <a:gd name="connsiteX23" fmla="*/ 298228 w 338518"/>
                <a:gd name="connsiteY23" fmla="*/ 41338 h 386429"/>
                <a:gd name="connsiteX24" fmla="*/ 338519 w 338518"/>
                <a:gd name="connsiteY24" fmla="*/ 157544 h 386429"/>
                <a:gd name="connsiteX25" fmla="*/ 338519 w 338518"/>
                <a:gd name="connsiteY25" fmla="*/ 378714 h 386429"/>
                <a:gd name="connsiteX26" fmla="*/ 253746 w 338518"/>
                <a:gd name="connsiteY26" fmla="*/ 378714 h 386429"/>
                <a:gd name="connsiteX27" fmla="*/ 255746 w 338518"/>
                <a:gd name="connsiteY27" fmla="*/ 222409 h 386429"/>
                <a:gd name="connsiteX28" fmla="*/ 217265 w 338518"/>
                <a:gd name="connsiteY28" fmla="*/ 211836 h 386429"/>
                <a:gd name="connsiteX29" fmla="*/ 170307 w 338518"/>
                <a:gd name="connsiteY29" fmla="*/ 207550 h 386429"/>
                <a:gd name="connsiteX30" fmla="*/ 107442 w 338518"/>
                <a:gd name="connsiteY30" fmla="*/ 223075 h 386429"/>
                <a:gd name="connsiteX31" fmla="*/ 84868 w 338518"/>
                <a:gd name="connsiteY31" fmla="*/ 265462 h 386429"/>
                <a:gd name="connsiteX32" fmla="*/ 84868 w 338518"/>
                <a:gd name="connsiteY32" fmla="*/ 266891 h 386429"/>
                <a:gd name="connsiteX33" fmla="*/ 105728 w 338518"/>
                <a:gd name="connsiteY33" fmla="*/ 307848 h 386429"/>
                <a:gd name="connsiteX34" fmla="*/ 156972 w 338518"/>
                <a:gd name="connsiteY34" fmla="*/ 321945 h 386429"/>
                <a:gd name="connsiteX35" fmla="*/ 196215 w 338518"/>
                <a:gd name="connsiteY35" fmla="*/ 316325 h 386429"/>
                <a:gd name="connsiteX36" fmla="*/ 227647 w 338518"/>
                <a:gd name="connsiteY36" fmla="*/ 300419 h 386429"/>
                <a:gd name="connsiteX37" fmla="*/ 248507 w 338518"/>
                <a:gd name="connsiteY37" fmla="*/ 275654 h 386429"/>
                <a:gd name="connsiteX38" fmla="*/ 255937 w 338518"/>
                <a:gd name="connsiteY38" fmla="*/ 243459 h 386429"/>
                <a:gd name="connsiteX39" fmla="*/ 255937 w 338518"/>
                <a:gd name="connsiteY39" fmla="*/ 222218 h 3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8518" h="386429">
                  <a:moveTo>
                    <a:pt x="253651" y="378619"/>
                  </a:moveTo>
                  <a:lnTo>
                    <a:pt x="253651" y="332708"/>
                  </a:lnTo>
                  <a:cubicBezTo>
                    <a:pt x="240887" y="347758"/>
                    <a:pt x="224695" y="360521"/>
                    <a:pt x="204883" y="370904"/>
                  </a:cubicBezTo>
                  <a:cubicBezTo>
                    <a:pt x="185071" y="381286"/>
                    <a:pt x="161068" y="386429"/>
                    <a:pt x="132779" y="386429"/>
                  </a:cubicBezTo>
                  <a:cubicBezTo>
                    <a:pt x="114871" y="386429"/>
                    <a:pt x="97917" y="383953"/>
                    <a:pt x="81915" y="379000"/>
                  </a:cubicBezTo>
                  <a:cubicBezTo>
                    <a:pt x="65913" y="374047"/>
                    <a:pt x="51911" y="366713"/>
                    <a:pt x="39910" y="357092"/>
                  </a:cubicBezTo>
                  <a:cubicBezTo>
                    <a:pt x="27908" y="347472"/>
                    <a:pt x="18193" y="335471"/>
                    <a:pt x="10954" y="321088"/>
                  </a:cubicBezTo>
                  <a:cubicBezTo>
                    <a:pt x="3620" y="306705"/>
                    <a:pt x="0" y="290132"/>
                    <a:pt x="0" y="271272"/>
                  </a:cubicBezTo>
                  <a:lnTo>
                    <a:pt x="0" y="269843"/>
                  </a:lnTo>
                  <a:cubicBezTo>
                    <a:pt x="0" y="249079"/>
                    <a:pt x="3810" y="231077"/>
                    <a:pt x="11335" y="215741"/>
                  </a:cubicBezTo>
                  <a:cubicBezTo>
                    <a:pt x="18859" y="200406"/>
                    <a:pt x="29337" y="187738"/>
                    <a:pt x="42767" y="177546"/>
                  </a:cubicBezTo>
                  <a:cubicBezTo>
                    <a:pt x="56197" y="167450"/>
                    <a:pt x="72199" y="159925"/>
                    <a:pt x="90773" y="154972"/>
                  </a:cubicBezTo>
                  <a:cubicBezTo>
                    <a:pt x="109347" y="150019"/>
                    <a:pt x="129540" y="147542"/>
                    <a:pt x="151162" y="147542"/>
                  </a:cubicBezTo>
                  <a:cubicBezTo>
                    <a:pt x="172783" y="147542"/>
                    <a:pt x="192976" y="148971"/>
                    <a:pt x="208788" y="151829"/>
                  </a:cubicBezTo>
                  <a:cubicBezTo>
                    <a:pt x="224599" y="154686"/>
                    <a:pt x="239744" y="158401"/>
                    <a:pt x="254413" y="163163"/>
                  </a:cubicBezTo>
                  <a:lnTo>
                    <a:pt x="254413" y="156115"/>
                  </a:lnTo>
                  <a:cubicBezTo>
                    <a:pt x="254413" y="130207"/>
                    <a:pt x="246507" y="110395"/>
                    <a:pt x="230696" y="96774"/>
                  </a:cubicBezTo>
                  <a:cubicBezTo>
                    <a:pt x="214884" y="83153"/>
                    <a:pt x="192214" y="76295"/>
                    <a:pt x="162496" y="76295"/>
                  </a:cubicBezTo>
                  <a:cubicBezTo>
                    <a:pt x="141351" y="76295"/>
                    <a:pt x="122491" y="78391"/>
                    <a:pt x="106013" y="82677"/>
                  </a:cubicBezTo>
                  <a:cubicBezTo>
                    <a:pt x="89535" y="86963"/>
                    <a:pt x="72771" y="92583"/>
                    <a:pt x="55816" y="99632"/>
                  </a:cubicBezTo>
                  <a:lnTo>
                    <a:pt x="32480" y="31052"/>
                  </a:lnTo>
                  <a:cubicBezTo>
                    <a:pt x="53149" y="21622"/>
                    <a:pt x="74390" y="14097"/>
                    <a:pt x="96107" y="8477"/>
                  </a:cubicBezTo>
                  <a:cubicBezTo>
                    <a:pt x="117729" y="2858"/>
                    <a:pt x="143923" y="0"/>
                    <a:pt x="174593" y="0"/>
                  </a:cubicBezTo>
                  <a:cubicBezTo>
                    <a:pt x="230124" y="0"/>
                    <a:pt x="271367" y="13811"/>
                    <a:pt x="298228" y="41338"/>
                  </a:cubicBezTo>
                  <a:cubicBezTo>
                    <a:pt x="325088" y="68866"/>
                    <a:pt x="338519" y="107633"/>
                    <a:pt x="338519" y="157544"/>
                  </a:cubicBezTo>
                  <a:lnTo>
                    <a:pt x="338519" y="378714"/>
                  </a:lnTo>
                  <a:lnTo>
                    <a:pt x="253746" y="378714"/>
                  </a:lnTo>
                  <a:close/>
                  <a:moveTo>
                    <a:pt x="255746" y="222409"/>
                  </a:moveTo>
                  <a:cubicBezTo>
                    <a:pt x="244888" y="218123"/>
                    <a:pt x="232029" y="214598"/>
                    <a:pt x="217265" y="211836"/>
                  </a:cubicBezTo>
                  <a:cubicBezTo>
                    <a:pt x="202406" y="208979"/>
                    <a:pt x="186785" y="207550"/>
                    <a:pt x="170307" y="207550"/>
                  </a:cubicBezTo>
                  <a:cubicBezTo>
                    <a:pt x="143446" y="207550"/>
                    <a:pt x="122491" y="212693"/>
                    <a:pt x="107442" y="223075"/>
                  </a:cubicBezTo>
                  <a:cubicBezTo>
                    <a:pt x="92392" y="233458"/>
                    <a:pt x="84868" y="247555"/>
                    <a:pt x="84868" y="265462"/>
                  </a:cubicBezTo>
                  <a:lnTo>
                    <a:pt x="84868" y="266891"/>
                  </a:lnTo>
                  <a:cubicBezTo>
                    <a:pt x="84868" y="284798"/>
                    <a:pt x="91821" y="298418"/>
                    <a:pt x="105728" y="307848"/>
                  </a:cubicBezTo>
                  <a:cubicBezTo>
                    <a:pt x="119634" y="317278"/>
                    <a:pt x="136684" y="321945"/>
                    <a:pt x="156972" y="321945"/>
                  </a:cubicBezTo>
                  <a:cubicBezTo>
                    <a:pt x="171069" y="321945"/>
                    <a:pt x="184213" y="320040"/>
                    <a:pt x="196215" y="316325"/>
                  </a:cubicBezTo>
                  <a:cubicBezTo>
                    <a:pt x="208216" y="312515"/>
                    <a:pt x="218694" y="307277"/>
                    <a:pt x="227647" y="300419"/>
                  </a:cubicBezTo>
                  <a:cubicBezTo>
                    <a:pt x="236601" y="293561"/>
                    <a:pt x="243554" y="285369"/>
                    <a:pt x="248507" y="275654"/>
                  </a:cubicBezTo>
                  <a:cubicBezTo>
                    <a:pt x="253460" y="266033"/>
                    <a:pt x="255937" y="255270"/>
                    <a:pt x="255937" y="243459"/>
                  </a:cubicBezTo>
                  <a:lnTo>
                    <a:pt x="255937" y="222218"/>
                  </a:lnTo>
                  <a:close/>
                </a:path>
              </a:pathLst>
            </a:custGeom>
            <a:solidFill>
              <a:srgbClr val="44505E"/>
            </a:solidFill>
            <a:ln w="9525" cap="flat">
              <a:noFill/>
              <a:prstDash val="solid"/>
              <a:miter/>
            </a:ln>
          </p:spPr>
          <p:txBody>
            <a:bodyPr rtlCol="0" anchor="ctr"/>
            <a:lstStyle/>
            <a:p>
              <a:endParaRPr lang="pt-BR" noProof="0"/>
            </a:p>
          </p:txBody>
        </p:sp>
        <p:sp>
          <p:nvSpPr>
            <p:cNvPr id="28" name="Freeform: Shape 27">
              <a:extLst>
                <a:ext uri="{FF2B5EF4-FFF2-40B4-BE49-F238E27FC236}">
                  <a16:creationId xmlns:a16="http://schemas.microsoft.com/office/drawing/2014/main" id="{0963F9B5-A86B-F030-C604-7C2E535776D4}"/>
                </a:ext>
              </a:extLst>
            </p:cNvPr>
            <p:cNvSpPr/>
            <p:nvPr/>
          </p:nvSpPr>
          <p:spPr>
            <a:xfrm>
              <a:off x="6088843" y="700318"/>
              <a:ext cx="74610" cy="97213"/>
            </a:xfrm>
            <a:custGeom>
              <a:avLst/>
              <a:gdLst>
                <a:gd name="connsiteX0" fmla="*/ 158305 w 296799"/>
                <a:gd name="connsiteY0" fmla="*/ 386715 h 386714"/>
                <a:gd name="connsiteX1" fmla="*/ 76676 w 296799"/>
                <a:gd name="connsiteY1" fmla="*/ 372427 h 386714"/>
                <a:gd name="connsiteX2" fmla="*/ 0 w 296799"/>
                <a:gd name="connsiteY2" fmla="*/ 330327 h 386714"/>
                <a:gd name="connsiteX3" fmla="*/ 38195 w 296799"/>
                <a:gd name="connsiteY3" fmla="*/ 272224 h 386714"/>
                <a:gd name="connsiteX4" fmla="*/ 100013 w 296799"/>
                <a:gd name="connsiteY4" fmla="*/ 306514 h 386714"/>
                <a:gd name="connsiteX5" fmla="*/ 160401 w 296799"/>
                <a:gd name="connsiteY5" fmla="*/ 318135 h 386714"/>
                <a:gd name="connsiteX6" fmla="*/ 203168 w 296799"/>
                <a:gd name="connsiteY6" fmla="*/ 307181 h 386714"/>
                <a:gd name="connsiteX7" fmla="*/ 218408 w 296799"/>
                <a:gd name="connsiteY7" fmla="*/ 277939 h 386714"/>
                <a:gd name="connsiteX8" fmla="*/ 218408 w 296799"/>
                <a:gd name="connsiteY8" fmla="*/ 276511 h 386714"/>
                <a:gd name="connsiteX9" fmla="*/ 211646 w 296799"/>
                <a:gd name="connsiteY9" fmla="*/ 258223 h 386714"/>
                <a:gd name="connsiteX10" fmla="*/ 193262 w 296799"/>
                <a:gd name="connsiteY10" fmla="*/ 244792 h 386714"/>
                <a:gd name="connsiteX11" fmla="*/ 166402 w 296799"/>
                <a:gd name="connsiteY11" fmla="*/ 234220 h 386714"/>
                <a:gd name="connsiteX12" fmla="*/ 134969 w 296799"/>
                <a:gd name="connsiteY12" fmla="*/ 224314 h 386714"/>
                <a:gd name="connsiteX13" fmla="*/ 93631 w 296799"/>
                <a:gd name="connsiteY13" fmla="*/ 210884 h 386714"/>
                <a:gd name="connsiteX14" fmla="*/ 56197 w 296799"/>
                <a:gd name="connsiteY14" fmla="*/ 190786 h 386714"/>
                <a:gd name="connsiteX15" fmla="*/ 28956 w 296799"/>
                <a:gd name="connsiteY15" fmla="*/ 160115 h 386714"/>
                <a:gd name="connsiteX16" fmla="*/ 18383 w 296799"/>
                <a:gd name="connsiteY16" fmla="*/ 114967 h 386714"/>
                <a:gd name="connsiteX17" fmla="*/ 18383 w 296799"/>
                <a:gd name="connsiteY17" fmla="*/ 113538 h 386714"/>
                <a:gd name="connsiteX18" fmla="*/ 28575 w 296799"/>
                <a:gd name="connsiteY18" fmla="*/ 66294 h 386714"/>
                <a:gd name="connsiteX19" fmla="*/ 56864 w 296799"/>
                <a:gd name="connsiteY19" fmla="*/ 30385 h 386714"/>
                <a:gd name="connsiteX20" fmla="*/ 99250 w 296799"/>
                <a:gd name="connsiteY20" fmla="*/ 7810 h 386714"/>
                <a:gd name="connsiteX21" fmla="*/ 151162 w 296799"/>
                <a:gd name="connsiteY21" fmla="*/ 0 h 386714"/>
                <a:gd name="connsiteX22" fmla="*/ 222504 w 296799"/>
                <a:gd name="connsiteY22" fmla="*/ 11430 h 386714"/>
                <a:gd name="connsiteX23" fmla="*/ 288227 w 296799"/>
                <a:gd name="connsiteY23" fmla="*/ 42863 h 386714"/>
                <a:gd name="connsiteX24" fmla="*/ 254317 w 296799"/>
                <a:gd name="connsiteY24" fmla="*/ 103918 h 386714"/>
                <a:gd name="connsiteX25" fmla="*/ 199930 w 296799"/>
                <a:gd name="connsiteY25" fmla="*/ 78105 h 386714"/>
                <a:gd name="connsiteX26" fmla="*/ 149066 w 296799"/>
                <a:gd name="connsiteY26" fmla="*/ 68580 h 386714"/>
                <a:gd name="connsiteX27" fmla="*/ 110585 w 296799"/>
                <a:gd name="connsiteY27" fmla="*/ 79153 h 386714"/>
                <a:gd name="connsiteX28" fmla="*/ 96774 w 296799"/>
                <a:gd name="connsiteY28" fmla="*/ 105918 h 386714"/>
                <a:gd name="connsiteX29" fmla="*/ 96774 w 296799"/>
                <a:gd name="connsiteY29" fmla="*/ 107347 h 386714"/>
                <a:gd name="connsiteX30" fmla="*/ 103822 w 296799"/>
                <a:gd name="connsiteY30" fmla="*/ 124587 h 386714"/>
                <a:gd name="connsiteX31" fmla="*/ 122587 w 296799"/>
                <a:gd name="connsiteY31" fmla="*/ 138017 h 386714"/>
                <a:gd name="connsiteX32" fmla="*/ 149447 w 296799"/>
                <a:gd name="connsiteY32" fmla="*/ 149257 h 386714"/>
                <a:gd name="connsiteX33" fmla="*/ 180880 w 296799"/>
                <a:gd name="connsiteY33" fmla="*/ 159448 h 386714"/>
                <a:gd name="connsiteX34" fmla="*/ 221837 w 296799"/>
                <a:gd name="connsiteY34" fmla="*/ 174212 h 386714"/>
                <a:gd name="connsiteX35" fmla="*/ 258985 w 296799"/>
                <a:gd name="connsiteY35" fmla="*/ 194977 h 386714"/>
                <a:gd name="connsiteX36" fmla="*/ 286226 w 296799"/>
                <a:gd name="connsiteY36" fmla="*/ 224980 h 386714"/>
                <a:gd name="connsiteX37" fmla="*/ 296799 w 296799"/>
                <a:gd name="connsiteY37" fmla="*/ 267938 h 386714"/>
                <a:gd name="connsiteX38" fmla="*/ 296799 w 296799"/>
                <a:gd name="connsiteY38" fmla="*/ 269367 h 386714"/>
                <a:gd name="connsiteX39" fmla="*/ 286226 w 296799"/>
                <a:gd name="connsiteY39" fmla="*/ 320897 h 386714"/>
                <a:gd name="connsiteX40" fmla="*/ 256889 w 296799"/>
                <a:gd name="connsiteY40" fmla="*/ 357188 h 386714"/>
                <a:gd name="connsiteX41" fmla="*/ 212693 w 296799"/>
                <a:gd name="connsiteY41" fmla="*/ 379095 h 386714"/>
                <a:gd name="connsiteX42" fmla="*/ 158305 w 296799"/>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799"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065" y="318135"/>
                    <a:pt x="160401" y="318135"/>
                  </a:cubicBezTo>
                  <a:cubicBezTo>
                    <a:pt x="179737" y="318135"/>
                    <a:pt x="193072"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828" y="227647"/>
                    <a:pt x="134969" y="224314"/>
                  </a:cubicBezTo>
                  <a:cubicBezTo>
                    <a:pt x="121348" y="220599"/>
                    <a:pt x="107537" y="216122"/>
                    <a:pt x="93631" y="210884"/>
                  </a:cubicBezTo>
                  <a:cubicBezTo>
                    <a:pt x="79724" y="205740"/>
                    <a:pt x="67246" y="198977"/>
                    <a:pt x="56197" y="190786"/>
                  </a:cubicBezTo>
                  <a:cubicBezTo>
                    <a:pt x="45148" y="182594"/>
                    <a:pt x="36004"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874" y="0"/>
                    <a:pt x="151162" y="0"/>
                  </a:cubicBezTo>
                  <a:cubicBezTo>
                    <a:pt x="174688" y="0"/>
                    <a:pt x="198501" y="3810"/>
                    <a:pt x="222504" y="11430"/>
                  </a:cubicBezTo>
                  <a:cubicBezTo>
                    <a:pt x="246507" y="19050"/>
                    <a:pt x="268414" y="29527"/>
                    <a:pt x="288227" y="42863"/>
                  </a:cubicBezTo>
                  <a:lnTo>
                    <a:pt x="254317"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774" y="95155"/>
                    <a:pt x="96774" y="105918"/>
                  </a:cubicBezTo>
                  <a:lnTo>
                    <a:pt x="96774" y="107347"/>
                  </a:lnTo>
                  <a:cubicBezTo>
                    <a:pt x="96774" y="113919"/>
                    <a:pt x="99155" y="119634"/>
                    <a:pt x="103822" y="124587"/>
                  </a:cubicBezTo>
                  <a:cubicBezTo>
                    <a:pt x="108490" y="129540"/>
                    <a:pt x="114776" y="134017"/>
                    <a:pt x="122587" y="138017"/>
                  </a:cubicBezTo>
                  <a:cubicBezTo>
                    <a:pt x="130397" y="142018"/>
                    <a:pt x="139351" y="145732"/>
                    <a:pt x="149447" y="149257"/>
                  </a:cubicBezTo>
                  <a:cubicBezTo>
                    <a:pt x="159544" y="152781"/>
                    <a:pt x="170021" y="156210"/>
                    <a:pt x="180880" y="159448"/>
                  </a:cubicBezTo>
                  <a:cubicBezTo>
                    <a:pt x="194500" y="163639"/>
                    <a:pt x="208216" y="168592"/>
                    <a:pt x="221837" y="174212"/>
                  </a:cubicBezTo>
                  <a:cubicBezTo>
                    <a:pt x="235458" y="179832"/>
                    <a:pt x="247840" y="186785"/>
                    <a:pt x="258985" y="194977"/>
                  </a:cubicBezTo>
                  <a:cubicBezTo>
                    <a:pt x="270034" y="203168"/>
                    <a:pt x="279178" y="213169"/>
                    <a:pt x="286226" y="224980"/>
                  </a:cubicBezTo>
                  <a:cubicBezTo>
                    <a:pt x="293275" y="236696"/>
                    <a:pt x="296799" y="251079"/>
                    <a:pt x="296799" y="267938"/>
                  </a:cubicBezTo>
                  <a:lnTo>
                    <a:pt x="296799" y="269367"/>
                  </a:lnTo>
                  <a:cubicBezTo>
                    <a:pt x="296799" y="289084"/>
                    <a:pt x="293275" y="306229"/>
                    <a:pt x="286226" y="320897"/>
                  </a:cubicBezTo>
                  <a:cubicBezTo>
                    <a:pt x="279178" y="335470"/>
                    <a:pt x="269367" y="347567"/>
                    <a:pt x="256889" y="357188"/>
                  </a:cubicBezTo>
                  <a:cubicBezTo>
                    <a:pt x="244412" y="366808"/>
                    <a:pt x="229648" y="374142"/>
                    <a:pt x="212693" y="379095"/>
                  </a:cubicBezTo>
                  <a:cubicBezTo>
                    <a:pt x="195739" y="384048"/>
                    <a:pt x="177641" y="386524"/>
                    <a:pt x="158305" y="386524"/>
                  </a:cubicBezTo>
                  <a:close/>
                </a:path>
              </a:pathLst>
            </a:custGeom>
            <a:solidFill>
              <a:srgbClr val="44505E"/>
            </a:solidFill>
            <a:ln w="9525" cap="flat">
              <a:noFill/>
              <a:prstDash val="solid"/>
              <a:miter/>
            </a:ln>
          </p:spPr>
          <p:txBody>
            <a:bodyPr rtlCol="0" anchor="ctr"/>
            <a:lstStyle/>
            <a:p>
              <a:endParaRPr lang="pt-BR" noProof="0"/>
            </a:p>
          </p:txBody>
        </p:sp>
        <p:sp>
          <p:nvSpPr>
            <p:cNvPr id="29" name="Freeform: Shape 28">
              <a:extLst>
                <a:ext uri="{FF2B5EF4-FFF2-40B4-BE49-F238E27FC236}">
                  <a16:creationId xmlns:a16="http://schemas.microsoft.com/office/drawing/2014/main" id="{6290DADF-50E4-D925-720C-D442B552A4AC}"/>
                </a:ext>
              </a:extLst>
            </p:cNvPr>
            <p:cNvSpPr/>
            <p:nvPr/>
          </p:nvSpPr>
          <p:spPr>
            <a:xfrm>
              <a:off x="6238590"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4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7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2 w 568166"/>
                <a:gd name="connsiteY21" fmla="*/ 381000 h 381000"/>
                <a:gd name="connsiteX22" fmla="*/ 240982 w 568166"/>
                <a:gd name="connsiteY22" fmla="*/ 168783 h 381000"/>
                <a:gd name="connsiteX23" fmla="*/ 221266 w 568166"/>
                <a:gd name="connsiteY23" fmla="*/ 101822 h 381000"/>
                <a:gd name="connsiteX24" fmla="*/ 165640 w 568166"/>
                <a:gd name="connsiteY24" fmla="*/ 78581 h 381000"/>
                <a:gd name="connsiteX25" fmla="*/ 108013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69" y="48196"/>
                    <a:pt x="105918" y="40576"/>
                  </a:cubicBezTo>
                  <a:cubicBezTo>
                    <a:pt x="112966" y="32956"/>
                    <a:pt x="121063" y="26099"/>
                    <a:pt x="130207" y="19907"/>
                  </a:cubicBezTo>
                  <a:cubicBezTo>
                    <a:pt x="139351" y="13716"/>
                    <a:pt x="149638" y="8858"/>
                    <a:pt x="161163" y="5334"/>
                  </a:cubicBezTo>
                  <a:cubicBezTo>
                    <a:pt x="172688" y="1714"/>
                    <a:pt x="185452" y="0"/>
                    <a:pt x="199549" y="0"/>
                  </a:cubicBezTo>
                  <a:cubicBezTo>
                    <a:pt x="226314" y="0"/>
                    <a:pt x="248983" y="6096"/>
                    <a:pt x="267557" y="18193"/>
                  </a:cubicBezTo>
                  <a:cubicBezTo>
                    <a:pt x="286131" y="30289"/>
                    <a:pt x="300323" y="46387"/>
                    <a:pt x="310134" y="66294"/>
                  </a:cubicBezTo>
                  <a:cubicBezTo>
                    <a:pt x="325279" y="46387"/>
                    <a:pt x="343090" y="30289"/>
                    <a:pt x="363664" y="18193"/>
                  </a:cubicBezTo>
                  <a:cubicBezTo>
                    <a:pt x="384238" y="6096"/>
                    <a:pt x="408718" y="0"/>
                    <a:pt x="437007" y="0"/>
                  </a:cubicBezTo>
                  <a:cubicBezTo>
                    <a:pt x="478155"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7" y="78486"/>
                  </a:cubicBezTo>
                  <a:cubicBezTo>
                    <a:pt x="382809" y="78486"/>
                    <a:pt x="364141" y="86392"/>
                    <a:pt x="349377" y="102108"/>
                  </a:cubicBezTo>
                  <a:cubicBezTo>
                    <a:pt x="334613" y="117824"/>
                    <a:pt x="327184" y="140779"/>
                    <a:pt x="327184" y="170879"/>
                  </a:cubicBezTo>
                  <a:lnTo>
                    <a:pt x="327184" y="381000"/>
                  </a:lnTo>
                  <a:lnTo>
                    <a:pt x="240982" y="381000"/>
                  </a:lnTo>
                  <a:lnTo>
                    <a:pt x="240982" y="168783"/>
                  </a:lnTo>
                  <a:cubicBezTo>
                    <a:pt x="240982" y="139637"/>
                    <a:pt x="234410" y="117348"/>
                    <a:pt x="221266" y="101822"/>
                  </a:cubicBezTo>
                  <a:cubicBezTo>
                    <a:pt x="208121" y="86296"/>
                    <a:pt x="189547" y="78581"/>
                    <a:pt x="165640" y="78581"/>
                  </a:cubicBezTo>
                  <a:cubicBezTo>
                    <a:pt x="141732" y="78581"/>
                    <a:pt x="122491" y="86773"/>
                    <a:pt x="108013"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30" name="Freeform: Shape 29">
              <a:extLst>
                <a:ext uri="{FF2B5EF4-FFF2-40B4-BE49-F238E27FC236}">
                  <a16:creationId xmlns:a16="http://schemas.microsoft.com/office/drawing/2014/main" id="{0F827F4E-493F-9187-2543-70720A4E47DE}"/>
                </a:ext>
              </a:extLst>
            </p:cNvPr>
            <p:cNvSpPr/>
            <p:nvPr/>
          </p:nvSpPr>
          <p:spPr>
            <a:xfrm>
              <a:off x="6400979" y="664258"/>
              <a:ext cx="85097" cy="133441"/>
            </a:xfrm>
            <a:custGeom>
              <a:avLst/>
              <a:gdLst>
                <a:gd name="connsiteX0" fmla="*/ 253651 w 338518"/>
                <a:gd name="connsiteY0" fmla="*/ 523018 h 530828"/>
                <a:gd name="connsiteX1" fmla="*/ 253651 w 338518"/>
                <a:gd name="connsiteY1" fmla="*/ 477107 h 530828"/>
                <a:gd name="connsiteX2" fmla="*/ 204883 w 338518"/>
                <a:gd name="connsiteY2" fmla="*/ 515303 h 530828"/>
                <a:gd name="connsiteX3" fmla="*/ 132779 w 338518"/>
                <a:gd name="connsiteY3" fmla="*/ 530828 h 530828"/>
                <a:gd name="connsiteX4" fmla="*/ 81915 w 338518"/>
                <a:gd name="connsiteY4" fmla="*/ 523399 h 530828"/>
                <a:gd name="connsiteX5" fmla="*/ 39910 w 338518"/>
                <a:gd name="connsiteY5" fmla="*/ 501491 h 530828"/>
                <a:gd name="connsiteX6" fmla="*/ 10954 w 338518"/>
                <a:gd name="connsiteY6" fmla="*/ 465487 h 530828"/>
                <a:gd name="connsiteX7" fmla="*/ 0 w 338518"/>
                <a:gd name="connsiteY7" fmla="*/ 415671 h 530828"/>
                <a:gd name="connsiteX8" fmla="*/ 0 w 338518"/>
                <a:gd name="connsiteY8" fmla="*/ 414242 h 530828"/>
                <a:gd name="connsiteX9" fmla="*/ 11335 w 338518"/>
                <a:gd name="connsiteY9" fmla="*/ 360140 h 530828"/>
                <a:gd name="connsiteX10" fmla="*/ 42767 w 338518"/>
                <a:gd name="connsiteY10" fmla="*/ 321945 h 530828"/>
                <a:gd name="connsiteX11" fmla="*/ 90773 w 338518"/>
                <a:gd name="connsiteY11" fmla="*/ 299371 h 530828"/>
                <a:gd name="connsiteX12" fmla="*/ 151162 w 338518"/>
                <a:gd name="connsiteY12" fmla="*/ 291941 h 530828"/>
                <a:gd name="connsiteX13" fmla="*/ 208788 w 338518"/>
                <a:gd name="connsiteY13" fmla="*/ 296228 h 530828"/>
                <a:gd name="connsiteX14" fmla="*/ 254413 w 338518"/>
                <a:gd name="connsiteY14" fmla="*/ 307562 h 530828"/>
                <a:gd name="connsiteX15" fmla="*/ 254413 w 338518"/>
                <a:gd name="connsiteY15" fmla="*/ 300514 h 530828"/>
                <a:gd name="connsiteX16" fmla="*/ 230696 w 338518"/>
                <a:gd name="connsiteY16" fmla="*/ 241173 h 530828"/>
                <a:gd name="connsiteX17" fmla="*/ 162496 w 338518"/>
                <a:gd name="connsiteY17" fmla="*/ 220694 h 530828"/>
                <a:gd name="connsiteX18" fmla="*/ 106013 w 338518"/>
                <a:gd name="connsiteY18" fmla="*/ 227076 h 530828"/>
                <a:gd name="connsiteX19" fmla="*/ 55817 w 338518"/>
                <a:gd name="connsiteY19" fmla="*/ 244031 h 530828"/>
                <a:gd name="connsiteX20" fmla="*/ 32480 w 338518"/>
                <a:gd name="connsiteY20" fmla="*/ 175451 h 530828"/>
                <a:gd name="connsiteX21" fmla="*/ 96107 w 338518"/>
                <a:gd name="connsiteY21" fmla="*/ 152876 h 530828"/>
                <a:gd name="connsiteX22" fmla="*/ 174593 w 338518"/>
                <a:gd name="connsiteY22" fmla="*/ 144399 h 530828"/>
                <a:gd name="connsiteX23" fmla="*/ 298228 w 338518"/>
                <a:gd name="connsiteY23" fmla="*/ 185738 h 530828"/>
                <a:gd name="connsiteX24" fmla="*/ 338519 w 338518"/>
                <a:gd name="connsiteY24" fmla="*/ 301943 h 530828"/>
                <a:gd name="connsiteX25" fmla="*/ 338519 w 338518"/>
                <a:gd name="connsiteY25" fmla="*/ 523113 h 530828"/>
                <a:gd name="connsiteX26" fmla="*/ 253746 w 338518"/>
                <a:gd name="connsiteY26" fmla="*/ 523113 h 530828"/>
                <a:gd name="connsiteX27" fmla="*/ 45911 w 338518"/>
                <a:gd name="connsiteY27" fmla="*/ 95441 h 530828"/>
                <a:gd name="connsiteX28" fmla="*/ 75248 w 338518"/>
                <a:gd name="connsiteY28" fmla="*/ 29718 h 530828"/>
                <a:gd name="connsiteX29" fmla="*/ 125063 w 338518"/>
                <a:gd name="connsiteY29" fmla="*/ 7144 h 530828"/>
                <a:gd name="connsiteX30" fmla="*/ 154019 w 338518"/>
                <a:gd name="connsiteY30" fmla="*/ 11716 h 530828"/>
                <a:gd name="connsiteX31" fmla="*/ 181261 w 338518"/>
                <a:gd name="connsiteY31" fmla="*/ 21622 h 530828"/>
                <a:gd name="connsiteX32" fmla="*/ 205645 w 338518"/>
                <a:gd name="connsiteY32" fmla="*/ 31147 h 530828"/>
                <a:gd name="connsiteX33" fmla="*/ 226790 w 338518"/>
                <a:gd name="connsiteY33" fmla="*/ 35338 h 530828"/>
                <a:gd name="connsiteX34" fmla="*/ 250127 w 338518"/>
                <a:gd name="connsiteY34" fmla="*/ 26861 h 530828"/>
                <a:gd name="connsiteX35" fmla="*/ 265652 w 338518"/>
                <a:gd name="connsiteY35" fmla="*/ 0 h 530828"/>
                <a:gd name="connsiteX36" fmla="*/ 312991 w 338518"/>
                <a:gd name="connsiteY36" fmla="*/ 14859 h 530828"/>
                <a:gd name="connsiteX37" fmla="*/ 283655 w 338518"/>
                <a:gd name="connsiteY37" fmla="*/ 79820 h 530828"/>
                <a:gd name="connsiteX38" fmla="*/ 233839 w 338518"/>
                <a:gd name="connsiteY38" fmla="*/ 102394 h 530828"/>
                <a:gd name="connsiteX39" fmla="*/ 204883 w 338518"/>
                <a:gd name="connsiteY39" fmla="*/ 98203 h 530828"/>
                <a:gd name="connsiteX40" fmla="*/ 177641 w 338518"/>
                <a:gd name="connsiteY40" fmla="*/ 88678 h 530828"/>
                <a:gd name="connsiteX41" fmla="*/ 152876 w 338518"/>
                <a:gd name="connsiteY41" fmla="*/ 78772 h 530828"/>
                <a:gd name="connsiteX42" fmla="*/ 132017 w 338518"/>
                <a:gd name="connsiteY42" fmla="*/ 74200 h 530828"/>
                <a:gd name="connsiteX43" fmla="*/ 108680 w 338518"/>
                <a:gd name="connsiteY43" fmla="*/ 82677 h 530828"/>
                <a:gd name="connsiteX44" fmla="*/ 93154 w 338518"/>
                <a:gd name="connsiteY44" fmla="*/ 109538 h 530828"/>
                <a:gd name="connsiteX45" fmla="*/ 45815 w 338518"/>
                <a:gd name="connsiteY45" fmla="*/ 95441 h 530828"/>
                <a:gd name="connsiteX46" fmla="*/ 255842 w 338518"/>
                <a:gd name="connsiteY46" fmla="*/ 366808 h 530828"/>
                <a:gd name="connsiteX47" fmla="*/ 217361 w 338518"/>
                <a:gd name="connsiteY47" fmla="*/ 356235 h 530828"/>
                <a:gd name="connsiteX48" fmla="*/ 170402 w 338518"/>
                <a:gd name="connsiteY48" fmla="*/ 351949 h 530828"/>
                <a:gd name="connsiteX49" fmla="*/ 107537 w 338518"/>
                <a:gd name="connsiteY49" fmla="*/ 367475 h 530828"/>
                <a:gd name="connsiteX50" fmla="*/ 84963 w 338518"/>
                <a:gd name="connsiteY50" fmla="*/ 409861 h 530828"/>
                <a:gd name="connsiteX51" fmla="*/ 84963 w 338518"/>
                <a:gd name="connsiteY51" fmla="*/ 411290 h 530828"/>
                <a:gd name="connsiteX52" fmla="*/ 105823 w 338518"/>
                <a:gd name="connsiteY52" fmla="*/ 452247 h 530828"/>
                <a:gd name="connsiteX53" fmla="*/ 157067 w 338518"/>
                <a:gd name="connsiteY53" fmla="*/ 466344 h 530828"/>
                <a:gd name="connsiteX54" fmla="*/ 196310 w 338518"/>
                <a:gd name="connsiteY54" fmla="*/ 460724 h 530828"/>
                <a:gd name="connsiteX55" fmla="*/ 227743 w 338518"/>
                <a:gd name="connsiteY55" fmla="*/ 444818 h 530828"/>
                <a:gd name="connsiteX56" fmla="*/ 248603 w 338518"/>
                <a:gd name="connsiteY56" fmla="*/ 420053 h 530828"/>
                <a:gd name="connsiteX57" fmla="*/ 256032 w 338518"/>
                <a:gd name="connsiteY57" fmla="*/ 387858 h 530828"/>
                <a:gd name="connsiteX58" fmla="*/ 256032 w 338518"/>
                <a:gd name="connsiteY58" fmla="*/ 366617 h 5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8518" h="530828">
                  <a:moveTo>
                    <a:pt x="253651" y="523018"/>
                  </a:moveTo>
                  <a:lnTo>
                    <a:pt x="253651" y="477107"/>
                  </a:lnTo>
                  <a:cubicBezTo>
                    <a:pt x="240887" y="492157"/>
                    <a:pt x="224695" y="504920"/>
                    <a:pt x="204883" y="515303"/>
                  </a:cubicBezTo>
                  <a:cubicBezTo>
                    <a:pt x="185071" y="525685"/>
                    <a:pt x="161068" y="530828"/>
                    <a:pt x="132779" y="530828"/>
                  </a:cubicBezTo>
                  <a:cubicBezTo>
                    <a:pt x="114871" y="530828"/>
                    <a:pt x="97917" y="528352"/>
                    <a:pt x="81915" y="523399"/>
                  </a:cubicBezTo>
                  <a:cubicBezTo>
                    <a:pt x="65913" y="518446"/>
                    <a:pt x="51911" y="511112"/>
                    <a:pt x="39910" y="501491"/>
                  </a:cubicBezTo>
                  <a:cubicBezTo>
                    <a:pt x="27908" y="491871"/>
                    <a:pt x="18193" y="479870"/>
                    <a:pt x="10954" y="465487"/>
                  </a:cubicBezTo>
                  <a:cubicBezTo>
                    <a:pt x="3620" y="451104"/>
                    <a:pt x="0" y="434531"/>
                    <a:pt x="0" y="415671"/>
                  </a:cubicBezTo>
                  <a:lnTo>
                    <a:pt x="0" y="414242"/>
                  </a:lnTo>
                  <a:cubicBezTo>
                    <a:pt x="0" y="393478"/>
                    <a:pt x="3810" y="375476"/>
                    <a:pt x="11335" y="360140"/>
                  </a:cubicBezTo>
                  <a:cubicBezTo>
                    <a:pt x="18860" y="344805"/>
                    <a:pt x="29337" y="332137"/>
                    <a:pt x="42767" y="321945"/>
                  </a:cubicBezTo>
                  <a:cubicBezTo>
                    <a:pt x="56198" y="311849"/>
                    <a:pt x="72200" y="304324"/>
                    <a:pt x="90773" y="299371"/>
                  </a:cubicBezTo>
                  <a:cubicBezTo>
                    <a:pt x="109347" y="294418"/>
                    <a:pt x="129540" y="291941"/>
                    <a:pt x="151162" y="291941"/>
                  </a:cubicBezTo>
                  <a:cubicBezTo>
                    <a:pt x="172784" y="291941"/>
                    <a:pt x="192977" y="293370"/>
                    <a:pt x="208788" y="296228"/>
                  </a:cubicBezTo>
                  <a:cubicBezTo>
                    <a:pt x="224600" y="299085"/>
                    <a:pt x="239744" y="302800"/>
                    <a:pt x="254413" y="307562"/>
                  </a:cubicBezTo>
                  <a:lnTo>
                    <a:pt x="254413" y="300514"/>
                  </a:lnTo>
                  <a:cubicBezTo>
                    <a:pt x="254413" y="274606"/>
                    <a:pt x="246507" y="254794"/>
                    <a:pt x="230696" y="241173"/>
                  </a:cubicBezTo>
                  <a:cubicBezTo>
                    <a:pt x="214884" y="227552"/>
                    <a:pt x="192215" y="220694"/>
                    <a:pt x="162496" y="220694"/>
                  </a:cubicBezTo>
                  <a:cubicBezTo>
                    <a:pt x="141351" y="220694"/>
                    <a:pt x="122492" y="222790"/>
                    <a:pt x="106013" y="227076"/>
                  </a:cubicBezTo>
                  <a:cubicBezTo>
                    <a:pt x="89535" y="231362"/>
                    <a:pt x="72771" y="236982"/>
                    <a:pt x="55817" y="244031"/>
                  </a:cubicBezTo>
                  <a:lnTo>
                    <a:pt x="32480" y="175451"/>
                  </a:lnTo>
                  <a:cubicBezTo>
                    <a:pt x="53150" y="166021"/>
                    <a:pt x="74390" y="158496"/>
                    <a:pt x="96107" y="152876"/>
                  </a:cubicBezTo>
                  <a:cubicBezTo>
                    <a:pt x="117729" y="147257"/>
                    <a:pt x="143923" y="144399"/>
                    <a:pt x="174593" y="144399"/>
                  </a:cubicBezTo>
                  <a:cubicBezTo>
                    <a:pt x="230124" y="144399"/>
                    <a:pt x="271367" y="158210"/>
                    <a:pt x="298228" y="185738"/>
                  </a:cubicBezTo>
                  <a:cubicBezTo>
                    <a:pt x="325088" y="213265"/>
                    <a:pt x="338519" y="252032"/>
                    <a:pt x="338519" y="301943"/>
                  </a:cubicBezTo>
                  <a:lnTo>
                    <a:pt x="338519" y="523113"/>
                  </a:lnTo>
                  <a:lnTo>
                    <a:pt x="253746" y="523113"/>
                  </a:lnTo>
                  <a:close/>
                  <a:moveTo>
                    <a:pt x="45911" y="95441"/>
                  </a:moveTo>
                  <a:cubicBezTo>
                    <a:pt x="53912" y="66675"/>
                    <a:pt x="63722" y="44768"/>
                    <a:pt x="75248" y="29718"/>
                  </a:cubicBezTo>
                  <a:cubicBezTo>
                    <a:pt x="86773" y="14669"/>
                    <a:pt x="103442" y="7144"/>
                    <a:pt x="125063" y="7144"/>
                  </a:cubicBezTo>
                  <a:cubicBezTo>
                    <a:pt x="134969" y="7144"/>
                    <a:pt x="144590" y="8668"/>
                    <a:pt x="154019" y="11716"/>
                  </a:cubicBezTo>
                  <a:cubicBezTo>
                    <a:pt x="163449" y="14764"/>
                    <a:pt x="172498" y="18098"/>
                    <a:pt x="181261" y="21622"/>
                  </a:cubicBezTo>
                  <a:cubicBezTo>
                    <a:pt x="189929" y="25146"/>
                    <a:pt x="198120" y="28385"/>
                    <a:pt x="205645" y="31147"/>
                  </a:cubicBezTo>
                  <a:cubicBezTo>
                    <a:pt x="213170" y="34004"/>
                    <a:pt x="220218" y="35338"/>
                    <a:pt x="226790" y="35338"/>
                  </a:cubicBezTo>
                  <a:cubicBezTo>
                    <a:pt x="237173" y="35338"/>
                    <a:pt x="244888" y="32480"/>
                    <a:pt x="250127" y="26861"/>
                  </a:cubicBezTo>
                  <a:cubicBezTo>
                    <a:pt x="255270" y="21241"/>
                    <a:pt x="260509" y="12287"/>
                    <a:pt x="265652" y="0"/>
                  </a:cubicBezTo>
                  <a:lnTo>
                    <a:pt x="312991" y="14859"/>
                  </a:lnTo>
                  <a:cubicBezTo>
                    <a:pt x="304991" y="43148"/>
                    <a:pt x="295180" y="64770"/>
                    <a:pt x="283655" y="79820"/>
                  </a:cubicBezTo>
                  <a:cubicBezTo>
                    <a:pt x="272129" y="94869"/>
                    <a:pt x="255461" y="102394"/>
                    <a:pt x="233839" y="102394"/>
                  </a:cubicBezTo>
                  <a:cubicBezTo>
                    <a:pt x="223933" y="102394"/>
                    <a:pt x="214313" y="100965"/>
                    <a:pt x="204883" y="98203"/>
                  </a:cubicBezTo>
                  <a:cubicBezTo>
                    <a:pt x="195453" y="95345"/>
                    <a:pt x="186404" y="92202"/>
                    <a:pt x="177641" y="88678"/>
                  </a:cubicBezTo>
                  <a:cubicBezTo>
                    <a:pt x="168878" y="85154"/>
                    <a:pt x="160687" y="81820"/>
                    <a:pt x="152876" y="78772"/>
                  </a:cubicBezTo>
                  <a:cubicBezTo>
                    <a:pt x="145066" y="75724"/>
                    <a:pt x="138113" y="74200"/>
                    <a:pt x="132017" y="74200"/>
                  </a:cubicBezTo>
                  <a:cubicBezTo>
                    <a:pt x="121634" y="74200"/>
                    <a:pt x="113919" y="77057"/>
                    <a:pt x="108680" y="82677"/>
                  </a:cubicBezTo>
                  <a:cubicBezTo>
                    <a:pt x="103537" y="88297"/>
                    <a:pt x="98298" y="97250"/>
                    <a:pt x="93154" y="109538"/>
                  </a:cubicBezTo>
                  <a:lnTo>
                    <a:pt x="45815" y="95441"/>
                  </a:lnTo>
                  <a:close/>
                  <a:moveTo>
                    <a:pt x="255842" y="366808"/>
                  </a:moveTo>
                  <a:cubicBezTo>
                    <a:pt x="244983" y="362522"/>
                    <a:pt x="232124" y="358997"/>
                    <a:pt x="217361" y="356235"/>
                  </a:cubicBezTo>
                  <a:cubicBezTo>
                    <a:pt x="202502" y="353378"/>
                    <a:pt x="186880" y="351949"/>
                    <a:pt x="170402" y="351949"/>
                  </a:cubicBezTo>
                  <a:cubicBezTo>
                    <a:pt x="143542" y="351949"/>
                    <a:pt x="122587" y="357092"/>
                    <a:pt x="107537" y="367475"/>
                  </a:cubicBezTo>
                  <a:cubicBezTo>
                    <a:pt x="92488" y="377857"/>
                    <a:pt x="84963" y="391954"/>
                    <a:pt x="84963" y="409861"/>
                  </a:cubicBezTo>
                  <a:lnTo>
                    <a:pt x="84963" y="411290"/>
                  </a:lnTo>
                  <a:cubicBezTo>
                    <a:pt x="84963" y="429197"/>
                    <a:pt x="91916" y="442817"/>
                    <a:pt x="105823" y="452247"/>
                  </a:cubicBezTo>
                  <a:cubicBezTo>
                    <a:pt x="119729" y="461677"/>
                    <a:pt x="136779" y="466344"/>
                    <a:pt x="157067" y="466344"/>
                  </a:cubicBezTo>
                  <a:cubicBezTo>
                    <a:pt x="171164" y="466344"/>
                    <a:pt x="184309" y="464439"/>
                    <a:pt x="196310" y="460724"/>
                  </a:cubicBezTo>
                  <a:cubicBezTo>
                    <a:pt x="208312" y="456914"/>
                    <a:pt x="218789" y="451676"/>
                    <a:pt x="227743" y="444818"/>
                  </a:cubicBezTo>
                  <a:cubicBezTo>
                    <a:pt x="236696" y="437960"/>
                    <a:pt x="243650" y="429768"/>
                    <a:pt x="248603" y="420053"/>
                  </a:cubicBezTo>
                  <a:cubicBezTo>
                    <a:pt x="253555" y="410432"/>
                    <a:pt x="256032" y="399669"/>
                    <a:pt x="256032" y="387858"/>
                  </a:cubicBezTo>
                  <a:lnTo>
                    <a:pt x="256032" y="366617"/>
                  </a:lnTo>
                  <a:close/>
                </a:path>
              </a:pathLst>
            </a:custGeom>
            <a:solidFill>
              <a:srgbClr val="44505E"/>
            </a:solidFill>
            <a:ln w="9525" cap="flat">
              <a:noFill/>
              <a:prstDash val="solid"/>
              <a:miter/>
            </a:ln>
          </p:spPr>
          <p:txBody>
            <a:bodyPr rtlCol="0" anchor="ctr"/>
            <a:lstStyle/>
            <a:p>
              <a:endParaRPr lang="pt-BR" noProof="0"/>
            </a:p>
          </p:txBody>
        </p:sp>
        <p:sp>
          <p:nvSpPr>
            <p:cNvPr id="31" name="Freeform: Shape 30">
              <a:extLst>
                <a:ext uri="{FF2B5EF4-FFF2-40B4-BE49-F238E27FC236}">
                  <a16:creationId xmlns:a16="http://schemas.microsoft.com/office/drawing/2014/main" id="{78B97227-8D64-13F0-062B-0921952180C2}"/>
                </a:ext>
              </a:extLst>
            </p:cNvPr>
            <p:cNvSpPr/>
            <p:nvPr/>
          </p:nvSpPr>
          <p:spPr>
            <a:xfrm>
              <a:off x="6506477" y="699959"/>
              <a:ext cx="100038" cy="97908"/>
            </a:xfrm>
            <a:custGeom>
              <a:avLst/>
              <a:gdLst>
                <a:gd name="connsiteX0" fmla="*/ 197834 w 397954"/>
                <a:gd name="connsiteY0" fmla="*/ 389477 h 389477"/>
                <a:gd name="connsiteX1" fmla="*/ 119063 w 397954"/>
                <a:gd name="connsiteY1" fmla="*/ 374237 h 389477"/>
                <a:gd name="connsiteX2" fmla="*/ 56198 w 397954"/>
                <a:gd name="connsiteY2" fmla="*/ 332899 h 389477"/>
                <a:gd name="connsiteX3" fmla="*/ 14859 w 397954"/>
                <a:gd name="connsiteY3" fmla="*/ 271463 h 389477"/>
                <a:gd name="connsiteX4" fmla="*/ 0 w 397954"/>
                <a:gd name="connsiteY4" fmla="*/ 196501 h 389477"/>
                <a:gd name="connsiteX5" fmla="*/ 0 w 397954"/>
                <a:gd name="connsiteY5" fmla="*/ 195072 h 389477"/>
                <a:gd name="connsiteX6" fmla="*/ 15240 w 397954"/>
                <a:gd name="connsiteY6" fmla="*/ 119444 h 389477"/>
                <a:gd name="connsiteX7" fmla="*/ 56960 w 397954"/>
                <a:gd name="connsiteY7" fmla="*/ 57626 h 389477"/>
                <a:gd name="connsiteX8" fmla="*/ 119825 w 397954"/>
                <a:gd name="connsiteY8" fmla="*/ 15526 h 389477"/>
                <a:gd name="connsiteX9" fmla="*/ 199358 w 397954"/>
                <a:gd name="connsiteY9" fmla="*/ 0 h 389477"/>
                <a:gd name="connsiteX10" fmla="*/ 278892 w 397954"/>
                <a:gd name="connsiteY10" fmla="*/ 15240 h 389477"/>
                <a:gd name="connsiteX11" fmla="*/ 341757 w 397954"/>
                <a:gd name="connsiteY11" fmla="*/ 56959 h 389477"/>
                <a:gd name="connsiteX12" fmla="*/ 383096 w 397954"/>
                <a:gd name="connsiteY12" fmla="*/ 118396 h 389477"/>
                <a:gd name="connsiteX13" fmla="*/ 397955 w 397954"/>
                <a:gd name="connsiteY13" fmla="*/ 193643 h 389477"/>
                <a:gd name="connsiteX14" fmla="*/ 397955 w 397954"/>
                <a:gd name="connsiteY14" fmla="*/ 195072 h 389477"/>
                <a:gd name="connsiteX15" fmla="*/ 382714 w 397954"/>
                <a:gd name="connsiteY15" fmla="*/ 270034 h 389477"/>
                <a:gd name="connsiteX16" fmla="*/ 340995 w 397954"/>
                <a:gd name="connsiteY16" fmla="*/ 331851 h 389477"/>
                <a:gd name="connsiteX17" fmla="*/ 277749 w 397954"/>
                <a:gd name="connsiteY17" fmla="*/ 373856 h 389477"/>
                <a:gd name="connsiteX18" fmla="*/ 197834 w 397954"/>
                <a:gd name="connsiteY18" fmla="*/ 389382 h 389477"/>
                <a:gd name="connsiteX19" fmla="*/ 199263 w 397954"/>
                <a:gd name="connsiteY19" fmla="*/ 315278 h 389477"/>
                <a:gd name="connsiteX20" fmla="*/ 245936 w 397954"/>
                <a:gd name="connsiteY20" fmla="*/ 305753 h 389477"/>
                <a:gd name="connsiteX21" fmla="*/ 281369 w 397954"/>
                <a:gd name="connsiteY21" fmla="*/ 279940 h 389477"/>
                <a:gd name="connsiteX22" fmla="*/ 303848 w 397954"/>
                <a:gd name="connsiteY22" fmla="*/ 242125 h 389477"/>
                <a:gd name="connsiteX23" fmla="*/ 311563 w 397954"/>
                <a:gd name="connsiteY23" fmla="*/ 196501 h 389477"/>
                <a:gd name="connsiteX24" fmla="*/ 311563 w 397954"/>
                <a:gd name="connsiteY24" fmla="*/ 195072 h 389477"/>
                <a:gd name="connsiteX25" fmla="*/ 303181 w 397954"/>
                <a:gd name="connsiteY25" fmla="*/ 148400 h 389477"/>
                <a:gd name="connsiteX26" fmla="*/ 279654 w 397954"/>
                <a:gd name="connsiteY26" fmla="*/ 110204 h 389477"/>
                <a:gd name="connsiteX27" fmla="*/ 243840 w 397954"/>
                <a:gd name="connsiteY27" fmla="*/ 84392 h 389477"/>
                <a:gd name="connsiteX28" fmla="*/ 197834 w 397954"/>
                <a:gd name="connsiteY28" fmla="*/ 74867 h 389477"/>
                <a:gd name="connsiteX29" fmla="*/ 151829 w 397954"/>
                <a:gd name="connsiteY29" fmla="*/ 84392 h 389477"/>
                <a:gd name="connsiteX30" fmla="*/ 116396 w 397954"/>
                <a:gd name="connsiteY30" fmla="*/ 109823 h 389477"/>
                <a:gd name="connsiteX31" fmla="*/ 93916 w 397954"/>
                <a:gd name="connsiteY31" fmla="*/ 147638 h 389477"/>
                <a:gd name="connsiteX32" fmla="*/ 86201 w 397954"/>
                <a:gd name="connsiteY32" fmla="*/ 193548 h 389477"/>
                <a:gd name="connsiteX33" fmla="*/ 86201 w 397954"/>
                <a:gd name="connsiteY33" fmla="*/ 194977 h 389477"/>
                <a:gd name="connsiteX34" fmla="*/ 94583 w 397954"/>
                <a:gd name="connsiteY34" fmla="*/ 241268 h 389477"/>
                <a:gd name="connsiteX35" fmla="*/ 118110 w 397954"/>
                <a:gd name="connsiteY35" fmla="*/ 279463 h 389477"/>
                <a:gd name="connsiteX36" fmla="*/ 153924 w 397954"/>
                <a:gd name="connsiteY36" fmla="*/ 305562 h 389477"/>
                <a:gd name="connsiteX37" fmla="*/ 199263 w 397954"/>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954" h="389477">
                  <a:moveTo>
                    <a:pt x="197834" y="389477"/>
                  </a:moveTo>
                  <a:cubicBezTo>
                    <a:pt x="169545" y="389477"/>
                    <a:pt x="143351" y="384429"/>
                    <a:pt x="119063" y="374237"/>
                  </a:cubicBezTo>
                  <a:cubicBezTo>
                    <a:pt x="94774" y="364141"/>
                    <a:pt x="73819" y="350330"/>
                    <a:pt x="56198" y="332899"/>
                  </a:cubicBezTo>
                  <a:cubicBezTo>
                    <a:pt x="38576" y="315468"/>
                    <a:pt x="24765" y="294989"/>
                    <a:pt x="14859" y="271463"/>
                  </a:cubicBezTo>
                  <a:cubicBezTo>
                    <a:pt x="4953" y="247936"/>
                    <a:pt x="0" y="222980"/>
                    <a:pt x="0" y="196501"/>
                  </a:cubicBezTo>
                  <a:lnTo>
                    <a:pt x="0" y="195072"/>
                  </a:lnTo>
                  <a:cubicBezTo>
                    <a:pt x="0" y="168212"/>
                    <a:pt x="5049" y="143066"/>
                    <a:pt x="15240" y="119444"/>
                  </a:cubicBezTo>
                  <a:cubicBezTo>
                    <a:pt x="25337" y="95917"/>
                    <a:pt x="39243" y="75248"/>
                    <a:pt x="56960" y="57626"/>
                  </a:cubicBezTo>
                  <a:cubicBezTo>
                    <a:pt x="74676" y="39910"/>
                    <a:pt x="95631" y="25908"/>
                    <a:pt x="119825" y="15526"/>
                  </a:cubicBezTo>
                  <a:cubicBezTo>
                    <a:pt x="144113" y="5144"/>
                    <a:pt x="170593" y="0"/>
                    <a:pt x="199358" y="0"/>
                  </a:cubicBezTo>
                  <a:cubicBezTo>
                    <a:pt x="228124" y="0"/>
                    <a:pt x="254604" y="5048"/>
                    <a:pt x="278892" y="15240"/>
                  </a:cubicBezTo>
                  <a:cubicBezTo>
                    <a:pt x="303181" y="25337"/>
                    <a:pt x="324136" y="39243"/>
                    <a:pt x="341757" y="56959"/>
                  </a:cubicBezTo>
                  <a:cubicBezTo>
                    <a:pt x="359379" y="74676"/>
                    <a:pt x="373189" y="95155"/>
                    <a:pt x="383096" y="118396"/>
                  </a:cubicBezTo>
                  <a:cubicBezTo>
                    <a:pt x="393002" y="141732"/>
                    <a:pt x="397955" y="166783"/>
                    <a:pt x="397955" y="193643"/>
                  </a:cubicBezTo>
                  <a:lnTo>
                    <a:pt x="397955" y="195072"/>
                  </a:lnTo>
                  <a:cubicBezTo>
                    <a:pt x="397955" y="221456"/>
                    <a:pt x="392906" y="246412"/>
                    <a:pt x="382714" y="270034"/>
                  </a:cubicBezTo>
                  <a:cubicBezTo>
                    <a:pt x="372618" y="293561"/>
                    <a:pt x="358712" y="314230"/>
                    <a:pt x="340995" y="331851"/>
                  </a:cubicBezTo>
                  <a:cubicBezTo>
                    <a:pt x="323279" y="349472"/>
                    <a:pt x="302229" y="363569"/>
                    <a:pt x="277749" y="373856"/>
                  </a:cubicBezTo>
                  <a:cubicBezTo>
                    <a:pt x="253270" y="384238"/>
                    <a:pt x="226600" y="389382"/>
                    <a:pt x="197834" y="389382"/>
                  </a:cubicBezTo>
                  <a:close/>
                  <a:moveTo>
                    <a:pt x="199263" y="315278"/>
                  </a:moveTo>
                  <a:cubicBezTo>
                    <a:pt x="216598" y="315278"/>
                    <a:pt x="232124" y="312039"/>
                    <a:pt x="245936" y="305753"/>
                  </a:cubicBezTo>
                  <a:cubicBezTo>
                    <a:pt x="259747" y="299371"/>
                    <a:pt x="271558" y="290798"/>
                    <a:pt x="281369" y="279940"/>
                  </a:cubicBezTo>
                  <a:cubicBezTo>
                    <a:pt x="291179" y="269081"/>
                    <a:pt x="298704" y="256508"/>
                    <a:pt x="303848" y="242125"/>
                  </a:cubicBezTo>
                  <a:cubicBezTo>
                    <a:pt x="308991" y="227743"/>
                    <a:pt x="311563" y="212598"/>
                    <a:pt x="311563" y="196501"/>
                  </a:cubicBezTo>
                  <a:lnTo>
                    <a:pt x="311563" y="195072"/>
                  </a:lnTo>
                  <a:cubicBezTo>
                    <a:pt x="311563" y="178594"/>
                    <a:pt x="308706" y="163068"/>
                    <a:pt x="303181" y="148400"/>
                  </a:cubicBezTo>
                  <a:cubicBezTo>
                    <a:pt x="297561" y="133826"/>
                    <a:pt x="289750" y="121063"/>
                    <a:pt x="279654" y="110204"/>
                  </a:cubicBezTo>
                  <a:cubicBezTo>
                    <a:pt x="269557" y="99346"/>
                    <a:pt x="257651" y="90773"/>
                    <a:pt x="243840" y="84392"/>
                  </a:cubicBezTo>
                  <a:cubicBezTo>
                    <a:pt x="230029" y="78010"/>
                    <a:pt x="214694" y="74867"/>
                    <a:pt x="197834" y="74867"/>
                  </a:cubicBezTo>
                  <a:cubicBezTo>
                    <a:pt x="180975" y="74867"/>
                    <a:pt x="165640" y="78010"/>
                    <a:pt x="151829" y="84392"/>
                  </a:cubicBezTo>
                  <a:cubicBezTo>
                    <a:pt x="138017" y="90773"/>
                    <a:pt x="126206" y="99250"/>
                    <a:pt x="116396" y="109823"/>
                  </a:cubicBezTo>
                  <a:cubicBezTo>
                    <a:pt x="106585" y="120396"/>
                    <a:pt x="99060" y="133064"/>
                    <a:pt x="93916" y="147638"/>
                  </a:cubicBezTo>
                  <a:cubicBezTo>
                    <a:pt x="88773" y="162211"/>
                    <a:pt x="86201" y="177546"/>
                    <a:pt x="86201" y="193548"/>
                  </a:cubicBezTo>
                  <a:lnTo>
                    <a:pt x="86201" y="194977"/>
                  </a:lnTo>
                  <a:cubicBezTo>
                    <a:pt x="86201" y="211455"/>
                    <a:pt x="89059" y="226886"/>
                    <a:pt x="94583" y="241268"/>
                  </a:cubicBezTo>
                  <a:cubicBezTo>
                    <a:pt x="100203" y="255651"/>
                    <a:pt x="108014" y="268319"/>
                    <a:pt x="118110" y="279463"/>
                  </a:cubicBezTo>
                  <a:cubicBezTo>
                    <a:pt x="128207" y="290608"/>
                    <a:pt x="140113" y="299275"/>
                    <a:pt x="153924" y="305562"/>
                  </a:cubicBezTo>
                  <a:cubicBezTo>
                    <a:pt x="167735" y="311944"/>
                    <a:pt x="182785"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32" name="Freeform: Shape 31">
              <a:extLst>
                <a:ext uri="{FF2B5EF4-FFF2-40B4-BE49-F238E27FC236}">
                  <a16:creationId xmlns:a16="http://schemas.microsoft.com/office/drawing/2014/main" id="{2B7E7EC9-B5A0-67B3-5764-A93CE6364A72}"/>
                </a:ext>
              </a:extLst>
            </p:cNvPr>
            <p:cNvSpPr/>
            <p:nvPr/>
          </p:nvSpPr>
          <p:spPr>
            <a:xfrm>
              <a:off x="662071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1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7 w 296894"/>
                <a:gd name="connsiteY23" fmla="*/ 42863 h 386714"/>
                <a:gd name="connsiteX24" fmla="*/ 254318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7 w 296894"/>
                <a:gd name="connsiteY30" fmla="*/ 124587 h 386714"/>
                <a:gd name="connsiteX31" fmla="*/ 122682 w 296894"/>
                <a:gd name="connsiteY31" fmla="*/ 138017 h 386714"/>
                <a:gd name="connsiteX32" fmla="*/ 149543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6" y="348901"/>
                    <a:pt x="0" y="330327"/>
                  </a:cubicBezTo>
                  <a:lnTo>
                    <a:pt x="38195" y="272224"/>
                  </a:lnTo>
                  <a:cubicBezTo>
                    <a:pt x="58484" y="287274"/>
                    <a:pt x="79057" y="298704"/>
                    <a:pt x="100013" y="306514"/>
                  </a:cubicBezTo>
                  <a:cubicBezTo>
                    <a:pt x="120968" y="314325"/>
                    <a:pt x="141161" y="318135"/>
                    <a:pt x="160401" y="318135"/>
                  </a:cubicBezTo>
                  <a:cubicBezTo>
                    <a:pt x="179641" y="318135"/>
                    <a:pt x="192977"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1" y="241078"/>
                    <a:pt x="176498" y="237553"/>
                    <a:pt x="166401"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2" y="40195"/>
                    <a:pt x="56864" y="30385"/>
                  </a:cubicBezTo>
                  <a:cubicBezTo>
                    <a:pt x="68866" y="20479"/>
                    <a:pt x="82962" y="12954"/>
                    <a:pt x="99250" y="7810"/>
                  </a:cubicBezTo>
                  <a:cubicBezTo>
                    <a:pt x="115538" y="2667"/>
                    <a:pt x="132779" y="0"/>
                    <a:pt x="151162" y="0"/>
                  </a:cubicBezTo>
                  <a:cubicBezTo>
                    <a:pt x="174688" y="0"/>
                    <a:pt x="198501" y="3810"/>
                    <a:pt x="222504" y="11430"/>
                  </a:cubicBezTo>
                  <a:cubicBezTo>
                    <a:pt x="246507" y="19050"/>
                    <a:pt x="268414" y="29527"/>
                    <a:pt x="288227" y="42863"/>
                  </a:cubicBezTo>
                  <a:lnTo>
                    <a:pt x="254318"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7" y="124587"/>
                  </a:cubicBezTo>
                  <a:cubicBezTo>
                    <a:pt x="108585" y="129540"/>
                    <a:pt x="114871" y="134017"/>
                    <a:pt x="122682" y="138017"/>
                  </a:cubicBezTo>
                  <a:cubicBezTo>
                    <a:pt x="130493" y="142018"/>
                    <a:pt x="139351" y="145732"/>
                    <a:pt x="149543"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696"/>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33" name="Freeform: Shape 32">
              <a:extLst>
                <a:ext uri="{FF2B5EF4-FFF2-40B4-BE49-F238E27FC236}">
                  <a16:creationId xmlns:a16="http://schemas.microsoft.com/office/drawing/2014/main" id="{8F04DBC2-CA5F-5801-AA64-3899A6E43762}"/>
                </a:ext>
              </a:extLst>
            </p:cNvPr>
            <p:cNvSpPr/>
            <p:nvPr/>
          </p:nvSpPr>
          <p:spPr>
            <a:xfrm>
              <a:off x="526693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4 w 202977"/>
                <a:gd name="connsiteY17" fmla="*/ 19907 h 239267"/>
                <a:gd name="connsiteX18" fmla="*/ 59246 w 202977"/>
                <a:gd name="connsiteY18" fmla="*/ 5429 h 239267"/>
                <a:gd name="connsiteX19" fmla="*/ 104299 w 202977"/>
                <a:gd name="connsiteY19" fmla="*/ 0 h 239267"/>
                <a:gd name="connsiteX20" fmla="*/ 178880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5 w 202977"/>
                <a:gd name="connsiteY27" fmla="*/ 211169 h 239267"/>
                <a:gd name="connsiteX28" fmla="*/ 122968 w 202977"/>
                <a:gd name="connsiteY28" fmla="*/ 206788 h 239267"/>
                <a:gd name="connsiteX29" fmla="*/ 147257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9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9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3" y="99155"/>
                    <a:pt x="58674" y="95917"/>
                  </a:cubicBezTo>
                  <a:cubicBezTo>
                    <a:pt x="70771" y="92678"/>
                    <a:pt x="84011" y="90964"/>
                    <a:pt x="98584" y="90964"/>
                  </a:cubicBezTo>
                  <a:cubicBezTo>
                    <a:pt x="113157" y="90964"/>
                    <a:pt x="126301" y="91821"/>
                    <a:pt x="137160" y="93631"/>
                  </a:cubicBezTo>
                  <a:cubicBezTo>
                    <a:pt x="148019" y="95440"/>
                    <a:pt x="158687" y="97822"/>
                    <a:pt x="169069" y="100774"/>
                  </a:cubicBezTo>
                  <a:lnTo>
                    <a:pt x="169069" y="93726"/>
                  </a:lnTo>
                  <a:cubicBezTo>
                    <a:pt x="169069" y="73342"/>
                    <a:pt x="163068" y="57912"/>
                    <a:pt x="151162" y="47339"/>
                  </a:cubicBezTo>
                  <a:cubicBezTo>
                    <a:pt x="139256" y="36862"/>
                    <a:pt x="122492" y="31623"/>
                    <a:pt x="100679" y="31623"/>
                  </a:cubicBezTo>
                  <a:cubicBezTo>
                    <a:pt x="86963" y="31623"/>
                    <a:pt x="74581" y="33147"/>
                    <a:pt x="63437" y="36100"/>
                  </a:cubicBezTo>
                  <a:cubicBezTo>
                    <a:pt x="52292" y="39053"/>
                    <a:pt x="41339" y="43053"/>
                    <a:pt x="30671" y="48196"/>
                  </a:cubicBezTo>
                  <a:lnTo>
                    <a:pt x="20384" y="19907"/>
                  </a:lnTo>
                  <a:cubicBezTo>
                    <a:pt x="33147" y="13906"/>
                    <a:pt x="46101" y="9049"/>
                    <a:pt x="59246" y="5429"/>
                  </a:cubicBezTo>
                  <a:cubicBezTo>
                    <a:pt x="72295" y="1810"/>
                    <a:pt x="87344" y="0"/>
                    <a:pt x="104299" y="0"/>
                  </a:cubicBezTo>
                  <a:cubicBezTo>
                    <a:pt x="137065" y="0"/>
                    <a:pt x="161925" y="8477"/>
                    <a:pt x="178880"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99" y="239173"/>
                    <a:pt x="86011" y="239173"/>
                  </a:cubicBezTo>
                  <a:close/>
                  <a:moveTo>
                    <a:pt x="93155" y="211169"/>
                  </a:moveTo>
                  <a:cubicBezTo>
                    <a:pt x="103823" y="211169"/>
                    <a:pt x="113728" y="209740"/>
                    <a:pt x="122968" y="206788"/>
                  </a:cubicBezTo>
                  <a:cubicBezTo>
                    <a:pt x="132207" y="203835"/>
                    <a:pt x="140208" y="199644"/>
                    <a:pt x="147257"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9" y="121444"/>
                  </a:cubicBezTo>
                  <a:cubicBezTo>
                    <a:pt x="129445" y="119348"/>
                    <a:pt x="116776"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244" y="190500"/>
                    <a:pt x="47435" y="195358"/>
                    <a:pt x="52769" y="199263"/>
                  </a:cubicBezTo>
                  <a:cubicBezTo>
                    <a:pt x="58103" y="203073"/>
                    <a:pt x="64294" y="206026"/>
                    <a:pt x="71247" y="208121"/>
                  </a:cubicBezTo>
                  <a:cubicBezTo>
                    <a:pt x="78200" y="210217"/>
                    <a:pt x="85535"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34" name="Freeform: Shape 33">
              <a:extLst>
                <a:ext uri="{FF2B5EF4-FFF2-40B4-BE49-F238E27FC236}">
                  <a16:creationId xmlns:a16="http://schemas.microsoft.com/office/drawing/2014/main" id="{2D3DD127-36E2-A470-8EB0-03136F9890EF}"/>
                </a:ext>
              </a:extLst>
            </p:cNvPr>
            <p:cNvSpPr/>
            <p:nvPr/>
          </p:nvSpPr>
          <p:spPr>
            <a:xfrm>
              <a:off x="5331227"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9" y="303276"/>
                    <a:pt x="71438" y="300895"/>
                  </a:cubicBezTo>
                  <a:cubicBezTo>
                    <a:pt x="63437"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2"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5" name="Freeform: Shape 34">
              <a:extLst>
                <a:ext uri="{FF2B5EF4-FFF2-40B4-BE49-F238E27FC236}">
                  <a16:creationId xmlns:a16="http://schemas.microsoft.com/office/drawing/2014/main" id="{1336ABFF-B378-3927-5890-B1BC2B8CD668}"/>
                </a:ext>
              </a:extLst>
            </p:cNvPr>
            <p:cNvSpPr/>
            <p:nvPr/>
          </p:nvSpPr>
          <p:spPr>
            <a:xfrm>
              <a:off x="5381845"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191 w 39242"/>
                <a:gd name="connsiteY5" fmla="*/ 88392 h 319182"/>
                <a:gd name="connsiteX6" fmla="*/ 36576 w 39242"/>
                <a:gd name="connsiteY6" fmla="*/ 88392 h 319182"/>
                <a:gd name="connsiteX7" fmla="*/ 36576 w 39242"/>
                <a:gd name="connsiteY7" fmla="*/ 319183 h 319182"/>
                <a:gd name="connsiteX8" fmla="*/ 2191 w 39242"/>
                <a:gd name="connsiteY8" fmla="*/ 319183 h 319182"/>
                <a:gd name="connsiteX9" fmla="*/ 2191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191" y="88392"/>
                  </a:moveTo>
                  <a:lnTo>
                    <a:pt x="36576" y="88392"/>
                  </a:lnTo>
                  <a:lnTo>
                    <a:pt x="36576" y="319183"/>
                  </a:lnTo>
                  <a:lnTo>
                    <a:pt x="2191" y="319183"/>
                  </a:lnTo>
                  <a:lnTo>
                    <a:pt x="2191" y="88392"/>
                  </a:lnTo>
                  <a:close/>
                </a:path>
              </a:pathLst>
            </a:custGeom>
            <a:solidFill>
              <a:srgbClr val="44505E"/>
            </a:solidFill>
            <a:ln w="9525" cap="flat">
              <a:noFill/>
              <a:prstDash val="solid"/>
              <a:miter/>
            </a:ln>
          </p:spPr>
          <p:txBody>
            <a:bodyPr rtlCol="0" anchor="ctr"/>
            <a:lstStyle/>
            <a:p>
              <a:endParaRPr lang="pt-BR" noProof="0"/>
            </a:p>
          </p:txBody>
        </p:sp>
        <p:sp>
          <p:nvSpPr>
            <p:cNvPr id="36" name="Freeform: Shape 35">
              <a:extLst>
                <a:ext uri="{FF2B5EF4-FFF2-40B4-BE49-F238E27FC236}">
                  <a16:creationId xmlns:a16="http://schemas.microsoft.com/office/drawing/2014/main" id="{C98CE06B-A8D3-7E57-8CD1-E1CCDEE7D6AA}"/>
                </a:ext>
              </a:extLst>
            </p:cNvPr>
            <p:cNvSpPr/>
            <p:nvPr/>
          </p:nvSpPr>
          <p:spPr>
            <a:xfrm>
              <a:off x="5406076"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8" y="303276"/>
                    <a:pt x="71438" y="300895"/>
                  </a:cubicBezTo>
                  <a:cubicBezTo>
                    <a:pt x="63436"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1"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7" name="Freeform: Shape 36">
              <a:extLst>
                <a:ext uri="{FF2B5EF4-FFF2-40B4-BE49-F238E27FC236}">
                  <a16:creationId xmlns:a16="http://schemas.microsoft.com/office/drawing/2014/main" id="{EA6E7B94-C13B-30CA-8EF4-F47FB16A0A3F}"/>
                </a:ext>
              </a:extLst>
            </p:cNvPr>
            <p:cNvSpPr/>
            <p:nvPr/>
          </p:nvSpPr>
          <p:spPr>
            <a:xfrm>
              <a:off x="5455545" y="925297"/>
              <a:ext cx="50594" cy="59238"/>
            </a:xfrm>
            <a:custGeom>
              <a:avLst/>
              <a:gdLst>
                <a:gd name="connsiteX0" fmla="*/ 88392 w 201263"/>
                <a:gd name="connsiteY0" fmla="*/ 235648 h 235648"/>
                <a:gd name="connsiteX1" fmla="*/ 51149 w 201263"/>
                <a:gd name="connsiteY1" fmla="*/ 228981 h 235648"/>
                <a:gd name="connsiteX2" fmla="*/ 23431 w 201263"/>
                <a:gd name="connsiteY2" fmla="*/ 210026 h 235648"/>
                <a:gd name="connsiteX3" fmla="*/ 6001 w 201263"/>
                <a:gd name="connsiteY3" fmla="*/ 180784 h 235648"/>
                <a:gd name="connsiteX4" fmla="*/ 0 w 201263"/>
                <a:gd name="connsiteY4" fmla="*/ 143256 h 235648"/>
                <a:gd name="connsiteX5" fmla="*/ 0 w 201263"/>
                <a:gd name="connsiteY5" fmla="*/ 0 h 235648"/>
                <a:gd name="connsiteX6" fmla="*/ 34385 w 201263"/>
                <a:gd name="connsiteY6" fmla="*/ 0 h 235648"/>
                <a:gd name="connsiteX7" fmla="*/ 34385 w 201263"/>
                <a:gd name="connsiteY7" fmla="*/ 134493 h 235648"/>
                <a:gd name="connsiteX8" fmla="*/ 50864 w 201263"/>
                <a:gd name="connsiteY8" fmla="*/ 185261 h 235648"/>
                <a:gd name="connsiteX9" fmla="*/ 98203 w 201263"/>
                <a:gd name="connsiteY9" fmla="*/ 203930 h 235648"/>
                <a:gd name="connsiteX10" fmla="*/ 125635 w 201263"/>
                <a:gd name="connsiteY10" fmla="*/ 198787 h 235648"/>
                <a:gd name="connsiteX11" fmla="*/ 147542 w 201263"/>
                <a:gd name="connsiteY11" fmla="*/ 184118 h 235648"/>
                <a:gd name="connsiteX12" fmla="*/ 162020 w 201263"/>
                <a:gd name="connsiteY12" fmla="*/ 161163 h 235648"/>
                <a:gd name="connsiteX13" fmla="*/ 167354 w 201263"/>
                <a:gd name="connsiteY13" fmla="*/ 131826 h 235648"/>
                <a:gd name="connsiteX14" fmla="*/ 167354 w 201263"/>
                <a:gd name="connsiteY14" fmla="*/ 0 h 235648"/>
                <a:gd name="connsiteX15" fmla="*/ 201263 w 201263"/>
                <a:gd name="connsiteY15" fmla="*/ 0 h 235648"/>
                <a:gd name="connsiteX16" fmla="*/ 201263 w 201263"/>
                <a:gd name="connsiteY16" fmla="*/ 230791 h 235648"/>
                <a:gd name="connsiteX17" fmla="*/ 167354 w 201263"/>
                <a:gd name="connsiteY17" fmla="*/ 230791 h 235648"/>
                <a:gd name="connsiteX18" fmla="*/ 167354 w 201263"/>
                <a:gd name="connsiteY18" fmla="*/ 190595 h 235648"/>
                <a:gd name="connsiteX19" fmla="*/ 136969 w 201263"/>
                <a:gd name="connsiteY19" fmla="*/ 222504 h 235648"/>
                <a:gd name="connsiteX20" fmla="*/ 88297 w 201263"/>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263" h="235648">
                  <a:moveTo>
                    <a:pt x="88392" y="235648"/>
                  </a:moveTo>
                  <a:cubicBezTo>
                    <a:pt x="74390" y="235648"/>
                    <a:pt x="62008" y="233363"/>
                    <a:pt x="51149" y="228981"/>
                  </a:cubicBezTo>
                  <a:cubicBezTo>
                    <a:pt x="40291" y="224504"/>
                    <a:pt x="31052" y="218218"/>
                    <a:pt x="23431"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864" y="185261"/>
                  </a:cubicBezTo>
                  <a:cubicBezTo>
                    <a:pt x="61913" y="197739"/>
                    <a:pt x="77629" y="203930"/>
                    <a:pt x="98203" y="203930"/>
                  </a:cubicBezTo>
                  <a:cubicBezTo>
                    <a:pt x="108014" y="203930"/>
                    <a:pt x="117158" y="202216"/>
                    <a:pt x="125635" y="198787"/>
                  </a:cubicBezTo>
                  <a:cubicBezTo>
                    <a:pt x="134112" y="195358"/>
                    <a:pt x="141351" y="190500"/>
                    <a:pt x="147542" y="184118"/>
                  </a:cubicBezTo>
                  <a:cubicBezTo>
                    <a:pt x="153638" y="177736"/>
                    <a:pt x="158496" y="170116"/>
                    <a:pt x="162020" y="161163"/>
                  </a:cubicBezTo>
                  <a:cubicBezTo>
                    <a:pt x="165640" y="152305"/>
                    <a:pt x="167354" y="142494"/>
                    <a:pt x="167354" y="131826"/>
                  </a:cubicBezTo>
                  <a:lnTo>
                    <a:pt x="167354" y="0"/>
                  </a:lnTo>
                  <a:lnTo>
                    <a:pt x="201263" y="0"/>
                  </a:lnTo>
                  <a:lnTo>
                    <a:pt x="201263" y="230791"/>
                  </a:lnTo>
                  <a:lnTo>
                    <a:pt x="167354" y="230791"/>
                  </a:lnTo>
                  <a:lnTo>
                    <a:pt x="167354" y="190595"/>
                  </a:lnTo>
                  <a:cubicBezTo>
                    <a:pt x="159639" y="203073"/>
                    <a:pt x="149447" y="213741"/>
                    <a:pt x="136969" y="222504"/>
                  </a:cubicBezTo>
                  <a:cubicBezTo>
                    <a:pt x="124492" y="231267"/>
                    <a:pt x="108299" y="235648"/>
                    <a:pt x="88297" y="235648"/>
                  </a:cubicBezTo>
                  <a:close/>
                </a:path>
              </a:pathLst>
            </a:custGeom>
            <a:solidFill>
              <a:srgbClr val="44505E"/>
            </a:solidFill>
            <a:ln w="9525" cap="flat">
              <a:noFill/>
              <a:prstDash val="solid"/>
              <a:miter/>
            </a:ln>
          </p:spPr>
          <p:txBody>
            <a:bodyPr rtlCol="0" anchor="ctr"/>
            <a:lstStyle/>
            <a:p>
              <a:endParaRPr lang="pt-BR" noProof="0"/>
            </a:p>
          </p:txBody>
        </p:sp>
        <p:sp>
          <p:nvSpPr>
            <p:cNvPr id="38" name="Freeform: Shape 37">
              <a:extLst>
                <a:ext uri="{FF2B5EF4-FFF2-40B4-BE49-F238E27FC236}">
                  <a16:creationId xmlns:a16="http://schemas.microsoft.com/office/drawing/2014/main" id="{14B335D0-7F6D-697E-BF5B-0A1E769C796F}"/>
                </a:ext>
              </a:extLst>
            </p:cNvPr>
            <p:cNvSpPr/>
            <p:nvPr/>
          </p:nvSpPr>
          <p:spPr>
            <a:xfrm>
              <a:off x="5522205" y="901353"/>
              <a:ext cx="58567" cy="83182"/>
            </a:xfrm>
            <a:custGeom>
              <a:avLst/>
              <a:gdLst>
                <a:gd name="connsiteX0" fmla="*/ 110204 w 232981"/>
                <a:gd name="connsiteY0" fmla="*/ 330898 h 330898"/>
                <a:gd name="connsiteX1" fmla="*/ 69628 w 232981"/>
                <a:gd name="connsiteY1" fmla="*/ 322897 h 330898"/>
                <a:gd name="connsiteX2" fmla="*/ 34385 w 232981"/>
                <a:gd name="connsiteY2" fmla="*/ 299466 h 330898"/>
                <a:gd name="connsiteX3" fmla="*/ 9334 w 232981"/>
                <a:gd name="connsiteY3" fmla="*/ 261938 h 330898"/>
                <a:gd name="connsiteX4" fmla="*/ 0 w 232981"/>
                <a:gd name="connsiteY4" fmla="*/ 211264 h 330898"/>
                <a:gd name="connsiteX5" fmla="*/ 0 w 232981"/>
                <a:gd name="connsiteY5" fmla="*/ 210407 h 330898"/>
                <a:gd name="connsiteX6" fmla="*/ 9334 w 232981"/>
                <a:gd name="connsiteY6" fmla="*/ 159925 h 330898"/>
                <a:gd name="connsiteX7" fmla="*/ 34385 w 232981"/>
                <a:gd name="connsiteY7" fmla="*/ 122206 h 330898"/>
                <a:gd name="connsiteX8" fmla="*/ 69628 w 232981"/>
                <a:gd name="connsiteY8" fmla="*/ 98488 h 330898"/>
                <a:gd name="connsiteX9" fmla="*/ 110204 w 232981"/>
                <a:gd name="connsiteY9" fmla="*/ 90202 h 330898"/>
                <a:gd name="connsiteX10" fmla="*/ 139636 w 232981"/>
                <a:gd name="connsiteY10" fmla="*/ 94202 h 330898"/>
                <a:gd name="connsiteX11" fmla="*/ 163735 w 232981"/>
                <a:gd name="connsiteY11" fmla="*/ 104870 h 330898"/>
                <a:gd name="connsiteX12" fmla="*/ 183166 w 232981"/>
                <a:gd name="connsiteY12" fmla="*/ 120491 h 330898"/>
                <a:gd name="connsiteX13" fmla="*/ 198596 w 232981"/>
                <a:gd name="connsiteY13" fmla="*/ 139255 h 330898"/>
                <a:gd name="connsiteX14" fmla="*/ 198596 w 232981"/>
                <a:gd name="connsiteY14" fmla="*/ 0 h 330898"/>
                <a:gd name="connsiteX15" fmla="*/ 232981 w 232981"/>
                <a:gd name="connsiteY15" fmla="*/ 0 h 330898"/>
                <a:gd name="connsiteX16" fmla="*/ 232981 w 232981"/>
                <a:gd name="connsiteY16" fmla="*/ 325850 h 330898"/>
                <a:gd name="connsiteX17" fmla="*/ 198596 w 232981"/>
                <a:gd name="connsiteY17" fmla="*/ 325850 h 330898"/>
                <a:gd name="connsiteX18" fmla="*/ 198596 w 232981"/>
                <a:gd name="connsiteY18" fmla="*/ 279463 h 330898"/>
                <a:gd name="connsiteX19" fmla="*/ 182785 w 232981"/>
                <a:gd name="connsiteY19" fmla="*/ 299085 h 330898"/>
                <a:gd name="connsiteX20" fmla="*/ 163354 w 232981"/>
                <a:gd name="connsiteY20" fmla="*/ 315658 h 330898"/>
                <a:gd name="connsiteX21" fmla="*/ 139446 w 232981"/>
                <a:gd name="connsiteY21" fmla="*/ 326803 h 330898"/>
                <a:gd name="connsiteX22" fmla="*/ 110204 w 232981"/>
                <a:gd name="connsiteY22" fmla="*/ 330803 h 330898"/>
                <a:gd name="connsiteX23" fmla="*/ 116491 w 232981"/>
                <a:gd name="connsiteY23" fmla="*/ 300133 h 330898"/>
                <a:gd name="connsiteX24" fmla="*/ 147542 w 232981"/>
                <a:gd name="connsiteY24" fmla="*/ 293656 h 330898"/>
                <a:gd name="connsiteX25" fmla="*/ 174307 w 232981"/>
                <a:gd name="connsiteY25" fmla="*/ 275368 h 330898"/>
                <a:gd name="connsiteX26" fmla="*/ 193072 w 232981"/>
                <a:gd name="connsiteY26" fmla="*/ 247269 h 330898"/>
                <a:gd name="connsiteX27" fmla="*/ 200025 w 232981"/>
                <a:gd name="connsiteY27" fmla="*/ 210883 h 330898"/>
                <a:gd name="connsiteX28" fmla="*/ 200025 w 232981"/>
                <a:gd name="connsiteY28" fmla="*/ 210026 h 330898"/>
                <a:gd name="connsiteX29" fmla="*/ 193072 w 232981"/>
                <a:gd name="connsiteY29" fmla="*/ 173641 h 330898"/>
                <a:gd name="connsiteX30" fmla="*/ 174307 w 232981"/>
                <a:gd name="connsiteY30" fmla="*/ 145732 h 330898"/>
                <a:gd name="connsiteX31" fmla="*/ 147542 w 232981"/>
                <a:gd name="connsiteY31" fmla="*/ 127635 h 330898"/>
                <a:gd name="connsiteX32" fmla="*/ 116491 w 232981"/>
                <a:gd name="connsiteY32" fmla="*/ 121158 h 330898"/>
                <a:gd name="connsiteX33" fmla="*/ 84772 w 232981"/>
                <a:gd name="connsiteY33" fmla="*/ 127159 h 330898"/>
                <a:gd name="connsiteX34" fmla="*/ 59150 w 232981"/>
                <a:gd name="connsiteY34" fmla="*/ 144589 h 330898"/>
                <a:gd name="connsiteX35" fmla="*/ 41719 w 232981"/>
                <a:gd name="connsiteY35" fmla="*/ 172498 h 330898"/>
                <a:gd name="connsiteX36" fmla="*/ 35242 w 232981"/>
                <a:gd name="connsiteY36" fmla="*/ 210026 h 330898"/>
                <a:gd name="connsiteX37" fmla="*/ 35242 w 232981"/>
                <a:gd name="connsiteY37" fmla="*/ 210883 h 330898"/>
                <a:gd name="connsiteX38" fmla="*/ 41719 w 232981"/>
                <a:gd name="connsiteY38" fmla="*/ 247936 h 330898"/>
                <a:gd name="connsiteX39" fmla="*/ 59341 w 232981"/>
                <a:gd name="connsiteY39" fmla="*/ 276034 h 330898"/>
                <a:gd name="connsiteX40" fmla="*/ 85249 w 232981"/>
                <a:gd name="connsiteY40" fmla="*/ 293941 h 330898"/>
                <a:gd name="connsiteX41" fmla="*/ 116491 w 23298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30898">
                  <a:moveTo>
                    <a:pt x="110204" y="330898"/>
                  </a:moveTo>
                  <a:cubicBezTo>
                    <a:pt x="96202" y="330898"/>
                    <a:pt x="82677" y="328231"/>
                    <a:pt x="69628" y="322897"/>
                  </a:cubicBezTo>
                  <a:cubicBezTo>
                    <a:pt x="56578" y="317563"/>
                    <a:pt x="44767" y="309753"/>
                    <a:pt x="34385" y="299466"/>
                  </a:cubicBezTo>
                  <a:cubicBezTo>
                    <a:pt x="24003" y="289179"/>
                    <a:pt x="15621" y="276701"/>
                    <a:pt x="9334" y="261938"/>
                  </a:cubicBezTo>
                  <a:cubicBezTo>
                    <a:pt x="3048" y="247174"/>
                    <a:pt x="0" y="230314"/>
                    <a:pt x="0" y="211264"/>
                  </a:cubicBezTo>
                  <a:lnTo>
                    <a:pt x="0" y="210407"/>
                  </a:lnTo>
                  <a:cubicBezTo>
                    <a:pt x="0" y="191643"/>
                    <a:pt x="3143" y="174879"/>
                    <a:pt x="9334" y="159925"/>
                  </a:cubicBezTo>
                  <a:cubicBezTo>
                    <a:pt x="15621" y="145066"/>
                    <a:pt x="23908" y="132493"/>
                    <a:pt x="34385" y="122206"/>
                  </a:cubicBezTo>
                  <a:cubicBezTo>
                    <a:pt x="44767" y="111919"/>
                    <a:pt x="56578" y="104013"/>
                    <a:pt x="69628" y="98488"/>
                  </a:cubicBezTo>
                  <a:cubicBezTo>
                    <a:pt x="82677" y="92964"/>
                    <a:pt x="96298" y="90202"/>
                    <a:pt x="110204" y="90202"/>
                  </a:cubicBezTo>
                  <a:cubicBezTo>
                    <a:pt x="120967" y="90202"/>
                    <a:pt x="130778" y="91535"/>
                    <a:pt x="139636" y="94202"/>
                  </a:cubicBezTo>
                  <a:cubicBezTo>
                    <a:pt x="148590" y="96869"/>
                    <a:pt x="156591" y="100489"/>
                    <a:pt x="163735" y="104870"/>
                  </a:cubicBezTo>
                  <a:cubicBezTo>
                    <a:pt x="170878" y="109347"/>
                    <a:pt x="177356" y="114586"/>
                    <a:pt x="183166" y="120491"/>
                  </a:cubicBezTo>
                  <a:cubicBezTo>
                    <a:pt x="188976" y="126492"/>
                    <a:pt x="194119" y="132683"/>
                    <a:pt x="198596" y="139255"/>
                  </a:cubicBezTo>
                  <a:lnTo>
                    <a:pt x="198596" y="0"/>
                  </a:lnTo>
                  <a:lnTo>
                    <a:pt x="232981" y="0"/>
                  </a:lnTo>
                  <a:lnTo>
                    <a:pt x="232981" y="325850"/>
                  </a:lnTo>
                  <a:lnTo>
                    <a:pt x="198596" y="325850"/>
                  </a:lnTo>
                  <a:lnTo>
                    <a:pt x="198596" y="279463"/>
                  </a:lnTo>
                  <a:cubicBezTo>
                    <a:pt x="193834" y="286321"/>
                    <a:pt x="188595" y="292894"/>
                    <a:pt x="182785" y="299085"/>
                  </a:cubicBezTo>
                  <a:cubicBezTo>
                    <a:pt x="176974" y="305371"/>
                    <a:pt x="170498" y="310896"/>
                    <a:pt x="163354" y="315658"/>
                  </a:cubicBezTo>
                  <a:cubicBezTo>
                    <a:pt x="156210" y="320421"/>
                    <a:pt x="148209" y="324136"/>
                    <a:pt x="139446" y="326803"/>
                  </a:cubicBezTo>
                  <a:cubicBezTo>
                    <a:pt x="130683" y="329470"/>
                    <a:pt x="120967" y="330803"/>
                    <a:pt x="110204" y="330803"/>
                  </a:cubicBezTo>
                  <a:close/>
                  <a:moveTo>
                    <a:pt x="116491" y="300133"/>
                  </a:moveTo>
                  <a:cubicBezTo>
                    <a:pt x="127159" y="300133"/>
                    <a:pt x="137541" y="297942"/>
                    <a:pt x="147542" y="293656"/>
                  </a:cubicBezTo>
                  <a:cubicBezTo>
                    <a:pt x="157544" y="289369"/>
                    <a:pt x="166402" y="283273"/>
                    <a:pt x="174307" y="275368"/>
                  </a:cubicBezTo>
                  <a:cubicBezTo>
                    <a:pt x="182213" y="267462"/>
                    <a:pt x="188404" y="258127"/>
                    <a:pt x="193072" y="247269"/>
                  </a:cubicBezTo>
                  <a:cubicBezTo>
                    <a:pt x="197644" y="236410"/>
                    <a:pt x="200025" y="224314"/>
                    <a:pt x="200025" y="210883"/>
                  </a:cubicBezTo>
                  <a:lnTo>
                    <a:pt x="200025" y="210026"/>
                  </a:lnTo>
                  <a:cubicBezTo>
                    <a:pt x="200025" y="196596"/>
                    <a:pt x="197739" y="184499"/>
                    <a:pt x="193072" y="173641"/>
                  </a:cubicBezTo>
                  <a:cubicBezTo>
                    <a:pt x="188500" y="162782"/>
                    <a:pt x="182213" y="153448"/>
                    <a:pt x="174307" y="145732"/>
                  </a:cubicBezTo>
                  <a:cubicBezTo>
                    <a:pt x="166402" y="138017"/>
                    <a:pt x="157448" y="132016"/>
                    <a:pt x="147542" y="127635"/>
                  </a:cubicBezTo>
                  <a:cubicBezTo>
                    <a:pt x="137541" y="123349"/>
                    <a:pt x="127254" y="121158"/>
                    <a:pt x="116491" y="121158"/>
                  </a:cubicBezTo>
                  <a:cubicBezTo>
                    <a:pt x="105156" y="121158"/>
                    <a:pt x="94583" y="123158"/>
                    <a:pt x="84772" y="127159"/>
                  </a:cubicBezTo>
                  <a:cubicBezTo>
                    <a:pt x="74962" y="131159"/>
                    <a:pt x="66389" y="136969"/>
                    <a:pt x="59150" y="144589"/>
                  </a:cubicBezTo>
                  <a:cubicBezTo>
                    <a:pt x="51816" y="152114"/>
                    <a:pt x="46101" y="161449"/>
                    <a:pt x="41719" y="172498"/>
                  </a:cubicBezTo>
                  <a:cubicBezTo>
                    <a:pt x="37433" y="183451"/>
                    <a:pt x="35242" y="196024"/>
                    <a:pt x="35242" y="210026"/>
                  </a:cubicBezTo>
                  <a:lnTo>
                    <a:pt x="35242" y="210883"/>
                  </a:lnTo>
                  <a:cubicBezTo>
                    <a:pt x="35242" y="224599"/>
                    <a:pt x="37433" y="236982"/>
                    <a:pt x="41719" y="247936"/>
                  </a:cubicBezTo>
                  <a:cubicBezTo>
                    <a:pt x="46006" y="258984"/>
                    <a:pt x="51911" y="268319"/>
                    <a:pt x="59341" y="276034"/>
                  </a:cubicBezTo>
                  <a:cubicBezTo>
                    <a:pt x="66770" y="283750"/>
                    <a:pt x="75438" y="289750"/>
                    <a:pt x="85249" y="293941"/>
                  </a:cubicBezTo>
                  <a:cubicBezTo>
                    <a:pt x="95059" y="298132"/>
                    <a:pt x="105442" y="300228"/>
                    <a:pt x="116491" y="300228"/>
                  </a:cubicBezTo>
                  <a:close/>
                </a:path>
              </a:pathLst>
            </a:custGeom>
            <a:solidFill>
              <a:srgbClr val="44505E"/>
            </a:solidFill>
            <a:ln w="9525" cap="flat">
              <a:noFill/>
              <a:prstDash val="solid"/>
              <a:miter/>
            </a:ln>
          </p:spPr>
          <p:txBody>
            <a:bodyPr rtlCol="0" anchor="ctr"/>
            <a:lstStyle/>
            <a:p>
              <a:endParaRPr lang="pt-BR" noProof="0"/>
            </a:p>
          </p:txBody>
        </p:sp>
        <p:sp>
          <p:nvSpPr>
            <p:cNvPr id="39" name="Freeform: Shape 38">
              <a:extLst>
                <a:ext uri="{FF2B5EF4-FFF2-40B4-BE49-F238E27FC236}">
                  <a16:creationId xmlns:a16="http://schemas.microsoft.com/office/drawing/2014/main" id="{3F7553E0-3438-A480-55C7-C61FA77E9CD0}"/>
                </a:ext>
              </a:extLst>
            </p:cNvPr>
            <p:cNvSpPr/>
            <p:nvPr/>
          </p:nvSpPr>
          <p:spPr>
            <a:xfrm>
              <a:off x="5596504"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6963 w 218217"/>
                <a:gd name="connsiteY3" fmla="*/ 206026 h 241077"/>
                <a:gd name="connsiteX4" fmla="*/ 116015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8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1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452 w 218217"/>
                <a:gd name="connsiteY25" fmla="*/ 106299 h 241077"/>
                <a:gd name="connsiteX26" fmla="*/ 176784 w 218217"/>
                <a:gd name="connsiteY26" fmla="*/ 76771 h 241077"/>
                <a:gd name="connsiteX27" fmla="*/ 162306 w 218217"/>
                <a:gd name="connsiteY27" fmla="*/ 52101 h 241077"/>
                <a:gd name="connsiteX28" fmla="*/ 140018 w 218217"/>
                <a:gd name="connsiteY28" fmla="*/ 35242 h 241077"/>
                <a:gd name="connsiteX29" fmla="*/ 109919 w 218217"/>
                <a:gd name="connsiteY29" fmla="*/ 29051 h 241077"/>
                <a:gd name="connsiteX30" fmla="*/ 82201 w 218217"/>
                <a:gd name="connsiteY30" fmla="*/ 34766 h 241077"/>
                <a:gd name="connsiteX31" fmla="*/ 59436 w 218217"/>
                <a:gd name="connsiteY31" fmla="*/ 50959 h 241077"/>
                <a:gd name="connsiteX32" fmla="*/ 43148 w 218217"/>
                <a:gd name="connsiteY32" fmla="*/ 75628 h 241077"/>
                <a:gd name="connsiteX33" fmla="*/ 34862 w 218217"/>
                <a:gd name="connsiteY33" fmla="*/ 106204 h 241077"/>
                <a:gd name="connsiteX34" fmla="*/ 183547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724" y="202597"/>
                    <a:pt x="86963" y="206026"/>
                  </a:cubicBezTo>
                  <a:cubicBezTo>
                    <a:pt x="96203" y="209455"/>
                    <a:pt x="105823" y="211169"/>
                    <a:pt x="116015" y="211169"/>
                  </a:cubicBezTo>
                  <a:cubicBezTo>
                    <a:pt x="132112" y="211169"/>
                    <a:pt x="145828" y="208216"/>
                    <a:pt x="157353" y="202216"/>
                  </a:cubicBezTo>
                  <a:cubicBezTo>
                    <a:pt x="168783" y="196310"/>
                    <a:pt x="179261" y="188404"/>
                    <a:pt x="188786" y="178594"/>
                  </a:cubicBezTo>
                  <a:lnTo>
                    <a:pt x="210217" y="197834"/>
                  </a:lnTo>
                  <a:cubicBezTo>
                    <a:pt x="198596" y="210979"/>
                    <a:pt x="185357" y="221361"/>
                    <a:pt x="170498" y="229267"/>
                  </a:cubicBezTo>
                  <a:cubicBezTo>
                    <a:pt x="155639"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679" y="0"/>
                    <a:pt x="110681"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452" y="106299"/>
                  </a:moveTo>
                  <a:cubicBezTo>
                    <a:pt x="182594" y="95917"/>
                    <a:pt x="180308" y="86106"/>
                    <a:pt x="176784" y="76771"/>
                  </a:cubicBezTo>
                  <a:cubicBezTo>
                    <a:pt x="173165" y="67437"/>
                    <a:pt x="168402" y="59245"/>
                    <a:pt x="162306" y="52101"/>
                  </a:cubicBezTo>
                  <a:cubicBezTo>
                    <a:pt x="156210" y="44958"/>
                    <a:pt x="148781" y="39338"/>
                    <a:pt x="140018" y="35242"/>
                  </a:cubicBezTo>
                  <a:cubicBezTo>
                    <a:pt x="131254" y="31147"/>
                    <a:pt x="121158" y="29051"/>
                    <a:pt x="109919" y="29051"/>
                  </a:cubicBezTo>
                  <a:cubicBezTo>
                    <a:pt x="100108" y="29051"/>
                    <a:pt x="90869" y="30956"/>
                    <a:pt x="82201" y="34766"/>
                  </a:cubicBezTo>
                  <a:cubicBezTo>
                    <a:pt x="73533" y="38671"/>
                    <a:pt x="66008" y="44005"/>
                    <a:pt x="59436" y="50959"/>
                  </a:cubicBezTo>
                  <a:cubicBezTo>
                    <a:pt x="52864" y="57912"/>
                    <a:pt x="47435" y="66103"/>
                    <a:pt x="43148" y="75628"/>
                  </a:cubicBezTo>
                  <a:cubicBezTo>
                    <a:pt x="38862" y="85058"/>
                    <a:pt x="36100" y="95345"/>
                    <a:pt x="34862" y="106204"/>
                  </a:cubicBezTo>
                  <a:lnTo>
                    <a:pt x="183547" y="106204"/>
                  </a:lnTo>
                  <a:close/>
                </a:path>
              </a:pathLst>
            </a:custGeom>
            <a:solidFill>
              <a:srgbClr val="44505E"/>
            </a:solidFill>
            <a:ln w="9525" cap="flat">
              <a:noFill/>
              <a:prstDash val="solid"/>
              <a:miter/>
            </a:ln>
          </p:spPr>
          <p:txBody>
            <a:bodyPr rtlCol="0" anchor="ctr"/>
            <a:lstStyle/>
            <a:p>
              <a:endParaRPr lang="pt-BR" noProof="0"/>
            </a:p>
          </p:txBody>
        </p:sp>
        <p:sp>
          <p:nvSpPr>
            <p:cNvPr id="40" name="Freeform: Shape 39">
              <a:extLst>
                <a:ext uri="{FF2B5EF4-FFF2-40B4-BE49-F238E27FC236}">
                  <a16:creationId xmlns:a16="http://schemas.microsoft.com/office/drawing/2014/main" id="{ABB3B440-6E4F-D12C-7F5B-F1553C0E6D17}"/>
                </a:ext>
              </a:extLst>
            </p:cNvPr>
            <p:cNvSpPr/>
            <p:nvPr/>
          </p:nvSpPr>
          <p:spPr>
            <a:xfrm>
              <a:off x="5661680" y="924268"/>
              <a:ext cx="44656" cy="60195"/>
            </a:xfrm>
            <a:custGeom>
              <a:avLst/>
              <a:gdLst>
                <a:gd name="connsiteX0" fmla="*/ 95536 w 177641"/>
                <a:gd name="connsiteY0" fmla="*/ 239268 h 239458"/>
                <a:gd name="connsiteX1" fmla="*/ 45053 w 177641"/>
                <a:gd name="connsiteY1" fmla="*/ 230124 h 239458"/>
                <a:gd name="connsiteX2" fmla="*/ 0 w 177641"/>
                <a:gd name="connsiteY2" fmla="*/ 205359 h 239458"/>
                <a:gd name="connsiteX3" fmla="*/ 17431 w 177641"/>
                <a:gd name="connsiteY3" fmla="*/ 180785 h 239458"/>
                <a:gd name="connsiteX4" fmla="*/ 56483 w 177641"/>
                <a:gd name="connsiteY4" fmla="*/ 202692 h 239458"/>
                <a:gd name="connsiteX5" fmla="*/ 97346 w 177641"/>
                <a:gd name="connsiteY5" fmla="*/ 210217 h 239458"/>
                <a:gd name="connsiteX6" fmla="*/ 131731 w 177641"/>
                <a:gd name="connsiteY6" fmla="*/ 200406 h 239458"/>
                <a:gd name="connsiteX7" fmla="*/ 145161 w 177641"/>
                <a:gd name="connsiteY7" fmla="*/ 173641 h 239458"/>
                <a:gd name="connsiteX8" fmla="*/ 145161 w 177641"/>
                <a:gd name="connsiteY8" fmla="*/ 172784 h 239458"/>
                <a:gd name="connsiteX9" fmla="*/ 140494 w 177641"/>
                <a:gd name="connsiteY9" fmla="*/ 158020 h 239458"/>
                <a:gd name="connsiteX10" fmla="*/ 127730 w 177641"/>
                <a:gd name="connsiteY10" fmla="*/ 147066 h 239458"/>
                <a:gd name="connsiteX11" fmla="*/ 109157 w 177641"/>
                <a:gd name="connsiteY11" fmla="*/ 138779 h 239458"/>
                <a:gd name="connsiteX12" fmla="*/ 87535 w 177641"/>
                <a:gd name="connsiteY12" fmla="*/ 132112 h 239458"/>
                <a:gd name="connsiteX13" fmla="*/ 60484 w 177641"/>
                <a:gd name="connsiteY13" fmla="*/ 123444 h 239458"/>
                <a:gd name="connsiteX14" fmla="*/ 35909 w 177641"/>
                <a:gd name="connsiteY14" fmla="*/ 111633 h 239458"/>
                <a:gd name="connsiteX15" fmla="*/ 18098 w 177641"/>
                <a:gd name="connsiteY15" fmla="*/ 93726 h 239458"/>
                <a:gd name="connsiteX16" fmla="*/ 11144 w 177641"/>
                <a:gd name="connsiteY16" fmla="*/ 66961 h 239458"/>
                <a:gd name="connsiteX17" fmla="*/ 11144 w 177641"/>
                <a:gd name="connsiteY17" fmla="*/ 66008 h 239458"/>
                <a:gd name="connsiteX18" fmla="*/ 16954 w 177641"/>
                <a:gd name="connsiteY18" fmla="*/ 39053 h 239458"/>
                <a:gd name="connsiteX19" fmla="*/ 33242 w 177641"/>
                <a:gd name="connsiteY19" fmla="*/ 18098 h 239458"/>
                <a:gd name="connsiteX20" fmla="*/ 58293 w 177641"/>
                <a:gd name="connsiteY20" fmla="*/ 4667 h 239458"/>
                <a:gd name="connsiteX21" fmla="*/ 89725 w 177641"/>
                <a:gd name="connsiteY21" fmla="*/ 0 h 239458"/>
                <a:gd name="connsiteX22" fmla="*/ 133064 w 177641"/>
                <a:gd name="connsiteY22" fmla="*/ 6953 h 239458"/>
                <a:gd name="connsiteX23" fmla="*/ 172784 w 177641"/>
                <a:gd name="connsiteY23" fmla="*/ 25527 h 239458"/>
                <a:gd name="connsiteX24" fmla="*/ 157163 w 177641"/>
                <a:gd name="connsiteY24" fmla="*/ 51435 h 239458"/>
                <a:gd name="connsiteX25" fmla="*/ 123444 w 177641"/>
                <a:gd name="connsiteY25" fmla="*/ 35147 h 239458"/>
                <a:gd name="connsiteX26" fmla="*/ 88868 w 177641"/>
                <a:gd name="connsiteY26" fmla="*/ 29146 h 239458"/>
                <a:gd name="connsiteX27" fmla="*/ 56293 w 177641"/>
                <a:gd name="connsiteY27" fmla="*/ 38767 h 239458"/>
                <a:gd name="connsiteX28" fmla="*/ 44196 w 177641"/>
                <a:gd name="connsiteY28" fmla="*/ 62675 h 239458"/>
                <a:gd name="connsiteX29" fmla="*/ 44196 w 177641"/>
                <a:gd name="connsiteY29" fmla="*/ 63627 h 239458"/>
                <a:gd name="connsiteX30" fmla="*/ 49149 w 177641"/>
                <a:gd name="connsiteY30" fmla="*/ 77724 h 239458"/>
                <a:gd name="connsiteX31" fmla="*/ 62294 w 177641"/>
                <a:gd name="connsiteY31" fmla="*/ 88202 h 239458"/>
                <a:gd name="connsiteX32" fmla="*/ 81248 w 177641"/>
                <a:gd name="connsiteY32" fmla="*/ 96203 h 239458"/>
                <a:gd name="connsiteX33" fmla="*/ 103537 w 177641"/>
                <a:gd name="connsiteY33" fmla="*/ 103346 h 239458"/>
                <a:gd name="connsiteX34" fmla="*/ 130112 w 177641"/>
                <a:gd name="connsiteY34" fmla="*/ 112300 h 239458"/>
                <a:gd name="connsiteX35" fmla="*/ 154019 w 177641"/>
                <a:gd name="connsiteY35" fmla="*/ 124778 h 239458"/>
                <a:gd name="connsiteX36" fmla="*/ 171164 w 177641"/>
                <a:gd name="connsiteY36" fmla="*/ 143066 h 239458"/>
                <a:gd name="connsiteX37" fmla="*/ 177641 w 177641"/>
                <a:gd name="connsiteY37" fmla="*/ 169450 h 239458"/>
                <a:gd name="connsiteX38" fmla="*/ 177641 w 177641"/>
                <a:gd name="connsiteY38" fmla="*/ 170307 h 239458"/>
                <a:gd name="connsiteX39" fmla="*/ 171164 w 177641"/>
                <a:gd name="connsiteY39" fmla="*/ 199549 h 239458"/>
                <a:gd name="connsiteX40" fmla="*/ 153734 w 177641"/>
                <a:gd name="connsiteY40" fmla="*/ 221171 h 239458"/>
                <a:gd name="connsiteX41" fmla="*/ 127825 w 177641"/>
                <a:gd name="connsiteY41" fmla="*/ 234791 h 239458"/>
                <a:gd name="connsiteX42" fmla="*/ 95441 w 177641"/>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641" h="239458">
                  <a:moveTo>
                    <a:pt x="95536" y="239268"/>
                  </a:moveTo>
                  <a:cubicBezTo>
                    <a:pt x="78867" y="239268"/>
                    <a:pt x="62008" y="236220"/>
                    <a:pt x="45053" y="230124"/>
                  </a:cubicBezTo>
                  <a:cubicBezTo>
                    <a:pt x="28099" y="224028"/>
                    <a:pt x="13049" y="215741"/>
                    <a:pt x="0" y="205359"/>
                  </a:cubicBezTo>
                  <a:lnTo>
                    <a:pt x="17431" y="180785"/>
                  </a:lnTo>
                  <a:cubicBezTo>
                    <a:pt x="29908"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542" y="162211"/>
                    <a:pt x="140494" y="158020"/>
                  </a:cubicBezTo>
                  <a:cubicBezTo>
                    <a:pt x="137350" y="153829"/>
                    <a:pt x="133160" y="150209"/>
                    <a:pt x="127730" y="147066"/>
                  </a:cubicBezTo>
                  <a:cubicBezTo>
                    <a:pt x="122396" y="143923"/>
                    <a:pt x="116205" y="141161"/>
                    <a:pt x="109157" y="138779"/>
                  </a:cubicBezTo>
                  <a:cubicBezTo>
                    <a:pt x="102203" y="136398"/>
                    <a:pt x="94964" y="134207"/>
                    <a:pt x="87535" y="132112"/>
                  </a:cubicBezTo>
                  <a:cubicBezTo>
                    <a:pt x="78581" y="129445"/>
                    <a:pt x="69628" y="126492"/>
                    <a:pt x="60484" y="123444"/>
                  </a:cubicBezTo>
                  <a:cubicBezTo>
                    <a:pt x="51435" y="120301"/>
                    <a:pt x="43244" y="116396"/>
                    <a:pt x="35909" y="111633"/>
                  </a:cubicBezTo>
                  <a:cubicBezTo>
                    <a:pt x="28575" y="106871"/>
                    <a:pt x="22670" y="100870"/>
                    <a:pt x="18098" y="93726"/>
                  </a:cubicBezTo>
                  <a:cubicBezTo>
                    <a:pt x="13525" y="86582"/>
                    <a:pt x="11144" y="77629"/>
                    <a:pt x="11144" y="66961"/>
                  </a:cubicBezTo>
                  <a:lnTo>
                    <a:pt x="11144" y="66008"/>
                  </a:lnTo>
                  <a:cubicBezTo>
                    <a:pt x="11144" y="56198"/>
                    <a:pt x="13049" y="47149"/>
                    <a:pt x="16954" y="39053"/>
                  </a:cubicBezTo>
                  <a:cubicBezTo>
                    <a:pt x="20860" y="30861"/>
                    <a:pt x="26289" y="23908"/>
                    <a:pt x="33242" y="18098"/>
                  </a:cubicBezTo>
                  <a:cubicBezTo>
                    <a:pt x="40196" y="12287"/>
                    <a:pt x="48578" y="7811"/>
                    <a:pt x="58293" y="4667"/>
                  </a:cubicBezTo>
                  <a:cubicBezTo>
                    <a:pt x="67913" y="1524"/>
                    <a:pt x="78486" y="0"/>
                    <a:pt x="89725" y="0"/>
                  </a:cubicBezTo>
                  <a:cubicBezTo>
                    <a:pt x="104013" y="0"/>
                    <a:pt x="118396" y="2286"/>
                    <a:pt x="133064" y="6953"/>
                  </a:cubicBezTo>
                  <a:cubicBezTo>
                    <a:pt x="147638" y="11621"/>
                    <a:pt x="160877" y="17717"/>
                    <a:pt x="172784" y="25527"/>
                  </a:cubicBezTo>
                  <a:lnTo>
                    <a:pt x="157163" y="51435"/>
                  </a:lnTo>
                  <a:cubicBezTo>
                    <a:pt x="146399" y="44577"/>
                    <a:pt x="135255" y="39148"/>
                    <a:pt x="123444" y="35147"/>
                  </a:cubicBezTo>
                  <a:cubicBezTo>
                    <a:pt x="111728" y="31147"/>
                    <a:pt x="100203" y="29146"/>
                    <a:pt x="88868" y="29146"/>
                  </a:cubicBezTo>
                  <a:cubicBezTo>
                    <a:pt x="75152" y="29146"/>
                    <a:pt x="64294" y="32385"/>
                    <a:pt x="56293" y="38767"/>
                  </a:cubicBezTo>
                  <a:cubicBezTo>
                    <a:pt x="48292" y="45149"/>
                    <a:pt x="44196" y="53150"/>
                    <a:pt x="44196" y="62675"/>
                  </a:cubicBezTo>
                  <a:lnTo>
                    <a:pt x="44196" y="63627"/>
                  </a:lnTo>
                  <a:cubicBezTo>
                    <a:pt x="44196" y="68961"/>
                    <a:pt x="45815" y="73628"/>
                    <a:pt x="49149" y="77724"/>
                  </a:cubicBezTo>
                  <a:cubicBezTo>
                    <a:pt x="52388" y="81725"/>
                    <a:pt x="56769" y="85249"/>
                    <a:pt x="62294" y="88202"/>
                  </a:cubicBezTo>
                  <a:cubicBezTo>
                    <a:pt x="67818" y="91154"/>
                    <a:pt x="74104" y="93821"/>
                    <a:pt x="81248" y="96203"/>
                  </a:cubicBezTo>
                  <a:cubicBezTo>
                    <a:pt x="88392" y="98584"/>
                    <a:pt x="95821" y="100965"/>
                    <a:pt x="103537" y="103346"/>
                  </a:cubicBezTo>
                  <a:cubicBezTo>
                    <a:pt x="112490" y="106013"/>
                    <a:pt x="121349" y="108966"/>
                    <a:pt x="130112" y="112300"/>
                  </a:cubicBezTo>
                  <a:cubicBezTo>
                    <a:pt x="138875" y="115538"/>
                    <a:pt x="146875" y="119729"/>
                    <a:pt x="154019" y="124778"/>
                  </a:cubicBezTo>
                  <a:cubicBezTo>
                    <a:pt x="161163" y="129826"/>
                    <a:pt x="166878" y="135922"/>
                    <a:pt x="171164" y="143066"/>
                  </a:cubicBezTo>
                  <a:cubicBezTo>
                    <a:pt x="175450" y="150209"/>
                    <a:pt x="177641" y="158972"/>
                    <a:pt x="177641" y="169450"/>
                  </a:cubicBezTo>
                  <a:lnTo>
                    <a:pt x="177641" y="170307"/>
                  </a:lnTo>
                  <a:cubicBezTo>
                    <a:pt x="177641" y="181356"/>
                    <a:pt x="175450" y="191071"/>
                    <a:pt x="171164" y="199549"/>
                  </a:cubicBezTo>
                  <a:cubicBezTo>
                    <a:pt x="166878" y="208026"/>
                    <a:pt x="161068" y="215265"/>
                    <a:pt x="153734" y="221171"/>
                  </a:cubicBezTo>
                  <a:cubicBezTo>
                    <a:pt x="146495" y="227171"/>
                    <a:pt x="137827" y="231648"/>
                    <a:pt x="127825" y="234791"/>
                  </a:cubicBezTo>
                  <a:cubicBezTo>
                    <a:pt x="117824" y="237935"/>
                    <a:pt x="107061" y="239459"/>
                    <a:pt x="95441" y="239459"/>
                  </a:cubicBezTo>
                  <a:close/>
                </a:path>
              </a:pathLst>
            </a:custGeom>
            <a:solidFill>
              <a:srgbClr val="44505E"/>
            </a:solidFill>
            <a:ln w="9525" cap="flat">
              <a:noFill/>
              <a:prstDash val="solid"/>
              <a:miter/>
            </a:ln>
          </p:spPr>
          <p:txBody>
            <a:bodyPr rtlCol="0" anchor="ctr"/>
            <a:lstStyle/>
            <a:p>
              <a:endParaRPr lang="pt-BR" noProof="0"/>
            </a:p>
          </p:txBody>
        </p:sp>
        <p:sp>
          <p:nvSpPr>
            <p:cNvPr id="41" name="Freeform: Shape 40">
              <a:extLst>
                <a:ext uri="{FF2B5EF4-FFF2-40B4-BE49-F238E27FC236}">
                  <a16:creationId xmlns:a16="http://schemas.microsoft.com/office/drawing/2014/main" id="{6A9524D5-425E-31F5-5C33-DB2FD5F2C159}"/>
                </a:ext>
              </a:extLst>
            </p:cNvPr>
            <p:cNvSpPr/>
            <p:nvPr/>
          </p:nvSpPr>
          <p:spPr>
            <a:xfrm>
              <a:off x="5752668" y="924028"/>
              <a:ext cx="58567" cy="77196"/>
            </a:xfrm>
            <a:custGeom>
              <a:avLst/>
              <a:gdLst>
                <a:gd name="connsiteX0" fmla="*/ 198596 w 232981"/>
                <a:gd name="connsiteY0" fmla="*/ 189357 h 307085"/>
                <a:gd name="connsiteX1" fmla="*/ 182785 w 232981"/>
                <a:gd name="connsiteY1" fmla="*/ 208978 h 307085"/>
                <a:gd name="connsiteX2" fmla="*/ 163354 w 232981"/>
                <a:gd name="connsiteY2" fmla="*/ 225552 h 307085"/>
                <a:gd name="connsiteX3" fmla="*/ 139446 w 232981"/>
                <a:gd name="connsiteY3" fmla="*/ 236696 h 307085"/>
                <a:gd name="connsiteX4" fmla="*/ 110204 w 232981"/>
                <a:gd name="connsiteY4" fmla="*/ 240697 h 307085"/>
                <a:gd name="connsiteX5" fmla="*/ 69628 w 232981"/>
                <a:gd name="connsiteY5" fmla="*/ 232696 h 307085"/>
                <a:gd name="connsiteX6" fmla="*/ 34385 w 232981"/>
                <a:gd name="connsiteY6" fmla="*/ 209264 h 307085"/>
                <a:gd name="connsiteX7" fmla="*/ 9335 w 232981"/>
                <a:gd name="connsiteY7" fmla="*/ 171736 h 307085"/>
                <a:gd name="connsiteX8" fmla="*/ 0 w 232981"/>
                <a:gd name="connsiteY8" fmla="*/ 121063 h 307085"/>
                <a:gd name="connsiteX9" fmla="*/ 0 w 232981"/>
                <a:gd name="connsiteY9" fmla="*/ 120205 h 307085"/>
                <a:gd name="connsiteX10" fmla="*/ 9335 w 232981"/>
                <a:gd name="connsiteY10" fmla="*/ 69723 h 307085"/>
                <a:gd name="connsiteX11" fmla="*/ 34385 w 232981"/>
                <a:gd name="connsiteY11" fmla="*/ 32004 h 307085"/>
                <a:gd name="connsiteX12" fmla="*/ 69628 w 232981"/>
                <a:gd name="connsiteY12" fmla="*/ 8287 h 307085"/>
                <a:gd name="connsiteX13" fmla="*/ 110204 w 232981"/>
                <a:gd name="connsiteY13" fmla="*/ 0 h 307085"/>
                <a:gd name="connsiteX14" fmla="*/ 139637 w 232981"/>
                <a:gd name="connsiteY14" fmla="*/ 4000 h 307085"/>
                <a:gd name="connsiteX15" fmla="*/ 163735 w 232981"/>
                <a:gd name="connsiteY15" fmla="*/ 14668 h 307085"/>
                <a:gd name="connsiteX16" fmla="*/ 183166 w 232981"/>
                <a:gd name="connsiteY16" fmla="*/ 30289 h 307085"/>
                <a:gd name="connsiteX17" fmla="*/ 198596 w 232981"/>
                <a:gd name="connsiteY17" fmla="*/ 49054 h 307085"/>
                <a:gd name="connsiteX18" fmla="*/ 198596 w 232981"/>
                <a:gd name="connsiteY18" fmla="*/ 4858 h 307085"/>
                <a:gd name="connsiteX19" fmla="*/ 232982 w 232981"/>
                <a:gd name="connsiteY19" fmla="*/ 4858 h 307085"/>
                <a:gd name="connsiteX20" fmla="*/ 232982 w 232981"/>
                <a:gd name="connsiteY20" fmla="*/ 307086 h 307085"/>
                <a:gd name="connsiteX21" fmla="*/ 198596 w 232981"/>
                <a:gd name="connsiteY21" fmla="*/ 307086 h 307085"/>
                <a:gd name="connsiteX22" fmla="*/ 198596 w 232981"/>
                <a:gd name="connsiteY22" fmla="*/ 189262 h 307085"/>
                <a:gd name="connsiteX23" fmla="*/ 116491 w 232981"/>
                <a:gd name="connsiteY23" fmla="*/ 209931 h 307085"/>
                <a:gd name="connsiteX24" fmla="*/ 147542 w 232981"/>
                <a:gd name="connsiteY24" fmla="*/ 203454 h 307085"/>
                <a:gd name="connsiteX25" fmla="*/ 174308 w 232981"/>
                <a:gd name="connsiteY25" fmla="*/ 185166 h 307085"/>
                <a:gd name="connsiteX26" fmla="*/ 193072 w 232981"/>
                <a:gd name="connsiteY26" fmla="*/ 157067 h 307085"/>
                <a:gd name="connsiteX27" fmla="*/ 200025 w 232981"/>
                <a:gd name="connsiteY27" fmla="*/ 120682 h 307085"/>
                <a:gd name="connsiteX28" fmla="*/ 200025 w 232981"/>
                <a:gd name="connsiteY28" fmla="*/ 119824 h 307085"/>
                <a:gd name="connsiteX29" fmla="*/ 193072 w 232981"/>
                <a:gd name="connsiteY29" fmla="*/ 83439 h 307085"/>
                <a:gd name="connsiteX30" fmla="*/ 174308 w 232981"/>
                <a:gd name="connsiteY30" fmla="*/ 55531 h 307085"/>
                <a:gd name="connsiteX31" fmla="*/ 147542 w 232981"/>
                <a:gd name="connsiteY31" fmla="*/ 37433 h 307085"/>
                <a:gd name="connsiteX32" fmla="*/ 116491 w 232981"/>
                <a:gd name="connsiteY32" fmla="*/ 30956 h 307085"/>
                <a:gd name="connsiteX33" fmla="*/ 84773 w 232981"/>
                <a:gd name="connsiteY33" fmla="*/ 36957 h 307085"/>
                <a:gd name="connsiteX34" fmla="*/ 59150 w 232981"/>
                <a:gd name="connsiteY34" fmla="*/ 54388 h 307085"/>
                <a:gd name="connsiteX35" fmla="*/ 41720 w 232981"/>
                <a:gd name="connsiteY35" fmla="*/ 82296 h 307085"/>
                <a:gd name="connsiteX36" fmla="*/ 35242 w 232981"/>
                <a:gd name="connsiteY36" fmla="*/ 119824 h 307085"/>
                <a:gd name="connsiteX37" fmla="*/ 35242 w 232981"/>
                <a:gd name="connsiteY37" fmla="*/ 120682 h 307085"/>
                <a:gd name="connsiteX38" fmla="*/ 41720 w 232981"/>
                <a:gd name="connsiteY38" fmla="*/ 157734 h 307085"/>
                <a:gd name="connsiteX39" fmla="*/ 59341 w 232981"/>
                <a:gd name="connsiteY39" fmla="*/ 185833 h 307085"/>
                <a:gd name="connsiteX40" fmla="*/ 85249 w 232981"/>
                <a:gd name="connsiteY40" fmla="*/ 203740 h 307085"/>
                <a:gd name="connsiteX41" fmla="*/ 116491 w 232981"/>
                <a:gd name="connsiteY41" fmla="*/ 210026 h 30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07085">
                  <a:moveTo>
                    <a:pt x="198596" y="189357"/>
                  </a:moveTo>
                  <a:cubicBezTo>
                    <a:pt x="193834" y="196215"/>
                    <a:pt x="188595" y="202787"/>
                    <a:pt x="182785" y="208978"/>
                  </a:cubicBezTo>
                  <a:cubicBezTo>
                    <a:pt x="176975" y="215265"/>
                    <a:pt x="170498" y="220789"/>
                    <a:pt x="163354" y="225552"/>
                  </a:cubicBezTo>
                  <a:cubicBezTo>
                    <a:pt x="156210" y="230314"/>
                    <a:pt x="148209" y="234029"/>
                    <a:pt x="139446" y="236696"/>
                  </a:cubicBezTo>
                  <a:cubicBezTo>
                    <a:pt x="130683" y="239363"/>
                    <a:pt x="120967" y="240697"/>
                    <a:pt x="110204" y="240697"/>
                  </a:cubicBezTo>
                  <a:cubicBezTo>
                    <a:pt x="96203" y="240697"/>
                    <a:pt x="82677" y="238030"/>
                    <a:pt x="69628" y="232696"/>
                  </a:cubicBezTo>
                  <a:cubicBezTo>
                    <a:pt x="56579" y="227362"/>
                    <a:pt x="44767" y="219551"/>
                    <a:pt x="34385" y="209264"/>
                  </a:cubicBezTo>
                  <a:cubicBezTo>
                    <a:pt x="24003" y="198977"/>
                    <a:pt x="15621" y="186499"/>
                    <a:pt x="9335" y="171736"/>
                  </a:cubicBezTo>
                  <a:cubicBezTo>
                    <a:pt x="3048" y="156972"/>
                    <a:pt x="0" y="140113"/>
                    <a:pt x="0" y="121063"/>
                  </a:cubicBezTo>
                  <a:lnTo>
                    <a:pt x="0" y="120205"/>
                  </a:lnTo>
                  <a:cubicBezTo>
                    <a:pt x="0" y="101441"/>
                    <a:pt x="3143" y="84677"/>
                    <a:pt x="9335" y="69723"/>
                  </a:cubicBezTo>
                  <a:cubicBezTo>
                    <a:pt x="15621" y="54864"/>
                    <a:pt x="23908" y="42291"/>
                    <a:pt x="34385" y="32004"/>
                  </a:cubicBezTo>
                  <a:cubicBezTo>
                    <a:pt x="44767" y="21717"/>
                    <a:pt x="56579" y="13811"/>
                    <a:pt x="69628" y="8287"/>
                  </a:cubicBezTo>
                  <a:cubicBezTo>
                    <a:pt x="82677" y="2762"/>
                    <a:pt x="96298" y="0"/>
                    <a:pt x="110204" y="0"/>
                  </a:cubicBezTo>
                  <a:cubicBezTo>
                    <a:pt x="120967" y="0"/>
                    <a:pt x="130778" y="1333"/>
                    <a:pt x="139637" y="4000"/>
                  </a:cubicBezTo>
                  <a:cubicBezTo>
                    <a:pt x="148590" y="6667"/>
                    <a:pt x="156591" y="10287"/>
                    <a:pt x="163735" y="14668"/>
                  </a:cubicBezTo>
                  <a:cubicBezTo>
                    <a:pt x="170879" y="19145"/>
                    <a:pt x="177356" y="24384"/>
                    <a:pt x="183166" y="30289"/>
                  </a:cubicBezTo>
                  <a:cubicBezTo>
                    <a:pt x="188976" y="36290"/>
                    <a:pt x="194120" y="42481"/>
                    <a:pt x="198596" y="49054"/>
                  </a:cubicBezTo>
                  <a:lnTo>
                    <a:pt x="198596" y="4858"/>
                  </a:lnTo>
                  <a:lnTo>
                    <a:pt x="232982" y="4858"/>
                  </a:lnTo>
                  <a:lnTo>
                    <a:pt x="232982" y="307086"/>
                  </a:lnTo>
                  <a:lnTo>
                    <a:pt x="198596" y="307086"/>
                  </a:lnTo>
                  <a:lnTo>
                    <a:pt x="198596" y="189262"/>
                  </a:lnTo>
                  <a:close/>
                  <a:moveTo>
                    <a:pt x="116491" y="209931"/>
                  </a:moveTo>
                  <a:cubicBezTo>
                    <a:pt x="127159" y="209931"/>
                    <a:pt x="137541" y="207740"/>
                    <a:pt x="147542" y="203454"/>
                  </a:cubicBezTo>
                  <a:cubicBezTo>
                    <a:pt x="157544" y="199168"/>
                    <a:pt x="166402" y="193072"/>
                    <a:pt x="174308" y="185166"/>
                  </a:cubicBezTo>
                  <a:cubicBezTo>
                    <a:pt x="182213" y="177260"/>
                    <a:pt x="188404" y="167926"/>
                    <a:pt x="193072" y="157067"/>
                  </a:cubicBezTo>
                  <a:cubicBezTo>
                    <a:pt x="197739" y="146209"/>
                    <a:pt x="200025" y="134112"/>
                    <a:pt x="200025" y="120682"/>
                  </a:cubicBezTo>
                  <a:lnTo>
                    <a:pt x="200025" y="119824"/>
                  </a:lnTo>
                  <a:cubicBezTo>
                    <a:pt x="200025" y="106394"/>
                    <a:pt x="197739" y="94297"/>
                    <a:pt x="193072" y="83439"/>
                  </a:cubicBezTo>
                  <a:cubicBezTo>
                    <a:pt x="188500" y="72580"/>
                    <a:pt x="182213" y="63246"/>
                    <a:pt x="174308" y="55531"/>
                  </a:cubicBezTo>
                  <a:cubicBezTo>
                    <a:pt x="166402" y="47815"/>
                    <a:pt x="157544" y="41815"/>
                    <a:pt x="147542" y="37433"/>
                  </a:cubicBezTo>
                  <a:cubicBezTo>
                    <a:pt x="137541" y="33147"/>
                    <a:pt x="127254" y="30956"/>
                    <a:pt x="116491" y="30956"/>
                  </a:cubicBezTo>
                  <a:cubicBezTo>
                    <a:pt x="105156" y="30956"/>
                    <a:pt x="94583" y="32956"/>
                    <a:pt x="84773" y="36957"/>
                  </a:cubicBezTo>
                  <a:cubicBezTo>
                    <a:pt x="74962" y="40957"/>
                    <a:pt x="66389" y="46767"/>
                    <a:pt x="59150" y="54388"/>
                  </a:cubicBezTo>
                  <a:cubicBezTo>
                    <a:pt x="51816" y="61913"/>
                    <a:pt x="46101" y="71247"/>
                    <a:pt x="41720" y="82296"/>
                  </a:cubicBezTo>
                  <a:cubicBezTo>
                    <a:pt x="37433" y="93250"/>
                    <a:pt x="35242" y="105823"/>
                    <a:pt x="35242" y="119824"/>
                  </a:cubicBezTo>
                  <a:lnTo>
                    <a:pt x="35242" y="120682"/>
                  </a:lnTo>
                  <a:cubicBezTo>
                    <a:pt x="35242" y="134398"/>
                    <a:pt x="37433" y="146780"/>
                    <a:pt x="41720" y="157734"/>
                  </a:cubicBezTo>
                  <a:cubicBezTo>
                    <a:pt x="46006" y="168783"/>
                    <a:pt x="51911" y="178117"/>
                    <a:pt x="59341" y="185833"/>
                  </a:cubicBezTo>
                  <a:cubicBezTo>
                    <a:pt x="66770" y="193548"/>
                    <a:pt x="75438" y="199549"/>
                    <a:pt x="85249" y="203740"/>
                  </a:cubicBezTo>
                  <a:cubicBezTo>
                    <a:pt x="95060" y="207931"/>
                    <a:pt x="105442" y="210026"/>
                    <a:pt x="116491" y="210026"/>
                  </a:cubicBezTo>
                  <a:close/>
                </a:path>
              </a:pathLst>
            </a:custGeom>
            <a:solidFill>
              <a:srgbClr val="44505E"/>
            </a:solidFill>
            <a:ln w="9525" cap="flat">
              <a:noFill/>
              <a:prstDash val="solid"/>
              <a:miter/>
            </a:ln>
          </p:spPr>
          <p:txBody>
            <a:bodyPr rtlCol="0" anchor="ctr"/>
            <a:lstStyle/>
            <a:p>
              <a:endParaRPr lang="pt-BR" noProof="0"/>
            </a:p>
          </p:txBody>
        </p:sp>
        <p:sp>
          <p:nvSpPr>
            <p:cNvPr id="42" name="Freeform: Shape 41">
              <a:extLst>
                <a:ext uri="{FF2B5EF4-FFF2-40B4-BE49-F238E27FC236}">
                  <a16:creationId xmlns:a16="http://schemas.microsoft.com/office/drawing/2014/main" id="{5FE59096-94C6-F482-008D-3FDFE6288921}"/>
                </a:ext>
              </a:extLst>
            </p:cNvPr>
            <p:cNvSpPr/>
            <p:nvPr/>
          </p:nvSpPr>
          <p:spPr>
            <a:xfrm>
              <a:off x="5829624" y="925297"/>
              <a:ext cx="50618" cy="59238"/>
            </a:xfrm>
            <a:custGeom>
              <a:avLst/>
              <a:gdLst>
                <a:gd name="connsiteX0" fmla="*/ 88392 w 201358"/>
                <a:gd name="connsiteY0" fmla="*/ 235648 h 235648"/>
                <a:gd name="connsiteX1" fmla="*/ 51149 w 201358"/>
                <a:gd name="connsiteY1" fmla="*/ 228981 h 235648"/>
                <a:gd name="connsiteX2" fmla="*/ 23432 w 201358"/>
                <a:gd name="connsiteY2" fmla="*/ 210026 h 235648"/>
                <a:gd name="connsiteX3" fmla="*/ 6001 w 201358"/>
                <a:gd name="connsiteY3" fmla="*/ 180784 h 235648"/>
                <a:gd name="connsiteX4" fmla="*/ 0 w 201358"/>
                <a:gd name="connsiteY4" fmla="*/ 143256 h 235648"/>
                <a:gd name="connsiteX5" fmla="*/ 0 w 201358"/>
                <a:gd name="connsiteY5" fmla="*/ 0 h 235648"/>
                <a:gd name="connsiteX6" fmla="*/ 34385 w 201358"/>
                <a:gd name="connsiteY6" fmla="*/ 0 h 235648"/>
                <a:gd name="connsiteX7" fmla="*/ 34385 w 201358"/>
                <a:gd name="connsiteY7" fmla="*/ 134493 h 235648"/>
                <a:gd name="connsiteX8" fmla="*/ 50959 w 201358"/>
                <a:gd name="connsiteY8" fmla="*/ 185261 h 235648"/>
                <a:gd name="connsiteX9" fmla="*/ 98298 w 201358"/>
                <a:gd name="connsiteY9" fmla="*/ 203930 h 235648"/>
                <a:gd name="connsiteX10" fmla="*/ 125730 w 201358"/>
                <a:gd name="connsiteY10" fmla="*/ 198787 h 235648"/>
                <a:gd name="connsiteX11" fmla="*/ 147638 w 201358"/>
                <a:gd name="connsiteY11" fmla="*/ 184118 h 235648"/>
                <a:gd name="connsiteX12" fmla="*/ 162116 w 201358"/>
                <a:gd name="connsiteY12" fmla="*/ 161163 h 235648"/>
                <a:gd name="connsiteX13" fmla="*/ 167450 w 201358"/>
                <a:gd name="connsiteY13" fmla="*/ 131826 h 235648"/>
                <a:gd name="connsiteX14" fmla="*/ 167450 w 201358"/>
                <a:gd name="connsiteY14" fmla="*/ 0 h 235648"/>
                <a:gd name="connsiteX15" fmla="*/ 201359 w 201358"/>
                <a:gd name="connsiteY15" fmla="*/ 0 h 235648"/>
                <a:gd name="connsiteX16" fmla="*/ 201359 w 201358"/>
                <a:gd name="connsiteY16" fmla="*/ 230791 h 235648"/>
                <a:gd name="connsiteX17" fmla="*/ 167450 w 201358"/>
                <a:gd name="connsiteY17" fmla="*/ 230791 h 235648"/>
                <a:gd name="connsiteX18" fmla="*/ 167450 w 201358"/>
                <a:gd name="connsiteY18" fmla="*/ 190595 h 235648"/>
                <a:gd name="connsiteX19" fmla="*/ 137065 w 201358"/>
                <a:gd name="connsiteY19" fmla="*/ 222504 h 235648"/>
                <a:gd name="connsiteX20" fmla="*/ 88392 w 201358"/>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358" h="235648">
                  <a:moveTo>
                    <a:pt x="88392" y="235648"/>
                  </a:moveTo>
                  <a:cubicBezTo>
                    <a:pt x="74390" y="235648"/>
                    <a:pt x="62008" y="233363"/>
                    <a:pt x="51149" y="228981"/>
                  </a:cubicBezTo>
                  <a:cubicBezTo>
                    <a:pt x="40291" y="224504"/>
                    <a:pt x="31052" y="218218"/>
                    <a:pt x="23432"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959" y="185261"/>
                  </a:cubicBezTo>
                  <a:cubicBezTo>
                    <a:pt x="61913" y="197739"/>
                    <a:pt x="77724" y="203930"/>
                    <a:pt x="98298" y="203930"/>
                  </a:cubicBezTo>
                  <a:cubicBezTo>
                    <a:pt x="108109" y="203930"/>
                    <a:pt x="117253" y="202216"/>
                    <a:pt x="125730" y="198787"/>
                  </a:cubicBezTo>
                  <a:cubicBezTo>
                    <a:pt x="134207" y="195358"/>
                    <a:pt x="141446" y="190500"/>
                    <a:pt x="147638" y="184118"/>
                  </a:cubicBezTo>
                  <a:cubicBezTo>
                    <a:pt x="153734" y="177736"/>
                    <a:pt x="158591" y="170116"/>
                    <a:pt x="162116" y="161163"/>
                  </a:cubicBezTo>
                  <a:cubicBezTo>
                    <a:pt x="165735" y="152305"/>
                    <a:pt x="167450" y="142494"/>
                    <a:pt x="167450" y="131826"/>
                  </a:cubicBezTo>
                  <a:lnTo>
                    <a:pt x="167450" y="0"/>
                  </a:lnTo>
                  <a:lnTo>
                    <a:pt x="201359" y="0"/>
                  </a:lnTo>
                  <a:lnTo>
                    <a:pt x="201359" y="230791"/>
                  </a:lnTo>
                  <a:lnTo>
                    <a:pt x="167450" y="230791"/>
                  </a:lnTo>
                  <a:lnTo>
                    <a:pt x="167450" y="190595"/>
                  </a:lnTo>
                  <a:cubicBezTo>
                    <a:pt x="159734" y="203073"/>
                    <a:pt x="149543" y="213741"/>
                    <a:pt x="137065" y="222504"/>
                  </a:cubicBezTo>
                  <a:cubicBezTo>
                    <a:pt x="124587" y="231267"/>
                    <a:pt x="108395" y="235648"/>
                    <a:pt x="88392" y="235648"/>
                  </a:cubicBezTo>
                  <a:close/>
                </a:path>
              </a:pathLst>
            </a:custGeom>
            <a:solidFill>
              <a:srgbClr val="44505E"/>
            </a:solidFill>
            <a:ln w="9525" cap="flat">
              <a:noFill/>
              <a:prstDash val="solid"/>
              <a:miter/>
            </a:ln>
          </p:spPr>
          <p:txBody>
            <a:bodyPr rtlCol="0" anchor="ctr"/>
            <a:lstStyle/>
            <a:p>
              <a:endParaRPr lang="pt-BR" noProof="0"/>
            </a:p>
          </p:txBody>
        </p:sp>
        <p:sp>
          <p:nvSpPr>
            <p:cNvPr id="43" name="Freeform: Shape 42">
              <a:extLst>
                <a:ext uri="{FF2B5EF4-FFF2-40B4-BE49-F238E27FC236}">
                  <a16:creationId xmlns:a16="http://schemas.microsoft.com/office/drawing/2014/main" id="{48B91C0E-5E48-E0D5-BECD-EFCB21230EF1}"/>
                </a:ext>
              </a:extLst>
            </p:cNvPr>
            <p:cNvSpPr/>
            <p:nvPr/>
          </p:nvSpPr>
          <p:spPr>
            <a:xfrm>
              <a:off x="5896069"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7059 w 218217"/>
                <a:gd name="connsiteY3" fmla="*/ 206026 h 241077"/>
                <a:gd name="connsiteX4" fmla="*/ 116110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7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0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356 w 218217"/>
                <a:gd name="connsiteY25" fmla="*/ 106299 h 241077"/>
                <a:gd name="connsiteX26" fmla="*/ 176689 w 218217"/>
                <a:gd name="connsiteY26" fmla="*/ 76771 h 241077"/>
                <a:gd name="connsiteX27" fmla="*/ 162211 w 218217"/>
                <a:gd name="connsiteY27" fmla="*/ 52101 h 241077"/>
                <a:gd name="connsiteX28" fmla="*/ 139922 w 218217"/>
                <a:gd name="connsiteY28" fmla="*/ 35242 h 241077"/>
                <a:gd name="connsiteX29" fmla="*/ 109823 w 218217"/>
                <a:gd name="connsiteY29" fmla="*/ 29051 h 241077"/>
                <a:gd name="connsiteX30" fmla="*/ 82105 w 218217"/>
                <a:gd name="connsiteY30" fmla="*/ 34766 h 241077"/>
                <a:gd name="connsiteX31" fmla="*/ 59341 w 218217"/>
                <a:gd name="connsiteY31" fmla="*/ 50959 h 241077"/>
                <a:gd name="connsiteX32" fmla="*/ 43053 w 218217"/>
                <a:gd name="connsiteY32" fmla="*/ 75628 h 241077"/>
                <a:gd name="connsiteX33" fmla="*/ 34766 w 218217"/>
                <a:gd name="connsiteY33" fmla="*/ 106204 h 241077"/>
                <a:gd name="connsiteX34" fmla="*/ 183356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819" y="202597"/>
                    <a:pt x="87059" y="206026"/>
                  </a:cubicBezTo>
                  <a:cubicBezTo>
                    <a:pt x="96298" y="209455"/>
                    <a:pt x="105918" y="211169"/>
                    <a:pt x="116110" y="211169"/>
                  </a:cubicBezTo>
                  <a:cubicBezTo>
                    <a:pt x="132207" y="211169"/>
                    <a:pt x="145923" y="208216"/>
                    <a:pt x="157353" y="202216"/>
                  </a:cubicBezTo>
                  <a:cubicBezTo>
                    <a:pt x="168783" y="196310"/>
                    <a:pt x="179261" y="188404"/>
                    <a:pt x="188786" y="178594"/>
                  </a:cubicBezTo>
                  <a:lnTo>
                    <a:pt x="210217" y="197834"/>
                  </a:lnTo>
                  <a:cubicBezTo>
                    <a:pt x="198596" y="210979"/>
                    <a:pt x="185356" y="221361"/>
                    <a:pt x="170497" y="229267"/>
                  </a:cubicBezTo>
                  <a:cubicBezTo>
                    <a:pt x="155638"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583" y="0"/>
                    <a:pt x="110680"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356" y="106299"/>
                  </a:moveTo>
                  <a:cubicBezTo>
                    <a:pt x="182499" y="95917"/>
                    <a:pt x="180213" y="86106"/>
                    <a:pt x="176689" y="76771"/>
                  </a:cubicBezTo>
                  <a:cubicBezTo>
                    <a:pt x="173069" y="67437"/>
                    <a:pt x="168307" y="59245"/>
                    <a:pt x="162211" y="52101"/>
                  </a:cubicBezTo>
                  <a:cubicBezTo>
                    <a:pt x="156115" y="44958"/>
                    <a:pt x="148685" y="39338"/>
                    <a:pt x="139922" y="35242"/>
                  </a:cubicBezTo>
                  <a:cubicBezTo>
                    <a:pt x="131159" y="31147"/>
                    <a:pt x="121063" y="29051"/>
                    <a:pt x="109823" y="29051"/>
                  </a:cubicBezTo>
                  <a:cubicBezTo>
                    <a:pt x="100013" y="29051"/>
                    <a:pt x="90773" y="30956"/>
                    <a:pt x="82105" y="34766"/>
                  </a:cubicBezTo>
                  <a:cubicBezTo>
                    <a:pt x="73438" y="38671"/>
                    <a:pt x="65913" y="44005"/>
                    <a:pt x="59341" y="50959"/>
                  </a:cubicBezTo>
                  <a:cubicBezTo>
                    <a:pt x="52769" y="57912"/>
                    <a:pt x="47339" y="66103"/>
                    <a:pt x="43053" y="75628"/>
                  </a:cubicBezTo>
                  <a:cubicBezTo>
                    <a:pt x="38767" y="85058"/>
                    <a:pt x="36004" y="95345"/>
                    <a:pt x="34766" y="106204"/>
                  </a:cubicBezTo>
                  <a:lnTo>
                    <a:pt x="183356" y="106204"/>
                  </a:lnTo>
                  <a:close/>
                </a:path>
              </a:pathLst>
            </a:custGeom>
            <a:solidFill>
              <a:srgbClr val="44505E"/>
            </a:solidFill>
            <a:ln w="9525" cap="flat">
              <a:noFill/>
              <a:prstDash val="solid"/>
              <a:miter/>
            </a:ln>
          </p:spPr>
          <p:txBody>
            <a:bodyPr rtlCol="0" anchor="ctr"/>
            <a:lstStyle/>
            <a:p>
              <a:endParaRPr lang="pt-BR" noProof="0"/>
            </a:p>
          </p:txBody>
        </p:sp>
        <p:sp>
          <p:nvSpPr>
            <p:cNvPr id="44" name="Freeform: Shape 43">
              <a:extLst>
                <a:ext uri="{FF2B5EF4-FFF2-40B4-BE49-F238E27FC236}">
                  <a16:creationId xmlns:a16="http://schemas.microsoft.com/office/drawing/2014/main" id="{234C7C40-AE1B-7144-3067-167FAE1ECCFE}"/>
                </a:ext>
              </a:extLst>
            </p:cNvPr>
            <p:cNvSpPr/>
            <p:nvPr/>
          </p:nvSpPr>
          <p:spPr>
            <a:xfrm>
              <a:off x="5994910" y="924268"/>
              <a:ext cx="44680" cy="60195"/>
            </a:xfrm>
            <a:custGeom>
              <a:avLst/>
              <a:gdLst>
                <a:gd name="connsiteX0" fmla="*/ 95536 w 177736"/>
                <a:gd name="connsiteY0" fmla="*/ 239268 h 239458"/>
                <a:gd name="connsiteX1" fmla="*/ 45053 w 177736"/>
                <a:gd name="connsiteY1" fmla="*/ 230124 h 239458"/>
                <a:gd name="connsiteX2" fmla="*/ 0 w 177736"/>
                <a:gd name="connsiteY2" fmla="*/ 205359 h 239458"/>
                <a:gd name="connsiteX3" fmla="*/ 17431 w 177736"/>
                <a:gd name="connsiteY3" fmla="*/ 180785 h 239458"/>
                <a:gd name="connsiteX4" fmla="*/ 56483 w 177736"/>
                <a:gd name="connsiteY4" fmla="*/ 202692 h 239458"/>
                <a:gd name="connsiteX5" fmla="*/ 97346 w 177736"/>
                <a:gd name="connsiteY5" fmla="*/ 210217 h 239458"/>
                <a:gd name="connsiteX6" fmla="*/ 131731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730 w 177736"/>
                <a:gd name="connsiteY10" fmla="*/ 147066 h 239458"/>
                <a:gd name="connsiteX11" fmla="*/ 109252 w 177736"/>
                <a:gd name="connsiteY11" fmla="*/ 138779 h 239458"/>
                <a:gd name="connsiteX12" fmla="*/ 87630 w 177736"/>
                <a:gd name="connsiteY12" fmla="*/ 132112 h 239458"/>
                <a:gd name="connsiteX13" fmla="*/ 60674 w 177736"/>
                <a:gd name="connsiteY13" fmla="*/ 123444 h 239458"/>
                <a:gd name="connsiteX14" fmla="*/ 36100 w 177736"/>
                <a:gd name="connsiteY14" fmla="*/ 111633 h 239458"/>
                <a:gd name="connsiteX15" fmla="*/ 18193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60 w 177736"/>
                <a:gd name="connsiteY22" fmla="*/ 6953 h 239458"/>
                <a:gd name="connsiteX23" fmla="*/ 172879 w 177736"/>
                <a:gd name="connsiteY23" fmla="*/ 25527 h 239458"/>
                <a:gd name="connsiteX24" fmla="*/ 157258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4 w 177736"/>
                <a:gd name="connsiteY32" fmla="*/ 96203 h 239458"/>
                <a:gd name="connsiteX33" fmla="*/ 103632 w 177736"/>
                <a:gd name="connsiteY33" fmla="*/ 103346 h 239458"/>
                <a:gd name="connsiteX34" fmla="*/ 130207 w 177736"/>
                <a:gd name="connsiteY34" fmla="*/ 112300 h 239458"/>
                <a:gd name="connsiteX35" fmla="*/ 154114 w 177736"/>
                <a:gd name="connsiteY35" fmla="*/ 124778 h 239458"/>
                <a:gd name="connsiteX36" fmla="*/ 171260 w 177736"/>
                <a:gd name="connsiteY36" fmla="*/ 143066 h 239458"/>
                <a:gd name="connsiteX37" fmla="*/ 177737 w 177736"/>
                <a:gd name="connsiteY37" fmla="*/ 169450 h 239458"/>
                <a:gd name="connsiteX38" fmla="*/ 177737 w 177736"/>
                <a:gd name="connsiteY38" fmla="*/ 170307 h 239458"/>
                <a:gd name="connsiteX39" fmla="*/ 171260 w 177736"/>
                <a:gd name="connsiteY39" fmla="*/ 199549 h 239458"/>
                <a:gd name="connsiteX40" fmla="*/ 153829 w 177736"/>
                <a:gd name="connsiteY40" fmla="*/ 221171 h 239458"/>
                <a:gd name="connsiteX41" fmla="*/ 127921 w 177736"/>
                <a:gd name="connsiteY41" fmla="*/ 234791 h 239458"/>
                <a:gd name="connsiteX42" fmla="*/ 95536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6" y="239268"/>
                  </a:moveTo>
                  <a:cubicBezTo>
                    <a:pt x="78867" y="239268"/>
                    <a:pt x="62008" y="236220"/>
                    <a:pt x="45053" y="230124"/>
                  </a:cubicBezTo>
                  <a:cubicBezTo>
                    <a:pt x="28099" y="224028"/>
                    <a:pt x="13049" y="215741"/>
                    <a:pt x="0" y="205359"/>
                  </a:cubicBezTo>
                  <a:lnTo>
                    <a:pt x="17431" y="180785"/>
                  </a:lnTo>
                  <a:cubicBezTo>
                    <a:pt x="29909"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637" y="162211"/>
                    <a:pt x="140494" y="158020"/>
                  </a:cubicBezTo>
                  <a:cubicBezTo>
                    <a:pt x="137351" y="153829"/>
                    <a:pt x="133160" y="150209"/>
                    <a:pt x="127730" y="147066"/>
                  </a:cubicBezTo>
                  <a:cubicBezTo>
                    <a:pt x="122396" y="143923"/>
                    <a:pt x="116205" y="141161"/>
                    <a:pt x="109252" y="138779"/>
                  </a:cubicBezTo>
                  <a:cubicBezTo>
                    <a:pt x="102299" y="136398"/>
                    <a:pt x="95060" y="134207"/>
                    <a:pt x="87630" y="132112"/>
                  </a:cubicBezTo>
                  <a:cubicBezTo>
                    <a:pt x="78677" y="129445"/>
                    <a:pt x="69723" y="126492"/>
                    <a:pt x="60674" y="123444"/>
                  </a:cubicBezTo>
                  <a:cubicBezTo>
                    <a:pt x="51626" y="120301"/>
                    <a:pt x="43434" y="116396"/>
                    <a:pt x="36100" y="111633"/>
                  </a:cubicBezTo>
                  <a:cubicBezTo>
                    <a:pt x="28766" y="106871"/>
                    <a:pt x="22860" y="100870"/>
                    <a:pt x="18193" y="93726"/>
                  </a:cubicBezTo>
                  <a:cubicBezTo>
                    <a:pt x="13621" y="86582"/>
                    <a:pt x="11239" y="77629"/>
                    <a:pt x="11239" y="66961"/>
                  </a:cubicBezTo>
                  <a:lnTo>
                    <a:pt x="11239" y="66008"/>
                  </a:lnTo>
                  <a:cubicBezTo>
                    <a:pt x="11239" y="56198"/>
                    <a:pt x="13145" y="47149"/>
                    <a:pt x="17050" y="39053"/>
                  </a:cubicBezTo>
                  <a:cubicBezTo>
                    <a:pt x="20860" y="30861"/>
                    <a:pt x="26289" y="23908"/>
                    <a:pt x="33338" y="18098"/>
                  </a:cubicBezTo>
                  <a:cubicBezTo>
                    <a:pt x="40291" y="12287"/>
                    <a:pt x="48673" y="7811"/>
                    <a:pt x="58388" y="4667"/>
                  </a:cubicBezTo>
                  <a:cubicBezTo>
                    <a:pt x="68009" y="1524"/>
                    <a:pt x="78581" y="0"/>
                    <a:pt x="89821" y="0"/>
                  </a:cubicBezTo>
                  <a:cubicBezTo>
                    <a:pt x="104108" y="0"/>
                    <a:pt x="118491" y="2286"/>
                    <a:pt x="133160" y="6953"/>
                  </a:cubicBezTo>
                  <a:cubicBezTo>
                    <a:pt x="147733" y="11621"/>
                    <a:pt x="160972" y="17717"/>
                    <a:pt x="172879" y="25527"/>
                  </a:cubicBezTo>
                  <a:lnTo>
                    <a:pt x="157258" y="51435"/>
                  </a:lnTo>
                  <a:cubicBezTo>
                    <a:pt x="146495" y="44577"/>
                    <a:pt x="135350" y="39148"/>
                    <a:pt x="123539" y="35147"/>
                  </a:cubicBezTo>
                  <a:cubicBezTo>
                    <a:pt x="111824" y="31147"/>
                    <a:pt x="100298" y="29146"/>
                    <a:pt x="88963" y="29146"/>
                  </a:cubicBezTo>
                  <a:cubicBezTo>
                    <a:pt x="75247" y="29146"/>
                    <a:pt x="64389" y="32385"/>
                    <a:pt x="56388" y="38767"/>
                  </a:cubicBezTo>
                  <a:cubicBezTo>
                    <a:pt x="48387" y="45149"/>
                    <a:pt x="44291" y="53150"/>
                    <a:pt x="44291" y="62675"/>
                  </a:cubicBezTo>
                  <a:lnTo>
                    <a:pt x="44291" y="63627"/>
                  </a:lnTo>
                  <a:cubicBezTo>
                    <a:pt x="44291" y="68961"/>
                    <a:pt x="45911" y="73628"/>
                    <a:pt x="49244" y="77724"/>
                  </a:cubicBezTo>
                  <a:cubicBezTo>
                    <a:pt x="52483" y="81725"/>
                    <a:pt x="56960" y="85249"/>
                    <a:pt x="62389" y="88202"/>
                  </a:cubicBezTo>
                  <a:cubicBezTo>
                    <a:pt x="67913" y="91154"/>
                    <a:pt x="74200" y="93821"/>
                    <a:pt x="81344" y="96203"/>
                  </a:cubicBezTo>
                  <a:cubicBezTo>
                    <a:pt x="88487" y="98584"/>
                    <a:pt x="95917" y="100965"/>
                    <a:pt x="103632" y="103346"/>
                  </a:cubicBezTo>
                  <a:cubicBezTo>
                    <a:pt x="112586" y="106013"/>
                    <a:pt x="121444" y="108966"/>
                    <a:pt x="130207" y="112300"/>
                  </a:cubicBezTo>
                  <a:cubicBezTo>
                    <a:pt x="138970" y="115538"/>
                    <a:pt x="146971" y="119729"/>
                    <a:pt x="154114" y="124778"/>
                  </a:cubicBezTo>
                  <a:cubicBezTo>
                    <a:pt x="161258" y="129826"/>
                    <a:pt x="166973" y="135922"/>
                    <a:pt x="171260" y="143066"/>
                  </a:cubicBezTo>
                  <a:cubicBezTo>
                    <a:pt x="175546" y="150209"/>
                    <a:pt x="177737" y="158972"/>
                    <a:pt x="177737" y="169450"/>
                  </a:cubicBezTo>
                  <a:lnTo>
                    <a:pt x="177737" y="170307"/>
                  </a:lnTo>
                  <a:cubicBezTo>
                    <a:pt x="177737" y="181356"/>
                    <a:pt x="175546" y="191071"/>
                    <a:pt x="171260" y="199549"/>
                  </a:cubicBezTo>
                  <a:cubicBezTo>
                    <a:pt x="166973" y="208026"/>
                    <a:pt x="161163" y="215265"/>
                    <a:pt x="153829" y="221171"/>
                  </a:cubicBezTo>
                  <a:cubicBezTo>
                    <a:pt x="146495" y="227171"/>
                    <a:pt x="137922" y="231648"/>
                    <a:pt x="127921" y="234791"/>
                  </a:cubicBezTo>
                  <a:cubicBezTo>
                    <a:pt x="117920" y="237935"/>
                    <a:pt x="107156" y="239459"/>
                    <a:pt x="95536" y="239459"/>
                  </a:cubicBezTo>
                  <a:close/>
                </a:path>
              </a:pathLst>
            </a:custGeom>
            <a:solidFill>
              <a:srgbClr val="44505E"/>
            </a:solidFill>
            <a:ln w="9525" cap="flat">
              <a:noFill/>
              <a:prstDash val="solid"/>
              <a:miter/>
            </a:ln>
          </p:spPr>
          <p:txBody>
            <a:bodyPr rtlCol="0" anchor="ctr"/>
            <a:lstStyle/>
            <a:p>
              <a:endParaRPr lang="pt-BR" noProof="0"/>
            </a:p>
          </p:txBody>
        </p:sp>
        <p:sp>
          <p:nvSpPr>
            <p:cNvPr id="45" name="Freeform: Shape 44">
              <a:extLst>
                <a:ext uri="{FF2B5EF4-FFF2-40B4-BE49-F238E27FC236}">
                  <a16:creationId xmlns:a16="http://schemas.microsoft.com/office/drawing/2014/main" id="{080E57A9-F7B3-2A20-6DAB-EF94727D9FCC}"/>
                </a:ext>
              </a:extLst>
            </p:cNvPr>
            <p:cNvSpPr/>
            <p:nvPr/>
          </p:nvSpPr>
          <p:spPr>
            <a:xfrm>
              <a:off x="605122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4 w 202977"/>
                <a:gd name="connsiteY30" fmla="*/ 174593 h 239267"/>
                <a:gd name="connsiteX31" fmla="*/ 169735 w 202977"/>
                <a:gd name="connsiteY31" fmla="*/ 149447 h 239267"/>
                <a:gd name="connsiteX32" fmla="*/ 169735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0" y="90964"/>
                    <a:pt x="98584" y="90964"/>
                  </a:cubicBezTo>
                  <a:cubicBezTo>
                    <a:pt x="113157" y="90964"/>
                    <a:pt x="126301"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1" y="33147"/>
                    <a:pt x="63436" y="36100"/>
                  </a:cubicBezTo>
                  <a:cubicBezTo>
                    <a:pt x="52292" y="39053"/>
                    <a:pt x="41338" y="43053"/>
                    <a:pt x="30671" y="48196"/>
                  </a:cubicBezTo>
                  <a:lnTo>
                    <a:pt x="20383" y="19907"/>
                  </a:lnTo>
                  <a:cubicBezTo>
                    <a:pt x="33147" y="13906"/>
                    <a:pt x="46101" y="9049"/>
                    <a:pt x="59246" y="5429"/>
                  </a:cubicBezTo>
                  <a:cubicBezTo>
                    <a:pt x="72295"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1" y="239173"/>
                  </a:cubicBezTo>
                  <a:close/>
                  <a:moveTo>
                    <a:pt x="93154" y="211169"/>
                  </a:moveTo>
                  <a:cubicBezTo>
                    <a:pt x="103822" y="211169"/>
                    <a:pt x="113728" y="209740"/>
                    <a:pt x="122967" y="206788"/>
                  </a:cubicBezTo>
                  <a:cubicBezTo>
                    <a:pt x="132207" y="203835"/>
                    <a:pt x="140208" y="199644"/>
                    <a:pt x="147256" y="194120"/>
                  </a:cubicBezTo>
                  <a:cubicBezTo>
                    <a:pt x="154209" y="188595"/>
                    <a:pt x="159734" y="182118"/>
                    <a:pt x="163734" y="174593"/>
                  </a:cubicBezTo>
                  <a:cubicBezTo>
                    <a:pt x="167735" y="167068"/>
                    <a:pt x="169735" y="158687"/>
                    <a:pt x="169735" y="149447"/>
                  </a:cubicBezTo>
                  <a:lnTo>
                    <a:pt x="169735" y="128111"/>
                  </a:lnTo>
                  <a:cubicBezTo>
                    <a:pt x="161163" y="125730"/>
                    <a:pt x="151352" y="123539"/>
                    <a:pt x="140398" y="121444"/>
                  </a:cubicBezTo>
                  <a:cubicBezTo>
                    <a:pt x="129445" y="119348"/>
                    <a:pt x="116872"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46" name="Freeform: Shape 45">
              <a:extLst>
                <a:ext uri="{FF2B5EF4-FFF2-40B4-BE49-F238E27FC236}">
                  <a16:creationId xmlns:a16="http://schemas.microsoft.com/office/drawing/2014/main" id="{25E9BB61-E9AD-10D5-BD7D-F75C13D0FF4A}"/>
                </a:ext>
              </a:extLst>
            </p:cNvPr>
            <p:cNvSpPr/>
            <p:nvPr/>
          </p:nvSpPr>
          <p:spPr>
            <a:xfrm>
              <a:off x="6121359" y="901377"/>
              <a:ext cx="8644" cy="81913"/>
            </a:xfrm>
            <a:custGeom>
              <a:avLst/>
              <a:gdLst>
                <a:gd name="connsiteX0" fmla="*/ 0 w 34385"/>
                <a:gd name="connsiteY0" fmla="*/ 0 h 325850"/>
                <a:gd name="connsiteX1" fmla="*/ 34385 w 34385"/>
                <a:gd name="connsiteY1" fmla="*/ 0 h 325850"/>
                <a:gd name="connsiteX2" fmla="*/ 34385 w 34385"/>
                <a:gd name="connsiteY2" fmla="*/ 325850 h 325850"/>
                <a:gd name="connsiteX3" fmla="*/ 0 w 34385"/>
                <a:gd name="connsiteY3" fmla="*/ 325850 h 325850"/>
                <a:gd name="connsiteX4" fmla="*/ 0 w 34385"/>
                <a:gd name="connsiteY4" fmla="*/ 0 h 32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 h="325850">
                  <a:moveTo>
                    <a:pt x="0" y="0"/>
                  </a:moveTo>
                  <a:lnTo>
                    <a:pt x="34385" y="0"/>
                  </a:lnTo>
                  <a:lnTo>
                    <a:pt x="34385" y="325850"/>
                  </a:lnTo>
                  <a:lnTo>
                    <a:pt x="0" y="325850"/>
                  </a:lnTo>
                  <a:lnTo>
                    <a:pt x="0" y="0"/>
                  </a:lnTo>
                  <a:close/>
                </a:path>
              </a:pathLst>
            </a:custGeom>
            <a:solidFill>
              <a:srgbClr val="44505E"/>
            </a:solidFill>
            <a:ln w="9525" cap="flat">
              <a:noFill/>
              <a:prstDash val="solid"/>
              <a:miter/>
            </a:ln>
          </p:spPr>
          <p:txBody>
            <a:bodyPr rtlCol="0" anchor="ctr"/>
            <a:lstStyle/>
            <a:p>
              <a:endParaRPr lang="pt-BR" noProof="0"/>
            </a:p>
          </p:txBody>
        </p:sp>
        <p:sp>
          <p:nvSpPr>
            <p:cNvPr id="47" name="Freeform: Shape 46">
              <a:extLst>
                <a:ext uri="{FF2B5EF4-FFF2-40B4-BE49-F238E27FC236}">
                  <a16:creationId xmlns:a16="http://schemas.microsoft.com/office/drawing/2014/main" id="{EC4231C0-F5F3-B5DE-B597-B54C23348E4D}"/>
                </a:ext>
              </a:extLst>
            </p:cNvPr>
            <p:cNvSpPr/>
            <p:nvPr/>
          </p:nvSpPr>
          <p:spPr>
            <a:xfrm>
              <a:off x="6144346" y="925273"/>
              <a:ext cx="58016" cy="58448"/>
            </a:xfrm>
            <a:custGeom>
              <a:avLst/>
              <a:gdLst>
                <a:gd name="connsiteX0" fmla="*/ 95 w 230790"/>
                <a:gd name="connsiteY0" fmla="*/ 0 h 232505"/>
                <a:gd name="connsiteX1" fmla="*/ 38005 w 230790"/>
                <a:gd name="connsiteY1" fmla="*/ 0 h 232505"/>
                <a:gd name="connsiteX2" fmla="*/ 115634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4"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48" name="Freeform: Shape 47">
              <a:extLst>
                <a:ext uri="{FF2B5EF4-FFF2-40B4-BE49-F238E27FC236}">
                  <a16:creationId xmlns:a16="http://schemas.microsoft.com/office/drawing/2014/main" id="{3C774624-7A88-80EA-485B-E621F06A6ABE}"/>
                </a:ext>
              </a:extLst>
            </p:cNvPr>
            <p:cNvSpPr/>
            <p:nvPr/>
          </p:nvSpPr>
          <p:spPr>
            <a:xfrm>
              <a:off x="621155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8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338 w 202977"/>
                <a:gd name="connsiteY36" fmla="*/ 164497 h 239267"/>
                <a:gd name="connsiteX37" fmla="*/ 35338 w 202977"/>
                <a:gd name="connsiteY37" fmla="*/ 165449 h 239267"/>
                <a:gd name="connsiteX38" fmla="*/ 40005 w 202977"/>
                <a:gd name="connsiteY38" fmla="*/ 184785 h 239267"/>
                <a:gd name="connsiteX39" fmla="*/ 52673 w 202977"/>
                <a:gd name="connsiteY39" fmla="*/ 199263 h 239267"/>
                <a:gd name="connsiteX40" fmla="*/ 71152 w 202977"/>
                <a:gd name="connsiteY40" fmla="*/ 208121 h 239267"/>
                <a:gd name="connsiteX41" fmla="*/ 93154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438" y="239268"/>
                    <a:pt x="64961"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1" y="90964"/>
                    <a:pt x="98584" y="90964"/>
                  </a:cubicBezTo>
                  <a:cubicBezTo>
                    <a:pt x="113157" y="90964"/>
                    <a:pt x="126302" y="91821"/>
                    <a:pt x="137160" y="93631"/>
                  </a:cubicBezTo>
                  <a:cubicBezTo>
                    <a:pt x="148019" y="95440"/>
                    <a:pt x="158687" y="97822"/>
                    <a:pt x="169069" y="100774"/>
                  </a:cubicBezTo>
                  <a:lnTo>
                    <a:pt x="169069" y="93726"/>
                  </a:lnTo>
                  <a:cubicBezTo>
                    <a:pt x="169069" y="73342"/>
                    <a:pt x="163068" y="57912"/>
                    <a:pt x="151162" y="47339"/>
                  </a:cubicBezTo>
                  <a:cubicBezTo>
                    <a:pt x="139255" y="36862"/>
                    <a:pt x="122491" y="31623"/>
                    <a:pt x="100679" y="31623"/>
                  </a:cubicBezTo>
                  <a:cubicBezTo>
                    <a:pt x="86963" y="31623"/>
                    <a:pt x="74581" y="33147"/>
                    <a:pt x="63437" y="36100"/>
                  </a:cubicBezTo>
                  <a:cubicBezTo>
                    <a:pt x="52292" y="39053"/>
                    <a:pt x="41338" y="43053"/>
                    <a:pt x="30671" y="48196"/>
                  </a:cubicBezTo>
                  <a:lnTo>
                    <a:pt x="20383" y="19907"/>
                  </a:lnTo>
                  <a:cubicBezTo>
                    <a:pt x="33147" y="13906"/>
                    <a:pt x="46101" y="9049"/>
                    <a:pt x="59246" y="5429"/>
                  </a:cubicBezTo>
                  <a:cubicBezTo>
                    <a:pt x="72390"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04" y="239173"/>
                    <a:pt x="86011" y="239173"/>
                  </a:cubicBezTo>
                  <a:close/>
                  <a:moveTo>
                    <a:pt x="93154" y="211169"/>
                  </a:moveTo>
                  <a:cubicBezTo>
                    <a:pt x="103822" y="211169"/>
                    <a:pt x="113824" y="209740"/>
                    <a:pt x="122968" y="206788"/>
                  </a:cubicBezTo>
                  <a:cubicBezTo>
                    <a:pt x="132112"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5" y="119348"/>
                    <a:pt x="116777" y="118300"/>
                    <a:pt x="102584" y="118300"/>
                  </a:cubicBezTo>
                  <a:cubicBezTo>
                    <a:pt x="81248" y="118300"/>
                    <a:pt x="64675" y="122491"/>
                    <a:pt x="52959" y="130969"/>
                  </a:cubicBezTo>
                  <a:cubicBezTo>
                    <a:pt x="41243" y="139446"/>
                    <a:pt x="35338" y="150590"/>
                    <a:pt x="35338" y="164497"/>
                  </a:cubicBezTo>
                  <a:lnTo>
                    <a:pt x="35338" y="165449"/>
                  </a:lnTo>
                  <a:cubicBezTo>
                    <a:pt x="35338" y="172498"/>
                    <a:pt x="36862" y="178975"/>
                    <a:pt x="40005" y="184785"/>
                  </a:cubicBezTo>
                  <a:cubicBezTo>
                    <a:pt x="43148" y="190500"/>
                    <a:pt x="47339" y="195358"/>
                    <a:pt x="52673" y="199263"/>
                  </a:cubicBezTo>
                  <a:cubicBezTo>
                    <a:pt x="58007" y="203073"/>
                    <a:pt x="64198" y="206026"/>
                    <a:pt x="71152" y="208121"/>
                  </a:cubicBezTo>
                  <a:cubicBezTo>
                    <a:pt x="78105" y="210217"/>
                    <a:pt x="85439" y="211169"/>
                    <a:pt x="93154" y="211169"/>
                  </a:cubicBezTo>
                  <a:close/>
                </a:path>
              </a:pathLst>
            </a:custGeom>
            <a:solidFill>
              <a:srgbClr val="44505E"/>
            </a:solidFill>
            <a:ln w="9525" cap="flat">
              <a:noFill/>
              <a:prstDash val="solid"/>
              <a:miter/>
            </a:ln>
          </p:spPr>
          <p:txBody>
            <a:bodyPr rtlCol="0" anchor="ctr"/>
            <a:lstStyle/>
            <a:p>
              <a:endParaRPr lang="pt-BR" noProof="0"/>
            </a:p>
          </p:txBody>
        </p:sp>
        <p:sp>
          <p:nvSpPr>
            <p:cNvPr id="49" name="Freeform: Shape 48">
              <a:extLst>
                <a:ext uri="{FF2B5EF4-FFF2-40B4-BE49-F238E27FC236}">
                  <a16:creationId xmlns:a16="http://schemas.microsoft.com/office/drawing/2014/main" id="{BB5D29C7-0BD2-3F84-7828-7D60F604CEC1}"/>
                </a:ext>
              </a:extLst>
            </p:cNvPr>
            <p:cNvSpPr/>
            <p:nvPr/>
          </p:nvSpPr>
          <p:spPr>
            <a:xfrm>
              <a:off x="6280899" y="923980"/>
              <a:ext cx="87995" cy="59238"/>
            </a:xfrm>
            <a:custGeom>
              <a:avLst/>
              <a:gdLst>
                <a:gd name="connsiteX0" fmla="*/ 0 w 350043"/>
                <a:gd name="connsiteY0" fmla="*/ 5144 h 235648"/>
                <a:gd name="connsiteX1" fmla="*/ 34385 w 350043"/>
                <a:gd name="connsiteY1" fmla="*/ 5144 h 235648"/>
                <a:gd name="connsiteX2" fmla="*/ 34385 w 350043"/>
                <a:gd name="connsiteY2" fmla="*/ 44005 h 235648"/>
                <a:gd name="connsiteX3" fmla="*/ 47149 w 350043"/>
                <a:gd name="connsiteY3" fmla="*/ 27432 h 235648"/>
                <a:gd name="connsiteX4" fmla="*/ 62960 w 350043"/>
                <a:gd name="connsiteY4" fmla="*/ 13335 h 235648"/>
                <a:gd name="connsiteX5" fmla="*/ 83058 w 350043"/>
                <a:gd name="connsiteY5" fmla="*/ 3715 h 235648"/>
                <a:gd name="connsiteX6" fmla="*/ 108966 w 350043"/>
                <a:gd name="connsiteY6" fmla="*/ 95 h 235648"/>
                <a:gd name="connsiteX7" fmla="*/ 155448 w 350043"/>
                <a:gd name="connsiteY7" fmla="*/ 13240 h 235648"/>
                <a:gd name="connsiteX8" fmla="*/ 183166 w 350043"/>
                <a:gd name="connsiteY8" fmla="*/ 46006 h 235648"/>
                <a:gd name="connsiteX9" fmla="*/ 197168 w 350043"/>
                <a:gd name="connsiteY9" fmla="*/ 28194 h 235648"/>
                <a:gd name="connsiteX10" fmla="*/ 214789 w 350043"/>
                <a:gd name="connsiteY10" fmla="*/ 13430 h 235648"/>
                <a:gd name="connsiteX11" fmla="*/ 236887 w 350043"/>
                <a:gd name="connsiteY11" fmla="*/ 3620 h 235648"/>
                <a:gd name="connsiteX12" fmla="*/ 264319 w 350043"/>
                <a:gd name="connsiteY12" fmla="*/ 0 h 235648"/>
                <a:gd name="connsiteX13" fmla="*/ 327279 w 350043"/>
                <a:gd name="connsiteY13" fmla="*/ 24765 h 235648"/>
                <a:gd name="connsiteX14" fmla="*/ 350044 w 350043"/>
                <a:gd name="connsiteY14" fmla="*/ 92773 h 235648"/>
                <a:gd name="connsiteX15" fmla="*/ 350044 w 350043"/>
                <a:gd name="connsiteY15" fmla="*/ 235648 h 235648"/>
                <a:gd name="connsiteX16" fmla="*/ 315659 w 350043"/>
                <a:gd name="connsiteY16" fmla="*/ 235648 h 235648"/>
                <a:gd name="connsiteX17" fmla="*/ 315659 w 350043"/>
                <a:gd name="connsiteY17" fmla="*/ 101155 h 235648"/>
                <a:gd name="connsiteX18" fmla="*/ 299847 w 350043"/>
                <a:gd name="connsiteY18" fmla="*/ 49721 h 235648"/>
                <a:gd name="connsiteX19" fmla="*/ 255937 w 350043"/>
                <a:gd name="connsiteY19" fmla="*/ 31718 h 235648"/>
                <a:gd name="connsiteX20" fmla="*/ 231362 w 350043"/>
                <a:gd name="connsiteY20" fmla="*/ 36386 h 235648"/>
                <a:gd name="connsiteX21" fmla="*/ 211074 w 350043"/>
                <a:gd name="connsiteY21" fmla="*/ 50197 h 235648"/>
                <a:gd name="connsiteX22" fmla="*/ 197263 w 350043"/>
                <a:gd name="connsiteY22" fmla="*/ 72676 h 235648"/>
                <a:gd name="connsiteX23" fmla="*/ 192119 w 350043"/>
                <a:gd name="connsiteY23" fmla="*/ 102965 h 235648"/>
                <a:gd name="connsiteX24" fmla="*/ 192119 w 350043"/>
                <a:gd name="connsiteY24" fmla="*/ 235648 h 235648"/>
                <a:gd name="connsiteX25" fmla="*/ 158210 w 350043"/>
                <a:gd name="connsiteY25" fmla="*/ 235648 h 235648"/>
                <a:gd name="connsiteX26" fmla="*/ 158210 w 350043"/>
                <a:gd name="connsiteY26" fmla="*/ 100298 h 235648"/>
                <a:gd name="connsiteX27" fmla="*/ 142399 w 350043"/>
                <a:gd name="connsiteY27" fmla="*/ 49721 h 235648"/>
                <a:gd name="connsiteX28" fmla="*/ 98870 w 350043"/>
                <a:gd name="connsiteY28" fmla="*/ 31718 h 235648"/>
                <a:gd name="connsiteX29" fmla="*/ 73438 w 350043"/>
                <a:gd name="connsiteY29" fmla="*/ 37052 h 235648"/>
                <a:gd name="connsiteX30" fmla="*/ 53150 w 350043"/>
                <a:gd name="connsiteY30" fmla="*/ 52197 h 235648"/>
                <a:gd name="connsiteX31" fmla="*/ 39529 w 350043"/>
                <a:gd name="connsiteY31" fmla="*/ 75152 h 235648"/>
                <a:gd name="connsiteX32" fmla="*/ 34576 w 350043"/>
                <a:gd name="connsiteY32" fmla="*/ 104299 h 235648"/>
                <a:gd name="connsiteX33" fmla="*/ 34576 w 350043"/>
                <a:gd name="connsiteY33" fmla="*/ 235648 h 235648"/>
                <a:gd name="connsiteX34" fmla="*/ 190 w 350043"/>
                <a:gd name="connsiteY34" fmla="*/ 235648 h 235648"/>
                <a:gd name="connsiteX35" fmla="*/ 190 w 350043"/>
                <a:gd name="connsiteY35" fmla="*/ 485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0043" h="235648">
                  <a:moveTo>
                    <a:pt x="0" y="5144"/>
                  </a:moveTo>
                  <a:lnTo>
                    <a:pt x="34385" y="5144"/>
                  </a:lnTo>
                  <a:lnTo>
                    <a:pt x="34385" y="44005"/>
                  </a:lnTo>
                  <a:cubicBezTo>
                    <a:pt x="38290" y="38386"/>
                    <a:pt x="42481" y="32861"/>
                    <a:pt x="47149" y="27432"/>
                  </a:cubicBezTo>
                  <a:cubicBezTo>
                    <a:pt x="51721" y="22098"/>
                    <a:pt x="57055" y="17431"/>
                    <a:pt x="62960" y="13335"/>
                  </a:cubicBezTo>
                  <a:cubicBezTo>
                    <a:pt x="68866" y="9335"/>
                    <a:pt x="75629" y="6096"/>
                    <a:pt x="83058" y="3715"/>
                  </a:cubicBezTo>
                  <a:cubicBezTo>
                    <a:pt x="90488" y="1334"/>
                    <a:pt x="99155" y="95"/>
                    <a:pt x="108966" y="95"/>
                  </a:cubicBezTo>
                  <a:cubicBezTo>
                    <a:pt x="127730" y="95"/>
                    <a:pt x="143161" y="4477"/>
                    <a:pt x="155448" y="13240"/>
                  </a:cubicBezTo>
                  <a:cubicBezTo>
                    <a:pt x="167640" y="22003"/>
                    <a:pt x="176879" y="32956"/>
                    <a:pt x="183166" y="46006"/>
                  </a:cubicBezTo>
                  <a:cubicBezTo>
                    <a:pt x="187357" y="39719"/>
                    <a:pt x="192024" y="33814"/>
                    <a:pt x="197168" y="28194"/>
                  </a:cubicBezTo>
                  <a:cubicBezTo>
                    <a:pt x="202406" y="22574"/>
                    <a:pt x="208217" y="17621"/>
                    <a:pt x="214789" y="13430"/>
                  </a:cubicBezTo>
                  <a:cubicBezTo>
                    <a:pt x="221361" y="9239"/>
                    <a:pt x="228695" y="6001"/>
                    <a:pt x="236887" y="3620"/>
                  </a:cubicBezTo>
                  <a:cubicBezTo>
                    <a:pt x="245078" y="1238"/>
                    <a:pt x="254222" y="0"/>
                    <a:pt x="264319" y="0"/>
                  </a:cubicBezTo>
                  <a:cubicBezTo>
                    <a:pt x="291084" y="0"/>
                    <a:pt x="312039" y="8287"/>
                    <a:pt x="327279" y="24765"/>
                  </a:cubicBezTo>
                  <a:cubicBezTo>
                    <a:pt x="342519" y="41243"/>
                    <a:pt x="350044" y="63913"/>
                    <a:pt x="350044" y="92773"/>
                  </a:cubicBezTo>
                  <a:lnTo>
                    <a:pt x="350044" y="235648"/>
                  </a:lnTo>
                  <a:lnTo>
                    <a:pt x="315659" y="235648"/>
                  </a:lnTo>
                  <a:lnTo>
                    <a:pt x="315659" y="101155"/>
                  </a:lnTo>
                  <a:cubicBezTo>
                    <a:pt x="315659" y="78867"/>
                    <a:pt x="310420" y="61722"/>
                    <a:pt x="299847" y="49721"/>
                  </a:cubicBezTo>
                  <a:cubicBezTo>
                    <a:pt x="289274" y="37719"/>
                    <a:pt x="274606" y="31718"/>
                    <a:pt x="255937" y="31718"/>
                  </a:cubicBezTo>
                  <a:cubicBezTo>
                    <a:pt x="247269" y="31718"/>
                    <a:pt x="239078" y="33242"/>
                    <a:pt x="231362" y="36386"/>
                  </a:cubicBezTo>
                  <a:cubicBezTo>
                    <a:pt x="223647" y="39529"/>
                    <a:pt x="216884" y="44101"/>
                    <a:pt x="211074" y="50197"/>
                  </a:cubicBezTo>
                  <a:cubicBezTo>
                    <a:pt x="205264" y="56293"/>
                    <a:pt x="200692" y="63818"/>
                    <a:pt x="197263" y="72676"/>
                  </a:cubicBezTo>
                  <a:cubicBezTo>
                    <a:pt x="193834" y="81629"/>
                    <a:pt x="192119" y="91726"/>
                    <a:pt x="192119" y="102965"/>
                  </a:cubicBezTo>
                  <a:lnTo>
                    <a:pt x="192119" y="235648"/>
                  </a:lnTo>
                  <a:lnTo>
                    <a:pt x="158210" y="235648"/>
                  </a:lnTo>
                  <a:lnTo>
                    <a:pt x="158210" y="100298"/>
                  </a:lnTo>
                  <a:cubicBezTo>
                    <a:pt x="158210" y="78677"/>
                    <a:pt x="152971" y="61817"/>
                    <a:pt x="142399" y="49721"/>
                  </a:cubicBezTo>
                  <a:cubicBezTo>
                    <a:pt x="131826" y="37719"/>
                    <a:pt x="117348" y="31718"/>
                    <a:pt x="98870" y="31718"/>
                  </a:cubicBezTo>
                  <a:cubicBezTo>
                    <a:pt x="89630" y="31718"/>
                    <a:pt x="81153" y="33528"/>
                    <a:pt x="73438" y="37052"/>
                  </a:cubicBezTo>
                  <a:cubicBezTo>
                    <a:pt x="65722" y="40672"/>
                    <a:pt x="58960" y="45720"/>
                    <a:pt x="53150" y="52197"/>
                  </a:cubicBezTo>
                  <a:cubicBezTo>
                    <a:pt x="47339" y="58769"/>
                    <a:pt x="42767" y="66389"/>
                    <a:pt x="39529" y="75152"/>
                  </a:cubicBezTo>
                  <a:cubicBezTo>
                    <a:pt x="36290" y="83915"/>
                    <a:pt x="34576" y="93631"/>
                    <a:pt x="34576" y="104299"/>
                  </a:cubicBezTo>
                  <a:lnTo>
                    <a:pt x="34576" y="235648"/>
                  </a:lnTo>
                  <a:lnTo>
                    <a:pt x="190" y="235648"/>
                  </a:lnTo>
                  <a:lnTo>
                    <a:pt x="190" y="4858"/>
                  </a:lnTo>
                  <a:close/>
                </a:path>
              </a:pathLst>
            </a:custGeom>
            <a:solidFill>
              <a:srgbClr val="44505E"/>
            </a:solidFill>
            <a:ln w="9525" cap="flat">
              <a:noFill/>
              <a:prstDash val="solid"/>
              <a:miter/>
            </a:ln>
          </p:spPr>
          <p:txBody>
            <a:bodyPr rtlCol="0" anchor="ctr"/>
            <a:lstStyle/>
            <a:p>
              <a:endParaRPr lang="pt-BR" noProof="0"/>
            </a:p>
          </p:txBody>
        </p:sp>
        <p:sp>
          <p:nvSpPr>
            <p:cNvPr id="50" name="Freeform: Shape 49">
              <a:extLst>
                <a:ext uri="{FF2B5EF4-FFF2-40B4-BE49-F238E27FC236}">
                  <a16:creationId xmlns:a16="http://schemas.microsoft.com/office/drawing/2014/main" id="{D424754E-18AE-A552-E9C1-B7A1385A8E78}"/>
                </a:ext>
              </a:extLst>
            </p:cNvPr>
            <p:cNvSpPr/>
            <p:nvPr/>
          </p:nvSpPr>
          <p:spPr>
            <a:xfrm>
              <a:off x="6415537" y="925273"/>
              <a:ext cx="58016" cy="58448"/>
            </a:xfrm>
            <a:custGeom>
              <a:avLst/>
              <a:gdLst>
                <a:gd name="connsiteX0" fmla="*/ 95 w 230790"/>
                <a:gd name="connsiteY0" fmla="*/ 0 h 232505"/>
                <a:gd name="connsiteX1" fmla="*/ 38005 w 230790"/>
                <a:gd name="connsiteY1" fmla="*/ 0 h 232505"/>
                <a:gd name="connsiteX2" fmla="*/ 115633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3"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51" name="Freeform: Shape 50">
              <a:extLst>
                <a:ext uri="{FF2B5EF4-FFF2-40B4-BE49-F238E27FC236}">
                  <a16:creationId xmlns:a16="http://schemas.microsoft.com/office/drawing/2014/main" id="{1C532DCD-3484-E926-2968-7C6F3EA23FCE}"/>
                </a:ext>
              </a:extLst>
            </p:cNvPr>
            <p:cNvSpPr/>
            <p:nvPr/>
          </p:nvSpPr>
          <p:spPr>
            <a:xfrm>
              <a:off x="6487369"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286 w 39242"/>
                <a:gd name="connsiteY5" fmla="*/ 88392 h 319182"/>
                <a:gd name="connsiteX6" fmla="*/ 36671 w 39242"/>
                <a:gd name="connsiteY6" fmla="*/ 88392 h 319182"/>
                <a:gd name="connsiteX7" fmla="*/ 36671 w 39242"/>
                <a:gd name="connsiteY7" fmla="*/ 319183 h 319182"/>
                <a:gd name="connsiteX8" fmla="*/ 2286 w 39242"/>
                <a:gd name="connsiteY8" fmla="*/ 319183 h 319182"/>
                <a:gd name="connsiteX9" fmla="*/ 2286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286" y="88392"/>
                  </a:moveTo>
                  <a:lnTo>
                    <a:pt x="36671" y="88392"/>
                  </a:lnTo>
                  <a:lnTo>
                    <a:pt x="36671" y="319183"/>
                  </a:lnTo>
                  <a:lnTo>
                    <a:pt x="2286" y="319183"/>
                  </a:lnTo>
                  <a:lnTo>
                    <a:pt x="2286" y="88392"/>
                  </a:lnTo>
                  <a:close/>
                </a:path>
              </a:pathLst>
            </a:custGeom>
            <a:solidFill>
              <a:srgbClr val="44505E"/>
            </a:solidFill>
            <a:ln w="9525" cap="flat">
              <a:noFill/>
              <a:prstDash val="solid"/>
              <a:miter/>
            </a:ln>
          </p:spPr>
          <p:txBody>
            <a:bodyPr rtlCol="0" anchor="ctr"/>
            <a:lstStyle/>
            <a:p>
              <a:endParaRPr lang="pt-BR" noProof="0"/>
            </a:p>
          </p:txBody>
        </p:sp>
        <p:sp>
          <p:nvSpPr>
            <p:cNvPr id="52" name="Freeform: Shape 51">
              <a:extLst>
                <a:ext uri="{FF2B5EF4-FFF2-40B4-BE49-F238E27FC236}">
                  <a16:creationId xmlns:a16="http://schemas.microsoft.com/office/drawing/2014/main" id="{45DDD8FC-D733-7EBB-9A93-A6EB489CBE4E}"/>
                </a:ext>
              </a:extLst>
            </p:cNvPr>
            <p:cNvSpPr/>
            <p:nvPr/>
          </p:nvSpPr>
          <p:spPr>
            <a:xfrm>
              <a:off x="6513253" y="901353"/>
              <a:ext cx="58615" cy="83182"/>
            </a:xfrm>
            <a:custGeom>
              <a:avLst/>
              <a:gdLst>
                <a:gd name="connsiteX0" fmla="*/ 110394 w 233171"/>
                <a:gd name="connsiteY0" fmla="*/ 330898 h 330898"/>
                <a:gd name="connsiteX1" fmla="*/ 69723 w 233171"/>
                <a:gd name="connsiteY1" fmla="*/ 322897 h 330898"/>
                <a:gd name="connsiteX2" fmla="*/ 34480 w 233171"/>
                <a:gd name="connsiteY2" fmla="*/ 299466 h 330898"/>
                <a:gd name="connsiteX3" fmla="*/ 9430 w 233171"/>
                <a:gd name="connsiteY3" fmla="*/ 261938 h 330898"/>
                <a:gd name="connsiteX4" fmla="*/ 0 w 233171"/>
                <a:gd name="connsiteY4" fmla="*/ 211264 h 330898"/>
                <a:gd name="connsiteX5" fmla="*/ 0 w 233171"/>
                <a:gd name="connsiteY5" fmla="*/ 210407 h 330898"/>
                <a:gd name="connsiteX6" fmla="*/ 9430 w 233171"/>
                <a:gd name="connsiteY6" fmla="*/ 159925 h 330898"/>
                <a:gd name="connsiteX7" fmla="*/ 34480 w 233171"/>
                <a:gd name="connsiteY7" fmla="*/ 122206 h 330898"/>
                <a:gd name="connsiteX8" fmla="*/ 69723 w 233171"/>
                <a:gd name="connsiteY8" fmla="*/ 98488 h 330898"/>
                <a:gd name="connsiteX9" fmla="*/ 110394 w 233171"/>
                <a:gd name="connsiteY9" fmla="*/ 90202 h 330898"/>
                <a:gd name="connsiteX10" fmla="*/ 139827 w 233171"/>
                <a:gd name="connsiteY10" fmla="*/ 94202 h 330898"/>
                <a:gd name="connsiteX11" fmla="*/ 163925 w 233171"/>
                <a:gd name="connsiteY11" fmla="*/ 104870 h 330898"/>
                <a:gd name="connsiteX12" fmla="*/ 183356 w 233171"/>
                <a:gd name="connsiteY12" fmla="*/ 120491 h 330898"/>
                <a:gd name="connsiteX13" fmla="*/ 198787 w 233171"/>
                <a:gd name="connsiteY13" fmla="*/ 139255 h 330898"/>
                <a:gd name="connsiteX14" fmla="*/ 198787 w 233171"/>
                <a:gd name="connsiteY14" fmla="*/ 0 h 330898"/>
                <a:gd name="connsiteX15" fmla="*/ 233172 w 233171"/>
                <a:gd name="connsiteY15" fmla="*/ 0 h 330898"/>
                <a:gd name="connsiteX16" fmla="*/ 233172 w 233171"/>
                <a:gd name="connsiteY16" fmla="*/ 325850 h 330898"/>
                <a:gd name="connsiteX17" fmla="*/ 198787 w 233171"/>
                <a:gd name="connsiteY17" fmla="*/ 325850 h 330898"/>
                <a:gd name="connsiteX18" fmla="*/ 198787 w 233171"/>
                <a:gd name="connsiteY18" fmla="*/ 279463 h 330898"/>
                <a:gd name="connsiteX19" fmla="*/ 182975 w 233171"/>
                <a:gd name="connsiteY19" fmla="*/ 299085 h 330898"/>
                <a:gd name="connsiteX20" fmla="*/ 163544 w 233171"/>
                <a:gd name="connsiteY20" fmla="*/ 315658 h 330898"/>
                <a:gd name="connsiteX21" fmla="*/ 139636 w 233171"/>
                <a:gd name="connsiteY21" fmla="*/ 326803 h 330898"/>
                <a:gd name="connsiteX22" fmla="*/ 110394 w 233171"/>
                <a:gd name="connsiteY22" fmla="*/ 330803 h 330898"/>
                <a:gd name="connsiteX23" fmla="*/ 116681 w 233171"/>
                <a:gd name="connsiteY23" fmla="*/ 300133 h 330898"/>
                <a:gd name="connsiteX24" fmla="*/ 147733 w 233171"/>
                <a:gd name="connsiteY24" fmla="*/ 293656 h 330898"/>
                <a:gd name="connsiteX25" fmla="*/ 174498 w 233171"/>
                <a:gd name="connsiteY25" fmla="*/ 275368 h 330898"/>
                <a:gd name="connsiteX26" fmla="*/ 193262 w 233171"/>
                <a:gd name="connsiteY26" fmla="*/ 247269 h 330898"/>
                <a:gd name="connsiteX27" fmla="*/ 200216 w 233171"/>
                <a:gd name="connsiteY27" fmla="*/ 210883 h 330898"/>
                <a:gd name="connsiteX28" fmla="*/ 200216 w 233171"/>
                <a:gd name="connsiteY28" fmla="*/ 210026 h 330898"/>
                <a:gd name="connsiteX29" fmla="*/ 193262 w 233171"/>
                <a:gd name="connsiteY29" fmla="*/ 173641 h 330898"/>
                <a:gd name="connsiteX30" fmla="*/ 174498 w 233171"/>
                <a:gd name="connsiteY30" fmla="*/ 145732 h 330898"/>
                <a:gd name="connsiteX31" fmla="*/ 147733 w 233171"/>
                <a:gd name="connsiteY31" fmla="*/ 127635 h 330898"/>
                <a:gd name="connsiteX32" fmla="*/ 116681 w 233171"/>
                <a:gd name="connsiteY32" fmla="*/ 121158 h 330898"/>
                <a:gd name="connsiteX33" fmla="*/ 84963 w 233171"/>
                <a:gd name="connsiteY33" fmla="*/ 127159 h 330898"/>
                <a:gd name="connsiteX34" fmla="*/ 59341 w 233171"/>
                <a:gd name="connsiteY34" fmla="*/ 144589 h 330898"/>
                <a:gd name="connsiteX35" fmla="*/ 41910 w 233171"/>
                <a:gd name="connsiteY35" fmla="*/ 172498 h 330898"/>
                <a:gd name="connsiteX36" fmla="*/ 35433 w 233171"/>
                <a:gd name="connsiteY36" fmla="*/ 210026 h 330898"/>
                <a:gd name="connsiteX37" fmla="*/ 35433 w 233171"/>
                <a:gd name="connsiteY37" fmla="*/ 210883 h 330898"/>
                <a:gd name="connsiteX38" fmla="*/ 41910 w 233171"/>
                <a:gd name="connsiteY38" fmla="*/ 247936 h 330898"/>
                <a:gd name="connsiteX39" fmla="*/ 59531 w 233171"/>
                <a:gd name="connsiteY39" fmla="*/ 276034 h 330898"/>
                <a:gd name="connsiteX40" fmla="*/ 85439 w 233171"/>
                <a:gd name="connsiteY40" fmla="*/ 293941 h 330898"/>
                <a:gd name="connsiteX41" fmla="*/ 116681 w 23317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3171" h="330898">
                  <a:moveTo>
                    <a:pt x="110394" y="330898"/>
                  </a:moveTo>
                  <a:cubicBezTo>
                    <a:pt x="96393" y="330898"/>
                    <a:pt x="82868" y="328231"/>
                    <a:pt x="69723" y="322897"/>
                  </a:cubicBezTo>
                  <a:cubicBezTo>
                    <a:pt x="56674" y="317563"/>
                    <a:pt x="44863" y="309753"/>
                    <a:pt x="34480" y="299466"/>
                  </a:cubicBezTo>
                  <a:cubicBezTo>
                    <a:pt x="24003" y="289179"/>
                    <a:pt x="15716" y="276701"/>
                    <a:pt x="9430" y="261938"/>
                  </a:cubicBezTo>
                  <a:cubicBezTo>
                    <a:pt x="3143" y="247174"/>
                    <a:pt x="0" y="230314"/>
                    <a:pt x="0" y="211264"/>
                  </a:cubicBezTo>
                  <a:lnTo>
                    <a:pt x="0" y="210407"/>
                  </a:lnTo>
                  <a:cubicBezTo>
                    <a:pt x="0" y="191643"/>
                    <a:pt x="3143" y="174879"/>
                    <a:pt x="9430" y="159925"/>
                  </a:cubicBezTo>
                  <a:cubicBezTo>
                    <a:pt x="15716" y="145066"/>
                    <a:pt x="24003" y="132493"/>
                    <a:pt x="34480" y="122206"/>
                  </a:cubicBezTo>
                  <a:cubicBezTo>
                    <a:pt x="44863" y="111919"/>
                    <a:pt x="56674" y="104013"/>
                    <a:pt x="69723" y="98488"/>
                  </a:cubicBezTo>
                  <a:cubicBezTo>
                    <a:pt x="82868" y="92964"/>
                    <a:pt x="96393" y="90202"/>
                    <a:pt x="110394" y="90202"/>
                  </a:cubicBezTo>
                  <a:cubicBezTo>
                    <a:pt x="121158" y="90202"/>
                    <a:pt x="130969" y="91535"/>
                    <a:pt x="139827" y="94202"/>
                  </a:cubicBezTo>
                  <a:cubicBezTo>
                    <a:pt x="148780" y="96869"/>
                    <a:pt x="156782" y="100489"/>
                    <a:pt x="163925" y="104870"/>
                  </a:cubicBezTo>
                  <a:cubicBezTo>
                    <a:pt x="171069" y="109347"/>
                    <a:pt x="177546" y="114586"/>
                    <a:pt x="183356" y="120491"/>
                  </a:cubicBezTo>
                  <a:cubicBezTo>
                    <a:pt x="189166" y="126492"/>
                    <a:pt x="194310" y="132683"/>
                    <a:pt x="198787" y="139255"/>
                  </a:cubicBezTo>
                  <a:lnTo>
                    <a:pt x="198787" y="0"/>
                  </a:lnTo>
                  <a:lnTo>
                    <a:pt x="233172" y="0"/>
                  </a:lnTo>
                  <a:lnTo>
                    <a:pt x="233172" y="325850"/>
                  </a:lnTo>
                  <a:lnTo>
                    <a:pt x="198787" y="325850"/>
                  </a:lnTo>
                  <a:lnTo>
                    <a:pt x="198787" y="279463"/>
                  </a:lnTo>
                  <a:cubicBezTo>
                    <a:pt x="194024" y="286321"/>
                    <a:pt x="188786" y="292894"/>
                    <a:pt x="182975" y="299085"/>
                  </a:cubicBezTo>
                  <a:cubicBezTo>
                    <a:pt x="177165" y="305371"/>
                    <a:pt x="170688" y="310896"/>
                    <a:pt x="163544" y="315658"/>
                  </a:cubicBezTo>
                  <a:cubicBezTo>
                    <a:pt x="156400" y="320421"/>
                    <a:pt x="148494" y="324136"/>
                    <a:pt x="139636" y="326803"/>
                  </a:cubicBezTo>
                  <a:cubicBezTo>
                    <a:pt x="130873" y="329470"/>
                    <a:pt x="121158" y="330803"/>
                    <a:pt x="110394" y="330803"/>
                  </a:cubicBezTo>
                  <a:close/>
                  <a:moveTo>
                    <a:pt x="116681" y="300133"/>
                  </a:moveTo>
                  <a:cubicBezTo>
                    <a:pt x="127445" y="300133"/>
                    <a:pt x="137732" y="297942"/>
                    <a:pt x="147733" y="293656"/>
                  </a:cubicBezTo>
                  <a:cubicBezTo>
                    <a:pt x="157734" y="289369"/>
                    <a:pt x="166592" y="283273"/>
                    <a:pt x="174498" y="275368"/>
                  </a:cubicBezTo>
                  <a:cubicBezTo>
                    <a:pt x="182404" y="267462"/>
                    <a:pt x="188595" y="258127"/>
                    <a:pt x="193262" y="247269"/>
                  </a:cubicBezTo>
                  <a:cubicBezTo>
                    <a:pt x="197834" y="236410"/>
                    <a:pt x="200216" y="224314"/>
                    <a:pt x="200216" y="210883"/>
                  </a:cubicBezTo>
                  <a:lnTo>
                    <a:pt x="200216" y="210026"/>
                  </a:lnTo>
                  <a:cubicBezTo>
                    <a:pt x="200216" y="196596"/>
                    <a:pt x="197929" y="184499"/>
                    <a:pt x="193262" y="173641"/>
                  </a:cubicBezTo>
                  <a:cubicBezTo>
                    <a:pt x="188595" y="162782"/>
                    <a:pt x="182404" y="153448"/>
                    <a:pt x="174498" y="145732"/>
                  </a:cubicBezTo>
                  <a:cubicBezTo>
                    <a:pt x="166592" y="138017"/>
                    <a:pt x="157639" y="132016"/>
                    <a:pt x="147733" y="127635"/>
                  </a:cubicBezTo>
                  <a:cubicBezTo>
                    <a:pt x="137732" y="123349"/>
                    <a:pt x="127445" y="121158"/>
                    <a:pt x="116681" y="121158"/>
                  </a:cubicBezTo>
                  <a:cubicBezTo>
                    <a:pt x="105346" y="121158"/>
                    <a:pt x="94774" y="123158"/>
                    <a:pt x="84963" y="127159"/>
                  </a:cubicBezTo>
                  <a:cubicBezTo>
                    <a:pt x="75152" y="131159"/>
                    <a:pt x="66580" y="136969"/>
                    <a:pt x="59341" y="144589"/>
                  </a:cubicBezTo>
                  <a:cubicBezTo>
                    <a:pt x="52007" y="152114"/>
                    <a:pt x="46291" y="161449"/>
                    <a:pt x="41910" y="172498"/>
                  </a:cubicBezTo>
                  <a:cubicBezTo>
                    <a:pt x="37624" y="183451"/>
                    <a:pt x="35433" y="196024"/>
                    <a:pt x="35433" y="210026"/>
                  </a:cubicBezTo>
                  <a:lnTo>
                    <a:pt x="35433" y="210883"/>
                  </a:lnTo>
                  <a:cubicBezTo>
                    <a:pt x="35433" y="224599"/>
                    <a:pt x="37624" y="236982"/>
                    <a:pt x="41910" y="247936"/>
                  </a:cubicBezTo>
                  <a:cubicBezTo>
                    <a:pt x="46196" y="258984"/>
                    <a:pt x="52101" y="268319"/>
                    <a:pt x="59531" y="276034"/>
                  </a:cubicBezTo>
                  <a:cubicBezTo>
                    <a:pt x="66960" y="283750"/>
                    <a:pt x="75629" y="289750"/>
                    <a:pt x="85439" y="293941"/>
                  </a:cubicBezTo>
                  <a:cubicBezTo>
                    <a:pt x="95250" y="298132"/>
                    <a:pt x="105632" y="300228"/>
                    <a:pt x="116681" y="300228"/>
                  </a:cubicBezTo>
                  <a:close/>
                </a:path>
              </a:pathLst>
            </a:custGeom>
            <a:solidFill>
              <a:srgbClr val="44505E"/>
            </a:solidFill>
            <a:ln w="9525" cap="flat">
              <a:noFill/>
              <a:prstDash val="solid"/>
              <a:miter/>
            </a:ln>
          </p:spPr>
          <p:txBody>
            <a:bodyPr rtlCol="0" anchor="ctr"/>
            <a:lstStyle/>
            <a:p>
              <a:endParaRPr lang="pt-BR" noProof="0"/>
            </a:p>
          </p:txBody>
        </p:sp>
        <p:sp>
          <p:nvSpPr>
            <p:cNvPr id="53" name="Freeform: Shape 52">
              <a:extLst>
                <a:ext uri="{FF2B5EF4-FFF2-40B4-BE49-F238E27FC236}">
                  <a16:creationId xmlns:a16="http://schemas.microsoft.com/office/drawing/2014/main" id="{E8685EFE-0B99-F279-4E8C-2F66BFBC163D}"/>
                </a:ext>
              </a:extLst>
            </p:cNvPr>
            <p:cNvSpPr/>
            <p:nvPr/>
          </p:nvSpPr>
          <p:spPr>
            <a:xfrm>
              <a:off x="6586762"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0 w 202977"/>
                <a:gd name="connsiteY16" fmla="*/ 48196 h 239267"/>
                <a:gd name="connsiteX17" fmla="*/ 20383 w 202977"/>
                <a:gd name="connsiteY17" fmla="*/ 19907 h 239267"/>
                <a:gd name="connsiteX18" fmla="*/ 59245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0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1"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675" y="92678"/>
                    <a:pt x="84011" y="90964"/>
                    <a:pt x="98584" y="90964"/>
                  </a:cubicBezTo>
                  <a:cubicBezTo>
                    <a:pt x="113157" y="90964"/>
                    <a:pt x="126302"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0" y="33147"/>
                    <a:pt x="63436" y="36100"/>
                  </a:cubicBezTo>
                  <a:cubicBezTo>
                    <a:pt x="52292" y="39053"/>
                    <a:pt x="41338" y="43053"/>
                    <a:pt x="30670" y="48196"/>
                  </a:cubicBezTo>
                  <a:lnTo>
                    <a:pt x="20383" y="19907"/>
                  </a:lnTo>
                  <a:cubicBezTo>
                    <a:pt x="33147" y="13906"/>
                    <a:pt x="46101" y="9049"/>
                    <a:pt x="59245" y="5429"/>
                  </a:cubicBezTo>
                  <a:cubicBezTo>
                    <a:pt x="72294" y="1810"/>
                    <a:pt x="87344" y="0"/>
                    <a:pt x="104299" y="0"/>
                  </a:cubicBezTo>
                  <a:cubicBezTo>
                    <a:pt x="137064" y="0"/>
                    <a:pt x="161925" y="8477"/>
                    <a:pt x="178879" y="25432"/>
                  </a:cubicBezTo>
                  <a:cubicBezTo>
                    <a:pt x="194976"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0" y="239173"/>
                  </a:cubicBezTo>
                  <a:close/>
                  <a:moveTo>
                    <a:pt x="93154" y="211169"/>
                  </a:moveTo>
                  <a:cubicBezTo>
                    <a:pt x="103822" y="211169"/>
                    <a:pt x="113729" y="209740"/>
                    <a:pt x="122967" y="206788"/>
                  </a:cubicBezTo>
                  <a:cubicBezTo>
                    <a:pt x="132207"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4" y="119348"/>
                    <a:pt x="116871"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54" name="Freeform: Shape 53">
              <a:extLst>
                <a:ext uri="{FF2B5EF4-FFF2-40B4-BE49-F238E27FC236}">
                  <a16:creationId xmlns:a16="http://schemas.microsoft.com/office/drawing/2014/main" id="{A4D2BA6F-2A25-B2EF-C590-A6AFCB7C7FE8}"/>
                </a:ext>
              </a:extLst>
            </p:cNvPr>
            <p:cNvSpPr/>
            <p:nvPr/>
          </p:nvSpPr>
          <p:spPr>
            <a:xfrm>
              <a:off x="6651291" y="924268"/>
              <a:ext cx="44680" cy="60195"/>
            </a:xfrm>
            <a:custGeom>
              <a:avLst/>
              <a:gdLst>
                <a:gd name="connsiteX0" fmla="*/ 95535 w 177736"/>
                <a:gd name="connsiteY0" fmla="*/ 239268 h 239458"/>
                <a:gd name="connsiteX1" fmla="*/ 45053 w 177736"/>
                <a:gd name="connsiteY1" fmla="*/ 230124 h 239458"/>
                <a:gd name="connsiteX2" fmla="*/ 0 w 177736"/>
                <a:gd name="connsiteY2" fmla="*/ 205359 h 239458"/>
                <a:gd name="connsiteX3" fmla="*/ 17430 w 177736"/>
                <a:gd name="connsiteY3" fmla="*/ 180785 h 239458"/>
                <a:gd name="connsiteX4" fmla="*/ 56483 w 177736"/>
                <a:gd name="connsiteY4" fmla="*/ 202692 h 239458"/>
                <a:gd name="connsiteX5" fmla="*/ 97345 w 177736"/>
                <a:gd name="connsiteY5" fmla="*/ 210217 h 239458"/>
                <a:gd name="connsiteX6" fmla="*/ 131730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825 w 177736"/>
                <a:gd name="connsiteY10" fmla="*/ 147066 h 239458"/>
                <a:gd name="connsiteX11" fmla="*/ 109251 w 177736"/>
                <a:gd name="connsiteY11" fmla="*/ 138779 h 239458"/>
                <a:gd name="connsiteX12" fmla="*/ 87630 w 177736"/>
                <a:gd name="connsiteY12" fmla="*/ 132112 h 239458"/>
                <a:gd name="connsiteX13" fmla="*/ 60579 w 177736"/>
                <a:gd name="connsiteY13" fmla="*/ 123444 h 239458"/>
                <a:gd name="connsiteX14" fmla="*/ 36004 w 177736"/>
                <a:gd name="connsiteY14" fmla="*/ 111633 h 239458"/>
                <a:gd name="connsiteX15" fmla="*/ 18192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59 w 177736"/>
                <a:gd name="connsiteY22" fmla="*/ 6953 h 239458"/>
                <a:gd name="connsiteX23" fmla="*/ 172878 w 177736"/>
                <a:gd name="connsiteY23" fmla="*/ 25527 h 239458"/>
                <a:gd name="connsiteX24" fmla="*/ 157257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3 w 177736"/>
                <a:gd name="connsiteY32" fmla="*/ 96203 h 239458"/>
                <a:gd name="connsiteX33" fmla="*/ 103631 w 177736"/>
                <a:gd name="connsiteY33" fmla="*/ 103346 h 239458"/>
                <a:gd name="connsiteX34" fmla="*/ 130207 w 177736"/>
                <a:gd name="connsiteY34" fmla="*/ 112300 h 239458"/>
                <a:gd name="connsiteX35" fmla="*/ 154114 w 177736"/>
                <a:gd name="connsiteY35" fmla="*/ 124778 h 239458"/>
                <a:gd name="connsiteX36" fmla="*/ 171259 w 177736"/>
                <a:gd name="connsiteY36" fmla="*/ 143066 h 239458"/>
                <a:gd name="connsiteX37" fmla="*/ 177736 w 177736"/>
                <a:gd name="connsiteY37" fmla="*/ 169450 h 239458"/>
                <a:gd name="connsiteX38" fmla="*/ 177736 w 177736"/>
                <a:gd name="connsiteY38" fmla="*/ 170307 h 239458"/>
                <a:gd name="connsiteX39" fmla="*/ 171259 w 177736"/>
                <a:gd name="connsiteY39" fmla="*/ 199549 h 239458"/>
                <a:gd name="connsiteX40" fmla="*/ 153828 w 177736"/>
                <a:gd name="connsiteY40" fmla="*/ 221171 h 239458"/>
                <a:gd name="connsiteX41" fmla="*/ 127921 w 177736"/>
                <a:gd name="connsiteY41" fmla="*/ 234791 h 239458"/>
                <a:gd name="connsiteX42" fmla="*/ 95535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5" y="239268"/>
                  </a:moveTo>
                  <a:cubicBezTo>
                    <a:pt x="78867" y="239268"/>
                    <a:pt x="62007" y="236220"/>
                    <a:pt x="45053" y="230124"/>
                  </a:cubicBezTo>
                  <a:cubicBezTo>
                    <a:pt x="28098" y="224028"/>
                    <a:pt x="13049" y="215741"/>
                    <a:pt x="0" y="205359"/>
                  </a:cubicBezTo>
                  <a:lnTo>
                    <a:pt x="17430" y="180785"/>
                  </a:lnTo>
                  <a:cubicBezTo>
                    <a:pt x="29908" y="190310"/>
                    <a:pt x="42957" y="197644"/>
                    <a:pt x="56483" y="202692"/>
                  </a:cubicBezTo>
                  <a:cubicBezTo>
                    <a:pt x="70009" y="207740"/>
                    <a:pt x="83629" y="210217"/>
                    <a:pt x="97345" y="210217"/>
                  </a:cubicBezTo>
                  <a:cubicBezTo>
                    <a:pt x="111061" y="210217"/>
                    <a:pt x="122777" y="206978"/>
                    <a:pt x="131730" y="200406"/>
                  </a:cubicBezTo>
                  <a:cubicBezTo>
                    <a:pt x="140684" y="193834"/>
                    <a:pt x="145161" y="184976"/>
                    <a:pt x="145161" y="173641"/>
                  </a:cubicBezTo>
                  <a:lnTo>
                    <a:pt x="145161" y="172784"/>
                  </a:lnTo>
                  <a:cubicBezTo>
                    <a:pt x="145161" y="167164"/>
                    <a:pt x="143541" y="162211"/>
                    <a:pt x="140494" y="158020"/>
                  </a:cubicBezTo>
                  <a:cubicBezTo>
                    <a:pt x="137350" y="153829"/>
                    <a:pt x="133159" y="150209"/>
                    <a:pt x="127825" y="147066"/>
                  </a:cubicBezTo>
                  <a:cubicBezTo>
                    <a:pt x="122491" y="143923"/>
                    <a:pt x="116300" y="141161"/>
                    <a:pt x="109251" y="138779"/>
                  </a:cubicBezTo>
                  <a:cubicBezTo>
                    <a:pt x="102298" y="136398"/>
                    <a:pt x="95059" y="134207"/>
                    <a:pt x="87630" y="132112"/>
                  </a:cubicBezTo>
                  <a:cubicBezTo>
                    <a:pt x="78676" y="129445"/>
                    <a:pt x="69722" y="126492"/>
                    <a:pt x="60579" y="123444"/>
                  </a:cubicBezTo>
                  <a:cubicBezTo>
                    <a:pt x="51530" y="120301"/>
                    <a:pt x="43339" y="116396"/>
                    <a:pt x="36004" y="111633"/>
                  </a:cubicBezTo>
                  <a:cubicBezTo>
                    <a:pt x="28670" y="106871"/>
                    <a:pt x="22764" y="100870"/>
                    <a:pt x="18192" y="93726"/>
                  </a:cubicBezTo>
                  <a:cubicBezTo>
                    <a:pt x="13525" y="86582"/>
                    <a:pt x="11239" y="77629"/>
                    <a:pt x="11239" y="66961"/>
                  </a:cubicBezTo>
                  <a:lnTo>
                    <a:pt x="11239" y="66008"/>
                  </a:lnTo>
                  <a:cubicBezTo>
                    <a:pt x="11239" y="56198"/>
                    <a:pt x="13144" y="47149"/>
                    <a:pt x="17050" y="39053"/>
                  </a:cubicBezTo>
                  <a:cubicBezTo>
                    <a:pt x="20955" y="30861"/>
                    <a:pt x="26384" y="23908"/>
                    <a:pt x="33338" y="18098"/>
                  </a:cubicBezTo>
                  <a:cubicBezTo>
                    <a:pt x="40291" y="12287"/>
                    <a:pt x="48673" y="7811"/>
                    <a:pt x="58388" y="4667"/>
                  </a:cubicBezTo>
                  <a:cubicBezTo>
                    <a:pt x="68008" y="1524"/>
                    <a:pt x="78581" y="0"/>
                    <a:pt x="89821" y="0"/>
                  </a:cubicBezTo>
                  <a:cubicBezTo>
                    <a:pt x="104108" y="0"/>
                    <a:pt x="118586" y="2286"/>
                    <a:pt x="133159" y="6953"/>
                  </a:cubicBezTo>
                  <a:cubicBezTo>
                    <a:pt x="147732" y="11621"/>
                    <a:pt x="160972" y="17717"/>
                    <a:pt x="172878" y="25527"/>
                  </a:cubicBezTo>
                  <a:lnTo>
                    <a:pt x="157257" y="51435"/>
                  </a:lnTo>
                  <a:cubicBezTo>
                    <a:pt x="146494" y="44577"/>
                    <a:pt x="135255" y="39148"/>
                    <a:pt x="123539" y="35147"/>
                  </a:cubicBezTo>
                  <a:cubicBezTo>
                    <a:pt x="111823" y="31147"/>
                    <a:pt x="100203" y="29146"/>
                    <a:pt x="88963" y="29146"/>
                  </a:cubicBezTo>
                  <a:cubicBezTo>
                    <a:pt x="75247" y="29146"/>
                    <a:pt x="64389" y="32385"/>
                    <a:pt x="56388" y="38767"/>
                  </a:cubicBezTo>
                  <a:cubicBezTo>
                    <a:pt x="48291" y="45149"/>
                    <a:pt x="44291" y="53150"/>
                    <a:pt x="44291" y="62675"/>
                  </a:cubicBezTo>
                  <a:lnTo>
                    <a:pt x="44291" y="63627"/>
                  </a:lnTo>
                  <a:cubicBezTo>
                    <a:pt x="44291" y="68961"/>
                    <a:pt x="45910" y="73628"/>
                    <a:pt x="49244" y="77724"/>
                  </a:cubicBezTo>
                  <a:cubicBezTo>
                    <a:pt x="52482" y="81725"/>
                    <a:pt x="56864" y="85249"/>
                    <a:pt x="62389" y="88202"/>
                  </a:cubicBezTo>
                  <a:cubicBezTo>
                    <a:pt x="67913" y="91154"/>
                    <a:pt x="74200" y="93821"/>
                    <a:pt x="81343" y="96203"/>
                  </a:cubicBezTo>
                  <a:cubicBezTo>
                    <a:pt x="88487" y="98584"/>
                    <a:pt x="95916" y="100965"/>
                    <a:pt x="103631" y="103346"/>
                  </a:cubicBezTo>
                  <a:cubicBezTo>
                    <a:pt x="112585" y="106013"/>
                    <a:pt x="121444" y="108966"/>
                    <a:pt x="130207" y="112300"/>
                  </a:cubicBezTo>
                  <a:cubicBezTo>
                    <a:pt x="138969" y="115538"/>
                    <a:pt x="146971" y="119729"/>
                    <a:pt x="154114" y="124778"/>
                  </a:cubicBezTo>
                  <a:cubicBezTo>
                    <a:pt x="161258" y="129826"/>
                    <a:pt x="166973" y="135922"/>
                    <a:pt x="171259" y="143066"/>
                  </a:cubicBezTo>
                  <a:cubicBezTo>
                    <a:pt x="175546" y="150209"/>
                    <a:pt x="177736" y="158972"/>
                    <a:pt x="177736" y="169450"/>
                  </a:cubicBezTo>
                  <a:lnTo>
                    <a:pt x="177736" y="170307"/>
                  </a:lnTo>
                  <a:cubicBezTo>
                    <a:pt x="177736" y="181356"/>
                    <a:pt x="175546" y="191071"/>
                    <a:pt x="171259" y="199549"/>
                  </a:cubicBezTo>
                  <a:cubicBezTo>
                    <a:pt x="166973" y="208026"/>
                    <a:pt x="161163" y="215265"/>
                    <a:pt x="153828" y="221171"/>
                  </a:cubicBezTo>
                  <a:cubicBezTo>
                    <a:pt x="146589" y="227171"/>
                    <a:pt x="137922" y="231648"/>
                    <a:pt x="127921" y="234791"/>
                  </a:cubicBezTo>
                  <a:cubicBezTo>
                    <a:pt x="117919" y="237935"/>
                    <a:pt x="107156" y="239459"/>
                    <a:pt x="95535" y="239459"/>
                  </a:cubicBezTo>
                  <a:close/>
                </a:path>
              </a:pathLst>
            </a:custGeom>
            <a:solidFill>
              <a:srgbClr val="44505E"/>
            </a:solidFill>
            <a:ln w="9525" cap="flat">
              <a:noFill/>
              <a:prstDash val="solid"/>
              <a:miter/>
            </a:ln>
          </p:spPr>
          <p:txBody>
            <a:bodyPr rtlCol="0" anchor="ctr"/>
            <a:lstStyle/>
            <a:p>
              <a:endParaRPr lang="pt-BR" noProof="0"/>
            </a:p>
          </p:txBody>
        </p:sp>
        <p:sp>
          <p:nvSpPr>
            <p:cNvPr id="55" name="Freeform: Shape 54">
              <a:extLst>
                <a:ext uri="{FF2B5EF4-FFF2-40B4-BE49-F238E27FC236}">
                  <a16:creationId xmlns:a16="http://schemas.microsoft.com/office/drawing/2014/main" id="{00615E63-F529-FE8F-0017-368710E3E647}"/>
                </a:ext>
              </a:extLst>
            </p:cNvPr>
            <p:cNvSpPr/>
            <p:nvPr/>
          </p:nvSpPr>
          <p:spPr>
            <a:xfrm>
              <a:off x="5250320" y="846952"/>
              <a:ext cx="1459036" cy="16186"/>
            </a:xfrm>
            <a:custGeom>
              <a:avLst/>
              <a:gdLst>
                <a:gd name="connsiteX0" fmla="*/ 0 w 5804058"/>
                <a:gd name="connsiteY0" fmla="*/ 0 h 64388"/>
                <a:gd name="connsiteX1" fmla="*/ 5804059 w 5804058"/>
                <a:gd name="connsiteY1" fmla="*/ 0 h 64388"/>
                <a:gd name="connsiteX2" fmla="*/ 5804059 w 5804058"/>
                <a:gd name="connsiteY2" fmla="*/ 64389 h 64388"/>
                <a:gd name="connsiteX3" fmla="*/ 0 w 5804058"/>
                <a:gd name="connsiteY3" fmla="*/ 64389 h 64388"/>
              </a:gdLst>
              <a:ahLst/>
              <a:cxnLst>
                <a:cxn ang="0">
                  <a:pos x="connsiteX0" y="connsiteY0"/>
                </a:cxn>
                <a:cxn ang="0">
                  <a:pos x="connsiteX1" y="connsiteY1"/>
                </a:cxn>
                <a:cxn ang="0">
                  <a:pos x="connsiteX2" y="connsiteY2"/>
                </a:cxn>
                <a:cxn ang="0">
                  <a:pos x="connsiteX3" y="connsiteY3"/>
                </a:cxn>
              </a:cxnLst>
              <a:rect l="l" t="t" r="r" b="b"/>
              <a:pathLst>
                <a:path w="5804058" h="64388">
                  <a:moveTo>
                    <a:pt x="0" y="0"/>
                  </a:moveTo>
                  <a:lnTo>
                    <a:pt x="5804059" y="0"/>
                  </a:lnTo>
                  <a:lnTo>
                    <a:pt x="5804059" y="64389"/>
                  </a:lnTo>
                  <a:lnTo>
                    <a:pt x="0" y="64389"/>
                  </a:lnTo>
                  <a:close/>
                </a:path>
              </a:pathLst>
            </a:custGeom>
            <a:solidFill>
              <a:srgbClr val="44505E"/>
            </a:solidFill>
            <a:ln w="9525" cap="flat">
              <a:noFill/>
              <a:prstDash val="solid"/>
              <a:miter/>
            </a:ln>
          </p:spPr>
          <p:txBody>
            <a:bodyPr rtlCol="0" anchor="ctr"/>
            <a:lstStyle/>
            <a:p>
              <a:endParaRPr lang="pt-BR" noProof="0"/>
            </a:p>
          </p:txBody>
        </p:sp>
        <p:sp>
          <p:nvSpPr>
            <p:cNvPr id="56" name="Freeform: Shape 55">
              <a:extLst>
                <a:ext uri="{FF2B5EF4-FFF2-40B4-BE49-F238E27FC236}">
                  <a16:creationId xmlns:a16="http://schemas.microsoft.com/office/drawing/2014/main" id="{52230871-2896-9734-4B06-71591F03ACED}"/>
                </a:ext>
              </a:extLst>
            </p:cNvPr>
            <p:cNvSpPr/>
            <p:nvPr/>
          </p:nvSpPr>
          <p:spPr>
            <a:xfrm>
              <a:off x="6902633" y="268821"/>
              <a:ext cx="273418" cy="601046"/>
            </a:xfrm>
            <a:custGeom>
              <a:avLst/>
              <a:gdLst>
                <a:gd name="connsiteX0" fmla="*/ 0 w 1087659"/>
                <a:gd name="connsiteY0" fmla="*/ 210979 h 2390965"/>
                <a:gd name="connsiteX1" fmla="*/ 125063 w 1087659"/>
                <a:gd name="connsiteY1" fmla="*/ 103442 h 2390965"/>
                <a:gd name="connsiteX2" fmla="*/ 250031 w 1087659"/>
                <a:gd name="connsiteY2" fmla="*/ 210979 h 2390965"/>
                <a:gd name="connsiteX3" fmla="*/ 250031 w 1087659"/>
                <a:gd name="connsiteY3" fmla="*/ 1922717 h 2390965"/>
                <a:gd name="connsiteX4" fmla="*/ 249841 w 1087659"/>
                <a:gd name="connsiteY4" fmla="*/ 1922717 h 2390965"/>
                <a:gd name="connsiteX5" fmla="*/ 249841 w 1087659"/>
                <a:gd name="connsiteY5" fmla="*/ 1925955 h 2390965"/>
                <a:gd name="connsiteX6" fmla="*/ 333756 w 1087659"/>
                <a:gd name="connsiteY6" fmla="*/ 2100263 h 2390965"/>
                <a:gd name="connsiteX7" fmla="*/ 335566 w 1087659"/>
                <a:gd name="connsiteY7" fmla="*/ 2101787 h 2390965"/>
                <a:gd name="connsiteX8" fmla="*/ 336042 w 1087659"/>
                <a:gd name="connsiteY8" fmla="*/ 2102168 h 2390965"/>
                <a:gd name="connsiteX9" fmla="*/ 543877 w 1087659"/>
                <a:gd name="connsiteY9" fmla="*/ 2175891 h 2390965"/>
                <a:gd name="connsiteX10" fmla="*/ 749998 w 1087659"/>
                <a:gd name="connsiteY10" fmla="*/ 2103692 h 2390965"/>
                <a:gd name="connsiteX11" fmla="*/ 751713 w 1087659"/>
                <a:gd name="connsiteY11" fmla="*/ 2102168 h 2390965"/>
                <a:gd name="connsiteX12" fmla="*/ 752189 w 1087659"/>
                <a:gd name="connsiteY12" fmla="*/ 2101787 h 2390965"/>
                <a:gd name="connsiteX13" fmla="*/ 837819 w 1087659"/>
                <a:gd name="connsiteY13" fmla="*/ 1922812 h 2390965"/>
                <a:gd name="connsiteX14" fmla="*/ 837819 w 1087659"/>
                <a:gd name="connsiteY14" fmla="*/ 107537 h 2390965"/>
                <a:gd name="connsiteX15" fmla="*/ 962787 w 1087659"/>
                <a:gd name="connsiteY15" fmla="*/ 0 h 2390965"/>
                <a:gd name="connsiteX16" fmla="*/ 1087660 w 1087659"/>
                <a:gd name="connsiteY16" fmla="*/ 107537 h 2390965"/>
                <a:gd name="connsiteX17" fmla="*/ 1087660 w 1087659"/>
                <a:gd name="connsiteY17" fmla="*/ 1922621 h 2390965"/>
                <a:gd name="connsiteX18" fmla="*/ 928307 w 1087659"/>
                <a:gd name="connsiteY18" fmla="*/ 2253234 h 2390965"/>
                <a:gd name="connsiteX19" fmla="*/ 928116 w 1087659"/>
                <a:gd name="connsiteY19" fmla="*/ 2253424 h 2390965"/>
                <a:gd name="connsiteX20" fmla="*/ 927830 w 1087659"/>
                <a:gd name="connsiteY20" fmla="*/ 2253710 h 2390965"/>
                <a:gd name="connsiteX21" fmla="*/ 927354 w 1087659"/>
                <a:gd name="connsiteY21" fmla="*/ 2254187 h 2390965"/>
                <a:gd name="connsiteX22" fmla="*/ 543783 w 1087659"/>
                <a:gd name="connsiteY22" fmla="*/ 2390966 h 2390965"/>
                <a:gd name="connsiteX23" fmla="*/ 159734 w 1087659"/>
                <a:gd name="connsiteY23" fmla="*/ 2253710 h 2390965"/>
                <a:gd name="connsiteX24" fmla="*/ 159734 w 1087659"/>
                <a:gd name="connsiteY24" fmla="*/ 2253424 h 2390965"/>
                <a:gd name="connsiteX25" fmla="*/ 159353 w 1087659"/>
                <a:gd name="connsiteY25" fmla="*/ 2253234 h 2390965"/>
                <a:gd name="connsiteX26" fmla="*/ 158877 w 1087659"/>
                <a:gd name="connsiteY26" fmla="*/ 2252948 h 2390965"/>
                <a:gd name="connsiteX27" fmla="*/ 0 w 1087659"/>
                <a:gd name="connsiteY27" fmla="*/ 1922621 h 2390965"/>
                <a:gd name="connsiteX28" fmla="*/ 0 w 1087659"/>
                <a:gd name="connsiteY28" fmla="*/ 1922621 h 2390965"/>
                <a:gd name="connsiteX29" fmla="*/ 0 w 1087659"/>
                <a:gd name="connsiteY29" fmla="*/ 210979 h 239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87659" h="2390965">
                  <a:moveTo>
                    <a:pt x="0" y="210979"/>
                  </a:moveTo>
                  <a:cubicBezTo>
                    <a:pt x="0" y="151638"/>
                    <a:pt x="56007" y="103442"/>
                    <a:pt x="125063" y="103442"/>
                  </a:cubicBezTo>
                  <a:cubicBezTo>
                    <a:pt x="194120" y="103442"/>
                    <a:pt x="250031" y="151638"/>
                    <a:pt x="250031" y="210979"/>
                  </a:cubicBezTo>
                  <a:lnTo>
                    <a:pt x="250031" y="1922717"/>
                  </a:lnTo>
                  <a:lnTo>
                    <a:pt x="249841" y="1922717"/>
                  </a:lnTo>
                  <a:lnTo>
                    <a:pt x="249841" y="1925955"/>
                  </a:lnTo>
                  <a:cubicBezTo>
                    <a:pt x="250793" y="1994059"/>
                    <a:pt x="282797" y="2055495"/>
                    <a:pt x="333756" y="2100263"/>
                  </a:cubicBezTo>
                  <a:lnTo>
                    <a:pt x="335566" y="2101787"/>
                  </a:lnTo>
                  <a:lnTo>
                    <a:pt x="336042" y="2102168"/>
                  </a:lnTo>
                  <a:cubicBezTo>
                    <a:pt x="388906" y="2147697"/>
                    <a:pt x="462343" y="2175891"/>
                    <a:pt x="543877" y="2175891"/>
                  </a:cubicBezTo>
                  <a:cubicBezTo>
                    <a:pt x="625411" y="2175891"/>
                    <a:pt x="697420" y="2148364"/>
                    <a:pt x="749998" y="2103692"/>
                  </a:cubicBezTo>
                  <a:lnTo>
                    <a:pt x="751713" y="2102168"/>
                  </a:lnTo>
                  <a:lnTo>
                    <a:pt x="752189" y="2101787"/>
                  </a:lnTo>
                  <a:cubicBezTo>
                    <a:pt x="805053" y="2056352"/>
                    <a:pt x="837819" y="1993011"/>
                    <a:pt x="837819" y="1922812"/>
                  </a:cubicBezTo>
                  <a:lnTo>
                    <a:pt x="837819" y="107537"/>
                  </a:lnTo>
                  <a:cubicBezTo>
                    <a:pt x="837819" y="48196"/>
                    <a:pt x="893731" y="0"/>
                    <a:pt x="962787" y="0"/>
                  </a:cubicBezTo>
                  <a:cubicBezTo>
                    <a:pt x="1031843" y="0"/>
                    <a:pt x="1087660" y="48196"/>
                    <a:pt x="1087660" y="107537"/>
                  </a:cubicBezTo>
                  <a:lnTo>
                    <a:pt x="1087660" y="1922621"/>
                  </a:lnTo>
                  <a:cubicBezTo>
                    <a:pt x="1087660" y="2051399"/>
                    <a:pt x="1026795" y="2168366"/>
                    <a:pt x="928307" y="2253234"/>
                  </a:cubicBezTo>
                  <a:lnTo>
                    <a:pt x="928116" y="2253424"/>
                  </a:lnTo>
                  <a:lnTo>
                    <a:pt x="927830" y="2253710"/>
                  </a:lnTo>
                  <a:lnTo>
                    <a:pt x="927354" y="2254187"/>
                  </a:lnTo>
                  <a:cubicBezTo>
                    <a:pt x="828770" y="2338673"/>
                    <a:pt x="693134" y="2390966"/>
                    <a:pt x="543783" y="2390966"/>
                  </a:cubicBezTo>
                  <a:cubicBezTo>
                    <a:pt x="394430" y="2390966"/>
                    <a:pt x="258413" y="2338483"/>
                    <a:pt x="159734" y="2253710"/>
                  </a:cubicBezTo>
                  <a:lnTo>
                    <a:pt x="159734" y="2253424"/>
                  </a:lnTo>
                  <a:cubicBezTo>
                    <a:pt x="159734" y="2253424"/>
                    <a:pt x="159353" y="2253234"/>
                    <a:pt x="159353" y="2253234"/>
                  </a:cubicBezTo>
                  <a:lnTo>
                    <a:pt x="158877" y="2252948"/>
                  </a:lnTo>
                  <a:cubicBezTo>
                    <a:pt x="60770" y="2167985"/>
                    <a:pt x="0" y="2051304"/>
                    <a:pt x="0" y="1922621"/>
                  </a:cubicBezTo>
                  <a:lnTo>
                    <a:pt x="0" y="1922621"/>
                  </a:lnTo>
                  <a:lnTo>
                    <a:pt x="0" y="210979"/>
                  </a:lnTo>
                  <a:close/>
                </a:path>
              </a:pathLst>
            </a:custGeom>
            <a:solidFill>
              <a:srgbClr val="8FC640"/>
            </a:solidFill>
            <a:ln w="9525" cap="flat">
              <a:noFill/>
              <a:prstDash val="solid"/>
              <a:miter/>
            </a:ln>
          </p:spPr>
          <p:txBody>
            <a:bodyPr rtlCol="0" anchor="ctr"/>
            <a:lstStyle/>
            <a:p>
              <a:endParaRPr lang="pt-BR" noProof="0"/>
            </a:p>
          </p:txBody>
        </p:sp>
        <p:sp>
          <p:nvSpPr>
            <p:cNvPr id="57" name="Freeform: Shape 56">
              <a:extLst>
                <a:ext uri="{FF2B5EF4-FFF2-40B4-BE49-F238E27FC236}">
                  <a16:creationId xmlns:a16="http://schemas.microsoft.com/office/drawing/2014/main" id="{9B2AC423-8995-832E-E717-E0C07C15E610}"/>
                </a:ext>
              </a:extLst>
            </p:cNvPr>
            <p:cNvSpPr/>
            <p:nvPr/>
          </p:nvSpPr>
          <p:spPr>
            <a:xfrm>
              <a:off x="7013590" y="213965"/>
              <a:ext cx="54018" cy="562280"/>
            </a:xfrm>
            <a:custGeom>
              <a:avLst/>
              <a:gdLst>
                <a:gd name="connsiteX0" fmla="*/ 0 w 214883"/>
                <a:gd name="connsiteY0" fmla="*/ 107537 h 2236755"/>
                <a:gd name="connsiteX1" fmla="*/ 107537 w 214883"/>
                <a:gd name="connsiteY1" fmla="*/ 0 h 2236755"/>
                <a:gd name="connsiteX2" fmla="*/ 214884 w 214883"/>
                <a:gd name="connsiteY2" fmla="*/ 107537 h 2236755"/>
                <a:gd name="connsiteX3" fmla="*/ 214884 w 214883"/>
                <a:gd name="connsiteY3" fmla="*/ 2129219 h 2236755"/>
                <a:gd name="connsiteX4" fmla="*/ 107537 w 214883"/>
                <a:gd name="connsiteY4" fmla="*/ 2236756 h 2236755"/>
                <a:gd name="connsiteX5" fmla="*/ 0 w 214883"/>
                <a:gd name="connsiteY5" fmla="*/ 2129219 h 2236755"/>
                <a:gd name="connsiteX6" fmla="*/ 0 w 214883"/>
                <a:gd name="connsiteY6" fmla="*/ 107537 h 223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 h="2236755">
                  <a:moveTo>
                    <a:pt x="0" y="107537"/>
                  </a:moveTo>
                  <a:cubicBezTo>
                    <a:pt x="0" y="48197"/>
                    <a:pt x="48101" y="0"/>
                    <a:pt x="107537" y="0"/>
                  </a:cubicBezTo>
                  <a:cubicBezTo>
                    <a:pt x="166973" y="0"/>
                    <a:pt x="214884" y="48197"/>
                    <a:pt x="214884" y="107537"/>
                  </a:cubicBezTo>
                  <a:lnTo>
                    <a:pt x="214884" y="2129219"/>
                  </a:lnTo>
                  <a:cubicBezTo>
                    <a:pt x="214884" y="2188559"/>
                    <a:pt x="166782" y="2236756"/>
                    <a:pt x="107537" y="2236756"/>
                  </a:cubicBezTo>
                  <a:cubicBezTo>
                    <a:pt x="48291" y="2236756"/>
                    <a:pt x="0" y="2188559"/>
                    <a:pt x="0" y="2129219"/>
                  </a:cubicBezTo>
                  <a:lnTo>
                    <a:pt x="0" y="107537"/>
                  </a:lnTo>
                  <a:close/>
                </a:path>
              </a:pathLst>
            </a:custGeom>
            <a:solidFill>
              <a:srgbClr val="3698B0"/>
            </a:solidFill>
            <a:ln w="9525" cap="flat">
              <a:noFill/>
              <a:prstDash val="solid"/>
              <a:miter/>
            </a:ln>
          </p:spPr>
          <p:txBody>
            <a:bodyPr rtlCol="0" anchor="ctr"/>
            <a:lstStyle/>
            <a:p>
              <a:endParaRPr lang="pt-BR" noProof="0"/>
            </a:p>
          </p:txBody>
        </p:sp>
        <p:sp>
          <p:nvSpPr>
            <p:cNvPr id="58" name="Freeform: Shape 57">
              <a:extLst>
                <a:ext uri="{FF2B5EF4-FFF2-40B4-BE49-F238E27FC236}">
                  <a16:creationId xmlns:a16="http://schemas.microsoft.com/office/drawing/2014/main" id="{758A3F6C-674D-D440-A1F8-6D62FC4A77BC}"/>
                </a:ext>
              </a:extLst>
            </p:cNvPr>
            <p:cNvSpPr/>
            <p:nvPr/>
          </p:nvSpPr>
          <p:spPr>
            <a:xfrm>
              <a:off x="6795770" y="332991"/>
              <a:ext cx="485994" cy="649437"/>
            </a:xfrm>
            <a:custGeom>
              <a:avLst/>
              <a:gdLst>
                <a:gd name="connsiteX0" fmla="*/ 1933290 w 1933289"/>
                <a:gd name="connsiteY0" fmla="*/ 138017 h 2583465"/>
                <a:gd name="connsiteX1" fmla="*/ 1933290 w 1933289"/>
                <a:gd name="connsiteY1" fmla="*/ 1734122 h 2583465"/>
                <a:gd name="connsiteX2" fmla="*/ 1796606 w 1933289"/>
                <a:gd name="connsiteY2" fmla="*/ 2229136 h 2583465"/>
                <a:gd name="connsiteX3" fmla="*/ 977742 w 1933289"/>
                <a:gd name="connsiteY3" fmla="*/ 2583466 h 2583465"/>
                <a:gd name="connsiteX4" fmla="*/ 955357 w 1933289"/>
                <a:gd name="connsiteY4" fmla="*/ 2583466 h 2583465"/>
                <a:gd name="connsiteX5" fmla="*/ 136589 w 1933289"/>
                <a:gd name="connsiteY5" fmla="*/ 2229136 h 2583465"/>
                <a:gd name="connsiteX6" fmla="*/ 0 w 1933289"/>
                <a:gd name="connsiteY6" fmla="*/ 1734122 h 2583465"/>
                <a:gd name="connsiteX7" fmla="*/ 0 w 1933289"/>
                <a:gd name="connsiteY7" fmla="*/ 794194 h 2583465"/>
                <a:gd name="connsiteX8" fmla="*/ 137827 w 1933289"/>
                <a:gd name="connsiteY8" fmla="*/ 656273 h 2583465"/>
                <a:gd name="connsiteX9" fmla="*/ 275463 w 1933289"/>
                <a:gd name="connsiteY9" fmla="*/ 794194 h 2583465"/>
                <a:gd name="connsiteX10" fmla="*/ 275463 w 1933289"/>
                <a:gd name="connsiteY10" fmla="*/ 1734122 h 2583465"/>
                <a:gd name="connsiteX11" fmla="*/ 354235 w 1933289"/>
                <a:gd name="connsiteY11" fmla="*/ 2059686 h 2583465"/>
                <a:gd name="connsiteX12" fmla="*/ 958215 w 1933289"/>
                <a:gd name="connsiteY12" fmla="*/ 2307527 h 2583465"/>
                <a:gd name="connsiteX13" fmla="*/ 974789 w 1933289"/>
                <a:gd name="connsiteY13" fmla="*/ 2307527 h 2583465"/>
                <a:gd name="connsiteX14" fmla="*/ 1578959 w 1933289"/>
                <a:gd name="connsiteY14" fmla="*/ 2059686 h 2583465"/>
                <a:gd name="connsiteX15" fmla="*/ 1657636 w 1933289"/>
                <a:gd name="connsiteY15" fmla="*/ 1734122 h 2583465"/>
                <a:gd name="connsiteX16" fmla="*/ 1657636 w 1933289"/>
                <a:gd name="connsiteY16" fmla="*/ 138017 h 2583465"/>
                <a:gd name="connsiteX17" fmla="*/ 1795463 w 1933289"/>
                <a:gd name="connsiteY17" fmla="*/ 0 h 2583465"/>
                <a:gd name="connsiteX18" fmla="*/ 1933290 w 1933289"/>
                <a:gd name="connsiteY18" fmla="*/ 138017 h 25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3289" h="2583465">
                  <a:moveTo>
                    <a:pt x="1933290" y="138017"/>
                  </a:moveTo>
                  <a:lnTo>
                    <a:pt x="1933290" y="1734122"/>
                  </a:lnTo>
                  <a:cubicBezTo>
                    <a:pt x="1933290" y="1870996"/>
                    <a:pt x="1919002" y="2071211"/>
                    <a:pt x="1796606" y="2229136"/>
                  </a:cubicBezTo>
                  <a:cubicBezTo>
                    <a:pt x="1634395" y="2438305"/>
                    <a:pt x="1432084" y="2578703"/>
                    <a:pt x="977742" y="2583466"/>
                  </a:cubicBezTo>
                  <a:lnTo>
                    <a:pt x="955357" y="2583466"/>
                  </a:lnTo>
                  <a:cubicBezTo>
                    <a:pt x="501015" y="2578703"/>
                    <a:pt x="298704" y="2438400"/>
                    <a:pt x="136589" y="2229136"/>
                  </a:cubicBezTo>
                  <a:cubicBezTo>
                    <a:pt x="14192" y="2071211"/>
                    <a:pt x="0" y="1870996"/>
                    <a:pt x="0" y="1734122"/>
                  </a:cubicBezTo>
                  <a:lnTo>
                    <a:pt x="0" y="794194"/>
                  </a:lnTo>
                  <a:cubicBezTo>
                    <a:pt x="0" y="718185"/>
                    <a:pt x="61436" y="656273"/>
                    <a:pt x="137827" y="656273"/>
                  </a:cubicBezTo>
                  <a:cubicBezTo>
                    <a:pt x="214217" y="656273"/>
                    <a:pt x="275463" y="718185"/>
                    <a:pt x="275463" y="794194"/>
                  </a:cubicBezTo>
                  <a:lnTo>
                    <a:pt x="275463" y="1734122"/>
                  </a:lnTo>
                  <a:cubicBezTo>
                    <a:pt x="275463" y="1887188"/>
                    <a:pt x="300324" y="1990630"/>
                    <a:pt x="354235" y="2059686"/>
                  </a:cubicBezTo>
                  <a:cubicBezTo>
                    <a:pt x="476250" y="2217611"/>
                    <a:pt x="609791" y="2304479"/>
                    <a:pt x="958215" y="2307527"/>
                  </a:cubicBezTo>
                  <a:lnTo>
                    <a:pt x="974789" y="2307527"/>
                  </a:lnTo>
                  <a:cubicBezTo>
                    <a:pt x="1323499" y="2304479"/>
                    <a:pt x="1456563" y="2217611"/>
                    <a:pt x="1578959" y="2059686"/>
                  </a:cubicBezTo>
                  <a:cubicBezTo>
                    <a:pt x="1632490" y="1990630"/>
                    <a:pt x="1657636" y="1887093"/>
                    <a:pt x="1657636" y="1734122"/>
                  </a:cubicBezTo>
                  <a:lnTo>
                    <a:pt x="1657636" y="138017"/>
                  </a:lnTo>
                  <a:cubicBezTo>
                    <a:pt x="1657636" y="61531"/>
                    <a:pt x="1719453" y="0"/>
                    <a:pt x="1795463" y="0"/>
                  </a:cubicBezTo>
                  <a:cubicBezTo>
                    <a:pt x="1871472" y="0"/>
                    <a:pt x="1933290" y="61531"/>
                    <a:pt x="1933290" y="138017"/>
                  </a:cubicBezTo>
                </a:path>
              </a:pathLst>
            </a:custGeom>
            <a:solidFill>
              <a:srgbClr val="49306E"/>
            </a:solidFill>
            <a:ln w="9525" cap="flat">
              <a:noFill/>
              <a:prstDash val="solid"/>
              <a:miter/>
            </a:ln>
          </p:spPr>
          <p:txBody>
            <a:bodyPr rtlCol="0" anchor="ctr"/>
            <a:lstStyle/>
            <a:p>
              <a:endParaRPr lang="pt-BR" noProof="0"/>
            </a:p>
          </p:txBody>
        </p:sp>
      </p:grpSp>
      <p:sp>
        <p:nvSpPr>
          <p:cNvPr id="5" name="Rectangle 3">
            <a:extLst>
              <a:ext uri="{FF2B5EF4-FFF2-40B4-BE49-F238E27FC236}">
                <a16:creationId xmlns:a16="http://schemas.microsoft.com/office/drawing/2014/main" id="{63093CC9-4F9C-CB94-D410-A3FA0888E100}"/>
              </a:ext>
            </a:extLst>
          </p:cNvPr>
          <p:cNvSpPr>
            <a:spLocks noChangeArrowheads="1"/>
          </p:cNvSpPr>
          <p:nvPr/>
        </p:nvSpPr>
        <p:spPr bwMode="auto">
          <a:xfrm>
            <a:off x="428153" y="692497"/>
            <a:ext cx="264816" cy="2862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p:txBody>
      </p:sp>
      <p:sp>
        <p:nvSpPr>
          <p:cNvPr id="7" name="CaixaDeTexto 6">
            <a:extLst>
              <a:ext uri="{FF2B5EF4-FFF2-40B4-BE49-F238E27FC236}">
                <a16:creationId xmlns:a16="http://schemas.microsoft.com/office/drawing/2014/main" id="{9408F1D1-411B-9547-3D18-F4937BF9BA82}"/>
              </a:ext>
            </a:extLst>
          </p:cNvPr>
          <p:cNvSpPr txBox="1"/>
          <p:nvPr/>
        </p:nvSpPr>
        <p:spPr>
          <a:xfrm>
            <a:off x="5589141" y="1399395"/>
            <a:ext cx="6263574" cy="3737946"/>
          </a:xfrm>
          <a:prstGeom prst="rect">
            <a:avLst/>
          </a:prstGeom>
          <a:noFill/>
        </p:spPr>
        <p:txBody>
          <a:bodyPr wrap="square" rtlCol="0">
            <a:spAutoFit/>
          </a:bodyPr>
          <a:lstStyle/>
          <a:p>
            <a:pPr>
              <a:lnSpc>
                <a:spcPct val="150000"/>
              </a:lnSpc>
            </a:pPr>
            <a:r>
              <a:rPr lang="pt-BR" sz="2000" b="1" dirty="0">
                <a:solidFill>
                  <a:srgbClr val="1C1C1C"/>
                </a:solidFill>
              </a:rPr>
              <a:t>10º dia de internação: </a:t>
            </a:r>
          </a:p>
          <a:p>
            <a:pPr marL="342900" indent="-342900">
              <a:lnSpc>
                <a:spcPct val="150000"/>
              </a:lnSpc>
              <a:buFont typeface="Arial" panose="020B0604020202020204" pitchFamily="34" charset="0"/>
              <a:buChar char="•"/>
            </a:pPr>
            <a:endParaRPr lang="pt-BR" sz="2000" dirty="0">
              <a:solidFill>
                <a:srgbClr val="1C1C1C"/>
              </a:solidFill>
            </a:endParaRPr>
          </a:p>
          <a:p>
            <a:pPr marL="285750" indent="-285750">
              <a:lnSpc>
                <a:spcPct val="150000"/>
              </a:lnSpc>
              <a:buFont typeface="Arial" panose="020B0604020202020204" pitchFamily="34" charset="0"/>
              <a:buChar char="•"/>
            </a:pPr>
            <a:r>
              <a:rPr lang="pt-BR" sz="2000" dirty="0"/>
              <a:t>Agitação com necessidade de aumento da sedação</a:t>
            </a:r>
          </a:p>
          <a:p>
            <a:pPr marL="285750" indent="-285750">
              <a:lnSpc>
                <a:spcPct val="150000"/>
              </a:lnSpc>
              <a:buFont typeface="Arial" panose="020B0604020202020204" pitchFamily="34" charset="0"/>
              <a:buChar char="•"/>
            </a:pPr>
            <a:endParaRPr lang="pt-BR" sz="2000" dirty="0"/>
          </a:p>
          <a:p>
            <a:pPr marL="285750" indent="-285750">
              <a:lnSpc>
                <a:spcPct val="150000"/>
              </a:lnSpc>
              <a:buFont typeface="Arial" panose="020B0604020202020204" pitchFamily="34" charset="0"/>
              <a:buChar char="•"/>
            </a:pPr>
            <a:r>
              <a:rPr lang="pt-BR" sz="2000" dirty="0"/>
              <a:t>Aparente desconforto abdominal</a:t>
            </a:r>
          </a:p>
          <a:p>
            <a:pPr marL="285750" indent="-285750">
              <a:lnSpc>
                <a:spcPct val="150000"/>
              </a:lnSpc>
              <a:buFont typeface="Arial" panose="020B0604020202020204" pitchFamily="34" charset="0"/>
              <a:buChar char="•"/>
            </a:pPr>
            <a:endParaRPr lang="pt-BR" sz="2000" dirty="0"/>
          </a:p>
          <a:p>
            <a:pPr marL="285750" indent="-285750">
              <a:lnSpc>
                <a:spcPct val="150000"/>
              </a:lnSpc>
              <a:buFont typeface="Arial" panose="020B0604020202020204" pitchFamily="34" charset="0"/>
              <a:buChar char="•"/>
            </a:pPr>
            <a:r>
              <a:rPr lang="pt-BR" sz="2000" dirty="0"/>
              <a:t>Urina no coletor: amarela</a:t>
            </a:r>
          </a:p>
          <a:p>
            <a:pPr>
              <a:lnSpc>
                <a:spcPct val="150000"/>
              </a:lnSpc>
            </a:pPr>
            <a:endParaRPr lang="pt-BR" sz="2000" noProof="0" dirty="0"/>
          </a:p>
        </p:txBody>
      </p:sp>
      <p:sp>
        <p:nvSpPr>
          <p:cNvPr id="8" name="CaixaDeTexto 7">
            <a:extLst>
              <a:ext uri="{FF2B5EF4-FFF2-40B4-BE49-F238E27FC236}">
                <a16:creationId xmlns:a16="http://schemas.microsoft.com/office/drawing/2014/main" id="{5C33105F-6C08-438A-9B6D-F82C365C9929}"/>
              </a:ext>
            </a:extLst>
          </p:cNvPr>
          <p:cNvSpPr txBox="1"/>
          <p:nvPr/>
        </p:nvSpPr>
        <p:spPr>
          <a:xfrm>
            <a:off x="2519500" y="361172"/>
            <a:ext cx="2957454" cy="461665"/>
          </a:xfrm>
          <a:prstGeom prst="rect">
            <a:avLst/>
          </a:prstGeom>
          <a:noFill/>
        </p:spPr>
        <p:txBody>
          <a:bodyPr wrap="square" lIns="91440" tIns="45720" rIns="91440" bIns="45720" rtlCol="0" anchor="t">
            <a:spAutoFit/>
          </a:bodyPr>
          <a:lstStyle/>
          <a:p>
            <a:r>
              <a:rPr lang="pt-BR" sz="2400" b="1" noProof="0"/>
              <a:t>CASO </a:t>
            </a:r>
            <a:r>
              <a:rPr lang="pt-BR" sz="2400" b="1"/>
              <a:t>3 -</a:t>
            </a:r>
            <a:r>
              <a:rPr lang="pt-BR" sz="2400" b="1" noProof="0"/>
              <a:t> Adulto</a:t>
            </a:r>
          </a:p>
        </p:txBody>
      </p:sp>
      <p:sp>
        <p:nvSpPr>
          <p:cNvPr id="60" name="Seta: para Baixo 59">
            <a:extLst>
              <a:ext uri="{FF2B5EF4-FFF2-40B4-BE49-F238E27FC236}">
                <a16:creationId xmlns:a16="http://schemas.microsoft.com/office/drawing/2014/main" id="{45E7D678-2ED1-FD98-20B7-DDAFC48A16A5}"/>
              </a:ext>
            </a:extLst>
          </p:cNvPr>
          <p:cNvSpPr/>
          <p:nvPr/>
        </p:nvSpPr>
        <p:spPr>
          <a:xfrm rot="16200000">
            <a:off x="4866219" y="1852449"/>
            <a:ext cx="457200" cy="542417"/>
          </a:xfrm>
          <a:prstGeom prst="downArrow">
            <a:avLst/>
          </a:prstGeom>
          <a:solidFill>
            <a:srgbClr val="D9D9D9"/>
          </a:solidFill>
          <a:ln w="19050">
            <a:solidFill>
              <a:srgbClr val="7F3D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lgn="just">
              <a:buFont typeface="Arial" panose="020B0604020202020204" pitchFamily="34" charset="0"/>
              <a:buChar char="•"/>
            </a:pPr>
            <a:endParaRPr lang="pt-BR" sz="1800" noProof="0"/>
          </a:p>
        </p:txBody>
      </p:sp>
      <p:sp>
        <p:nvSpPr>
          <p:cNvPr id="61" name="Seta: para Baixo 60">
            <a:extLst>
              <a:ext uri="{FF2B5EF4-FFF2-40B4-BE49-F238E27FC236}">
                <a16:creationId xmlns:a16="http://schemas.microsoft.com/office/drawing/2014/main" id="{440DB1D7-EBA5-36A5-A64F-1C33682FB76D}"/>
              </a:ext>
            </a:extLst>
          </p:cNvPr>
          <p:cNvSpPr/>
          <p:nvPr/>
        </p:nvSpPr>
        <p:spPr>
          <a:xfrm rot="16200000">
            <a:off x="11352906" y="5914519"/>
            <a:ext cx="457200" cy="542417"/>
          </a:xfrm>
          <a:prstGeom prst="downArrow">
            <a:avLst/>
          </a:prstGeom>
          <a:solidFill>
            <a:srgbClr val="D9D9D9"/>
          </a:solidFill>
          <a:ln w="19050">
            <a:solidFill>
              <a:srgbClr val="7F3D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lgn="just">
              <a:buFont typeface="Arial" panose="020B0604020202020204" pitchFamily="34" charset="0"/>
              <a:buChar char="•"/>
            </a:pPr>
            <a:endParaRPr lang="pt-BR" sz="1800" noProof="0"/>
          </a:p>
        </p:txBody>
      </p:sp>
      <p:pic>
        <p:nvPicPr>
          <p:cNvPr id="2" name="Picture 2" descr="Vetores de Ilustração Em Vetor De Uma Pessoa Abrindo Um ...">
            <a:extLst>
              <a:ext uri="{FF2B5EF4-FFF2-40B4-BE49-F238E27FC236}">
                <a16:creationId xmlns:a16="http://schemas.microsoft.com/office/drawing/2014/main" id="{557139AE-FEE7-B3B3-BAA6-73BCC1984EA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09397" y="1640935"/>
            <a:ext cx="3891100" cy="3367736"/>
          </a:xfrm>
          <a:prstGeom prst="rect">
            <a:avLst/>
          </a:prstGeom>
          <a:noFill/>
          <a:extLst>
            <a:ext uri="{909E8E84-426E-40DD-AFC4-6F175D3DCCD1}">
              <a14:hiddenFill xmlns:a14="http://schemas.microsoft.com/office/drawing/2010/main">
                <a:solidFill>
                  <a:srgbClr val="FFFFFF"/>
                </a:solidFill>
              </a14:hiddenFill>
            </a:ext>
          </a:extLst>
        </p:spPr>
      </p:pic>
      <p:sp>
        <p:nvSpPr>
          <p:cNvPr id="6" name="CaixaDeTexto 5">
            <a:extLst>
              <a:ext uri="{FF2B5EF4-FFF2-40B4-BE49-F238E27FC236}">
                <a16:creationId xmlns:a16="http://schemas.microsoft.com/office/drawing/2014/main" id="{8086748C-4AF2-BECD-80A9-FE84841D0E81}"/>
              </a:ext>
            </a:extLst>
          </p:cNvPr>
          <p:cNvSpPr txBox="1"/>
          <p:nvPr/>
        </p:nvSpPr>
        <p:spPr>
          <a:xfrm>
            <a:off x="1784089" y="2791296"/>
            <a:ext cx="1741715" cy="461665"/>
          </a:xfrm>
          <a:prstGeom prst="rect">
            <a:avLst/>
          </a:prstGeom>
          <a:noFill/>
        </p:spPr>
        <p:txBody>
          <a:bodyPr wrap="square" rtlCol="0">
            <a:spAutoFit/>
          </a:bodyPr>
          <a:lstStyle/>
          <a:p>
            <a:r>
              <a:rPr lang="pt-BR" sz="2400" b="1" noProof="0"/>
              <a:t>Envelope 1</a:t>
            </a:r>
          </a:p>
        </p:txBody>
      </p:sp>
    </p:spTree>
    <p:extLst>
      <p:ext uri="{BB962C8B-B14F-4D97-AF65-F5344CB8AC3E}">
        <p14:creationId xmlns:p14="http://schemas.microsoft.com/office/powerpoint/2010/main" val="37914580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60" grpId="0" animBg="1"/>
      <p:bldP spid="61"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91B3DD-5D69-4E1B-BBF5-3DEDE38701F7}"/>
            </a:ext>
          </a:extLst>
        </p:cNvPr>
        <p:cNvGrpSpPr/>
        <p:nvPr/>
      </p:nvGrpSpPr>
      <p:grpSpPr>
        <a:xfrm>
          <a:off x="0" y="0"/>
          <a:ext cx="0" cy="0"/>
          <a:chOff x="0" y="0"/>
          <a:chExt cx="0" cy="0"/>
        </a:xfrm>
      </p:grpSpPr>
      <p:pic>
        <p:nvPicPr>
          <p:cNvPr id="15362" name="Picture 2" descr="Design PNG E SVG De Ilustração De Envelope Para Camisetas">
            <a:extLst>
              <a:ext uri="{FF2B5EF4-FFF2-40B4-BE49-F238E27FC236}">
                <a16:creationId xmlns:a16="http://schemas.microsoft.com/office/drawing/2014/main" id="{D95A1A1B-044F-13CD-3D94-13529BDD8591}"/>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069" t="24190" r="4060" b="25133"/>
          <a:stretch/>
        </p:blipFill>
        <p:spPr bwMode="auto">
          <a:xfrm>
            <a:off x="1341409" y="739035"/>
            <a:ext cx="9669995" cy="533410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2" name="think-cell data - do not delete" hidden="1">
            <a:extLst>
              <a:ext uri="{FF2B5EF4-FFF2-40B4-BE49-F238E27FC236}">
                <a16:creationId xmlns:a16="http://schemas.microsoft.com/office/drawing/2014/main" id="{DFA1BF0B-D4AD-E2A1-8EDD-92011A7379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8" progId="TCLayout.ActiveDocument.1">
                  <p:embed/>
                </p:oleObj>
              </mc:Choice>
              <mc:Fallback>
                <p:oleObj name="think-cell Slide" r:id="rId5" imgW="306" imgH="308" progId="TCLayout.ActiveDocument.1">
                  <p:embed/>
                  <p:pic>
                    <p:nvPicPr>
                      <p:cNvPr id="12" name="think-cell data - do not delete" hidden="1">
                        <a:extLst>
                          <a:ext uri="{FF2B5EF4-FFF2-40B4-BE49-F238E27FC236}">
                            <a16:creationId xmlns:a16="http://schemas.microsoft.com/office/drawing/2014/main" id="{DFA1BF0B-D4AD-E2A1-8EDD-92011A73799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3" name="Group 12">
            <a:extLst>
              <a:ext uri="{FF2B5EF4-FFF2-40B4-BE49-F238E27FC236}">
                <a16:creationId xmlns:a16="http://schemas.microsoft.com/office/drawing/2014/main" id="{D60CD601-D0F1-3ED6-0436-50E6DA8E3452}"/>
              </a:ext>
            </a:extLst>
          </p:cNvPr>
          <p:cNvGrpSpPr/>
          <p:nvPr/>
        </p:nvGrpSpPr>
        <p:grpSpPr>
          <a:xfrm>
            <a:off x="304800" y="249455"/>
            <a:ext cx="1193800" cy="462985"/>
            <a:chOff x="5245100" y="211355"/>
            <a:chExt cx="2036664" cy="789869"/>
          </a:xfrm>
        </p:grpSpPr>
        <p:sp>
          <p:nvSpPr>
            <p:cNvPr id="14" name="Freeform: Shape 13">
              <a:extLst>
                <a:ext uri="{FF2B5EF4-FFF2-40B4-BE49-F238E27FC236}">
                  <a16:creationId xmlns:a16="http://schemas.microsoft.com/office/drawing/2014/main" id="{5A5062B5-A6B6-5071-9482-516C99CBB68D}"/>
                </a:ext>
              </a:extLst>
            </p:cNvPr>
            <p:cNvSpPr/>
            <p:nvPr/>
          </p:nvSpPr>
          <p:spPr>
            <a:xfrm>
              <a:off x="5245100" y="308520"/>
              <a:ext cx="247894" cy="322815"/>
            </a:xfrm>
            <a:custGeom>
              <a:avLst/>
              <a:gdLst>
                <a:gd name="connsiteX0" fmla="*/ 529590 w 986123"/>
                <a:gd name="connsiteY0" fmla="*/ 1284160 h 1284160"/>
                <a:gd name="connsiteX1" fmla="*/ 249650 w 986123"/>
                <a:gd name="connsiteY1" fmla="*/ 1235107 h 1284160"/>
                <a:gd name="connsiteX2" fmla="*/ 0 w 986123"/>
                <a:gd name="connsiteY2" fmla="*/ 1084421 h 1284160"/>
                <a:gd name="connsiteX3" fmla="*/ 162306 w 986123"/>
                <a:gd name="connsiteY3" fmla="*/ 890016 h 1284160"/>
                <a:gd name="connsiteX4" fmla="*/ 337947 w 986123"/>
                <a:gd name="connsiteY4" fmla="*/ 1000601 h 1284160"/>
                <a:gd name="connsiteX5" fmla="*/ 535019 w 986123"/>
                <a:gd name="connsiteY5" fmla="*/ 1041654 h 1284160"/>
                <a:gd name="connsiteX6" fmla="*/ 667893 w 986123"/>
                <a:gd name="connsiteY6" fmla="*/ 1010412 h 1284160"/>
                <a:gd name="connsiteX7" fmla="*/ 715137 w 986123"/>
                <a:gd name="connsiteY7" fmla="*/ 923925 h 1284160"/>
                <a:gd name="connsiteX8" fmla="*/ 715137 w 986123"/>
                <a:gd name="connsiteY8" fmla="*/ 920305 h 1284160"/>
                <a:gd name="connsiteX9" fmla="*/ 705326 w 986123"/>
                <a:gd name="connsiteY9" fmla="*/ 873062 h 1284160"/>
                <a:gd name="connsiteX10" fmla="*/ 667798 w 986123"/>
                <a:gd name="connsiteY10" fmla="*/ 834676 h 1284160"/>
                <a:gd name="connsiteX11" fmla="*/ 590931 w 986123"/>
                <a:gd name="connsiteY11" fmla="*/ 798957 h 1284160"/>
                <a:gd name="connsiteX12" fmla="*/ 463106 w 986123"/>
                <a:gd name="connsiteY12" fmla="*/ 761524 h 1284160"/>
                <a:gd name="connsiteX13" fmla="*/ 291465 w 986123"/>
                <a:gd name="connsiteY13" fmla="*/ 709803 h 1284160"/>
                <a:gd name="connsiteX14" fmla="*/ 160973 w 986123"/>
                <a:gd name="connsiteY14" fmla="*/ 639318 h 1284160"/>
                <a:gd name="connsiteX15" fmla="*/ 77819 w 986123"/>
                <a:gd name="connsiteY15" fmla="*/ 535019 h 1284160"/>
                <a:gd name="connsiteX16" fmla="*/ 48292 w 986123"/>
                <a:gd name="connsiteY16" fmla="*/ 379857 h 1284160"/>
                <a:gd name="connsiteX17" fmla="*/ 48292 w 986123"/>
                <a:gd name="connsiteY17" fmla="*/ 376238 h 1284160"/>
                <a:gd name="connsiteX18" fmla="*/ 80201 w 986123"/>
                <a:gd name="connsiteY18" fmla="*/ 222028 h 1284160"/>
                <a:gd name="connsiteX19" fmla="*/ 169640 w 986123"/>
                <a:gd name="connsiteY19" fmla="*/ 103441 h 1284160"/>
                <a:gd name="connsiteX20" fmla="*/ 307181 w 986123"/>
                <a:gd name="connsiteY20" fmla="*/ 26765 h 1284160"/>
                <a:gd name="connsiteX21" fmla="*/ 483394 w 986123"/>
                <a:gd name="connsiteY21" fmla="*/ 0 h 1284160"/>
                <a:gd name="connsiteX22" fmla="*/ 735711 w 986123"/>
                <a:gd name="connsiteY22" fmla="*/ 41053 h 1284160"/>
                <a:gd name="connsiteX23" fmla="*/ 946976 w 986123"/>
                <a:gd name="connsiteY23" fmla="*/ 158687 h 1284160"/>
                <a:gd name="connsiteX24" fmla="*/ 804291 w 986123"/>
                <a:gd name="connsiteY24" fmla="*/ 365569 h 1284160"/>
                <a:gd name="connsiteX25" fmla="*/ 640271 w 986123"/>
                <a:gd name="connsiteY25" fmla="*/ 275558 h 1284160"/>
                <a:gd name="connsiteX26" fmla="*/ 479774 w 986123"/>
                <a:gd name="connsiteY26" fmla="*/ 242602 h 1284160"/>
                <a:gd name="connsiteX27" fmla="*/ 359378 w 986123"/>
                <a:gd name="connsiteY27" fmla="*/ 273844 h 1284160"/>
                <a:gd name="connsiteX28" fmla="*/ 319278 w 986123"/>
                <a:gd name="connsiteY28" fmla="*/ 351377 h 1284160"/>
                <a:gd name="connsiteX29" fmla="*/ 319278 w 986123"/>
                <a:gd name="connsiteY29" fmla="*/ 354997 h 1284160"/>
                <a:gd name="connsiteX30" fmla="*/ 330899 w 986123"/>
                <a:gd name="connsiteY30" fmla="*/ 407575 h 1284160"/>
                <a:gd name="connsiteX31" fmla="*/ 372904 w 986123"/>
                <a:gd name="connsiteY31" fmla="*/ 447675 h 1284160"/>
                <a:gd name="connsiteX32" fmla="*/ 456057 w 986123"/>
                <a:gd name="connsiteY32" fmla="*/ 481489 h 1284160"/>
                <a:gd name="connsiteX33" fmla="*/ 589217 w 986123"/>
                <a:gd name="connsiteY33" fmla="*/ 518922 h 1284160"/>
                <a:gd name="connsiteX34" fmla="*/ 758190 w 986123"/>
                <a:gd name="connsiteY34" fmla="*/ 575120 h 1284160"/>
                <a:gd name="connsiteX35" fmla="*/ 883349 w 986123"/>
                <a:gd name="connsiteY35" fmla="*/ 649986 h 1284160"/>
                <a:gd name="connsiteX36" fmla="*/ 960215 w 986123"/>
                <a:gd name="connsiteY36" fmla="*/ 752570 h 1284160"/>
                <a:gd name="connsiteX37" fmla="*/ 986123 w 986123"/>
                <a:gd name="connsiteY37" fmla="*/ 893445 h 1284160"/>
                <a:gd name="connsiteX38" fmla="*/ 986123 w 986123"/>
                <a:gd name="connsiteY38" fmla="*/ 897064 h 1284160"/>
                <a:gd name="connsiteX39" fmla="*/ 952500 w 986123"/>
                <a:gd name="connsiteY39" fmla="*/ 1062038 h 1284160"/>
                <a:gd name="connsiteX40" fmla="*/ 858584 w 986123"/>
                <a:gd name="connsiteY40" fmla="*/ 1183291 h 1284160"/>
                <a:gd name="connsiteX41" fmla="*/ 714851 w 986123"/>
                <a:gd name="connsiteY41" fmla="*/ 1258157 h 1284160"/>
                <a:gd name="connsiteX42" fmla="*/ 529685 w 986123"/>
                <a:gd name="connsiteY42" fmla="*/ 1284065 h 128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6123" h="1284160">
                  <a:moveTo>
                    <a:pt x="529590" y="1284160"/>
                  </a:moveTo>
                  <a:cubicBezTo>
                    <a:pt x="434435" y="1284160"/>
                    <a:pt x="341186" y="1267777"/>
                    <a:pt x="249650" y="1235107"/>
                  </a:cubicBezTo>
                  <a:cubicBezTo>
                    <a:pt x="158115" y="1202436"/>
                    <a:pt x="74867" y="1152239"/>
                    <a:pt x="0" y="1084421"/>
                  </a:cubicBezTo>
                  <a:lnTo>
                    <a:pt x="162306" y="890016"/>
                  </a:lnTo>
                  <a:cubicBezTo>
                    <a:pt x="219361" y="936403"/>
                    <a:pt x="277844" y="973264"/>
                    <a:pt x="337947" y="1000601"/>
                  </a:cubicBezTo>
                  <a:cubicBezTo>
                    <a:pt x="397955" y="1027938"/>
                    <a:pt x="463677" y="1041654"/>
                    <a:pt x="535019" y="1041654"/>
                  </a:cubicBezTo>
                  <a:cubicBezTo>
                    <a:pt x="592074" y="1041654"/>
                    <a:pt x="636365" y="1031272"/>
                    <a:pt x="667893" y="1010412"/>
                  </a:cubicBezTo>
                  <a:cubicBezTo>
                    <a:pt x="699421" y="989647"/>
                    <a:pt x="715137" y="960787"/>
                    <a:pt x="715137" y="923925"/>
                  </a:cubicBezTo>
                  <a:lnTo>
                    <a:pt x="715137" y="920305"/>
                  </a:lnTo>
                  <a:cubicBezTo>
                    <a:pt x="715137" y="902494"/>
                    <a:pt x="711803" y="886777"/>
                    <a:pt x="705326" y="873062"/>
                  </a:cubicBezTo>
                  <a:cubicBezTo>
                    <a:pt x="698754" y="859441"/>
                    <a:pt x="686276" y="846582"/>
                    <a:pt x="667798" y="834676"/>
                  </a:cubicBezTo>
                  <a:cubicBezTo>
                    <a:pt x="649319" y="822770"/>
                    <a:pt x="623697" y="810863"/>
                    <a:pt x="590931" y="798957"/>
                  </a:cubicBezTo>
                  <a:cubicBezTo>
                    <a:pt x="558165" y="787146"/>
                    <a:pt x="515493" y="774573"/>
                    <a:pt x="463106" y="761524"/>
                  </a:cubicBezTo>
                  <a:cubicBezTo>
                    <a:pt x="399955" y="746093"/>
                    <a:pt x="342710" y="728853"/>
                    <a:pt x="291465" y="709803"/>
                  </a:cubicBezTo>
                  <a:cubicBezTo>
                    <a:pt x="240221" y="690753"/>
                    <a:pt x="196691" y="667322"/>
                    <a:pt x="160973" y="639318"/>
                  </a:cubicBezTo>
                  <a:cubicBezTo>
                    <a:pt x="125159" y="611410"/>
                    <a:pt x="97536" y="576644"/>
                    <a:pt x="77819" y="535019"/>
                  </a:cubicBezTo>
                  <a:cubicBezTo>
                    <a:pt x="58103" y="493395"/>
                    <a:pt x="48292" y="441674"/>
                    <a:pt x="48292" y="379857"/>
                  </a:cubicBezTo>
                  <a:lnTo>
                    <a:pt x="48292" y="376238"/>
                  </a:lnTo>
                  <a:cubicBezTo>
                    <a:pt x="48292" y="319183"/>
                    <a:pt x="58865" y="267748"/>
                    <a:pt x="80201" y="222028"/>
                  </a:cubicBezTo>
                  <a:cubicBezTo>
                    <a:pt x="101441" y="176308"/>
                    <a:pt x="131255" y="136779"/>
                    <a:pt x="169640" y="103441"/>
                  </a:cubicBezTo>
                  <a:cubicBezTo>
                    <a:pt x="208026" y="70199"/>
                    <a:pt x="253841" y="44577"/>
                    <a:pt x="307181" y="26765"/>
                  </a:cubicBezTo>
                  <a:cubicBezTo>
                    <a:pt x="360426" y="8953"/>
                    <a:pt x="419195" y="0"/>
                    <a:pt x="483394" y="0"/>
                  </a:cubicBezTo>
                  <a:cubicBezTo>
                    <a:pt x="574929" y="0"/>
                    <a:pt x="659035" y="13716"/>
                    <a:pt x="735711" y="41053"/>
                  </a:cubicBezTo>
                  <a:cubicBezTo>
                    <a:pt x="812387" y="68389"/>
                    <a:pt x="882777" y="107632"/>
                    <a:pt x="946976" y="158687"/>
                  </a:cubicBezTo>
                  <a:lnTo>
                    <a:pt x="804291" y="365569"/>
                  </a:lnTo>
                  <a:cubicBezTo>
                    <a:pt x="748379" y="327565"/>
                    <a:pt x="693706" y="297561"/>
                    <a:pt x="640271" y="275558"/>
                  </a:cubicBezTo>
                  <a:cubicBezTo>
                    <a:pt x="586740" y="253555"/>
                    <a:pt x="533305" y="242602"/>
                    <a:pt x="479774" y="242602"/>
                  </a:cubicBezTo>
                  <a:cubicBezTo>
                    <a:pt x="426244" y="242602"/>
                    <a:pt x="386144" y="252984"/>
                    <a:pt x="359378" y="273844"/>
                  </a:cubicBezTo>
                  <a:cubicBezTo>
                    <a:pt x="332613" y="294608"/>
                    <a:pt x="319278" y="320516"/>
                    <a:pt x="319278" y="351377"/>
                  </a:cubicBezTo>
                  <a:lnTo>
                    <a:pt x="319278" y="354997"/>
                  </a:lnTo>
                  <a:cubicBezTo>
                    <a:pt x="319278" y="375190"/>
                    <a:pt x="323183" y="392716"/>
                    <a:pt x="330899" y="407575"/>
                  </a:cubicBezTo>
                  <a:cubicBezTo>
                    <a:pt x="338614" y="422434"/>
                    <a:pt x="352616" y="435864"/>
                    <a:pt x="372904" y="447675"/>
                  </a:cubicBezTo>
                  <a:cubicBezTo>
                    <a:pt x="393192" y="459581"/>
                    <a:pt x="420910" y="470821"/>
                    <a:pt x="456057" y="481489"/>
                  </a:cubicBezTo>
                  <a:cubicBezTo>
                    <a:pt x="491204" y="492157"/>
                    <a:pt x="535591" y="504730"/>
                    <a:pt x="589217" y="518922"/>
                  </a:cubicBezTo>
                  <a:cubicBezTo>
                    <a:pt x="652367" y="535591"/>
                    <a:pt x="708660" y="554260"/>
                    <a:pt x="758190" y="575120"/>
                  </a:cubicBezTo>
                  <a:cubicBezTo>
                    <a:pt x="807625" y="595979"/>
                    <a:pt x="849344" y="620935"/>
                    <a:pt x="883349" y="649986"/>
                  </a:cubicBezTo>
                  <a:cubicBezTo>
                    <a:pt x="917353" y="679132"/>
                    <a:pt x="942975" y="713327"/>
                    <a:pt x="960215" y="752570"/>
                  </a:cubicBezTo>
                  <a:cubicBezTo>
                    <a:pt x="977456" y="791813"/>
                    <a:pt x="986123" y="838772"/>
                    <a:pt x="986123" y="893445"/>
                  </a:cubicBezTo>
                  <a:lnTo>
                    <a:pt x="986123" y="897064"/>
                  </a:lnTo>
                  <a:cubicBezTo>
                    <a:pt x="986123" y="958882"/>
                    <a:pt x="974884" y="1013841"/>
                    <a:pt x="952500" y="1062038"/>
                  </a:cubicBezTo>
                  <a:cubicBezTo>
                    <a:pt x="930021" y="1110139"/>
                    <a:pt x="898779" y="1150620"/>
                    <a:pt x="858584" y="1183291"/>
                  </a:cubicBezTo>
                  <a:cubicBezTo>
                    <a:pt x="818388" y="1216057"/>
                    <a:pt x="770477" y="1241012"/>
                    <a:pt x="714851" y="1258157"/>
                  </a:cubicBezTo>
                  <a:cubicBezTo>
                    <a:pt x="659130" y="1275398"/>
                    <a:pt x="597503" y="1284065"/>
                    <a:pt x="529685" y="1284065"/>
                  </a:cubicBezTo>
                  <a:close/>
                </a:path>
              </a:pathLst>
            </a:custGeom>
            <a:solidFill>
              <a:srgbClr val="44505E"/>
            </a:solidFill>
            <a:ln w="9525" cap="flat">
              <a:noFill/>
              <a:prstDash val="solid"/>
              <a:miter/>
            </a:ln>
          </p:spPr>
          <p:txBody>
            <a:bodyPr rtlCol="0" anchor="ctr"/>
            <a:lstStyle/>
            <a:p>
              <a:endParaRPr lang="pt-BR" noProof="0"/>
            </a:p>
          </p:txBody>
        </p:sp>
        <p:sp>
          <p:nvSpPr>
            <p:cNvPr id="17" name="Freeform: Shape 16">
              <a:extLst>
                <a:ext uri="{FF2B5EF4-FFF2-40B4-BE49-F238E27FC236}">
                  <a16:creationId xmlns:a16="http://schemas.microsoft.com/office/drawing/2014/main" id="{BD87D58A-8BA5-9786-9026-0620D1FF7739}"/>
                </a:ext>
              </a:extLst>
            </p:cNvPr>
            <p:cNvSpPr/>
            <p:nvPr/>
          </p:nvSpPr>
          <p:spPr>
            <a:xfrm>
              <a:off x="5492084" y="310867"/>
              <a:ext cx="332584" cy="315991"/>
            </a:xfrm>
            <a:custGeom>
              <a:avLst/>
              <a:gdLst>
                <a:gd name="connsiteX0" fmla="*/ 534924 w 1323022"/>
                <a:gd name="connsiteY0" fmla="*/ 0 h 1257014"/>
                <a:gd name="connsiteX1" fmla="*/ 788099 w 1323022"/>
                <a:gd name="connsiteY1" fmla="*/ 0 h 1257014"/>
                <a:gd name="connsiteX2" fmla="*/ 1323023 w 1323022"/>
                <a:gd name="connsiteY2" fmla="*/ 1257014 h 1257014"/>
                <a:gd name="connsiteX3" fmla="*/ 1035939 w 1323022"/>
                <a:gd name="connsiteY3" fmla="*/ 1257014 h 1257014"/>
                <a:gd name="connsiteX4" fmla="*/ 921829 w 1323022"/>
                <a:gd name="connsiteY4" fmla="*/ 977075 h 1257014"/>
                <a:gd name="connsiteX5" fmla="*/ 394049 w 1323022"/>
                <a:gd name="connsiteY5" fmla="*/ 977075 h 1257014"/>
                <a:gd name="connsiteX6" fmla="*/ 279940 w 1323022"/>
                <a:gd name="connsiteY6" fmla="*/ 1257014 h 1257014"/>
                <a:gd name="connsiteX7" fmla="*/ 0 w 1323022"/>
                <a:gd name="connsiteY7" fmla="*/ 1257014 h 1257014"/>
                <a:gd name="connsiteX8" fmla="*/ 534924 w 1323022"/>
                <a:gd name="connsiteY8" fmla="*/ 0 h 1257014"/>
                <a:gd name="connsiteX9" fmla="*/ 823817 w 1323022"/>
                <a:gd name="connsiteY9" fmla="*/ 734568 h 1257014"/>
                <a:gd name="connsiteX10" fmla="*/ 657987 w 1323022"/>
                <a:gd name="connsiteY10" fmla="*/ 329851 h 1257014"/>
                <a:gd name="connsiteX11" fmla="*/ 492157 w 1323022"/>
                <a:gd name="connsiteY11" fmla="*/ 734568 h 1257014"/>
                <a:gd name="connsiteX12" fmla="*/ 823817 w 1323022"/>
                <a:gd name="connsiteY12" fmla="*/ 734568 h 125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022" h="1257014">
                  <a:moveTo>
                    <a:pt x="534924" y="0"/>
                  </a:moveTo>
                  <a:lnTo>
                    <a:pt x="788099" y="0"/>
                  </a:lnTo>
                  <a:lnTo>
                    <a:pt x="1323023" y="1257014"/>
                  </a:lnTo>
                  <a:lnTo>
                    <a:pt x="1035939" y="1257014"/>
                  </a:lnTo>
                  <a:lnTo>
                    <a:pt x="921829" y="977075"/>
                  </a:lnTo>
                  <a:lnTo>
                    <a:pt x="394049" y="977075"/>
                  </a:lnTo>
                  <a:lnTo>
                    <a:pt x="279940" y="1257014"/>
                  </a:lnTo>
                  <a:lnTo>
                    <a:pt x="0" y="1257014"/>
                  </a:lnTo>
                  <a:lnTo>
                    <a:pt x="534924" y="0"/>
                  </a:lnTo>
                  <a:close/>
                  <a:moveTo>
                    <a:pt x="823817" y="734568"/>
                  </a:moveTo>
                  <a:lnTo>
                    <a:pt x="657987" y="329851"/>
                  </a:lnTo>
                  <a:lnTo>
                    <a:pt x="492157" y="734568"/>
                  </a:lnTo>
                  <a:lnTo>
                    <a:pt x="823817" y="734568"/>
                  </a:lnTo>
                  <a:close/>
                </a:path>
              </a:pathLst>
            </a:custGeom>
            <a:solidFill>
              <a:srgbClr val="44505E"/>
            </a:solidFill>
            <a:ln w="9525" cap="flat">
              <a:noFill/>
              <a:prstDash val="solid"/>
              <a:miter/>
            </a:ln>
          </p:spPr>
          <p:txBody>
            <a:bodyPr rtlCol="0" anchor="ctr"/>
            <a:lstStyle/>
            <a:p>
              <a:endParaRPr lang="pt-BR" noProof="0"/>
            </a:p>
          </p:txBody>
        </p:sp>
        <p:sp>
          <p:nvSpPr>
            <p:cNvPr id="18" name="Freeform: Shape 17">
              <a:extLst>
                <a:ext uri="{FF2B5EF4-FFF2-40B4-BE49-F238E27FC236}">
                  <a16:creationId xmlns:a16="http://schemas.microsoft.com/office/drawing/2014/main" id="{30E4D94B-88BD-9C63-CC9D-59EFFD847755}"/>
                </a:ext>
              </a:extLst>
            </p:cNvPr>
            <p:cNvSpPr/>
            <p:nvPr/>
          </p:nvSpPr>
          <p:spPr>
            <a:xfrm>
              <a:off x="5834078" y="211355"/>
              <a:ext cx="273442" cy="420435"/>
            </a:xfrm>
            <a:custGeom>
              <a:avLst/>
              <a:gdLst>
                <a:gd name="connsiteX0" fmla="*/ 540258 w 1087754"/>
                <a:gd name="connsiteY0" fmla="*/ 1672495 h 1672494"/>
                <a:gd name="connsiteX1" fmla="*/ 144399 w 1087754"/>
                <a:gd name="connsiteY1" fmla="*/ 1533430 h 1672494"/>
                <a:gd name="connsiteX2" fmla="*/ 0 w 1087754"/>
                <a:gd name="connsiteY2" fmla="*/ 1117949 h 1672494"/>
                <a:gd name="connsiteX3" fmla="*/ 0 w 1087754"/>
                <a:gd name="connsiteY3" fmla="*/ 404717 h 1672494"/>
                <a:gd name="connsiteX4" fmla="*/ 274606 w 1087754"/>
                <a:gd name="connsiteY4" fmla="*/ 404717 h 1672494"/>
                <a:gd name="connsiteX5" fmla="*/ 274606 w 1087754"/>
                <a:gd name="connsiteY5" fmla="*/ 1110806 h 1672494"/>
                <a:gd name="connsiteX6" fmla="*/ 345948 w 1087754"/>
                <a:gd name="connsiteY6" fmla="*/ 1341692 h 1672494"/>
                <a:gd name="connsiteX7" fmla="*/ 543877 w 1087754"/>
                <a:gd name="connsiteY7" fmla="*/ 1419225 h 1672494"/>
                <a:gd name="connsiteX8" fmla="*/ 741807 w 1087754"/>
                <a:gd name="connsiteY8" fmla="*/ 1344359 h 1672494"/>
                <a:gd name="connsiteX9" fmla="*/ 813149 w 1087754"/>
                <a:gd name="connsiteY9" fmla="*/ 1119664 h 1672494"/>
                <a:gd name="connsiteX10" fmla="*/ 813149 w 1087754"/>
                <a:gd name="connsiteY10" fmla="*/ 404717 h 1672494"/>
                <a:gd name="connsiteX11" fmla="*/ 1087755 w 1087754"/>
                <a:gd name="connsiteY11" fmla="*/ 404717 h 1672494"/>
                <a:gd name="connsiteX12" fmla="*/ 1087755 w 1087754"/>
                <a:gd name="connsiteY12" fmla="*/ 1108996 h 1672494"/>
                <a:gd name="connsiteX13" fmla="*/ 1049369 w 1087754"/>
                <a:gd name="connsiteY13" fmla="*/ 1356836 h 1672494"/>
                <a:gd name="connsiteX14" fmla="*/ 939737 w 1087754"/>
                <a:gd name="connsiteY14" fmla="*/ 1532477 h 1672494"/>
                <a:gd name="connsiteX15" fmla="*/ 766763 w 1087754"/>
                <a:gd name="connsiteY15" fmla="*/ 1637729 h 1672494"/>
                <a:gd name="connsiteX16" fmla="*/ 540353 w 1087754"/>
                <a:gd name="connsiteY16" fmla="*/ 1672495 h 1672494"/>
                <a:gd name="connsiteX17" fmla="*/ 622268 w 1087754"/>
                <a:gd name="connsiteY17" fmla="*/ 0 h 1672494"/>
                <a:gd name="connsiteX18" fmla="*/ 855821 w 1087754"/>
                <a:gd name="connsiteY18" fmla="*/ 101632 h 1672494"/>
                <a:gd name="connsiteX19" fmla="*/ 627602 w 1087754"/>
                <a:gd name="connsiteY19" fmla="*/ 315563 h 1672494"/>
                <a:gd name="connsiteX20" fmla="*/ 420719 w 1087754"/>
                <a:gd name="connsiteY20" fmla="*/ 315563 h 1672494"/>
                <a:gd name="connsiteX21" fmla="*/ 622268 w 1087754"/>
                <a:gd name="connsiteY21" fmla="*/ 0 h 16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754" h="1672494">
                  <a:moveTo>
                    <a:pt x="540258" y="1672495"/>
                  </a:moveTo>
                  <a:cubicBezTo>
                    <a:pt x="372618" y="1672495"/>
                    <a:pt x="240697" y="1626108"/>
                    <a:pt x="144399" y="1533430"/>
                  </a:cubicBezTo>
                  <a:cubicBezTo>
                    <a:pt x="48101" y="1440752"/>
                    <a:pt x="0" y="1302258"/>
                    <a:pt x="0" y="1117949"/>
                  </a:cubicBezTo>
                  <a:lnTo>
                    <a:pt x="0" y="404717"/>
                  </a:lnTo>
                  <a:lnTo>
                    <a:pt x="274606" y="404717"/>
                  </a:lnTo>
                  <a:lnTo>
                    <a:pt x="274606" y="1110806"/>
                  </a:lnTo>
                  <a:cubicBezTo>
                    <a:pt x="274606" y="1213009"/>
                    <a:pt x="298418" y="1289971"/>
                    <a:pt x="345948" y="1341692"/>
                  </a:cubicBezTo>
                  <a:cubicBezTo>
                    <a:pt x="393478" y="1393412"/>
                    <a:pt x="459486" y="1419225"/>
                    <a:pt x="543877" y="1419225"/>
                  </a:cubicBezTo>
                  <a:cubicBezTo>
                    <a:pt x="628269" y="1419225"/>
                    <a:pt x="694277" y="1394270"/>
                    <a:pt x="741807" y="1344359"/>
                  </a:cubicBezTo>
                  <a:cubicBezTo>
                    <a:pt x="789337" y="1294448"/>
                    <a:pt x="813149" y="1219581"/>
                    <a:pt x="813149" y="1119664"/>
                  </a:cubicBezTo>
                  <a:lnTo>
                    <a:pt x="813149" y="404717"/>
                  </a:lnTo>
                  <a:lnTo>
                    <a:pt x="1087755" y="404717"/>
                  </a:lnTo>
                  <a:lnTo>
                    <a:pt x="1087755" y="1108996"/>
                  </a:lnTo>
                  <a:cubicBezTo>
                    <a:pt x="1087755" y="1204151"/>
                    <a:pt x="1074992" y="1286732"/>
                    <a:pt x="1049369" y="1356836"/>
                  </a:cubicBezTo>
                  <a:cubicBezTo>
                    <a:pt x="1023747" y="1426940"/>
                    <a:pt x="987266" y="1485519"/>
                    <a:pt x="939737" y="1532477"/>
                  </a:cubicBezTo>
                  <a:cubicBezTo>
                    <a:pt x="892207" y="1579436"/>
                    <a:pt x="834485" y="1614488"/>
                    <a:pt x="766763" y="1637729"/>
                  </a:cubicBezTo>
                  <a:cubicBezTo>
                    <a:pt x="699040" y="1660874"/>
                    <a:pt x="623507" y="1672495"/>
                    <a:pt x="540353" y="1672495"/>
                  </a:cubicBezTo>
                  <a:close/>
                  <a:moveTo>
                    <a:pt x="622268" y="0"/>
                  </a:moveTo>
                  <a:lnTo>
                    <a:pt x="855821" y="101632"/>
                  </a:lnTo>
                  <a:lnTo>
                    <a:pt x="627602" y="315563"/>
                  </a:lnTo>
                  <a:lnTo>
                    <a:pt x="420719" y="315563"/>
                  </a:lnTo>
                  <a:lnTo>
                    <a:pt x="622268" y="0"/>
                  </a:lnTo>
                  <a:close/>
                </a:path>
              </a:pathLst>
            </a:custGeom>
            <a:solidFill>
              <a:srgbClr val="44505E"/>
            </a:solidFill>
            <a:ln w="9525" cap="flat">
              <a:noFill/>
              <a:prstDash val="solid"/>
              <a:miter/>
            </a:ln>
          </p:spPr>
          <p:txBody>
            <a:bodyPr rtlCol="0" anchor="ctr"/>
            <a:lstStyle/>
            <a:p>
              <a:endParaRPr lang="pt-BR" noProof="0"/>
            </a:p>
          </p:txBody>
        </p:sp>
        <p:sp>
          <p:nvSpPr>
            <p:cNvPr id="19" name="Freeform: Shape 18">
              <a:extLst>
                <a:ext uri="{FF2B5EF4-FFF2-40B4-BE49-F238E27FC236}">
                  <a16:creationId xmlns:a16="http://schemas.microsoft.com/office/drawing/2014/main" id="{243E9BC8-13A8-E86F-5B01-7BD37C300712}"/>
                </a:ext>
              </a:extLst>
            </p:cNvPr>
            <p:cNvSpPr/>
            <p:nvPr/>
          </p:nvSpPr>
          <p:spPr>
            <a:xfrm>
              <a:off x="6143795" y="313094"/>
              <a:ext cx="289101" cy="313764"/>
            </a:xfrm>
            <a:custGeom>
              <a:avLst/>
              <a:gdLst>
                <a:gd name="connsiteX0" fmla="*/ 0 w 1150048"/>
                <a:gd name="connsiteY0" fmla="*/ 0 h 1248155"/>
                <a:gd name="connsiteX1" fmla="*/ 486728 w 1150048"/>
                <a:gd name="connsiteY1" fmla="*/ 0 h 1248155"/>
                <a:gd name="connsiteX2" fmla="*/ 755047 w 1150048"/>
                <a:gd name="connsiteY2" fmla="*/ 47244 h 1248155"/>
                <a:gd name="connsiteX3" fmla="*/ 965454 w 1150048"/>
                <a:gd name="connsiteY3" fmla="*/ 178308 h 1248155"/>
                <a:gd name="connsiteX4" fmla="*/ 1101852 w 1150048"/>
                <a:gd name="connsiteY4" fmla="*/ 375380 h 1248155"/>
                <a:gd name="connsiteX5" fmla="*/ 1150049 w 1150048"/>
                <a:gd name="connsiteY5" fmla="*/ 620554 h 1248155"/>
                <a:gd name="connsiteX6" fmla="*/ 1150049 w 1150048"/>
                <a:gd name="connsiteY6" fmla="*/ 624173 h 1248155"/>
                <a:gd name="connsiteX7" fmla="*/ 1101852 w 1150048"/>
                <a:gd name="connsiteY7" fmla="*/ 870204 h 1248155"/>
                <a:gd name="connsiteX8" fmla="*/ 965454 w 1150048"/>
                <a:gd name="connsiteY8" fmla="*/ 1068134 h 1248155"/>
                <a:gd name="connsiteX9" fmla="*/ 755047 w 1150048"/>
                <a:gd name="connsiteY9" fmla="*/ 1200055 h 1248155"/>
                <a:gd name="connsiteX10" fmla="*/ 486728 w 1150048"/>
                <a:gd name="connsiteY10" fmla="*/ 1248156 h 1248155"/>
                <a:gd name="connsiteX11" fmla="*/ 0 w 1150048"/>
                <a:gd name="connsiteY11" fmla="*/ 1248156 h 1248155"/>
                <a:gd name="connsiteX12" fmla="*/ 0 w 1150048"/>
                <a:gd name="connsiteY12" fmla="*/ 0 h 1248155"/>
                <a:gd name="connsiteX13" fmla="*/ 486728 w 1150048"/>
                <a:gd name="connsiteY13" fmla="*/ 1000315 h 1248155"/>
                <a:gd name="connsiteX14" fmla="*/ 640080 w 1150048"/>
                <a:gd name="connsiteY14" fmla="*/ 973550 h 1248155"/>
                <a:gd name="connsiteX15" fmla="*/ 758667 w 1150048"/>
                <a:gd name="connsiteY15" fmla="*/ 896874 h 1248155"/>
                <a:gd name="connsiteX16" fmla="*/ 835343 w 1150048"/>
                <a:gd name="connsiteY16" fmla="*/ 779240 h 1248155"/>
                <a:gd name="connsiteX17" fmla="*/ 862965 w 1150048"/>
                <a:gd name="connsiteY17" fmla="*/ 627698 h 1248155"/>
                <a:gd name="connsiteX18" fmla="*/ 862965 w 1150048"/>
                <a:gd name="connsiteY18" fmla="*/ 624078 h 1248155"/>
                <a:gd name="connsiteX19" fmla="*/ 835343 w 1150048"/>
                <a:gd name="connsiteY19" fmla="*/ 472535 h 1248155"/>
                <a:gd name="connsiteX20" fmla="*/ 758667 w 1150048"/>
                <a:gd name="connsiteY20" fmla="*/ 353092 h 1248155"/>
                <a:gd name="connsiteX21" fmla="*/ 640080 w 1150048"/>
                <a:gd name="connsiteY21" fmla="*/ 275558 h 1248155"/>
                <a:gd name="connsiteX22" fmla="*/ 486728 w 1150048"/>
                <a:gd name="connsiteY22" fmla="*/ 247936 h 1248155"/>
                <a:gd name="connsiteX23" fmla="*/ 274511 w 1150048"/>
                <a:gd name="connsiteY23" fmla="*/ 247936 h 1248155"/>
                <a:gd name="connsiteX24" fmla="*/ 274511 w 1150048"/>
                <a:gd name="connsiteY24" fmla="*/ 1000411 h 1248155"/>
                <a:gd name="connsiteX25" fmla="*/ 486728 w 1150048"/>
                <a:gd name="connsiteY25" fmla="*/ 1000411 h 124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50048" h="1248155">
                  <a:moveTo>
                    <a:pt x="0" y="0"/>
                  </a:moveTo>
                  <a:lnTo>
                    <a:pt x="486728" y="0"/>
                  </a:lnTo>
                  <a:cubicBezTo>
                    <a:pt x="584168" y="0"/>
                    <a:pt x="673608" y="15811"/>
                    <a:pt x="755047" y="47244"/>
                  </a:cubicBezTo>
                  <a:cubicBezTo>
                    <a:pt x="836486" y="78772"/>
                    <a:pt x="906590" y="122396"/>
                    <a:pt x="965454" y="178308"/>
                  </a:cubicBezTo>
                  <a:cubicBezTo>
                    <a:pt x="1024319" y="234220"/>
                    <a:pt x="1069753" y="299847"/>
                    <a:pt x="1101852" y="375380"/>
                  </a:cubicBezTo>
                  <a:cubicBezTo>
                    <a:pt x="1133951" y="450914"/>
                    <a:pt x="1150049" y="532543"/>
                    <a:pt x="1150049" y="620554"/>
                  </a:cubicBezTo>
                  <a:lnTo>
                    <a:pt x="1150049" y="624173"/>
                  </a:lnTo>
                  <a:cubicBezTo>
                    <a:pt x="1150049" y="712184"/>
                    <a:pt x="1133951" y="794195"/>
                    <a:pt x="1101852" y="870204"/>
                  </a:cubicBezTo>
                  <a:cubicBezTo>
                    <a:pt x="1069753" y="946309"/>
                    <a:pt x="1024319" y="1012222"/>
                    <a:pt x="965454" y="1068134"/>
                  </a:cubicBezTo>
                  <a:cubicBezTo>
                    <a:pt x="906590" y="1124045"/>
                    <a:pt x="836486" y="1167956"/>
                    <a:pt x="755047" y="1200055"/>
                  </a:cubicBezTo>
                  <a:cubicBezTo>
                    <a:pt x="673608" y="1232154"/>
                    <a:pt x="584168" y="1248156"/>
                    <a:pt x="486728" y="1248156"/>
                  </a:cubicBezTo>
                  <a:lnTo>
                    <a:pt x="0" y="1248156"/>
                  </a:lnTo>
                  <a:lnTo>
                    <a:pt x="0" y="0"/>
                  </a:lnTo>
                  <a:close/>
                  <a:moveTo>
                    <a:pt x="486728" y="1000315"/>
                  </a:moveTo>
                  <a:cubicBezTo>
                    <a:pt x="542639" y="1000315"/>
                    <a:pt x="593693" y="991457"/>
                    <a:pt x="640080" y="973550"/>
                  </a:cubicBezTo>
                  <a:cubicBezTo>
                    <a:pt x="686467" y="955739"/>
                    <a:pt x="725900" y="930211"/>
                    <a:pt x="758667" y="896874"/>
                  </a:cubicBezTo>
                  <a:cubicBezTo>
                    <a:pt x="791337" y="863632"/>
                    <a:pt x="816864" y="824389"/>
                    <a:pt x="835343" y="779240"/>
                  </a:cubicBezTo>
                  <a:cubicBezTo>
                    <a:pt x="853726" y="734092"/>
                    <a:pt x="862965" y="683609"/>
                    <a:pt x="862965" y="627698"/>
                  </a:cubicBezTo>
                  <a:lnTo>
                    <a:pt x="862965" y="624078"/>
                  </a:lnTo>
                  <a:cubicBezTo>
                    <a:pt x="862965" y="569404"/>
                    <a:pt x="853726" y="518827"/>
                    <a:pt x="835343" y="472535"/>
                  </a:cubicBezTo>
                  <a:cubicBezTo>
                    <a:pt x="816864" y="426149"/>
                    <a:pt x="791337" y="386334"/>
                    <a:pt x="758667" y="353092"/>
                  </a:cubicBezTo>
                  <a:cubicBezTo>
                    <a:pt x="725996" y="319849"/>
                    <a:pt x="686467" y="293941"/>
                    <a:pt x="640080" y="275558"/>
                  </a:cubicBezTo>
                  <a:cubicBezTo>
                    <a:pt x="593693" y="257175"/>
                    <a:pt x="542639" y="247936"/>
                    <a:pt x="486728" y="247936"/>
                  </a:cubicBezTo>
                  <a:lnTo>
                    <a:pt x="274511" y="247936"/>
                  </a:lnTo>
                  <a:lnTo>
                    <a:pt x="274511" y="1000411"/>
                  </a:lnTo>
                  <a:lnTo>
                    <a:pt x="486728" y="1000411"/>
                  </a:lnTo>
                  <a:close/>
                </a:path>
              </a:pathLst>
            </a:custGeom>
            <a:solidFill>
              <a:srgbClr val="44505E"/>
            </a:solidFill>
            <a:ln w="9525" cap="flat">
              <a:noFill/>
              <a:prstDash val="solid"/>
              <a:miter/>
            </a:ln>
          </p:spPr>
          <p:txBody>
            <a:bodyPr rtlCol="0" anchor="ctr"/>
            <a:lstStyle/>
            <a:p>
              <a:endParaRPr lang="pt-BR" noProof="0"/>
            </a:p>
          </p:txBody>
        </p:sp>
        <p:sp>
          <p:nvSpPr>
            <p:cNvPr id="20" name="Freeform: Shape 19">
              <a:extLst>
                <a:ext uri="{FF2B5EF4-FFF2-40B4-BE49-F238E27FC236}">
                  <a16:creationId xmlns:a16="http://schemas.microsoft.com/office/drawing/2014/main" id="{E18FDF54-6585-44C4-944F-880E0B933CFA}"/>
                </a:ext>
              </a:extLst>
            </p:cNvPr>
            <p:cNvSpPr/>
            <p:nvPr/>
          </p:nvSpPr>
          <p:spPr>
            <a:xfrm>
              <a:off x="6460217" y="313094"/>
              <a:ext cx="238459" cy="313788"/>
            </a:xfrm>
            <a:custGeom>
              <a:avLst/>
              <a:gdLst>
                <a:gd name="connsiteX0" fmla="*/ 95 w 948594"/>
                <a:gd name="connsiteY0" fmla="*/ 0 h 1248251"/>
                <a:gd name="connsiteX1" fmla="*/ 939737 w 948594"/>
                <a:gd name="connsiteY1" fmla="*/ 0 h 1248251"/>
                <a:gd name="connsiteX2" fmla="*/ 939737 w 948594"/>
                <a:gd name="connsiteY2" fmla="*/ 244316 h 1248251"/>
                <a:gd name="connsiteX3" fmla="*/ 271081 w 948594"/>
                <a:gd name="connsiteY3" fmla="*/ 244316 h 1248251"/>
                <a:gd name="connsiteX4" fmla="*/ 271081 w 948594"/>
                <a:gd name="connsiteY4" fmla="*/ 497491 h 1248251"/>
                <a:gd name="connsiteX5" fmla="*/ 859441 w 948594"/>
                <a:gd name="connsiteY5" fmla="*/ 497491 h 1248251"/>
                <a:gd name="connsiteX6" fmla="*/ 859441 w 948594"/>
                <a:gd name="connsiteY6" fmla="*/ 741807 h 1248251"/>
                <a:gd name="connsiteX7" fmla="*/ 271081 w 948594"/>
                <a:gd name="connsiteY7" fmla="*/ 741807 h 1248251"/>
                <a:gd name="connsiteX8" fmla="*/ 271081 w 948594"/>
                <a:gd name="connsiteY8" fmla="*/ 1003935 h 1248251"/>
                <a:gd name="connsiteX9" fmla="*/ 948595 w 948594"/>
                <a:gd name="connsiteY9" fmla="*/ 1003935 h 1248251"/>
                <a:gd name="connsiteX10" fmla="*/ 948595 w 948594"/>
                <a:gd name="connsiteY10" fmla="*/ 1248251 h 1248251"/>
                <a:gd name="connsiteX11" fmla="*/ 0 w 948594"/>
                <a:gd name="connsiteY11" fmla="*/ 1248251 h 1248251"/>
                <a:gd name="connsiteX12" fmla="*/ 0 w 948594"/>
                <a:gd name="connsiteY12" fmla="*/ 0 h 124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594" h="1248251">
                  <a:moveTo>
                    <a:pt x="95" y="0"/>
                  </a:moveTo>
                  <a:lnTo>
                    <a:pt x="939737" y="0"/>
                  </a:lnTo>
                  <a:lnTo>
                    <a:pt x="939737" y="244316"/>
                  </a:lnTo>
                  <a:lnTo>
                    <a:pt x="271081" y="244316"/>
                  </a:lnTo>
                  <a:lnTo>
                    <a:pt x="271081" y="497491"/>
                  </a:lnTo>
                  <a:lnTo>
                    <a:pt x="859441" y="497491"/>
                  </a:lnTo>
                  <a:lnTo>
                    <a:pt x="859441" y="741807"/>
                  </a:lnTo>
                  <a:lnTo>
                    <a:pt x="271081" y="741807"/>
                  </a:lnTo>
                  <a:lnTo>
                    <a:pt x="271081" y="1003935"/>
                  </a:lnTo>
                  <a:lnTo>
                    <a:pt x="948595" y="1003935"/>
                  </a:lnTo>
                  <a:lnTo>
                    <a:pt x="948595" y="1248251"/>
                  </a:lnTo>
                  <a:lnTo>
                    <a:pt x="0" y="1248251"/>
                  </a:lnTo>
                  <a:lnTo>
                    <a:pt x="0" y="0"/>
                  </a:lnTo>
                  <a:close/>
                </a:path>
              </a:pathLst>
            </a:custGeom>
            <a:solidFill>
              <a:srgbClr val="44505E"/>
            </a:solidFill>
            <a:ln w="9525" cap="flat">
              <a:noFill/>
              <a:prstDash val="solid"/>
              <a:miter/>
            </a:ln>
          </p:spPr>
          <p:txBody>
            <a:bodyPr rtlCol="0" anchor="ctr"/>
            <a:lstStyle/>
            <a:p>
              <a:endParaRPr lang="pt-BR" noProof="0"/>
            </a:p>
          </p:txBody>
        </p:sp>
        <p:sp>
          <p:nvSpPr>
            <p:cNvPr id="21" name="Freeform: Shape 20">
              <a:extLst>
                <a:ext uri="{FF2B5EF4-FFF2-40B4-BE49-F238E27FC236}">
                  <a16:creationId xmlns:a16="http://schemas.microsoft.com/office/drawing/2014/main" id="{9DB88C78-EB4D-0C3C-B29F-E764B0AD6EE1}"/>
                </a:ext>
              </a:extLst>
            </p:cNvPr>
            <p:cNvSpPr/>
            <p:nvPr/>
          </p:nvSpPr>
          <p:spPr>
            <a:xfrm>
              <a:off x="5253193" y="699983"/>
              <a:ext cx="90796" cy="97883"/>
            </a:xfrm>
            <a:custGeom>
              <a:avLst/>
              <a:gdLst>
                <a:gd name="connsiteX0" fmla="*/ 191548 w 361187"/>
                <a:gd name="connsiteY0" fmla="*/ 389382 h 389381"/>
                <a:gd name="connsiteX1" fmla="*/ 116300 w 361187"/>
                <a:gd name="connsiteY1" fmla="*/ 375285 h 389381"/>
                <a:gd name="connsiteX2" fmla="*/ 55531 w 361187"/>
                <a:gd name="connsiteY2" fmla="*/ 335756 h 389381"/>
                <a:gd name="connsiteX3" fmla="*/ 14859 w 361187"/>
                <a:gd name="connsiteY3" fmla="*/ 274606 h 389381"/>
                <a:gd name="connsiteX4" fmla="*/ 0 w 361187"/>
                <a:gd name="connsiteY4" fmla="*/ 195834 h 389381"/>
                <a:gd name="connsiteX5" fmla="*/ 0 w 361187"/>
                <a:gd name="connsiteY5" fmla="*/ 194405 h 389381"/>
                <a:gd name="connsiteX6" fmla="*/ 13430 w 361187"/>
                <a:gd name="connsiteY6" fmla="*/ 118777 h 389381"/>
                <a:gd name="connsiteX7" fmla="*/ 51245 w 361187"/>
                <a:gd name="connsiteY7" fmla="*/ 56959 h 389381"/>
                <a:gd name="connsiteX8" fmla="*/ 108871 w 361187"/>
                <a:gd name="connsiteY8" fmla="*/ 15240 h 389381"/>
                <a:gd name="connsiteX9" fmla="*/ 182404 w 361187"/>
                <a:gd name="connsiteY9" fmla="*/ 0 h 389381"/>
                <a:gd name="connsiteX10" fmla="*/ 260509 w 361187"/>
                <a:gd name="connsiteY10" fmla="*/ 16288 h 389381"/>
                <a:gd name="connsiteX11" fmla="*/ 316325 w 361187"/>
                <a:gd name="connsiteY11" fmla="*/ 60103 h 389381"/>
                <a:gd name="connsiteX12" fmla="*/ 349853 w 361187"/>
                <a:gd name="connsiteY12" fmla="*/ 124015 h 389381"/>
                <a:gd name="connsiteX13" fmla="*/ 361188 w 361187"/>
                <a:gd name="connsiteY13" fmla="*/ 200692 h 389381"/>
                <a:gd name="connsiteX14" fmla="*/ 360807 w 361187"/>
                <a:gd name="connsiteY14" fmla="*/ 212312 h 389381"/>
                <a:gd name="connsiteX15" fmla="*/ 359759 w 361187"/>
                <a:gd name="connsiteY15" fmla="*/ 224695 h 389381"/>
                <a:gd name="connsiteX16" fmla="*/ 85534 w 361187"/>
                <a:gd name="connsiteY16" fmla="*/ 224695 h 389381"/>
                <a:gd name="connsiteX17" fmla="*/ 121920 w 361187"/>
                <a:gd name="connsiteY17" fmla="*/ 294989 h 389381"/>
                <a:gd name="connsiteX18" fmla="*/ 192977 w 361187"/>
                <a:gd name="connsiteY18" fmla="*/ 319373 h 389381"/>
                <a:gd name="connsiteX19" fmla="*/ 248126 w 361187"/>
                <a:gd name="connsiteY19" fmla="*/ 308038 h 389381"/>
                <a:gd name="connsiteX20" fmla="*/ 294037 w 361187"/>
                <a:gd name="connsiteY20" fmla="*/ 274796 h 389381"/>
                <a:gd name="connsiteX21" fmla="*/ 344234 w 361187"/>
                <a:gd name="connsiteY21" fmla="*/ 319278 h 389381"/>
                <a:gd name="connsiteX22" fmla="*/ 280226 w 361187"/>
                <a:gd name="connsiteY22" fmla="*/ 370141 h 389381"/>
                <a:gd name="connsiteX23" fmla="*/ 191548 w 361187"/>
                <a:gd name="connsiteY23" fmla="*/ 389191 h 389381"/>
                <a:gd name="connsiteX24" fmla="*/ 276320 w 361187"/>
                <a:gd name="connsiteY24" fmla="*/ 168211 h 389381"/>
                <a:gd name="connsiteX25" fmla="*/ 267176 w 361187"/>
                <a:gd name="connsiteY25" fmla="*/ 129730 h 389381"/>
                <a:gd name="connsiteX26" fmla="*/ 248126 w 361187"/>
                <a:gd name="connsiteY26" fmla="*/ 98679 h 389381"/>
                <a:gd name="connsiteX27" fmla="*/ 219551 w 361187"/>
                <a:gd name="connsiteY27" fmla="*/ 77819 h 389381"/>
                <a:gd name="connsiteX28" fmla="*/ 181737 w 361187"/>
                <a:gd name="connsiteY28" fmla="*/ 70009 h 389381"/>
                <a:gd name="connsiteX29" fmla="*/ 116396 w 361187"/>
                <a:gd name="connsiteY29" fmla="*/ 97250 h 389381"/>
                <a:gd name="connsiteX30" fmla="*/ 84963 w 361187"/>
                <a:gd name="connsiteY30" fmla="*/ 168307 h 389381"/>
                <a:gd name="connsiteX31" fmla="*/ 276511 w 361187"/>
                <a:gd name="connsiteY31" fmla="*/ 168307 h 38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187" h="389381">
                  <a:moveTo>
                    <a:pt x="191548" y="389382"/>
                  </a:moveTo>
                  <a:cubicBezTo>
                    <a:pt x="164687" y="389382"/>
                    <a:pt x="139637" y="384715"/>
                    <a:pt x="116300" y="375285"/>
                  </a:cubicBezTo>
                  <a:cubicBezTo>
                    <a:pt x="92964" y="365855"/>
                    <a:pt x="72771" y="352711"/>
                    <a:pt x="55531" y="335756"/>
                  </a:cubicBezTo>
                  <a:cubicBezTo>
                    <a:pt x="38291" y="318802"/>
                    <a:pt x="24765" y="298418"/>
                    <a:pt x="14859" y="274606"/>
                  </a:cubicBezTo>
                  <a:cubicBezTo>
                    <a:pt x="4953" y="250793"/>
                    <a:pt x="0" y="224599"/>
                    <a:pt x="0" y="195834"/>
                  </a:cubicBezTo>
                  <a:lnTo>
                    <a:pt x="0" y="194405"/>
                  </a:lnTo>
                  <a:cubicBezTo>
                    <a:pt x="0" y="167545"/>
                    <a:pt x="4477" y="142399"/>
                    <a:pt x="13430" y="118777"/>
                  </a:cubicBezTo>
                  <a:cubicBezTo>
                    <a:pt x="22384" y="95250"/>
                    <a:pt x="34957" y="74581"/>
                    <a:pt x="51245" y="56959"/>
                  </a:cubicBezTo>
                  <a:cubicBezTo>
                    <a:pt x="67532" y="39338"/>
                    <a:pt x="86677" y="25432"/>
                    <a:pt x="108871" y="15240"/>
                  </a:cubicBezTo>
                  <a:cubicBezTo>
                    <a:pt x="131064" y="5143"/>
                    <a:pt x="155543" y="0"/>
                    <a:pt x="182404" y="0"/>
                  </a:cubicBezTo>
                  <a:cubicBezTo>
                    <a:pt x="212122" y="0"/>
                    <a:pt x="238125" y="5429"/>
                    <a:pt x="260509" y="16288"/>
                  </a:cubicBezTo>
                  <a:cubicBezTo>
                    <a:pt x="282893" y="27146"/>
                    <a:pt x="301466" y="41719"/>
                    <a:pt x="316325" y="60103"/>
                  </a:cubicBezTo>
                  <a:cubicBezTo>
                    <a:pt x="331184" y="78486"/>
                    <a:pt x="342329" y="99822"/>
                    <a:pt x="349853" y="124015"/>
                  </a:cubicBezTo>
                  <a:cubicBezTo>
                    <a:pt x="357378" y="148304"/>
                    <a:pt x="361188" y="173831"/>
                    <a:pt x="361188" y="200692"/>
                  </a:cubicBezTo>
                  <a:cubicBezTo>
                    <a:pt x="361188" y="204502"/>
                    <a:pt x="361093" y="208312"/>
                    <a:pt x="360807" y="212312"/>
                  </a:cubicBezTo>
                  <a:cubicBezTo>
                    <a:pt x="360521" y="216313"/>
                    <a:pt x="360236" y="220409"/>
                    <a:pt x="359759" y="224695"/>
                  </a:cubicBezTo>
                  <a:lnTo>
                    <a:pt x="85534" y="224695"/>
                  </a:lnTo>
                  <a:cubicBezTo>
                    <a:pt x="90202" y="255365"/>
                    <a:pt x="102394" y="278797"/>
                    <a:pt x="121920" y="294989"/>
                  </a:cubicBezTo>
                  <a:cubicBezTo>
                    <a:pt x="141446" y="311277"/>
                    <a:pt x="165164" y="319373"/>
                    <a:pt x="192977" y="319373"/>
                  </a:cubicBezTo>
                  <a:cubicBezTo>
                    <a:pt x="214217" y="319373"/>
                    <a:pt x="232505" y="315563"/>
                    <a:pt x="248126" y="308038"/>
                  </a:cubicBezTo>
                  <a:cubicBezTo>
                    <a:pt x="263652" y="300514"/>
                    <a:pt x="278987" y="289465"/>
                    <a:pt x="294037" y="274796"/>
                  </a:cubicBezTo>
                  <a:lnTo>
                    <a:pt x="344234" y="319278"/>
                  </a:lnTo>
                  <a:cubicBezTo>
                    <a:pt x="326327" y="340519"/>
                    <a:pt x="304991" y="357473"/>
                    <a:pt x="280226" y="370141"/>
                  </a:cubicBezTo>
                  <a:cubicBezTo>
                    <a:pt x="255461" y="382810"/>
                    <a:pt x="225933" y="389191"/>
                    <a:pt x="191548" y="389191"/>
                  </a:cubicBezTo>
                  <a:close/>
                  <a:moveTo>
                    <a:pt x="276320" y="168211"/>
                  </a:moveTo>
                  <a:cubicBezTo>
                    <a:pt x="274892" y="154591"/>
                    <a:pt x="271844" y="141732"/>
                    <a:pt x="267176" y="129730"/>
                  </a:cubicBezTo>
                  <a:cubicBezTo>
                    <a:pt x="262414" y="117729"/>
                    <a:pt x="256127" y="107347"/>
                    <a:pt x="248126" y="98679"/>
                  </a:cubicBezTo>
                  <a:cubicBezTo>
                    <a:pt x="240125" y="89916"/>
                    <a:pt x="230600" y="82963"/>
                    <a:pt x="219551" y="77819"/>
                  </a:cubicBezTo>
                  <a:cubicBezTo>
                    <a:pt x="208502" y="72676"/>
                    <a:pt x="195834" y="70009"/>
                    <a:pt x="181737" y="70009"/>
                  </a:cubicBezTo>
                  <a:cubicBezTo>
                    <a:pt x="155353" y="70009"/>
                    <a:pt x="133541" y="79057"/>
                    <a:pt x="116396" y="97250"/>
                  </a:cubicBezTo>
                  <a:cubicBezTo>
                    <a:pt x="99155" y="115348"/>
                    <a:pt x="88678" y="139065"/>
                    <a:pt x="84963" y="168307"/>
                  </a:cubicBezTo>
                  <a:lnTo>
                    <a:pt x="276511" y="168307"/>
                  </a:lnTo>
                  <a:close/>
                </a:path>
              </a:pathLst>
            </a:custGeom>
            <a:solidFill>
              <a:srgbClr val="44505E"/>
            </a:solidFill>
            <a:ln w="9525" cap="flat">
              <a:noFill/>
              <a:prstDash val="solid"/>
              <a:miter/>
            </a:ln>
          </p:spPr>
          <p:txBody>
            <a:bodyPr rtlCol="0" anchor="ctr"/>
            <a:lstStyle/>
            <a:p>
              <a:endParaRPr lang="pt-BR" noProof="0"/>
            </a:p>
          </p:txBody>
        </p:sp>
        <p:sp>
          <p:nvSpPr>
            <p:cNvPr id="22" name="Freeform: Shape 21">
              <a:extLst>
                <a:ext uri="{FF2B5EF4-FFF2-40B4-BE49-F238E27FC236}">
                  <a16:creationId xmlns:a16="http://schemas.microsoft.com/office/drawing/2014/main" id="{D1EC9EF0-63D2-56AD-93A9-31811E21C244}"/>
                </a:ext>
              </a:extLst>
            </p:cNvPr>
            <p:cNvSpPr/>
            <p:nvPr/>
          </p:nvSpPr>
          <p:spPr>
            <a:xfrm>
              <a:off x="5365659"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5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8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3 w 568166"/>
                <a:gd name="connsiteY21" fmla="*/ 381000 h 381000"/>
                <a:gd name="connsiteX22" fmla="*/ 240983 w 568166"/>
                <a:gd name="connsiteY22" fmla="*/ 168783 h 381000"/>
                <a:gd name="connsiteX23" fmla="*/ 221266 w 568166"/>
                <a:gd name="connsiteY23" fmla="*/ 101822 h 381000"/>
                <a:gd name="connsiteX24" fmla="*/ 165640 w 568166"/>
                <a:gd name="connsiteY24" fmla="*/ 78581 h 381000"/>
                <a:gd name="connsiteX25" fmla="*/ 108014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70" y="48196"/>
                    <a:pt x="105918" y="40576"/>
                  </a:cubicBezTo>
                  <a:cubicBezTo>
                    <a:pt x="112967" y="32956"/>
                    <a:pt x="121063" y="26099"/>
                    <a:pt x="130207" y="19907"/>
                  </a:cubicBezTo>
                  <a:cubicBezTo>
                    <a:pt x="139351" y="13716"/>
                    <a:pt x="149733" y="8858"/>
                    <a:pt x="161163" y="5334"/>
                  </a:cubicBezTo>
                  <a:cubicBezTo>
                    <a:pt x="172688" y="1714"/>
                    <a:pt x="185452" y="0"/>
                    <a:pt x="199549" y="0"/>
                  </a:cubicBezTo>
                  <a:cubicBezTo>
                    <a:pt x="226314" y="0"/>
                    <a:pt x="248984" y="6096"/>
                    <a:pt x="267557" y="18193"/>
                  </a:cubicBezTo>
                  <a:cubicBezTo>
                    <a:pt x="286131" y="30289"/>
                    <a:pt x="300323" y="46387"/>
                    <a:pt x="310134" y="66294"/>
                  </a:cubicBezTo>
                  <a:cubicBezTo>
                    <a:pt x="325279" y="46387"/>
                    <a:pt x="343091" y="30289"/>
                    <a:pt x="363665" y="18193"/>
                  </a:cubicBezTo>
                  <a:cubicBezTo>
                    <a:pt x="384239" y="6096"/>
                    <a:pt x="408718" y="0"/>
                    <a:pt x="437007" y="0"/>
                  </a:cubicBezTo>
                  <a:cubicBezTo>
                    <a:pt x="478060"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8" y="78486"/>
                  </a:cubicBezTo>
                  <a:cubicBezTo>
                    <a:pt x="382810" y="78486"/>
                    <a:pt x="364141" y="86392"/>
                    <a:pt x="349377" y="102108"/>
                  </a:cubicBezTo>
                  <a:cubicBezTo>
                    <a:pt x="334613" y="117824"/>
                    <a:pt x="327184" y="140779"/>
                    <a:pt x="327184" y="170879"/>
                  </a:cubicBezTo>
                  <a:lnTo>
                    <a:pt x="327184" y="381000"/>
                  </a:lnTo>
                  <a:lnTo>
                    <a:pt x="240983" y="381000"/>
                  </a:lnTo>
                  <a:lnTo>
                    <a:pt x="240983" y="168783"/>
                  </a:lnTo>
                  <a:cubicBezTo>
                    <a:pt x="240983" y="139637"/>
                    <a:pt x="234410" y="117348"/>
                    <a:pt x="221266" y="101822"/>
                  </a:cubicBezTo>
                  <a:cubicBezTo>
                    <a:pt x="208121" y="86296"/>
                    <a:pt x="189643" y="78581"/>
                    <a:pt x="165640" y="78581"/>
                  </a:cubicBezTo>
                  <a:cubicBezTo>
                    <a:pt x="141637" y="78581"/>
                    <a:pt x="122492" y="86773"/>
                    <a:pt x="108014"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23" name="Freeform: Shape 22">
              <a:extLst>
                <a:ext uri="{FF2B5EF4-FFF2-40B4-BE49-F238E27FC236}">
                  <a16:creationId xmlns:a16="http://schemas.microsoft.com/office/drawing/2014/main" id="{5B688D62-42FD-1EAE-F53B-EAD8529251B8}"/>
                </a:ext>
              </a:extLst>
            </p:cNvPr>
            <p:cNvSpPr/>
            <p:nvPr/>
          </p:nvSpPr>
          <p:spPr>
            <a:xfrm>
              <a:off x="5587693" y="700007"/>
              <a:ext cx="84211" cy="95752"/>
            </a:xfrm>
            <a:custGeom>
              <a:avLst/>
              <a:gdLst>
                <a:gd name="connsiteX0" fmla="*/ 95 w 334994"/>
                <a:gd name="connsiteY0" fmla="*/ 7715 h 380904"/>
                <a:gd name="connsiteX1" fmla="*/ 86296 w 334994"/>
                <a:gd name="connsiteY1" fmla="*/ 7715 h 380904"/>
                <a:gd name="connsiteX2" fmla="*/ 86296 w 334994"/>
                <a:gd name="connsiteY2" fmla="*/ 66294 h 380904"/>
                <a:gd name="connsiteX3" fmla="*/ 106394 w 334994"/>
                <a:gd name="connsiteY3" fmla="*/ 40958 h 380904"/>
                <a:gd name="connsiteX4" fmla="*/ 131731 w 334994"/>
                <a:gd name="connsiteY4" fmla="*/ 19907 h 380904"/>
                <a:gd name="connsiteX5" fmla="*/ 163449 w 334994"/>
                <a:gd name="connsiteY5" fmla="*/ 5334 h 380904"/>
                <a:gd name="connsiteX6" fmla="*/ 202597 w 334994"/>
                <a:gd name="connsiteY6" fmla="*/ 0 h 380904"/>
                <a:gd name="connsiteX7" fmla="*/ 300514 w 334994"/>
                <a:gd name="connsiteY7" fmla="*/ 38862 h 380904"/>
                <a:gd name="connsiteX8" fmla="*/ 334994 w 334994"/>
                <a:gd name="connsiteY8" fmla="*/ 143446 h 380904"/>
                <a:gd name="connsiteX9" fmla="*/ 334994 w 334994"/>
                <a:gd name="connsiteY9" fmla="*/ 380905 h 380904"/>
                <a:gd name="connsiteX10" fmla="*/ 248793 w 334994"/>
                <a:gd name="connsiteY10" fmla="*/ 380905 h 380904"/>
                <a:gd name="connsiteX11" fmla="*/ 248793 w 334994"/>
                <a:gd name="connsiteY11" fmla="*/ 169450 h 380904"/>
                <a:gd name="connsiteX12" fmla="*/ 228124 w 334994"/>
                <a:gd name="connsiteY12" fmla="*/ 102108 h 380904"/>
                <a:gd name="connsiteX13" fmla="*/ 169640 w 334994"/>
                <a:gd name="connsiteY13" fmla="*/ 78486 h 380904"/>
                <a:gd name="connsiteX14" fmla="*/ 109347 w 334994"/>
                <a:gd name="connsiteY14" fmla="*/ 102775 h 380904"/>
                <a:gd name="connsiteX15" fmla="*/ 86201 w 334994"/>
                <a:gd name="connsiteY15" fmla="*/ 170783 h 380904"/>
                <a:gd name="connsiteX16" fmla="*/ 86201 w 334994"/>
                <a:gd name="connsiteY16" fmla="*/ 380905 h 380904"/>
                <a:gd name="connsiteX17" fmla="*/ 0 w 334994"/>
                <a:gd name="connsiteY17" fmla="*/ 380905 h 380904"/>
                <a:gd name="connsiteX18" fmla="*/ 0 w 334994"/>
                <a:gd name="connsiteY18" fmla="*/ 7810 h 38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94" h="380904">
                  <a:moveTo>
                    <a:pt x="95" y="7715"/>
                  </a:moveTo>
                  <a:lnTo>
                    <a:pt x="86296" y="7715"/>
                  </a:lnTo>
                  <a:lnTo>
                    <a:pt x="86296" y="66294"/>
                  </a:lnTo>
                  <a:cubicBezTo>
                    <a:pt x="92392" y="57245"/>
                    <a:pt x="99060" y="48863"/>
                    <a:pt x="106394" y="40958"/>
                  </a:cubicBezTo>
                  <a:cubicBezTo>
                    <a:pt x="113633" y="33147"/>
                    <a:pt x="122110" y="26099"/>
                    <a:pt x="131731" y="19907"/>
                  </a:cubicBezTo>
                  <a:cubicBezTo>
                    <a:pt x="141351" y="13716"/>
                    <a:pt x="151924" y="8858"/>
                    <a:pt x="163449" y="5334"/>
                  </a:cubicBezTo>
                  <a:cubicBezTo>
                    <a:pt x="174974" y="1714"/>
                    <a:pt x="188024" y="0"/>
                    <a:pt x="202597" y="0"/>
                  </a:cubicBezTo>
                  <a:cubicBezTo>
                    <a:pt x="244888" y="0"/>
                    <a:pt x="277559" y="12954"/>
                    <a:pt x="300514" y="38862"/>
                  </a:cubicBezTo>
                  <a:cubicBezTo>
                    <a:pt x="323564" y="64770"/>
                    <a:pt x="334994" y="99631"/>
                    <a:pt x="334994" y="143446"/>
                  </a:cubicBezTo>
                  <a:lnTo>
                    <a:pt x="334994" y="380905"/>
                  </a:lnTo>
                  <a:lnTo>
                    <a:pt x="248793" y="380905"/>
                  </a:lnTo>
                  <a:lnTo>
                    <a:pt x="248793" y="169450"/>
                  </a:lnTo>
                  <a:cubicBezTo>
                    <a:pt x="248793" y="140303"/>
                    <a:pt x="241935" y="117824"/>
                    <a:pt x="228124" y="102108"/>
                  </a:cubicBezTo>
                  <a:cubicBezTo>
                    <a:pt x="214313" y="86392"/>
                    <a:pt x="194881" y="78486"/>
                    <a:pt x="169640" y="78486"/>
                  </a:cubicBezTo>
                  <a:cubicBezTo>
                    <a:pt x="144399" y="78486"/>
                    <a:pt x="124777" y="86582"/>
                    <a:pt x="109347" y="102775"/>
                  </a:cubicBezTo>
                  <a:cubicBezTo>
                    <a:pt x="93917" y="118967"/>
                    <a:pt x="86201" y="141637"/>
                    <a:pt x="86201" y="170783"/>
                  </a:cubicBezTo>
                  <a:lnTo>
                    <a:pt x="86201" y="380905"/>
                  </a:lnTo>
                  <a:lnTo>
                    <a:pt x="0" y="380905"/>
                  </a:lnTo>
                  <a:lnTo>
                    <a:pt x="0" y="7810"/>
                  </a:lnTo>
                  <a:close/>
                </a:path>
              </a:pathLst>
            </a:custGeom>
            <a:solidFill>
              <a:srgbClr val="44505E"/>
            </a:solidFill>
            <a:ln w="9525" cap="flat">
              <a:noFill/>
              <a:prstDash val="solid"/>
              <a:miter/>
            </a:ln>
          </p:spPr>
          <p:txBody>
            <a:bodyPr rtlCol="0" anchor="ctr"/>
            <a:lstStyle/>
            <a:p>
              <a:endParaRPr lang="pt-BR" noProof="0"/>
            </a:p>
          </p:txBody>
        </p:sp>
        <p:sp>
          <p:nvSpPr>
            <p:cNvPr id="24" name="Freeform: Shape 23">
              <a:extLst>
                <a:ext uri="{FF2B5EF4-FFF2-40B4-BE49-F238E27FC236}">
                  <a16:creationId xmlns:a16="http://schemas.microsoft.com/office/drawing/2014/main" id="{9135FB3D-6501-AFC7-501B-7681D18CF847}"/>
                </a:ext>
              </a:extLst>
            </p:cNvPr>
            <p:cNvSpPr/>
            <p:nvPr/>
          </p:nvSpPr>
          <p:spPr>
            <a:xfrm>
              <a:off x="5692712" y="699959"/>
              <a:ext cx="100015" cy="97908"/>
            </a:xfrm>
            <a:custGeom>
              <a:avLst/>
              <a:gdLst>
                <a:gd name="connsiteX0" fmla="*/ 197834 w 397859"/>
                <a:gd name="connsiteY0" fmla="*/ 389477 h 389477"/>
                <a:gd name="connsiteX1" fmla="*/ 119063 w 397859"/>
                <a:gd name="connsiteY1" fmla="*/ 374237 h 389477"/>
                <a:gd name="connsiteX2" fmla="*/ 56197 w 397859"/>
                <a:gd name="connsiteY2" fmla="*/ 332899 h 389477"/>
                <a:gd name="connsiteX3" fmla="*/ 14859 w 397859"/>
                <a:gd name="connsiteY3" fmla="*/ 271463 h 389477"/>
                <a:gd name="connsiteX4" fmla="*/ 0 w 397859"/>
                <a:gd name="connsiteY4" fmla="*/ 196501 h 389477"/>
                <a:gd name="connsiteX5" fmla="*/ 0 w 397859"/>
                <a:gd name="connsiteY5" fmla="*/ 195072 h 389477"/>
                <a:gd name="connsiteX6" fmla="*/ 15145 w 397859"/>
                <a:gd name="connsiteY6" fmla="*/ 119444 h 389477"/>
                <a:gd name="connsiteX7" fmla="*/ 56864 w 397859"/>
                <a:gd name="connsiteY7" fmla="*/ 57626 h 389477"/>
                <a:gd name="connsiteX8" fmla="*/ 119729 w 397859"/>
                <a:gd name="connsiteY8" fmla="*/ 15526 h 389477"/>
                <a:gd name="connsiteX9" fmla="*/ 199263 w 397859"/>
                <a:gd name="connsiteY9" fmla="*/ 0 h 389477"/>
                <a:gd name="connsiteX10" fmla="*/ 278797 w 397859"/>
                <a:gd name="connsiteY10" fmla="*/ 15240 h 389477"/>
                <a:gd name="connsiteX11" fmla="*/ 341662 w 397859"/>
                <a:gd name="connsiteY11" fmla="*/ 56959 h 389477"/>
                <a:gd name="connsiteX12" fmla="*/ 383000 w 397859"/>
                <a:gd name="connsiteY12" fmla="*/ 118396 h 389477"/>
                <a:gd name="connsiteX13" fmla="*/ 397859 w 397859"/>
                <a:gd name="connsiteY13" fmla="*/ 193643 h 389477"/>
                <a:gd name="connsiteX14" fmla="*/ 397859 w 397859"/>
                <a:gd name="connsiteY14" fmla="*/ 195072 h 389477"/>
                <a:gd name="connsiteX15" fmla="*/ 382619 w 397859"/>
                <a:gd name="connsiteY15" fmla="*/ 270034 h 389477"/>
                <a:gd name="connsiteX16" fmla="*/ 340900 w 397859"/>
                <a:gd name="connsiteY16" fmla="*/ 331851 h 389477"/>
                <a:gd name="connsiteX17" fmla="*/ 277654 w 397859"/>
                <a:gd name="connsiteY17" fmla="*/ 373856 h 389477"/>
                <a:gd name="connsiteX18" fmla="*/ 197834 w 397859"/>
                <a:gd name="connsiteY18" fmla="*/ 389382 h 389477"/>
                <a:gd name="connsiteX19" fmla="*/ 199263 w 397859"/>
                <a:gd name="connsiteY19" fmla="*/ 315278 h 389477"/>
                <a:gd name="connsiteX20" fmla="*/ 245935 w 397859"/>
                <a:gd name="connsiteY20" fmla="*/ 305753 h 389477"/>
                <a:gd name="connsiteX21" fmla="*/ 281368 w 397859"/>
                <a:gd name="connsiteY21" fmla="*/ 279940 h 389477"/>
                <a:gd name="connsiteX22" fmla="*/ 303847 w 397859"/>
                <a:gd name="connsiteY22" fmla="*/ 242125 h 389477"/>
                <a:gd name="connsiteX23" fmla="*/ 311563 w 397859"/>
                <a:gd name="connsiteY23" fmla="*/ 196501 h 389477"/>
                <a:gd name="connsiteX24" fmla="*/ 311563 w 397859"/>
                <a:gd name="connsiteY24" fmla="*/ 195072 h 389477"/>
                <a:gd name="connsiteX25" fmla="*/ 303181 w 397859"/>
                <a:gd name="connsiteY25" fmla="*/ 148400 h 389477"/>
                <a:gd name="connsiteX26" fmla="*/ 279654 w 397859"/>
                <a:gd name="connsiteY26" fmla="*/ 110204 h 389477"/>
                <a:gd name="connsiteX27" fmla="*/ 243840 w 397859"/>
                <a:gd name="connsiteY27" fmla="*/ 84392 h 389477"/>
                <a:gd name="connsiteX28" fmla="*/ 197834 w 397859"/>
                <a:gd name="connsiteY28" fmla="*/ 74867 h 389477"/>
                <a:gd name="connsiteX29" fmla="*/ 151829 w 397859"/>
                <a:gd name="connsiteY29" fmla="*/ 84392 h 389477"/>
                <a:gd name="connsiteX30" fmla="*/ 116396 w 397859"/>
                <a:gd name="connsiteY30" fmla="*/ 109823 h 389477"/>
                <a:gd name="connsiteX31" fmla="*/ 93917 w 397859"/>
                <a:gd name="connsiteY31" fmla="*/ 147638 h 389477"/>
                <a:gd name="connsiteX32" fmla="*/ 86201 w 397859"/>
                <a:gd name="connsiteY32" fmla="*/ 193548 h 389477"/>
                <a:gd name="connsiteX33" fmla="*/ 86201 w 397859"/>
                <a:gd name="connsiteY33" fmla="*/ 194977 h 389477"/>
                <a:gd name="connsiteX34" fmla="*/ 94583 w 397859"/>
                <a:gd name="connsiteY34" fmla="*/ 241268 h 389477"/>
                <a:gd name="connsiteX35" fmla="*/ 118110 w 397859"/>
                <a:gd name="connsiteY35" fmla="*/ 279463 h 389477"/>
                <a:gd name="connsiteX36" fmla="*/ 153924 w 397859"/>
                <a:gd name="connsiteY36" fmla="*/ 305562 h 389477"/>
                <a:gd name="connsiteX37" fmla="*/ 199263 w 397859"/>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859" h="389477">
                  <a:moveTo>
                    <a:pt x="197834" y="389477"/>
                  </a:moveTo>
                  <a:cubicBezTo>
                    <a:pt x="169545" y="389477"/>
                    <a:pt x="143351" y="384429"/>
                    <a:pt x="119063" y="374237"/>
                  </a:cubicBezTo>
                  <a:cubicBezTo>
                    <a:pt x="94774" y="364141"/>
                    <a:pt x="73819" y="350330"/>
                    <a:pt x="56197" y="332899"/>
                  </a:cubicBezTo>
                  <a:cubicBezTo>
                    <a:pt x="38481" y="315468"/>
                    <a:pt x="24765" y="294989"/>
                    <a:pt x="14859" y="271463"/>
                  </a:cubicBezTo>
                  <a:cubicBezTo>
                    <a:pt x="4953" y="247936"/>
                    <a:pt x="0" y="222980"/>
                    <a:pt x="0" y="196501"/>
                  </a:cubicBezTo>
                  <a:lnTo>
                    <a:pt x="0" y="195072"/>
                  </a:lnTo>
                  <a:cubicBezTo>
                    <a:pt x="0" y="168212"/>
                    <a:pt x="5048" y="143066"/>
                    <a:pt x="15145" y="119444"/>
                  </a:cubicBezTo>
                  <a:cubicBezTo>
                    <a:pt x="25241" y="95917"/>
                    <a:pt x="39148" y="75248"/>
                    <a:pt x="56864" y="57626"/>
                  </a:cubicBezTo>
                  <a:cubicBezTo>
                    <a:pt x="74581" y="39910"/>
                    <a:pt x="95536" y="25908"/>
                    <a:pt x="119729" y="15526"/>
                  </a:cubicBezTo>
                  <a:cubicBezTo>
                    <a:pt x="144018" y="5144"/>
                    <a:pt x="170497" y="0"/>
                    <a:pt x="199263" y="0"/>
                  </a:cubicBezTo>
                  <a:cubicBezTo>
                    <a:pt x="228029" y="0"/>
                    <a:pt x="254508" y="5048"/>
                    <a:pt x="278797" y="15240"/>
                  </a:cubicBezTo>
                  <a:cubicBezTo>
                    <a:pt x="303085" y="25337"/>
                    <a:pt x="324041" y="39243"/>
                    <a:pt x="341662" y="56959"/>
                  </a:cubicBezTo>
                  <a:cubicBezTo>
                    <a:pt x="359378" y="74676"/>
                    <a:pt x="373094" y="95155"/>
                    <a:pt x="383000" y="118396"/>
                  </a:cubicBezTo>
                  <a:cubicBezTo>
                    <a:pt x="392906" y="141732"/>
                    <a:pt x="397859" y="166783"/>
                    <a:pt x="397859" y="193643"/>
                  </a:cubicBezTo>
                  <a:lnTo>
                    <a:pt x="397859" y="195072"/>
                  </a:lnTo>
                  <a:cubicBezTo>
                    <a:pt x="397859" y="221456"/>
                    <a:pt x="392811" y="246412"/>
                    <a:pt x="382619" y="270034"/>
                  </a:cubicBezTo>
                  <a:cubicBezTo>
                    <a:pt x="372523" y="293561"/>
                    <a:pt x="358616" y="314230"/>
                    <a:pt x="340900" y="331851"/>
                  </a:cubicBezTo>
                  <a:cubicBezTo>
                    <a:pt x="323183" y="349472"/>
                    <a:pt x="302133" y="363569"/>
                    <a:pt x="277654" y="373856"/>
                  </a:cubicBezTo>
                  <a:cubicBezTo>
                    <a:pt x="253175" y="384238"/>
                    <a:pt x="226504" y="389382"/>
                    <a:pt x="197834" y="389382"/>
                  </a:cubicBezTo>
                  <a:close/>
                  <a:moveTo>
                    <a:pt x="199263" y="315278"/>
                  </a:moveTo>
                  <a:cubicBezTo>
                    <a:pt x="216598" y="315278"/>
                    <a:pt x="232124" y="312039"/>
                    <a:pt x="245935" y="305753"/>
                  </a:cubicBezTo>
                  <a:cubicBezTo>
                    <a:pt x="259747" y="299371"/>
                    <a:pt x="271558" y="290798"/>
                    <a:pt x="281368" y="279940"/>
                  </a:cubicBezTo>
                  <a:cubicBezTo>
                    <a:pt x="291179" y="269081"/>
                    <a:pt x="298704" y="256508"/>
                    <a:pt x="303847" y="242125"/>
                  </a:cubicBezTo>
                  <a:cubicBezTo>
                    <a:pt x="308991" y="227743"/>
                    <a:pt x="311563" y="212598"/>
                    <a:pt x="311563" y="196501"/>
                  </a:cubicBezTo>
                  <a:lnTo>
                    <a:pt x="311563" y="195072"/>
                  </a:lnTo>
                  <a:cubicBezTo>
                    <a:pt x="311563" y="178594"/>
                    <a:pt x="308800" y="163068"/>
                    <a:pt x="303181" y="148400"/>
                  </a:cubicBezTo>
                  <a:cubicBezTo>
                    <a:pt x="297561" y="133826"/>
                    <a:pt x="289750" y="121063"/>
                    <a:pt x="279654" y="110204"/>
                  </a:cubicBezTo>
                  <a:cubicBezTo>
                    <a:pt x="269558" y="99346"/>
                    <a:pt x="257651" y="90773"/>
                    <a:pt x="243840" y="84392"/>
                  </a:cubicBezTo>
                  <a:cubicBezTo>
                    <a:pt x="230029" y="78010"/>
                    <a:pt x="214693" y="74867"/>
                    <a:pt x="197834" y="74867"/>
                  </a:cubicBezTo>
                  <a:cubicBezTo>
                    <a:pt x="180975" y="74867"/>
                    <a:pt x="165640" y="78010"/>
                    <a:pt x="151829" y="84392"/>
                  </a:cubicBezTo>
                  <a:cubicBezTo>
                    <a:pt x="138017" y="90773"/>
                    <a:pt x="126206" y="99250"/>
                    <a:pt x="116396" y="109823"/>
                  </a:cubicBezTo>
                  <a:cubicBezTo>
                    <a:pt x="106585" y="120396"/>
                    <a:pt x="99060" y="133064"/>
                    <a:pt x="93917" y="147638"/>
                  </a:cubicBezTo>
                  <a:cubicBezTo>
                    <a:pt x="88773" y="162211"/>
                    <a:pt x="86201" y="177546"/>
                    <a:pt x="86201" y="193548"/>
                  </a:cubicBezTo>
                  <a:lnTo>
                    <a:pt x="86201" y="194977"/>
                  </a:lnTo>
                  <a:cubicBezTo>
                    <a:pt x="86201" y="211455"/>
                    <a:pt x="88963" y="226886"/>
                    <a:pt x="94583" y="241268"/>
                  </a:cubicBezTo>
                  <a:cubicBezTo>
                    <a:pt x="100203" y="255651"/>
                    <a:pt x="108013" y="268319"/>
                    <a:pt x="118110" y="279463"/>
                  </a:cubicBezTo>
                  <a:cubicBezTo>
                    <a:pt x="128206" y="290513"/>
                    <a:pt x="140113" y="299275"/>
                    <a:pt x="153924" y="305562"/>
                  </a:cubicBezTo>
                  <a:cubicBezTo>
                    <a:pt x="167735" y="311944"/>
                    <a:pt x="182880"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25" name="Freeform: Shape 24">
              <a:extLst>
                <a:ext uri="{FF2B5EF4-FFF2-40B4-BE49-F238E27FC236}">
                  <a16:creationId xmlns:a16="http://schemas.microsoft.com/office/drawing/2014/main" id="{5E3FD802-3E29-BC00-7ED4-B1C3974B44BA}"/>
                </a:ext>
              </a:extLst>
            </p:cNvPr>
            <p:cNvSpPr/>
            <p:nvPr/>
          </p:nvSpPr>
          <p:spPr>
            <a:xfrm>
              <a:off x="5806925"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2 w 296894"/>
                <a:gd name="connsiteY36" fmla="*/ 224980 h 386714"/>
                <a:gd name="connsiteX37" fmla="*/ 296894 w 296894"/>
                <a:gd name="connsiteY37" fmla="*/ 267938 h 386714"/>
                <a:gd name="connsiteX38" fmla="*/ 296894 w 296894"/>
                <a:gd name="connsiteY38" fmla="*/ 269367 h 386714"/>
                <a:gd name="connsiteX39" fmla="*/ 286322 w 296894"/>
                <a:gd name="connsiteY39" fmla="*/ 320897 h 386714"/>
                <a:gd name="connsiteX40" fmla="*/ 256984 w 296894"/>
                <a:gd name="connsiteY40" fmla="*/ 357188 h 386714"/>
                <a:gd name="connsiteX41" fmla="*/ 212789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8" y="298704"/>
                    <a:pt x="100013" y="306514"/>
                  </a:cubicBezTo>
                  <a:cubicBezTo>
                    <a:pt x="120967" y="314325"/>
                    <a:pt x="141161" y="318135"/>
                    <a:pt x="160401" y="318135"/>
                  </a:cubicBezTo>
                  <a:cubicBezTo>
                    <a:pt x="179642" y="318135"/>
                    <a:pt x="192976"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2" y="241078"/>
                    <a:pt x="176498" y="237553"/>
                    <a:pt x="166402" y="234220"/>
                  </a:cubicBezTo>
                  <a:cubicBezTo>
                    <a:pt x="156305" y="230886"/>
                    <a:pt x="145733" y="227647"/>
                    <a:pt x="134969" y="224314"/>
                  </a:cubicBezTo>
                  <a:cubicBezTo>
                    <a:pt x="121253" y="220599"/>
                    <a:pt x="107537" y="216122"/>
                    <a:pt x="93631" y="210884"/>
                  </a:cubicBezTo>
                  <a:cubicBezTo>
                    <a:pt x="79724" y="205740"/>
                    <a:pt x="67246" y="198977"/>
                    <a:pt x="56197" y="190786"/>
                  </a:cubicBezTo>
                  <a:cubicBezTo>
                    <a:pt x="45149" y="182594"/>
                    <a:pt x="36100" y="172307"/>
                    <a:pt x="28956" y="160115"/>
                  </a:cubicBezTo>
                  <a:cubicBezTo>
                    <a:pt x="21908"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5"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7" y="156210"/>
                    <a:pt x="180975" y="159448"/>
                  </a:cubicBezTo>
                  <a:cubicBezTo>
                    <a:pt x="194596" y="163639"/>
                    <a:pt x="208312" y="168592"/>
                    <a:pt x="222028" y="174212"/>
                  </a:cubicBezTo>
                  <a:cubicBezTo>
                    <a:pt x="235649" y="179832"/>
                    <a:pt x="248031" y="186785"/>
                    <a:pt x="259080" y="194977"/>
                  </a:cubicBezTo>
                  <a:cubicBezTo>
                    <a:pt x="270129" y="203168"/>
                    <a:pt x="279273" y="213169"/>
                    <a:pt x="286322" y="224980"/>
                  </a:cubicBezTo>
                  <a:cubicBezTo>
                    <a:pt x="293370" y="236696"/>
                    <a:pt x="296894" y="251079"/>
                    <a:pt x="296894" y="267938"/>
                  </a:cubicBezTo>
                  <a:lnTo>
                    <a:pt x="296894" y="269367"/>
                  </a:lnTo>
                  <a:cubicBezTo>
                    <a:pt x="296894" y="289084"/>
                    <a:pt x="293370" y="306229"/>
                    <a:pt x="286322" y="320897"/>
                  </a:cubicBezTo>
                  <a:cubicBezTo>
                    <a:pt x="279273" y="335470"/>
                    <a:pt x="269462" y="347567"/>
                    <a:pt x="256984" y="357188"/>
                  </a:cubicBezTo>
                  <a:cubicBezTo>
                    <a:pt x="244507" y="366808"/>
                    <a:pt x="229743" y="374142"/>
                    <a:pt x="212789"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6" name="Freeform: Shape 25">
              <a:extLst>
                <a:ext uri="{FF2B5EF4-FFF2-40B4-BE49-F238E27FC236}">
                  <a16:creationId xmlns:a16="http://schemas.microsoft.com/office/drawing/2014/main" id="{F8FC281B-7F58-C237-E029-CEC317E2E6A0}"/>
                </a:ext>
              </a:extLst>
            </p:cNvPr>
            <p:cNvSpPr/>
            <p:nvPr/>
          </p:nvSpPr>
          <p:spPr>
            <a:xfrm>
              <a:off x="589573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6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160" y="318135"/>
                    <a:pt x="160401" y="318135"/>
                  </a:cubicBezTo>
                  <a:cubicBezTo>
                    <a:pt x="179641" y="318135"/>
                    <a:pt x="192976"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4"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792"/>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7" name="Freeform: Shape 26">
              <a:extLst>
                <a:ext uri="{FF2B5EF4-FFF2-40B4-BE49-F238E27FC236}">
                  <a16:creationId xmlns:a16="http://schemas.microsoft.com/office/drawing/2014/main" id="{92E2F68F-12E1-D206-8686-483B206259B7}"/>
                </a:ext>
              </a:extLst>
            </p:cNvPr>
            <p:cNvSpPr/>
            <p:nvPr/>
          </p:nvSpPr>
          <p:spPr>
            <a:xfrm>
              <a:off x="5985812" y="700558"/>
              <a:ext cx="85097" cy="97141"/>
            </a:xfrm>
            <a:custGeom>
              <a:avLst/>
              <a:gdLst>
                <a:gd name="connsiteX0" fmla="*/ 253651 w 338518"/>
                <a:gd name="connsiteY0" fmla="*/ 378619 h 386429"/>
                <a:gd name="connsiteX1" fmla="*/ 253651 w 338518"/>
                <a:gd name="connsiteY1" fmla="*/ 332708 h 386429"/>
                <a:gd name="connsiteX2" fmla="*/ 204883 w 338518"/>
                <a:gd name="connsiteY2" fmla="*/ 370904 h 386429"/>
                <a:gd name="connsiteX3" fmla="*/ 132779 w 338518"/>
                <a:gd name="connsiteY3" fmla="*/ 386429 h 386429"/>
                <a:gd name="connsiteX4" fmla="*/ 81915 w 338518"/>
                <a:gd name="connsiteY4" fmla="*/ 379000 h 386429"/>
                <a:gd name="connsiteX5" fmla="*/ 39910 w 338518"/>
                <a:gd name="connsiteY5" fmla="*/ 357092 h 386429"/>
                <a:gd name="connsiteX6" fmla="*/ 10954 w 338518"/>
                <a:gd name="connsiteY6" fmla="*/ 321088 h 386429"/>
                <a:gd name="connsiteX7" fmla="*/ 0 w 338518"/>
                <a:gd name="connsiteY7" fmla="*/ 271272 h 386429"/>
                <a:gd name="connsiteX8" fmla="*/ 0 w 338518"/>
                <a:gd name="connsiteY8" fmla="*/ 269843 h 386429"/>
                <a:gd name="connsiteX9" fmla="*/ 11335 w 338518"/>
                <a:gd name="connsiteY9" fmla="*/ 215741 h 386429"/>
                <a:gd name="connsiteX10" fmla="*/ 42767 w 338518"/>
                <a:gd name="connsiteY10" fmla="*/ 177546 h 386429"/>
                <a:gd name="connsiteX11" fmla="*/ 90773 w 338518"/>
                <a:gd name="connsiteY11" fmla="*/ 154972 h 386429"/>
                <a:gd name="connsiteX12" fmla="*/ 151162 w 338518"/>
                <a:gd name="connsiteY12" fmla="*/ 147542 h 386429"/>
                <a:gd name="connsiteX13" fmla="*/ 208788 w 338518"/>
                <a:gd name="connsiteY13" fmla="*/ 151829 h 386429"/>
                <a:gd name="connsiteX14" fmla="*/ 254413 w 338518"/>
                <a:gd name="connsiteY14" fmla="*/ 163163 h 386429"/>
                <a:gd name="connsiteX15" fmla="*/ 254413 w 338518"/>
                <a:gd name="connsiteY15" fmla="*/ 156115 h 386429"/>
                <a:gd name="connsiteX16" fmla="*/ 230696 w 338518"/>
                <a:gd name="connsiteY16" fmla="*/ 96774 h 386429"/>
                <a:gd name="connsiteX17" fmla="*/ 162496 w 338518"/>
                <a:gd name="connsiteY17" fmla="*/ 76295 h 386429"/>
                <a:gd name="connsiteX18" fmla="*/ 106013 w 338518"/>
                <a:gd name="connsiteY18" fmla="*/ 82677 h 386429"/>
                <a:gd name="connsiteX19" fmla="*/ 55816 w 338518"/>
                <a:gd name="connsiteY19" fmla="*/ 99632 h 386429"/>
                <a:gd name="connsiteX20" fmla="*/ 32480 w 338518"/>
                <a:gd name="connsiteY20" fmla="*/ 31052 h 386429"/>
                <a:gd name="connsiteX21" fmla="*/ 96107 w 338518"/>
                <a:gd name="connsiteY21" fmla="*/ 8477 h 386429"/>
                <a:gd name="connsiteX22" fmla="*/ 174593 w 338518"/>
                <a:gd name="connsiteY22" fmla="*/ 0 h 386429"/>
                <a:gd name="connsiteX23" fmla="*/ 298228 w 338518"/>
                <a:gd name="connsiteY23" fmla="*/ 41338 h 386429"/>
                <a:gd name="connsiteX24" fmla="*/ 338519 w 338518"/>
                <a:gd name="connsiteY24" fmla="*/ 157544 h 386429"/>
                <a:gd name="connsiteX25" fmla="*/ 338519 w 338518"/>
                <a:gd name="connsiteY25" fmla="*/ 378714 h 386429"/>
                <a:gd name="connsiteX26" fmla="*/ 253746 w 338518"/>
                <a:gd name="connsiteY26" fmla="*/ 378714 h 386429"/>
                <a:gd name="connsiteX27" fmla="*/ 255746 w 338518"/>
                <a:gd name="connsiteY27" fmla="*/ 222409 h 386429"/>
                <a:gd name="connsiteX28" fmla="*/ 217265 w 338518"/>
                <a:gd name="connsiteY28" fmla="*/ 211836 h 386429"/>
                <a:gd name="connsiteX29" fmla="*/ 170307 w 338518"/>
                <a:gd name="connsiteY29" fmla="*/ 207550 h 386429"/>
                <a:gd name="connsiteX30" fmla="*/ 107442 w 338518"/>
                <a:gd name="connsiteY30" fmla="*/ 223075 h 386429"/>
                <a:gd name="connsiteX31" fmla="*/ 84868 w 338518"/>
                <a:gd name="connsiteY31" fmla="*/ 265462 h 386429"/>
                <a:gd name="connsiteX32" fmla="*/ 84868 w 338518"/>
                <a:gd name="connsiteY32" fmla="*/ 266891 h 386429"/>
                <a:gd name="connsiteX33" fmla="*/ 105728 w 338518"/>
                <a:gd name="connsiteY33" fmla="*/ 307848 h 386429"/>
                <a:gd name="connsiteX34" fmla="*/ 156972 w 338518"/>
                <a:gd name="connsiteY34" fmla="*/ 321945 h 386429"/>
                <a:gd name="connsiteX35" fmla="*/ 196215 w 338518"/>
                <a:gd name="connsiteY35" fmla="*/ 316325 h 386429"/>
                <a:gd name="connsiteX36" fmla="*/ 227647 w 338518"/>
                <a:gd name="connsiteY36" fmla="*/ 300419 h 386429"/>
                <a:gd name="connsiteX37" fmla="*/ 248507 w 338518"/>
                <a:gd name="connsiteY37" fmla="*/ 275654 h 386429"/>
                <a:gd name="connsiteX38" fmla="*/ 255937 w 338518"/>
                <a:gd name="connsiteY38" fmla="*/ 243459 h 386429"/>
                <a:gd name="connsiteX39" fmla="*/ 255937 w 338518"/>
                <a:gd name="connsiteY39" fmla="*/ 222218 h 3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8518" h="386429">
                  <a:moveTo>
                    <a:pt x="253651" y="378619"/>
                  </a:moveTo>
                  <a:lnTo>
                    <a:pt x="253651" y="332708"/>
                  </a:lnTo>
                  <a:cubicBezTo>
                    <a:pt x="240887" y="347758"/>
                    <a:pt x="224695" y="360521"/>
                    <a:pt x="204883" y="370904"/>
                  </a:cubicBezTo>
                  <a:cubicBezTo>
                    <a:pt x="185071" y="381286"/>
                    <a:pt x="161068" y="386429"/>
                    <a:pt x="132779" y="386429"/>
                  </a:cubicBezTo>
                  <a:cubicBezTo>
                    <a:pt x="114871" y="386429"/>
                    <a:pt x="97917" y="383953"/>
                    <a:pt x="81915" y="379000"/>
                  </a:cubicBezTo>
                  <a:cubicBezTo>
                    <a:pt x="65913" y="374047"/>
                    <a:pt x="51911" y="366713"/>
                    <a:pt x="39910" y="357092"/>
                  </a:cubicBezTo>
                  <a:cubicBezTo>
                    <a:pt x="27908" y="347472"/>
                    <a:pt x="18193" y="335471"/>
                    <a:pt x="10954" y="321088"/>
                  </a:cubicBezTo>
                  <a:cubicBezTo>
                    <a:pt x="3620" y="306705"/>
                    <a:pt x="0" y="290132"/>
                    <a:pt x="0" y="271272"/>
                  </a:cubicBezTo>
                  <a:lnTo>
                    <a:pt x="0" y="269843"/>
                  </a:lnTo>
                  <a:cubicBezTo>
                    <a:pt x="0" y="249079"/>
                    <a:pt x="3810" y="231077"/>
                    <a:pt x="11335" y="215741"/>
                  </a:cubicBezTo>
                  <a:cubicBezTo>
                    <a:pt x="18859" y="200406"/>
                    <a:pt x="29337" y="187738"/>
                    <a:pt x="42767" y="177546"/>
                  </a:cubicBezTo>
                  <a:cubicBezTo>
                    <a:pt x="56197" y="167450"/>
                    <a:pt x="72199" y="159925"/>
                    <a:pt x="90773" y="154972"/>
                  </a:cubicBezTo>
                  <a:cubicBezTo>
                    <a:pt x="109347" y="150019"/>
                    <a:pt x="129540" y="147542"/>
                    <a:pt x="151162" y="147542"/>
                  </a:cubicBezTo>
                  <a:cubicBezTo>
                    <a:pt x="172783" y="147542"/>
                    <a:pt x="192976" y="148971"/>
                    <a:pt x="208788" y="151829"/>
                  </a:cubicBezTo>
                  <a:cubicBezTo>
                    <a:pt x="224599" y="154686"/>
                    <a:pt x="239744" y="158401"/>
                    <a:pt x="254413" y="163163"/>
                  </a:cubicBezTo>
                  <a:lnTo>
                    <a:pt x="254413" y="156115"/>
                  </a:lnTo>
                  <a:cubicBezTo>
                    <a:pt x="254413" y="130207"/>
                    <a:pt x="246507" y="110395"/>
                    <a:pt x="230696" y="96774"/>
                  </a:cubicBezTo>
                  <a:cubicBezTo>
                    <a:pt x="214884" y="83153"/>
                    <a:pt x="192214" y="76295"/>
                    <a:pt x="162496" y="76295"/>
                  </a:cubicBezTo>
                  <a:cubicBezTo>
                    <a:pt x="141351" y="76295"/>
                    <a:pt x="122491" y="78391"/>
                    <a:pt x="106013" y="82677"/>
                  </a:cubicBezTo>
                  <a:cubicBezTo>
                    <a:pt x="89535" y="86963"/>
                    <a:pt x="72771" y="92583"/>
                    <a:pt x="55816" y="99632"/>
                  </a:cubicBezTo>
                  <a:lnTo>
                    <a:pt x="32480" y="31052"/>
                  </a:lnTo>
                  <a:cubicBezTo>
                    <a:pt x="53149" y="21622"/>
                    <a:pt x="74390" y="14097"/>
                    <a:pt x="96107" y="8477"/>
                  </a:cubicBezTo>
                  <a:cubicBezTo>
                    <a:pt x="117729" y="2858"/>
                    <a:pt x="143923" y="0"/>
                    <a:pt x="174593" y="0"/>
                  </a:cubicBezTo>
                  <a:cubicBezTo>
                    <a:pt x="230124" y="0"/>
                    <a:pt x="271367" y="13811"/>
                    <a:pt x="298228" y="41338"/>
                  </a:cubicBezTo>
                  <a:cubicBezTo>
                    <a:pt x="325088" y="68866"/>
                    <a:pt x="338519" y="107633"/>
                    <a:pt x="338519" y="157544"/>
                  </a:cubicBezTo>
                  <a:lnTo>
                    <a:pt x="338519" y="378714"/>
                  </a:lnTo>
                  <a:lnTo>
                    <a:pt x="253746" y="378714"/>
                  </a:lnTo>
                  <a:close/>
                  <a:moveTo>
                    <a:pt x="255746" y="222409"/>
                  </a:moveTo>
                  <a:cubicBezTo>
                    <a:pt x="244888" y="218123"/>
                    <a:pt x="232029" y="214598"/>
                    <a:pt x="217265" y="211836"/>
                  </a:cubicBezTo>
                  <a:cubicBezTo>
                    <a:pt x="202406" y="208979"/>
                    <a:pt x="186785" y="207550"/>
                    <a:pt x="170307" y="207550"/>
                  </a:cubicBezTo>
                  <a:cubicBezTo>
                    <a:pt x="143446" y="207550"/>
                    <a:pt x="122491" y="212693"/>
                    <a:pt x="107442" y="223075"/>
                  </a:cubicBezTo>
                  <a:cubicBezTo>
                    <a:pt x="92392" y="233458"/>
                    <a:pt x="84868" y="247555"/>
                    <a:pt x="84868" y="265462"/>
                  </a:cubicBezTo>
                  <a:lnTo>
                    <a:pt x="84868" y="266891"/>
                  </a:lnTo>
                  <a:cubicBezTo>
                    <a:pt x="84868" y="284798"/>
                    <a:pt x="91821" y="298418"/>
                    <a:pt x="105728" y="307848"/>
                  </a:cubicBezTo>
                  <a:cubicBezTo>
                    <a:pt x="119634" y="317278"/>
                    <a:pt x="136684" y="321945"/>
                    <a:pt x="156972" y="321945"/>
                  </a:cubicBezTo>
                  <a:cubicBezTo>
                    <a:pt x="171069" y="321945"/>
                    <a:pt x="184213" y="320040"/>
                    <a:pt x="196215" y="316325"/>
                  </a:cubicBezTo>
                  <a:cubicBezTo>
                    <a:pt x="208216" y="312515"/>
                    <a:pt x="218694" y="307277"/>
                    <a:pt x="227647" y="300419"/>
                  </a:cubicBezTo>
                  <a:cubicBezTo>
                    <a:pt x="236601" y="293561"/>
                    <a:pt x="243554" y="285369"/>
                    <a:pt x="248507" y="275654"/>
                  </a:cubicBezTo>
                  <a:cubicBezTo>
                    <a:pt x="253460" y="266033"/>
                    <a:pt x="255937" y="255270"/>
                    <a:pt x="255937" y="243459"/>
                  </a:cubicBezTo>
                  <a:lnTo>
                    <a:pt x="255937" y="222218"/>
                  </a:lnTo>
                  <a:close/>
                </a:path>
              </a:pathLst>
            </a:custGeom>
            <a:solidFill>
              <a:srgbClr val="44505E"/>
            </a:solidFill>
            <a:ln w="9525" cap="flat">
              <a:noFill/>
              <a:prstDash val="solid"/>
              <a:miter/>
            </a:ln>
          </p:spPr>
          <p:txBody>
            <a:bodyPr rtlCol="0" anchor="ctr"/>
            <a:lstStyle/>
            <a:p>
              <a:endParaRPr lang="pt-BR" noProof="0"/>
            </a:p>
          </p:txBody>
        </p:sp>
        <p:sp>
          <p:nvSpPr>
            <p:cNvPr id="28" name="Freeform: Shape 27">
              <a:extLst>
                <a:ext uri="{FF2B5EF4-FFF2-40B4-BE49-F238E27FC236}">
                  <a16:creationId xmlns:a16="http://schemas.microsoft.com/office/drawing/2014/main" id="{AC483B2B-4AF1-74E7-FC28-73B109A20C47}"/>
                </a:ext>
              </a:extLst>
            </p:cNvPr>
            <p:cNvSpPr/>
            <p:nvPr/>
          </p:nvSpPr>
          <p:spPr>
            <a:xfrm>
              <a:off x="6088843" y="700318"/>
              <a:ext cx="74610" cy="97213"/>
            </a:xfrm>
            <a:custGeom>
              <a:avLst/>
              <a:gdLst>
                <a:gd name="connsiteX0" fmla="*/ 158305 w 296799"/>
                <a:gd name="connsiteY0" fmla="*/ 386715 h 386714"/>
                <a:gd name="connsiteX1" fmla="*/ 76676 w 296799"/>
                <a:gd name="connsiteY1" fmla="*/ 372427 h 386714"/>
                <a:gd name="connsiteX2" fmla="*/ 0 w 296799"/>
                <a:gd name="connsiteY2" fmla="*/ 330327 h 386714"/>
                <a:gd name="connsiteX3" fmla="*/ 38195 w 296799"/>
                <a:gd name="connsiteY3" fmla="*/ 272224 h 386714"/>
                <a:gd name="connsiteX4" fmla="*/ 100013 w 296799"/>
                <a:gd name="connsiteY4" fmla="*/ 306514 h 386714"/>
                <a:gd name="connsiteX5" fmla="*/ 160401 w 296799"/>
                <a:gd name="connsiteY5" fmla="*/ 318135 h 386714"/>
                <a:gd name="connsiteX6" fmla="*/ 203168 w 296799"/>
                <a:gd name="connsiteY6" fmla="*/ 307181 h 386714"/>
                <a:gd name="connsiteX7" fmla="*/ 218408 w 296799"/>
                <a:gd name="connsiteY7" fmla="*/ 277939 h 386714"/>
                <a:gd name="connsiteX8" fmla="*/ 218408 w 296799"/>
                <a:gd name="connsiteY8" fmla="*/ 276511 h 386714"/>
                <a:gd name="connsiteX9" fmla="*/ 211646 w 296799"/>
                <a:gd name="connsiteY9" fmla="*/ 258223 h 386714"/>
                <a:gd name="connsiteX10" fmla="*/ 193262 w 296799"/>
                <a:gd name="connsiteY10" fmla="*/ 244792 h 386714"/>
                <a:gd name="connsiteX11" fmla="*/ 166402 w 296799"/>
                <a:gd name="connsiteY11" fmla="*/ 234220 h 386714"/>
                <a:gd name="connsiteX12" fmla="*/ 134969 w 296799"/>
                <a:gd name="connsiteY12" fmla="*/ 224314 h 386714"/>
                <a:gd name="connsiteX13" fmla="*/ 93631 w 296799"/>
                <a:gd name="connsiteY13" fmla="*/ 210884 h 386714"/>
                <a:gd name="connsiteX14" fmla="*/ 56197 w 296799"/>
                <a:gd name="connsiteY14" fmla="*/ 190786 h 386714"/>
                <a:gd name="connsiteX15" fmla="*/ 28956 w 296799"/>
                <a:gd name="connsiteY15" fmla="*/ 160115 h 386714"/>
                <a:gd name="connsiteX16" fmla="*/ 18383 w 296799"/>
                <a:gd name="connsiteY16" fmla="*/ 114967 h 386714"/>
                <a:gd name="connsiteX17" fmla="*/ 18383 w 296799"/>
                <a:gd name="connsiteY17" fmla="*/ 113538 h 386714"/>
                <a:gd name="connsiteX18" fmla="*/ 28575 w 296799"/>
                <a:gd name="connsiteY18" fmla="*/ 66294 h 386714"/>
                <a:gd name="connsiteX19" fmla="*/ 56864 w 296799"/>
                <a:gd name="connsiteY19" fmla="*/ 30385 h 386714"/>
                <a:gd name="connsiteX20" fmla="*/ 99250 w 296799"/>
                <a:gd name="connsiteY20" fmla="*/ 7810 h 386714"/>
                <a:gd name="connsiteX21" fmla="*/ 151162 w 296799"/>
                <a:gd name="connsiteY21" fmla="*/ 0 h 386714"/>
                <a:gd name="connsiteX22" fmla="*/ 222504 w 296799"/>
                <a:gd name="connsiteY22" fmla="*/ 11430 h 386714"/>
                <a:gd name="connsiteX23" fmla="*/ 288227 w 296799"/>
                <a:gd name="connsiteY23" fmla="*/ 42863 h 386714"/>
                <a:gd name="connsiteX24" fmla="*/ 254317 w 296799"/>
                <a:gd name="connsiteY24" fmla="*/ 103918 h 386714"/>
                <a:gd name="connsiteX25" fmla="*/ 199930 w 296799"/>
                <a:gd name="connsiteY25" fmla="*/ 78105 h 386714"/>
                <a:gd name="connsiteX26" fmla="*/ 149066 w 296799"/>
                <a:gd name="connsiteY26" fmla="*/ 68580 h 386714"/>
                <a:gd name="connsiteX27" fmla="*/ 110585 w 296799"/>
                <a:gd name="connsiteY27" fmla="*/ 79153 h 386714"/>
                <a:gd name="connsiteX28" fmla="*/ 96774 w 296799"/>
                <a:gd name="connsiteY28" fmla="*/ 105918 h 386714"/>
                <a:gd name="connsiteX29" fmla="*/ 96774 w 296799"/>
                <a:gd name="connsiteY29" fmla="*/ 107347 h 386714"/>
                <a:gd name="connsiteX30" fmla="*/ 103822 w 296799"/>
                <a:gd name="connsiteY30" fmla="*/ 124587 h 386714"/>
                <a:gd name="connsiteX31" fmla="*/ 122587 w 296799"/>
                <a:gd name="connsiteY31" fmla="*/ 138017 h 386714"/>
                <a:gd name="connsiteX32" fmla="*/ 149447 w 296799"/>
                <a:gd name="connsiteY32" fmla="*/ 149257 h 386714"/>
                <a:gd name="connsiteX33" fmla="*/ 180880 w 296799"/>
                <a:gd name="connsiteY33" fmla="*/ 159448 h 386714"/>
                <a:gd name="connsiteX34" fmla="*/ 221837 w 296799"/>
                <a:gd name="connsiteY34" fmla="*/ 174212 h 386714"/>
                <a:gd name="connsiteX35" fmla="*/ 258985 w 296799"/>
                <a:gd name="connsiteY35" fmla="*/ 194977 h 386714"/>
                <a:gd name="connsiteX36" fmla="*/ 286226 w 296799"/>
                <a:gd name="connsiteY36" fmla="*/ 224980 h 386714"/>
                <a:gd name="connsiteX37" fmla="*/ 296799 w 296799"/>
                <a:gd name="connsiteY37" fmla="*/ 267938 h 386714"/>
                <a:gd name="connsiteX38" fmla="*/ 296799 w 296799"/>
                <a:gd name="connsiteY38" fmla="*/ 269367 h 386714"/>
                <a:gd name="connsiteX39" fmla="*/ 286226 w 296799"/>
                <a:gd name="connsiteY39" fmla="*/ 320897 h 386714"/>
                <a:gd name="connsiteX40" fmla="*/ 256889 w 296799"/>
                <a:gd name="connsiteY40" fmla="*/ 357188 h 386714"/>
                <a:gd name="connsiteX41" fmla="*/ 212693 w 296799"/>
                <a:gd name="connsiteY41" fmla="*/ 379095 h 386714"/>
                <a:gd name="connsiteX42" fmla="*/ 158305 w 296799"/>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799"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065" y="318135"/>
                    <a:pt x="160401" y="318135"/>
                  </a:cubicBezTo>
                  <a:cubicBezTo>
                    <a:pt x="179737" y="318135"/>
                    <a:pt x="193072"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828" y="227647"/>
                    <a:pt x="134969" y="224314"/>
                  </a:cubicBezTo>
                  <a:cubicBezTo>
                    <a:pt x="121348" y="220599"/>
                    <a:pt x="107537" y="216122"/>
                    <a:pt x="93631" y="210884"/>
                  </a:cubicBezTo>
                  <a:cubicBezTo>
                    <a:pt x="79724" y="205740"/>
                    <a:pt x="67246" y="198977"/>
                    <a:pt x="56197" y="190786"/>
                  </a:cubicBezTo>
                  <a:cubicBezTo>
                    <a:pt x="45148" y="182594"/>
                    <a:pt x="36004"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874" y="0"/>
                    <a:pt x="151162" y="0"/>
                  </a:cubicBezTo>
                  <a:cubicBezTo>
                    <a:pt x="174688" y="0"/>
                    <a:pt x="198501" y="3810"/>
                    <a:pt x="222504" y="11430"/>
                  </a:cubicBezTo>
                  <a:cubicBezTo>
                    <a:pt x="246507" y="19050"/>
                    <a:pt x="268414" y="29527"/>
                    <a:pt x="288227" y="42863"/>
                  </a:cubicBezTo>
                  <a:lnTo>
                    <a:pt x="254317"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774" y="95155"/>
                    <a:pt x="96774" y="105918"/>
                  </a:cubicBezTo>
                  <a:lnTo>
                    <a:pt x="96774" y="107347"/>
                  </a:lnTo>
                  <a:cubicBezTo>
                    <a:pt x="96774" y="113919"/>
                    <a:pt x="99155" y="119634"/>
                    <a:pt x="103822" y="124587"/>
                  </a:cubicBezTo>
                  <a:cubicBezTo>
                    <a:pt x="108490" y="129540"/>
                    <a:pt x="114776" y="134017"/>
                    <a:pt x="122587" y="138017"/>
                  </a:cubicBezTo>
                  <a:cubicBezTo>
                    <a:pt x="130397" y="142018"/>
                    <a:pt x="139351" y="145732"/>
                    <a:pt x="149447" y="149257"/>
                  </a:cubicBezTo>
                  <a:cubicBezTo>
                    <a:pt x="159544" y="152781"/>
                    <a:pt x="170021" y="156210"/>
                    <a:pt x="180880" y="159448"/>
                  </a:cubicBezTo>
                  <a:cubicBezTo>
                    <a:pt x="194500" y="163639"/>
                    <a:pt x="208216" y="168592"/>
                    <a:pt x="221837" y="174212"/>
                  </a:cubicBezTo>
                  <a:cubicBezTo>
                    <a:pt x="235458" y="179832"/>
                    <a:pt x="247840" y="186785"/>
                    <a:pt x="258985" y="194977"/>
                  </a:cubicBezTo>
                  <a:cubicBezTo>
                    <a:pt x="270034" y="203168"/>
                    <a:pt x="279178" y="213169"/>
                    <a:pt x="286226" y="224980"/>
                  </a:cubicBezTo>
                  <a:cubicBezTo>
                    <a:pt x="293275" y="236696"/>
                    <a:pt x="296799" y="251079"/>
                    <a:pt x="296799" y="267938"/>
                  </a:cubicBezTo>
                  <a:lnTo>
                    <a:pt x="296799" y="269367"/>
                  </a:lnTo>
                  <a:cubicBezTo>
                    <a:pt x="296799" y="289084"/>
                    <a:pt x="293275" y="306229"/>
                    <a:pt x="286226" y="320897"/>
                  </a:cubicBezTo>
                  <a:cubicBezTo>
                    <a:pt x="279178" y="335470"/>
                    <a:pt x="269367" y="347567"/>
                    <a:pt x="256889" y="357188"/>
                  </a:cubicBezTo>
                  <a:cubicBezTo>
                    <a:pt x="244412" y="366808"/>
                    <a:pt x="229648" y="374142"/>
                    <a:pt x="212693" y="379095"/>
                  </a:cubicBezTo>
                  <a:cubicBezTo>
                    <a:pt x="195739" y="384048"/>
                    <a:pt x="177641" y="386524"/>
                    <a:pt x="158305" y="386524"/>
                  </a:cubicBezTo>
                  <a:close/>
                </a:path>
              </a:pathLst>
            </a:custGeom>
            <a:solidFill>
              <a:srgbClr val="44505E"/>
            </a:solidFill>
            <a:ln w="9525" cap="flat">
              <a:noFill/>
              <a:prstDash val="solid"/>
              <a:miter/>
            </a:ln>
          </p:spPr>
          <p:txBody>
            <a:bodyPr rtlCol="0" anchor="ctr"/>
            <a:lstStyle/>
            <a:p>
              <a:endParaRPr lang="pt-BR" noProof="0"/>
            </a:p>
          </p:txBody>
        </p:sp>
        <p:sp>
          <p:nvSpPr>
            <p:cNvPr id="29" name="Freeform: Shape 28">
              <a:extLst>
                <a:ext uri="{FF2B5EF4-FFF2-40B4-BE49-F238E27FC236}">
                  <a16:creationId xmlns:a16="http://schemas.microsoft.com/office/drawing/2014/main" id="{AF398E3B-2B09-EAF2-F856-CA1D246B3A3B}"/>
                </a:ext>
              </a:extLst>
            </p:cNvPr>
            <p:cNvSpPr/>
            <p:nvPr/>
          </p:nvSpPr>
          <p:spPr>
            <a:xfrm>
              <a:off x="6238590"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4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7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2 w 568166"/>
                <a:gd name="connsiteY21" fmla="*/ 381000 h 381000"/>
                <a:gd name="connsiteX22" fmla="*/ 240982 w 568166"/>
                <a:gd name="connsiteY22" fmla="*/ 168783 h 381000"/>
                <a:gd name="connsiteX23" fmla="*/ 221266 w 568166"/>
                <a:gd name="connsiteY23" fmla="*/ 101822 h 381000"/>
                <a:gd name="connsiteX24" fmla="*/ 165640 w 568166"/>
                <a:gd name="connsiteY24" fmla="*/ 78581 h 381000"/>
                <a:gd name="connsiteX25" fmla="*/ 108013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69" y="48196"/>
                    <a:pt x="105918" y="40576"/>
                  </a:cubicBezTo>
                  <a:cubicBezTo>
                    <a:pt x="112966" y="32956"/>
                    <a:pt x="121063" y="26099"/>
                    <a:pt x="130207" y="19907"/>
                  </a:cubicBezTo>
                  <a:cubicBezTo>
                    <a:pt x="139351" y="13716"/>
                    <a:pt x="149638" y="8858"/>
                    <a:pt x="161163" y="5334"/>
                  </a:cubicBezTo>
                  <a:cubicBezTo>
                    <a:pt x="172688" y="1714"/>
                    <a:pt x="185452" y="0"/>
                    <a:pt x="199549" y="0"/>
                  </a:cubicBezTo>
                  <a:cubicBezTo>
                    <a:pt x="226314" y="0"/>
                    <a:pt x="248983" y="6096"/>
                    <a:pt x="267557" y="18193"/>
                  </a:cubicBezTo>
                  <a:cubicBezTo>
                    <a:pt x="286131" y="30289"/>
                    <a:pt x="300323" y="46387"/>
                    <a:pt x="310134" y="66294"/>
                  </a:cubicBezTo>
                  <a:cubicBezTo>
                    <a:pt x="325279" y="46387"/>
                    <a:pt x="343090" y="30289"/>
                    <a:pt x="363664" y="18193"/>
                  </a:cubicBezTo>
                  <a:cubicBezTo>
                    <a:pt x="384238" y="6096"/>
                    <a:pt x="408718" y="0"/>
                    <a:pt x="437007" y="0"/>
                  </a:cubicBezTo>
                  <a:cubicBezTo>
                    <a:pt x="478155"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7" y="78486"/>
                  </a:cubicBezTo>
                  <a:cubicBezTo>
                    <a:pt x="382809" y="78486"/>
                    <a:pt x="364141" y="86392"/>
                    <a:pt x="349377" y="102108"/>
                  </a:cubicBezTo>
                  <a:cubicBezTo>
                    <a:pt x="334613" y="117824"/>
                    <a:pt x="327184" y="140779"/>
                    <a:pt x="327184" y="170879"/>
                  </a:cubicBezTo>
                  <a:lnTo>
                    <a:pt x="327184" y="381000"/>
                  </a:lnTo>
                  <a:lnTo>
                    <a:pt x="240982" y="381000"/>
                  </a:lnTo>
                  <a:lnTo>
                    <a:pt x="240982" y="168783"/>
                  </a:lnTo>
                  <a:cubicBezTo>
                    <a:pt x="240982" y="139637"/>
                    <a:pt x="234410" y="117348"/>
                    <a:pt x="221266" y="101822"/>
                  </a:cubicBezTo>
                  <a:cubicBezTo>
                    <a:pt x="208121" y="86296"/>
                    <a:pt x="189547" y="78581"/>
                    <a:pt x="165640" y="78581"/>
                  </a:cubicBezTo>
                  <a:cubicBezTo>
                    <a:pt x="141732" y="78581"/>
                    <a:pt x="122491" y="86773"/>
                    <a:pt x="108013"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30" name="Freeform: Shape 29">
              <a:extLst>
                <a:ext uri="{FF2B5EF4-FFF2-40B4-BE49-F238E27FC236}">
                  <a16:creationId xmlns:a16="http://schemas.microsoft.com/office/drawing/2014/main" id="{C87C7725-C8EE-9A04-A5FD-6BA031BE7251}"/>
                </a:ext>
              </a:extLst>
            </p:cNvPr>
            <p:cNvSpPr/>
            <p:nvPr/>
          </p:nvSpPr>
          <p:spPr>
            <a:xfrm>
              <a:off x="6400979" y="664258"/>
              <a:ext cx="85097" cy="133441"/>
            </a:xfrm>
            <a:custGeom>
              <a:avLst/>
              <a:gdLst>
                <a:gd name="connsiteX0" fmla="*/ 253651 w 338518"/>
                <a:gd name="connsiteY0" fmla="*/ 523018 h 530828"/>
                <a:gd name="connsiteX1" fmla="*/ 253651 w 338518"/>
                <a:gd name="connsiteY1" fmla="*/ 477107 h 530828"/>
                <a:gd name="connsiteX2" fmla="*/ 204883 w 338518"/>
                <a:gd name="connsiteY2" fmla="*/ 515303 h 530828"/>
                <a:gd name="connsiteX3" fmla="*/ 132779 w 338518"/>
                <a:gd name="connsiteY3" fmla="*/ 530828 h 530828"/>
                <a:gd name="connsiteX4" fmla="*/ 81915 w 338518"/>
                <a:gd name="connsiteY4" fmla="*/ 523399 h 530828"/>
                <a:gd name="connsiteX5" fmla="*/ 39910 w 338518"/>
                <a:gd name="connsiteY5" fmla="*/ 501491 h 530828"/>
                <a:gd name="connsiteX6" fmla="*/ 10954 w 338518"/>
                <a:gd name="connsiteY6" fmla="*/ 465487 h 530828"/>
                <a:gd name="connsiteX7" fmla="*/ 0 w 338518"/>
                <a:gd name="connsiteY7" fmla="*/ 415671 h 530828"/>
                <a:gd name="connsiteX8" fmla="*/ 0 w 338518"/>
                <a:gd name="connsiteY8" fmla="*/ 414242 h 530828"/>
                <a:gd name="connsiteX9" fmla="*/ 11335 w 338518"/>
                <a:gd name="connsiteY9" fmla="*/ 360140 h 530828"/>
                <a:gd name="connsiteX10" fmla="*/ 42767 w 338518"/>
                <a:gd name="connsiteY10" fmla="*/ 321945 h 530828"/>
                <a:gd name="connsiteX11" fmla="*/ 90773 w 338518"/>
                <a:gd name="connsiteY11" fmla="*/ 299371 h 530828"/>
                <a:gd name="connsiteX12" fmla="*/ 151162 w 338518"/>
                <a:gd name="connsiteY12" fmla="*/ 291941 h 530828"/>
                <a:gd name="connsiteX13" fmla="*/ 208788 w 338518"/>
                <a:gd name="connsiteY13" fmla="*/ 296228 h 530828"/>
                <a:gd name="connsiteX14" fmla="*/ 254413 w 338518"/>
                <a:gd name="connsiteY14" fmla="*/ 307562 h 530828"/>
                <a:gd name="connsiteX15" fmla="*/ 254413 w 338518"/>
                <a:gd name="connsiteY15" fmla="*/ 300514 h 530828"/>
                <a:gd name="connsiteX16" fmla="*/ 230696 w 338518"/>
                <a:gd name="connsiteY16" fmla="*/ 241173 h 530828"/>
                <a:gd name="connsiteX17" fmla="*/ 162496 w 338518"/>
                <a:gd name="connsiteY17" fmla="*/ 220694 h 530828"/>
                <a:gd name="connsiteX18" fmla="*/ 106013 w 338518"/>
                <a:gd name="connsiteY18" fmla="*/ 227076 h 530828"/>
                <a:gd name="connsiteX19" fmla="*/ 55817 w 338518"/>
                <a:gd name="connsiteY19" fmla="*/ 244031 h 530828"/>
                <a:gd name="connsiteX20" fmla="*/ 32480 w 338518"/>
                <a:gd name="connsiteY20" fmla="*/ 175451 h 530828"/>
                <a:gd name="connsiteX21" fmla="*/ 96107 w 338518"/>
                <a:gd name="connsiteY21" fmla="*/ 152876 h 530828"/>
                <a:gd name="connsiteX22" fmla="*/ 174593 w 338518"/>
                <a:gd name="connsiteY22" fmla="*/ 144399 h 530828"/>
                <a:gd name="connsiteX23" fmla="*/ 298228 w 338518"/>
                <a:gd name="connsiteY23" fmla="*/ 185738 h 530828"/>
                <a:gd name="connsiteX24" fmla="*/ 338519 w 338518"/>
                <a:gd name="connsiteY24" fmla="*/ 301943 h 530828"/>
                <a:gd name="connsiteX25" fmla="*/ 338519 w 338518"/>
                <a:gd name="connsiteY25" fmla="*/ 523113 h 530828"/>
                <a:gd name="connsiteX26" fmla="*/ 253746 w 338518"/>
                <a:gd name="connsiteY26" fmla="*/ 523113 h 530828"/>
                <a:gd name="connsiteX27" fmla="*/ 45911 w 338518"/>
                <a:gd name="connsiteY27" fmla="*/ 95441 h 530828"/>
                <a:gd name="connsiteX28" fmla="*/ 75248 w 338518"/>
                <a:gd name="connsiteY28" fmla="*/ 29718 h 530828"/>
                <a:gd name="connsiteX29" fmla="*/ 125063 w 338518"/>
                <a:gd name="connsiteY29" fmla="*/ 7144 h 530828"/>
                <a:gd name="connsiteX30" fmla="*/ 154019 w 338518"/>
                <a:gd name="connsiteY30" fmla="*/ 11716 h 530828"/>
                <a:gd name="connsiteX31" fmla="*/ 181261 w 338518"/>
                <a:gd name="connsiteY31" fmla="*/ 21622 h 530828"/>
                <a:gd name="connsiteX32" fmla="*/ 205645 w 338518"/>
                <a:gd name="connsiteY32" fmla="*/ 31147 h 530828"/>
                <a:gd name="connsiteX33" fmla="*/ 226790 w 338518"/>
                <a:gd name="connsiteY33" fmla="*/ 35338 h 530828"/>
                <a:gd name="connsiteX34" fmla="*/ 250127 w 338518"/>
                <a:gd name="connsiteY34" fmla="*/ 26861 h 530828"/>
                <a:gd name="connsiteX35" fmla="*/ 265652 w 338518"/>
                <a:gd name="connsiteY35" fmla="*/ 0 h 530828"/>
                <a:gd name="connsiteX36" fmla="*/ 312991 w 338518"/>
                <a:gd name="connsiteY36" fmla="*/ 14859 h 530828"/>
                <a:gd name="connsiteX37" fmla="*/ 283655 w 338518"/>
                <a:gd name="connsiteY37" fmla="*/ 79820 h 530828"/>
                <a:gd name="connsiteX38" fmla="*/ 233839 w 338518"/>
                <a:gd name="connsiteY38" fmla="*/ 102394 h 530828"/>
                <a:gd name="connsiteX39" fmla="*/ 204883 w 338518"/>
                <a:gd name="connsiteY39" fmla="*/ 98203 h 530828"/>
                <a:gd name="connsiteX40" fmla="*/ 177641 w 338518"/>
                <a:gd name="connsiteY40" fmla="*/ 88678 h 530828"/>
                <a:gd name="connsiteX41" fmla="*/ 152876 w 338518"/>
                <a:gd name="connsiteY41" fmla="*/ 78772 h 530828"/>
                <a:gd name="connsiteX42" fmla="*/ 132017 w 338518"/>
                <a:gd name="connsiteY42" fmla="*/ 74200 h 530828"/>
                <a:gd name="connsiteX43" fmla="*/ 108680 w 338518"/>
                <a:gd name="connsiteY43" fmla="*/ 82677 h 530828"/>
                <a:gd name="connsiteX44" fmla="*/ 93154 w 338518"/>
                <a:gd name="connsiteY44" fmla="*/ 109538 h 530828"/>
                <a:gd name="connsiteX45" fmla="*/ 45815 w 338518"/>
                <a:gd name="connsiteY45" fmla="*/ 95441 h 530828"/>
                <a:gd name="connsiteX46" fmla="*/ 255842 w 338518"/>
                <a:gd name="connsiteY46" fmla="*/ 366808 h 530828"/>
                <a:gd name="connsiteX47" fmla="*/ 217361 w 338518"/>
                <a:gd name="connsiteY47" fmla="*/ 356235 h 530828"/>
                <a:gd name="connsiteX48" fmla="*/ 170402 w 338518"/>
                <a:gd name="connsiteY48" fmla="*/ 351949 h 530828"/>
                <a:gd name="connsiteX49" fmla="*/ 107537 w 338518"/>
                <a:gd name="connsiteY49" fmla="*/ 367475 h 530828"/>
                <a:gd name="connsiteX50" fmla="*/ 84963 w 338518"/>
                <a:gd name="connsiteY50" fmla="*/ 409861 h 530828"/>
                <a:gd name="connsiteX51" fmla="*/ 84963 w 338518"/>
                <a:gd name="connsiteY51" fmla="*/ 411290 h 530828"/>
                <a:gd name="connsiteX52" fmla="*/ 105823 w 338518"/>
                <a:gd name="connsiteY52" fmla="*/ 452247 h 530828"/>
                <a:gd name="connsiteX53" fmla="*/ 157067 w 338518"/>
                <a:gd name="connsiteY53" fmla="*/ 466344 h 530828"/>
                <a:gd name="connsiteX54" fmla="*/ 196310 w 338518"/>
                <a:gd name="connsiteY54" fmla="*/ 460724 h 530828"/>
                <a:gd name="connsiteX55" fmla="*/ 227743 w 338518"/>
                <a:gd name="connsiteY55" fmla="*/ 444818 h 530828"/>
                <a:gd name="connsiteX56" fmla="*/ 248603 w 338518"/>
                <a:gd name="connsiteY56" fmla="*/ 420053 h 530828"/>
                <a:gd name="connsiteX57" fmla="*/ 256032 w 338518"/>
                <a:gd name="connsiteY57" fmla="*/ 387858 h 530828"/>
                <a:gd name="connsiteX58" fmla="*/ 256032 w 338518"/>
                <a:gd name="connsiteY58" fmla="*/ 366617 h 5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8518" h="530828">
                  <a:moveTo>
                    <a:pt x="253651" y="523018"/>
                  </a:moveTo>
                  <a:lnTo>
                    <a:pt x="253651" y="477107"/>
                  </a:lnTo>
                  <a:cubicBezTo>
                    <a:pt x="240887" y="492157"/>
                    <a:pt x="224695" y="504920"/>
                    <a:pt x="204883" y="515303"/>
                  </a:cubicBezTo>
                  <a:cubicBezTo>
                    <a:pt x="185071" y="525685"/>
                    <a:pt x="161068" y="530828"/>
                    <a:pt x="132779" y="530828"/>
                  </a:cubicBezTo>
                  <a:cubicBezTo>
                    <a:pt x="114871" y="530828"/>
                    <a:pt x="97917" y="528352"/>
                    <a:pt x="81915" y="523399"/>
                  </a:cubicBezTo>
                  <a:cubicBezTo>
                    <a:pt x="65913" y="518446"/>
                    <a:pt x="51911" y="511112"/>
                    <a:pt x="39910" y="501491"/>
                  </a:cubicBezTo>
                  <a:cubicBezTo>
                    <a:pt x="27908" y="491871"/>
                    <a:pt x="18193" y="479870"/>
                    <a:pt x="10954" y="465487"/>
                  </a:cubicBezTo>
                  <a:cubicBezTo>
                    <a:pt x="3620" y="451104"/>
                    <a:pt x="0" y="434531"/>
                    <a:pt x="0" y="415671"/>
                  </a:cubicBezTo>
                  <a:lnTo>
                    <a:pt x="0" y="414242"/>
                  </a:lnTo>
                  <a:cubicBezTo>
                    <a:pt x="0" y="393478"/>
                    <a:pt x="3810" y="375476"/>
                    <a:pt x="11335" y="360140"/>
                  </a:cubicBezTo>
                  <a:cubicBezTo>
                    <a:pt x="18860" y="344805"/>
                    <a:pt x="29337" y="332137"/>
                    <a:pt x="42767" y="321945"/>
                  </a:cubicBezTo>
                  <a:cubicBezTo>
                    <a:pt x="56198" y="311849"/>
                    <a:pt x="72200" y="304324"/>
                    <a:pt x="90773" y="299371"/>
                  </a:cubicBezTo>
                  <a:cubicBezTo>
                    <a:pt x="109347" y="294418"/>
                    <a:pt x="129540" y="291941"/>
                    <a:pt x="151162" y="291941"/>
                  </a:cubicBezTo>
                  <a:cubicBezTo>
                    <a:pt x="172784" y="291941"/>
                    <a:pt x="192977" y="293370"/>
                    <a:pt x="208788" y="296228"/>
                  </a:cubicBezTo>
                  <a:cubicBezTo>
                    <a:pt x="224600" y="299085"/>
                    <a:pt x="239744" y="302800"/>
                    <a:pt x="254413" y="307562"/>
                  </a:cubicBezTo>
                  <a:lnTo>
                    <a:pt x="254413" y="300514"/>
                  </a:lnTo>
                  <a:cubicBezTo>
                    <a:pt x="254413" y="274606"/>
                    <a:pt x="246507" y="254794"/>
                    <a:pt x="230696" y="241173"/>
                  </a:cubicBezTo>
                  <a:cubicBezTo>
                    <a:pt x="214884" y="227552"/>
                    <a:pt x="192215" y="220694"/>
                    <a:pt x="162496" y="220694"/>
                  </a:cubicBezTo>
                  <a:cubicBezTo>
                    <a:pt x="141351" y="220694"/>
                    <a:pt x="122492" y="222790"/>
                    <a:pt x="106013" y="227076"/>
                  </a:cubicBezTo>
                  <a:cubicBezTo>
                    <a:pt x="89535" y="231362"/>
                    <a:pt x="72771" y="236982"/>
                    <a:pt x="55817" y="244031"/>
                  </a:cubicBezTo>
                  <a:lnTo>
                    <a:pt x="32480" y="175451"/>
                  </a:lnTo>
                  <a:cubicBezTo>
                    <a:pt x="53150" y="166021"/>
                    <a:pt x="74390" y="158496"/>
                    <a:pt x="96107" y="152876"/>
                  </a:cubicBezTo>
                  <a:cubicBezTo>
                    <a:pt x="117729" y="147257"/>
                    <a:pt x="143923" y="144399"/>
                    <a:pt x="174593" y="144399"/>
                  </a:cubicBezTo>
                  <a:cubicBezTo>
                    <a:pt x="230124" y="144399"/>
                    <a:pt x="271367" y="158210"/>
                    <a:pt x="298228" y="185738"/>
                  </a:cubicBezTo>
                  <a:cubicBezTo>
                    <a:pt x="325088" y="213265"/>
                    <a:pt x="338519" y="252032"/>
                    <a:pt x="338519" y="301943"/>
                  </a:cubicBezTo>
                  <a:lnTo>
                    <a:pt x="338519" y="523113"/>
                  </a:lnTo>
                  <a:lnTo>
                    <a:pt x="253746" y="523113"/>
                  </a:lnTo>
                  <a:close/>
                  <a:moveTo>
                    <a:pt x="45911" y="95441"/>
                  </a:moveTo>
                  <a:cubicBezTo>
                    <a:pt x="53912" y="66675"/>
                    <a:pt x="63722" y="44768"/>
                    <a:pt x="75248" y="29718"/>
                  </a:cubicBezTo>
                  <a:cubicBezTo>
                    <a:pt x="86773" y="14669"/>
                    <a:pt x="103442" y="7144"/>
                    <a:pt x="125063" y="7144"/>
                  </a:cubicBezTo>
                  <a:cubicBezTo>
                    <a:pt x="134969" y="7144"/>
                    <a:pt x="144590" y="8668"/>
                    <a:pt x="154019" y="11716"/>
                  </a:cubicBezTo>
                  <a:cubicBezTo>
                    <a:pt x="163449" y="14764"/>
                    <a:pt x="172498" y="18098"/>
                    <a:pt x="181261" y="21622"/>
                  </a:cubicBezTo>
                  <a:cubicBezTo>
                    <a:pt x="189929" y="25146"/>
                    <a:pt x="198120" y="28385"/>
                    <a:pt x="205645" y="31147"/>
                  </a:cubicBezTo>
                  <a:cubicBezTo>
                    <a:pt x="213170" y="34004"/>
                    <a:pt x="220218" y="35338"/>
                    <a:pt x="226790" y="35338"/>
                  </a:cubicBezTo>
                  <a:cubicBezTo>
                    <a:pt x="237173" y="35338"/>
                    <a:pt x="244888" y="32480"/>
                    <a:pt x="250127" y="26861"/>
                  </a:cubicBezTo>
                  <a:cubicBezTo>
                    <a:pt x="255270" y="21241"/>
                    <a:pt x="260509" y="12287"/>
                    <a:pt x="265652" y="0"/>
                  </a:cubicBezTo>
                  <a:lnTo>
                    <a:pt x="312991" y="14859"/>
                  </a:lnTo>
                  <a:cubicBezTo>
                    <a:pt x="304991" y="43148"/>
                    <a:pt x="295180" y="64770"/>
                    <a:pt x="283655" y="79820"/>
                  </a:cubicBezTo>
                  <a:cubicBezTo>
                    <a:pt x="272129" y="94869"/>
                    <a:pt x="255461" y="102394"/>
                    <a:pt x="233839" y="102394"/>
                  </a:cubicBezTo>
                  <a:cubicBezTo>
                    <a:pt x="223933" y="102394"/>
                    <a:pt x="214313" y="100965"/>
                    <a:pt x="204883" y="98203"/>
                  </a:cubicBezTo>
                  <a:cubicBezTo>
                    <a:pt x="195453" y="95345"/>
                    <a:pt x="186404" y="92202"/>
                    <a:pt x="177641" y="88678"/>
                  </a:cubicBezTo>
                  <a:cubicBezTo>
                    <a:pt x="168878" y="85154"/>
                    <a:pt x="160687" y="81820"/>
                    <a:pt x="152876" y="78772"/>
                  </a:cubicBezTo>
                  <a:cubicBezTo>
                    <a:pt x="145066" y="75724"/>
                    <a:pt x="138113" y="74200"/>
                    <a:pt x="132017" y="74200"/>
                  </a:cubicBezTo>
                  <a:cubicBezTo>
                    <a:pt x="121634" y="74200"/>
                    <a:pt x="113919" y="77057"/>
                    <a:pt x="108680" y="82677"/>
                  </a:cubicBezTo>
                  <a:cubicBezTo>
                    <a:pt x="103537" y="88297"/>
                    <a:pt x="98298" y="97250"/>
                    <a:pt x="93154" y="109538"/>
                  </a:cubicBezTo>
                  <a:lnTo>
                    <a:pt x="45815" y="95441"/>
                  </a:lnTo>
                  <a:close/>
                  <a:moveTo>
                    <a:pt x="255842" y="366808"/>
                  </a:moveTo>
                  <a:cubicBezTo>
                    <a:pt x="244983" y="362522"/>
                    <a:pt x="232124" y="358997"/>
                    <a:pt x="217361" y="356235"/>
                  </a:cubicBezTo>
                  <a:cubicBezTo>
                    <a:pt x="202502" y="353378"/>
                    <a:pt x="186880" y="351949"/>
                    <a:pt x="170402" y="351949"/>
                  </a:cubicBezTo>
                  <a:cubicBezTo>
                    <a:pt x="143542" y="351949"/>
                    <a:pt x="122587" y="357092"/>
                    <a:pt x="107537" y="367475"/>
                  </a:cubicBezTo>
                  <a:cubicBezTo>
                    <a:pt x="92488" y="377857"/>
                    <a:pt x="84963" y="391954"/>
                    <a:pt x="84963" y="409861"/>
                  </a:cubicBezTo>
                  <a:lnTo>
                    <a:pt x="84963" y="411290"/>
                  </a:lnTo>
                  <a:cubicBezTo>
                    <a:pt x="84963" y="429197"/>
                    <a:pt x="91916" y="442817"/>
                    <a:pt x="105823" y="452247"/>
                  </a:cubicBezTo>
                  <a:cubicBezTo>
                    <a:pt x="119729" y="461677"/>
                    <a:pt x="136779" y="466344"/>
                    <a:pt x="157067" y="466344"/>
                  </a:cubicBezTo>
                  <a:cubicBezTo>
                    <a:pt x="171164" y="466344"/>
                    <a:pt x="184309" y="464439"/>
                    <a:pt x="196310" y="460724"/>
                  </a:cubicBezTo>
                  <a:cubicBezTo>
                    <a:pt x="208312" y="456914"/>
                    <a:pt x="218789" y="451676"/>
                    <a:pt x="227743" y="444818"/>
                  </a:cubicBezTo>
                  <a:cubicBezTo>
                    <a:pt x="236696" y="437960"/>
                    <a:pt x="243650" y="429768"/>
                    <a:pt x="248603" y="420053"/>
                  </a:cubicBezTo>
                  <a:cubicBezTo>
                    <a:pt x="253555" y="410432"/>
                    <a:pt x="256032" y="399669"/>
                    <a:pt x="256032" y="387858"/>
                  </a:cubicBezTo>
                  <a:lnTo>
                    <a:pt x="256032" y="366617"/>
                  </a:lnTo>
                  <a:close/>
                </a:path>
              </a:pathLst>
            </a:custGeom>
            <a:solidFill>
              <a:srgbClr val="44505E"/>
            </a:solidFill>
            <a:ln w="9525" cap="flat">
              <a:noFill/>
              <a:prstDash val="solid"/>
              <a:miter/>
            </a:ln>
          </p:spPr>
          <p:txBody>
            <a:bodyPr rtlCol="0" anchor="ctr"/>
            <a:lstStyle/>
            <a:p>
              <a:endParaRPr lang="pt-BR" noProof="0"/>
            </a:p>
          </p:txBody>
        </p:sp>
        <p:sp>
          <p:nvSpPr>
            <p:cNvPr id="31" name="Freeform: Shape 30">
              <a:extLst>
                <a:ext uri="{FF2B5EF4-FFF2-40B4-BE49-F238E27FC236}">
                  <a16:creationId xmlns:a16="http://schemas.microsoft.com/office/drawing/2014/main" id="{1219854B-C780-3D20-3032-51076FF187A8}"/>
                </a:ext>
              </a:extLst>
            </p:cNvPr>
            <p:cNvSpPr/>
            <p:nvPr/>
          </p:nvSpPr>
          <p:spPr>
            <a:xfrm>
              <a:off x="6506477" y="699959"/>
              <a:ext cx="100038" cy="97908"/>
            </a:xfrm>
            <a:custGeom>
              <a:avLst/>
              <a:gdLst>
                <a:gd name="connsiteX0" fmla="*/ 197834 w 397954"/>
                <a:gd name="connsiteY0" fmla="*/ 389477 h 389477"/>
                <a:gd name="connsiteX1" fmla="*/ 119063 w 397954"/>
                <a:gd name="connsiteY1" fmla="*/ 374237 h 389477"/>
                <a:gd name="connsiteX2" fmla="*/ 56198 w 397954"/>
                <a:gd name="connsiteY2" fmla="*/ 332899 h 389477"/>
                <a:gd name="connsiteX3" fmla="*/ 14859 w 397954"/>
                <a:gd name="connsiteY3" fmla="*/ 271463 h 389477"/>
                <a:gd name="connsiteX4" fmla="*/ 0 w 397954"/>
                <a:gd name="connsiteY4" fmla="*/ 196501 h 389477"/>
                <a:gd name="connsiteX5" fmla="*/ 0 w 397954"/>
                <a:gd name="connsiteY5" fmla="*/ 195072 h 389477"/>
                <a:gd name="connsiteX6" fmla="*/ 15240 w 397954"/>
                <a:gd name="connsiteY6" fmla="*/ 119444 h 389477"/>
                <a:gd name="connsiteX7" fmla="*/ 56960 w 397954"/>
                <a:gd name="connsiteY7" fmla="*/ 57626 h 389477"/>
                <a:gd name="connsiteX8" fmla="*/ 119825 w 397954"/>
                <a:gd name="connsiteY8" fmla="*/ 15526 h 389477"/>
                <a:gd name="connsiteX9" fmla="*/ 199358 w 397954"/>
                <a:gd name="connsiteY9" fmla="*/ 0 h 389477"/>
                <a:gd name="connsiteX10" fmla="*/ 278892 w 397954"/>
                <a:gd name="connsiteY10" fmla="*/ 15240 h 389477"/>
                <a:gd name="connsiteX11" fmla="*/ 341757 w 397954"/>
                <a:gd name="connsiteY11" fmla="*/ 56959 h 389477"/>
                <a:gd name="connsiteX12" fmla="*/ 383096 w 397954"/>
                <a:gd name="connsiteY12" fmla="*/ 118396 h 389477"/>
                <a:gd name="connsiteX13" fmla="*/ 397955 w 397954"/>
                <a:gd name="connsiteY13" fmla="*/ 193643 h 389477"/>
                <a:gd name="connsiteX14" fmla="*/ 397955 w 397954"/>
                <a:gd name="connsiteY14" fmla="*/ 195072 h 389477"/>
                <a:gd name="connsiteX15" fmla="*/ 382714 w 397954"/>
                <a:gd name="connsiteY15" fmla="*/ 270034 h 389477"/>
                <a:gd name="connsiteX16" fmla="*/ 340995 w 397954"/>
                <a:gd name="connsiteY16" fmla="*/ 331851 h 389477"/>
                <a:gd name="connsiteX17" fmla="*/ 277749 w 397954"/>
                <a:gd name="connsiteY17" fmla="*/ 373856 h 389477"/>
                <a:gd name="connsiteX18" fmla="*/ 197834 w 397954"/>
                <a:gd name="connsiteY18" fmla="*/ 389382 h 389477"/>
                <a:gd name="connsiteX19" fmla="*/ 199263 w 397954"/>
                <a:gd name="connsiteY19" fmla="*/ 315278 h 389477"/>
                <a:gd name="connsiteX20" fmla="*/ 245936 w 397954"/>
                <a:gd name="connsiteY20" fmla="*/ 305753 h 389477"/>
                <a:gd name="connsiteX21" fmla="*/ 281369 w 397954"/>
                <a:gd name="connsiteY21" fmla="*/ 279940 h 389477"/>
                <a:gd name="connsiteX22" fmla="*/ 303848 w 397954"/>
                <a:gd name="connsiteY22" fmla="*/ 242125 h 389477"/>
                <a:gd name="connsiteX23" fmla="*/ 311563 w 397954"/>
                <a:gd name="connsiteY23" fmla="*/ 196501 h 389477"/>
                <a:gd name="connsiteX24" fmla="*/ 311563 w 397954"/>
                <a:gd name="connsiteY24" fmla="*/ 195072 h 389477"/>
                <a:gd name="connsiteX25" fmla="*/ 303181 w 397954"/>
                <a:gd name="connsiteY25" fmla="*/ 148400 h 389477"/>
                <a:gd name="connsiteX26" fmla="*/ 279654 w 397954"/>
                <a:gd name="connsiteY26" fmla="*/ 110204 h 389477"/>
                <a:gd name="connsiteX27" fmla="*/ 243840 w 397954"/>
                <a:gd name="connsiteY27" fmla="*/ 84392 h 389477"/>
                <a:gd name="connsiteX28" fmla="*/ 197834 w 397954"/>
                <a:gd name="connsiteY28" fmla="*/ 74867 h 389477"/>
                <a:gd name="connsiteX29" fmla="*/ 151829 w 397954"/>
                <a:gd name="connsiteY29" fmla="*/ 84392 h 389477"/>
                <a:gd name="connsiteX30" fmla="*/ 116396 w 397954"/>
                <a:gd name="connsiteY30" fmla="*/ 109823 h 389477"/>
                <a:gd name="connsiteX31" fmla="*/ 93916 w 397954"/>
                <a:gd name="connsiteY31" fmla="*/ 147638 h 389477"/>
                <a:gd name="connsiteX32" fmla="*/ 86201 w 397954"/>
                <a:gd name="connsiteY32" fmla="*/ 193548 h 389477"/>
                <a:gd name="connsiteX33" fmla="*/ 86201 w 397954"/>
                <a:gd name="connsiteY33" fmla="*/ 194977 h 389477"/>
                <a:gd name="connsiteX34" fmla="*/ 94583 w 397954"/>
                <a:gd name="connsiteY34" fmla="*/ 241268 h 389477"/>
                <a:gd name="connsiteX35" fmla="*/ 118110 w 397954"/>
                <a:gd name="connsiteY35" fmla="*/ 279463 h 389477"/>
                <a:gd name="connsiteX36" fmla="*/ 153924 w 397954"/>
                <a:gd name="connsiteY36" fmla="*/ 305562 h 389477"/>
                <a:gd name="connsiteX37" fmla="*/ 199263 w 397954"/>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954" h="389477">
                  <a:moveTo>
                    <a:pt x="197834" y="389477"/>
                  </a:moveTo>
                  <a:cubicBezTo>
                    <a:pt x="169545" y="389477"/>
                    <a:pt x="143351" y="384429"/>
                    <a:pt x="119063" y="374237"/>
                  </a:cubicBezTo>
                  <a:cubicBezTo>
                    <a:pt x="94774" y="364141"/>
                    <a:pt x="73819" y="350330"/>
                    <a:pt x="56198" y="332899"/>
                  </a:cubicBezTo>
                  <a:cubicBezTo>
                    <a:pt x="38576" y="315468"/>
                    <a:pt x="24765" y="294989"/>
                    <a:pt x="14859" y="271463"/>
                  </a:cubicBezTo>
                  <a:cubicBezTo>
                    <a:pt x="4953" y="247936"/>
                    <a:pt x="0" y="222980"/>
                    <a:pt x="0" y="196501"/>
                  </a:cubicBezTo>
                  <a:lnTo>
                    <a:pt x="0" y="195072"/>
                  </a:lnTo>
                  <a:cubicBezTo>
                    <a:pt x="0" y="168212"/>
                    <a:pt x="5049" y="143066"/>
                    <a:pt x="15240" y="119444"/>
                  </a:cubicBezTo>
                  <a:cubicBezTo>
                    <a:pt x="25337" y="95917"/>
                    <a:pt x="39243" y="75248"/>
                    <a:pt x="56960" y="57626"/>
                  </a:cubicBezTo>
                  <a:cubicBezTo>
                    <a:pt x="74676" y="39910"/>
                    <a:pt x="95631" y="25908"/>
                    <a:pt x="119825" y="15526"/>
                  </a:cubicBezTo>
                  <a:cubicBezTo>
                    <a:pt x="144113" y="5144"/>
                    <a:pt x="170593" y="0"/>
                    <a:pt x="199358" y="0"/>
                  </a:cubicBezTo>
                  <a:cubicBezTo>
                    <a:pt x="228124" y="0"/>
                    <a:pt x="254604" y="5048"/>
                    <a:pt x="278892" y="15240"/>
                  </a:cubicBezTo>
                  <a:cubicBezTo>
                    <a:pt x="303181" y="25337"/>
                    <a:pt x="324136" y="39243"/>
                    <a:pt x="341757" y="56959"/>
                  </a:cubicBezTo>
                  <a:cubicBezTo>
                    <a:pt x="359379" y="74676"/>
                    <a:pt x="373189" y="95155"/>
                    <a:pt x="383096" y="118396"/>
                  </a:cubicBezTo>
                  <a:cubicBezTo>
                    <a:pt x="393002" y="141732"/>
                    <a:pt x="397955" y="166783"/>
                    <a:pt x="397955" y="193643"/>
                  </a:cubicBezTo>
                  <a:lnTo>
                    <a:pt x="397955" y="195072"/>
                  </a:lnTo>
                  <a:cubicBezTo>
                    <a:pt x="397955" y="221456"/>
                    <a:pt x="392906" y="246412"/>
                    <a:pt x="382714" y="270034"/>
                  </a:cubicBezTo>
                  <a:cubicBezTo>
                    <a:pt x="372618" y="293561"/>
                    <a:pt x="358712" y="314230"/>
                    <a:pt x="340995" y="331851"/>
                  </a:cubicBezTo>
                  <a:cubicBezTo>
                    <a:pt x="323279" y="349472"/>
                    <a:pt x="302229" y="363569"/>
                    <a:pt x="277749" y="373856"/>
                  </a:cubicBezTo>
                  <a:cubicBezTo>
                    <a:pt x="253270" y="384238"/>
                    <a:pt x="226600" y="389382"/>
                    <a:pt x="197834" y="389382"/>
                  </a:cubicBezTo>
                  <a:close/>
                  <a:moveTo>
                    <a:pt x="199263" y="315278"/>
                  </a:moveTo>
                  <a:cubicBezTo>
                    <a:pt x="216598" y="315278"/>
                    <a:pt x="232124" y="312039"/>
                    <a:pt x="245936" y="305753"/>
                  </a:cubicBezTo>
                  <a:cubicBezTo>
                    <a:pt x="259747" y="299371"/>
                    <a:pt x="271558" y="290798"/>
                    <a:pt x="281369" y="279940"/>
                  </a:cubicBezTo>
                  <a:cubicBezTo>
                    <a:pt x="291179" y="269081"/>
                    <a:pt x="298704" y="256508"/>
                    <a:pt x="303848" y="242125"/>
                  </a:cubicBezTo>
                  <a:cubicBezTo>
                    <a:pt x="308991" y="227743"/>
                    <a:pt x="311563" y="212598"/>
                    <a:pt x="311563" y="196501"/>
                  </a:cubicBezTo>
                  <a:lnTo>
                    <a:pt x="311563" y="195072"/>
                  </a:lnTo>
                  <a:cubicBezTo>
                    <a:pt x="311563" y="178594"/>
                    <a:pt x="308706" y="163068"/>
                    <a:pt x="303181" y="148400"/>
                  </a:cubicBezTo>
                  <a:cubicBezTo>
                    <a:pt x="297561" y="133826"/>
                    <a:pt x="289750" y="121063"/>
                    <a:pt x="279654" y="110204"/>
                  </a:cubicBezTo>
                  <a:cubicBezTo>
                    <a:pt x="269557" y="99346"/>
                    <a:pt x="257651" y="90773"/>
                    <a:pt x="243840" y="84392"/>
                  </a:cubicBezTo>
                  <a:cubicBezTo>
                    <a:pt x="230029" y="78010"/>
                    <a:pt x="214694" y="74867"/>
                    <a:pt x="197834" y="74867"/>
                  </a:cubicBezTo>
                  <a:cubicBezTo>
                    <a:pt x="180975" y="74867"/>
                    <a:pt x="165640" y="78010"/>
                    <a:pt x="151829" y="84392"/>
                  </a:cubicBezTo>
                  <a:cubicBezTo>
                    <a:pt x="138017" y="90773"/>
                    <a:pt x="126206" y="99250"/>
                    <a:pt x="116396" y="109823"/>
                  </a:cubicBezTo>
                  <a:cubicBezTo>
                    <a:pt x="106585" y="120396"/>
                    <a:pt x="99060" y="133064"/>
                    <a:pt x="93916" y="147638"/>
                  </a:cubicBezTo>
                  <a:cubicBezTo>
                    <a:pt x="88773" y="162211"/>
                    <a:pt x="86201" y="177546"/>
                    <a:pt x="86201" y="193548"/>
                  </a:cubicBezTo>
                  <a:lnTo>
                    <a:pt x="86201" y="194977"/>
                  </a:lnTo>
                  <a:cubicBezTo>
                    <a:pt x="86201" y="211455"/>
                    <a:pt x="89059" y="226886"/>
                    <a:pt x="94583" y="241268"/>
                  </a:cubicBezTo>
                  <a:cubicBezTo>
                    <a:pt x="100203" y="255651"/>
                    <a:pt x="108014" y="268319"/>
                    <a:pt x="118110" y="279463"/>
                  </a:cubicBezTo>
                  <a:cubicBezTo>
                    <a:pt x="128207" y="290608"/>
                    <a:pt x="140113" y="299275"/>
                    <a:pt x="153924" y="305562"/>
                  </a:cubicBezTo>
                  <a:cubicBezTo>
                    <a:pt x="167735" y="311944"/>
                    <a:pt x="182785"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32" name="Freeform: Shape 31">
              <a:extLst>
                <a:ext uri="{FF2B5EF4-FFF2-40B4-BE49-F238E27FC236}">
                  <a16:creationId xmlns:a16="http://schemas.microsoft.com/office/drawing/2014/main" id="{6CE9338B-F380-CFF3-2C53-C290A7982438}"/>
                </a:ext>
              </a:extLst>
            </p:cNvPr>
            <p:cNvSpPr/>
            <p:nvPr/>
          </p:nvSpPr>
          <p:spPr>
            <a:xfrm>
              <a:off x="662071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1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7 w 296894"/>
                <a:gd name="connsiteY23" fmla="*/ 42863 h 386714"/>
                <a:gd name="connsiteX24" fmla="*/ 254318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7 w 296894"/>
                <a:gd name="connsiteY30" fmla="*/ 124587 h 386714"/>
                <a:gd name="connsiteX31" fmla="*/ 122682 w 296894"/>
                <a:gd name="connsiteY31" fmla="*/ 138017 h 386714"/>
                <a:gd name="connsiteX32" fmla="*/ 149543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6" y="348901"/>
                    <a:pt x="0" y="330327"/>
                  </a:cubicBezTo>
                  <a:lnTo>
                    <a:pt x="38195" y="272224"/>
                  </a:lnTo>
                  <a:cubicBezTo>
                    <a:pt x="58484" y="287274"/>
                    <a:pt x="79057" y="298704"/>
                    <a:pt x="100013" y="306514"/>
                  </a:cubicBezTo>
                  <a:cubicBezTo>
                    <a:pt x="120968" y="314325"/>
                    <a:pt x="141161" y="318135"/>
                    <a:pt x="160401" y="318135"/>
                  </a:cubicBezTo>
                  <a:cubicBezTo>
                    <a:pt x="179641" y="318135"/>
                    <a:pt x="192977"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1" y="241078"/>
                    <a:pt x="176498" y="237553"/>
                    <a:pt x="166401"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2" y="40195"/>
                    <a:pt x="56864" y="30385"/>
                  </a:cubicBezTo>
                  <a:cubicBezTo>
                    <a:pt x="68866" y="20479"/>
                    <a:pt x="82962" y="12954"/>
                    <a:pt x="99250" y="7810"/>
                  </a:cubicBezTo>
                  <a:cubicBezTo>
                    <a:pt x="115538" y="2667"/>
                    <a:pt x="132779" y="0"/>
                    <a:pt x="151162" y="0"/>
                  </a:cubicBezTo>
                  <a:cubicBezTo>
                    <a:pt x="174688" y="0"/>
                    <a:pt x="198501" y="3810"/>
                    <a:pt x="222504" y="11430"/>
                  </a:cubicBezTo>
                  <a:cubicBezTo>
                    <a:pt x="246507" y="19050"/>
                    <a:pt x="268414" y="29527"/>
                    <a:pt x="288227" y="42863"/>
                  </a:cubicBezTo>
                  <a:lnTo>
                    <a:pt x="254318"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7" y="124587"/>
                  </a:cubicBezTo>
                  <a:cubicBezTo>
                    <a:pt x="108585" y="129540"/>
                    <a:pt x="114871" y="134017"/>
                    <a:pt x="122682" y="138017"/>
                  </a:cubicBezTo>
                  <a:cubicBezTo>
                    <a:pt x="130493" y="142018"/>
                    <a:pt x="139351" y="145732"/>
                    <a:pt x="149543"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696"/>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33" name="Freeform: Shape 32">
              <a:extLst>
                <a:ext uri="{FF2B5EF4-FFF2-40B4-BE49-F238E27FC236}">
                  <a16:creationId xmlns:a16="http://schemas.microsoft.com/office/drawing/2014/main" id="{953BDA26-A78D-1AAD-F56B-3D744FE938CC}"/>
                </a:ext>
              </a:extLst>
            </p:cNvPr>
            <p:cNvSpPr/>
            <p:nvPr/>
          </p:nvSpPr>
          <p:spPr>
            <a:xfrm>
              <a:off x="526693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4 w 202977"/>
                <a:gd name="connsiteY17" fmla="*/ 19907 h 239267"/>
                <a:gd name="connsiteX18" fmla="*/ 59246 w 202977"/>
                <a:gd name="connsiteY18" fmla="*/ 5429 h 239267"/>
                <a:gd name="connsiteX19" fmla="*/ 104299 w 202977"/>
                <a:gd name="connsiteY19" fmla="*/ 0 h 239267"/>
                <a:gd name="connsiteX20" fmla="*/ 178880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5 w 202977"/>
                <a:gd name="connsiteY27" fmla="*/ 211169 h 239267"/>
                <a:gd name="connsiteX28" fmla="*/ 122968 w 202977"/>
                <a:gd name="connsiteY28" fmla="*/ 206788 h 239267"/>
                <a:gd name="connsiteX29" fmla="*/ 147257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9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9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3" y="99155"/>
                    <a:pt x="58674" y="95917"/>
                  </a:cubicBezTo>
                  <a:cubicBezTo>
                    <a:pt x="70771" y="92678"/>
                    <a:pt x="84011" y="90964"/>
                    <a:pt x="98584" y="90964"/>
                  </a:cubicBezTo>
                  <a:cubicBezTo>
                    <a:pt x="113157" y="90964"/>
                    <a:pt x="126301" y="91821"/>
                    <a:pt x="137160" y="93631"/>
                  </a:cubicBezTo>
                  <a:cubicBezTo>
                    <a:pt x="148019" y="95440"/>
                    <a:pt x="158687" y="97822"/>
                    <a:pt x="169069" y="100774"/>
                  </a:cubicBezTo>
                  <a:lnTo>
                    <a:pt x="169069" y="93726"/>
                  </a:lnTo>
                  <a:cubicBezTo>
                    <a:pt x="169069" y="73342"/>
                    <a:pt x="163068" y="57912"/>
                    <a:pt x="151162" y="47339"/>
                  </a:cubicBezTo>
                  <a:cubicBezTo>
                    <a:pt x="139256" y="36862"/>
                    <a:pt x="122492" y="31623"/>
                    <a:pt x="100679" y="31623"/>
                  </a:cubicBezTo>
                  <a:cubicBezTo>
                    <a:pt x="86963" y="31623"/>
                    <a:pt x="74581" y="33147"/>
                    <a:pt x="63437" y="36100"/>
                  </a:cubicBezTo>
                  <a:cubicBezTo>
                    <a:pt x="52292" y="39053"/>
                    <a:pt x="41339" y="43053"/>
                    <a:pt x="30671" y="48196"/>
                  </a:cubicBezTo>
                  <a:lnTo>
                    <a:pt x="20384" y="19907"/>
                  </a:lnTo>
                  <a:cubicBezTo>
                    <a:pt x="33147" y="13906"/>
                    <a:pt x="46101" y="9049"/>
                    <a:pt x="59246" y="5429"/>
                  </a:cubicBezTo>
                  <a:cubicBezTo>
                    <a:pt x="72295" y="1810"/>
                    <a:pt x="87344" y="0"/>
                    <a:pt x="104299" y="0"/>
                  </a:cubicBezTo>
                  <a:cubicBezTo>
                    <a:pt x="137065" y="0"/>
                    <a:pt x="161925" y="8477"/>
                    <a:pt x="178880"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99" y="239173"/>
                    <a:pt x="86011" y="239173"/>
                  </a:cubicBezTo>
                  <a:close/>
                  <a:moveTo>
                    <a:pt x="93155" y="211169"/>
                  </a:moveTo>
                  <a:cubicBezTo>
                    <a:pt x="103823" y="211169"/>
                    <a:pt x="113728" y="209740"/>
                    <a:pt x="122968" y="206788"/>
                  </a:cubicBezTo>
                  <a:cubicBezTo>
                    <a:pt x="132207" y="203835"/>
                    <a:pt x="140208" y="199644"/>
                    <a:pt x="147257"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9" y="121444"/>
                  </a:cubicBezTo>
                  <a:cubicBezTo>
                    <a:pt x="129445" y="119348"/>
                    <a:pt x="116776"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244" y="190500"/>
                    <a:pt x="47435" y="195358"/>
                    <a:pt x="52769" y="199263"/>
                  </a:cubicBezTo>
                  <a:cubicBezTo>
                    <a:pt x="58103" y="203073"/>
                    <a:pt x="64294" y="206026"/>
                    <a:pt x="71247" y="208121"/>
                  </a:cubicBezTo>
                  <a:cubicBezTo>
                    <a:pt x="78200" y="210217"/>
                    <a:pt x="85535"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34" name="Freeform: Shape 33">
              <a:extLst>
                <a:ext uri="{FF2B5EF4-FFF2-40B4-BE49-F238E27FC236}">
                  <a16:creationId xmlns:a16="http://schemas.microsoft.com/office/drawing/2014/main" id="{30731604-2009-B28A-FE88-BD35509F6999}"/>
                </a:ext>
              </a:extLst>
            </p:cNvPr>
            <p:cNvSpPr/>
            <p:nvPr/>
          </p:nvSpPr>
          <p:spPr>
            <a:xfrm>
              <a:off x="5331227"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9" y="303276"/>
                    <a:pt x="71438" y="300895"/>
                  </a:cubicBezTo>
                  <a:cubicBezTo>
                    <a:pt x="63437"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2"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5" name="Freeform: Shape 34">
              <a:extLst>
                <a:ext uri="{FF2B5EF4-FFF2-40B4-BE49-F238E27FC236}">
                  <a16:creationId xmlns:a16="http://schemas.microsoft.com/office/drawing/2014/main" id="{162290E6-5884-F5CE-E5CD-0E7EFEF1A2CA}"/>
                </a:ext>
              </a:extLst>
            </p:cNvPr>
            <p:cNvSpPr/>
            <p:nvPr/>
          </p:nvSpPr>
          <p:spPr>
            <a:xfrm>
              <a:off x="5381845"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191 w 39242"/>
                <a:gd name="connsiteY5" fmla="*/ 88392 h 319182"/>
                <a:gd name="connsiteX6" fmla="*/ 36576 w 39242"/>
                <a:gd name="connsiteY6" fmla="*/ 88392 h 319182"/>
                <a:gd name="connsiteX7" fmla="*/ 36576 w 39242"/>
                <a:gd name="connsiteY7" fmla="*/ 319183 h 319182"/>
                <a:gd name="connsiteX8" fmla="*/ 2191 w 39242"/>
                <a:gd name="connsiteY8" fmla="*/ 319183 h 319182"/>
                <a:gd name="connsiteX9" fmla="*/ 2191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191" y="88392"/>
                  </a:moveTo>
                  <a:lnTo>
                    <a:pt x="36576" y="88392"/>
                  </a:lnTo>
                  <a:lnTo>
                    <a:pt x="36576" y="319183"/>
                  </a:lnTo>
                  <a:lnTo>
                    <a:pt x="2191" y="319183"/>
                  </a:lnTo>
                  <a:lnTo>
                    <a:pt x="2191" y="88392"/>
                  </a:lnTo>
                  <a:close/>
                </a:path>
              </a:pathLst>
            </a:custGeom>
            <a:solidFill>
              <a:srgbClr val="44505E"/>
            </a:solidFill>
            <a:ln w="9525" cap="flat">
              <a:noFill/>
              <a:prstDash val="solid"/>
              <a:miter/>
            </a:ln>
          </p:spPr>
          <p:txBody>
            <a:bodyPr rtlCol="0" anchor="ctr"/>
            <a:lstStyle/>
            <a:p>
              <a:endParaRPr lang="pt-BR" noProof="0"/>
            </a:p>
          </p:txBody>
        </p:sp>
        <p:sp>
          <p:nvSpPr>
            <p:cNvPr id="36" name="Freeform: Shape 35">
              <a:extLst>
                <a:ext uri="{FF2B5EF4-FFF2-40B4-BE49-F238E27FC236}">
                  <a16:creationId xmlns:a16="http://schemas.microsoft.com/office/drawing/2014/main" id="{CEC7ADBE-6731-9A5B-8F41-EEDC83DF53F2}"/>
                </a:ext>
              </a:extLst>
            </p:cNvPr>
            <p:cNvSpPr/>
            <p:nvPr/>
          </p:nvSpPr>
          <p:spPr>
            <a:xfrm>
              <a:off x="5406076"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8" y="303276"/>
                    <a:pt x="71438" y="300895"/>
                  </a:cubicBezTo>
                  <a:cubicBezTo>
                    <a:pt x="63436"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1"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7" name="Freeform: Shape 36">
              <a:extLst>
                <a:ext uri="{FF2B5EF4-FFF2-40B4-BE49-F238E27FC236}">
                  <a16:creationId xmlns:a16="http://schemas.microsoft.com/office/drawing/2014/main" id="{EDFA25DD-2E4A-57AE-EF8A-E66D8C578A41}"/>
                </a:ext>
              </a:extLst>
            </p:cNvPr>
            <p:cNvSpPr/>
            <p:nvPr/>
          </p:nvSpPr>
          <p:spPr>
            <a:xfrm>
              <a:off x="5455545" y="925297"/>
              <a:ext cx="50594" cy="59238"/>
            </a:xfrm>
            <a:custGeom>
              <a:avLst/>
              <a:gdLst>
                <a:gd name="connsiteX0" fmla="*/ 88392 w 201263"/>
                <a:gd name="connsiteY0" fmla="*/ 235648 h 235648"/>
                <a:gd name="connsiteX1" fmla="*/ 51149 w 201263"/>
                <a:gd name="connsiteY1" fmla="*/ 228981 h 235648"/>
                <a:gd name="connsiteX2" fmla="*/ 23431 w 201263"/>
                <a:gd name="connsiteY2" fmla="*/ 210026 h 235648"/>
                <a:gd name="connsiteX3" fmla="*/ 6001 w 201263"/>
                <a:gd name="connsiteY3" fmla="*/ 180784 h 235648"/>
                <a:gd name="connsiteX4" fmla="*/ 0 w 201263"/>
                <a:gd name="connsiteY4" fmla="*/ 143256 h 235648"/>
                <a:gd name="connsiteX5" fmla="*/ 0 w 201263"/>
                <a:gd name="connsiteY5" fmla="*/ 0 h 235648"/>
                <a:gd name="connsiteX6" fmla="*/ 34385 w 201263"/>
                <a:gd name="connsiteY6" fmla="*/ 0 h 235648"/>
                <a:gd name="connsiteX7" fmla="*/ 34385 w 201263"/>
                <a:gd name="connsiteY7" fmla="*/ 134493 h 235648"/>
                <a:gd name="connsiteX8" fmla="*/ 50864 w 201263"/>
                <a:gd name="connsiteY8" fmla="*/ 185261 h 235648"/>
                <a:gd name="connsiteX9" fmla="*/ 98203 w 201263"/>
                <a:gd name="connsiteY9" fmla="*/ 203930 h 235648"/>
                <a:gd name="connsiteX10" fmla="*/ 125635 w 201263"/>
                <a:gd name="connsiteY10" fmla="*/ 198787 h 235648"/>
                <a:gd name="connsiteX11" fmla="*/ 147542 w 201263"/>
                <a:gd name="connsiteY11" fmla="*/ 184118 h 235648"/>
                <a:gd name="connsiteX12" fmla="*/ 162020 w 201263"/>
                <a:gd name="connsiteY12" fmla="*/ 161163 h 235648"/>
                <a:gd name="connsiteX13" fmla="*/ 167354 w 201263"/>
                <a:gd name="connsiteY13" fmla="*/ 131826 h 235648"/>
                <a:gd name="connsiteX14" fmla="*/ 167354 w 201263"/>
                <a:gd name="connsiteY14" fmla="*/ 0 h 235648"/>
                <a:gd name="connsiteX15" fmla="*/ 201263 w 201263"/>
                <a:gd name="connsiteY15" fmla="*/ 0 h 235648"/>
                <a:gd name="connsiteX16" fmla="*/ 201263 w 201263"/>
                <a:gd name="connsiteY16" fmla="*/ 230791 h 235648"/>
                <a:gd name="connsiteX17" fmla="*/ 167354 w 201263"/>
                <a:gd name="connsiteY17" fmla="*/ 230791 h 235648"/>
                <a:gd name="connsiteX18" fmla="*/ 167354 w 201263"/>
                <a:gd name="connsiteY18" fmla="*/ 190595 h 235648"/>
                <a:gd name="connsiteX19" fmla="*/ 136969 w 201263"/>
                <a:gd name="connsiteY19" fmla="*/ 222504 h 235648"/>
                <a:gd name="connsiteX20" fmla="*/ 88297 w 201263"/>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263" h="235648">
                  <a:moveTo>
                    <a:pt x="88392" y="235648"/>
                  </a:moveTo>
                  <a:cubicBezTo>
                    <a:pt x="74390" y="235648"/>
                    <a:pt x="62008" y="233363"/>
                    <a:pt x="51149" y="228981"/>
                  </a:cubicBezTo>
                  <a:cubicBezTo>
                    <a:pt x="40291" y="224504"/>
                    <a:pt x="31052" y="218218"/>
                    <a:pt x="23431"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864" y="185261"/>
                  </a:cubicBezTo>
                  <a:cubicBezTo>
                    <a:pt x="61913" y="197739"/>
                    <a:pt x="77629" y="203930"/>
                    <a:pt x="98203" y="203930"/>
                  </a:cubicBezTo>
                  <a:cubicBezTo>
                    <a:pt x="108014" y="203930"/>
                    <a:pt x="117158" y="202216"/>
                    <a:pt x="125635" y="198787"/>
                  </a:cubicBezTo>
                  <a:cubicBezTo>
                    <a:pt x="134112" y="195358"/>
                    <a:pt x="141351" y="190500"/>
                    <a:pt x="147542" y="184118"/>
                  </a:cubicBezTo>
                  <a:cubicBezTo>
                    <a:pt x="153638" y="177736"/>
                    <a:pt x="158496" y="170116"/>
                    <a:pt x="162020" y="161163"/>
                  </a:cubicBezTo>
                  <a:cubicBezTo>
                    <a:pt x="165640" y="152305"/>
                    <a:pt x="167354" y="142494"/>
                    <a:pt x="167354" y="131826"/>
                  </a:cubicBezTo>
                  <a:lnTo>
                    <a:pt x="167354" y="0"/>
                  </a:lnTo>
                  <a:lnTo>
                    <a:pt x="201263" y="0"/>
                  </a:lnTo>
                  <a:lnTo>
                    <a:pt x="201263" y="230791"/>
                  </a:lnTo>
                  <a:lnTo>
                    <a:pt x="167354" y="230791"/>
                  </a:lnTo>
                  <a:lnTo>
                    <a:pt x="167354" y="190595"/>
                  </a:lnTo>
                  <a:cubicBezTo>
                    <a:pt x="159639" y="203073"/>
                    <a:pt x="149447" y="213741"/>
                    <a:pt x="136969" y="222504"/>
                  </a:cubicBezTo>
                  <a:cubicBezTo>
                    <a:pt x="124492" y="231267"/>
                    <a:pt x="108299" y="235648"/>
                    <a:pt x="88297" y="235648"/>
                  </a:cubicBezTo>
                  <a:close/>
                </a:path>
              </a:pathLst>
            </a:custGeom>
            <a:solidFill>
              <a:srgbClr val="44505E"/>
            </a:solidFill>
            <a:ln w="9525" cap="flat">
              <a:noFill/>
              <a:prstDash val="solid"/>
              <a:miter/>
            </a:ln>
          </p:spPr>
          <p:txBody>
            <a:bodyPr rtlCol="0" anchor="ctr"/>
            <a:lstStyle/>
            <a:p>
              <a:endParaRPr lang="pt-BR" noProof="0"/>
            </a:p>
          </p:txBody>
        </p:sp>
        <p:sp>
          <p:nvSpPr>
            <p:cNvPr id="38" name="Freeform: Shape 37">
              <a:extLst>
                <a:ext uri="{FF2B5EF4-FFF2-40B4-BE49-F238E27FC236}">
                  <a16:creationId xmlns:a16="http://schemas.microsoft.com/office/drawing/2014/main" id="{67EBC025-90A5-2B9A-4A3E-74B8879D8F27}"/>
                </a:ext>
              </a:extLst>
            </p:cNvPr>
            <p:cNvSpPr/>
            <p:nvPr/>
          </p:nvSpPr>
          <p:spPr>
            <a:xfrm>
              <a:off x="5522205" y="901353"/>
              <a:ext cx="58567" cy="83182"/>
            </a:xfrm>
            <a:custGeom>
              <a:avLst/>
              <a:gdLst>
                <a:gd name="connsiteX0" fmla="*/ 110204 w 232981"/>
                <a:gd name="connsiteY0" fmla="*/ 330898 h 330898"/>
                <a:gd name="connsiteX1" fmla="*/ 69628 w 232981"/>
                <a:gd name="connsiteY1" fmla="*/ 322897 h 330898"/>
                <a:gd name="connsiteX2" fmla="*/ 34385 w 232981"/>
                <a:gd name="connsiteY2" fmla="*/ 299466 h 330898"/>
                <a:gd name="connsiteX3" fmla="*/ 9334 w 232981"/>
                <a:gd name="connsiteY3" fmla="*/ 261938 h 330898"/>
                <a:gd name="connsiteX4" fmla="*/ 0 w 232981"/>
                <a:gd name="connsiteY4" fmla="*/ 211264 h 330898"/>
                <a:gd name="connsiteX5" fmla="*/ 0 w 232981"/>
                <a:gd name="connsiteY5" fmla="*/ 210407 h 330898"/>
                <a:gd name="connsiteX6" fmla="*/ 9334 w 232981"/>
                <a:gd name="connsiteY6" fmla="*/ 159925 h 330898"/>
                <a:gd name="connsiteX7" fmla="*/ 34385 w 232981"/>
                <a:gd name="connsiteY7" fmla="*/ 122206 h 330898"/>
                <a:gd name="connsiteX8" fmla="*/ 69628 w 232981"/>
                <a:gd name="connsiteY8" fmla="*/ 98488 h 330898"/>
                <a:gd name="connsiteX9" fmla="*/ 110204 w 232981"/>
                <a:gd name="connsiteY9" fmla="*/ 90202 h 330898"/>
                <a:gd name="connsiteX10" fmla="*/ 139636 w 232981"/>
                <a:gd name="connsiteY10" fmla="*/ 94202 h 330898"/>
                <a:gd name="connsiteX11" fmla="*/ 163735 w 232981"/>
                <a:gd name="connsiteY11" fmla="*/ 104870 h 330898"/>
                <a:gd name="connsiteX12" fmla="*/ 183166 w 232981"/>
                <a:gd name="connsiteY12" fmla="*/ 120491 h 330898"/>
                <a:gd name="connsiteX13" fmla="*/ 198596 w 232981"/>
                <a:gd name="connsiteY13" fmla="*/ 139255 h 330898"/>
                <a:gd name="connsiteX14" fmla="*/ 198596 w 232981"/>
                <a:gd name="connsiteY14" fmla="*/ 0 h 330898"/>
                <a:gd name="connsiteX15" fmla="*/ 232981 w 232981"/>
                <a:gd name="connsiteY15" fmla="*/ 0 h 330898"/>
                <a:gd name="connsiteX16" fmla="*/ 232981 w 232981"/>
                <a:gd name="connsiteY16" fmla="*/ 325850 h 330898"/>
                <a:gd name="connsiteX17" fmla="*/ 198596 w 232981"/>
                <a:gd name="connsiteY17" fmla="*/ 325850 h 330898"/>
                <a:gd name="connsiteX18" fmla="*/ 198596 w 232981"/>
                <a:gd name="connsiteY18" fmla="*/ 279463 h 330898"/>
                <a:gd name="connsiteX19" fmla="*/ 182785 w 232981"/>
                <a:gd name="connsiteY19" fmla="*/ 299085 h 330898"/>
                <a:gd name="connsiteX20" fmla="*/ 163354 w 232981"/>
                <a:gd name="connsiteY20" fmla="*/ 315658 h 330898"/>
                <a:gd name="connsiteX21" fmla="*/ 139446 w 232981"/>
                <a:gd name="connsiteY21" fmla="*/ 326803 h 330898"/>
                <a:gd name="connsiteX22" fmla="*/ 110204 w 232981"/>
                <a:gd name="connsiteY22" fmla="*/ 330803 h 330898"/>
                <a:gd name="connsiteX23" fmla="*/ 116491 w 232981"/>
                <a:gd name="connsiteY23" fmla="*/ 300133 h 330898"/>
                <a:gd name="connsiteX24" fmla="*/ 147542 w 232981"/>
                <a:gd name="connsiteY24" fmla="*/ 293656 h 330898"/>
                <a:gd name="connsiteX25" fmla="*/ 174307 w 232981"/>
                <a:gd name="connsiteY25" fmla="*/ 275368 h 330898"/>
                <a:gd name="connsiteX26" fmla="*/ 193072 w 232981"/>
                <a:gd name="connsiteY26" fmla="*/ 247269 h 330898"/>
                <a:gd name="connsiteX27" fmla="*/ 200025 w 232981"/>
                <a:gd name="connsiteY27" fmla="*/ 210883 h 330898"/>
                <a:gd name="connsiteX28" fmla="*/ 200025 w 232981"/>
                <a:gd name="connsiteY28" fmla="*/ 210026 h 330898"/>
                <a:gd name="connsiteX29" fmla="*/ 193072 w 232981"/>
                <a:gd name="connsiteY29" fmla="*/ 173641 h 330898"/>
                <a:gd name="connsiteX30" fmla="*/ 174307 w 232981"/>
                <a:gd name="connsiteY30" fmla="*/ 145732 h 330898"/>
                <a:gd name="connsiteX31" fmla="*/ 147542 w 232981"/>
                <a:gd name="connsiteY31" fmla="*/ 127635 h 330898"/>
                <a:gd name="connsiteX32" fmla="*/ 116491 w 232981"/>
                <a:gd name="connsiteY32" fmla="*/ 121158 h 330898"/>
                <a:gd name="connsiteX33" fmla="*/ 84772 w 232981"/>
                <a:gd name="connsiteY33" fmla="*/ 127159 h 330898"/>
                <a:gd name="connsiteX34" fmla="*/ 59150 w 232981"/>
                <a:gd name="connsiteY34" fmla="*/ 144589 h 330898"/>
                <a:gd name="connsiteX35" fmla="*/ 41719 w 232981"/>
                <a:gd name="connsiteY35" fmla="*/ 172498 h 330898"/>
                <a:gd name="connsiteX36" fmla="*/ 35242 w 232981"/>
                <a:gd name="connsiteY36" fmla="*/ 210026 h 330898"/>
                <a:gd name="connsiteX37" fmla="*/ 35242 w 232981"/>
                <a:gd name="connsiteY37" fmla="*/ 210883 h 330898"/>
                <a:gd name="connsiteX38" fmla="*/ 41719 w 232981"/>
                <a:gd name="connsiteY38" fmla="*/ 247936 h 330898"/>
                <a:gd name="connsiteX39" fmla="*/ 59341 w 232981"/>
                <a:gd name="connsiteY39" fmla="*/ 276034 h 330898"/>
                <a:gd name="connsiteX40" fmla="*/ 85249 w 232981"/>
                <a:gd name="connsiteY40" fmla="*/ 293941 h 330898"/>
                <a:gd name="connsiteX41" fmla="*/ 116491 w 23298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30898">
                  <a:moveTo>
                    <a:pt x="110204" y="330898"/>
                  </a:moveTo>
                  <a:cubicBezTo>
                    <a:pt x="96202" y="330898"/>
                    <a:pt x="82677" y="328231"/>
                    <a:pt x="69628" y="322897"/>
                  </a:cubicBezTo>
                  <a:cubicBezTo>
                    <a:pt x="56578" y="317563"/>
                    <a:pt x="44767" y="309753"/>
                    <a:pt x="34385" y="299466"/>
                  </a:cubicBezTo>
                  <a:cubicBezTo>
                    <a:pt x="24003" y="289179"/>
                    <a:pt x="15621" y="276701"/>
                    <a:pt x="9334" y="261938"/>
                  </a:cubicBezTo>
                  <a:cubicBezTo>
                    <a:pt x="3048" y="247174"/>
                    <a:pt x="0" y="230314"/>
                    <a:pt x="0" y="211264"/>
                  </a:cubicBezTo>
                  <a:lnTo>
                    <a:pt x="0" y="210407"/>
                  </a:lnTo>
                  <a:cubicBezTo>
                    <a:pt x="0" y="191643"/>
                    <a:pt x="3143" y="174879"/>
                    <a:pt x="9334" y="159925"/>
                  </a:cubicBezTo>
                  <a:cubicBezTo>
                    <a:pt x="15621" y="145066"/>
                    <a:pt x="23908" y="132493"/>
                    <a:pt x="34385" y="122206"/>
                  </a:cubicBezTo>
                  <a:cubicBezTo>
                    <a:pt x="44767" y="111919"/>
                    <a:pt x="56578" y="104013"/>
                    <a:pt x="69628" y="98488"/>
                  </a:cubicBezTo>
                  <a:cubicBezTo>
                    <a:pt x="82677" y="92964"/>
                    <a:pt x="96298" y="90202"/>
                    <a:pt x="110204" y="90202"/>
                  </a:cubicBezTo>
                  <a:cubicBezTo>
                    <a:pt x="120967" y="90202"/>
                    <a:pt x="130778" y="91535"/>
                    <a:pt x="139636" y="94202"/>
                  </a:cubicBezTo>
                  <a:cubicBezTo>
                    <a:pt x="148590" y="96869"/>
                    <a:pt x="156591" y="100489"/>
                    <a:pt x="163735" y="104870"/>
                  </a:cubicBezTo>
                  <a:cubicBezTo>
                    <a:pt x="170878" y="109347"/>
                    <a:pt x="177356" y="114586"/>
                    <a:pt x="183166" y="120491"/>
                  </a:cubicBezTo>
                  <a:cubicBezTo>
                    <a:pt x="188976" y="126492"/>
                    <a:pt x="194119" y="132683"/>
                    <a:pt x="198596" y="139255"/>
                  </a:cubicBezTo>
                  <a:lnTo>
                    <a:pt x="198596" y="0"/>
                  </a:lnTo>
                  <a:lnTo>
                    <a:pt x="232981" y="0"/>
                  </a:lnTo>
                  <a:lnTo>
                    <a:pt x="232981" y="325850"/>
                  </a:lnTo>
                  <a:lnTo>
                    <a:pt x="198596" y="325850"/>
                  </a:lnTo>
                  <a:lnTo>
                    <a:pt x="198596" y="279463"/>
                  </a:lnTo>
                  <a:cubicBezTo>
                    <a:pt x="193834" y="286321"/>
                    <a:pt x="188595" y="292894"/>
                    <a:pt x="182785" y="299085"/>
                  </a:cubicBezTo>
                  <a:cubicBezTo>
                    <a:pt x="176974" y="305371"/>
                    <a:pt x="170498" y="310896"/>
                    <a:pt x="163354" y="315658"/>
                  </a:cubicBezTo>
                  <a:cubicBezTo>
                    <a:pt x="156210" y="320421"/>
                    <a:pt x="148209" y="324136"/>
                    <a:pt x="139446" y="326803"/>
                  </a:cubicBezTo>
                  <a:cubicBezTo>
                    <a:pt x="130683" y="329470"/>
                    <a:pt x="120967" y="330803"/>
                    <a:pt x="110204" y="330803"/>
                  </a:cubicBezTo>
                  <a:close/>
                  <a:moveTo>
                    <a:pt x="116491" y="300133"/>
                  </a:moveTo>
                  <a:cubicBezTo>
                    <a:pt x="127159" y="300133"/>
                    <a:pt x="137541" y="297942"/>
                    <a:pt x="147542" y="293656"/>
                  </a:cubicBezTo>
                  <a:cubicBezTo>
                    <a:pt x="157544" y="289369"/>
                    <a:pt x="166402" y="283273"/>
                    <a:pt x="174307" y="275368"/>
                  </a:cubicBezTo>
                  <a:cubicBezTo>
                    <a:pt x="182213" y="267462"/>
                    <a:pt x="188404" y="258127"/>
                    <a:pt x="193072" y="247269"/>
                  </a:cubicBezTo>
                  <a:cubicBezTo>
                    <a:pt x="197644" y="236410"/>
                    <a:pt x="200025" y="224314"/>
                    <a:pt x="200025" y="210883"/>
                  </a:cubicBezTo>
                  <a:lnTo>
                    <a:pt x="200025" y="210026"/>
                  </a:lnTo>
                  <a:cubicBezTo>
                    <a:pt x="200025" y="196596"/>
                    <a:pt x="197739" y="184499"/>
                    <a:pt x="193072" y="173641"/>
                  </a:cubicBezTo>
                  <a:cubicBezTo>
                    <a:pt x="188500" y="162782"/>
                    <a:pt x="182213" y="153448"/>
                    <a:pt x="174307" y="145732"/>
                  </a:cubicBezTo>
                  <a:cubicBezTo>
                    <a:pt x="166402" y="138017"/>
                    <a:pt x="157448" y="132016"/>
                    <a:pt x="147542" y="127635"/>
                  </a:cubicBezTo>
                  <a:cubicBezTo>
                    <a:pt x="137541" y="123349"/>
                    <a:pt x="127254" y="121158"/>
                    <a:pt x="116491" y="121158"/>
                  </a:cubicBezTo>
                  <a:cubicBezTo>
                    <a:pt x="105156" y="121158"/>
                    <a:pt x="94583" y="123158"/>
                    <a:pt x="84772" y="127159"/>
                  </a:cubicBezTo>
                  <a:cubicBezTo>
                    <a:pt x="74962" y="131159"/>
                    <a:pt x="66389" y="136969"/>
                    <a:pt x="59150" y="144589"/>
                  </a:cubicBezTo>
                  <a:cubicBezTo>
                    <a:pt x="51816" y="152114"/>
                    <a:pt x="46101" y="161449"/>
                    <a:pt x="41719" y="172498"/>
                  </a:cubicBezTo>
                  <a:cubicBezTo>
                    <a:pt x="37433" y="183451"/>
                    <a:pt x="35242" y="196024"/>
                    <a:pt x="35242" y="210026"/>
                  </a:cubicBezTo>
                  <a:lnTo>
                    <a:pt x="35242" y="210883"/>
                  </a:lnTo>
                  <a:cubicBezTo>
                    <a:pt x="35242" y="224599"/>
                    <a:pt x="37433" y="236982"/>
                    <a:pt x="41719" y="247936"/>
                  </a:cubicBezTo>
                  <a:cubicBezTo>
                    <a:pt x="46006" y="258984"/>
                    <a:pt x="51911" y="268319"/>
                    <a:pt x="59341" y="276034"/>
                  </a:cubicBezTo>
                  <a:cubicBezTo>
                    <a:pt x="66770" y="283750"/>
                    <a:pt x="75438" y="289750"/>
                    <a:pt x="85249" y="293941"/>
                  </a:cubicBezTo>
                  <a:cubicBezTo>
                    <a:pt x="95059" y="298132"/>
                    <a:pt x="105442" y="300228"/>
                    <a:pt x="116491" y="300228"/>
                  </a:cubicBezTo>
                  <a:close/>
                </a:path>
              </a:pathLst>
            </a:custGeom>
            <a:solidFill>
              <a:srgbClr val="44505E"/>
            </a:solidFill>
            <a:ln w="9525" cap="flat">
              <a:noFill/>
              <a:prstDash val="solid"/>
              <a:miter/>
            </a:ln>
          </p:spPr>
          <p:txBody>
            <a:bodyPr rtlCol="0" anchor="ctr"/>
            <a:lstStyle/>
            <a:p>
              <a:endParaRPr lang="pt-BR" noProof="0"/>
            </a:p>
          </p:txBody>
        </p:sp>
        <p:sp>
          <p:nvSpPr>
            <p:cNvPr id="39" name="Freeform: Shape 38">
              <a:extLst>
                <a:ext uri="{FF2B5EF4-FFF2-40B4-BE49-F238E27FC236}">
                  <a16:creationId xmlns:a16="http://schemas.microsoft.com/office/drawing/2014/main" id="{7C93BC15-BE57-B277-D95B-C8050D70768F}"/>
                </a:ext>
              </a:extLst>
            </p:cNvPr>
            <p:cNvSpPr/>
            <p:nvPr/>
          </p:nvSpPr>
          <p:spPr>
            <a:xfrm>
              <a:off x="5596504"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6963 w 218217"/>
                <a:gd name="connsiteY3" fmla="*/ 206026 h 241077"/>
                <a:gd name="connsiteX4" fmla="*/ 116015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8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1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452 w 218217"/>
                <a:gd name="connsiteY25" fmla="*/ 106299 h 241077"/>
                <a:gd name="connsiteX26" fmla="*/ 176784 w 218217"/>
                <a:gd name="connsiteY26" fmla="*/ 76771 h 241077"/>
                <a:gd name="connsiteX27" fmla="*/ 162306 w 218217"/>
                <a:gd name="connsiteY27" fmla="*/ 52101 h 241077"/>
                <a:gd name="connsiteX28" fmla="*/ 140018 w 218217"/>
                <a:gd name="connsiteY28" fmla="*/ 35242 h 241077"/>
                <a:gd name="connsiteX29" fmla="*/ 109919 w 218217"/>
                <a:gd name="connsiteY29" fmla="*/ 29051 h 241077"/>
                <a:gd name="connsiteX30" fmla="*/ 82201 w 218217"/>
                <a:gd name="connsiteY30" fmla="*/ 34766 h 241077"/>
                <a:gd name="connsiteX31" fmla="*/ 59436 w 218217"/>
                <a:gd name="connsiteY31" fmla="*/ 50959 h 241077"/>
                <a:gd name="connsiteX32" fmla="*/ 43148 w 218217"/>
                <a:gd name="connsiteY32" fmla="*/ 75628 h 241077"/>
                <a:gd name="connsiteX33" fmla="*/ 34862 w 218217"/>
                <a:gd name="connsiteY33" fmla="*/ 106204 h 241077"/>
                <a:gd name="connsiteX34" fmla="*/ 183547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724" y="202597"/>
                    <a:pt x="86963" y="206026"/>
                  </a:cubicBezTo>
                  <a:cubicBezTo>
                    <a:pt x="96203" y="209455"/>
                    <a:pt x="105823" y="211169"/>
                    <a:pt x="116015" y="211169"/>
                  </a:cubicBezTo>
                  <a:cubicBezTo>
                    <a:pt x="132112" y="211169"/>
                    <a:pt x="145828" y="208216"/>
                    <a:pt x="157353" y="202216"/>
                  </a:cubicBezTo>
                  <a:cubicBezTo>
                    <a:pt x="168783" y="196310"/>
                    <a:pt x="179261" y="188404"/>
                    <a:pt x="188786" y="178594"/>
                  </a:cubicBezTo>
                  <a:lnTo>
                    <a:pt x="210217" y="197834"/>
                  </a:lnTo>
                  <a:cubicBezTo>
                    <a:pt x="198596" y="210979"/>
                    <a:pt x="185357" y="221361"/>
                    <a:pt x="170498" y="229267"/>
                  </a:cubicBezTo>
                  <a:cubicBezTo>
                    <a:pt x="155639"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679" y="0"/>
                    <a:pt x="110681"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452" y="106299"/>
                  </a:moveTo>
                  <a:cubicBezTo>
                    <a:pt x="182594" y="95917"/>
                    <a:pt x="180308" y="86106"/>
                    <a:pt x="176784" y="76771"/>
                  </a:cubicBezTo>
                  <a:cubicBezTo>
                    <a:pt x="173165" y="67437"/>
                    <a:pt x="168402" y="59245"/>
                    <a:pt x="162306" y="52101"/>
                  </a:cubicBezTo>
                  <a:cubicBezTo>
                    <a:pt x="156210" y="44958"/>
                    <a:pt x="148781" y="39338"/>
                    <a:pt x="140018" y="35242"/>
                  </a:cubicBezTo>
                  <a:cubicBezTo>
                    <a:pt x="131254" y="31147"/>
                    <a:pt x="121158" y="29051"/>
                    <a:pt x="109919" y="29051"/>
                  </a:cubicBezTo>
                  <a:cubicBezTo>
                    <a:pt x="100108" y="29051"/>
                    <a:pt x="90869" y="30956"/>
                    <a:pt x="82201" y="34766"/>
                  </a:cubicBezTo>
                  <a:cubicBezTo>
                    <a:pt x="73533" y="38671"/>
                    <a:pt x="66008" y="44005"/>
                    <a:pt x="59436" y="50959"/>
                  </a:cubicBezTo>
                  <a:cubicBezTo>
                    <a:pt x="52864" y="57912"/>
                    <a:pt x="47435" y="66103"/>
                    <a:pt x="43148" y="75628"/>
                  </a:cubicBezTo>
                  <a:cubicBezTo>
                    <a:pt x="38862" y="85058"/>
                    <a:pt x="36100" y="95345"/>
                    <a:pt x="34862" y="106204"/>
                  </a:cubicBezTo>
                  <a:lnTo>
                    <a:pt x="183547" y="106204"/>
                  </a:lnTo>
                  <a:close/>
                </a:path>
              </a:pathLst>
            </a:custGeom>
            <a:solidFill>
              <a:srgbClr val="44505E"/>
            </a:solidFill>
            <a:ln w="9525" cap="flat">
              <a:noFill/>
              <a:prstDash val="solid"/>
              <a:miter/>
            </a:ln>
          </p:spPr>
          <p:txBody>
            <a:bodyPr rtlCol="0" anchor="ctr"/>
            <a:lstStyle/>
            <a:p>
              <a:endParaRPr lang="pt-BR" noProof="0"/>
            </a:p>
          </p:txBody>
        </p:sp>
        <p:sp>
          <p:nvSpPr>
            <p:cNvPr id="40" name="Freeform: Shape 39">
              <a:extLst>
                <a:ext uri="{FF2B5EF4-FFF2-40B4-BE49-F238E27FC236}">
                  <a16:creationId xmlns:a16="http://schemas.microsoft.com/office/drawing/2014/main" id="{4E92E97A-4ED8-C94A-16E9-C9A17D60E9C8}"/>
                </a:ext>
              </a:extLst>
            </p:cNvPr>
            <p:cNvSpPr/>
            <p:nvPr/>
          </p:nvSpPr>
          <p:spPr>
            <a:xfrm>
              <a:off x="5661680" y="924268"/>
              <a:ext cx="44656" cy="60195"/>
            </a:xfrm>
            <a:custGeom>
              <a:avLst/>
              <a:gdLst>
                <a:gd name="connsiteX0" fmla="*/ 95536 w 177641"/>
                <a:gd name="connsiteY0" fmla="*/ 239268 h 239458"/>
                <a:gd name="connsiteX1" fmla="*/ 45053 w 177641"/>
                <a:gd name="connsiteY1" fmla="*/ 230124 h 239458"/>
                <a:gd name="connsiteX2" fmla="*/ 0 w 177641"/>
                <a:gd name="connsiteY2" fmla="*/ 205359 h 239458"/>
                <a:gd name="connsiteX3" fmla="*/ 17431 w 177641"/>
                <a:gd name="connsiteY3" fmla="*/ 180785 h 239458"/>
                <a:gd name="connsiteX4" fmla="*/ 56483 w 177641"/>
                <a:gd name="connsiteY4" fmla="*/ 202692 h 239458"/>
                <a:gd name="connsiteX5" fmla="*/ 97346 w 177641"/>
                <a:gd name="connsiteY5" fmla="*/ 210217 h 239458"/>
                <a:gd name="connsiteX6" fmla="*/ 131731 w 177641"/>
                <a:gd name="connsiteY6" fmla="*/ 200406 h 239458"/>
                <a:gd name="connsiteX7" fmla="*/ 145161 w 177641"/>
                <a:gd name="connsiteY7" fmla="*/ 173641 h 239458"/>
                <a:gd name="connsiteX8" fmla="*/ 145161 w 177641"/>
                <a:gd name="connsiteY8" fmla="*/ 172784 h 239458"/>
                <a:gd name="connsiteX9" fmla="*/ 140494 w 177641"/>
                <a:gd name="connsiteY9" fmla="*/ 158020 h 239458"/>
                <a:gd name="connsiteX10" fmla="*/ 127730 w 177641"/>
                <a:gd name="connsiteY10" fmla="*/ 147066 h 239458"/>
                <a:gd name="connsiteX11" fmla="*/ 109157 w 177641"/>
                <a:gd name="connsiteY11" fmla="*/ 138779 h 239458"/>
                <a:gd name="connsiteX12" fmla="*/ 87535 w 177641"/>
                <a:gd name="connsiteY12" fmla="*/ 132112 h 239458"/>
                <a:gd name="connsiteX13" fmla="*/ 60484 w 177641"/>
                <a:gd name="connsiteY13" fmla="*/ 123444 h 239458"/>
                <a:gd name="connsiteX14" fmla="*/ 35909 w 177641"/>
                <a:gd name="connsiteY14" fmla="*/ 111633 h 239458"/>
                <a:gd name="connsiteX15" fmla="*/ 18098 w 177641"/>
                <a:gd name="connsiteY15" fmla="*/ 93726 h 239458"/>
                <a:gd name="connsiteX16" fmla="*/ 11144 w 177641"/>
                <a:gd name="connsiteY16" fmla="*/ 66961 h 239458"/>
                <a:gd name="connsiteX17" fmla="*/ 11144 w 177641"/>
                <a:gd name="connsiteY17" fmla="*/ 66008 h 239458"/>
                <a:gd name="connsiteX18" fmla="*/ 16954 w 177641"/>
                <a:gd name="connsiteY18" fmla="*/ 39053 h 239458"/>
                <a:gd name="connsiteX19" fmla="*/ 33242 w 177641"/>
                <a:gd name="connsiteY19" fmla="*/ 18098 h 239458"/>
                <a:gd name="connsiteX20" fmla="*/ 58293 w 177641"/>
                <a:gd name="connsiteY20" fmla="*/ 4667 h 239458"/>
                <a:gd name="connsiteX21" fmla="*/ 89725 w 177641"/>
                <a:gd name="connsiteY21" fmla="*/ 0 h 239458"/>
                <a:gd name="connsiteX22" fmla="*/ 133064 w 177641"/>
                <a:gd name="connsiteY22" fmla="*/ 6953 h 239458"/>
                <a:gd name="connsiteX23" fmla="*/ 172784 w 177641"/>
                <a:gd name="connsiteY23" fmla="*/ 25527 h 239458"/>
                <a:gd name="connsiteX24" fmla="*/ 157163 w 177641"/>
                <a:gd name="connsiteY24" fmla="*/ 51435 h 239458"/>
                <a:gd name="connsiteX25" fmla="*/ 123444 w 177641"/>
                <a:gd name="connsiteY25" fmla="*/ 35147 h 239458"/>
                <a:gd name="connsiteX26" fmla="*/ 88868 w 177641"/>
                <a:gd name="connsiteY26" fmla="*/ 29146 h 239458"/>
                <a:gd name="connsiteX27" fmla="*/ 56293 w 177641"/>
                <a:gd name="connsiteY27" fmla="*/ 38767 h 239458"/>
                <a:gd name="connsiteX28" fmla="*/ 44196 w 177641"/>
                <a:gd name="connsiteY28" fmla="*/ 62675 h 239458"/>
                <a:gd name="connsiteX29" fmla="*/ 44196 w 177641"/>
                <a:gd name="connsiteY29" fmla="*/ 63627 h 239458"/>
                <a:gd name="connsiteX30" fmla="*/ 49149 w 177641"/>
                <a:gd name="connsiteY30" fmla="*/ 77724 h 239458"/>
                <a:gd name="connsiteX31" fmla="*/ 62294 w 177641"/>
                <a:gd name="connsiteY31" fmla="*/ 88202 h 239458"/>
                <a:gd name="connsiteX32" fmla="*/ 81248 w 177641"/>
                <a:gd name="connsiteY32" fmla="*/ 96203 h 239458"/>
                <a:gd name="connsiteX33" fmla="*/ 103537 w 177641"/>
                <a:gd name="connsiteY33" fmla="*/ 103346 h 239458"/>
                <a:gd name="connsiteX34" fmla="*/ 130112 w 177641"/>
                <a:gd name="connsiteY34" fmla="*/ 112300 h 239458"/>
                <a:gd name="connsiteX35" fmla="*/ 154019 w 177641"/>
                <a:gd name="connsiteY35" fmla="*/ 124778 h 239458"/>
                <a:gd name="connsiteX36" fmla="*/ 171164 w 177641"/>
                <a:gd name="connsiteY36" fmla="*/ 143066 h 239458"/>
                <a:gd name="connsiteX37" fmla="*/ 177641 w 177641"/>
                <a:gd name="connsiteY37" fmla="*/ 169450 h 239458"/>
                <a:gd name="connsiteX38" fmla="*/ 177641 w 177641"/>
                <a:gd name="connsiteY38" fmla="*/ 170307 h 239458"/>
                <a:gd name="connsiteX39" fmla="*/ 171164 w 177641"/>
                <a:gd name="connsiteY39" fmla="*/ 199549 h 239458"/>
                <a:gd name="connsiteX40" fmla="*/ 153734 w 177641"/>
                <a:gd name="connsiteY40" fmla="*/ 221171 h 239458"/>
                <a:gd name="connsiteX41" fmla="*/ 127825 w 177641"/>
                <a:gd name="connsiteY41" fmla="*/ 234791 h 239458"/>
                <a:gd name="connsiteX42" fmla="*/ 95441 w 177641"/>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641" h="239458">
                  <a:moveTo>
                    <a:pt x="95536" y="239268"/>
                  </a:moveTo>
                  <a:cubicBezTo>
                    <a:pt x="78867" y="239268"/>
                    <a:pt x="62008" y="236220"/>
                    <a:pt x="45053" y="230124"/>
                  </a:cubicBezTo>
                  <a:cubicBezTo>
                    <a:pt x="28099" y="224028"/>
                    <a:pt x="13049" y="215741"/>
                    <a:pt x="0" y="205359"/>
                  </a:cubicBezTo>
                  <a:lnTo>
                    <a:pt x="17431" y="180785"/>
                  </a:lnTo>
                  <a:cubicBezTo>
                    <a:pt x="29908"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542" y="162211"/>
                    <a:pt x="140494" y="158020"/>
                  </a:cubicBezTo>
                  <a:cubicBezTo>
                    <a:pt x="137350" y="153829"/>
                    <a:pt x="133160" y="150209"/>
                    <a:pt x="127730" y="147066"/>
                  </a:cubicBezTo>
                  <a:cubicBezTo>
                    <a:pt x="122396" y="143923"/>
                    <a:pt x="116205" y="141161"/>
                    <a:pt x="109157" y="138779"/>
                  </a:cubicBezTo>
                  <a:cubicBezTo>
                    <a:pt x="102203" y="136398"/>
                    <a:pt x="94964" y="134207"/>
                    <a:pt x="87535" y="132112"/>
                  </a:cubicBezTo>
                  <a:cubicBezTo>
                    <a:pt x="78581" y="129445"/>
                    <a:pt x="69628" y="126492"/>
                    <a:pt x="60484" y="123444"/>
                  </a:cubicBezTo>
                  <a:cubicBezTo>
                    <a:pt x="51435" y="120301"/>
                    <a:pt x="43244" y="116396"/>
                    <a:pt x="35909" y="111633"/>
                  </a:cubicBezTo>
                  <a:cubicBezTo>
                    <a:pt x="28575" y="106871"/>
                    <a:pt x="22670" y="100870"/>
                    <a:pt x="18098" y="93726"/>
                  </a:cubicBezTo>
                  <a:cubicBezTo>
                    <a:pt x="13525" y="86582"/>
                    <a:pt x="11144" y="77629"/>
                    <a:pt x="11144" y="66961"/>
                  </a:cubicBezTo>
                  <a:lnTo>
                    <a:pt x="11144" y="66008"/>
                  </a:lnTo>
                  <a:cubicBezTo>
                    <a:pt x="11144" y="56198"/>
                    <a:pt x="13049" y="47149"/>
                    <a:pt x="16954" y="39053"/>
                  </a:cubicBezTo>
                  <a:cubicBezTo>
                    <a:pt x="20860" y="30861"/>
                    <a:pt x="26289" y="23908"/>
                    <a:pt x="33242" y="18098"/>
                  </a:cubicBezTo>
                  <a:cubicBezTo>
                    <a:pt x="40196" y="12287"/>
                    <a:pt x="48578" y="7811"/>
                    <a:pt x="58293" y="4667"/>
                  </a:cubicBezTo>
                  <a:cubicBezTo>
                    <a:pt x="67913" y="1524"/>
                    <a:pt x="78486" y="0"/>
                    <a:pt x="89725" y="0"/>
                  </a:cubicBezTo>
                  <a:cubicBezTo>
                    <a:pt x="104013" y="0"/>
                    <a:pt x="118396" y="2286"/>
                    <a:pt x="133064" y="6953"/>
                  </a:cubicBezTo>
                  <a:cubicBezTo>
                    <a:pt x="147638" y="11621"/>
                    <a:pt x="160877" y="17717"/>
                    <a:pt x="172784" y="25527"/>
                  </a:cubicBezTo>
                  <a:lnTo>
                    <a:pt x="157163" y="51435"/>
                  </a:lnTo>
                  <a:cubicBezTo>
                    <a:pt x="146399" y="44577"/>
                    <a:pt x="135255" y="39148"/>
                    <a:pt x="123444" y="35147"/>
                  </a:cubicBezTo>
                  <a:cubicBezTo>
                    <a:pt x="111728" y="31147"/>
                    <a:pt x="100203" y="29146"/>
                    <a:pt x="88868" y="29146"/>
                  </a:cubicBezTo>
                  <a:cubicBezTo>
                    <a:pt x="75152" y="29146"/>
                    <a:pt x="64294" y="32385"/>
                    <a:pt x="56293" y="38767"/>
                  </a:cubicBezTo>
                  <a:cubicBezTo>
                    <a:pt x="48292" y="45149"/>
                    <a:pt x="44196" y="53150"/>
                    <a:pt x="44196" y="62675"/>
                  </a:cubicBezTo>
                  <a:lnTo>
                    <a:pt x="44196" y="63627"/>
                  </a:lnTo>
                  <a:cubicBezTo>
                    <a:pt x="44196" y="68961"/>
                    <a:pt x="45815" y="73628"/>
                    <a:pt x="49149" y="77724"/>
                  </a:cubicBezTo>
                  <a:cubicBezTo>
                    <a:pt x="52388" y="81725"/>
                    <a:pt x="56769" y="85249"/>
                    <a:pt x="62294" y="88202"/>
                  </a:cubicBezTo>
                  <a:cubicBezTo>
                    <a:pt x="67818" y="91154"/>
                    <a:pt x="74104" y="93821"/>
                    <a:pt x="81248" y="96203"/>
                  </a:cubicBezTo>
                  <a:cubicBezTo>
                    <a:pt x="88392" y="98584"/>
                    <a:pt x="95821" y="100965"/>
                    <a:pt x="103537" y="103346"/>
                  </a:cubicBezTo>
                  <a:cubicBezTo>
                    <a:pt x="112490" y="106013"/>
                    <a:pt x="121349" y="108966"/>
                    <a:pt x="130112" y="112300"/>
                  </a:cubicBezTo>
                  <a:cubicBezTo>
                    <a:pt x="138875" y="115538"/>
                    <a:pt x="146875" y="119729"/>
                    <a:pt x="154019" y="124778"/>
                  </a:cubicBezTo>
                  <a:cubicBezTo>
                    <a:pt x="161163" y="129826"/>
                    <a:pt x="166878" y="135922"/>
                    <a:pt x="171164" y="143066"/>
                  </a:cubicBezTo>
                  <a:cubicBezTo>
                    <a:pt x="175450" y="150209"/>
                    <a:pt x="177641" y="158972"/>
                    <a:pt x="177641" y="169450"/>
                  </a:cubicBezTo>
                  <a:lnTo>
                    <a:pt x="177641" y="170307"/>
                  </a:lnTo>
                  <a:cubicBezTo>
                    <a:pt x="177641" y="181356"/>
                    <a:pt x="175450" y="191071"/>
                    <a:pt x="171164" y="199549"/>
                  </a:cubicBezTo>
                  <a:cubicBezTo>
                    <a:pt x="166878" y="208026"/>
                    <a:pt x="161068" y="215265"/>
                    <a:pt x="153734" y="221171"/>
                  </a:cubicBezTo>
                  <a:cubicBezTo>
                    <a:pt x="146495" y="227171"/>
                    <a:pt x="137827" y="231648"/>
                    <a:pt x="127825" y="234791"/>
                  </a:cubicBezTo>
                  <a:cubicBezTo>
                    <a:pt x="117824" y="237935"/>
                    <a:pt x="107061" y="239459"/>
                    <a:pt x="95441" y="239459"/>
                  </a:cubicBezTo>
                  <a:close/>
                </a:path>
              </a:pathLst>
            </a:custGeom>
            <a:solidFill>
              <a:srgbClr val="44505E"/>
            </a:solidFill>
            <a:ln w="9525" cap="flat">
              <a:noFill/>
              <a:prstDash val="solid"/>
              <a:miter/>
            </a:ln>
          </p:spPr>
          <p:txBody>
            <a:bodyPr rtlCol="0" anchor="ctr"/>
            <a:lstStyle/>
            <a:p>
              <a:endParaRPr lang="pt-BR" noProof="0"/>
            </a:p>
          </p:txBody>
        </p:sp>
        <p:sp>
          <p:nvSpPr>
            <p:cNvPr id="41" name="Freeform: Shape 40">
              <a:extLst>
                <a:ext uri="{FF2B5EF4-FFF2-40B4-BE49-F238E27FC236}">
                  <a16:creationId xmlns:a16="http://schemas.microsoft.com/office/drawing/2014/main" id="{DD221319-BA15-1B3A-3853-D38D10B9A3C5}"/>
                </a:ext>
              </a:extLst>
            </p:cNvPr>
            <p:cNvSpPr/>
            <p:nvPr/>
          </p:nvSpPr>
          <p:spPr>
            <a:xfrm>
              <a:off x="5752668" y="924028"/>
              <a:ext cx="58567" cy="77196"/>
            </a:xfrm>
            <a:custGeom>
              <a:avLst/>
              <a:gdLst>
                <a:gd name="connsiteX0" fmla="*/ 198596 w 232981"/>
                <a:gd name="connsiteY0" fmla="*/ 189357 h 307085"/>
                <a:gd name="connsiteX1" fmla="*/ 182785 w 232981"/>
                <a:gd name="connsiteY1" fmla="*/ 208978 h 307085"/>
                <a:gd name="connsiteX2" fmla="*/ 163354 w 232981"/>
                <a:gd name="connsiteY2" fmla="*/ 225552 h 307085"/>
                <a:gd name="connsiteX3" fmla="*/ 139446 w 232981"/>
                <a:gd name="connsiteY3" fmla="*/ 236696 h 307085"/>
                <a:gd name="connsiteX4" fmla="*/ 110204 w 232981"/>
                <a:gd name="connsiteY4" fmla="*/ 240697 h 307085"/>
                <a:gd name="connsiteX5" fmla="*/ 69628 w 232981"/>
                <a:gd name="connsiteY5" fmla="*/ 232696 h 307085"/>
                <a:gd name="connsiteX6" fmla="*/ 34385 w 232981"/>
                <a:gd name="connsiteY6" fmla="*/ 209264 h 307085"/>
                <a:gd name="connsiteX7" fmla="*/ 9335 w 232981"/>
                <a:gd name="connsiteY7" fmla="*/ 171736 h 307085"/>
                <a:gd name="connsiteX8" fmla="*/ 0 w 232981"/>
                <a:gd name="connsiteY8" fmla="*/ 121063 h 307085"/>
                <a:gd name="connsiteX9" fmla="*/ 0 w 232981"/>
                <a:gd name="connsiteY9" fmla="*/ 120205 h 307085"/>
                <a:gd name="connsiteX10" fmla="*/ 9335 w 232981"/>
                <a:gd name="connsiteY10" fmla="*/ 69723 h 307085"/>
                <a:gd name="connsiteX11" fmla="*/ 34385 w 232981"/>
                <a:gd name="connsiteY11" fmla="*/ 32004 h 307085"/>
                <a:gd name="connsiteX12" fmla="*/ 69628 w 232981"/>
                <a:gd name="connsiteY12" fmla="*/ 8287 h 307085"/>
                <a:gd name="connsiteX13" fmla="*/ 110204 w 232981"/>
                <a:gd name="connsiteY13" fmla="*/ 0 h 307085"/>
                <a:gd name="connsiteX14" fmla="*/ 139637 w 232981"/>
                <a:gd name="connsiteY14" fmla="*/ 4000 h 307085"/>
                <a:gd name="connsiteX15" fmla="*/ 163735 w 232981"/>
                <a:gd name="connsiteY15" fmla="*/ 14668 h 307085"/>
                <a:gd name="connsiteX16" fmla="*/ 183166 w 232981"/>
                <a:gd name="connsiteY16" fmla="*/ 30289 h 307085"/>
                <a:gd name="connsiteX17" fmla="*/ 198596 w 232981"/>
                <a:gd name="connsiteY17" fmla="*/ 49054 h 307085"/>
                <a:gd name="connsiteX18" fmla="*/ 198596 w 232981"/>
                <a:gd name="connsiteY18" fmla="*/ 4858 h 307085"/>
                <a:gd name="connsiteX19" fmla="*/ 232982 w 232981"/>
                <a:gd name="connsiteY19" fmla="*/ 4858 h 307085"/>
                <a:gd name="connsiteX20" fmla="*/ 232982 w 232981"/>
                <a:gd name="connsiteY20" fmla="*/ 307086 h 307085"/>
                <a:gd name="connsiteX21" fmla="*/ 198596 w 232981"/>
                <a:gd name="connsiteY21" fmla="*/ 307086 h 307085"/>
                <a:gd name="connsiteX22" fmla="*/ 198596 w 232981"/>
                <a:gd name="connsiteY22" fmla="*/ 189262 h 307085"/>
                <a:gd name="connsiteX23" fmla="*/ 116491 w 232981"/>
                <a:gd name="connsiteY23" fmla="*/ 209931 h 307085"/>
                <a:gd name="connsiteX24" fmla="*/ 147542 w 232981"/>
                <a:gd name="connsiteY24" fmla="*/ 203454 h 307085"/>
                <a:gd name="connsiteX25" fmla="*/ 174308 w 232981"/>
                <a:gd name="connsiteY25" fmla="*/ 185166 h 307085"/>
                <a:gd name="connsiteX26" fmla="*/ 193072 w 232981"/>
                <a:gd name="connsiteY26" fmla="*/ 157067 h 307085"/>
                <a:gd name="connsiteX27" fmla="*/ 200025 w 232981"/>
                <a:gd name="connsiteY27" fmla="*/ 120682 h 307085"/>
                <a:gd name="connsiteX28" fmla="*/ 200025 w 232981"/>
                <a:gd name="connsiteY28" fmla="*/ 119824 h 307085"/>
                <a:gd name="connsiteX29" fmla="*/ 193072 w 232981"/>
                <a:gd name="connsiteY29" fmla="*/ 83439 h 307085"/>
                <a:gd name="connsiteX30" fmla="*/ 174308 w 232981"/>
                <a:gd name="connsiteY30" fmla="*/ 55531 h 307085"/>
                <a:gd name="connsiteX31" fmla="*/ 147542 w 232981"/>
                <a:gd name="connsiteY31" fmla="*/ 37433 h 307085"/>
                <a:gd name="connsiteX32" fmla="*/ 116491 w 232981"/>
                <a:gd name="connsiteY32" fmla="*/ 30956 h 307085"/>
                <a:gd name="connsiteX33" fmla="*/ 84773 w 232981"/>
                <a:gd name="connsiteY33" fmla="*/ 36957 h 307085"/>
                <a:gd name="connsiteX34" fmla="*/ 59150 w 232981"/>
                <a:gd name="connsiteY34" fmla="*/ 54388 h 307085"/>
                <a:gd name="connsiteX35" fmla="*/ 41720 w 232981"/>
                <a:gd name="connsiteY35" fmla="*/ 82296 h 307085"/>
                <a:gd name="connsiteX36" fmla="*/ 35242 w 232981"/>
                <a:gd name="connsiteY36" fmla="*/ 119824 h 307085"/>
                <a:gd name="connsiteX37" fmla="*/ 35242 w 232981"/>
                <a:gd name="connsiteY37" fmla="*/ 120682 h 307085"/>
                <a:gd name="connsiteX38" fmla="*/ 41720 w 232981"/>
                <a:gd name="connsiteY38" fmla="*/ 157734 h 307085"/>
                <a:gd name="connsiteX39" fmla="*/ 59341 w 232981"/>
                <a:gd name="connsiteY39" fmla="*/ 185833 h 307085"/>
                <a:gd name="connsiteX40" fmla="*/ 85249 w 232981"/>
                <a:gd name="connsiteY40" fmla="*/ 203740 h 307085"/>
                <a:gd name="connsiteX41" fmla="*/ 116491 w 232981"/>
                <a:gd name="connsiteY41" fmla="*/ 210026 h 30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07085">
                  <a:moveTo>
                    <a:pt x="198596" y="189357"/>
                  </a:moveTo>
                  <a:cubicBezTo>
                    <a:pt x="193834" y="196215"/>
                    <a:pt x="188595" y="202787"/>
                    <a:pt x="182785" y="208978"/>
                  </a:cubicBezTo>
                  <a:cubicBezTo>
                    <a:pt x="176975" y="215265"/>
                    <a:pt x="170498" y="220789"/>
                    <a:pt x="163354" y="225552"/>
                  </a:cubicBezTo>
                  <a:cubicBezTo>
                    <a:pt x="156210" y="230314"/>
                    <a:pt x="148209" y="234029"/>
                    <a:pt x="139446" y="236696"/>
                  </a:cubicBezTo>
                  <a:cubicBezTo>
                    <a:pt x="130683" y="239363"/>
                    <a:pt x="120967" y="240697"/>
                    <a:pt x="110204" y="240697"/>
                  </a:cubicBezTo>
                  <a:cubicBezTo>
                    <a:pt x="96203" y="240697"/>
                    <a:pt x="82677" y="238030"/>
                    <a:pt x="69628" y="232696"/>
                  </a:cubicBezTo>
                  <a:cubicBezTo>
                    <a:pt x="56579" y="227362"/>
                    <a:pt x="44767" y="219551"/>
                    <a:pt x="34385" y="209264"/>
                  </a:cubicBezTo>
                  <a:cubicBezTo>
                    <a:pt x="24003" y="198977"/>
                    <a:pt x="15621" y="186499"/>
                    <a:pt x="9335" y="171736"/>
                  </a:cubicBezTo>
                  <a:cubicBezTo>
                    <a:pt x="3048" y="156972"/>
                    <a:pt x="0" y="140113"/>
                    <a:pt x="0" y="121063"/>
                  </a:cubicBezTo>
                  <a:lnTo>
                    <a:pt x="0" y="120205"/>
                  </a:lnTo>
                  <a:cubicBezTo>
                    <a:pt x="0" y="101441"/>
                    <a:pt x="3143" y="84677"/>
                    <a:pt x="9335" y="69723"/>
                  </a:cubicBezTo>
                  <a:cubicBezTo>
                    <a:pt x="15621" y="54864"/>
                    <a:pt x="23908" y="42291"/>
                    <a:pt x="34385" y="32004"/>
                  </a:cubicBezTo>
                  <a:cubicBezTo>
                    <a:pt x="44767" y="21717"/>
                    <a:pt x="56579" y="13811"/>
                    <a:pt x="69628" y="8287"/>
                  </a:cubicBezTo>
                  <a:cubicBezTo>
                    <a:pt x="82677" y="2762"/>
                    <a:pt x="96298" y="0"/>
                    <a:pt x="110204" y="0"/>
                  </a:cubicBezTo>
                  <a:cubicBezTo>
                    <a:pt x="120967" y="0"/>
                    <a:pt x="130778" y="1333"/>
                    <a:pt x="139637" y="4000"/>
                  </a:cubicBezTo>
                  <a:cubicBezTo>
                    <a:pt x="148590" y="6667"/>
                    <a:pt x="156591" y="10287"/>
                    <a:pt x="163735" y="14668"/>
                  </a:cubicBezTo>
                  <a:cubicBezTo>
                    <a:pt x="170879" y="19145"/>
                    <a:pt x="177356" y="24384"/>
                    <a:pt x="183166" y="30289"/>
                  </a:cubicBezTo>
                  <a:cubicBezTo>
                    <a:pt x="188976" y="36290"/>
                    <a:pt x="194120" y="42481"/>
                    <a:pt x="198596" y="49054"/>
                  </a:cubicBezTo>
                  <a:lnTo>
                    <a:pt x="198596" y="4858"/>
                  </a:lnTo>
                  <a:lnTo>
                    <a:pt x="232982" y="4858"/>
                  </a:lnTo>
                  <a:lnTo>
                    <a:pt x="232982" y="307086"/>
                  </a:lnTo>
                  <a:lnTo>
                    <a:pt x="198596" y="307086"/>
                  </a:lnTo>
                  <a:lnTo>
                    <a:pt x="198596" y="189262"/>
                  </a:lnTo>
                  <a:close/>
                  <a:moveTo>
                    <a:pt x="116491" y="209931"/>
                  </a:moveTo>
                  <a:cubicBezTo>
                    <a:pt x="127159" y="209931"/>
                    <a:pt x="137541" y="207740"/>
                    <a:pt x="147542" y="203454"/>
                  </a:cubicBezTo>
                  <a:cubicBezTo>
                    <a:pt x="157544" y="199168"/>
                    <a:pt x="166402" y="193072"/>
                    <a:pt x="174308" y="185166"/>
                  </a:cubicBezTo>
                  <a:cubicBezTo>
                    <a:pt x="182213" y="177260"/>
                    <a:pt x="188404" y="167926"/>
                    <a:pt x="193072" y="157067"/>
                  </a:cubicBezTo>
                  <a:cubicBezTo>
                    <a:pt x="197739" y="146209"/>
                    <a:pt x="200025" y="134112"/>
                    <a:pt x="200025" y="120682"/>
                  </a:cubicBezTo>
                  <a:lnTo>
                    <a:pt x="200025" y="119824"/>
                  </a:lnTo>
                  <a:cubicBezTo>
                    <a:pt x="200025" y="106394"/>
                    <a:pt x="197739" y="94297"/>
                    <a:pt x="193072" y="83439"/>
                  </a:cubicBezTo>
                  <a:cubicBezTo>
                    <a:pt x="188500" y="72580"/>
                    <a:pt x="182213" y="63246"/>
                    <a:pt x="174308" y="55531"/>
                  </a:cubicBezTo>
                  <a:cubicBezTo>
                    <a:pt x="166402" y="47815"/>
                    <a:pt x="157544" y="41815"/>
                    <a:pt x="147542" y="37433"/>
                  </a:cubicBezTo>
                  <a:cubicBezTo>
                    <a:pt x="137541" y="33147"/>
                    <a:pt x="127254" y="30956"/>
                    <a:pt x="116491" y="30956"/>
                  </a:cubicBezTo>
                  <a:cubicBezTo>
                    <a:pt x="105156" y="30956"/>
                    <a:pt x="94583" y="32956"/>
                    <a:pt x="84773" y="36957"/>
                  </a:cubicBezTo>
                  <a:cubicBezTo>
                    <a:pt x="74962" y="40957"/>
                    <a:pt x="66389" y="46767"/>
                    <a:pt x="59150" y="54388"/>
                  </a:cubicBezTo>
                  <a:cubicBezTo>
                    <a:pt x="51816" y="61913"/>
                    <a:pt x="46101" y="71247"/>
                    <a:pt x="41720" y="82296"/>
                  </a:cubicBezTo>
                  <a:cubicBezTo>
                    <a:pt x="37433" y="93250"/>
                    <a:pt x="35242" y="105823"/>
                    <a:pt x="35242" y="119824"/>
                  </a:cubicBezTo>
                  <a:lnTo>
                    <a:pt x="35242" y="120682"/>
                  </a:lnTo>
                  <a:cubicBezTo>
                    <a:pt x="35242" y="134398"/>
                    <a:pt x="37433" y="146780"/>
                    <a:pt x="41720" y="157734"/>
                  </a:cubicBezTo>
                  <a:cubicBezTo>
                    <a:pt x="46006" y="168783"/>
                    <a:pt x="51911" y="178117"/>
                    <a:pt x="59341" y="185833"/>
                  </a:cubicBezTo>
                  <a:cubicBezTo>
                    <a:pt x="66770" y="193548"/>
                    <a:pt x="75438" y="199549"/>
                    <a:pt x="85249" y="203740"/>
                  </a:cubicBezTo>
                  <a:cubicBezTo>
                    <a:pt x="95060" y="207931"/>
                    <a:pt x="105442" y="210026"/>
                    <a:pt x="116491" y="210026"/>
                  </a:cubicBezTo>
                  <a:close/>
                </a:path>
              </a:pathLst>
            </a:custGeom>
            <a:solidFill>
              <a:srgbClr val="44505E"/>
            </a:solidFill>
            <a:ln w="9525" cap="flat">
              <a:noFill/>
              <a:prstDash val="solid"/>
              <a:miter/>
            </a:ln>
          </p:spPr>
          <p:txBody>
            <a:bodyPr rtlCol="0" anchor="ctr"/>
            <a:lstStyle/>
            <a:p>
              <a:endParaRPr lang="pt-BR" noProof="0"/>
            </a:p>
          </p:txBody>
        </p:sp>
        <p:sp>
          <p:nvSpPr>
            <p:cNvPr id="42" name="Freeform: Shape 41">
              <a:extLst>
                <a:ext uri="{FF2B5EF4-FFF2-40B4-BE49-F238E27FC236}">
                  <a16:creationId xmlns:a16="http://schemas.microsoft.com/office/drawing/2014/main" id="{953719CE-52AD-0CC1-C359-EC4BACF5382F}"/>
                </a:ext>
              </a:extLst>
            </p:cNvPr>
            <p:cNvSpPr/>
            <p:nvPr/>
          </p:nvSpPr>
          <p:spPr>
            <a:xfrm>
              <a:off x="5829624" y="925297"/>
              <a:ext cx="50618" cy="59238"/>
            </a:xfrm>
            <a:custGeom>
              <a:avLst/>
              <a:gdLst>
                <a:gd name="connsiteX0" fmla="*/ 88392 w 201358"/>
                <a:gd name="connsiteY0" fmla="*/ 235648 h 235648"/>
                <a:gd name="connsiteX1" fmla="*/ 51149 w 201358"/>
                <a:gd name="connsiteY1" fmla="*/ 228981 h 235648"/>
                <a:gd name="connsiteX2" fmla="*/ 23432 w 201358"/>
                <a:gd name="connsiteY2" fmla="*/ 210026 h 235648"/>
                <a:gd name="connsiteX3" fmla="*/ 6001 w 201358"/>
                <a:gd name="connsiteY3" fmla="*/ 180784 h 235648"/>
                <a:gd name="connsiteX4" fmla="*/ 0 w 201358"/>
                <a:gd name="connsiteY4" fmla="*/ 143256 h 235648"/>
                <a:gd name="connsiteX5" fmla="*/ 0 w 201358"/>
                <a:gd name="connsiteY5" fmla="*/ 0 h 235648"/>
                <a:gd name="connsiteX6" fmla="*/ 34385 w 201358"/>
                <a:gd name="connsiteY6" fmla="*/ 0 h 235648"/>
                <a:gd name="connsiteX7" fmla="*/ 34385 w 201358"/>
                <a:gd name="connsiteY7" fmla="*/ 134493 h 235648"/>
                <a:gd name="connsiteX8" fmla="*/ 50959 w 201358"/>
                <a:gd name="connsiteY8" fmla="*/ 185261 h 235648"/>
                <a:gd name="connsiteX9" fmla="*/ 98298 w 201358"/>
                <a:gd name="connsiteY9" fmla="*/ 203930 h 235648"/>
                <a:gd name="connsiteX10" fmla="*/ 125730 w 201358"/>
                <a:gd name="connsiteY10" fmla="*/ 198787 h 235648"/>
                <a:gd name="connsiteX11" fmla="*/ 147638 w 201358"/>
                <a:gd name="connsiteY11" fmla="*/ 184118 h 235648"/>
                <a:gd name="connsiteX12" fmla="*/ 162116 w 201358"/>
                <a:gd name="connsiteY12" fmla="*/ 161163 h 235648"/>
                <a:gd name="connsiteX13" fmla="*/ 167450 w 201358"/>
                <a:gd name="connsiteY13" fmla="*/ 131826 h 235648"/>
                <a:gd name="connsiteX14" fmla="*/ 167450 w 201358"/>
                <a:gd name="connsiteY14" fmla="*/ 0 h 235648"/>
                <a:gd name="connsiteX15" fmla="*/ 201359 w 201358"/>
                <a:gd name="connsiteY15" fmla="*/ 0 h 235648"/>
                <a:gd name="connsiteX16" fmla="*/ 201359 w 201358"/>
                <a:gd name="connsiteY16" fmla="*/ 230791 h 235648"/>
                <a:gd name="connsiteX17" fmla="*/ 167450 w 201358"/>
                <a:gd name="connsiteY17" fmla="*/ 230791 h 235648"/>
                <a:gd name="connsiteX18" fmla="*/ 167450 w 201358"/>
                <a:gd name="connsiteY18" fmla="*/ 190595 h 235648"/>
                <a:gd name="connsiteX19" fmla="*/ 137065 w 201358"/>
                <a:gd name="connsiteY19" fmla="*/ 222504 h 235648"/>
                <a:gd name="connsiteX20" fmla="*/ 88392 w 201358"/>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358" h="235648">
                  <a:moveTo>
                    <a:pt x="88392" y="235648"/>
                  </a:moveTo>
                  <a:cubicBezTo>
                    <a:pt x="74390" y="235648"/>
                    <a:pt x="62008" y="233363"/>
                    <a:pt x="51149" y="228981"/>
                  </a:cubicBezTo>
                  <a:cubicBezTo>
                    <a:pt x="40291" y="224504"/>
                    <a:pt x="31052" y="218218"/>
                    <a:pt x="23432"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959" y="185261"/>
                  </a:cubicBezTo>
                  <a:cubicBezTo>
                    <a:pt x="61913" y="197739"/>
                    <a:pt x="77724" y="203930"/>
                    <a:pt x="98298" y="203930"/>
                  </a:cubicBezTo>
                  <a:cubicBezTo>
                    <a:pt x="108109" y="203930"/>
                    <a:pt x="117253" y="202216"/>
                    <a:pt x="125730" y="198787"/>
                  </a:cubicBezTo>
                  <a:cubicBezTo>
                    <a:pt x="134207" y="195358"/>
                    <a:pt x="141446" y="190500"/>
                    <a:pt x="147638" y="184118"/>
                  </a:cubicBezTo>
                  <a:cubicBezTo>
                    <a:pt x="153734" y="177736"/>
                    <a:pt x="158591" y="170116"/>
                    <a:pt x="162116" y="161163"/>
                  </a:cubicBezTo>
                  <a:cubicBezTo>
                    <a:pt x="165735" y="152305"/>
                    <a:pt x="167450" y="142494"/>
                    <a:pt x="167450" y="131826"/>
                  </a:cubicBezTo>
                  <a:lnTo>
                    <a:pt x="167450" y="0"/>
                  </a:lnTo>
                  <a:lnTo>
                    <a:pt x="201359" y="0"/>
                  </a:lnTo>
                  <a:lnTo>
                    <a:pt x="201359" y="230791"/>
                  </a:lnTo>
                  <a:lnTo>
                    <a:pt x="167450" y="230791"/>
                  </a:lnTo>
                  <a:lnTo>
                    <a:pt x="167450" y="190595"/>
                  </a:lnTo>
                  <a:cubicBezTo>
                    <a:pt x="159734" y="203073"/>
                    <a:pt x="149543" y="213741"/>
                    <a:pt x="137065" y="222504"/>
                  </a:cubicBezTo>
                  <a:cubicBezTo>
                    <a:pt x="124587" y="231267"/>
                    <a:pt x="108395" y="235648"/>
                    <a:pt x="88392" y="235648"/>
                  </a:cubicBezTo>
                  <a:close/>
                </a:path>
              </a:pathLst>
            </a:custGeom>
            <a:solidFill>
              <a:srgbClr val="44505E"/>
            </a:solidFill>
            <a:ln w="9525" cap="flat">
              <a:noFill/>
              <a:prstDash val="solid"/>
              <a:miter/>
            </a:ln>
          </p:spPr>
          <p:txBody>
            <a:bodyPr rtlCol="0" anchor="ctr"/>
            <a:lstStyle/>
            <a:p>
              <a:endParaRPr lang="pt-BR" noProof="0"/>
            </a:p>
          </p:txBody>
        </p:sp>
        <p:sp>
          <p:nvSpPr>
            <p:cNvPr id="43" name="Freeform: Shape 42">
              <a:extLst>
                <a:ext uri="{FF2B5EF4-FFF2-40B4-BE49-F238E27FC236}">
                  <a16:creationId xmlns:a16="http://schemas.microsoft.com/office/drawing/2014/main" id="{E76209BF-38B9-C2CC-C855-5B0EFDCA79C5}"/>
                </a:ext>
              </a:extLst>
            </p:cNvPr>
            <p:cNvSpPr/>
            <p:nvPr/>
          </p:nvSpPr>
          <p:spPr>
            <a:xfrm>
              <a:off x="5896069"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7059 w 218217"/>
                <a:gd name="connsiteY3" fmla="*/ 206026 h 241077"/>
                <a:gd name="connsiteX4" fmla="*/ 116110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7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0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356 w 218217"/>
                <a:gd name="connsiteY25" fmla="*/ 106299 h 241077"/>
                <a:gd name="connsiteX26" fmla="*/ 176689 w 218217"/>
                <a:gd name="connsiteY26" fmla="*/ 76771 h 241077"/>
                <a:gd name="connsiteX27" fmla="*/ 162211 w 218217"/>
                <a:gd name="connsiteY27" fmla="*/ 52101 h 241077"/>
                <a:gd name="connsiteX28" fmla="*/ 139922 w 218217"/>
                <a:gd name="connsiteY28" fmla="*/ 35242 h 241077"/>
                <a:gd name="connsiteX29" fmla="*/ 109823 w 218217"/>
                <a:gd name="connsiteY29" fmla="*/ 29051 h 241077"/>
                <a:gd name="connsiteX30" fmla="*/ 82105 w 218217"/>
                <a:gd name="connsiteY30" fmla="*/ 34766 h 241077"/>
                <a:gd name="connsiteX31" fmla="*/ 59341 w 218217"/>
                <a:gd name="connsiteY31" fmla="*/ 50959 h 241077"/>
                <a:gd name="connsiteX32" fmla="*/ 43053 w 218217"/>
                <a:gd name="connsiteY32" fmla="*/ 75628 h 241077"/>
                <a:gd name="connsiteX33" fmla="*/ 34766 w 218217"/>
                <a:gd name="connsiteY33" fmla="*/ 106204 h 241077"/>
                <a:gd name="connsiteX34" fmla="*/ 183356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819" y="202597"/>
                    <a:pt x="87059" y="206026"/>
                  </a:cubicBezTo>
                  <a:cubicBezTo>
                    <a:pt x="96298" y="209455"/>
                    <a:pt x="105918" y="211169"/>
                    <a:pt x="116110" y="211169"/>
                  </a:cubicBezTo>
                  <a:cubicBezTo>
                    <a:pt x="132207" y="211169"/>
                    <a:pt x="145923" y="208216"/>
                    <a:pt x="157353" y="202216"/>
                  </a:cubicBezTo>
                  <a:cubicBezTo>
                    <a:pt x="168783" y="196310"/>
                    <a:pt x="179261" y="188404"/>
                    <a:pt x="188786" y="178594"/>
                  </a:cubicBezTo>
                  <a:lnTo>
                    <a:pt x="210217" y="197834"/>
                  </a:lnTo>
                  <a:cubicBezTo>
                    <a:pt x="198596" y="210979"/>
                    <a:pt x="185356" y="221361"/>
                    <a:pt x="170497" y="229267"/>
                  </a:cubicBezTo>
                  <a:cubicBezTo>
                    <a:pt x="155638"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583" y="0"/>
                    <a:pt x="110680"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356" y="106299"/>
                  </a:moveTo>
                  <a:cubicBezTo>
                    <a:pt x="182499" y="95917"/>
                    <a:pt x="180213" y="86106"/>
                    <a:pt x="176689" y="76771"/>
                  </a:cubicBezTo>
                  <a:cubicBezTo>
                    <a:pt x="173069" y="67437"/>
                    <a:pt x="168307" y="59245"/>
                    <a:pt x="162211" y="52101"/>
                  </a:cubicBezTo>
                  <a:cubicBezTo>
                    <a:pt x="156115" y="44958"/>
                    <a:pt x="148685" y="39338"/>
                    <a:pt x="139922" y="35242"/>
                  </a:cubicBezTo>
                  <a:cubicBezTo>
                    <a:pt x="131159" y="31147"/>
                    <a:pt x="121063" y="29051"/>
                    <a:pt x="109823" y="29051"/>
                  </a:cubicBezTo>
                  <a:cubicBezTo>
                    <a:pt x="100013" y="29051"/>
                    <a:pt x="90773" y="30956"/>
                    <a:pt x="82105" y="34766"/>
                  </a:cubicBezTo>
                  <a:cubicBezTo>
                    <a:pt x="73438" y="38671"/>
                    <a:pt x="65913" y="44005"/>
                    <a:pt x="59341" y="50959"/>
                  </a:cubicBezTo>
                  <a:cubicBezTo>
                    <a:pt x="52769" y="57912"/>
                    <a:pt x="47339" y="66103"/>
                    <a:pt x="43053" y="75628"/>
                  </a:cubicBezTo>
                  <a:cubicBezTo>
                    <a:pt x="38767" y="85058"/>
                    <a:pt x="36004" y="95345"/>
                    <a:pt x="34766" y="106204"/>
                  </a:cubicBezTo>
                  <a:lnTo>
                    <a:pt x="183356" y="106204"/>
                  </a:lnTo>
                  <a:close/>
                </a:path>
              </a:pathLst>
            </a:custGeom>
            <a:solidFill>
              <a:srgbClr val="44505E"/>
            </a:solidFill>
            <a:ln w="9525" cap="flat">
              <a:noFill/>
              <a:prstDash val="solid"/>
              <a:miter/>
            </a:ln>
          </p:spPr>
          <p:txBody>
            <a:bodyPr rtlCol="0" anchor="ctr"/>
            <a:lstStyle/>
            <a:p>
              <a:endParaRPr lang="pt-BR" noProof="0"/>
            </a:p>
          </p:txBody>
        </p:sp>
        <p:sp>
          <p:nvSpPr>
            <p:cNvPr id="44" name="Freeform: Shape 43">
              <a:extLst>
                <a:ext uri="{FF2B5EF4-FFF2-40B4-BE49-F238E27FC236}">
                  <a16:creationId xmlns:a16="http://schemas.microsoft.com/office/drawing/2014/main" id="{0047F5EA-A3C2-ED06-0F56-A2EBC67400C6}"/>
                </a:ext>
              </a:extLst>
            </p:cNvPr>
            <p:cNvSpPr/>
            <p:nvPr/>
          </p:nvSpPr>
          <p:spPr>
            <a:xfrm>
              <a:off x="5994910" y="924268"/>
              <a:ext cx="44680" cy="60195"/>
            </a:xfrm>
            <a:custGeom>
              <a:avLst/>
              <a:gdLst>
                <a:gd name="connsiteX0" fmla="*/ 95536 w 177736"/>
                <a:gd name="connsiteY0" fmla="*/ 239268 h 239458"/>
                <a:gd name="connsiteX1" fmla="*/ 45053 w 177736"/>
                <a:gd name="connsiteY1" fmla="*/ 230124 h 239458"/>
                <a:gd name="connsiteX2" fmla="*/ 0 w 177736"/>
                <a:gd name="connsiteY2" fmla="*/ 205359 h 239458"/>
                <a:gd name="connsiteX3" fmla="*/ 17431 w 177736"/>
                <a:gd name="connsiteY3" fmla="*/ 180785 h 239458"/>
                <a:gd name="connsiteX4" fmla="*/ 56483 w 177736"/>
                <a:gd name="connsiteY4" fmla="*/ 202692 h 239458"/>
                <a:gd name="connsiteX5" fmla="*/ 97346 w 177736"/>
                <a:gd name="connsiteY5" fmla="*/ 210217 h 239458"/>
                <a:gd name="connsiteX6" fmla="*/ 131731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730 w 177736"/>
                <a:gd name="connsiteY10" fmla="*/ 147066 h 239458"/>
                <a:gd name="connsiteX11" fmla="*/ 109252 w 177736"/>
                <a:gd name="connsiteY11" fmla="*/ 138779 h 239458"/>
                <a:gd name="connsiteX12" fmla="*/ 87630 w 177736"/>
                <a:gd name="connsiteY12" fmla="*/ 132112 h 239458"/>
                <a:gd name="connsiteX13" fmla="*/ 60674 w 177736"/>
                <a:gd name="connsiteY13" fmla="*/ 123444 h 239458"/>
                <a:gd name="connsiteX14" fmla="*/ 36100 w 177736"/>
                <a:gd name="connsiteY14" fmla="*/ 111633 h 239458"/>
                <a:gd name="connsiteX15" fmla="*/ 18193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60 w 177736"/>
                <a:gd name="connsiteY22" fmla="*/ 6953 h 239458"/>
                <a:gd name="connsiteX23" fmla="*/ 172879 w 177736"/>
                <a:gd name="connsiteY23" fmla="*/ 25527 h 239458"/>
                <a:gd name="connsiteX24" fmla="*/ 157258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4 w 177736"/>
                <a:gd name="connsiteY32" fmla="*/ 96203 h 239458"/>
                <a:gd name="connsiteX33" fmla="*/ 103632 w 177736"/>
                <a:gd name="connsiteY33" fmla="*/ 103346 h 239458"/>
                <a:gd name="connsiteX34" fmla="*/ 130207 w 177736"/>
                <a:gd name="connsiteY34" fmla="*/ 112300 h 239458"/>
                <a:gd name="connsiteX35" fmla="*/ 154114 w 177736"/>
                <a:gd name="connsiteY35" fmla="*/ 124778 h 239458"/>
                <a:gd name="connsiteX36" fmla="*/ 171260 w 177736"/>
                <a:gd name="connsiteY36" fmla="*/ 143066 h 239458"/>
                <a:gd name="connsiteX37" fmla="*/ 177737 w 177736"/>
                <a:gd name="connsiteY37" fmla="*/ 169450 h 239458"/>
                <a:gd name="connsiteX38" fmla="*/ 177737 w 177736"/>
                <a:gd name="connsiteY38" fmla="*/ 170307 h 239458"/>
                <a:gd name="connsiteX39" fmla="*/ 171260 w 177736"/>
                <a:gd name="connsiteY39" fmla="*/ 199549 h 239458"/>
                <a:gd name="connsiteX40" fmla="*/ 153829 w 177736"/>
                <a:gd name="connsiteY40" fmla="*/ 221171 h 239458"/>
                <a:gd name="connsiteX41" fmla="*/ 127921 w 177736"/>
                <a:gd name="connsiteY41" fmla="*/ 234791 h 239458"/>
                <a:gd name="connsiteX42" fmla="*/ 95536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6" y="239268"/>
                  </a:moveTo>
                  <a:cubicBezTo>
                    <a:pt x="78867" y="239268"/>
                    <a:pt x="62008" y="236220"/>
                    <a:pt x="45053" y="230124"/>
                  </a:cubicBezTo>
                  <a:cubicBezTo>
                    <a:pt x="28099" y="224028"/>
                    <a:pt x="13049" y="215741"/>
                    <a:pt x="0" y="205359"/>
                  </a:cubicBezTo>
                  <a:lnTo>
                    <a:pt x="17431" y="180785"/>
                  </a:lnTo>
                  <a:cubicBezTo>
                    <a:pt x="29909"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637" y="162211"/>
                    <a:pt x="140494" y="158020"/>
                  </a:cubicBezTo>
                  <a:cubicBezTo>
                    <a:pt x="137351" y="153829"/>
                    <a:pt x="133160" y="150209"/>
                    <a:pt x="127730" y="147066"/>
                  </a:cubicBezTo>
                  <a:cubicBezTo>
                    <a:pt x="122396" y="143923"/>
                    <a:pt x="116205" y="141161"/>
                    <a:pt x="109252" y="138779"/>
                  </a:cubicBezTo>
                  <a:cubicBezTo>
                    <a:pt x="102299" y="136398"/>
                    <a:pt x="95060" y="134207"/>
                    <a:pt x="87630" y="132112"/>
                  </a:cubicBezTo>
                  <a:cubicBezTo>
                    <a:pt x="78677" y="129445"/>
                    <a:pt x="69723" y="126492"/>
                    <a:pt x="60674" y="123444"/>
                  </a:cubicBezTo>
                  <a:cubicBezTo>
                    <a:pt x="51626" y="120301"/>
                    <a:pt x="43434" y="116396"/>
                    <a:pt x="36100" y="111633"/>
                  </a:cubicBezTo>
                  <a:cubicBezTo>
                    <a:pt x="28766" y="106871"/>
                    <a:pt x="22860" y="100870"/>
                    <a:pt x="18193" y="93726"/>
                  </a:cubicBezTo>
                  <a:cubicBezTo>
                    <a:pt x="13621" y="86582"/>
                    <a:pt x="11239" y="77629"/>
                    <a:pt x="11239" y="66961"/>
                  </a:cubicBezTo>
                  <a:lnTo>
                    <a:pt x="11239" y="66008"/>
                  </a:lnTo>
                  <a:cubicBezTo>
                    <a:pt x="11239" y="56198"/>
                    <a:pt x="13145" y="47149"/>
                    <a:pt x="17050" y="39053"/>
                  </a:cubicBezTo>
                  <a:cubicBezTo>
                    <a:pt x="20860" y="30861"/>
                    <a:pt x="26289" y="23908"/>
                    <a:pt x="33338" y="18098"/>
                  </a:cubicBezTo>
                  <a:cubicBezTo>
                    <a:pt x="40291" y="12287"/>
                    <a:pt x="48673" y="7811"/>
                    <a:pt x="58388" y="4667"/>
                  </a:cubicBezTo>
                  <a:cubicBezTo>
                    <a:pt x="68009" y="1524"/>
                    <a:pt x="78581" y="0"/>
                    <a:pt x="89821" y="0"/>
                  </a:cubicBezTo>
                  <a:cubicBezTo>
                    <a:pt x="104108" y="0"/>
                    <a:pt x="118491" y="2286"/>
                    <a:pt x="133160" y="6953"/>
                  </a:cubicBezTo>
                  <a:cubicBezTo>
                    <a:pt x="147733" y="11621"/>
                    <a:pt x="160972" y="17717"/>
                    <a:pt x="172879" y="25527"/>
                  </a:cubicBezTo>
                  <a:lnTo>
                    <a:pt x="157258" y="51435"/>
                  </a:lnTo>
                  <a:cubicBezTo>
                    <a:pt x="146495" y="44577"/>
                    <a:pt x="135350" y="39148"/>
                    <a:pt x="123539" y="35147"/>
                  </a:cubicBezTo>
                  <a:cubicBezTo>
                    <a:pt x="111824" y="31147"/>
                    <a:pt x="100298" y="29146"/>
                    <a:pt x="88963" y="29146"/>
                  </a:cubicBezTo>
                  <a:cubicBezTo>
                    <a:pt x="75247" y="29146"/>
                    <a:pt x="64389" y="32385"/>
                    <a:pt x="56388" y="38767"/>
                  </a:cubicBezTo>
                  <a:cubicBezTo>
                    <a:pt x="48387" y="45149"/>
                    <a:pt x="44291" y="53150"/>
                    <a:pt x="44291" y="62675"/>
                  </a:cubicBezTo>
                  <a:lnTo>
                    <a:pt x="44291" y="63627"/>
                  </a:lnTo>
                  <a:cubicBezTo>
                    <a:pt x="44291" y="68961"/>
                    <a:pt x="45911" y="73628"/>
                    <a:pt x="49244" y="77724"/>
                  </a:cubicBezTo>
                  <a:cubicBezTo>
                    <a:pt x="52483" y="81725"/>
                    <a:pt x="56960" y="85249"/>
                    <a:pt x="62389" y="88202"/>
                  </a:cubicBezTo>
                  <a:cubicBezTo>
                    <a:pt x="67913" y="91154"/>
                    <a:pt x="74200" y="93821"/>
                    <a:pt x="81344" y="96203"/>
                  </a:cubicBezTo>
                  <a:cubicBezTo>
                    <a:pt x="88487" y="98584"/>
                    <a:pt x="95917" y="100965"/>
                    <a:pt x="103632" y="103346"/>
                  </a:cubicBezTo>
                  <a:cubicBezTo>
                    <a:pt x="112586" y="106013"/>
                    <a:pt x="121444" y="108966"/>
                    <a:pt x="130207" y="112300"/>
                  </a:cubicBezTo>
                  <a:cubicBezTo>
                    <a:pt x="138970" y="115538"/>
                    <a:pt x="146971" y="119729"/>
                    <a:pt x="154114" y="124778"/>
                  </a:cubicBezTo>
                  <a:cubicBezTo>
                    <a:pt x="161258" y="129826"/>
                    <a:pt x="166973" y="135922"/>
                    <a:pt x="171260" y="143066"/>
                  </a:cubicBezTo>
                  <a:cubicBezTo>
                    <a:pt x="175546" y="150209"/>
                    <a:pt x="177737" y="158972"/>
                    <a:pt x="177737" y="169450"/>
                  </a:cubicBezTo>
                  <a:lnTo>
                    <a:pt x="177737" y="170307"/>
                  </a:lnTo>
                  <a:cubicBezTo>
                    <a:pt x="177737" y="181356"/>
                    <a:pt x="175546" y="191071"/>
                    <a:pt x="171260" y="199549"/>
                  </a:cubicBezTo>
                  <a:cubicBezTo>
                    <a:pt x="166973" y="208026"/>
                    <a:pt x="161163" y="215265"/>
                    <a:pt x="153829" y="221171"/>
                  </a:cubicBezTo>
                  <a:cubicBezTo>
                    <a:pt x="146495" y="227171"/>
                    <a:pt x="137922" y="231648"/>
                    <a:pt x="127921" y="234791"/>
                  </a:cubicBezTo>
                  <a:cubicBezTo>
                    <a:pt x="117920" y="237935"/>
                    <a:pt x="107156" y="239459"/>
                    <a:pt x="95536" y="239459"/>
                  </a:cubicBezTo>
                  <a:close/>
                </a:path>
              </a:pathLst>
            </a:custGeom>
            <a:solidFill>
              <a:srgbClr val="44505E"/>
            </a:solidFill>
            <a:ln w="9525" cap="flat">
              <a:noFill/>
              <a:prstDash val="solid"/>
              <a:miter/>
            </a:ln>
          </p:spPr>
          <p:txBody>
            <a:bodyPr rtlCol="0" anchor="ctr"/>
            <a:lstStyle/>
            <a:p>
              <a:endParaRPr lang="pt-BR" noProof="0"/>
            </a:p>
          </p:txBody>
        </p:sp>
        <p:sp>
          <p:nvSpPr>
            <p:cNvPr id="45" name="Freeform: Shape 44">
              <a:extLst>
                <a:ext uri="{FF2B5EF4-FFF2-40B4-BE49-F238E27FC236}">
                  <a16:creationId xmlns:a16="http://schemas.microsoft.com/office/drawing/2014/main" id="{2CD17BAC-2522-91A1-5987-9B580F1E9240}"/>
                </a:ext>
              </a:extLst>
            </p:cNvPr>
            <p:cNvSpPr/>
            <p:nvPr/>
          </p:nvSpPr>
          <p:spPr>
            <a:xfrm>
              <a:off x="605122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4 w 202977"/>
                <a:gd name="connsiteY30" fmla="*/ 174593 h 239267"/>
                <a:gd name="connsiteX31" fmla="*/ 169735 w 202977"/>
                <a:gd name="connsiteY31" fmla="*/ 149447 h 239267"/>
                <a:gd name="connsiteX32" fmla="*/ 169735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0" y="90964"/>
                    <a:pt x="98584" y="90964"/>
                  </a:cubicBezTo>
                  <a:cubicBezTo>
                    <a:pt x="113157" y="90964"/>
                    <a:pt x="126301"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1" y="33147"/>
                    <a:pt x="63436" y="36100"/>
                  </a:cubicBezTo>
                  <a:cubicBezTo>
                    <a:pt x="52292" y="39053"/>
                    <a:pt x="41338" y="43053"/>
                    <a:pt x="30671" y="48196"/>
                  </a:cubicBezTo>
                  <a:lnTo>
                    <a:pt x="20383" y="19907"/>
                  </a:lnTo>
                  <a:cubicBezTo>
                    <a:pt x="33147" y="13906"/>
                    <a:pt x="46101" y="9049"/>
                    <a:pt x="59246" y="5429"/>
                  </a:cubicBezTo>
                  <a:cubicBezTo>
                    <a:pt x="72295"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1" y="239173"/>
                  </a:cubicBezTo>
                  <a:close/>
                  <a:moveTo>
                    <a:pt x="93154" y="211169"/>
                  </a:moveTo>
                  <a:cubicBezTo>
                    <a:pt x="103822" y="211169"/>
                    <a:pt x="113728" y="209740"/>
                    <a:pt x="122967" y="206788"/>
                  </a:cubicBezTo>
                  <a:cubicBezTo>
                    <a:pt x="132207" y="203835"/>
                    <a:pt x="140208" y="199644"/>
                    <a:pt x="147256" y="194120"/>
                  </a:cubicBezTo>
                  <a:cubicBezTo>
                    <a:pt x="154209" y="188595"/>
                    <a:pt x="159734" y="182118"/>
                    <a:pt x="163734" y="174593"/>
                  </a:cubicBezTo>
                  <a:cubicBezTo>
                    <a:pt x="167735" y="167068"/>
                    <a:pt x="169735" y="158687"/>
                    <a:pt x="169735" y="149447"/>
                  </a:cubicBezTo>
                  <a:lnTo>
                    <a:pt x="169735" y="128111"/>
                  </a:lnTo>
                  <a:cubicBezTo>
                    <a:pt x="161163" y="125730"/>
                    <a:pt x="151352" y="123539"/>
                    <a:pt x="140398" y="121444"/>
                  </a:cubicBezTo>
                  <a:cubicBezTo>
                    <a:pt x="129445" y="119348"/>
                    <a:pt x="116872"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46" name="Freeform: Shape 45">
              <a:extLst>
                <a:ext uri="{FF2B5EF4-FFF2-40B4-BE49-F238E27FC236}">
                  <a16:creationId xmlns:a16="http://schemas.microsoft.com/office/drawing/2014/main" id="{42092D44-9910-CC6E-3BCE-15BDB6F97AF4}"/>
                </a:ext>
              </a:extLst>
            </p:cNvPr>
            <p:cNvSpPr/>
            <p:nvPr/>
          </p:nvSpPr>
          <p:spPr>
            <a:xfrm>
              <a:off x="6121359" y="901377"/>
              <a:ext cx="8644" cy="81913"/>
            </a:xfrm>
            <a:custGeom>
              <a:avLst/>
              <a:gdLst>
                <a:gd name="connsiteX0" fmla="*/ 0 w 34385"/>
                <a:gd name="connsiteY0" fmla="*/ 0 h 325850"/>
                <a:gd name="connsiteX1" fmla="*/ 34385 w 34385"/>
                <a:gd name="connsiteY1" fmla="*/ 0 h 325850"/>
                <a:gd name="connsiteX2" fmla="*/ 34385 w 34385"/>
                <a:gd name="connsiteY2" fmla="*/ 325850 h 325850"/>
                <a:gd name="connsiteX3" fmla="*/ 0 w 34385"/>
                <a:gd name="connsiteY3" fmla="*/ 325850 h 325850"/>
                <a:gd name="connsiteX4" fmla="*/ 0 w 34385"/>
                <a:gd name="connsiteY4" fmla="*/ 0 h 32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 h="325850">
                  <a:moveTo>
                    <a:pt x="0" y="0"/>
                  </a:moveTo>
                  <a:lnTo>
                    <a:pt x="34385" y="0"/>
                  </a:lnTo>
                  <a:lnTo>
                    <a:pt x="34385" y="325850"/>
                  </a:lnTo>
                  <a:lnTo>
                    <a:pt x="0" y="325850"/>
                  </a:lnTo>
                  <a:lnTo>
                    <a:pt x="0" y="0"/>
                  </a:lnTo>
                  <a:close/>
                </a:path>
              </a:pathLst>
            </a:custGeom>
            <a:solidFill>
              <a:srgbClr val="44505E"/>
            </a:solidFill>
            <a:ln w="9525" cap="flat">
              <a:noFill/>
              <a:prstDash val="solid"/>
              <a:miter/>
            </a:ln>
          </p:spPr>
          <p:txBody>
            <a:bodyPr rtlCol="0" anchor="ctr"/>
            <a:lstStyle/>
            <a:p>
              <a:endParaRPr lang="pt-BR" noProof="0"/>
            </a:p>
          </p:txBody>
        </p:sp>
        <p:sp>
          <p:nvSpPr>
            <p:cNvPr id="47" name="Freeform: Shape 46">
              <a:extLst>
                <a:ext uri="{FF2B5EF4-FFF2-40B4-BE49-F238E27FC236}">
                  <a16:creationId xmlns:a16="http://schemas.microsoft.com/office/drawing/2014/main" id="{04BB61AB-DEE7-29DB-D654-C0481BC8019C}"/>
                </a:ext>
              </a:extLst>
            </p:cNvPr>
            <p:cNvSpPr/>
            <p:nvPr/>
          </p:nvSpPr>
          <p:spPr>
            <a:xfrm>
              <a:off x="6144346" y="925273"/>
              <a:ext cx="58016" cy="58448"/>
            </a:xfrm>
            <a:custGeom>
              <a:avLst/>
              <a:gdLst>
                <a:gd name="connsiteX0" fmla="*/ 95 w 230790"/>
                <a:gd name="connsiteY0" fmla="*/ 0 h 232505"/>
                <a:gd name="connsiteX1" fmla="*/ 38005 w 230790"/>
                <a:gd name="connsiteY1" fmla="*/ 0 h 232505"/>
                <a:gd name="connsiteX2" fmla="*/ 115634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4"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48" name="Freeform: Shape 47">
              <a:extLst>
                <a:ext uri="{FF2B5EF4-FFF2-40B4-BE49-F238E27FC236}">
                  <a16:creationId xmlns:a16="http://schemas.microsoft.com/office/drawing/2014/main" id="{98EF5A7B-CCDA-217D-D0F3-9449FD8C42A6}"/>
                </a:ext>
              </a:extLst>
            </p:cNvPr>
            <p:cNvSpPr/>
            <p:nvPr/>
          </p:nvSpPr>
          <p:spPr>
            <a:xfrm>
              <a:off x="621155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8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338 w 202977"/>
                <a:gd name="connsiteY36" fmla="*/ 164497 h 239267"/>
                <a:gd name="connsiteX37" fmla="*/ 35338 w 202977"/>
                <a:gd name="connsiteY37" fmla="*/ 165449 h 239267"/>
                <a:gd name="connsiteX38" fmla="*/ 40005 w 202977"/>
                <a:gd name="connsiteY38" fmla="*/ 184785 h 239267"/>
                <a:gd name="connsiteX39" fmla="*/ 52673 w 202977"/>
                <a:gd name="connsiteY39" fmla="*/ 199263 h 239267"/>
                <a:gd name="connsiteX40" fmla="*/ 71152 w 202977"/>
                <a:gd name="connsiteY40" fmla="*/ 208121 h 239267"/>
                <a:gd name="connsiteX41" fmla="*/ 93154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438" y="239268"/>
                    <a:pt x="64961"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1" y="90964"/>
                    <a:pt x="98584" y="90964"/>
                  </a:cubicBezTo>
                  <a:cubicBezTo>
                    <a:pt x="113157" y="90964"/>
                    <a:pt x="126302" y="91821"/>
                    <a:pt x="137160" y="93631"/>
                  </a:cubicBezTo>
                  <a:cubicBezTo>
                    <a:pt x="148019" y="95440"/>
                    <a:pt x="158687" y="97822"/>
                    <a:pt x="169069" y="100774"/>
                  </a:cubicBezTo>
                  <a:lnTo>
                    <a:pt x="169069" y="93726"/>
                  </a:lnTo>
                  <a:cubicBezTo>
                    <a:pt x="169069" y="73342"/>
                    <a:pt x="163068" y="57912"/>
                    <a:pt x="151162" y="47339"/>
                  </a:cubicBezTo>
                  <a:cubicBezTo>
                    <a:pt x="139255" y="36862"/>
                    <a:pt x="122491" y="31623"/>
                    <a:pt x="100679" y="31623"/>
                  </a:cubicBezTo>
                  <a:cubicBezTo>
                    <a:pt x="86963" y="31623"/>
                    <a:pt x="74581" y="33147"/>
                    <a:pt x="63437" y="36100"/>
                  </a:cubicBezTo>
                  <a:cubicBezTo>
                    <a:pt x="52292" y="39053"/>
                    <a:pt x="41338" y="43053"/>
                    <a:pt x="30671" y="48196"/>
                  </a:cubicBezTo>
                  <a:lnTo>
                    <a:pt x="20383" y="19907"/>
                  </a:lnTo>
                  <a:cubicBezTo>
                    <a:pt x="33147" y="13906"/>
                    <a:pt x="46101" y="9049"/>
                    <a:pt x="59246" y="5429"/>
                  </a:cubicBezTo>
                  <a:cubicBezTo>
                    <a:pt x="72390"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04" y="239173"/>
                    <a:pt x="86011" y="239173"/>
                  </a:cubicBezTo>
                  <a:close/>
                  <a:moveTo>
                    <a:pt x="93154" y="211169"/>
                  </a:moveTo>
                  <a:cubicBezTo>
                    <a:pt x="103822" y="211169"/>
                    <a:pt x="113824" y="209740"/>
                    <a:pt x="122968" y="206788"/>
                  </a:cubicBezTo>
                  <a:cubicBezTo>
                    <a:pt x="132112"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5" y="119348"/>
                    <a:pt x="116777" y="118300"/>
                    <a:pt x="102584" y="118300"/>
                  </a:cubicBezTo>
                  <a:cubicBezTo>
                    <a:pt x="81248" y="118300"/>
                    <a:pt x="64675" y="122491"/>
                    <a:pt x="52959" y="130969"/>
                  </a:cubicBezTo>
                  <a:cubicBezTo>
                    <a:pt x="41243" y="139446"/>
                    <a:pt x="35338" y="150590"/>
                    <a:pt x="35338" y="164497"/>
                  </a:cubicBezTo>
                  <a:lnTo>
                    <a:pt x="35338" y="165449"/>
                  </a:lnTo>
                  <a:cubicBezTo>
                    <a:pt x="35338" y="172498"/>
                    <a:pt x="36862" y="178975"/>
                    <a:pt x="40005" y="184785"/>
                  </a:cubicBezTo>
                  <a:cubicBezTo>
                    <a:pt x="43148" y="190500"/>
                    <a:pt x="47339" y="195358"/>
                    <a:pt x="52673" y="199263"/>
                  </a:cubicBezTo>
                  <a:cubicBezTo>
                    <a:pt x="58007" y="203073"/>
                    <a:pt x="64198" y="206026"/>
                    <a:pt x="71152" y="208121"/>
                  </a:cubicBezTo>
                  <a:cubicBezTo>
                    <a:pt x="78105" y="210217"/>
                    <a:pt x="85439" y="211169"/>
                    <a:pt x="93154" y="211169"/>
                  </a:cubicBezTo>
                  <a:close/>
                </a:path>
              </a:pathLst>
            </a:custGeom>
            <a:solidFill>
              <a:srgbClr val="44505E"/>
            </a:solidFill>
            <a:ln w="9525" cap="flat">
              <a:noFill/>
              <a:prstDash val="solid"/>
              <a:miter/>
            </a:ln>
          </p:spPr>
          <p:txBody>
            <a:bodyPr rtlCol="0" anchor="ctr"/>
            <a:lstStyle/>
            <a:p>
              <a:endParaRPr lang="pt-BR" noProof="0"/>
            </a:p>
          </p:txBody>
        </p:sp>
        <p:sp>
          <p:nvSpPr>
            <p:cNvPr id="49" name="Freeform: Shape 48">
              <a:extLst>
                <a:ext uri="{FF2B5EF4-FFF2-40B4-BE49-F238E27FC236}">
                  <a16:creationId xmlns:a16="http://schemas.microsoft.com/office/drawing/2014/main" id="{A5CDE966-C79C-93BC-B07A-F74C00DB9831}"/>
                </a:ext>
              </a:extLst>
            </p:cNvPr>
            <p:cNvSpPr/>
            <p:nvPr/>
          </p:nvSpPr>
          <p:spPr>
            <a:xfrm>
              <a:off x="6280899" y="923980"/>
              <a:ext cx="87995" cy="59238"/>
            </a:xfrm>
            <a:custGeom>
              <a:avLst/>
              <a:gdLst>
                <a:gd name="connsiteX0" fmla="*/ 0 w 350043"/>
                <a:gd name="connsiteY0" fmla="*/ 5144 h 235648"/>
                <a:gd name="connsiteX1" fmla="*/ 34385 w 350043"/>
                <a:gd name="connsiteY1" fmla="*/ 5144 h 235648"/>
                <a:gd name="connsiteX2" fmla="*/ 34385 w 350043"/>
                <a:gd name="connsiteY2" fmla="*/ 44005 h 235648"/>
                <a:gd name="connsiteX3" fmla="*/ 47149 w 350043"/>
                <a:gd name="connsiteY3" fmla="*/ 27432 h 235648"/>
                <a:gd name="connsiteX4" fmla="*/ 62960 w 350043"/>
                <a:gd name="connsiteY4" fmla="*/ 13335 h 235648"/>
                <a:gd name="connsiteX5" fmla="*/ 83058 w 350043"/>
                <a:gd name="connsiteY5" fmla="*/ 3715 h 235648"/>
                <a:gd name="connsiteX6" fmla="*/ 108966 w 350043"/>
                <a:gd name="connsiteY6" fmla="*/ 95 h 235648"/>
                <a:gd name="connsiteX7" fmla="*/ 155448 w 350043"/>
                <a:gd name="connsiteY7" fmla="*/ 13240 h 235648"/>
                <a:gd name="connsiteX8" fmla="*/ 183166 w 350043"/>
                <a:gd name="connsiteY8" fmla="*/ 46006 h 235648"/>
                <a:gd name="connsiteX9" fmla="*/ 197168 w 350043"/>
                <a:gd name="connsiteY9" fmla="*/ 28194 h 235648"/>
                <a:gd name="connsiteX10" fmla="*/ 214789 w 350043"/>
                <a:gd name="connsiteY10" fmla="*/ 13430 h 235648"/>
                <a:gd name="connsiteX11" fmla="*/ 236887 w 350043"/>
                <a:gd name="connsiteY11" fmla="*/ 3620 h 235648"/>
                <a:gd name="connsiteX12" fmla="*/ 264319 w 350043"/>
                <a:gd name="connsiteY12" fmla="*/ 0 h 235648"/>
                <a:gd name="connsiteX13" fmla="*/ 327279 w 350043"/>
                <a:gd name="connsiteY13" fmla="*/ 24765 h 235648"/>
                <a:gd name="connsiteX14" fmla="*/ 350044 w 350043"/>
                <a:gd name="connsiteY14" fmla="*/ 92773 h 235648"/>
                <a:gd name="connsiteX15" fmla="*/ 350044 w 350043"/>
                <a:gd name="connsiteY15" fmla="*/ 235648 h 235648"/>
                <a:gd name="connsiteX16" fmla="*/ 315659 w 350043"/>
                <a:gd name="connsiteY16" fmla="*/ 235648 h 235648"/>
                <a:gd name="connsiteX17" fmla="*/ 315659 w 350043"/>
                <a:gd name="connsiteY17" fmla="*/ 101155 h 235648"/>
                <a:gd name="connsiteX18" fmla="*/ 299847 w 350043"/>
                <a:gd name="connsiteY18" fmla="*/ 49721 h 235648"/>
                <a:gd name="connsiteX19" fmla="*/ 255937 w 350043"/>
                <a:gd name="connsiteY19" fmla="*/ 31718 h 235648"/>
                <a:gd name="connsiteX20" fmla="*/ 231362 w 350043"/>
                <a:gd name="connsiteY20" fmla="*/ 36386 h 235648"/>
                <a:gd name="connsiteX21" fmla="*/ 211074 w 350043"/>
                <a:gd name="connsiteY21" fmla="*/ 50197 h 235648"/>
                <a:gd name="connsiteX22" fmla="*/ 197263 w 350043"/>
                <a:gd name="connsiteY22" fmla="*/ 72676 h 235648"/>
                <a:gd name="connsiteX23" fmla="*/ 192119 w 350043"/>
                <a:gd name="connsiteY23" fmla="*/ 102965 h 235648"/>
                <a:gd name="connsiteX24" fmla="*/ 192119 w 350043"/>
                <a:gd name="connsiteY24" fmla="*/ 235648 h 235648"/>
                <a:gd name="connsiteX25" fmla="*/ 158210 w 350043"/>
                <a:gd name="connsiteY25" fmla="*/ 235648 h 235648"/>
                <a:gd name="connsiteX26" fmla="*/ 158210 w 350043"/>
                <a:gd name="connsiteY26" fmla="*/ 100298 h 235648"/>
                <a:gd name="connsiteX27" fmla="*/ 142399 w 350043"/>
                <a:gd name="connsiteY27" fmla="*/ 49721 h 235648"/>
                <a:gd name="connsiteX28" fmla="*/ 98870 w 350043"/>
                <a:gd name="connsiteY28" fmla="*/ 31718 h 235648"/>
                <a:gd name="connsiteX29" fmla="*/ 73438 w 350043"/>
                <a:gd name="connsiteY29" fmla="*/ 37052 h 235648"/>
                <a:gd name="connsiteX30" fmla="*/ 53150 w 350043"/>
                <a:gd name="connsiteY30" fmla="*/ 52197 h 235648"/>
                <a:gd name="connsiteX31" fmla="*/ 39529 w 350043"/>
                <a:gd name="connsiteY31" fmla="*/ 75152 h 235648"/>
                <a:gd name="connsiteX32" fmla="*/ 34576 w 350043"/>
                <a:gd name="connsiteY32" fmla="*/ 104299 h 235648"/>
                <a:gd name="connsiteX33" fmla="*/ 34576 w 350043"/>
                <a:gd name="connsiteY33" fmla="*/ 235648 h 235648"/>
                <a:gd name="connsiteX34" fmla="*/ 190 w 350043"/>
                <a:gd name="connsiteY34" fmla="*/ 235648 h 235648"/>
                <a:gd name="connsiteX35" fmla="*/ 190 w 350043"/>
                <a:gd name="connsiteY35" fmla="*/ 485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0043" h="235648">
                  <a:moveTo>
                    <a:pt x="0" y="5144"/>
                  </a:moveTo>
                  <a:lnTo>
                    <a:pt x="34385" y="5144"/>
                  </a:lnTo>
                  <a:lnTo>
                    <a:pt x="34385" y="44005"/>
                  </a:lnTo>
                  <a:cubicBezTo>
                    <a:pt x="38290" y="38386"/>
                    <a:pt x="42481" y="32861"/>
                    <a:pt x="47149" y="27432"/>
                  </a:cubicBezTo>
                  <a:cubicBezTo>
                    <a:pt x="51721" y="22098"/>
                    <a:pt x="57055" y="17431"/>
                    <a:pt x="62960" y="13335"/>
                  </a:cubicBezTo>
                  <a:cubicBezTo>
                    <a:pt x="68866" y="9335"/>
                    <a:pt x="75629" y="6096"/>
                    <a:pt x="83058" y="3715"/>
                  </a:cubicBezTo>
                  <a:cubicBezTo>
                    <a:pt x="90488" y="1334"/>
                    <a:pt x="99155" y="95"/>
                    <a:pt x="108966" y="95"/>
                  </a:cubicBezTo>
                  <a:cubicBezTo>
                    <a:pt x="127730" y="95"/>
                    <a:pt x="143161" y="4477"/>
                    <a:pt x="155448" y="13240"/>
                  </a:cubicBezTo>
                  <a:cubicBezTo>
                    <a:pt x="167640" y="22003"/>
                    <a:pt x="176879" y="32956"/>
                    <a:pt x="183166" y="46006"/>
                  </a:cubicBezTo>
                  <a:cubicBezTo>
                    <a:pt x="187357" y="39719"/>
                    <a:pt x="192024" y="33814"/>
                    <a:pt x="197168" y="28194"/>
                  </a:cubicBezTo>
                  <a:cubicBezTo>
                    <a:pt x="202406" y="22574"/>
                    <a:pt x="208217" y="17621"/>
                    <a:pt x="214789" y="13430"/>
                  </a:cubicBezTo>
                  <a:cubicBezTo>
                    <a:pt x="221361" y="9239"/>
                    <a:pt x="228695" y="6001"/>
                    <a:pt x="236887" y="3620"/>
                  </a:cubicBezTo>
                  <a:cubicBezTo>
                    <a:pt x="245078" y="1238"/>
                    <a:pt x="254222" y="0"/>
                    <a:pt x="264319" y="0"/>
                  </a:cubicBezTo>
                  <a:cubicBezTo>
                    <a:pt x="291084" y="0"/>
                    <a:pt x="312039" y="8287"/>
                    <a:pt x="327279" y="24765"/>
                  </a:cubicBezTo>
                  <a:cubicBezTo>
                    <a:pt x="342519" y="41243"/>
                    <a:pt x="350044" y="63913"/>
                    <a:pt x="350044" y="92773"/>
                  </a:cubicBezTo>
                  <a:lnTo>
                    <a:pt x="350044" y="235648"/>
                  </a:lnTo>
                  <a:lnTo>
                    <a:pt x="315659" y="235648"/>
                  </a:lnTo>
                  <a:lnTo>
                    <a:pt x="315659" y="101155"/>
                  </a:lnTo>
                  <a:cubicBezTo>
                    <a:pt x="315659" y="78867"/>
                    <a:pt x="310420" y="61722"/>
                    <a:pt x="299847" y="49721"/>
                  </a:cubicBezTo>
                  <a:cubicBezTo>
                    <a:pt x="289274" y="37719"/>
                    <a:pt x="274606" y="31718"/>
                    <a:pt x="255937" y="31718"/>
                  </a:cubicBezTo>
                  <a:cubicBezTo>
                    <a:pt x="247269" y="31718"/>
                    <a:pt x="239078" y="33242"/>
                    <a:pt x="231362" y="36386"/>
                  </a:cubicBezTo>
                  <a:cubicBezTo>
                    <a:pt x="223647" y="39529"/>
                    <a:pt x="216884" y="44101"/>
                    <a:pt x="211074" y="50197"/>
                  </a:cubicBezTo>
                  <a:cubicBezTo>
                    <a:pt x="205264" y="56293"/>
                    <a:pt x="200692" y="63818"/>
                    <a:pt x="197263" y="72676"/>
                  </a:cubicBezTo>
                  <a:cubicBezTo>
                    <a:pt x="193834" y="81629"/>
                    <a:pt x="192119" y="91726"/>
                    <a:pt x="192119" y="102965"/>
                  </a:cubicBezTo>
                  <a:lnTo>
                    <a:pt x="192119" y="235648"/>
                  </a:lnTo>
                  <a:lnTo>
                    <a:pt x="158210" y="235648"/>
                  </a:lnTo>
                  <a:lnTo>
                    <a:pt x="158210" y="100298"/>
                  </a:lnTo>
                  <a:cubicBezTo>
                    <a:pt x="158210" y="78677"/>
                    <a:pt x="152971" y="61817"/>
                    <a:pt x="142399" y="49721"/>
                  </a:cubicBezTo>
                  <a:cubicBezTo>
                    <a:pt x="131826" y="37719"/>
                    <a:pt x="117348" y="31718"/>
                    <a:pt x="98870" y="31718"/>
                  </a:cubicBezTo>
                  <a:cubicBezTo>
                    <a:pt x="89630" y="31718"/>
                    <a:pt x="81153" y="33528"/>
                    <a:pt x="73438" y="37052"/>
                  </a:cubicBezTo>
                  <a:cubicBezTo>
                    <a:pt x="65722" y="40672"/>
                    <a:pt x="58960" y="45720"/>
                    <a:pt x="53150" y="52197"/>
                  </a:cubicBezTo>
                  <a:cubicBezTo>
                    <a:pt x="47339" y="58769"/>
                    <a:pt x="42767" y="66389"/>
                    <a:pt x="39529" y="75152"/>
                  </a:cubicBezTo>
                  <a:cubicBezTo>
                    <a:pt x="36290" y="83915"/>
                    <a:pt x="34576" y="93631"/>
                    <a:pt x="34576" y="104299"/>
                  </a:cubicBezTo>
                  <a:lnTo>
                    <a:pt x="34576" y="235648"/>
                  </a:lnTo>
                  <a:lnTo>
                    <a:pt x="190" y="235648"/>
                  </a:lnTo>
                  <a:lnTo>
                    <a:pt x="190" y="4858"/>
                  </a:lnTo>
                  <a:close/>
                </a:path>
              </a:pathLst>
            </a:custGeom>
            <a:solidFill>
              <a:srgbClr val="44505E"/>
            </a:solidFill>
            <a:ln w="9525" cap="flat">
              <a:noFill/>
              <a:prstDash val="solid"/>
              <a:miter/>
            </a:ln>
          </p:spPr>
          <p:txBody>
            <a:bodyPr rtlCol="0" anchor="ctr"/>
            <a:lstStyle/>
            <a:p>
              <a:endParaRPr lang="pt-BR" noProof="0"/>
            </a:p>
          </p:txBody>
        </p:sp>
        <p:sp>
          <p:nvSpPr>
            <p:cNvPr id="50" name="Freeform: Shape 49">
              <a:extLst>
                <a:ext uri="{FF2B5EF4-FFF2-40B4-BE49-F238E27FC236}">
                  <a16:creationId xmlns:a16="http://schemas.microsoft.com/office/drawing/2014/main" id="{94C31C37-CC3C-73A1-82A6-8E7E4D521DAB}"/>
                </a:ext>
              </a:extLst>
            </p:cNvPr>
            <p:cNvSpPr/>
            <p:nvPr/>
          </p:nvSpPr>
          <p:spPr>
            <a:xfrm>
              <a:off x="6415537" y="925273"/>
              <a:ext cx="58016" cy="58448"/>
            </a:xfrm>
            <a:custGeom>
              <a:avLst/>
              <a:gdLst>
                <a:gd name="connsiteX0" fmla="*/ 95 w 230790"/>
                <a:gd name="connsiteY0" fmla="*/ 0 h 232505"/>
                <a:gd name="connsiteX1" fmla="*/ 38005 w 230790"/>
                <a:gd name="connsiteY1" fmla="*/ 0 h 232505"/>
                <a:gd name="connsiteX2" fmla="*/ 115633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3"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51" name="Freeform: Shape 50">
              <a:extLst>
                <a:ext uri="{FF2B5EF4-FFF2-40B4-BE49-F238E27FC236}">
                  <a16:creationId xmlns:a16="http://schemas.microsoft.com/office/drawing/2014/main" id="{B162C053-EA97-6803-C7CE-1361AC2D85E8}"/>
                </a:ext>
              </a:extLst>
            </p:cNvPr>
            <p:cNvSpPr/>
            <p:nvPr/>
          </p:nvSpPr>
          <p:spPr>
            <a:xfrm>
              <a:off x="6487369"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286 w 39242"/>
                <a:gd name="connsiteY5" fmla="*/ 88392 h 319182"/>
                <a:gd name="connsiteX6" fmla="*/ 36671 w 39242"/>
                <a:gd name="connsiteY6" fmla="*/ 88392 h 319182"/>
                <a:gd name="connsiteX7" fmla="*/ 36671 w 39242"/>
                <a:gd name="connsiteY7" fmla="*/ 319183 h 319182"/>
                <a:gd name="connsiteX8" fmla="*/ 2286 w 39242"/>
                <a:gd name="connsiteY8" fmla="*/ 319183 h 319182"/>
                <a:gd name="connsiteX9" fmla="*/ 2286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286" y="88392"/>
                  </a:moveTo>
                  <a:lnTo>
                    <a:pt x="36671" y="88392"/>
                  </a:lnTo>
                  <a:lnTo>
                    <a:pt x="36671" y="319183"/>
                  </a:lnTo>
                  <a:lnTo>
                    <a:pt x="2286" y="319183"/>
                  </a:lnTo>
                  <a:lnTo>
                    <a:pt x="2286" y="88392"/>
                  </a:lnTo>
                  <a:close/>
                </a:path>
              </a:pathLst>
            </a:custGeom>
            <a:solidFill>
              <a:srgbClr val="44505E"/>
            </a:solidFill>
            <a:ln w="9525" cap="flat">
              <a:noFill/>
              <a:prstDash val="solid"/>
              <a:miter/>
            </a:ln>
          </p:spPr>
          <p:txBody>
            <a:bodyPr rtlCol="0" anchor="ctr"/>
            <a:lstStyle/>
            <a:p>
              <a:endParaRPr lang="pt-BR" noProof="0"/>
            </a:p>
          </p:txBody>
        </p:sp>
        <p:sp>
          <p:nvSpPr>
            <p:cNvPr id="52" name="Freeform: Shape 51">
              <a:extLst>
                <a:ext uri="{FF2B5EF4-FFF2-40B4-BE49-F238E27FC236}">
                  <a16:creationId xmlns:a16="http://schemas.microsoft.com/office/drawing/2014/main" id="{9B046298-E1F2-DC7C-4475-A1B529D4959C}"/>
                </a:ext>
              </a:extLst>
            </p:cNvPr>
            <p:cNvSpPr/>
            <p:nvPr/>
          </p:nvSpPr>
          <p:spPr>
            <a:xfrm>
              <a:off x="6513253" y="901353"/>
              <a:ext cx="58615" cy="83182"/>
            </a:xfrm>
            <a:custGeom>
              <a:avLst/>
              <a:gdLst>
                <a:gd name="connsiteX0" fmla="*/ 110394 w 233171"/>
                <a:gd name="connsiteY0" fmla="*/ 330898 h 330898"/>
                <a:gd name="connsiteX1" fmla="*/ 69723 w 233171"/>
                <a:gd name="connsiteY1" fmla="*/ 322897 h 330898"/>
                <a:gd name="connsiteX2" fmla="*/ 34480 w 233171"/>
                <a:gd name="connsiteY2" fmla="*/ 299466 h 330898"/>
                <a:gd name="connsiteX3" fmla="*/ 9430 w 233171"/>
                <a:gd name="connsiteY3" fmla="*/ 261938 h 330898"/>
                <a:gd name="connsiteX4" fmla="*/ 0 w 233171"/>
                <a:gd name="connsiteY4" fmla="*/ 211264 h 330898"/>
                <a:gd name="connsiteX5" fmla="*/ 0 w 233171"/>
                <a:gd name="connsiteY5" fmla="*/ 210407 h 330898"/>
                <a:gd name="connsiteX6" fmla="*/ 9430 w 233171"/>
                <a:gd name="connsiteY6" fmla="*/ 159925 h 330898"/>
                <a:gd name="connsiteX7" fmla="*/ 34480 w 233171"/>
                <a:gd name="connsiteY7" fmla="*/ 122206 h 330898"/>
                <a:gd name="connsiteX8" fmla="*/ 69723 w 233171"/>
                <a:gd name="connsiteY8" fmla="*/ 98488 h 330898"/>
                <a:gd name="connsiteX9" fmla="*/ 110394 w 233171"/>
                <a:gd name="connsiteY9" fmla="*/ 90202 h 330898"/>
                <a:gd name="connsiteX10" fmla="*/ 139827 w 233171"/>
                <a:gd name="connsiteY10" fmla="*/ 94202 h 330898"/>
                <a:gd name="connsiteX11" fmla="*/ 163925 w 233171"/>
                <a:gd name="connsiteY11" fmla="*/ 104870 h 330898"/>
                <a:gd name="connsiteX12" fmla="*/ 183356 w 233171"/>
                <a:gd name="connsiteY12" fmla="*/ 120491 h 330898"/>
                <a:gd name="connsiteX13" fmla="*/ 198787 w 233171"/>
                <a:gd name="connsiteY13" fmla="*/ 139255 h 330898"/>
                <a:gd name="connsiteX14" fmla="*/ 198787 w 233171"/>
                <a:gd name="connsiteY14" fmla="*/ 0 h 330898"/>
                <a:gd name="connsiteX15" fmla="*/ 233172 w 233171"/>
                <a:gd name="connsiteY15" fmla="*/ 0 h 330898"/>
                <a:gd name="connsiteX16" fmla="*/ 233172 w 233171"/>
                <a:gd name="connsiteY16" fmla="*/ 325850 h 330898"/>
                <a:gd name="connsiteX17" fmla="*/ 198787 w 233171"/>
                <a:gd name="connsiteY17" fmla="*/ 325850 h 330898"/>
                <a:gd name="connsiteX18" fmla="*/ 198787 w 233171"/>
                <a:gd name="connsiteY18" fmla="*/ 279463 h 330898"/>
                <a:gd name="connsiteX19" fmla="*/ 182975 w 233171"/>
                <a:gd name="connsiteY19" fmla="*/ 299085 h 330898"/>
                <a:gd name="connsiteX20" fmla="*/ 163544 w 233171"/>
                <a:gd name="connsiteY20" fmla="*/ 315658 h 330898"/>
                <a:gd name="connsiteX21" fmla="*/ 139636 w 233171"/>
                <a:gd name="connsiteY21" fmla="*/ 326803 h 330898"/>
                <a:gd name="connsiteX22" fmla="*/ 110394 w 233171"/>
                <a:gd name="connsiteY22" fmla="*/ 330803 h 330898"/>
                <a:gd name="connsiteX23" fmla="*/ 116681 w 233171"/>
                <a:gd name="connsiteY23" fmla="*/ 300133 h 330898"/>
                <a:gd name="connsiteX24" fmla="*/ 147733 w 233171"/>
                <a:gd name="connsiteY24" fmla="*/ 293656 h 330898"/>
                <a:gd name="connsiteX25" fmla="*/ 174498 w 233171"/>
                <a:gd name="connsiteY25" fmla="*/ 275368 h 330898"/>
                <a:gd name="connsiteX26" fmla="*/ 193262 w 233171"/>
                <a:gd name="connsiteY26" fmla="*/ 247269 h 330898"/>
                <a:gd name="connsiteX27" fmla="*/ 200216 w 233171"/>
                <a:gd name="connsiteY27" fmla="*/ 210883 h 330898"/>
                <a:gd name="connsiteX28" fmla="*/ 200216 w 233171"/>
                <a:gd name="connsiteY28" fmla="*/ 210026 h 330898"/>
                <a:gd name="connsiteX29" fmla="*/ 193262 w 233171"/>
                <a:gd name="connsiteY29" fmla="*/ 173641 h 330898"/>
                <a:gd name="connsiteX30" fmla="*/ 174498 w 233171"/>
                <a:gd name="connsiteY30" fmla="*/ 145732 h 330898"/>
                <a:gd name="connsiteX31" fmla="*/ 147733 w 233171"/>
                <a:gd name="connsiteY31" fmla="*/ 127635 h 330898"/>
                <a:gd name="connsiteX32" fmla="*/ 116681 w 233171"/>
                <a:gd name="connsiteY32" fmla="*/ 121158 h 330898"/>
                <a:gd name="connsiteX33" fmla="*/ 84963 w 233171"/>
                <a:gd name="connsiteY33" fmla="*/ 127159 h 330898"/>
                <a:gd name="connsiteX34" fmla="*/ 59341 w 233171"/>
                <a:gd name="connsiteY34" fmla="*/ 144589 h 330898"/>
                <a:gd name="connsiteX35" fmla="*/ 41910 w 233171"/>
                <a:gd name="connsiteY35" fmla="*/ 172498 h 330898"/>
                <a:gd name="connsiteX36" fmla="*/ 35433 w 233171"/>
                <a:gd name="connsiteY36" fmla="*/ 210026 h 330898"/>
                <a:gd name="connsiteX37" fmla="*/ 35433 w 233171"/>
                <a:gd name="connsiteY37" fmla="*/ 210883 h 330898"/>
                <a:gd name="connsiteX38" fmla="*/ 41910 w 233171"/>
                <a:gd name="connsiteY38" fmla="*/ 247936 h 330898"/>
                <a:gd name="connsiteX39" fmla="*/ 59531 w 233171"/>
                <a:gd name="connsiteY39" fmla="*/ 276034 h 330898"/>
                <a:gd name="connsiteX40" fmla="*/ 85439 w 233171"/>
                <a:gd name="connsiteY40" fmla="*/ 293941 h 330898"/>
                <a:gd name="connsiteX41" fmla="*/ 116681 w 23317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3171" h="330898">
                  <a:moveTo>
                    <a:pt x="110394" y="330898"/>
                  </a:moveTo>
                  <a:cubicBezTo>
                    <a:pt x="96393" y="330898"/>
                    <a:pt x="82868" y="328231"/>
                    <a:pt x="69723" y="322897"/>
                  </a:cubicBezTo>
                  <a:cubicBezTo>
                    <a:pt x="56674" y="317563"/>
                    <a:pt x="44863" y="309753"/>
                    <a:pt x="34480" y="299466"/>
                  </a:cubicBezTo>
                  <a:cubicBezTo>
                    <a:pt x="24003" y="289179"/>
                    <a:pt x="15716" y="276701"/>
                    <a:pt x="9430" y="261938"/>
                  </a:cubicBezTo>
                  <a:cubicBezTo>
                    <a:pt x="3143" y="247174"/>
                    <a:pt x="0" y="230314"/>
                    <a:pt x="0" y="211264"/>
                  </a:cubicBezTo>
                  <a:lnTo>
                    <a:pt x="0" y="210407"/>
                  </a:lnTo>
                  <a:cubicBezTo>
                    <a:pt x="0" y="191643"/>
                    <a:pt x="3143" y="174879"/>
                    <a:pt x="9430" y="159925"/>
                  </a:cubicBezTo>
                  <a:cubicBezTo>
                    <a:pt x="15716" y="145066"/>
                    <a:pt x="24003" y="132493"/>
                    <a:pt x="34480" y="122206"/>
                  </a:cubicBezTo>
                  <a:cubicBezTo>
                    <a:pt x="44863" y="111919"/>
                    <a:pt x="56674" y="104013"/>
                    <a:pt x="69723" y="98488"/>
                  </a:cubicBezTo>
                  <a:cubicBezTo>
                    <a:pt x="82868" y="92964"/>
                    <a:pt x="96393" y="90202"/>
                    <a:pt x="110394" y="90202"/>
                  </a:cubicBezTo>
                  <a:cubicBezTo>
                    <a:pt x="121158" y="90202"/>
                    <a:pt x="130969" y="91535"/>
                    <a:pt x="139827" y="94202"/>
                  </a:cubicBezTo>
                  <a:cubicBezTo>
                    <a:pt x="148780" y="96869"/>
                    <a:pt x="156782" y="100489"/>
                    <a:pt x="163925" y="104870"/>
                  </a:cubicBezTo>
                  <a:cubicBezTo>
                    <a:pt x="171069" y="109347"/>
                    <a:pt x="177546" y="114586"/>
                    <a:pt x="183356" y="120491"/>
                  </a:cubicBezTo>
                  <a:cubicBezTo>
                    <a:pt x="189166" y="126492"/>
                    <a:pt x="194310" y="132683"/>
                    <a:pt x="198787" y="139255"/>
                  </a:cubicBezTo>
                  <a:lnTo>
                    <a:pt x="198787" y="0"/>
                  </a:lnTo>
                  <a:lnTo>
                    <a:pt x="233172" y="0"/>
                  </a:lnTo>
                  <a:lnTo>
                    <a:pt x="233172" y="325850"/>
                  </a:lnTo>
                  <a:lnTo>
                    <a:pt x="198787" y="325850"/>
                  </a:lnTo>
                  <a:lnTo>
                    <a:pt x="198787" y="279463"/>
                  </a:lnTo>
                  <a:cubicBezTo>
                    <a:pt x="194024" y="286321"/>
                    <a:pt x="188786" y="292894"/>
                    <a:pt x="182975" y="299085"/>
                  </a:cubicBezTo>
                  <a:cubicBezTo>
                    <a:pt x="177165" y="305371"/>
                    <a:pt x="170688" y="310896"/>
                    <a:pt x="163544" y="315658"/>
                  </a:cubicBezTo>
                  <a:cubicBezTo>
                    <a:pt x="156400" y="320421"/>
                    <a:pt x="148494" y="324136"/>
                    <a:pt x="139636" y="326803"/>
                  </a:cubicBezTo>
                  <a:cubicBezTo>
                    <a:pt x="130873" y="329470"/>
                    <a:pt x="121158" y="330803"/>
                    <a:pt x="110394" y="330803"/>
                  </a:cubicBezTo>
                  <a:close/>
                  <a:moveTo>
                    <a:pt x="116681" y="300133"/>
                  </a:moveTo>
                  <a:cubicBezTo>
                    <a:pt x="127445" y="300133"/>
                    <a:pt x="137732" y="297942"/>
                    <a:pt x="147733" y="293656"/>
                  </a:cubicBezTo>
                  <a:cubicBezTo>
                    <a:pt x="157734" y="289369"/>
                    <a:pt x="166592" y="283273"/>
                    <a:pt x="174498" y="275368"/>
                  </a:cubicBezTo>
                  <a:cubicBezTo>
                    <a:pt x="182404" y="267462"/>
                    <a:pt x="188595" y="258127"/>
                    <a:pt x="193262" y="247269"/>
                  </a:cubicBezTo>
                  <a:cubicBezTo>
                    <a:pt x="197834" y="236410"/>
                    <a:pt x="200216" y="224314"/>
                    <a:pt x="200216" y="210883"/>
                  </a:cubicBezTo>
                  <a:lnTo>
                    <a:pt x="200216" y="210026"/>
                  </a:lnTo>
                  <a:cubicBezTo>
                    <a:pt x="200216" y="196596"/>
                    <a:pt x="197929" y="184499"/>
                    <a:pt x="193262" y="173641"/>
                  </a:cubicBezTo>
                  <a:cubicBezTo>
                    <a:pt x="188595" y="162782"/>
                    <a:pt x="182404" y="153448"/>
                    <a:pt x="174498" y="145732"/>
                  </a:cubicBezTo>
                  <a:cubicBezTo>
                    <a:pt x="166592" y="138017"/>
                    <a:pt x="157639" y="132016"/>
                    <a:pt x="147733" y="127635"/>
                  </a:cubicBezTo>
                  <a:cubicBezTo>
                    <a:pt x="137732" y="123349"/>
                    <a:pt x="127445" y="121158"/>
                    <a:pt x="116681" y="121158"/>
                  </a:cubicBezTo>
                  <a:cubicBezTo>
                    <a:pt x="105346" y="121158"/>
                    <a:pt x="94774" y="123158"/>
                    <a:pt x="84963" y="127159"/>
                  </a:cubicBezTo>
                  <a:cubicBezTo>
                    <a:pt x="75152" y="131159"/>
                    <a:pt x="66580" y="136969"/>
                    <a:pt x="59341" y="144589"/>
                  </a:cubicBezTo>
                  <a:cubicBezTo>
                    <a:pt x="52007" y="152114"/>
                    <a:pt x="46291" y="161449"/>
                    <a:pt x="41910" y="172498"/>
                  </a:cubicBezTo>
                  <a:cubicBezTo>
                    <a:pt x="37624" y="183451"/>
                    <a:pt x="35433" y="196024"/>
                    <a:pt x="35433" y="210026"/>
                  </a:cubicBezTo>
                  <a:lnTo>
                    <a:pt x="35433" y="210883"/>
                  </a:lnTo>
                  <a:cubicBezTo>
                    <a:pt x="35433" y="224599"/>
                    <a:pt x="37624" y="236982"/>
                    <a:pt x="41910" y="247936"/>
                  </a:cubicBezTo>
                  <a:cubicBezTo>
                    <a:pt x="46196" y="258984"/>
                    <a:pt x="52101" y="268319"/>
                    <a:pt x="59531" y="276034"/>
                  </a:cubicBezTo>
                  <a:cubicBezTo>
                    <a:pt x="66960" y="283750"/>
                    <a:pt x="75629" y="289750"/>
                    <a:pt x="85439" y="293941"/>
                  </a:cubicBezTo>
                  <a:cubicBezTo>
                    <a:pt x="95250" y="298132"/>
                    <a:pt x="105632" y="300228"/>
                    <a:pt x="116681" y="300228"/>
                  </a:cubicBezTo>
                  <a:close/>
                </a:path>
              </a:pathLst>
            </a:custGeom>
            <a:solidFill>
              <a:srgbClr val="44505E"/>
            </a:solidFill>
            <a:ln w="9525" cap="flat">
              <a:noFill/>
              <a:prstDash val="solid"/>
              <a:miter/>
            </a:ln>
          </p:spPr>
          <p:txBody>
            <a:bodyPr rtlCol="0" anchor="ctr"/>
            <a:lstStyle/>
            <a:p>
              <a:endParaRPr lang="pt-BR" noProof="0"/>
            </a:p>
          </p:txBody>
        </p:sp>
        <p:sp>
          <p:nvSpPr>
            <p:cNvPr id="53" name="Freeform: Shape 52">
              <a:extLst>
                <a:ext uri="{FF2B5EF4-FFF2-40B4-BE49-F238E27FC236}">
                  <a16:creationId xmlns:a16="http://schemas.microsoft.com/office/drawing/2014/main" id="{33C60698-A1AF-A275-0672-E59131440888}"/>
                </a:ext>
              </a:extLst>
            </p:cNvPr>
            <p:cNvSpPr/>
            <p:nvPr/>
          </p:nvSpPr>
          <p:spPr>
            <a:xfrm>
              <a:off x="6586762"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0 w 202977"/>
                <a:gd name="connsiteY16" fmla="*/ 48196 h 239267"/>
                <a:gd name="connsiteX17" fmla="*/ 20383 w 202977"/>
                <a:gd name="connsiteY17" fmla="*/ 19907 h 239267"/>
                <a:gd name="connsiteX18" fmla="*/ 59245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0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1"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675" y="92678"/>
                    <a:pt x="84011" y="90964"/>
                    <a:pt x="98584" y="90964"/>
                  </a:cubicBezTo>
                  <a:cubicBezTo>
                    <a:pt x="113157" y="90964"/>
                    <a:pt x="126302"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0" y="33147"/>
                    <a:pt x="63436" y="36100"/>
                  </a:cubicBezTo>
                  <a:cubicBezTo>
                    <a:pt x="52292" y="39053"/>
                    <a:pt x="41338" y="43053"/>
                    <a:pt x="30670" y="48196"/>
                  </a:cubicBezTo>
                  <a:lnTo>
                    <a:pt x="20383" y="19907"/>
                  </a:lnTo>
                  <a:cubicBezTo>
                    <a:pt x="33147" y="13906"/>
                    <a:pt x="46101" y="9049"/>
                    <a:pt x="59245" y="5429"/>
                  </a:cubicBezTo>
                  <a:cubicBezTo>
                    <a:pt x="72294" y="1810"/>
                    <a:pt x="87344" y="0"/>
                    <a:pt x="104299" y="0"/>
                  </a:cubicBezTo>
                  <a:cubicBezTo>
                    <a:pt x="137064" y="0"/>
                    <a:pt x="161925" y="8477"/>
                    <a:pt x="178879" y="25432"/>
                  </a:cubicBezTo>
                  <a:cubicBezTo>
                    <a:pt x="194976"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0" y="239173"/>
                  </a:cubicBezTo>
                  <a:close/>
                  <a:moveTo>
                    <a:pt x="93154" y="211169"/>
                  </a:moveTo>
                  <a:cubicBezTo>
                    <a:pt x="103822" y="211169"/>
                    <a:pt x="113729" y="209740"/>
                    <a:pt x="122967" y="206788"/>
                  </a:cubicBezTo>
                  <a:cubicBezTo>
                    <a:pt x="132207"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4" y="119348"/>
                    <a:pt x="116871"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54" name="Freeform: Shape 53">
              <a:extLst>
                <a:ext uri="{FF2B5EF4-FFF2-40B4-BE49-F238E27FC236}">
                  <a16:creationId xmlns:a16="http://schemas.microsoft.com/office/drawing/2014/main" id="{A869E1D6-45DA-E358-8B78-AF75FA570D51}"/>
                </a:ext>
              </a:extLst>
            </p:cNvPr>
            <p:cNvSpPr/>
            <p:nvPr/>
          </p:nvSpPr>
          <p:spPr>
            <a:xfrm>
              <a:off x="6651291" y="924268"/>
              <a:ext cx="44680" cy="60195"/>
            </a:xfrm>
            <a:custGeom>
              <a:avLst/>
              <a:gdLst>
                <a:gd name="connsiteX0" fmla="*/ 95535 w 177736"/>
                <a:gd name="connsiteY0" fmla="*/ 239268 h 239458"/>
                <a:gd name="connsiteX1" fmla="*/ 45053 w 177736"/>
                <a:gd name="connsiteY1" fmla="*/ 230124 h 239458"/>
                <a:gd name="connsiteX2" fmla="*/ 0 w 177736"/>
                <a:gd name="connsiteY2" fmla="*/ 205359 h 239458"/>
                <a:gd name="connsiteX3" fmla="*/ 17430 w 177736"/>
                <a:gd name="connsiteY3" fmla="*/ 180785 h 239458"/>
                <a:gd name="connsiteX4" fmla="*/ 56483 w 177736"/>
                <a:gd name="connsiteY4" fmla="*/ 202692 h 239458"/>
                <a:gd name="connsiteX5" fmla="*/ 97345 w 177736"/>
                <a:gd name="connsiteY5" fmla="*/ 210217 h 239458"/>
                <a:gd name="connsiteX6" fmla="*/ 131730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825 w 177736"/>
                <a:gd name="connsiteY10" fmla="*/ 147066 h 239458"/>
                <a:gd name="connsiteX11" fmla="*/ 109251 w 177736"/>
                <a:gd name="connsiteY11" fmla="*/ 138779 h 239458"/>
                <a:gd name="connsiteX12" fmla="*/ 87630 w 177736"/>
                <a:gd name="connsiteY12" fmla="*/ 132112 h 239458"/>
                <a:gd name="connsiteX13" fmla="*/ 60579 w 177736"/>
                <a:gd name="connsiteY13" fmla="*/ 123444 h 239458"/>
                <a:gd name="connsiteX14" fmla="*/ 36004 w 177736"/>
                <a:gd name="connsiteY14" fmla="*/ 111633 h 239458"/>
                <a:gd name="connsiteX15" fmla="*/ 18192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59 w 177736"/>
                <a:gd name="connsiteY22" fmla="*/ 6953 h 239458"/>
                <a:gd name="connsiteX23" fmla="*/ 172878 w 177736"/>
                <a:gd name="connsiteY23" fmla="*/ 25527 h 239458"/>
                <a:gd name="connsiteX24" fmla="*/ 157257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3 w 177736"/>
                <a:gd name="connsiteY32" fmla="*/ 96203 h 239458"/>
                <a:gd name="connsiteX33" fmla="*/ 103631 w 177736"/>
                <a:gd name="connsiteY33" fmla="*/ 103346 h 239458"/>
                <a:gd name="connsiteX34" fmla="*/ 130207 w 177736"/>
                <a:gd name="connsiteY34" fmla="*/ 112300 h 239458"/>
                <a:gd name="connsiteX35" fmla="*/ 154114 w 177736"/>
                <a:gd name="connsiteY35" fmla="*/ 124778 h 239458"/>
                <a:gd name="connsiteX36" fmla="*/ 171259 w 177736"/>
                <a:gd name="connsiteY36" fmla="*/ 143066 h 239458"/>
                <a:gd name="connsiteX37" fmla="*/ 177736 w 177736"/>
                <a:gd name="connsiteY37" fmla="*/ 169450 h 239458"/>
                <a:gd name="connsiteX38" fmla="*/ 177736 w 177736"/>
                <a:gd name="connsiteY38" fmla="*/ 170307 h 239458"/>
                <a:gd name="connsiteX39" fmla="*/ 171259 w 177736"/>
                <a:gd name="connsiteY39" fmla="*/ 199549 h 239458"/>
                <a:gd name="connsiteX40" fmla="*/ 153828 w 177736"/>
                <a:gd name="connsiteY40" fmla="*/ 221171 h 239458"/>
                <a:gd name="connsiteX41" fmla="*/ 127921 w 177736"/>
                <a:gd name="connsiteY41" fmla="*/ 234791 h 239458"/>
                <a:gd name="connsiteX42" fmla="*/ 95535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5" y="239268"/>
                  </a:moveTo>
                  <a:cubicBezTo>
                    <a:pt x="78867" y="239268"/>
                    <a:pt x="62007" y="236220"/>
                    <a:pt x="45053" y="230124"/>
                  </a:cubicBezTo>
                  <a:cubicBezTo>
                    <a:pt x="28098" y="224028"/>
                    <a:pt x="13049" y="215741"/>
                    <a:pt x="0" y="205359"/>
                  </a:cubicBezTo>
                  <a:lnTo>
                    <a:pt x="17430" y="180785"/>
                  </a:lnTo>
                  <a:cubicBezTo>
                    <a:pt x="29908" y="190310"/>
                    <a:pt x="42957" y="197644"/>
                    <a:pt x="56483" y="202692"/>
                  </a:cubicBezTo>
                  <a:cubicBezTo>
                    <a:pt x="70009" y="207740"/>
                    <a:pt x="83629" y="210217"/>
                    <a:pt x="97345" y="210217"/>
                  </a:cubicBezTo>
                  <a:cubicBezTo>
                    <a:pt x="111061" y="210217"/>
                    <a:pt x="122777" y="206978"/>
                    <a:pt x="131730" y="200406"/>
                  </a:cubicBezTo>
                  <a:cubicBezTo>
                    <a:pt x="140684" y="193834"/>
                    <a:pt x="145161" y="184976"/>
                    <a:pt x="145161" y="173641"/>
                  </a:cubicBezTo>
                  <a:lnTo>
                    <a:pt x="145161" y="172784"/>
                  </a:lnTo>
                  <a:cubicBezTo>
                    <a:pt x="145161" y="167164"/>
                    <a:pt x="143541" y="162211"/>
                    <a:pt x="140494" y="158020"/>
                  </a:cubicBezTo>
                  <a:cubicBezTo>
                    <a:pt x="137350" y="153829"/>
                    <a:pt x="133159" y="150209"/>
                    <a:pt x="127825" y="147066"/>
                  </a:cubicBezTo>
                  <a:cubicBezTo>
                    <a:pt x="122491" y="143923"/>
                    <a:pt x="116300" y="141161"/>
                    <a:pt x="109251" y="138779"/>
                  </a:cubicBezTo>
                  <a:cubicBezTo>
                    <a:pt x="102298" y="136398"/>
                    <a:pt x="95059" y="134207"/>
                    <a:pt x="87630" y="132112"/>
                  </a:cubicBezTo>
                  <a:cubicBezTo>
                    <a:pt x="78676" y="129445"/>
                    <a:pt x="69722" y="126492"/>
                    <a:pt x="60579" y="123444"/>
                  </a:cubicBezTo>
                  <a:cubicBezTo>
                    <a:pt x="51530" y="120301"/>
                    <a:pt x="43339" y="116396"/>
                    <a:pt x="36004" y="111633"/>
                  </a:cubicBezTo>
                  <a:cubicBezTo>
                    <a:pt x="28670" y="106871"/>
                    <a:pt x="22764" y="100870"/>
                    <a:pt x="18192" y="93726"/>
                  </a:cubicBezTo>
                  <a:cubicBezTo>
                    <a:pt x="13525" y="86582"/>
                    <a:pt x="11239" y="77629"/>
                    <a:pt x="11239" y="66961"/>
                  </a:cubicBezTo>
                  <a:lnTo>
                    <a:pt x="11239" y="66008"/>
                  </a:lnTo>
                  <a:cubicBezTo>
                    <a:pt x="11239" y="56198"/>
                    <a:pt x="13144" y="47149"/>
                    <a:pt x="17050" y="39053"/>
                  </a:cubicBezTo>
                  <a:cubicBezTo>
                    <a:pt x="20955" y="30861"/>
                    <a:pt x="26384" y="23908"/>
                    <a:pt x="33338" y="18098"/>
                  </a:cubicBezTo>
                  <a:cubicBezTo>
                    <a:pt x="40291" y="12287"/>
                    <a:pt x="48673" y="7811"/>
                    <a:pt x="58388" y="4667"/>
                  </a:cubicBezTo>
                  <a:cubicBezTo>
                    <a:pt x="68008" y="1524"/>
                    <a:pt x="78581" y="0"/>
                    <a:pt x="89821" y="0"/>
                  </a:cubicBezTo>
                  <a:cubicBezTo>
                    <a:pt x="104108" y="0"/>
                    <a:pt x="118586" y="2286"/>
                    <a:pt x="133159" y="6953"/>
                  </a:cubicBezTo>
                  <a:cubicBezTo>
                    <a:pt x="147732" y="11621"/>
                    <a:pt x="160972" y="17717"/>
                    <a:pt x="172878" y="25527"/>
                  </a:cubicBezTo>
                  <a:lnTo>
                    <a:pt x="157257" y="51435"/>
                  </a:lnTo>
                  <a:cubicBezTo>
                    <a:pt x="146494" y="44577"/>
                    <a:pt x="135255" y="39148"/>
                    <a:pt x="123539" y="35147"/>
                  </a:cubicBezTo>
                  <a:cubicBezTo>
                    <a:pt x="111823" y="31147"/>
                    <a:pt x="100203" y="29146"/>
                    <a:pt x="88963" y="29146"/>
                  </a:cubicBezTo>
                  <a:cubicBezTo>
                    <a:pt x="75247" y="29146"/>
                    <a:pt x="64389" y="32385"/>
                    <a:pt x="56388" y="38767"/>
                  </a:cubicBezTo>
                  <a:cubicBezTo>
                    <a:pt x="48291" y="45149"/>
                    <a:pt x="44291" y="53150"/>
                    <a:pt x="44291" y="62675"/>
                  </a:cubicBezTo>
                  <a:lnTo>
                    <a:pt x="44291" y="63627"/>
                  </a:lnTo>
                  <a:cubicBezTo>
                    <a:pt x="44291" y="68961"/>
                    <a:pt x="45910" y="73628"/>
                    <a:pt x="49244" y="77724"/>
                  </a:cubicBezTo>
                  <a:cubicBezTo>
                    <a:pt x="52482" y="81725"/>
                    <a:pt x="56864" y="85249"/>
                    <a:pt x="62389" y="88202"/>
                  </a:cubicBezTo>
                  <a:cubicBezTo>
                    <a:pt x="67913" y="91154"/>
                    <a:pt x="74200" y="93821"/>
                    <a:pt x="81343" y="96203"/>
                  </a:cubicBezTo>
                  <a:cubicBezTo>
                    <a:pt x="88487" y="98584"/>
                    <a:pt x="95916" y="100965"/>
                    <a:pt x="103631" y="103346"/>
                  </a:cubicBezTo>
                  <a:cubicBezTo>
                    <a:pt x="112585" y="106013"/>
                    <a:pt x="121444" y="108966"/>
                    <a:pt x="130207" y="112300"/>
                  </a:cubicBezTo>
                  <a:cubicBezTo>
                    <a:pt x="138969" y="115538"/>
                    <a:pt x="146971" y="119729"/>
                    <a:pt x="154114" y="124778"/>
                  </a:cubicBezTo>
                  <a:cubicBezTo>
                    <a:pt x="161258" y="129826"/>
                    <a:pt x="166973" y="135922"/>
                    <a:pt x="171259" y="143066"/>
                  </a:cubicBezTo>
                  <a:cubicBezTo>
                    <a:pt x="175546" y="150209"/>
                    <a:pt x="177736" y="158972"/>
                    <a:pt x="177736" y="169450"/>
                  </a:cubicBezTo>
                  <a:lnTo>
                    <a:pt x="177736" y="170307"/>
                  </a:lnTo>
                  <a:cubicBezTo>
                    <a:pt x="177736" y="181356"/>
                    <a:pt x="175546" y="191071"/>
                    <a:pt x="171259" y="199549"/>
                  </a:cubicBezTo>
                  <a:cubicBezTo>
                    <a:pt x="166973" y="208026"/>
                    <a:pt x="161163" y="215265"/>
                    <a:pt x="153828" y="221171"/>
                  </a:cubicBezTo>
                  <a:cubicBezTo>
                    <a:pt x="146589" y="227171"/>
                    <a:pt x="137922" y="231648"/>
                    <a:pt x="127921" y="234791"/>
                  </a:cubicBezTo>
                  <a:cubicBezTo>
                    <a:pt x="117919" y="237935"/>
                    <a:pt x="107156" y="239459"/>
                    <a:pt x="95535" y="239459"/>
                  </a:cubicBezTo>
                  <a:close/>
                </a:path>
              </a:pathLst>
            </a:custGeom>
            <a:solidFill>
              <a:srgbClr val="44505E"/>
            </a:solidFill>
            <a:ln w="9525" cap="flat">
              <a:noFill/>
              <a:prstDash val="solid"/>
              <a:miter/>
            </a:ln>
          </p:spPr>
          <p:txBody>
            <a:bodyPr rtlCol="0" anchor="ctr"/>
            <a:lstStyle/>
            <a:p>
              <a:endParaRPr lang="pt-BR" noProof="0"/>
            </a:p>
          </p:txBody>
        </p:sp>
        <p:sp>
          <p:nvSpPr>
            <p:cNvPr id="55" name="Freeform: Shape 54">
              <a:extLst>
                <a:ext uri="{FF2B5EF4-FFF2-40B4-BE49-F238E27FC236}">
                  <a16:creationId xmlns:a16="http://schemas.microsoft.com/office/drawing/2014/main" id="{ED20BA71-ECF1-D7B5-5E4C-38F9D8DDFB34}"/>
                </a:ext>
              </a:extLst>
            </p:cNvPr>
            <p:cNvSpPr/>
            <p:nvPr/>
          </p:nvSpPr>
          <p:spPr>
            <a:xfrm>
              <a:off x="5250320" y="846952"/>
              <a:ext cx="1459036" cy="16186"/>
            </a:xfrm>
            <a:custGeom>
              <a:avLst/>
              <a:gdLst>
                <a:gd name="connsiteX0" fmla="*/ 0 w 5804058"/>
                <a:gd name="connsiteY0" fmla="*/ 0 h 64388"/>
                <a:gd name="connsiteX1" fmla="*/ 5804059 w 5804058"/>
                <a:gd name="connsiteY1" fmla="*/ 0 h 64388"/>
                <a:gd name="connsiteX2" fmla="*/ 5804059 w 5804058"/>
                <a:gd name="connsiteY2" fmla="*/ 64389 h 64388"/>
                <a:gd name="connsiteX3" fmla="*/ 0 w 5804058"/>
                <a:gd name="connsiteY3" fmla="*/ 64389 h 64388"/>
              </a:gdLst>
              <a:ahLst/>
              <a:cxnLst>
                <a:cxn ang="0">
                  <a:pos x="connsiteX0" y="connsiteY0"/>
                </a:cxn>
                <a:cxn ang="0">
                  <a:pos x="connsiteX1" y="connsiteY1"/>
                </a:cxn>
                <a:cxn ang="0">
                  <a:pos x="connsiteX2" y="connsiteY2"/>
                </a:cxn>
                <a:cxn ang="0">
                  <a:pos x="connsiteX3" y="connsiteY3"/>
                </a:cxn>
              </a:cxnLst>
              <a:rect l="l" t="t" r="r" b="b"/>
              <a:pathLst>
                <a:path w="5804058" h="64388">
                  <a:moveTo>
                    <a:pt x="0" y="0"/>
                  </a:moveTo>
                  <a:lnTo>
                    <a:pt x="5804059" y="0"/>
                  </a:lnTo>
                  <a:lnTo>
                    <a:pt x="5804059" y="64389"/>
                  </a:lnTo>
                  <a:lnTo>
                    <a:pt x="0" y="64389"/>
                  </a:lnTo>
                  <a:close/>
                </a:path>
              </a:pathLst>
            </a:custGeom>
            <a:solidFill>
              <a:srgbClr val="44505E"/>
            </a:solidFill>
            <a:ln w="9525" cap="flat">
              <a:noFill/>
              <a:prstDash val="solid"/>
              <a:miter/>
            </a:ln>
          </p:spPr>
          <p:txBody>
            <a:bodyPr rtlCol="0" anchor="ctr"/>
            <a:lstStyle/>
            <a:p>
              <a:endParaRPr lang="pt-BR" noProof="0"/>
            </a:p>
          </p:txBody>
        </p:sp>
        <p:sp>
          <p:nvSpPr>
            <p:cNvPr id="56" name="Freeform: Shape 55">
              <a:extLst>
                <a:ext uri="{FF2B5EF4-FFF2-40B4-BE49-F238E27FC236}">
                  <a16:creationId xmlns:a16="http://schemas.microsoft.com/office/drawing/2014/main" id="{EF39BC9E-BE2D-06E2-128B-C0AF036E6E33}"/>
                </a:ext>
              </a:extLst>
            </p:cNvPr>
            <p:cNvSpPr/>
            <p:nvPr/>
          </p:nvSpPr>
          <p:spPr>
            <a:xfrm>
              <a:off x="6902633" y="268821"/>
              <a:ext cx="273418" cy="601046"/>
            </a:xfrm>
            <a:custGeom>
              <a:avLst/>
              <a:gdLst>
                <a:gd name="connsiteX0" fmla="*/ 0 w 1087659"/>
                <a:gd name="connsiteY0" fmla="*/ 210979 h 2390965"/>
                <a:gd name="connsiteX1" fmla="*/ 125063 w 1087659"/>
                <a:gd name="connsiteY1" fmla="*/ 103442 h 2390965"/>
                <a:gd name="connsiteX2" fmla="*/ 250031 w 1087659"/>
                <a:gd name="connsiteY2" fmla="*/ 210979 h 2390965"/>
                <a:gd name="connsiteX3" fmla="*/ 250031 w 1087659"/>
                <a:gd name="connsiteY3" fmla="*/ 1922717 h 2390965"/>
                <a:gd name="connsiteX4" fmla="*/ 249841 w 1087659"/>
                <a:gd name="connsiteY4" fmla="*/ 1922717 h 2390965"/>
                <a:gd name="connsiteX5" fmla="*/ 249841 w 1087659"/>
                <a:gd name="connsiteY5" fmla="*/ 1925955 h 2390965"/>
                <a:gd name="connsiteX6" fmla="*/ 333756 w 1087659"/>
                <a:gd name="connsiteY6" fmla="*/ 2100263 h 2390965"/>
                <a:gd name="connsiteX7" fmla="*/ 335566 w 1087659"/>
                <a:gd name="connsiteY7" fmla="*/ 2101787 h 2390965"/>
                <a:gd name="connsiteX8" fmla="*/ 336042 w 1087659"/>
                <a:gd name="connsiteY8" fmla="*/ 2102168 h 2390965"/>
                <a:gd name="connsiteX9" fmla="*/ 543877 w 1087659"/>
                <a:gd name="connsiteY9" fmla="*/ 2175891 h 2390965"/>
                <a:gd name="connsiteX10" fmla="*/ 749998 w 1087659"/>
                <a:gd name="connsiteY10" fmla="*/ 2103692 h 2390965"/>
                <a:gd name="connsiteX11" fmla="*/ 751713 w 1087659"/>
                <a:gd name="connsiteY11" fmla="*/ 2102168 h 2390965"/>
                <a:gd name="connsiteX12" fmla="*/ 752189 w 1087659"/>
                <a:gd name="connsiteY12" fmla="*/ 2101787 h 2390965"/>
                <a:gd name="connsiteX13" fmla="*/ 837819 w 1087659"/>
                <a:gd name="connsiteY13" fmla="*/ 1922812 h 2390965"/>
                <a:gd name="connsiteX14" fmla="*/ 837819 w 1087659"/>
                <a:gd name="connsiteY14" fmla="*/ 107537 h 2390965"/>
                <a:gd name="connsiteX15" fmla="*/ 962787 w 1087659"/>
                <a:gd name="connsiteY15" fmla="*/ 0 h 2390965"/>
                <a:gd name="connsiteX16" fmla="*/ 1087660 w 1087659"/>
                <a:gd name="connsiteY16" fmla="*/ 107537 h 2390965"/>
                <a:gd name="connsiteX17" fmla="*/ 1087660 w 1087659"/>
                <a:gd name="connsiteY17" fmla="*/ 1922621 h 2390965"/>
                <a:gd name="connsiteX18" fmla="*/ 928307 w 1087659"/>
                <a:gd name="connsiteY18" fmla="*/ 2253234 h 2390965"/>
                <a:gd name="connsiteX19" fmla="*/ 928116 w 1087659"/>
                <a:gd name="connsiteY19" fmla="*/ 2253424 h 2390965"/>
                <a:gd name="connsiteX20" fmla="*/ 927830 w 1087659"/>
                <a:gd name="connsiteY20" fmla="*/ 2253710 h 2390965"/>
                <a:gd name="connsiteX21" fmla="*/ 927354 w 1087659"/>
                <a:gd name="connsiteY21" fmla="*/ 2254187 h 2390965"/>
                <a:gd name="connsiteX22" fmla="*/ 543783 w 1087659"/>
                <a:gd name="connsiteY22" fmla="*/ 2390966 h 2390965"/>
                <a:gd name="connsiteX23" fmla="*/ 159734 w 1087659"/>
                <a:gd name="connsiteY23" fmla="*/ 2253710 h 2390965"/>
                <a:gd name="connsiteX24" fmla="*/ 159734 w 1087659"/>
                <a:gd name="connsiteY24" fmla="*/ 2253424 h 2390965"/>
                <a:gd name="connsiteX25" fmla="*/ 159353 w 1087659"/>
                <a:gd name="connsiteY25" fmla="*/ 2253234 h 2390965"/>
                <a:gd name="connsiteX26" fmla="*/ 158877 w 1087659"/>
                <a:gd name="connsiteY26" fmla="*/ 2252948 h 2390965"/>
                <a:gd name="connsiteX27" fmla="*/ 0 w 1087659"/>
                <a:gd name="connsiteY27" fmla="*/ 1922621 h 2390965"/>
                <a:gd name="connsiteX28" fmla="*/ 0 w 1087659"/>
                <a:gd name="connsiteY28" fmla="*/ 1922621 h 2390965"/>
                <a:gd name="connsiteX29" fmla="*/ 0 w 1087659"/>
                <a:gd name="connsiteY29" fmla="*/ 210979 h 239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87659" h="2390965">
                  <a:moveTo>
                    <a:pt x="0" y="210979"/>
                  </a:moveTo>
                  <a:cubicBezTo>
                    <a:pt x="0" y="151638"/>
                    <a:pt x="56007" y="103442"/>
                    <a:pt x="125063" y="103442"/>
                  </a:cubicBezTo>
                  <a:cubicBezTo>
                    <a:pt x="194120" y="103442"/>
                    <a:pt x="250031" y="151638"/>
                    <a:pt x="250031" y="210979"/>
                  </a:cubicBezTo>
                  <a:lnTo>
                    <a:pt x="250031" y="1922717"/>
                  </a:lnTo>
                  <a:lnTo>
                    <a:pt x="249841" y="1922717"/>
                  </a:lnTo>
                  <a:lnTo>
                    <a:pt x="249841" y="1925955"/>
                  </a:lnTo>
                  <a:cubicBezTo>
                    <a:pt x="250793" y="1994059"/>
                    <a:pt x="282797" y="2055495"/>
                    <a:pt x="333756" y="2100263"/>
                  </a:cubicBezTo>
                  <a:lnTo>
                    <a:pt x="335566" y="2101787"/>
                  </a:lnTo>
                  <a:lnTo>
                    <a:pt x="336042" y="2102168"/>
                  </a:lnTo>
                  <a:cubicBezTo>
                    <a:pt x="388906" y="2147697"/>
                    <a:pt x="462343" y="2175891"/>
                    <a:pt x="543877" y="2175891"/>
                  </a:cubicBezTo>
                  <a:cubicBezTo>
                    <a:pt x="625411" y="2175891"/>
                    <a:pt x="697420" y="2148364"/>
                    <a:pt x="749998" y="2103692"/>
                  </a:cubicBezTo>
                  <a:lnTo>
                    <a:pt x="751713" y="2102168"/>
                  </a:lnTo>
                  <a:lnTo>
                    <a:pt x="752189" y="2101787"/>
                  </a:lnTo>
                  <a:cubicBezTo>
                    <a:pt x="805053" y="2056352"/>
                    <a:pt x="837819" y="1993011"/>
                    <a:pt x="837819" y="1922812"/>
                  </a:cubicBezTo>
                  <a:lnTo>
                    <a:pt x="837819" y="107537"/>
                  </a:lnTo>
                  <a:cubicBezTo>
                    <a:pt x="837819" y="48196"/>
                    <a:pt x="893731" y="0"/>
                    <a:pt x="962787" y="0"/>
                  </a:cubicBezTo>
                  <a:cubicBezTo>
                    <a:pt x="1031843" y="0"/>
                    <a:pt x="1087660" y="48196"/>
                    <a:pt x="1087660" y="107537"/>
                  </a:cubicBezTo>
                  <a:lnTo>
                    <a:pt x="1087660" y="1922621"/>
                  </a:lnTo>
                  <a:cubicBezTo>
                    <a:pt x="1087660" y="2051399"/>
                    <a:pt x="1026795" y="2168366"/>
                    <a:pt x="928307" y="2253234"/>
                  </a:cubicBezTo>
                  <a:lnTo>
                    <a:pt x="928116" y="2253424"/>
                  </a:lnTo>
                  <a:lnTo>
                    <a:pt x="927830" y="2253710"/>
                  </a:lnTo>
                  <a:lnTo>
                    <a:pt x="927354" y="2254187"/>
                  </a:lnTo>
                  <a:cubicBezTo>
                    <a:pt x="828770" y="2338673"/>
                    <a:pt x="693134" y="2390966"/>
                    <a:pt x="543783" y="2390966"/>
                  </a:cubicBezTo>
                  <a:cubicBezTo>
                    <a:pt x="394430" y="2390966"/>
                    <a:pt x="258413" y="2338483"/>
                    <a:pt x="159734" y="2253710"/>
                  </a:cubicBezTo>
                  <a:lnTo>
                    <a:pt x="159734" y="2253424"/>
                  </a:lnTo>
                  <a:cubicBezTo>
                    <a:pt x="159734" y="2253424"/>
                    <a:pt x="159353" y="2253234"/>
                    <a:pt x="159353" y="2253234"/>
                  </a:cubicBezTo>
                  <a:lnTo>
                    <a:pt x="158877" y="2252948"/>
                  </a:lnTo>
                  <a:cubicBezTo>
                    <a:pt x="60770" y="2167985"/>
                    <a:pt x="0" y="2051304"/>
                    <a:pt x="0" y="1922621"/>
                  </a:cubicBezTo>
                  <a:lnTo>
                    <a:pt x="0" y="1922621"/>
                  </a:lnTo>
                  <a:lnTo>
                    <a:pt x="0" y="210979"/>
                  </a:lnTo>
                  <a:close/>
                </a:path>
              </a:pathLst>
            </a:custGeom>
            <a:solidFill>
              <a:srgbClr val="8FC640"/>
            </a:solidFill>
            <a:ln w="9525" cap="flat">
              <a:noFill/>
              <a:prstDash val="solid"/>
              <a:miter/>
            </a:ln>
          </p:spPr>
          <p:txBody>
            <a:bodyPr rtlCol="0" anchor="ctr"/>
            <a:lstStyle/>
            <a:p>
              <a:endParaRPr lang="pt-BR" noProof="0"/>
            </a:p>
          </p:txBody>
        </p:sp>
        <p:sp>
          <p:nvSpPr>
            <p:cNvPr id="57" name="Freeform: Shape 56">
              <a:extLst>
                <a:ext uri="{FF2B5EF4-FFF2-40B4-BE49-F238E27FC236}">
                  <a16:creationId xmlns:a16="http://schemas.microsoft.com/office/drawing/2014/main" id="{DFB24F75-C0BD-15A2-B62A-503B6AB25AF3}"/>
                </a:ext>
              </a:extLst>
            </p:cNvPr>
            <p:cNvSpPr/>
            <p:nvPr/>
          </p:nvSpPr>
          <p:spPr>
            <a:xfrm>
              <a:off x="7013590" y="213965"/>
              <a:ext cx="54018" cy="562280"/>
            </a:xfrm>
            <a:custGeom>
              <a:avLst/>
              <a:gdLst>
                <a:gd name="connsiteX0" fmla="*/ 0 w 214883"/>
                <a:gd name="connsiteY0" fmla="*/ 107537 h 2236755"/>
                <a:gd name="connsiteX1" fmla="*/ 107537 w 214883"/>
                <a:gd name="connsiteY1" fmla="*/ 0 h 2236755"/>
                <a:gd name="connsiteX2" fmla="*/ 214884 w 214883"/>
                <a:gd name="connsiteY2" fmla="*/ 107537 h 2236755"/>
                <a:gd name="connsiteX3" fmla="*/ 214884 w 214883"/>
                <a:gd name="connsiteY3" fmla="*/ 2129219 h 2236755"/>
                <a:gd name="connsiteX4" fmla="*/ 107537 w 214883"/>
                <a:gd name="connsiteY4" fmla="*/ 2236756 h 2236755"/>
                <a:gd name="connsiteX5" fmla="*/ 0 w 214883"/>
                <a:gd name="connsiteY5" fmla="*/ 2129219 h 2236755"/>
                <a:gd name="connsiteX6" fmla="*/ 0 w 214883"/>
                <a:gd name="connsiteY6" fmla="*/ 107537 h 223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 h="2236755">
                  <a:moveTo>
                    <a:pt x="0" y="107537"/>
                  </a:moveTo>
                  <a:cubicBezTo>
                    <a:pt x="0" y="48197"/>
                    <a:pt x="48101" y="0"/>
                    <a:pt x="107537" y="0"/>
                  </a:cubicBezTo>
                  <a:cubicBezTo>
                    <a:pt x="166973" y="0"/>
                    <a:pt x="214884" y="48197"/>
                    <a:pt x="214884" y="107537"/>
                  </a:cubicBezTo>
                  <a:lnTo>
                    <a:pt x="214884" y="2129219"/>
                  </a:lnTo>
                  <a:cubicBezTo>
                    <a:pt x="214884" y="2188559"/>
                    <a:pt x="166782" y="2236756"/>
                    <a:pt x="107537" y="2236756"/>
                  </a:cubicBezTo>
                  <a:cubicBezTo>
                    <a:pt x="48291" y="2236756"/>
                    <a:pt x="0" y="2188559"/>
                    <a:pt x="0" y="2129219"/>
                  </a:cubicBezTo>
                  <a:lnTo>
                    <a:pt x="0" y="107537"/>
                  </a:lnTo>
                  <a:close/>
                </a:path>
              </a:pathLst>
            </a:custGeom>
            <a:solidFill>
              <a:srgbClr val="3698B0"/>
            </a:solidFill>
            <a:ln w="9525" cap="flat">
              <a:noFill/>
              <a:prstDash val="solid"/>
              <a:miter/>
            </a:ln>
          </p:spPr>
          <p:txBody>
            <a:bodyPr rtlCol="0" anchor="ctr"/>
            <a:lstStyle/>
            <a:p>
              <a:endParaRPr lang="pt-BR" noProof="0"/>
            </a:p>
          </p:txBody>
        </p:sp>
        <p:sp>
          <p:nvSpPr>
            <p:cNvPr id="58" name="Freeform: Shape 57">
              <a:extLst>
                <a:ext uri="{FF2B5EF4-FFF2-40B4-BE49-F238E27FC236}">
                  <a16:creationId xmlns:a16="http://schemas.microsoft.com/office/drawing/2014/main" id="{6D490200-1EE4-C9BB-F504-755BC568C606}"/>
                </a:ext>
              </a:extLst>
            </p:cNvPr>
            <p:cNvSpPr/>
            <p:nvPr/>
          </p:nvSpPr>
          <p:spPr>
            <a:xfrm>
              <a:off x="6795770" y="332991"/>
              <a:ext cx="485994" cy="649437"/>
            </a:xfrm>
            <a:custGeom>
              <a:avLst/>
              <a:gdLst>
                <a:gd name="connsiteX0" fmla="*/ 1933290 w 1933289"/>
                <a:gd name="connsiteY0" fmla="*/ 138017 h 2583465"/>
                <a:gd name="connsiteX1" fmla="*/ 1933290 w 1933289"/>
                <a:gd name="connsiteY1" fmla="*/ 1734122 h 2583465"/>
                <a:gd name="connsiteX2" fmla="*/ 1796606 w 1933289"/>
                <a:gd name="connsiteY2" fmla="*/ 2229136 h 2583465"/>
                <a:gd name="connsiteX3" fmla="*/ 977742 w 1933289"/>
                <a:gd name="connsiteY3" fmla="*/ 2583466 h 2583465"/>
                <a:gd name="connsiteX4" fmla="*/ 955357 w 1933289"/>
                <a:gd name="connsiteY4" fmla="*/ 2583466 h 2583465"/>
                <a:gd name="connsiteX5" fmla="*/ 136589 w 1933289"/>
                <a:gd name="connsiteY5" fmla="*/ 2229136 h 2583465"/>
                <a:gd name="connsiteX6" fmla="*/ 0 w 1933289"/>
                <a:gd name="connsiteY6" fmla="*/ 1734122 h 2583465"/>
                <a:gd name="connsiteX7" fmla="*/ 0 w 1933289"/>
                <a:gd name="connsiteY7" fmla="*/ 794194 h 2583465"/>
                <a:gd name="connsiteX8" fmla="*/ 137827 w 1933289"/>
                <a:gd name="connsiteY8" fmla="*/ 656273 h 2583465"/>
                <a:gd name="connsiteX9" fmla="*/ 275463 w 1933289"/>
                <a:gd name="connsiteY9" fmla="*/ 794194 h 2583465"/>
                <a:gd name="connsiteX10" fmla="*/ 275463 w 1933289"/>
                <a:gd name="connsiteY10" fmla="*/ 1734122 h 2583465"/>
                <a:gd name="connsiteX11" fmla="*/ 354235 w 1933289"/>
                <a:gd name="connsiteY11" fmla="*/ 2059686 h 2583465"/>
                <a:gd name="connsiteX12" fmla="*/ 958215 w 1933289"/>
                <a:gd name="connsiteY12" fmla="*/ 2307527 h 2583465"/>
                <a:gd name="connsiteX13" fmla="*/ 974789 w 1933289"/>
                <a:gd name="connsiteY13" fmla="*/ 2307527 h 2583465"/>
                <a:gd name="connsiteX14" fmla="*/ 1578959 w 1933289"/>
                <a:gd name="connsiteY14" fmla="*/ 2059686 h 2583465"/>
                <a:gd name="connsiteX15" fmla="*/ 1657636 w 1933289"/>
                <a:gd name="connsiteY15" fmla="*/ 1734122 h 2583465"/>
                <a:gd name="connsiteX16" fmla="*/ 1657636 w 1933289"/>
                <a:gd name="connsiteY16" fmla="*/ 138017 h 2583465"/>
                <a:gd name="connsiteX17" fmla="*/ 1795463 w 1933289"/>
                <a:gd name="connsiteY17" fmla="*/ 0 h 2583465"/>
                <a:gd name="connsiteX18" fmla="*/ 1933290 w 1933289"/>
                <a:gd name="connsiteY18" fmla="*/ 138017 h 25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3289" h="2583465">
                  <a:moveTo>
                    <a:pt x="1933290" y="138017"/>
                  </a:moveTo>
                  <a:lnTo>
                    <a:pt x="1933290" y="1734122"/>
                  </a:lnTo>
                  <a:cubicBezTo>
                    <a:pt x="1933290" y="1870996"/>
                    <a:pt x="1919002" y="2071211"/>
                    <a:pt x="1796606" y="2229136"/>
                  </a:cubicBezTo>
                  <a:cubicBezTo>
                    <a:pt x="1634395" y="2438305"/>
                    <a:pt x="1432084" y="2578703"/>
                    <a:pt x="977742" y="2583466"/>
                  </a:cubicBezTo>
                  <a:lnTo>
                    <a:pt x="955357" y="2583466"/>
                  </a:lnTo>
                  <a:cubicBezTo>
                    <a:pt x="501015" y="2578703"/>
                    <a:pt x="298704" y="2438400"/>
                    <a:pt x="136589" y="2229136"/>
                  </a:cubicBezTo>
                  <a:cubicBezTo>
                    <a:pt x="14192" y="2071211"/>
                    <a:pt x="0" y="1870996"/>
                    <a:pt x="0" y="1734122"/>
                  </a:cubicBezTo>
                  <a:lnTo>
                    <a:pt x="0" y="794194"/>
                  </a:lnTo>
                  <a:cubicBezTo>
                    <a:pt x="0" y="718185"/>
                    <a:pt x="61436" y="656273"/>
                    <a:pt x="137827" y="656273"/>
                  </a:cubicBezTo>
                  <a:cubicBezTo>
                    <a:pt x="214217" y="656273"/>
                    <a:pt x="275463" y="718185"/>
                    <a:pt x="275463" y="794194"/>
                  </a:cubicBezTo>
                  <a:lnTo>
                    <a:pt x="275463" y="1734122"/>
                  </a:lnTo>
                  <a:cubicBezTo>
                    <a:pt x="275463" y="1887188"/>
                    <a:pt x="300324" y="1990630"/>
                    <a:pt x="354235" y="2059686"/>
                  </a:cubicBezTo>
                  <a:cubicBezTo>
                    <a:pt x="476250" y="2217611"/>
                    <a:pt x="609791" y="2304479"/>
                    <a:pt x="958215" y="2307527"/>
                  </a:cubicBezTo>
                  <a:lnTo>
                    <a:pt x="974789" y="2307527"/>
                  </a:lnTo>
                  <a:cubicBezTo>
                    <a:pt x="1323499" y="2304479"/>
                    <a:pt x="1456563" y="2217611"/>
                    <a:pt x="1578959" y="2059686"/>
                  </a:cubicBezTo>
                  <a:cubicBezTo>
                    <a:pt x="1632490" y="1990630"/>
                    <a:pt x="1657636" y="1887093"/>
                    <a:pt x="1657636" y="1734122"/>
                  </a:cubicBezTo>
                  <a:lnTo>
                    <a:pt x="1657636" y="138017"/>
                  </a:lnTo>
                  <a:cubicBezTo>
                    <a:pt x="1657636" y="61531"/>
                    <a:pt x="1719453" y="0"/>
                    <a:pt x="1795463" y="0"/>
                  </a:cubicBezTo>
                  <a:cubicBezTo>
                    <a:pt x="1871472" y="0"/>
                    <a:pt x="1933290" y="61531"/>
                    <a:pt x="1933290" y="138017"/>
                  </a:cubicBezTo>
                </a:path>
              </a:pathLst>
            </a:custGeom>
            <a:solidFill>
              <a:srgbClr val="49306E"/>
            </a:solidFill>
            <a:ln w="9525" cap="flat">
              <a:noFill/>
              <a:prstDash val="solid"/>
              <a:miter/>
            </a:ln>
          </p:spPr>
          <p:txBody>
            <a:bodyPr rtlCol="0" anchor="ctr"/>
            <a:lstStyle/>
            <a:p>
              <a:endParaRPr lang="pt-BR" noProof="0"/>
            </a:p>
          </p:txBody>
        </p:sp>
      </p:grpSp>
      <p:sp>
        <p:nvSpPr>
          <p:cNvPr id="5" name="Rectangle 3">
            <a:extLst>
              <a:ext uri="{FF2B5EF4-FFF2-40B4-BE49-F238E27FC236}">
                <a16:creationId xmlns:a16="http://schemas.microsoft.com/office/drawing/2014/main" id="{BC32ED71-96E9-A0CD-F190-3BE23B885E58}"/>
              </a:ext>
            </a:extLst>
          </p:cNvPr>
          <p:cNvSpPr>
            <a:spLocks noChangeArrowheads="1"/>
          </p:cNvSpPr>
          <p:nvPr/>
        </p:nvSpPr>
        <p:spPr bwMode="auto">
          <a:xfrm>
            <a:off x="428153" y="692497"/>
            <a:ext cx="264816" cy="2862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p:txBody>
      </p:sp>
      <p:sp>
        <p:nvSpPr>
          <p:cNvPr id="8" name="CaixaDeTexto 7">
            <a:extLst>
              <a:ext uri="{FF2B5EF4-FFF2-40B4-BE49-F238E27FC236}">
                <a16:creationId xmlns:a16="http://schemas.microsoft.com/office/drawing/2014/main" id="{AFDD9CC5-0DFB-6437-7929-9A793F618DE7}"/>
              </a:ext>
            </a:extLst>
          </p:cNvPr>
          <p:cNvSpPr txBox="1"/>
          <p:nvPr/>
        </p:nvSpPr>
        <p:spPr>
          <a:xfrm>
            <a:off x="5375715" y="1953667"/>
            <a:ext cx="4049138" cy="523220"/>
          </a:xfrm>
          <a:prstGeom prst="rect">
            <a:avLst/>
          </a:prstGeom>
          <a:noFill/>
        </p:spPr>
        <p:txBody>
          <a:bodyPr wrap="square" rtlCol="0">
            <a:spAutoFit/>
          </a:bodyPr>
          <a:lstStyle/>
          <a:p>
            <a:r>
              <a:rPr lang="pt-BR" sz="2800" b="1" noProof="0">
                <a:solidFill>
                  <a:schemeClr val="bg1"/>
                </a:solidFill>
              </a:rPr>
              <a:t>Envelope 2</a:t>
            </a:r>
          </a:p>
        </p:txBody>
      </p:sp>
    </p:spTree>
    <p:extLst>
      <p:ext uri="{BB962C8B-B14F-4D97-AF65-F5344CB8AC3E}">
        <p14:creationId xmlns:p14="http://schemas.microsoft.com/office/powerpoint/2010/main" val="238040294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B1C0A2-1E1B-1532-9E69-F41AE0EAAA11}"/>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63CF4E0C-0B00-65DD-6D72-5096ABCE46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8" progId="TCLayout.ActiveDocument.1">
                  <p:embed/>
                </p:oleObj>
              </mc:Choice>
              <mc:Fallback>
                <p:oleObj name="think-cell Slide" r:id="rId4" imgW="306" imgH="308" progId="TCLayout.ActiveDocument.1">
                  <p:embed/>
                  <p:pic>
                    <p:nvPicPr>
                      <p:cNvPr id="12" name="think-cell data - do not delete" hidden="1">
                        <a:extLst>
                          <a:ext uri="{FF2B5EF4-FFF2-40B4-BE49-F238E27FC236}">
                            <a16:creationId xmlns:a16="http://schemas.microsoft.com/office/drawing/2014/main" id="{63CF4E0C-0B00-65DD-6D72-5096ABCE46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3" name="Group 12">
            <a:extLst>
              <a:ext uri="{FF2B5EF4-FFF2-40B4-BE49-F238E27FC236}">
                <a16:creationId xmlns:a16="http://schemas.microsoft.com/office/drawing/2014/main" id="{EFCE059F-BE53-FFE6-B8E4-3F1DDDC9E6C4}"/>
              </a:ext>
            </a:extLst>
          </p:cNvPr>
          <p:cNvGrpSpPr/>
          <p:nvPr/>
        </p:nvGrpSpPr>
        <p:grpSpPr>
          <a:xfrm>
            <a:off x="304800" y="249455"/>
            <a:ext cx="1193800" cy="462985"/>
            <a:chOff x="5245100" y="211355"/>
            <a:chExt cx="2036664" cy="789869"/>
          </a:xfrm>
        </p:grpSpPr>
        <p:sp>
          <p:nvSpPr>
            <p:cNvPr id="14" name="Freeform: Shape 13">
              <a:extLst>
                <a:ext uri="{FF2B5EF4-FFF2-40B4-BE49-F238E27FC236}">
                  <a16:creationId xmlns:a16="http://schemas.microsoft.com/office/drawing/2014/main" id="{D690BCDC-60EC-4FB9-762E-3F8F81BF69AD}"/>
                </a:ext>
              </a:extLst>
            </p:cNvPr>
            <p:cNvSpPr/>
            <p:nvPr/>
          </p:nvSpPr>
          <p:spPr>
            <a:xfrm>
              <a:off x="5245100" y="308520"/>
              <a:ext cx="247894" cy="322815"/>
            </a:xfrm>
            <a:custGeom>
              <a:avLst/>
              <a:gdLst>
                <a:gd name="connsiteX0" fmla="*/ 529590 w 986123"/>
                <a:gd name="connsiteY0" fmla="*/ 1284160 h 1284160"/>
                <a:gd name="connsiteX1" fmla="*/ 249650 w 986123"/>
                <a:gd name="connsiteY1" fmla="*/ 1235107 h 1284160"/>
                <a:gd name="connsiteX2" fmla="*/ 0 w 986123"/>
                <a:gd name="connsiteY2" fmla="*/ 1084421 h 1284160"/>
                <a:gd name="connsiteX3" fmla="*/ 162306 w 986123"/>
                <a:gd name="connsiteY3" fmla="*/ 890016 h 1284160"/>
                <a:gd name="connsiteX4" fmla="*/ 337947 w 986123"/>
                <a:gd name="connsiteY4" fmla="*/ 1000601 h 1284160"/>
                <a:gd name="connsiteX5" fmla="*/ 535019 w 986123"/>
                <a:gd name="connsiteY5" fmla="*/ 1041654 h 1284160"/>
                <a:gd name="connsiteX6" fmla="*/ 667893 w 986123"/>
                <a:gd name="connsiteY6" fmla="*/ 1010412 h 1284160"/>
                <a:gd name="connsiteX7" fmla="*/ 715137 w 986123"/>
                <a:gd name="connsiteY7" fmla="*/ 923925 h 1284160"/>
                <a:gd name="connsiteX8" fmla="*/ 715137 w 986123"/>
                <a:gd name="connsiteY8" fmla="*/ 920305 h 1284160"/>
                <a:gd name="connsiteX9" fmla="*/ 705326 w 986123"/>
                <a:gd name="connsiteY9" fmla="*/ 873062 h 1284160"/>
                <a:gd name="connsiteX10" fmla="*/ 667798 w 986123"/>
                <a:gd name="connsiteY10" fmla="*/ 834676 h 1284160"/>
                <a:gd name="connsiteX11" fmla="*/ 590931 w 986123"/>
                <a:gd name="connsiteY11" fmla="*/ 798957 h 1284160"/>
                <a:gd name="connsiteX12" fmla="*/ 463106 w 986123"/>
                <a:gd name="connsiteY12" fmla="*/ 761524 h 1284160"/>
                <a:gd name="connsiteX13" fmla="*/ 291465 w 986123"/>
                <a:gd name="connsiteY13" fmla="*/ 709803 h 1284160"/>
                <a:gd name="connsiteX14" fmla="*/ 160973 w 986123"/>
                <a:gd name="connsiteY14" fmla="*/ 639318 h 1284160"/>
                <a:gd name="connsiteX15" fmla="*/ 77819 w 986123"/>
                <a:gd name="connsiteY15" fmla="*/ 535019 h 1284160"/>
                <a:gd name="connsiteX16" fmla="*/ 48292 w 986123"/>
                <a:gd name="connsiteY16" fmla="*/ 379857 h 1284160"/>
                <a:gd name="connsiteX17" fmla="*/ 48292 w 986123"/>
                <a:gd name="connsiteY17" fmla="*/ 376238 h 1284160"/>
                <a:gd name="connsiteX18" fmla="*/ 80201 w 986123"/>
                <a:gd name="connsiteY18" fmla="*/ 222028 h 1284160"/>
                <a:gd name="connsiteX19" fmla="*/ 169640 w 986123"/>
                <a:gd name="connsiteY19" fmla="*/ 103441 h 1284160"/>
                <a:gd name="connsiteX20" fmla="*/ 307181 w 986123"/>
                <a:gd name="connsiteY20" fmla="*/ 26765 h 1284160"/>
                <a:gd name="connsiteX21" fmla="*/ 483394 w 986123"/>
                <a:gd name="connsiteY21" fmla="*/ 0 h 1284160"/>
                <a:gd name="connsiteX22" fmla="*/ 735711 w 986123"/>
                <a:gd name="connsiteY22" fmla="*/ 41053 h 1284160"/>
                <a:gd name="connsiteX23" fmla="*/ 946976 w 986123"/>
                <a:gd name="connsiteY23" fmla="*/ 158687 h 1284160"/>
                <a:gd name="connsiteX24" fmla="*/ 804291 w 986123"/>
                <a:gd name="connsiteY24" fmla="*/ 365569 h 1284160"/>
                <a:gd name="connsiteX25" fmla="*/ 640271 w 986123"/>
                <a:gd name="connsiteY25" fmla="*/ 275558 h 1284160"/>
                <a:gd name="connsiteX26" fmla="*/ 479774 w 986123"/>
                <a:gd name="connsiteY26" fmla="*/ 242602 h 1284160"/>
                <a:gd name="connsiteX27" fmla="*/ 359378 w 986123"/>
                <a:gd name="connsiteY27" fmla="*/ 273844 h 1284160"/>
                <a:gd name="connsiteX28" fmla="*/ 319278 w 986123"/>
                <a:gd name="connsiteY28" fmla="*/ 351377 h 1284160"/>
                <a:gd name="connsiteX29" fmla="*/ 319278 w 986123"/>
                <a:gd name="connsiteY29" fmla="*/ 354997 h 1284160"/>
                <a:gd name="connsiteX30" fmla="*/ 330899 w 986123"/>
                <a:gd name="connsiteY30" fmla="*/ 407575 h 1284160"/>
                <a:gd name="connsiteX31" fmla="*/ 372904 w 986123"/>
                <a:gd name="connsiteY31" fmla="*/ 447675 h 1284160"/>
                <a:gd name="connsiteX32" fmla="*/ 456057 w 986123"/>
                <a:gd name="connsiteY32" fmla="*/ 481489 h 1284160"/>
                <a:gd name="connsiteX33" fmla="*/ 589217 w 986123"/>
                <a:gd name="connsiteY33" fmla="*/ 518922 h 1284160"/>
                <a:gd name="connsiteX34" fmla="*/ 758190 w 986123"/>
                <a:gd name="connsiteY34" fmla="*/ 575120 h 1284160"/>
                <a:gd name="connsiteX35" fmla="*/ 883349 w 986123"/>
                <a:gd name="connsiteY35" fmla="*/ 649986 h 1284160"/>
                <a:gd name="connsiteX36" fmla="*/ 960215 w 986123"/>
                <a:gd name="connsiteY36" fmla="*/ 752570 h 1284160"/>
                <a:gd name="connsiteX37" fmla="*/ 986123 w 986123"/>
                <a:gd name="connsiteY37" fmla="*/ 893445 h 1284160"/>
                <a:gd name="connsiteX38" fmla="*/ 986123 w 986123"/>
                <a:gd name="connsiteY38" fmla="*/ 897064 h 1284160"/>
                <a:gd name="connsiteX39" fmla="*/ 952500 w 986123"/>
                <a:gd name="connsiteY39" fmla="*/ 1062038 h 1284160"/>
                <a:gd name="connsiteX40" fmla="*/ 858584 w 986123"/>
                <a:gd name="connsiteY40" fmla="*/ 1183291 h 1284160"/>
                <a:gd name="connsiteX41" fmla="*/ 714851 w 986123"/>
                <a:gd name="connsiteY41" fmla="*/ 1258157 h 1284160"/>
                <a:gd name="connsiteX42" fmla="*/ 529685 w 986123"/>
                <a:gd name="connsiteY42" fmla="*/ 1284065 h 128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6123" h="1284160">
                  <a:moveTo>
                    <a:pt x="529590" y="1284160"/>
                  </a:moveTo>
                  <a:cubicBezTo>
                    <a:pt x="434435" y="1284160"/>
                    <a:pt x="341186" y="1267777"/>
                    <a:pt x="249650" y="1235107"/>
                  </a:cubicBezTo>
                  <a:cubicBezTo>
                    <a:pt x="158115" y="1202436"/>
                    <a:pt x="74867" y="1152239"/>
                    <a:pt x="0" y="1084421"/>
                  </a:cubicBezTo>
                  <a:lnTo>
                    <a:pt x="162306" y="890016"/>
                  </a:lnTo>
                  <a:cubicBezTo>
                    <a:pt x="219361" y="936403"/>
                    <a:pt x="277844" y="973264"/>
                    <a:pt x="337947" y="1000601"/>
                  </a:cubicBezTo>
                  <a:cubicBezTo>
                    <a:pt x="397955" y="1027938"/>
                    <a:pt x="463677" y="1041654"/>
                    <a:pt x="535019" y="1041654"/>
                  </a:cubicBezTo>
                  <a:cubicBezTo>
                    <a:pt x="592074" y="1041654"/>
                    <a:pt x="636365" y="1031272"/>
                    <a:pt x="667893" y="1010412"/>
                  </a:cubicBezTo>
                  <a:cubicBezTo>
                    <a:pt x="699421" y="989647"/>
                    <a:pt x="715137" y="960787"/>
                    <a:pt x="715137" y="923925"/>
                  </a:cubicBezTo>
                  <a:lnTo>
                    <a:pt x="715137" y="920305"/>
                  </a:lnTo>
                  <a:cubicBezTo>
                    <a:pt x="715137" y="902494"/>
                    <a:pt x="711803" y="886777"/>
                    <a:pt x="705326" y="873062"/>
                  </a:cubicBezTo>
                  <a:cubicBezTo>
                    <a:pt x="698754" y="859441"/>
                    <a:pt x="686276" y="846582"/>
                    <a:pt x="667798" y="834676"/>
                  </a:cubicBezTo>
                  <a:cubicBezTo>
                    <a:pt x="649319" y="822770"/>
                    <a:pt x="623697" y="810863"/>
                    <a:pt x="590931" y="798957"/>
                  </a:cubicBezTo>
                  <a:cubicBezTo>
                    <a:pt x="558165" y="787146"/>
                    <a:pt x="515493" y="774573"/>
                    <a:pt x="463106" y="761524"/>
                  </a:cubicBezTo>
                  <a:cubicBezTo>
                    <a:pt x="399955" y="746093"/>
                    <a:pt x="342710" y="728853"/>
                    <a:pt x="291465" y="709803"/>
                  </a:cubicBezTo>
                  <a:cubicBezTo>
                    <a:pt x="240221" y="690753"/>
                    <a:pt x="196691" y="667322"/>
                    <a:pt x="160973" y="639318"/>
                  </a:cubicBezTo>
                  <a:cubicBezTo>
                    <a:pt x="125159" y="611410"/>
                    <a:pt x="97536" y="576644"/>
                    <a:pt x="77819" y="535019"/>
                  </a:cubicBezTo>
                  <a:cubicBezTo>
                    <a:pt x="58103" y="493395"/>
                    <a:pt x="48292" y="441674"/>
                    <a:pt x="48292" y="379857"/>
                  </a:cubicBezTo>
                  <a:lnTo>
                    <a:pt x="48292" y="376238"/>
                  </a:lnTo>
                  <a:cubicBezTo>
                    <a:pt x="48292" y="319183"/>
                    <a:pt x="58865" y="267748"/>
                    <a:pt x="80201" y="222028"/>
                  </a:cubicBezTo>
                  <a:cubicBezTo>
                    <a:pt x="101441" y="176308"/>
                    <a:pt x="131255" y="136779"/>
                    <a:pt x="169640" y="103441"/>
                  </a:cubicBezTo>
                  <a:cubicBezTo>
                    <a:pt x="208026" y="70199"/>
                    <a:pt x="253841" y="44577"/>
                    <a:pt x="307181" y="26765"/>
                  </a:cubicBezTo>
                  <a:cubicBezTo>
                    <a:pt x="360426" y="8953"/>
                    <a:pt x="419195" y="0"/>
                    <a:pt x="483394" y="0"/>
                  </a:cubicBezTo>
                  <a:cubicBezTo>
                    <a:pt x="574929" y="0"/>
                    <a:pt x="659035" y="13716"/>
                    <a:pt x="735711" y="41053"/>
                  </a:cubicBezTo>
                  <a:cubicBezTo>
                    <a:pt x="812387" y="68389"/>
                    <a:pt x="882777" y="107632"/>
                    <a:pt x="946976" y="158687"/>
                  </a:cubicBezTo>
                  <a:lnTo>
                    <a:pt x="804291" y="365569"/>
                  </a:lnTo>
                  <a:cubicBezTo>
                    <a:pt x="748379" y="327565"/>
                    <a:pt x="693706" y="297561"/>
                    <a:pt x="640271" y="275558"/>
                  </a:cubicBezTo>
                  <a:cubicBezTo>
                    <a:pt x="586740" y="253555"/>
                    <a:pt x="533305" y="242602"/>
                    <a:pt x="479774" y="242602"/>
                  </a:cubicBezTo>
                  <a:cubicBezTo>
                    <a:pt x="426244" y="242602"/>
                    <a:pt x="386144" y="252984"/>
                    <a:pt x="359378" y="273844"/>
                  </a:cubicBezTo>
                  <a:cubicBezTo>
                    <a:pt x="332613" y="294608"/>
                    <a:pt x="319278" y="320516"/>
                    <a:pt x="319278" y="351377"/>
                  </a:cubicBezTo>
                  <a:lnTo>
                    <a:pt x="319278" y="354997"/>
                  </a:lnTo>
                  <a:cubicBezTo>
                    <a:pt x="319278" y="375190"/>
                    <a:pt x="323183" y="392716"/>
                    <a:pt x="330899" y="407575"/>
                  </a:cubicBezTo>
                  <a:cubicBezTo>
                    <a:pt x="338614" y="422434"/>
                    <a:pt x="352616" y="435864"/>
                    <a:pt x="372904" y="447675"/>
                  </a:cubicBezTo>
                  <a:cubicBezTo>
                    <a:pt x="393192" y="459581"/>
                    <a:pt x="420910" y="470821"/>
                    <a:pt x="456057" y="481489"/>
                  </a:cubicBezTo>
                  <a:cubicBezTo>
                    <a:pt x="491204" y="492157"/>
                    <a:pt x="535591" y="504730"/>
                    <a:pt x="589217" y="518922"/>
                  </a:cubicBezTo>
                  <a:cubicBezTo>
                    <a:pt x="652367" y="535591"/>
                    <a:pt x="708660" y="554260"/>
                    <a:pt x="758190" y="575120"/>
                  </a:cubicBezTo>
                  <a:cubicBezTo>
                    <a:pt x="807625" y="595979"/>
                    <a:pt x="849344" y="620935"/>
                    <a:pt x="883349" y="649986"/>
                  </a:cubicBezTo>
                  <a:cubicBezTo>
                    <a:pt x="917353" y="679132"/>
                    <a:pt x="942975" y="713327"/>
                    <a:pt x="960215" y="752570"/>
                  </a:cubicBezTo>
                  <a:cubicBezTo>
                    <a:pt x="977456" y="791813"/>
                    <a:pt x="986123" y="838772"/>
                    <a:pt x="986123" y="893445"/>
                  </a:cubicBezTo>
                  <a:lnTo>
                    <a:pt x="986123" y="897064"/>
                  </a:lnTo>
                  <a:cubicBezTo>
                    <a:pt x="986123" y="958882"/>
                    <a:pt x="974884" y="1013841"/>
                    <a:pt x="952500" y="1062038"/>
                  </a:cubicBezTo>
                  <a:cubicBezTo>
                    <a:pt x="930021" y="1110139"/>
                    <a:pt x="898779" y="1150620"/>
                    <a:pt x="858584" y="1183291"/>
                  </a:cubicBezTo>
                  <a:cubicBezTo>
                    <a:pt x="818388" y="1216057"/>
                    <a:pt x="770477" y="1241012"/>
                    <a:pt x="714851" y="1258157"/>
                  </a:cubicBezTo>
                  <a:cubicBezTo>
                    <a:pt x="659130" y="1275398"/>
                    <a:pt x="597503" y="1284065"/>
                    <a:pt x="529685" y="1284065"/>
                  </a:cubicBezTo>
                  <a:close/>
                </a:path>
              </a:pathLst>
            </a:custGeom>
            <a:solidFill>
              <a:srgbClr val="44505E"/>
            </a:solidFill>
            <a:ln w="9525" cap="flat">
              <a:noFill/>
              <a:prstDash val="solid"/>
              <a:miter/>
            </a:ln>
          </p:spPr>
          <p:txBody>
            <a:bodyPr rtlCol="0" anchor="ctr"/>
            <a:lstStyle/>
            <a:p>
              <a:endParaRPr lang="pt-BR" noProof="0"/>
            </a:p>
          </p:txBody>
        </p:sp>
        <p:sp>
          <p:nvSpPr>
            <p:cNvPr id="17" name="Freeform: Shape 16">
              <a:extLst>
                <a:ext uri="{FF2B5EF4-FFF2-40B4-BE49-F238E27FC236}">
                  <a16:creationId xmlns:a16="http://schemas.microsoft.com/office/drawing/2014/main" id="{07D3F2BE-D2ED-AE0B-8BAD-E325EE12DC72}"/>
                </a:ext>
              </a:extLst>
            </p:cNvPr>
            <p:cNvSpPr/>
            <p:nvPr/>
          </p:nvSpPr>
          <p:spPr>
            <a:xfrm>
              <a:off x="5492084" y="310867"/>
              <a:ext cx="332584" cy="315991"/>
            </a:xfrm>
            <a:custGeom>
              <a:avLst/>
              <a:gdLst>
                <a:gd name="connsiteX0" fmla="*/ 534924 w 1323022"/>
                <a:gd name="connsiteY0" fmla="*/ 0 h 1257014"/>
                <a:gd name="connsiteX1" fmla="*/ 788099 w 1323022"/>
                <a:gd name="connsiteY1" fmla="*/ 0 h 1257014"/>
                <a:gd name="connsiteX2" fmla="*/ 1323023 w 1323022"/>
                <a:gd name="connsiteY2" fmla="*/ 1257014 h 1257014"/>
                <a:gd name="connsiteX3" fmla="*/ 1035939 w 1323022"/>
                <a:gd name="connsiteY3" fmla="*/ 1257014 h 1257014"/>
                <a:gd name="connsiteX4" fmla="*/ 921829 w 1323022"/>
                <a:gd name="connsiteY4" fmla="*/ 977075 h 1257014"/>
                <a:gd name="connsiteX5" fmla="*/ 394049 w 1323022"/>
                <a:gd name="connsiteY5" fmla="*/ 977075 h 1257014"/>
                <a:gd name="connsiteX6" fmla="*/ 279940 w 1323022"/>
                <a:gd name="connsiteY6" fmla="*/ 1257014 h 1257014"/>
                <a:gd name="connsiteX7" fmla="*/ 0 w 1323022"/>
                <a:gd name="connsiteY7" fmla="*/ 1257014 h 1257014"/>
                <a:gd name="connsiteX8" fmla="*/ 534924 w 1323022"/>
                <a:gd name="connsiteY8" fmla="*/ 0 h 1257014"/>
                <a:gd name="connsiteX9" fmla="*/ 823817 w 1323022"/>
                <a:gd name="connsiteY9" fmla="*/ 734568 h 1257014"/>
                <a:gd name="connsiteX10" fmla="*/ 657987 w 1323022"/>
                <a:gd name="connsiteY10" fmla="*/ 329851 h 1257014"/>
                <a:gd name="connsiteX11" fmla="*/ 492157 w 1323022"/>
                <a:gd name="connsiteY11" fmla="*/ 734568 h 1257014"/>
                <a:gd name="connsiteX12" fmla="*/ 823817 w 1323022"/>
                <a:gd name="connsiteY12" fmla="*/ 734568 h 125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022" h="1257014">
                  <a:moveTo>
                    <a:pt x="534924" y="0"/>
                  </a:moveTo>
                  <a:lnTo>
                    <a:pt x="788099" y="0"/>
                  </a:lnTo>
                  <a:lnTo>
                    <a:pt x="1323023" y="1257014"/>
                  </a:lnTo>
                  <a:lnTo>
                    <a:pt x="1035939" y="1257014"/>
                  </a:lnTo>
                  <a:lnTo>
                    <a:pt x="921829" y="977075"/>
                  </a:lnTo>
                  <a:lnTo>
                    <a:pt x="394049" y="977075"/>
                  </a:lnTo>
                  <a:lnTo>
                    <a:pt x="279940" y="1257014"/>
                  </a:lnTo>
                  <a:lnTo>
                    <a:pt x="0" y="1257014"/>
                  </a:lnTo>
                  <a:lnTo>
                    <a:pt x="534924" y="0"/>
                  </a:lnTo>
                  <a:close/>
                  <a:moveTo>
                    <a:pt x="823817" y="734568"/>
                  </a:moveTo>
                  <a:lnTo>
                    <a:pt x="657987" y="329851"/>
                  </a:lnTo>
                  <a:lnTo>
                    <a:pt x="492157" y="734568"/>
                  </a:lnTo>
                  <a:lnTo>
                    <a:pt x="823817" y="734568"/>
                  </a:lnTo>
                  <a:close/>
                </a:path>
              </a:pathLst>
            </a:custGeom>
            <a:solidFill>
              <a:srgbClr val="44505E"/>
            </a:solidFill>
            <a:ln w="9525" cap="flat">
              <a:noFill/>
              <a:prstDash val="solid"/>
              <a:miter/>
            </a:ln>
          </p:spPr>
          <p:txBody>
            <a:bodyPr rtlCol="0" anchor="ctr"/>
            <a:lstStyle/>
            <a:p>
              <a:endParaRPr lang="pt-BR" noProof="0"/>
            </a:p>
          </p:txBody>
        </p:sp>
        <p:sp>
          <p:nvSpPr>
            <p:cNvPr id="18" name="Freeform: Shape 17">
              <a:extLst>
                <a:ext uri="{FF2B5EF4-FFF2-40B4-BE49-F238E27FC236}">
                  <a16:creationId xmlns:a16="http://schemas.microsoft.com/office/drawing/2014/main" id="{E1F7216A-C1F5-9ABC-053C-FF5D00C06A0C}"/>
                </a:ext>
              </a:extLst>
            </p:cNvPr>
            <p:cNvSpPr/>
            <p:nvPr/>
          </p:nvSpPr>
          <p:spPr>
            <a:xfrm>
              <a:off x="5834078" y="211355"/>
              <a:ext cx="273442" cy="420435"/>
            </a:xfrm>
            <a:custGeom>
              <a:avLst/>
              <a:gdLst>
                <a:gd name="connsiteX0" fmla="*/ 540258 w 1087754"/>
                <a:gd name="connsiteY0" fmla="*/ 1672495 h 1672494"/>
                <a:gd name="connsiteX1" fmla="*/ 144399 w 1087754"/>
                <a:gd name="connsiteY1" fmla="*/ 1533430 h 1672494"/>
                <a:gd name="connsiteX2" fmla="*/ 0 w 1087754"/>
                <a:gd name="connsiteY2" fmla="*/ 1117949 h 1672494"/>
                <a:gd name="connsiteX3" fmla="*/ 0 w 1087754"/>
                <a:gd name="connsiteY3" fmla="*/ 404717 h 1672494"/>
                <a:gd name="connsiteX4" fmla="*/ 274606 w 1087754"/>
                <a:gd name="connsiteY4" fmla="*/ 404717 h 1672494"/>
                <a:gd name="connsiteX5" fmla="*/ 274606 w 1087754"/>
                <a:gd name="connsiteY5" fmla="*/ 1110806 h 1672494"/>
                <a:gd name="connsiteX6" fmla="*/ 345948 w 1087754"/>
                <a:gd name="connsiteY6" fmla="*/ 1341692 h 1672494"/>
                <a:gd name="connsiteX7" fmla="*/ 543877 w 1087754"/>
                <a:gd name="connsiteY7" fmla="*/ 1419225 h 1672494"/>
                <a:gd name="connsiteX8" fmla="*/ 741807 w 1087754"/>
                <a:gd name="connsiteY8" fmla="*/ 1344359 h 1672494"/>
                <a:gd name="connsiteX9" fmla="*/ 813149 w 1087754"/>
                <a:gd name="connsiteY9" fmla="*/ 1119664 h 1672494"/>
                <a:gd name="connsiteX10" fmla="*/ 813149 w 1087754"/>
                <a:gd name="connsiteY10" fmla="*/ 404717 h 1672494"/>
                <a:gd name="connsiteX11" fmla="*/ 1087755 w 1087754"/>
                <a:gd name="connsiteY11" fmla="*/ 404717 h 1672494"/>
                <a:gd name="connsiteX12" fmla="*/ 1087755 w 1087754"/>
                <a:gd name="connsiteY12" fmla="*/ 1108996 h 1672494"/>
                <a:gd name="connsiteX13" fmla="*/ 1049369 w 1087754"/>
                <a:gd name="connsiteY13" fmla="*/ 1356836 h 1672494"/>
                <a:gd name="connsiteX14" fmla="*/ 939737 w 1087754"/>
                <a:gd name="connsiteY14" fmla="*/ 1532477 h 1672494"/>
                <a:gd name="connsiteX15" fmla="*/ 766763 w 1087754"/>
                <a:gd name="connsiteY15" fmla="*/ 1637729 h 1672494"/>
                <a:gd name="connsiteX16" fmla="*/ 540353 w 1087754"/>
                <a:gd name="connsiteY16" fmla="*/ 1672495 h 1672494"/>
                <a:gd name="connsiteX17" fmla="*/ 622268 w 1087754"/>
                <a:gd name="connsiteY17" fmla="*/ 0 h 1672494"/>
                <a:gd name="connsiteX18" fmla="*/ 855821 w 1087754"/>
                <a:gd name="connsiteY18" fmla="*/ 101632 h 1672494"/>
                <a:gd name="connsiteX19" fmla="*/ 627602 w 1087754"/>
                <a:gd name="connsiteY19" fmla="*/ 315563 h 1672494"/>
                <a:gd name="connsiteX20" fmla="*/ 420719 w 1087754"/>
                <a:gd name="connsiteY20" fmla="*/ 315563 h 1672494"/>
                <a:gd name="connsiteX21" fmla="*/ 622268 w 1087754"/>
                <a:gd name="connsiteY21" fmla="*/ 0 h 16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754" h="1672494">
                  <a:moveTo>
                    <a:pt x="540258" y="1672495"/>
                  </a:moveTo>
                  <a:cubicBezTo>
                    <a:pt x="372618" y="1672495"/>
                    <a:pt x="240697" y="1626108"/>
                    <a:pt x="144399" y="1533430"/>
                  </a:cubicBezTo>
                  <a:cubicBezTo>
                    <a:pt x="48101" y="1440752"/>
                    <a:pt x="0" y="1302258"/>
                    <a:pt x="0" y="1117949"/>
                  </a:cubicBezTo>
                  <a:lnTo>
                    <a:pt x="0" y="404717"/>
                  </a:lnTo>
                  <a:lnTo>
                    <a:pt x="274606" y="404717"/>
                  </a:lnTo>
                  <a:lnTo>
                    <a:pt x="274606" y="1110806"/>
                  </a:lnTo>
                  <a:cubicBezTo>
                    <a:pt x="274606" y="1213009"/>
                    <a:pt x="298418" y="1289971"/>
                    <a:pt x="345948" y="1341692"/>
                  </a:cubicBezTo>
                  <a:cubicBezTo>
                    <a:pt x="393478" y="1393412"/>
                    <a:pt x="459486" y="1419225"/>
                    <a:pt x="543877" y="1419225"/>
                  </a:cubicBezTo>
                  <a:cubicBezTo>
                    <a:pt x="628269" y="1419225"/>
                    <a:pt x="694277" y="1394270"/>
                    <a:pt x="741807" y="1344359"/>
                  </a:cubicBezTo>
                  <a:cubicBezTo>
                    <a:pt x="789337" y="1294448"/>
                    <a:pt x="813149" y="1219581"/>
                    <a:pt x="813149" y="1119664"/>
                  </a:cubicBezTo>
                  <a:lnTo>
                    <a:pt x="813149" y="404717"/>
                  </a:lnTo>
                  <a:lnTo>
                    <a:pt x="1087755" y="404717"/>
                  </a:lnTo>
                  <a:lnTo>
                    <a:pt x="1087755" y="1108996"/>
                  </a:lnTo>
                  <a:cubicBezTo>
                    <a:pt x="1087755" y="1204151"/>
                    <a:pt x="1074992" y="1286732"/>
                    <a:pt x="1049369" y="1356836"/>
                  </a:cubicBezTo>
                  <a:cubicBezTo>
                    <a:pt x="1023747" y="1426940"/>
                    <a:pt x="987266" y="1485519"/>
                    <a:pt x="939737" y="1532477"/>
                  </a:cubicBezTo>
                  <a:cubicBezTo>
                    <a:pt x="892207" y="1579436"/>
                    <a:pt x="834485" y="1614488"/>
                    <a:pt x="766763" y="1637729"/>
                  </a:cubicBezTo>
                  <a:cubicBezTo>
                    <a:pt x="699040" y="1660874"/>
                    <a:pt x="623507" y="1672495"/>
                    <a:pt x="540353" y="1672495"/>
                  </a:cubicBezTo>
                  <a:close/>
                  <a:moveTo>
                    <a:pt x="622268" y="0"/>
                  </a:moveTo>
                  <a:lnTo>
                    <a:pt x="855821" y="101632"/>
                  </a:lnTo>
                  <a:lnTo>
                    <a:pt x="627602" y="315563"/>
                  </a:lnTo>
                  <a:lnTo>
                    <a:pt x="420719" y="315563"/>
                  </a:lnTo>
                  <a:lnTo>
                    <a:pt x="622268" y="0"/>
                  </a:lnTo>
                  <a:close/>
                </a:path>
              </a:pathLst>
            </a:custGeom>
            <a:solidFill>
              <a:srgbClr val="44505E"/>
            </a:solidFill>
            <a:ln w="9525" cap="flat">
              <a:noFill/>
              <a:prstDash val="solid"/>
              <a:miter/>
            </a:ln>
          </p:spPr>
          <p:txBody>
            <a:bodyPr rtlCol="0" anchor="ctr"/>
            <a:lstStyle/>
            <a:p>
              <a:endParaRPr lang="pt-BR" noProof="0"/>
            </a:p>
          </p:txBody>
        </p:sp>
        <p:sp>
          <p:nvSpPr>
            <p:cNvPr id="19" name="Freeform: Shape 18">
              <a:extLst>
                <a:ext uri="{FF2B5EF4-FFF2-40B4-BE49-F238E27FC236}">
                  <a16:creationId xmlns:a16="http://schemas.microsoft.com/office/drawing/2014/main" id="{134351DD-870F-31B1-27EA-5350D4569448}"/>
                </a:ext>
              </a:extLst>
            </p:cNvPr>
            <p:cNvSpPr/>
            <p:nvPr/>
          </p:nvSpPr>
          <p:spPr>
            <a:xfrm>
              <a:off x="6143795" y="313094"/>
              <a:ext cx="289101" cy="313764"/>
            </a:xfrm>
            <a:custGeom>
              <a:avLst/>
              <a:gdLst>
                <a:gd name="connsiteX0" fmla="*/ 0 w 1150048"/>
                <a:gd name="connsiteY0" fmla="*/ 0 h 1248155"/>
                <a:gd name="connsiteX1" fmla="*/ 486728 w 1150048"/>
                <a:gd name="connsiteY1" fmla="*/ 0 h 1248155"/>
                <a:gd name="connsiteX2" fmla="*/ 755047 w 1150048"/>
                <a:gd name="connsiteY2" fmla="*/ 47244 h 1248155"/>
                <a:gd name="connsiteX3" fmla="*/ 965454 w 1150048"/>
                <a:gd name="connsiteY3" fmla="*/ 178308 h 1248155"/>
                <a:gd name="connsiteX4" fmla="*/ 1101852 w 1150048"/>
                <a:gd name="connsiteY4" fmla="*/ 375380 h 1248155"/>
                <a:gd name="connsiteX5" fmla="*/ 1150049 w 1150048"/>
                <a:gd name="connsiteY5" fmla="*/ 620554 h 1248155"/>
                <a:gd name="connsiteX6" fmla="*/ 1150049 w 1150048"/>
                <a:gd name="connsiteY6" fmla="*/ 624173 h 1248155"/>
                <a:gd name="connsiteX7" fmla="*/ 1101852 w 1150048"/>
                <a:gd name="connsiteY7" fmla="*/ 870204 h 1248155"/>
                <a:gd name="connsiteX8" fmla="*/ 965454 w 1150048"/>
                <a:gd name="connsiteY8" fmla="*/ 1068134 h 1248155"/>
                <a:gd name="connsiteX9" fmla="*/ 755047 w 1150048"/>
                <a:gd name="connsiteY9" fmla="*/ 1200055 h 1248155"/>
                <a:gd name="connsiteX10" fmla="*/ 486728 w 1150048"/>
                <a:gd name="connsiteY10" fmla="*/ 1248156 h 1248155"/>
                <a:gd name="connsiteX11" fmla="*/ 0 w 1150048"/>
                <a:gd name="connsiteY11" fmla="*/ 1248156 h 1248155"/>
                <a:gd name="connsiteX12" fmla="*/ 0 w 1150048"/>
                <a:gd name="connsiteY12" fmla="*/ 0 h 1248155"/>
                <a:gd name="connsiteX13" fmla="*/ 486728 w 1150048"/>
                <a:gd name="connsiteY13" fmla="*/ 1000315 h 1248155"/>
                <a:gd name="connsiteX14" fmla="*/ 640080 w 1150048"/>
                <a:gd name="connsiteY14" fmla="*/ 973550 h 1248155"/>
                <a:gd name="connsiteX15" fmla="*/ 758667 w 1150048"/>
                <a:gd name="connsiteY15" fmla="*/ 896874 h 1248155"/>
                <a:gd name="connsiteX16" fmla="*/ 835343 w 1150048"/>
                <a:gd name="connsiteY16" fmla="*/ 779240 h 1248155"/>
                <a:gd name="connsiteX17" fmla="*/ 862965 w 1150048"/>
                <a:gd name="connsiteY17" fmla="*/ 627698 h 1248155"/>
                <a:gd name="connsiteX18" fmla="*/ 862965 w 1150048"/>
                <a:gd name="connsiteY18" fmla="*/ 624078 h 1248155"/>
                <a:gd name="connsiteX19" fmla="*/ 835343 w 1150048"/>
                <a:gd name="connsiteY19" fmla="*/ 472535 h 1248155"/>
                <a:gd name="connsiteX20" fmla="*/ 758667 w 1150048"/>
                <a:gd name="connsiteY20" fmla="*/ 353092 h 1248155"/>
                <a:gd name="connsiteX21" fmla="*/ 640080 w 1150048"/>
                <a:gd name="connsiteY21" fmla="*/ 275558 h 1248155"/>
                <a:gd name="connsiteX22" fmla="*/ 486728 w 1150048"/>
                <a:gd name="connsiteY22" fmla="*/ 247936 h 1248155"/>
                <a:gd name="connsiteX23" fmla="*/ 274511 w 1150048"/>
                <a:gd name="connsiteY23" fmla="*/ 247936 h 1248155"/>
                <a:gd name="connsiteX24" fmla="*/ 274511 w 1150048"/>
                <a:gd name="connsiteY24" fmla="*/ 1000411 h 1248155"/>
                <a:gd name="connsiteX25" fmla="*/ 486728 w 1150048"/>
                <a:gd name="connsiteY25" fmla="*/ 1000411 h 124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50048" h="1248155">
                  <a:moveTo>
                    <a:pt x="0" y="0"/>
                  </a:moveTo>
                  <a:lnTo>
                    <a:pt x="486728" y="0"/>
                  </a:lnTo>
                  <a:cubicBezTo>
                    <a:pt x="584168" y="0"/>
                    <a:pt x="673608" y="15811"/>
                    <a:pt x="755047" y="47244"/>
                  </a:cubicBezTo>
                  <a:cubicBezTo>
                    <a:pt x="836486" y="78772"/>
                    <a:pt x="906590" y="122396"/>
                    <a:pt x="965454" y="178308"/>
                  </a:cubicBezTo>
                  <a:cubicBezTo>
                    <a:pt x="1024319" y="234220"/>
                    <a:pt x="1069753" y="299847"/>
                    <a:pt x="1101852" y="375380"/>
                  </a:cubicBezTo>
                  <a:cubicBezTo>
                    <a:pt x="1133951" y="450914"/>
                    <a:pt x="1150049" y="532543"/>
                    <a:pt x="1150049" y="620554"/>
                  </a:cubicBezTo>
                  <a:lnTo>
                    <a:pt x="1150049" y="624173"/>
                  </a:lnTo>
                  <a:cubicBezTo>
                    <a:pt x="1150049" y="712184"/>
                    <a:pt x="1133951" y="794195"/>
                    <a:pt x="1101852" y="870204"/>
                  </a:cubicBezTo>
                  <a:cubicBezTo>
                    <a:pt x="1069753" y="946309"/>
                    <a:pt x="1024319" y="1012222"/>
                    <a:pt x="965454" y="1068134"/>
                  </a:cubicBezTo>
                  <a:cubicBezTo>
                    <a:pt x="906590" y="1124045"/>
                    <a:pt x="836486" y="1167956"/>
                    <a:pt x="755047" y="1200055"/>
                  </a:cubicBezTo>
                  <a:cubicBezTo>
                    <a:pt x="673608" y="1232154"/>
                    <a:pt x="584168" y="1248156"/>
                    <a:pt x="486728" y="1248156"/>
                  </a:cubicBezTo>
                  <a:lnTo>
                    <a:pt x="0" y="1248156"/>
                  </a:lnTo>
                  <a:lnTo>
                    <a:pt x="0" y="0"/>
                  </a:lnTo>
                  <a:close/>
                  <a:moveTo>
                    <a:pt x="486728" y="1000315"/>
                  </a:moveTo>
                  <a:cubicBezTo>
                    <a:pt x="542639" y="1000315"/>
                    <a:pt x="593693" y="991457"/>
                    <a:pt x="640080" y="973550"/>
                  </a:cubicBezTo>
                  <a:cubicBezTo>
                    <a:pt x="686467" y="955739"/>
                    <a:pt x="725900" y="930211"/>
                    <a:pt x="758667" y="896874"/>
                  </a:cubicBezTo>
                  <a:cubicBezTo>
                    <a:pt x="791337" y="863632"/>
                    <a:pt x="816864" y="824389"/>
                    <a:pt x="835343" y="779240"/>
                  </a:cubicBezTo>
                  <a:cubicBezTo>
                    <a:pt x="853726" y="734092"/>
                    <a:pt x="862965" y="683609"/>
                    <a:pt x="862965" y="627698"/>
                  </a:cubicBezTo>
                  <a:lnTo>
                    <a:pt x="862965" y="624078"/>
                  </a:lnTo>
                  <a:cubicBezTo>
                    <a:pt x="862965" y="569404"/>
                    <a:pt x="853726" y="518827"/>
                    <a:pt x="835343" y="472535"/>
                  </a:cubicBezTo>
                  <a:cubicBezTo>
                    <a:pt x="816864" y="426149"/>
                    <a:pt x="791337" y="386334"/>
                    <a:pt x="758667" y="353092"/>
                  </a:cubicBezTo>
                  <a:cubicBezTo>
                    <a:pt x="725996" y="319849"/>
                    <a:pt x="686467" y="293941"/>
                    <a:pt x="640080" y="275558"/>
                  </a:cubicBezTo>
                  <a:cubicBezTo>
                    <a:pt x="593693" y="257175"/>
                    <a:pt x="542639" y="247936"/>
                    <a:pt x="486728" y="247936"/>
                  </a:cubicBezTo>
                  <a:lnTo>
                    <a:pt x="274511" y="247936"/>
                  </a:lnTo>
                  <a:lnTo>
                    <a:pt x="274511" y="1000411"/>
                  </a:lnTo>
                  <a:lnTo>
                    <a:pt x="486728" y="1000411"/>
                  </a:lnTo>
                  <a:close/>
                </a:path>
              </a:pathLst>
            </a:custGeom>
            <a:solidFill>
              <a:srgbClr val="44505E"/>
            </a:solidFill>
            <a:ln w="9525" cap="flat">
              <a:noFill/>
              <a:prstDash val="solid"/>
              <a:miter/>
            </a:ln>
          </p:spPr>
          <p:txBody>
            <a:bodyPr rtlCol="0" anchor="ctr"/>
            <a:lstStyle/>
            <a:p>
              <a:endParaRPr lang="pt-BR" noProof="0"/>
            </a:p>
          </p:txBody>
        </p:sp>
        <p:sp>
          <p:nvSpPr>
            <p:cNvPr id="20" name="Freeform: Shape 19">
              <a:extLst>
                <a:ext uri="{FF2B5EF4-FFF2-40B4-BE49-F238E27FC236}">
                  <a16:creationId xmlns:a16="http://schemas.microsoft.com/office/drawing/2014/main" id="{14AF4A51-CAC1-8E43-BD18-924B882EBB5B}"/>
                </a:ext>
              </a:extLst>
            </p:cNvPr>
            <p:cNvSpPr/>
            <p:nvPr/>
          </p:nvSpPr>
          <p:spPr>
            <a:xfrm>
              <a:off x="6460217" y="313094"/>
              <a:ext cx="238459" cy="313788"/>
            </a:xfrm>
            <a:custGeom>
              <a:avLst/>
              <a:gdLst>
                <a:gd name="connsiteX0" fmla="*/ 95 w 948594"/>
                <a:gd name="connsiteY0" fmla="*/ 0 h 1248251"/>
                <a:gd name="connsiteX1" fmla="*/ 939737 w 948594"/>
                <a:gd name="connsiteY1" fmla="*/ 0 h 1248251"/>
                <a:gd name="connsiteX2" fmla="*/ 939737 w 948594"/>
                <a:gd name="connsiteY2" fmla="*/ 244316 h 1248251"/>
                <a:gd name="connsiteX3" fmla="*/ 271081 w 948594"/>
                <a:gd name="connsiteY3" fmla="*/ 244316 h 1248251"/>
                <a:gd name="connsiteX4" fmla="*/ 271081 w 948594"/>
                <a:gd name="connsiteY4" fmla="*/ 497491 h 1248251"/>
                <a:gd name="connsiteX5" fmla="*/ 859441 w 948594"/>
                <a:gd name="connsiteY5" fmla="*/ 497491 h 1248251"/>
                <a:gd name="connsiteX6" fmla="*/ 859441 w 948594"/>
                <a:gd name="connsiteY6" fmla="*/ 741807 h 1248251"/>
                <a:gd name="connsiteX7" fmla="*/ 271081 w 948594"/>
                <a:gd name="connsiteY7" fmla="*/ 741807 h 1248251"/>
                <a:gd name="connsiteX8" fmla="*/ 271081 w 948594"/>
                <a:gd name="connsiteY8" fmla="*/ 1003935 h 1248251"/>
                <a:gd name="connsiteX9" fmla="*/ 948595 w 948594"/>
                <a:gd name="connsiteY9" fmla="*/ 1003935 h 1248251"/>
                <a:gd name="connsiteX10" fmla="*/ 948595 w 948594"/>
                <a:gd name="connsiteY10" fmla="*/ 1248251 h 1248251"/>
                <a:gd name="connsiteX11" fmla="*/ 0 w 948594"/>
                <a:gd name="connsiteY11" fmla="*/ 1248251 h 1248251"/>
                <a:gd name="connsiteX12" fmla="*/ 0 w 948594"/>
                <a:gd name="connsiteY12" fmla="*/ 0 h 124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594" h="1248251">
                  <a:moveTo>
                    <a:pt x="95" y="0"/>
                  </a:moveTo>
                  <a:lnTo>
                    <a:pt x="939737" y="0"/>
                  </a:lnTo>
                  <a:lnTo>
                    <a:pt x="939737" y="244316"/>
                  </a:lnTo>
                  <a:lnTo>
                    <a:pt x="271081" y="244316"/>
                  </a:lnTo>
                  <a:lnTo>
                    <a:pt x="271081" y="497491"/>
                  </a:lnTo>
                  <a:lnTo>
                    <a:pt x="859441" y="497491"/>
                  </a:lnTo>
                  <a:lnTo>
                    <a:pt x="859441" y="741807"/>
                  </a:lnTo>
                  <a:lnTo>
                    <a:pt x="271081" y="741807"/>
                  </a:lnTo>
                  <a:lnTo>
                    <a:pt x="271081" y="1003935"/>
                  </a:lnTo>
                  <a:lnTo>
                    <a:pt x="948595" y="1003935"/>
                  </a:lnTo>
                  <a:lnTo>
                    <a:pt x="948595" y="1248251"/>
                  </a:lnTo>
                  <a:lnTo>
                    <a:pt x="0" y="1248251"/>
                  </a:lnTo>
                  <a:lnTo>
                    <a:pt x="0" y="0"/>
                  </a:lnTo>
                  <a:close/>
                </a:path>
              </a:pathLst>
            </a:custGeom>
            <a:solidFill>
              <a:srgbClr val="44505E"/>
            </a:solidFill>
            <a:ln w="9525" cap="flat">
              <a:noFill/>
              <a:prstDash val="solid"/>
              <a:miter/>
            </a:ln>
          </p:spPr>
          <p:txBody>
            <a:bodyPr rtlCol="0" anchor="ctr"/>
            <a:lstStyle/>
            <a:p>
              <a:endParaRPr lang="pt-BR" noProof="0"/>
            </a:p>
          </p:txBody>
        </p:sp>
        <p:sp>
          <p:nvSpPr>
            <p:cNvPr id="21" name="Freeform: Shape 20">
              <a:extLst>
                <a:ext uri="{FF2B5EF4-FFF2-40B4-BE49-F238E27FC236}">
                  <a16:creationId xmlns:a16="http://schemas.microsoft.com/office/drawing/2014/main" id="{C867B5FD-6142-EE84-E6CF-87A3F1E59591}"/>
                </a:ext>
              </a:extLst>
            </p:cNvPr>
            <p:cNvSpPr/>
            <p:nvPr/>
          </p:nvSpPr>
          <p:spPr>
            <a:xfrm>
              <a:off x="5253193" y="699983"/>
              <a:ext cx="90796" cy="97883"/>
            </a:xfrm>
            <a:custGeom>
              <a:avLst/>
              <a:gdLst>
                <a:gd name="connsiteX0" fmla="*/ 191548 w 361187"/>
                <a:gd name="connsiteY0" fmla="*/ 389382 h 389381"/>
                <a:gd name="connsiteX1" fmla="*/ 116300 w 361187"/>
                <a:gd name="connsiteY1" fmla="*/ 375285 h 389381"/>
                <a:gd name="connsiteX2" fmla="*/ 55531 w 361187"/>
                <a:gd name="connsiteY2" fmla="*/ 335756 h 389381"/>
                <a:gd name="connsiteX3" fmla="*/ 14859 w 361187"/>
                <a:gd name="connsiteY3" fmla="*/ 274606 h 389381"/>
                <a:gd name="connsiteX4" fmla="*/ 0 w 361187"/>
                <a:gd name="connsiteY4" fmla="*/ 195834 h 389381"/>
                <a:gd name="connsiteX5" fmla="*/ 0 w 361187"/>
                <a:gd name="connsiteY5" fmla="*/ 194405 h 389381"/>
                <a:gd name="connsiteX6" fmla="*/ 13430 w 361187"/>
                <a:gd name="connsiteY6" fmla="*/ 118777 h 389381"/>
                <a:gd name="connsiteX7" fmla="*/ 51245 w 361187"/>
                <a:gd name="connsiteY7" fmla="*/ 56959 h 389381"/>
                <a:gd name="connsiteX8" fmla="*/ 108871 w 361187"/>
                <a:gd name="connsiteY8" fmla="*/ 15240 h 389381"/>
                <a:gd name="connsiteX9" fmla="*/ 182404 w 361187"/>
                <a:gd name="connsiteY9" fmla="*/ 0 h 389381"/>
                <a:gd name="connsiteX10" fmla="*/ 260509 w 361187"/>
                <a:gd name="connsiteY10" fmla="*/ 16288 h 389381"/>
                <a:gd name="connsiteX11" fmla="*/ 316325 w 361187"/>
                <a:gd name="connsiteY11" fmla="*/ 60103 h 389381"/>
                <a:gd name="connsiteX12" fmla="*/ 349853 w 361187"/>
                <a:gd name="connsiteY12" fmla="*/ 124015 h 389381"/>
                <a:gd name="connsiteX13" fmla="*/ 361188 w 361187"/>
                <a:gd name="connsiteY13" fmla="*/ 200692 h 389381"/>
                <a:gd name="connsiteX14" fmla="*/ 360807 w 361187"/>
                <a:gd name="connsiteY14" fmla="*/ 212312 h 389381"/>
                <a:gd name="connsiteX15" fmla="*/ 359759 w 361187"/>
                <a:gd name="connsiteY15" fmla="*/ 224695 h 389381"/>
                <a:gd name="connsiteX16" fmla="*/ 85534 w 361187"/>
                <a:gd name="connsiteY16" fmla="*/ 224695 h 389381"/>
                <a:gd name="connsiteX17" fmla="*/ 121920 w 361187"/>
                <a:gd name="connsiteY17" fmla="*/ 294989 h 389381"/>
                <a:gd name="connsiteX18" fmla="*/ 192977 w 361187"/>
                <a:gd name="connsiteY18" fmla="*/ 319373 h 389381"/>
                <a:gd name="connsiteX19" fmla="*/ 248126 w 361187"/>
                <a:gd name="connsiteY19" fmla="*/ 308038 h 389381"/>
                <a:gd name="connsiteX20" fmla="*/ 294037 w 361187"/>
                <a:gd name="connsiteY20" fmla="*/ 274796 h 389381"/>
                <a:gd name="connsiteX21" fmla="*/ 344234 w 361187"/>
                <a:gd name="connsiteY21" fmla="*/ 319278 h 389381"/>
                <a:gd name="connsiteX22" fmla="*/ 280226 w 361187"/>
                <a:gd name="connsiteY22" fmla="*/ 370141 h 389381"/>
                <a:gd name="connsiteX23" fmla="*/ 191548 w 361187"/>
                <a:gd name="connsiteY23" fmla="*/ 389191 h 389381"/>
                <a:gd name="connsiteX24" fmla="*/ 276320 w 361187"/>
                <a:gd name="connsiteY24" fmla="*/ 168211 h 389381"/>
                <a:gd name="connsiteX25" fmla="*/ 267176 w 361187"/>
                <a:gd name="connsiteY25" fmla="*/ 129730 h 389381"/>
                <a:gd name="connsiteX26" fmla="*/ 248126 w 361187"/>
                <a:gd name="connsiteY26" fmla="*/ 98679 h 389381"/>
                <a:gd name="connsiteX27" fmla="*/ 219551 w 361187"/>
                <a:gd name="connsiteY27" fmla="*/ 77819 h 389381"/>
                <a:gd name="connsiteX28" fmla="*/ 181737 w 361187"/>
                <a:gd name="connsiteY28" fmla="*/ 70009 h 389381"/>
                <a:gd name="connsiteX29" fmla="*/ 116396 w 361187"/>
                <a:gd name="connsiteY29" fmla="*/ 97250 h 389381"/>
                <a:gd name="connsiteX30" fmla="*/ 84963 w 361187"/>
                <a:gd name="connsiteY30" fmla="*/ 168307 h 389381"/>
                <a:gd name="connsiteX31" fmla="*/ 276511 w 361187"/>
                <a:gd name="connsiteY31" fmla="*/ 168307 h 38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187" h="389381">
                  <a:moveTo>
                    <a:pt x="191548" y="389382"/>
                  </a:moveTo>
                  <a:cubicBezTo>
                    <a:pt x="164687" y="389382"/>
                    <a:pt x="139637" y="384715"/>
                    <a:pt x="116300" y="375285"/>
                  </a:cubicBezTo>
                  <a:cubicBezTo>
                    <a:pt x="92964" y="365855"/>
                    <a:pt x="72771" y="352711"/>
                    <a:pt x="55531" y="335756"/>
                  </a:cubicBezTo>
                  <a:cubicBezTo>
                    <a:pt x="38291" y="318802"/>
                    <a:pt x="24765" y="298418"/>
                    <a:pt x="14859" y="274606"/>
                  </a:cubicBezTo>
                  <a:cubicBezTo>
                    <a:pt x="4953" y="250793"/>
                    <a:pt x="0" y="224599"/>
                    <a:pt x="0" y="195834"/>
                  </a:cubicBezTo>
                  <a:lnTo>
                    <a:pt x="0" y="194405"/>
                  </a:lnTo>
                  <a:cubicBezTo>
                    <a:pt x="0" y="167545"/>
                    <a:pt x="4477" y="142399"/>
                    <a:pt x="13430" y="118777"/>
                  </a:cubicBezTo>
                  <a:cubicBezTo>
                    <a:pt x="22384" y="95250"/>
                    <a:pt x="34957" y="74581"/>
                    <a:pt x="51245" y="56959"/>
                  </a:cubicBezTo>
                  <a:cubicBezTo>
                    <a:pt x="67532" y="39338"/>
                    <a:pt x="86677" y="25432"/>
                    <a:pt x="108871" y="15240"/>
                  </a:cubicBezTo>
                  <a:cubicBezTo>
                    <a:pt x="131064" y="5143"/>
                    <a:pt x="155543" y="0"/>
                    <a:pt x="182404" y="0"/>
                  </a:cubicBezTo>
                  <a:cubicBezTo>
                    <a:pt x="212122" y="0"/>
                    <a:pt x="238125" y="5429"/>
                    <a:pt x="260509" y="16288"/>
                  </a:cubicBezTo>
                  <a:cubicBezTo>
                    <a:pt x="282893" y="27146"/>
                    <a:pt x="301466" y="41719"/>
                    <a:pt x="316325" y="60103"/>
                  </a:cubicBezTo>
                  <a:cubicBezTo>
                    <a:pt x="331184" y="78486"/>
                    <a:pt x="342329" y="99822"/>
                    <a:pt x="349853" y="124015"/>
                  </a:cubicBezTo>
                  <a:cubicBezTo>
                    <a:pt x="357378" y="148304"/>
                    <a:pt x="361188" y="173831"/>
                    <a:pt x="361188" y="200692"/>
                  </a:cubicBezTo>
                  <a:cubicBezTo>
                    <a:pt x="361188" y="204502"/>
                    <a:pt x="361093" y="208312"/>
                    <a:pt x="360807" y="212312"/>
                  </a:cubicBezTo>
                  <a:cubicBezTo>
                    <a:pt x="360521" y="216313"/>
                    <a:pt x="360236" y="220409"/>
                    <a:pt x="359759" y="224695"/>
                  </a:cubicBezTo>
                  <a:lnTo>
                    <a:pt x="85534" y="224695"/>
                  </a:lnTo>
                  <a:cubicBezTo>
                    <a:pt x="90202" y="255365"/>
                    <a:pt x="102394" y="278797"/>
                    <a:pt x="121920" y="294989"/>
                  </a:cubicBezTo>
                  <a:cubicBezTo>
                    <a:pt x="141446" y="311277"/>
                    <a:pt x="165164" y="319373"/>
                    <a:pt x="192977" y="319373"/>
                  </a:cubicBezTo>
                  <a:cubicBezTo>
                    <a:pt x="214217" y="319373"/>
                    <a:pt x="232505" y="315563"/>
                    <a:pt x="248126" y="308038"/>
                  </a:cubicBezTo>
                  <a:cubicBezTo>
                    <a:pt x="263652" y="300514"/>
                    <a:pt x="278987" y="289465"/>
                    <a:pt x="294037" y="274796"/>
                  </a:cubicBezTo>
                  <a:lnTo>
                    <a:pt x="344234" y="319278"/>
                  </a:lnTo>
                  <a:cubicBezTo>
                    <a:pt x="326327" y="340519"/>
                    <a:pt x="304991" y="357473"/>
                    <a:pt x="280226" y="370141"/>
                  </a:cubicBezTo>
                  <a:cubicBezTo>
                    <a:pt x="255461" y="382810"/>
                    <a:pt x="225933" y="389191"/>
                    <a:pt x="191548" y="389191"/>
                  </a:cubicBezTo>
                  <a:close/>
                  <a:moveTo>
                    <a:pt x="276320" y="168211"/>
                  </a:moveTo>
                  <a:cubicBezTo>
                    <a:pt x="274892" y="154591"/>
                    <a:pt x="271844" y="141732"/>
                    <a:pt x="267176" y="129730"/>
                  </a:cubicBezTo>
                  <a:cubicBezTo>
                    <a:pt x="262414" y="117729"/>
                    <a:pt x="256127" y="107347"/>
                    <a:pt x="248126" y="98679"/>
                  </a:cubicBezTo>
                  <a:cubicBezTo>
                    <a:pt x="240125" y="89916"/>
                    <a:pt x="230600" y="82963"/>
                    <a:pt x="219551" y="77819"/>
                  </a:cubicBezTo>
                  <a:cubicBezTo>
                    <a:pt x="208502" y="72676"/>
                    <a:pt x="195834" y="70009"/>
                    <a:pt x="181737" y="70009"/>
                  </a:cubicBezTo>
                  <a:cubicBezTo>
                    <a:pt x="155353" y="70009"/>
                    <a:pt x="133541" y="79057"/>
                    <a:pt x="116396" y="97250"/>
                  </a:cubicBezTo>
                  <a:cubicBezTo>
                    <a:pt x="99155" y="115348"/>
                    <a:pt x="88678" y="139065"/>
                    <a:pt x="84963" y="168307"/>
                  </a:cubicBezTo>
                  <a:lnTo>
                    <a:pt x="276511" y="168307"/>
                  </a:lnTo>
                  <a:close/>
                </a:path>
              </a:pathLst>
            </a:custGeom>
            <a:solidFill>
              <a:srgbClr val="44505E"/>
            </a:solidFill>
            <a:ln w="9525" cap="flat">
              <a:noFill/>
              <a:prstDash val="solid"/>
              <a:miter/>
            </a:ln>
          </p:spPr>
          <p:txBody>
            <a:bodyPr rtlCol="0" anchor="ctr"/>
            <a:lstStyle/>
            <a:p>
              <a:endParaRPr lang="pt-BR" noProof="0"/>
            </a:p>
          </p:txBody>
        </p:sp>
        <p:sp>
          <p:nvSpPr>
            <p:cNvPr id="22" name="Freeform: Shape 21">
              <a:extLst>
                <a:ext uri="{FF2B5EF4-FFF2-40B4-BE49-F238E27FC236}">
                  <a16:creationId xmlns:a16="http://schemas.microsoft.com/office/drawing/2014/main" id="{128BA468-E47D-C46A-2F48-83DB7FD69264}"/>
                </a:ext>
              </a:extLst>
            </p:cNvPr>
            <p:cNvSpPr/>
            <p:nvPr/>
          </p:nvSpPr>
          <p:spPr>
            <a:xfrm>
              <a:off x="5365659"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5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8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3 w 568166"/>
                <a:gd name="connsiteY21" fmla="*/ 381000 h 381000"/>
                <a:gd name="connsiteX22" fmla="*/ 240983 w 568166"/>
                <a:gd name="connsiteY22" fmla="*/ 168783 h 381000"/>
                <a:gd name="connsiteX23" fmla="*/ 221266 w 568166"/>
                <a:gd name="connsiteY23" fmla="*/ 101822 h 381000"/>
                <a:gd name="connsiteX24" fmla="*/ 165640 w 568166"/>
                <a:gd name="connsiteY24" fmla="*/ 78581 h 381000"/>
                <a:gd name="connsiteX25" fmla="*/ 108014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70" y="48196"/>
                    <a:pt x="105918" y="40576"/>
                  </a:cubicBezTo>
                  <a:cubicBezTo>
                    <a:pt x="112967" y="32956"/>
                    <a:pt x="121063" y="26099"/>
                    <a:pt x="130207" y="19907"/>
                  </a:cubicBezTo>
                  <a:cubicBezTo>
                    <a:pt x="139351" y="13716"/>
                    <a:pt x="149733" y="8858"/>
                    <a:pt x="161163" y="5334"/>
                  </a:cubicBezTo>
                  <a:cubicBezTo>
                    <a:pt x="172688" y="1714"/>
                    <a:pt x="185452" y="0"/>
                    <a:pt x="199549" y="0"/>
                  </a:cubicBezTo>
                  <a:cubicBezTo>
                    <a:pt x="226314" y="0"/>
                    <a:pt x="248984" y="6096"/>
                    <a:pt x="267557" y="18193"/>
                  </a:cubicBezTo>
                  <a:cubicBezTo>
                    <a:pt x="286131" y="30289"/>
                    <a:pt x="300323" y="46387"/>
                    <a:pt x="310134" y="66294"/>
                  </a:cubicBezTo>
                  <a:cubicBezTo>
                    <a:pt x="325279" y="46387"/>
                    <a:pt x="343091" y="30289"/>
                    <a:pt x="363665" y="18193"/>
                  </a:cubicBezTo>
                  <a:cubicBezTo>
                    <a:pt x="384239" y="6096"/>
                    <a:pt x="408718" y="0"/>
                    <a:pt x="437007" y="0"/>
                  </a:cubicBezTo>
                  <a:cubicBezTo>
                    <a:pt x="478060"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8" y="78486"/>
                  </a:cubicBezTo>
                  <a:cubicBezTo>
                    <a:pt x="382810" y="78486"/>
                    <a:pt x="364141" y="86392"/>
                    <a:pt x="349377" y="102108"/>
                  </a:cubicBezTo>
                  <a:cubicBezTo>
                    <a:pt x="334613" y="117824"/>
                    <a:pt x="327184" y="140779"/>
                    <a:pt x="327184" y="170879"/>
                  </a:cubicBezTo>
                  <a:lnTo>
                    <a:pt x="327184" y="381000"/>
                  </a:lnTo>
                  <a:lnTo>
                    <a:pt x="240983" y="381000"/>
                  </a:lnTo>
                  <a:lnTo>
                    <a:pt x="240983" y="168783"/>
                  </a:lnTo>
                  <a:cubicBezTo>
                    <a:pt x="240983" y="139637"/>
                    <a:pt x="234410" y="117348"/>
                    <a:pt x="221266" y="101822"/>
                  </a:cubicBezTo>
                  <a:cubicBezTo>
                    <a:pt x="208121" y="86296"/>
                    <a:pt x="189643" y="78581"/>
                    <a:pt x="165640" y="78581"/>
                  </a:cubicBezTo>
                  <a:cubicBezTo>
                    <a:pt x="141637" y="78581"/>
                    <a:pt x="122492" y="86773"/>
                    <a:pt x="108014"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23" name="Freeform: Shape 22">
              <a:extLst>
                <a:ext uri="{FF2B5EF4-FFF2-40B4-BE49-F238E27FC236}">
                  <a16:creationId xmlns:a16="http://schemas.microsoft.com/office/drawing/2014/main" id="{8B5C4252-1B20-877A-29D6-EFF55402B094}"/>
                </a:ext>
              </a:extLst>
            </p:cNvPr>
            <p:cNvSpPr/>
            <p:nvPr/>
          </p:nvSpPr>
          <p:spPr>
            <a:xfrm>
              <a:off x="5587693" y="700007"/>
              <a:ext cx="84211" cy="95752"/>
            </a:xfrm>
            <a:custGeom>
              <a:avLst/>
              <a:gdLst>
                <a:gd name="connsiteX0" fmla="*/ 95 w 334994"/>
                <a:gd name="connsiteY0" fmla="*/ 7715 h 380904"/>
                <a:gd name="connsiteX1" fmla="*/ 86296 w 334994"/>
                <a:gd name="connsiteY1" fmla="*/ 7715 h 380904"/>
                <a:gd name="connsiteX2" fmla="*/ 86296 w 334994"/>
                <a:gd name="connsiteY2" fmla="*/ 66294 h 380904"/>
                <a:gd name="connsiteX3" fmla="*/ 106394 w 334994"/>
                <a:gd name="connsiteY3" fmla="*/ 40958 h 380904"/>
                <a:gd name="connsiteX4" fmla="*/ 131731 w 334994"/>
                <a:gd name="connsiteY4" fmla="*/ 19907 h 380904"/>
                <a:gd name="connsiteX5" fmla="*/ 163449 w 334994"/>
                <a:gd name="connsiteY5" fmla="*/ 5334 h 380904"/>
                <a:gd name="connsiteX6" fmla="*/ 202597 w 334994"/>
                <a:gd name="connsiteY6" fmla="*/ 0 h 380904"/>
                <a:gd name="connsiteX7" fmla="*/ 300514 w 334994"/>
                <a:gd name="connsiteY7" fmla="*/ 38862 h 380904"/>
                <a:gd name="connsiteX8" fmla="*/ 334994 w 334994"/>
                <a:gd name="connsiteY8" fmla="*/ 143446 h 380904"/>
                <a:gd name="connsiteX9" fmla="*/ 334994 w 334994"/>
                <a:gd name="connsiteY9" fmla="*/ 380905 h 380904"/>
                <a:gd name="connsiteX10" fmla="*/ 248793 w 334994"/>
                <a:gd name="connsiteY10" fmla="*/ 380905 h 380904"/>
                <a:gd name="connsiteX11" fmla="*/ 248793 w 334994"/>
                <a:gd name="connsiteY11" fmla="*/ 169450 h 380904"/>
                <a:gd name="connsiteX12" fmla="*/ 228124 w 334994"/>
                <a:gd name="connsiteY12" fmla="*/ 102108 h 380904"/>
                <a:gd name="connsiteX13" fmla="*/ 169640 w 334994"/>
                <a:gd name="connsiteY13" fmla="*/ 78486 h 380904"/>
                <a:gd name="connsiteX14" fmla="*/ 109347 w 334994"/>
                <a:gd name="connsiteY14" fmla="*/ 102775 h 380904"/>
                <a:gd name="connsiteX15" fmla="*/ 86201 w 334994"/>
                <a:gd name="connsiteY15" fmla="*/ 170783 h 380904"/>
                <a:gd name="connsiteX16" fmla="*/ 86201 w 334994"/>
                <a:gd name="connsiteY16" fmla="*/ 380905 h 380904"/>
                <a:gd name="connsiteX17" fmla="*/ 0 w 334994"/>
                <a:gd name="connsiteY17" fmla="*/ 380905 h 380904"/>
                <a:gd name="connsiteX18" fmla="*/ 0 w 334994"/>
                <a:gd name="connsiteY18" fmla="*/ 7810 h 38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94" h="380904">
                  <a:moveTo>
                    <a:pt x="95" y="7715"/>
                  </a:moveTo>
                  <a:lnTo>
                    <a:pt x="86296" y="7715"/>
                  </a:lnTo>
                  <a:lnTo>
                    <a:pt x="86296" y="66294"/>
                  </a:lnTo>
                  <a:cubicBezTo>
                    <a:pt x="92392" y="57245"/>
                    <a:pt x="99060" y="48863"/>
                    <a:pt x="106394" y="40958"/>
                  </a:cubicBezTo>
                  <a:cubicBezTo>
                    <a:pt x="113633" y="33147"/>
                    <a:pt x="122110" y="26099"/>
                    <a:pt x="131731" y="19907"/>
                  </a:cubicBezTo>
                  <a:cubicBezTo>
                    <a:pt x="141351" y="13716"/>
                    <a:pt x="151924" y="8858"/>
                    <a:pt x="163449" y="5334"/>
                  </a:cubicBezTo>
                  <a:cubicBezTo>
                    <a:pt x="174974" y="1714"/>
                    <a:pt x="188024" y="0"/>
                    <a:pt x="202597" y="0"/>
                  </a:cubicBezTo>
                  <a:cubicBezTo>
                    <a:pt x="244888" y="0"/>
                    <a:pt x="277559" y="12954"/>
                    <a:pt x="300514" y="38862"/>
                  </a:cubicBezTo>
                  <a:cubicBezTo>
                    <a:pt x="323564" y="64770"/>
                    <a:pt x="334994" y="99631"/>
                    <a:pt x="334994" y="143446"/>
                  </a:cubicBezTo>
                  <a:lnTo>
                    <a:pt x="334994" y="380905"/>
                  </a:lnTo>
                  <a:lnTo>
                    <a:pt x="248793" y="380905"/>
                  </a:lnTo>
                  <a:lnTo>
                    <a:pt x="248793" y="169450"/>
                  </a:lnTo>
                  <a:cubicBezTo>
                    <a:pt x="248793" y="140303"/>
                    <a:pt x="241935" y="117824"/>
                    <a:pt x="228124" y="102108"/>
                  </a:cubicBezTo>
                  <a:cubicBezTo>
                    <a:pt x="214313" y="86392"/>
                    <a:pt x="194881" y="78486"/>
                    <a:pt x="169640" y="78486"/>
                  </a:cubicBezTo>
                  <a:cubicBezTo>
                    <a:pt x="144399" y="78486"/>
                    <a:pt x="124777" y="86582"/>
                    <a:pt x="109347" y="102775"/>
                  </a:cubicBezTo>
                  <a:cubicBezTo>
                    <a:pt x="93917" y="118967"/>
                    <a:pt x="86201" y="141637"/>
                    <a:pt x="86201" y="170783"/>
                  </a:cubicBezTo>
                  <a:lnTo>
                    <a:pt x="86201" y="380905"/>
                  </a:lnTo>
                  <a:lnTo>
                    <a:pt x="0" y="380905"/>
                  </a:lnTo>
                  <a:lnTo>
                    <a:pt x="0" y="7810"/>
                  </a:lnTo>
                  <a:close/>
                </a:path>
              </a:pathLst>
            </a:custGeom>
            <a:solidFill>
              <a:srgbClr val="44505E"/>
            </a:solidFill>
            <a:ln w="9525" cap="flat">
              <a:noFill/>
              <a:prstDash val="solid"/>
              <a:miter/>
            </a:ln>
          </p:spPr>
          <p:txBody>
            <a:bodyPr rtlCol="0" anchor="ctr"/>
            <a:lstStyle/>
            <a:p>
              <a:endParaRPr lang="pt-BR" noProof="0"/>
            </a:p>
          </p:txBody>
        </p:sp>
        <p:sp>
          <p:nvSpPr>
            <p:cNvPr id="24" name="Freeform: Shape 23">
              <a:extLst>
                <a:ext uri="{FF2B5EF4-FFF2-40B4-BE49-F238E27FC236}">
                  <a16:creationId xmlns:a16="http://schemas.microsoft.com/office/drawing/2014/main" id="{585DD2A6-C37B-80C0-721B-28CD861F6B98}"/>
                </a:ext>
              </a:extLst>
            </p:cNvPr>
            <p:cNvSpPr/>
            <p:nvPr/>
          </p:nvSpPr>
          <p:spPr>
            <a:xfrm>
              <a:off x="5692712" y="699959"/>
              <a:ext cx="100015" cy="97908"/>
            </a:xfrm>
            <a:custGeom>
              <a:avLst/>
              <a:gdLst>
                <a:gd name="connsiteX0" fmla="*/ 197834 w 397859"/>
                <a:gd name="connsiteY0" fmla="*/ 389477 h 389477"/>
                <a:gd name="connsiteX1" fmla="*/ 119063 w 397859"/>
                <a:gd name="connsiteY1" fmla="*/ 374237 h 389477"/>
                <a:gd name="connsiteX2" fmla="*/ 56197 w 397859"/>
                <a:gd name="connsiteY2" fmla="*/ 332899 h 389477"/>
                <a:gd name="connsiteX3" fmla="*/ 14859 w 397859"/>
                <a:gd name="connsiteY3" fmla="*/ 271463 h 389477"/>
                <a:gd name="connsiteX4" fmla="*/ 0 w 397859"/>
                <a:gd name="connsiteY4" fmla="*/ 196501 h 389477"/>
                <a:gd name="connsiteX5" fmla="*/ 0 w 397859"/>
                <a:gd name="connsiteY5" fmla="*/ 195072 h 389477"/>
                <a:gd name="connsiteX6" fmla="*/ 15145 w 397859"/>
                <a:gd name="connsiteY6" fmla="*/ 119444 h 389477"/>
                <a:gd name="connsiteX7" fmla="*/ 56864 w 397859"/>
                <a:gd name="connsiteY7" fmla="*/ 57626 h 389477"/>
                <a:gd name="connsiteX8" fmla="*/ 119729 w 397859"/>
                <a:gd name="connsiteY8" fmla="*/ 15526 h 389477"/>
                <a:gd name="connsiteX9" fmla="*/ 199263 w 397859"/>
                <a:gd name="connsiteY9" fmla="*/ 0 h 389477"/>
                <a:gd name="connsiteX10" fmla="*/ 278797 w 397859"/>
                <a:gd name="connsiteY10" fmla="*/ 15240 h 389477"/>
                <a:gd name="connsiteX11" fmla="*/ 341662 w 397859"/>
                <a:gd name="connsiteY11" fmla="*/ 56959 h 389477"/>
                <a:gd name="connsiteX12" fmla="*/ 383000 w 397859"/>
                <a:gd name="connsiteY12" fmla="*/ 118396 h 389477"/>
                <a:gd name="connsiteX13" fmla="*/ 397859 w 397859"/>
                <a:gd name="connsiteY13" fmla="*/ 193643 h 389477"/>
                <a:gd name="connsiteX14" fmla="*/ 397859 w 397859"/>
                <a:gd name="connsiteY14" fmla="*/ 195072 h 389477"/>
                <a:gd name="connsiteX15" fmla="*/ 382619 w 397859"/>
                <a:gd name="connsiteY15" fmla="*/ 270034 h 389477"/>
                <a:gd name="connsiteX16" fmla="*/ 340900 w 397859"/>
                <a:gd name="connsiteY16" fmla="*/ 331851 h 389477"/>
                <a:gd name="connsiteX17" fmla="*/ 277654 w 397859"/>
                <a:gd name="connsiteY17" fmla="*/ 373856 h 389477"/>
                <a:gd name="connsiteX18" fmla="*/ 197834 w 397859"/>
                <a:gd name="connsiteY18" fmla="*/ 389382 h 389477"/>
                <a:gd name="connsiteX19" fmla="*/ 199263 w 397859"/>
                <a:gd name="connsiteY19" fmla="*/ 315278 h 389477"/>
                <a:gd name="connsiteX20" fmla="*/ 245935 w 397859"/>
                <a:gd name="connsiteY20" fmla="*/ 305753 h 389477"/>
                <a:gd name="connsiteX21" fmla="*/ 281368 w 397859"/>
                <a:gd name="connsiteY21" fmla="*/ 279940 h 389477"/>
                <a:gd name="connsiteX22" fmla="*/ 303847 w 397859"/>
                <a:gd name="connsiteY22" fmla="*/ 242125 h 389477"/>
                <a:gd name="connsiteX23" fmla="*/ 311563 w 397859"/>
                <a:gd name="connsiteY23" fmla="*/ 196501 h 389477"/>
                <a:gd name="connsiteX24" fmla="*/ 311563 w 397859"/>
                <a:gd name="connsiteY24" fmla="*/ 195072 h 389477"/>
                <a:gd name="connsiteX25" fmla="*/ 303181 w 397859"/>
                <a:gd name="connsiteY25" fmla="*/ 148400 h 389477"/>
                <a:gd name="connsiteX26" fmla="*/ 279654 w 397859"/>
                <a:gd name="connsiteY26" fmla="*/ 110204 h 389477"/>
                <a:gd name="connsiteX27" fmla="*/ 243840 w 397859"/>
                <a:gd name="connsiteY27" fmla="*/ 84392 h 389477"/>
                <a:gd name="connsiteX28" fmla="*/ 197834 w 397859"/>
                <a:gd name="connsiteY28" fmla="*/ 74867 h 389477"/>
                <a:gd name="connsiteX29" fmla="*/ 151829 w 397859"/>
                <a:gd name="connsiteY29" fmla="*/ 84392 h 389477"/>
                <a:gd name="connsiteX30" fmla="*/ 116396 w 397859"/>
                <a:gd name="connsiteY30" fmla="*/ 109823 h 389477"/>
                <a:gd name="connsiteX31" fmla="*/ 93917 w 397859"/>
                <a:gd name="connsiteY31" fmla="*/ 147638 h 389477"/>
                <a:gd name="connsiteX32" fmla="*/ 86201 w 397859"/>
                <a:gd name="connsiteY32" fmla="*/ 193548 h 389477"/>
                <a:gd name="connsiteX33" fmla="*/ 86201 w 397859"/>
                <a:gd name="connsiteY33" fmla="*/ 194977 h 389477"/>
                <a:gd name="connsiteX34" fmla="*/ 94583 w 397859"/>
                <a:gd name="connsiteY34" fmla="*/ 241268 h 389477"/>
                <a:gd name="connsiteX35" fmla="*/ 118110 w 397859"/>
                <a:gd name="connsiteY35" fmla="*/ 279463 h 389477"/>
                <a:gd name="connsiteX36" fmla="*/ 153924 w 397859"/>
                <a:gd name="connsiteY36" fmla="*/ 305562 h 389477"/>
                <a:gd name="connsiteX37" fmla="*/ 199263 w 397859"/>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859" h="389477">
                  <a:moveTo>
                    <a:pt x="197834" y="389477"/>
                  </a:moveTo>
                  <a:cubicBezTo>
                    <a:pt x="169545" y="389477"/>
                    <a:pt x="143351" y="384429"/>
                    <a:pt x="119063" y="374237"/>
                  </a:cubicBezTo>
                  <a:cubicBezTo>
                    <a:pt x="94774" y="364141"/>
                    <a:pt x="73819" y="350330"/>
                    <a:pt x="56197" y="332899"/>
                  </a:cubicBezTo>
                  <a:cubicBezTo>
                    <a:pt x="38481" y="315468"/>
                    <a:pt x="24765" y="294989"/>
                    <a:pt x="14859" y="271463"/>
                  </a:cubicBezTo>
                  <a:cubicBezTo>
                    <a:pt x="4953" y="247936"/>
                    <a:pt x="0" y="222980"/>
                    <a:pt x="0" y="196501"/>
                  </a:cubicBezTo>
                  <a:lnTo>
                    <a:pt x="0" y="195072"/>
                  </a:lnTo>
                  <a:cubicBezTo>
                    <a:pt x="0" y="168212"/>
                    <a:pt x="5048" y="143066"/>
                    <a:pt x="15145" y="119444"/>
                  </a:cubicBezTo>
                  <a:cubicBezTo>
                    <a:pt x="25241" y="95917"/>
                    <a:pt x="39148" y="75248"/>
                    <a:pt x="56864" y="57626"/>
                  </a:cubicBezTo>
                  <a:cubicBezTo>
                    <a:pt x="74581" y="39910"/>
                    <a:pt x="95536" y="25908"/>
                    <a:pt x="119729" y="15526"/>
                  </a:cubicBezTo>
                  <a:cubicBezTo>
                    <a:pt x="144018" y="5144"/>
                    <a:pt x="170497" y="0"/>
                    <a:pt x="199263" y="0"/>
                  </a:cubicBezTo>
                  <a:cubicBezTo>
                    <a:pt x="228029" y="0"/>
                    <a:pt x="254508" y="5048"/>
                    <a:pt x="278797" y="15240"/>
                  </a:cubicBezTo>
                  <a:cubicBezTo>
                    <a:pt x="303085" y="25337"/>
                    <a:pt x="324041" y="39243"/>
                    <a:pt x="341662" y="56959"/>
                  </a:cubicBezTo>
                  <a:cubicBezTo>
                    <a:pt x="359378" y="74676"/>
                    <a:pt x="373094" y="95155"/>
                    <a:pt x="383000" y="118396"/>
                  </a:cubicBezTo>
                  <a:cubicBezTo>
                    <a:pt x="392906" y="141732"/>
                    <a:pt x="397859" y="166783"/>
                    <a:pt x="397859" y="193643"/>
                  </a:cubicBezTo>
                  <a:lnTo>
                    <a:pt x="397859" y="195072"/>
                  </a:lnTo>
                  <a:cubicBezTo>
                    <a:pt x="397859" y="221456"/>
                    <a:pt x="392811" y="246412"/>
                    <a:pt x="382619" y="270034"/>
                  </a:cubicBezTo>
                  <a:cubicBezTo>
                    <a:pt x="372523" y="293561"/>
                    <a:pt x="358616" y="314230"/>
                    <a:pt x="340900" y="331851"/>
                  </a:cubicBezTo>
                  <a:cubicBezTo>
                    <a:pt x="323183" y="349472"/>
                    <a:pt x="302133" y="363569"/>
                    <a:pt x="277654" y="373856"/>
                  </a:cubicBezTo>
                  <a:cubicBezTo>
                    <a:pt x="253175" y="384238"/>
                    <a:pt x="226504" y="389382"/>
                    <a:pt x="197834" y="389382"/>
                  </a:cubicBezTo>
                  <a:close/>
                  <a:moveTo>
                    <a:pt x="199263" y="315278"/>
                  </a:moveTo>
                  <a:cubicBezTo>
                    <a:pt x="216598" y="315278"/>
                    <a:pt x="232124" y="312039"/>
                    <a:pt x="245935" y="305753"/>
                  </a:cubicBezTo>
                  <a:cubicBezTo>
                    <a:pt x="259747" y="299371"/>
                    <a:pt x="271558" y="290798"/>
                    <a:pt x="281368" y="279940"/>
                  </a:cubicBezTo>
                  <a:cubicBezTo>
                    <a:pt x="291179" y="269081"/>
                    <a:pt x="298704" y="256508"/>
                    <a:pt x="303847" y="242125"/>
                  </a:cubicBezTo>
                  <a:cubicBezTo>
                    <a:pt x="308991" y="227743"/>
                    <a:pt x="311563" y="212598"/>
                    <a:pt x="311563" y="196501"/>
                  </a:cubicBezTo>
                  <a:lnTo>
                    <a:pt x="311563" y="195072"/>
                  </a:lnTo>
                  <a:cubicBezTo>
                    <a:pt x="311563" y="178594"/>
                    <a:pt x="308800" y="163068"/>
                    <a:pt x="303181" y="148400"/>
                  </a:cubicBezTo>
                  <a:cubicBezTo>
                    <a:pt x="297561" y="133826"/>
                    <a:pt x="289750" y="121063"/>
                    <a:pt x="279654" y="110204"/>
                  </a:cubicBezTo>
                  <a:cubicBezTo>
                    <a:pt x="269558" y="99346"/>
                    <a:pt x="257651" y="90773"/>
                    <a:pt x="243840" y="84392"/>
                  </a:cubicBezTo>
                  <a:cubicBezTo>
                    <a:pt x="230029" y="78010"/>
                    <a:pt x="214693" y="74867"/>
                    <a:pt x="197834" y="74867"/>
                  </a:cubicBezTo>
                  <a:cubicBezTo>
                    <a:pt x="180975" y="74867"/>
                    <a:pt x="165640" y="78010"/>
                    <a:pt x="151829" y="84392"/>
                  </a:cubicBezTo>
                  <a:cubicBezTo>
                    <a:pt x="138017" y="90773"/>
                    <a:pt x="126206" y="99250"/>
                    <a:pt x="116396" y="109823"/>
                  </a:cubicBezTo>
                  <a:cubicBezTo>
                    <a:pt x="106585" y="120396"/>
                    <a:pt x="99060" y="133064"/>
                    <a:pt x="93917" y="147638"/>
                  </a:cubicBezTo>
                  <a:cubicBezTo>
                    <a:pt x="88773" y="162211"/>
                    <a:pt x="86201" y="177546"/>
                    <a:pt x="86201" y="193548"/>
                  </a:cubicBezTo>
                  <a:lnTo>
                    <a:pt x="86201" y="194977"/>
                  </a:lnTo>
                  <a:cubicBezTo>
                    <a:pt x="86201" y="211455"/>
                    <a:pt x="88963" y="226886"/>
                    <a:pt x="94583" y="241268"/>
                  </a:cubicBezTo>
                  <a:cubicBezTo>
                    <a:pt x="100203" y="255651"/>
                    <a:pt x="108013" y="268319"/>
                    <a:pt x="118110" y="279463"/>
                  </a:cubicBezTo>
                  <a:cubicBezTo>
                    <a:pt x="128206" y="290513"/>
                    <a:pt x="140113" y="299275"/>
                    <a:pt x="153924" y="305562"/>
                  </a:cubicBezTo>
                  <a:cubicBezTo>
                    <a:pt x="167735" y="311944"/>
                    <a:pt x="182880"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25" name="Freeform: Shape 24">
              <a:extLst>
                <a:ext uri="{FF2B5EF4-FFF2-40B4-BE49-F238E27FC236}">
                  <a16:creationId xmlns:a16="http://schemas.microsoft.com/office/drawing/2014/main" id="{D75453EE-CEE7-E0B6-CFBF-488ED3E7903E}"/>
                </a:ext>
              </a:extLst>
            </p:cNvPr>
            <p:cNvSpPr/>
            <p:nvPr/>
          </p:nvSpPr>
          <p:spPr>
            <a:xfrm>
              <a:off x="5806925"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2 w 296894"/>
                <a:gd name="connsiteY36" fmla="*/ 224980 h 386714"/>
                <a:gd name="connsiteX37" fmla="*/ 296894 w 296894"/>
                <a:gd name="connsiteY37" fmla="*/ 267938 h 386714"/>
                <a:gd name="connsiteX38" fmla="*/ 296894 w 296894"/>
                <a:gd name="connsiteY38" fmla="*/ 269367 h 386714"/>
                <a:gd name="connsiteX39" fmla="*/ 286322 w 296894"/>
                <a:gd name="connsiteY39" fmla="*/ 320897 h 386714"/>
                <a:gd name="connsiteX40" fmla="*/ 256984 w 296894"/>
                <a:gd name="connsiteY40" fmla="*/ 357188 h 386714"/>
                <a:gd name="connsiteX41" fmla="*/ 212789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8" y="298704"/>
                    <a:pt x="100013" y="306514"/>
                  </a:cubicBezTo>
                  <a:cubicBezTo>
                    <a:pt x="120967" y="314325"/>
                    <a:pt x="141161" y="318135"/>
                    <a:pt x="160401" y="318135"/>
                  </a:cubicBezTo>
                  <a:cubicBezTo>
                    <a:pt x="179642" y="318135"/>
                    <a:pt x="192976"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2" y="241078"/>
                    <a:pt x="176498" y="237553"/>
                    <a:pt x="166402" y="234220"/>
                  </a:cubicBezTo>
                  <a:cubicBezTo>
                    <a:pt x="156305" y="230886"/>
                    <a:pt x="145733" y="227647"/>
                    <a:pt x="134969" y="224314"/>
                  </a:cubicBezTo>
                  <a:cubicBezTo>
                    <a:pt x="121253" y="220599"/>
                    <a:pt x="107537" y="216122"/>
                    <a:pt x="93631" y="210884"/>
                  </a:cubicBezTo>
                  <a:cubicBezTo>
                    <a:pt x="79724" y="205740"/>
                    <a:pt x="67246" y="198977"/>
                    <a:pt x="56197" y="190786"/>
                  </a:cubicBezTo>
                  <a:cubicBezTo>
                    <a:pt x="45149" y="182594"/>
                    <a:pt x="36100" y="172307"/>
                    <a:pt x="28956" y="160115"/>
                  </a:cubicBezTo>
                  <a:cubicBezTo>
                    <a:pt x="21908"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5"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7" y="156210"/>
                    <a:pt x="180975" y="159448"/>
                  </a:cubicBezTo>
                  <a:cubicBezTo>
                    <a:pt x="194596" y="163639"/>
                    <a:pt x="208312" y="168592"/>
                    <a:pt x="222028" y="174212"/>
                  </a:cubicBezTo>
                  <a:cubicBezTo>
                    <a:pt x="235649" y="179832"/>
                    <a:pt x="248031" y="186785"/>
                    <a:pt x="259080" y="194977"/>
                  </a:cubicBezTo>
                  <a:cubicBezTo>
                    <a:pt x="270129" y="203168"/>
                    <a:pt x="279273" y="213169"/>
                    <a:pt x="286322" y="224980"/>
                  </a:cubicBezTo>
                  <a:cubicBezTo>
                    <a:pt x="293370" y="236696"/>
                    <a:pt x="296894" y="251079"/>
                    <a:pt x="296894" y="267938"/>
                  </a:cubicBezTo>
                  <a:lnTo>
                    <a:pt x="296894" y="269367"/>
                  </a:lnTo>
                  <a:cubicBezTo>
                    <a:pt x="296894" y="289084"/>
                    <a:pt x="293370" y="306229"/>
                    <a:pt x="286322" y="320897"/>
                  </a:cubicBezTo>
                  <a:cubicBezTo>
                    <a:pt x="279273" y="335470"/>
                    <a:pt x="269462" y="347567"/>
                    <a:pt x="256984" y="357188"/>
                  </a:cubicBezTo>
                  <a:cubicBezTo>
                    <a:pt x="244507" y="366808"/>
                    <a:pt x="229743" y="374142"/>
                    <a:pt x="212789"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6" name="Freeform: Shape 25">
              <a:extLst>
                <a:ext uri="{FF2B5EF4-FFF2-40B4-BE49-F238E27FC236}">
                  <a16:creationId xmlns:a16="http://schemas.microsoft.com/office/drawing/2014/main" id="{9A0C2C20-E905-7FAF-3606-FCC6A12CA284}"/>
                </a:ext>
              </a:extLst>
            </p:cNvPr>
            <p:cNvSpPr/>
            <p:nvPr/>
          </p:nvSpPr>
          <p:spPr>
            <a:xfrm>
              <a:off x="589573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6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160" y="318135"/>
                    <a:pt x="160401" y="318135"/>
                  </a:cubicBezTo>
                  <a:cubicBezTo>
                    <a:pt x="179641" y="318135"/>
                    <a:pt x="192976"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4"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792"/>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7" name="Freeform: Shape 26">
              <a:extLst>
                <a:ext uri="{FF2B5EF4-FFF2-40B4-BE49-F238E27FC236}">
                  <a16:creationId xmlns:a16="http://schemas.microsoft.com/office/drawing/2014/main" id="{22003E37-807C-56FB-E4B7-5A873237F0E2}"/>
                </a:ext>
              </a:extLst>
            </p:cNvPr>
            <p:cNvSpPr/>
            <p:nvPr/>
          </p:nvSpPr>
          <p:spPr>
            <a:xfrm>
              <a:off x="5985812" y="700558"/>
              <a:ext cx="85097" cy="97141"/>
            </a:xfrm>
            <a:custGeom>
              <a:avLst/>
              <a:gdLst>
                <a:gd name="connsiteX0" fmla="*/ 253651 w 338518"/>
                <a:gd name="connsiteY0" fmla="*/ 378619 h 386429"/>
                <a:gd name="connsiteX1" fmla="*/ 253651 w 338518"/>
                <a:gd name="connsiteY1" fmla="*/ 332708 h 386429"/>
                <a:gd name="connsiteX2" fmla="*/ 204883 w 338518"/>
                <a:gd name="connsiteY2" fmla="*/ 370904 h 386429"/>
                <a:gd name="connsiteX3" fmla="*/ 132779 w 338518"/>
                <a:gd name="connsiteY3" fmla="*/ 386429 h 386429"/>
                <a:gd name="connsiteX4" fmla="*/ 81915 w 338518"/>
                <a:gd name="connsiteY4" fmla="*/ 379000 h 386429"/>
                <a:gd name="connsiteX5" fmla="*/ 39910 w 338518"/>
                <a:gd name="connsiteY5" fmla="*/ 357092 h 386429"/>
                <a:gd name="connsiteX6" fmla="*/ 10954 w 338518"/>
                <a:gd name="connsiteY6" fmla="*/ 321088 h 386429"/>
                <a:gd name="connsiteX7" fmla="*/ 0 w 338518"/>
                <a:gd name="connsiteY7" fmla="*/ 271272 h 386429"/>
                <a:gd name="connsiteX8" fmla="*/ 0 w 338518"/>
                <a:gd name="connsiteY8" fmla="*/ 269843 h 386429"/>
                <a:gd name="connsiteX9" fmla="*/ 11335 w 338518"/>
                <a:gd name="connsiteY9" fmla="*/ 215741 h 386429"/>
                <a:gd name="connsiteX10" fmla="*/ 42767 w 338518"/>
                <a:gd name="connsiteY10" fmla="*/ 177546 h 386429"/>
                <a:gd name="connsiteX11" fmla="*/ 90773 w 338518"/>
                <a:gd name="connsiteY11" fmla="*/ 154972 h 386429"/>
                <a:gd name="connsiteX12" fmla="*/ 151162 w 338518"/>
                <a:gd name="connsiteY12" fmla="*/ 147542 h 386429"/>
                <a:gd name="connsiteX13" fmla="*/ 208788 w 338518"/>
                <a:gd name="connsiteY13" fmla="*/ 151829 h 386429"/>
                <a:gd name="connsiteX14" fmla="*/ 254413 w 338518"/>
                <a:gd name="connsiteY14" fmla="*/ 163163 h 386429"/>
                <a:gd name="connsiteX15" fmla="*/ 254413 w 338518"/>
                <a:gd name="connsiteY15" fmla="*/ 156115 h 386429"/>
                <a:gd name="connsiteX16" fmla="*/ 230696 w 338518"/>
                <a:gd name="connsiteY16" fmla="*/ 96774 h 386429"/>
                <a:gd name="connsiteX17" fmla="*/ 162496 w 338518"/>
                <a:gd name="connsiteY17" fmla="*/ 76295 h 386429"/>
                <a:gd name="connsiteX18" fmla="*/ 106013 w 338518"/>
                <a:gd name="connsiteY18" fmla="*/ 82677 h 386429"/>
                <a:gd name="connsiteX19" fmla="*/ 55816 w 338518"/>
                <a:gd name="connsiteY19" fmla="*/ 99632 h 386429"/>
                <a:gd name="connsiteX20" fmla="*/ 32480 w 338518"/>
                <a:gd name="connsiteY20" fmla="*/ 31052 h 386429"/>
                <a:gd name="connsiteX21" fmla="*/ 96107 w 338518"/>
                <a:gd name="connsiteY21" fmla="*/ 8477 h 386429"/>
                <a:gd name="connsiteX22" fmla="*/ 174593 w 338518"/>
                <a:gd name="connsiteY22" fmla="*/ 0 h 386429"/>
                <a:gd name="connsiteX23" fmla="*/ 298228 w 338518"/>
                <a:gd name="connsiteY23" fmla="*/ 41338 h 386429"/>
                <a:gd name="connsiteX24" fmla="*/ 338519 w 338518"/>
                <a:gd name="connsiteY24" fmla="*/ 157544 h 386429"/>
                <a:gd name="connsiteX25" fmla="*/ 338519 w 338518"/>
                <a:gd name="connsiteY25" fmla="*/ 378714 h 386429"/>
                <a:gd name="connsiteX26" fmla="*/ 253746 w 338518"/>
                <a:gd name="connsiteY26" fmla="*/ 378714 h 386429"/>
                <a:gd name="connsiteX27" fmla="*/ 255746 w 338518"/>
                <a:gd name="connsiteY27" fmla="*/ 222409 h 386429"/>
                <a:gd name="connsiteX28" fmla="*/ 217265 w 338518"/>
                <a:gd name="connsiteY28" fmla="*/ 211836 h 386429"/>
                <a:gd name="connsiteX29" fmla="*/ 170307 w 338518"/>
                <a:gd name="connsiteY29" fmla="*/ 207550 h 386429"/>
                <a:gd name="connsiteX30" fmla="*/ 107442 w 338518"/>
                <a:gd name="connsiteY30" fmla="*/ 223075 h 386429"/>
                <a:gd name="connsiteX31" fmla="*/ 84868 w 338518"/>
                <a:gd name="connsiteY31" fmla="*/ 265462 h 386429"/>
                <a:gd name="connsiteX32" fmla="*/ 84868 w 338518"/>
                <a:gd name="connsiteY32" fmla="*/ 266891 h 386429"/>
                <a:gd name="connsiteX33" fmla="*/ 105728 w 338518"/>
                <a:gd name="connsiteY33" fmla="*/ 307848 h 386429"/>
                <a:gd name="connsiteX34" fmla="*/ 156972 w 338518"/>
                <a:gd name="connsiteY34" fmla="*/ 321945 h 386429"/>
                <a:gd name="connsiteX35" fmla="*/ 196215 w 338518"/>
                <a:gd name="connsiteY35" fmla="*/ 316325 h 386429"/>
                <a:gd name="connsiteX36" fmla="*/ 227647 w 338518"/>
                <a:gd name="connsiteY36" fmla="*/ 300419 h 386429"/>
                <a:gd name="connsiteX37" fmla="*/ 248507 w 338518"/>
                <a:gd name="connsiteY37" fmla="*/ 275654 h 386429"/>
                <a:gd name="connsiteX38" fmla="*/ 255937 w 338518"/>
                <a:gd name="connsiteY38" fmla="*/ 243459 h 386429"/>
                <a:gd name="connsiteX39" fmla="*/ 255937 w 338518"/>
                <a:gd name="connsiteY39" fmla="*/ 222218 h 3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8518" h="386429">
                  <a:moveTo>
                    <a:pt x="253651" y="378619"/>
                  </a:moveTo>
                  <a:lnTo>
                    <a:pt x="253651" y="332708"/>
                  </a:lnTo>
                  <a:cubicBezTo>
                    <a:pt x="240887" y="347758"/>
                    <a:pt x="224695" y="360521"/>
                    <a:pt x="204883" y="370904"/>
                  </a:cubicBezTo>
                  <a:cubicBezTo>
                    <a:pt x="185071" y="381286"/>
                    <a:pt x="161068" y="386429"/>
                    <a:pt x="132779" y="386429"/>
                  </a:cubicBezTo>
                  <a:cubicBezTo>
                    <a:pt x="114871" y="386429"/>
                    <a:pt x="97917" y="383953"/>
                    <a:pt x="81915" y="379000"/>
                  </a:cubicBezTo>
                  <a:cubicBezTo>
                    <a:pt x="65913" y="374047"/>
                    <a:pt x="51911" y="366713"/>
                    <a:pt x="39910" y="357092"/>
                  </a:cubicBezTo>
                  <a:cubicBezTo>
                    <a:pt x="27908" y="347472"/>
                    <a:pt x="18193" y="335471"/>
                    <a:pt x="10954" y="321088"/>
                  </a:cubicBezTo>
                  <a:cubicBezTo>
                    <a:pt x="3620" y="306705"/>
                    <a:pt x="0" y="290132"/>
                    <a:pt x="0" y="271272"/>
                  </a:cubicBezTo>
                  <a:lnTo>
                    <a:pt x="0" y="269843"/>
                  </a:lnTo>
                  <a:cubicBezTo>
                    <a:pt x="0" y="249079"/>
                    <a:pt x="3810" y="231077"/>
                    <a:pt x="11335" y="215741"/>
                  </a:cubicBezTo>
                  <a:cubicBezTo>
                    <a:pt x="18859" y="200406"/>
                    <a:pt x="29337" y="187738"/>
                    <a:pt x="42767" y="177546"/>
                  </a:cubicBezTo>
                  <a:cubicBezTo>
                    <a:pt x="56197" y="167450"/>
                    <a:pt x="72199" y="159925"/>
                    <a:pt x="90773" y="154972"/>
                  </a:cubicBezTo>
                  <a:cubicBezTo>
                    <a:pt x="109347" y="150019"/>
                    <a:pt x="129540" y="147542"/>
                    <a:pt x="151162" y="147542"/>
                  </a:cubicBezTo>
                  <a:cubicBezTo>
                    <a:pt x="172783" y="147542"/>
                    <a:pt x="192976" y="148971"/>
                    <a:pt x="208788" y="151829"/>
                  </a:cubicBezTo>
                  <a:cubicBezTo>
                    <a:pt x="224599" y="154686"/>
                    <a:pt x="239744" y="158401"/>
                    <a:pt x="254413" y="163163"/>
                  </a:cubicBezTo>
                  <a:lnTo>
                    <a:pt x="254413" y="156115"/>
                  </a:lnTo>
                  <a:cubicBezTo>
                    <a:pt x="254413" y="130207"/>
                    <a:pt x="246507" y="110395"/>
                    <a:pt x="230696" y="96774"/>
                  </a:cubicBezTo>
                  <a:cubicBezTo>
                    <a:pt x="214884" y="83153"/>
                    <a:pt x="192214" y="76295"/>
                    <a:pt x="162496" y="76295"/>
                  </a:cubicBezTo>
                  <a:cubicBezTo>
                    <a:pt x="141351" y="76295"/>
                    <a:pt x="122491" y="78391"/>
                    <a:pt x="106013" y="82677"/>
                  </a:cubicBezTo>
                  <a:cubicBezTo>
                    <a:pt x="89535" y="86963"/>
                    <a:pt x="72771" y="92583"/>
                    <a:pt x="55816" y="99632"/>
                  </a:cubicBezTo>
                  <a:lnTo>
                    <a:pt x="32480" y="31052"/>
                  </a:lnTo>
                  <a:cubicBezTo>
                    <a:pt x="53149" y="21622"/>
                    <a:pt x="74390" y="14097"/>
                    <a:pt x="96107" y="8477"/>
                  </a:cubicBezTo>
                  <a:cubicBezTo>
                    <a:pt x="117729" y="2858"/>
                    <a:pt x="143923" y="0"/>
                    <a:pt x="174593" y="0"/>
                  </a:cubicBezTo>
                  <a:cubicBezTo>
                    <a:pt x="230124" y="0"/>
                    <a:pt x="271367" y="13811"/>
                    <a:pt x="298228" y="41338"/>
                  </a:cubicBezTo>
                  <a:cubicBezTo>
                    <a:pt x="325088" y="68866"/>
                    <a:pt x="338519" y="107633"/>
                    <a:pt x="338519" y="157544"/>
                  </a:cubicBezTo>
                  <a:lnTo>
                    <a:pt x="338519" y="378714"/>
                  </a:lnTo>
                  <a:lnTo>
                    <a:pt x="253746" y="378714"/>
                  </a:lnTo>
                  <a:close/>
                  <a:moveTo>
                    <a:pt x="255746" y="222409"/>
                  </a:moveTo>
                  <a:cubicBezTo>
                    <a:pt x="244888" y="218123"/>
                    <a:pt x="232029" y="214598"/>
                    <a:pt x="217265" y="211836"/>
                  </a:cubicBezTo>
                  <a:cubicBezTo>
                    <a:pt x="202406" y="208979"/>
                    <a:pt x="186785" y="207550"/>
                    <a:pt x="170307" y="207550"/>
                  </a:cubicBezTo>
                  <a:cubicBezTo>
                    <a:pt x="143446" y="207550"/>
                    <a:pt x="122491" y="212693"/>
                    <a:pt x="107442" y="223075"/>
                  </a:cubicBezTo>
                  <a:cubicBezTo>
                    <a:pt x="92392" y="233458"/>
                    <a:pt x="84868" y="247555"/>
                    <a:pt x="84868" y="265462"/>
                  </a:cubicBezTo>
                  <a:lnTo>
                    <a:pt x="84868" y="266891"/>
                  </a:lnTo>
                  <a:cubicBezTo>
                    <a:pt x="84868" y="284798"/>
                    <a:pt x="91821" y="298418"/>
                    <a:pt x="105728" y="307848"/>
                  </a:cubicBezTo>
                  <a:cubicBezTo>
                    <a:pt x="119634" y="317278"/>
                    <a:pt x="136684" y="321945"/>
                    <a:pt x="156972" y="321945"/>
                  </a:cubicBezTo>
                  <a:cubicBezTo>
                    <a:pt x="171069" y="321945"/>
                    <a:pt x="184213" y="320040"/>
                    <a:pt x="196215" y="316325"/>
                  </a:cubicBezTo>
                  <a:cubicBezTo>
                    <a:pt x="208216" y="312515"/>
                    <a:pt x="218694" y="307277"/>
                    <a:pt x="227647" y="300419"/>
                  </a:cubicBezTo>
                  <a:cubicBezTo>
                    <a:pt x="236601" y="293561"/>
                    <a:pt x="243554" y="285369"/>
                    <a:pt x="248507" y="275654"/>
                  </a:cubicBezTo>
                  <a:cubicBezTo>
                    <a:pt x="253460" y="266033"/>
                    <a:pt x="255937" y="255270"/>
                    <a:pt x="255937" y="243459"/>
                  </a:cubicBezTo>
                  <a:lnTo>
                    <a:pt x="255937" y="222218"/>
                  </a:lnTo>
                  <a:close/>
                </a:path>
              </a:pathLst>
            </a:custGeom>
            <a:solidFill>
              <a:srgbClr val="44505E"/>
            </a:solidFill>
            <a:ln w="9525" cap="flat">
              <a:noFill/>
              <a:prstDash val="solid"/>
              <a:miter/>
            </a:ln>
          </p:spPr>
          <p:txBody>
            <a:bodyPr rtlCol="0" anchor="ctr"/>
            <a:lstStyle/>
            <a:p>
              <a:endParaRPr lang="pt-BR" noProof="0"/>
            </a:p>
          </p:txBody>
        </p:sp>
        <p:sp>
          <p:nvSpPr>
            <p:cNvPr id="28" name="Freeform: Shape 27">
              <a:extLst>
                <a:ext uri="{FF2B5EF4-FFF2-40B4-BE49-F238E27FC236}">
                  <a16:creationId xmlns:a16="http://schemas.microsoft.com/office/drawing/2014/main" id="{0AD20EF2-9AAD-1DE7-3877-FEFF079C18F0}"/>
                </a:ext>
              </a:extLst>
            </p:cNvPr>
            <p:cNvSpPr/>
            <p:nvPr/>
          </p:nvSpPr>
          <p:spPr>
            <a:xfrm>
              <a:off x="6088843" y="700318"/>
              <a:ext cx="74610" cy="97213"/>
            </a:xfrm>
            <a:custGeom>
              <a:avLst/>
              <a:gdLst>
                <a:gd name="connsiteX0" fmla="*/ 158305 w 296799"/>
                <a:gd name="connsiteY0" fmla="*/ 386715 h 386714"/>
                <a:gd name="connsiteX1" fmla="*/ 76676 w 296799"/>
                <a:gd name="connsiteY1" fmla="*/ 372427 h 386714"/>
                <a:gd name="connsiteX2" fmla="*/ 0 w 296799"/>
                <a:gd name="connsiteY2" fmla="*/ 330327 h 386714"/>
                <a:gd name="connsiteX3" fmla="*/ 38195 w 296799"/>
                <a:gd name="connsiteY3" fmla="*/ 272224 h 386714"/>
                <a:gd name="connsiteX4" fmla="*/ 100013 w 296799"/>
                <a:gd name="connsiteY4" fmla="*/ 306514 h 386714"/>
                <a:gd name="connsiteX5" fmla="*/ 160401 w 296799"/>
                <a:gd name="connsiteY5" fmla="*/ 318135 h 386714"/>
                <a:gd name="connsiteX6" fmla="*/ 203168 w 296799"/>
                <a:gd name="connsiteY6" fmla="*/ 307181 h 386714"/>
                <a:gd name="connsiteX7" fmla="*/ 218408 w 296799"/>
                <a:gd name="connsiteY7" fmla="*/ 277939 h 386714"/>
                <a:gd name="connsiteX8" fmla="*/ 218408 w 296799"/>
                <a:gd name="connsiteY8" fmla="*/ 276511 h 386714"/>
                <a:gd name="connsiteX9" fmla="*/ 211646 w 296799"/>
                <a:gd name="connsiteY9" fmla="*/ 258223 h 386714"/>
                <a:gd name="connsiteX10" fmla="*/ 193262 w 296799"/>
                <a:gd name="connsiteY10" fmla="*/ 244792 h 386714"/>
                <a:gd name="connsiteX11" fmla="*/ 166402 w 296799"/>
                <a:gd name="connsiteY11" fmla="*/ 234220 h 386714"/>
                <a:gd name="connsiteX12" fmla="*/ 134969 w 296799"/>
                <a:gd name="connsiteY12" fmla="*/ 224314 h 386714"/>
                <a:gd name="connsiteX13" fmla="*/ 93631 w 296799"/>
                <a:gd name="connsiteY13" fmla="*/ 210884 h 386714"/>
                <a:gd name="connsiteX14" fmla="*/ 56197 w 296799"/>
                <a:gd name="connsiteY14" fmla="*/ 190786 h 386714"/>
                <a:gd name="connsiteX15" fmla="*/ 28956 w 296799"/>
                <a:gd name="connsiteY15" fmla="*/ 160115 h 386714"/>
                <a:gd name="connsiteX16" fmla="*/ 18383 w 296799"/>
                <a:gd name="connsiteY16" fmla="*/ 114967 h 386714"/>
                <a:gd name="connsiteX17" fmla="*/ 18383 w 296799"/>
                <a:gd name="connsiteY17" fmla="*/ 113538 h 386714"/>
                <a:gd name="connsiteX18" fmla="*/ 28575 w 296799"/>
                <a:gd name="connsiteY18" fmla="*/ 66294 h 386714"/>
                <a:gd name="connsiteX19" fmla="*/ 56864 w 296799"/>
                <a:gd name="connsiteY19" fmla="*/ 30385 h 386714"/>
                <a:gd name="connsiteX20" fmla="*/ 99250 w 296799"/>
                <a:gd name="connsiteY20" fmla="*/ 7810 h 386714"/>
                <a:gd name="connsiteX21" fmla="*/ 151162 w 296799"/>
                <a:gd name="connsiteY21" fmla="*/ 0 h 386714"/>
                <a:gd name="connsiteX22" fmla="*/ 222504 w 296799"/>
                <a:gd name="connsiteY22" fmla="*/ 11430 h 386714"/>
                <a:gd name="connsiteX23" fmla="*/ 288227 w 296799"/>
                <a:gd name="connsiteY23" fmla="*/ 42863 h 386714"/>
                <a:gd name="connsiteX24" fmla="*/ 254317 w 296799"/>
                <a:gd name="connsiteY24" fmla="*/ 103918 h 386714"/>
                <a:gd name="connsiteX25" fmla="*/ 199930 w 296799"/>
                <a:gd name="connsiteY25" fmla="*/ 78105 h 386714"/>
                <a:gd name="connsiteX26" fmla="*/ 149066 w 296799"/>
                <a:gd name="connsiteY26" fmla="*/ 68580 h 386714"/>
                <a:gd name="connsiteX27" fmla="*/ 110585 w 296799"/>
                <a:gd name="connsiteY27" fmla="*/ 79153 h 386714"/>
                <a:gd name="connsiteX28" fmla="*/ 96774 w 296799"/>
                <a:gd name="connsiteY28" fmla="*/ 105918 h 386714"/>
                <a:gd name="connsiteX29" fmla="*/ 96774 w 296799"/>
                <a:gd name="connsiteY29" fmla="*/ 107347 h 386714"/>
                <a:gd name="connsiteX30" fmla="*/ 103822 w 296799"/>
                <a:gd name="connsiteY30" fmla="*/ 124587 h 386714"/>
                <a:gd name="connsiteX31" fmla="*/ 122587 w 296799"/>
                <a:gd name="connsiteY31" fmla="*/ 138017 h 386714"/>
                <a:gd name="connsiteX32" fmla="*/ 149447 w 296799"/>
                <a:gd name="connsiteY32" fmla="*/ 149257 h 386714"/>
                <a:gd name="connsiteX33" fmla="*/ 180880 w 296799"/>
                <a:gd name="connsiteY33" fmla="*/ 159448 h 386714"/>
                <a:gd name="connsiteX34" fmla="*/ 221837 w 296799"/>
                <a:gd name="connsiteY34" fmla="*/ 174212 h 386714"/>
                <a:gd name="connsiteX35" fmla="*/ 258985 w 296799"/>
                <a:gd name="connsiteY35" fmla="*/ 194977 h 386714"/>
                <a:gd name="connsiteX36" fmla="*/ 286226 w 296799"/>
                <a:gd name="connsiteY36" fmla="*/ 224980 h 386714"/>
                <a:gd name="connsiteX37" fmla="*/ 296799 w 296799"/>
                <a:gd name="connsiteY37" fmla="*/ 267938 h 386714"/>
                <a:gd name="connsiteX38" fmla="*/ 296799 w 296799"/>
                <a:gd name="connsiteY38" fmla="*/ 269367 h 386714"/>
                <a:gd name="connsiteX39" fmla="*/ 286226 w 296799"/>
                <a:gd name="connsiteY39" fmla="*/ 320897 h 386714"/>
                <a:gd name="connsiteX40" fmla="*/ 256889 w 296799"/>
                <a:gd name="connsiteY40" fmla="*/ 357188 h 386714"/>
                <a:gd name="connsiteX41" fmla="*/ 212693 w 296799"/>
                <a:gd name="connsiteY41" fmla="*/ 379095 h 386714"/>
                <a:gd name="connsiteX42" fmla="*/ 158305 w 296799"/>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799"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065" y="318135"/>
                    <a:pt x="160401" y="318135"/>
                  </a:cubicBezTo>
                  <a:cubicBezTo>
                    <a:pt x="179737" y="318135"/>
                    <a:pt x="193072"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828" y="227647"/>
                    <a:pt x="134969" y="224314"/>
                  </a:cubicBezTo>
                  <a:cubicBezTo>
                    <a:pt x="121348" y="220599"/>
                    <a:pt x="107537" y="216122"/>
                    <a:pt x="93631" y="210884"/>
                  </a:cubicBezTo>
                  <a:cubicBezTo>
                    <a:pt x="79724" y="205740"/>
                    <a:pt x="67246" y="198977"/>
                    <a:pt x="56197" y="190786"/>
                  </a:cubicBezTo>
                  <a:cubicBezTo>
                    <a:pt x="45148" y="182594"/>
                    <a:pt x="36004"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874" y="0"/>
                    <a:pt x="151162" y="0"/>
                  </a:cubicBezTo>
                  <a:cubicBezTo>
                    <a:pt x="174688" y="0"/>
                    <a:pt x="198501" y="3810"/>
                    <a:pt x="222504" y="11430"/>
                  </a:cubicBezTo>
                  <a:cubicBezTo>
                    <a:pt x="246507" y="19050"/>
                    <a:pt x="268414" y="29527"/>
                    <a:pt x="288227" y="42863"/>
                  </a:cubicBezTo>
                  <a:lnTo>
                    <a:pt x="254317"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774" y="95155"/>
                    <a:pt x="96774" y="105918"/>
                  </a:cubicBezTo>
                  <a:lnTo>
                    <a:pt x="96774" y="107347"/>
                  </a:lnTo>
                  <a:cubicBezTo>
                    <a:pt x="96774" y="113919"/>
                    <a:pt x="99155" y="119634"/>
                    <a:pt x="103822" y="124587"/>
                  </a:cubicBezTo>
                  <a:cubicBezTo>
                    <a:pt x="108490" y="129540"/>
                    <a:pt x="114776" y="134017"/>
                    <a:pt x="122587" y="138017"/>
                  </a:cubicBezTo>
                  <a:cubicBezTo>
                    <a:pt x="130397" y="142018"/>
                    <a:pt x="139351" y="145732"/>
                    <a:pt x="149447" y="149257"/>
                  </a:cubicBezTo>
                  <a:cubicBezTo>
                    <a:pt x="159544" y="152781"/>
                    <a:pt x="170021" y="156210"/>
                    <a:pt x="180880" y="159448"/>
                  </a:cubicBezTo>
                  <a:cubicBezTo>
                    <a:pt x="194500" y="163639"/>
                    <a:pt x="208216" y="168592"/>
                    <a:pt x="221837" y="174212"/>
                  </a:cubicBezTo>
                  <a:cubicBezTo>
                    <a:pt x="235458" y="179832"/>
                    <a:pt x="247840" y="186785"/>
                    <a:pt x="258985" y="194977"/>
                  </a:cubicBezTo>
                  <a:cubicBezTo>
                    <a:pt x="270034" y="203168"/>
                    <a:pt x="279178" y="213169"/>
                    <a:pt x="286226" y="224980"/>
                  </a:cubicBezTo>
                  <a:cubicBezTo>
                    <a:pt x="293275" y="236696"/>
                    <a:pt x="296799" y="251079"/>
                    <a:pt x="296799" y="267938"/>
                  </a:cubicBezTo>
                  <a:lnTo>
                    <a:pt x="296799" y="269367"/>
                  </a:lnTo>
                  <a:cubicBezTo>
                    <a:pt x="296799" y="289084"/>
                    <a:pt x="293275" y="306229"/>
                    <a:pt x="286226" y="320897"/>
                  </a:cubicBezTo>
                  <a:cubicBezTo>
                    <a:pt x="279178" y="335470"/>
                    <a:pt x="269367" y="347567"/>
                    <a:pt x="256889" y="357188"/>
                  </a:cubicBezTo>
                  <a:cubicBezTo>
                    <a:pt x="244412" y="366808"/>
                    <a:pt x="229648" y="374142"/>
                    <a:pt x="212693" y="379095"/>
                  </a:cubicBezTo>
                  <a:cubicBezTo>
                    <a:pt x="195739" y="384048"/>
                    <a:pt x="177641" y="386524"/>
                    <a:pt x="158305" y="386524"/>
                  </a:cubicBezTo>
                  <a:close/>
                </a:path>
              </a:pathLst>
            </a:custGeom>
            <a:solidFill>
              <a:srgbClr val="44505E"/>
            </a:solidFill>
            <a:ln w="9525" cap="flat">
              <a:noFill/>
              <a:prstDash val="solid"/>
              <a:miter/>
            </a:ln>
          </p:spPr>
          <p:txBody>
            <a:bodyPr rtlCol="0" anchor="ctr"/>
            <a:lstStyle/>
            <a:p>
              <a:endParaRPr lang="pt-BR" noProof="0"/>
            </a:p>
          </p:txBody>
        </p:sp>
        <p:sp>
          <p:nvSpPr>
            <p:cNvPr id="29" name="Freeform: Shape 28">
              <a:extLst>
                <a:ext uri="{FF2B5EF4-FFF2-40B4-BE49-F238E27FC236}">
                  <a16:creationId xmlns:a16="http://schemas.microsoft.com/office/drawing/2014/main" id="{FE009C8E-06CD-7C3E-CC02-9CAFC7D4C225}"/>
                </a:ext>
              </a:extLst>
            </p:cNvPr>
            <p:cNvSpPr/>
            <p:nvPr/>
          </p:nvSpPr>
          <p:spPr>
            <a:xfrm>
              <a:off x="6238590"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4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7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2 w 568166"/>
                <a:gd name="connsiteY21" fmla="*/ 381000 h 381000"/>
                <a:gd name="connsiteX22" fmla="*/ 240982 w 568166"/>
                <a:gd name="connsiteY22" fmla="*/ 168783 h 381000"/>
                <a:gd name="connsiteX23" fmla="*/ 221266 w 568166"/>
                <a:gd name="connsiteY23" fmla="*/ 101822 h 381000"/>
                <a:gd name="connsiteX24" fmla="*/ 165640 w 568166"/>
                <a:gd name="connsiteY24" fmla="*/ 78581 h 381000"/>
                <a:gd name="connsiteX25" fmla="*/ 108013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69" y="48196"/>
                    <a:pt x="105918" y="40576"/>
                  </a:cubicBezTo>
                  <a:cubicBezTo>
                    <a:pt x="112966" y="32956"/>
                    <a:pt x="121063" y="26099"/>
                    <a:pt x="130207" y="19907"/>
                  </a:cubicBezTo>
                  <a:cubicBezTo>
                    <a:pt x="139351" y="13716"/>
                    <a:pt x="149638" y="8858"/>
                    <a:pt x="161163" y="5334"/>
                  </a:cubicBezTo>
                  <a:cubicBezTo>
                    <a:pt x="172688" y="1714"/>
                    <a:pt x="185452" y="0"/>
                    <a:pt x="199549" y="0"/>
                  </a:cubicBezTo>
                  <a:cubicBezTo>
                    <a:pt x="226314" y="0"/>
                    <a:pt x="248983" y="6096"/>
                    <a:pt x="267557" y="18193"/>
                  </a:cubicBezTo>
                  <a:cubicBezTo>
                    <a:pt x="286131" y="30289"/>
                    <a:pt x="300323" y="46387"/>
                    <a:pt x="310134" y="66294"/>
                  </a:cubicBezTo>
                  <a:cubicBezTo>
                    <a:pt x="325279" y="46387"/>
                    <a:pt x="343090" y="30289"/>
                    <a:pt x="363664" y="18193"/>
                  </a:cubicBezTo>
                  <a:cubicBezTo>
                    <a:pt x="384238" y="6096"/>
                    <a:pt x="408718" y="0"/>
                    <a:pt x="437007" y="0"/>
                  </a:cubicBezTo>
                  <a:cubicBezTo>
                    <a:pt x="478155"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7" y="78486"/>
                  </a:cubicBezTo>
                  <a:cubicBezTo>
                    <a:pt x="382809" y="78486"/>
                    <a:pt x="364141" y="86392"/>
                    <a:pt x="349377" y="102108"/>
                  </a:cubicBezTo>
                  <a:cubicBezTo>
                    <a:pt x="334613" y="117824"/>
                    <a:pt x="327184" y="140779"/>
                    <a:pt x="327184" y="170879"/>
                  </a:cubicBezTo>
                  <a:lnTo>
                    <a:pt x="327184" y="381000"/>
                  </a:lnTo>
                  <a:lnTo>
                    <a:pt x="240982" y="381000"/>
                  </a:lnTo>
                  <a:lnTo>
                    <a:pt x="240982" y="168783"/>
                  </a:lnTo>
                  <a:cubicBezTo>
                    <a:pt x="240982" y="139637"/>
                    <a:pt x="234410" y="117348"/>
                    <a:pt x="221266" y="101822"/>
                  </a:cubicBezTo>
                  <a:cubicBezTo>
                    <a:pt x="208121" y="86296"/>
                    <a:pt x="189547" y="78581"/>
                    <a:pt x="165640" y="78581"/>
                  </a:cubicBezTo>
                  <a:cubicBezTo>
                    <a:pt x="141732" y="78581"/>
                    <a:pt x="122491" y="86773"/>
                    <a:pt x="108013"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30" name="Freeform: Shape 29">
              <a:extLst>
                <a:ext uri="{FF2B5EF4-FFF2-40B4-BE49-F238E27FC236}">
                  <a16:creationId xmlns:a16="http://schemas.microsoft.com/office/drawing/2014/main" id="{078AB5EF-7A2F-D607-96DE-6B30745B19CD}"/>
                </a:ext>
              </a:extLst>
            </p:cNvPr>
            <p:cNvSpPr/>
            <p:nvPr/>
          </p:nvSpPr>
          <p:spPr>
            <a:xfrm>
              <a:off x="6400979" y="664258"/>
              <a:ext cx="85097" cy="133441"/>
            </a:xfrm>
            <a:custGeom>
              <a:avLst/>
              <a:gdLst>
                <a:gd name="connsiteX0" fmla="*/ 253651 w 338518"/>
                <a:gd name="connsiteY0" fmla="*/ 523018 h 530828"/>
                <a:gd name="connsiteX1" fmla="*/ 253651 w 338518"/>
                <a:gd name="connsiteY1" fmla="*/ 477107 h 530828"/>
                <a:gd name="connsiteX2" fmla="*/ 204883 w 338518"/>
                <a:gd name="connsiteY2" fmla="*/ 515303 h 530828"/>
                <a:gd name="connsiteX3" fmla="*/ 132779 w 338518"/>
                <a:gd name="connsiteY3" fmla="*/ 530828 h 530828"/>
                <a:gd name="connsiteX4" fmla="*/ 81915 w 338518"/>
                <a:gd name="connsiteY4" fmla="*/ 523399 h 530828"/>
                <a:gd name="connsiteX5" fmla="*/ 39910 w 338518"/>
                <a:gd name="connsiteY5" fmla="*/ 501491 h 530828"/>
                <a:gd name="connsiteX6" fmla="*/ 10954 w 338518"/>
                <a:gd name="connsiteY6" fmla="*/ 465487 h 530828"/>
                <a:gd name="connsiteX7" fmla="*/ 0 w 338518"/>
                <a:gd name="connsiteY7" fmla="*/ 415671 h 530828"/>
                <a:gd name="connsiteX8" fmla="*/ 0 w 338518"/>
                <a:gd name="connsiteY8" fmla="*/ 414242 h 530828"/>
                <a:gd name="connsiteX9" fmla="*/ 11335 w 338518"/>
                <a:gd name="connsiteY9" fmla="*/ 360140 h 530828"/>
                <a:gd name="connsiteX10" fmla="*/ 42767 w 338518"/>
                <a:gd name="connsiteY10" fmla="*/ 321945 h 530828"/>
                <a:gd name="connsiteX11" fmla="*/ 90773 w 338518"/>
                <a:gd name="connsiteY11" fmla="*/ 299371 h 530828"/>
                <a:gd name="connsiteX12" fmla="*/ 151162 w 338518"/>
                <a:gd name="connsiteY12" fmla="*/ 291941 h 530828"/>
                <a:gd name="connsiteX13" fmla="*/ 208788 w 338518"/>
                <a:gd name="connsiteY13" fmla="*/ 296228 h 530828"/>
                <a:gd name="connsiteX14" fmla="*/ 254413 w 338518"/>
                <a:gd name="connsiteY14" fmla="*/ 307562 h 530828"/>
                <a:gd name="connsiteX15" fmla="*/ 254413 w 338518"/>
                <a:gd name="connsiteY15" fmla="*/ 300514 h 530828"/>
                <a:gd name="connsiteX16" fmla="*/ 230696 w 338518"/>
                <a:gd name="connsiteY16" fmla="*/ 241173 h 530828"/>
                <a:gd name="connsiteX17" fmla="*/ 162496 w 338518"/>
                <a:gd name="connsiteY17" fmla="*/ 220694 h 530828"/>
                <a:gd name="connsiteX18" fmla="*/ 106013 w 338518"/>
                <a:gd name="connsiteY18" fmla="*/ 227076 h 530828"/>
                <a:gd name="connsiteX19" fmla="*/ 55817 w 338518"/>
                <a:gd name="connsiteY19" fmla="*/ 244031 h 530828"/>
                <a:gd name="connsiteX20" fmla="*/ 32480 w 338518"/>
                <a:gd name="connsiteY20" fmla="*/ 175451 h 530828"/>
                <a:gd name="connsiteX21" fmla="*/ 96107 w 338518"/>
                <a:gd name="connsiteY21" fmla="*/ 152876 h 530828"/>
                <a:gd name="connsiteX22" fmla="*/ 174593 w 338518"/>
                <a:gd name="connsiteY22" fmla="*/ 144399 h 530828"/>
                <a:gd name="connsiteX23" fmla="*/ 298228 w 338518"/>
                <a:gd name="connsiteY23" fmla="*/ 185738 h 530828"/>
                <a:gd name="connsiteX24" fmla="*/ 338519 w 338518"/>
                <a:gd name="connsiteY24" fmla="*/ 301943 h 530828"/>
                <a:gd name="connsiteX25" fmla="*/ 338519 w 338518"/>
                <a:gd name="connsiteY25" fmla="*/ 523113 h 530828"/>
                <a:gd name="connsiteX26" fmla="*/ 253746 w 338518"/>
                <a:gd name="connsiteY26" fmla="*/ 523113 h 530828"/>
                <a:gd name="connsiteX27" fmla="*/ 45911 w 338518"/>
                <a:gd name="connsiteY27" fmla="*/ 95441 h 530828"/>
                <a:gd name="connsiteX28" fmla="*/ 75248 w 338518"/>
                <a:gd name="connsiteY28" fmla="*/ 29718 h 530828"/>
                <a:gd name="connsiteX29" fmla="*/ 125063 w 338518"/>
                <a:gd name="connsiteY29" fmla="*/ 7144 h 530828"/>
                <a:gd name="connsiteX30" fmla="*/ 154019 w 338518"/>
                <a:gd name="connsiteY30" fmla="*/ 11716 h 530828"/>
                <a:gd name="connsiteX31" fmla="*/ 181261 w 338518"/>
                <a:gd name="connsiteY31" fmla="*/ 21622 h 530828"/>
                <a:gd name="connsiteX32" fmla="*/ 205645 w 338518"/>
                <a:gd name="connsiteY32" fmla="*/ 31147 h 530828"/>
                <a:gd name="connsiteX33" fmla="*/ 226790 w 338518"/>
                <a:gd name="connsiteY33" fmla="*/ 35338 h 530828"/>
                <a:gd name="connsiteX34" fmla="*/ 250127 w 338518"/>
                <a:gd name="connsiteY34" fmla="*/ 26861 h 530828"/>
                <a:gd name="connsiteX35" fmla="*/ 265652 w 338518"/>
                <a:gd name="connsiteY35" fmla="*/ 0 h 530828"/>
                <a:gd name="connsiteX36" fmla="*/ 312991 w 338518"/>
                <a:gd name="connsiteY36" fmla="*/ 14859 h 530828"/>
                <a:gd name="connsiteX37" fmla="*/ 283655 w 338518"/>
                <a:gd name="connsiteY37" fmla="*/ 79820 h 530828"/>
                <a:gd name="connsiteX38" fmla="*/ 233839 w 338518"/>
                <a:gd name="connsiteY38" fmla="*/ 102394 h 530828"/>
                <a:gd name="connsiteX39" fmla="*/ 204883 w 338518"/>
                <a:gd name="connsiteY39" fmla="*/ 98203 h 530828"/>
                <a:gd name="connsiteX40" fmla="*/ 177641 w 338518"/>
                <a:gd name="connsiteY40" fmla="*/ 88678 h 530828"/>
                <a:gd name="connsiteX41" fmla="*/ 152876 w 338518"/>
                <a:gd name="connsiteY41" fmla="*/ 78772 h 530828"/>
                <a:gd name="connsiteX42" fmla="*/ 132017 w 338518"/>
                <a:gd name="connsiteY42" fmla="*/ 74200 h 530828"/>
                <a:gd name="connsiteX43" fmla="*/ 108680 w 338518"/>
                <a:gd name="connsiteY43" fmla="*/ 82677 h 530828"/>
                <a:gd name="connsiteX44" fmla="*/ 93154 w 338518"/>
                <a:gd name="connsiteY44" fmla="*/ 109538 h 530828"/>
                <a:gd name="connsiteX45" fmla="*/ 45815 w 338518"/>
                <a:gd name="connsiteY45" fmla="*/ 95441 h 530828"/>
                <a:gd name="connsiteX46" fmla="*/ 255842 w 338518"/>
                <a:gd name="connsiteY46" fmla="*/ 366808 h 530828"/>
                <a:gd name="connsiteX47" fmla="*/ 217361 w 338518"/>
                <a:gd name="connsiteY47" fmla="*/ 356235 h 530828"/>
                <a:gd name="connsiteX48" fmla="*/ 170402 w 338518"/>
                <a:gd name="connsiteY48" fmla="*/ 351949 h 530828"/>
                <a:gd name="connsiteX49" fmla="*/ 107537 w 338518"/>
                <a:gd name="connsiteY49" fmla="*/ 367475 h 530828"/>
                <a:gd name="connsiteX50" fmla="*/ 84963 w 338518"/>
                <a:gd name="connsiteY50" fmla="*/ 409861 h 530828"/>
                <a:gd name="connsiteX51" fmla="*/ 84963 w 338518"/>
                <a:gd name="connsiteY51" fmla="*/ 411290 h 530828"/>
                <a:gd name="connsiteX52" fmla="*/ 105823 w 338518"/>
                <a:gd name="connsiteY52" fmla="*/ 452247 h 530828"/>
                <a:gd name="connsiteX53" fmla="*/ 157067 w 338518"/>
                <a:gd name="connsiteY53" fmla="*/ 466344 h 530828"/>
                <a:gd name="connsiteX54" fmla="*/ 196310 w 338518"/>
                <a:gd name="connsiteY54" fmla="*/ 460724 h 530828"/>
                <a:gd name="connsiteX55" fmla="*/ 227743 w 338518"/>
                <a:gd name="connsiteY55" fmla="*/ 444818 h 530828"/>
                <a:gd name="connsiteX56" fmla="*/ 248603 w 338518"/>
                <a:gd name="connsiteY56" fmla="*/ 420053 h 530828"/>
                <a:gd name="connsiteX57" fmla="*/ 256032 w 338518"/>
                <a:gd name="connsiteY57" fmla="*/ 387858 h 530828"/>
                <a:gd name="connsiteX58" fmla="*/ 256032 w 338518"/>
                <a:gd name="connsiteY58" fmla="*/ 366617 h 5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8518" h="530828">
                  <a:moveTo>
                    <a:pt x="253651" y="523018"/>
                  </a:moveTo>
                  <a:lnTo>
                    <a:pt x="253651" y="477107"/>
                  </a:lnTo>
                  <a:cubicBezTo>
                    <a:pt x="240887" y="492157"/>
                    <a:pt x="224695" y="504920"/>
                    <a:pt x="204883" y="515303"/>
                  </a:cubicBezTo>
                  <a:cubicBezTo>
                    <a:pt x="185071" y="525685"/>
                    <a:pt x="161068" y="530828"/>
                    <a:pt x="132779" y="530828"/>
                  </a:cubicBezTo>
                  <a:cubicBezTo>
                    <a:pt x="114871" y="530828"/>
                    <a:pt x="97917" y="528352"/>
                    <a:pt x="81915" y="523399"/>
                  </a:cubicBezTo>
                  <a:cubicBezTo>
                    <a:pt x="65913" y="518446"/>
                    <a:pt x="51911" y="511112"/>
                    <a:pt x="39910" y="501491"/>
                  </a:cubicBezTo>
                  <a:cubicBezTo>
                    <a:pt x="27908" y="491871"/>
                    <a:pt x="18193" y="479870"/>
                    <a:pt x="10954" y="465487"/>
                  </a:cubicBezTo>
                  <a:cubicBezTo>
                    <a:pt x="3620" y="451104"/>
                    <a:pt x="0" y="434531"/>
                    <a:pt x="0" y="415671"/>
                  </a:cubicBezTo>
                  <a:lnTo>
                    <a:pt x="0" y="414242"/>
                  </a:lnTo>
                  <a:cubicBezTo>
                    <a:pt x="0" y="393478"/>
                    <a:pt x="3810" y="375476"/>
                    <a:pt x="11335" y="360140"/>
                  </a:cubicBezTo>
                  <a:cubicBezTo>
                    <a:pt x="18860" y="344805"/>
                    <a:pt x="29337" y="332137"/>
                    <a:pt x="42767" y="321945"/>
                  </a:cubicBezTo>
                  <a:cubicBezTo>
                    <a:pt x="56198" y="311849"/>
                    <a:pt x="72200" y="304324"/>
                    <a:pt x="90773" y="299371"/>
                  </a:cubicBezTo>
                  <a:cubicBezTo>
                    <a:pt x="109347" y="294418"/>
                    <a:pt x="129540" y="291941"/>
                    <a:pt x="151162" y="291941"/>
                  </a:cubicBezTo>
                  <a:cubicBezTo>
                    <a:pt x="172784" y="291941"/>
                    <a:pt x="192977" y="293370"/>
                    <a:pt x="208788" y="296228"/>
                  </a:cubicBezTo>
                  <a:cubicBezTo>
                    <a:pt x="224600" y="299085"/>
                    <a:pt x="239744" y="302800"/>
                    <a:pt x="254413" y="307562"/>
                  </a:cubicBezTo>
                  <a:lnTo>
                    <a:pt x="254413" y="300514"/>
                  </a:lnTo>
                  <a:cubicBezTo>
                    <a:pt x="254413" y="274606"/>
                    <a:pt x="246507" y="254794"/>
                    <a:pt x="230696" y="241173"/>
                  </a:cubicBezTo>
                  <a:cubicBezTo>
                    <a:pt x="214884" y="227552"/>
                    <a:pt x="192215" y="220694"/>
                    <a:pt x="162496" y="220694"/>
                  </a:cubicBezTo>
                  <a:cubicBezTo>
                    <a:pt x="141351" y="220694"/>
                    <a:pt x="122492" y="222790"/>
                    <a:pt x="106013" y="227076"/>
                  </a:cubicBezTo>
                  <a:cubicBezTo>
                    <a:pt x="89535" y="231362"/>
                    <a:pt x="72771" y="236982"/>
                    <a:pt x="55817" y="244031"/>
                  </a:cubicBezTo>
                  <a:lnTo>
                    <a:pt x="32480" y="175451"/>
                  </a:lnTo>
                  <a:cubicBezTo>
                    <a:pt x="53150" y="166021"/>
                    <a:pt x="74390" y="158496"/>
                    <a:pt x="96107" y="152876"/>
                  </a:cubicBezTo>
                  <a:cubicBezTo>
                    <a:pt x="117729" y="147257"/>
                    <a:pt x="143923" y="144399"/>
                    <a:pt x="174593" y="144399"/>
                  </a:cubicBezTo>
                  <a:cubicBezTo>
                    <a:pt x="230124" y="144399"/>
                    <a:pt x="271367" y="158210"/>
                    <a:pt x="298228" y="185738"/>
                  </a:cubicBezTo>
                  <a:cubicBezTo>
                    <a:pt x="325088" y="213265"/>
                    <a:pt x="338519" y="252032"/>
                    <a:pt x="338519" y="301943"/>
                  </a:cubicBezTo>
                  <a:lnTo>
                    <a:pt x="338519" y="523113"/>
                  </a:lnTo>
                  <a:lnTo>
                    <a:pt x="253746" y="523113"/>
                  </a:lnTo>
                  <a:close/>
                  <a:moveTo>
                    <a:pt x="45911" y="95441"/>
                  </a:moveTo>
                  <a:cubicBezTo>
                    <a:pt x="53912" y="66675"/>
                    <a:pt x="63722" y="44768"/>
                    <a:pt x="75248" y="29718"/>
                  </a:cubicBezTo>
                  <a:cubicBezTo>
                    <a:pt x="86773" y="14669"/>
                    <a:pt x="103442" y="7144"/>
                    <a:pt x="125063" y="7144"/>
                  </a:cubicBezTo>
                  <a:cubicBezTo>
                    <a:pt x="134969" y="7144"/>
                    <a:pt x="144590" y="8668"/>
                    <a:pt x="154019" y="11716"/>
                  </a:cubicBezTo>
                  <a:cubicBezTo>
                    <a:pt x="163449" y="14764"/>
                    <a:pt x="172498" y="18098"/>
                    <a:pt x="181261" y="21622"/>
                  </a:cubicBezTo>
                  <a:cubicBezTo>
                    <a:pt x="189929" y="25146"/>
                    <a:pt x="198120" y="28385"/>
                    <a:pt x="205645" y="31147"/>
                  </a:cubicBezTo>
                  <a:cubicBezTo>
                    <a:pt x="213170" y="34004"/>
                    <a:pt x="220218" y="35338"/>
                    <a:pt x="226790" y="35338"/>
                  </a:cubicBezTo>
                  <a:cubicBezTo>
                    <a:pt x="237173" y="35338"/>
                    <a:pt x="244888" y="32480"/>
                    <a:pt x="250127" y="26861"/>
                  </a:cubicBezTo>
                  <a:cubicBezTo>
                    <a:pt x="255270" y="21241"/>
                    <a:pt x="260509" y="12287"/>
                    <a:pt x="265652" y="0"/>
                  </a:cubicBezTo>
                  <a:lnTo>
                    <a:pt x="312991" y="14859"/>
                  </a:lnTo>
                  <a:cubicBezTo>
                    <a:pt x="304991" y="43148"/>
                    <a:pt x="295180" y="64770"/>
                    <a:pt x="283655" y="79820"/>
                  </a:cubicBezTo>
                  <a:cubicBezTo>
                    <a:pt x="272129" y="94869"/>
                    <a:pt x="255461" y="102394"/>
                    <a:pt x="233839" y="102394"/>
                  </a:cubicBezTo>
                  <a:cubicBezTo>
                    <a:pt x="223933" y="102394"/>
                    <a:pt x="214313" y="100965"/>
                    <a:pt x="204883" y="98203"/>
                  </a:cubicBezTo>
                  <a:cubicBezTo>
                    <a:pt x="195453" y="95345"/>
                    <a:pt x="186404" y="92202"/>
                    <a:pt x="177641" y="88678"/>
                  </a:cubicBezTo>
                  <a:cubicBezTo>
                    <a:pt x="168878" y="85154"/>
                    <a:pt x="160687" y="81820"/>
                    <a:pt x="152876" y="78772"/>
                  </a:cubicBezTo>
                  <a:cubicBezTo>
                    <a:pt x="145066" y="75724"/>
                    <a:pt x="138113" y="74200"/>
                    <a:pt x="132017" y="74200"/>
                  </a:cubicBezTo>
                  <a:cubicBezTo>
                    <a:pt x="121634" y="74200"/>
                    <a:pt x="113919" y="77057"/>
                    <a:pt x="108680" y="82677"/>
                  </a:cubicBezTo>
                  <a:cubicBezTo>
                    <a:pt x="103537" y="88297"/>
                    <a:pt x="98298" y="97250"/>
                    <a:pt x="93154" y="109538"/>
                  </a:cubicBezTo>
                  <a:lnTo>
                    <a:pt x="45815" y="95441"/>
                  </a:lnTo>
                  <a:close/>
                  <a:moveTo>
                    <a:pt x="255842" y="366808"/>
                  </a:moveTo>
                  <a:cubicBezTo>
                    <a:pt x="244983" y="362522"/>
                    <a:pt x="232124" y="358997"/>
                    <a:pt x="217361" y="356235"/>
                  </a:cubicBezTo>
                  <a:cubicBezTo>
                    <a:pt x="202502" y="353378"/>
                    <a:pt x="186880" y="351949"/>
                    <a:pt x="170402" y="351949"/>
                  </a:cubicBezTo>
                  <a:cubicBezTo>
                    <a:pt x="143542" y="351949"/>
                    <a:pt x="122587" y="357092"/>
                    <a:pt x="107537" y="367475"/>
                  </a:cubicBezTo>
                  <a:cubicBezTo>
                    <a:pt x="92488" y="377857"/>
                    <a:pt x="84963" y="391954"/>
                    <a:pt x="84963" y="409861"/>
                  </a:cubicBezTo>
                  <a:lnTo>
                    <a:pt x="84963" y="411290"/>
                  </a:lnTo>
                  <a:cubicBezTo>
                    <a:pt x="84963" y="429197"/>
                    <a:pt x="91916" y="442817"/>
                    <a:pt x="105823" y="452247"/>
                  </a:cubicBezTo>
                  <a:cubicBezTo>
                    <a:pt x="119729" y="461677"/>
                    <a:pt x="136779" y="466344"/>
                    <a:pt x="157067" y="466344"/>
                  </a:cubicBezTo>
                  <a:cubicBezTo>
                    <a:pt x="171164" y="466344"/>
                    <a:pt x="184309" y="464439"/>
                    <a:pt x="196310" y="460724"/>
                  </a:cubicBezTo>
                  <a:cubicBezTo>
                    <a:pt x="208312" y="456914"/>
                    <a:pt x="218789" y="451676"/>
                    <a:pt x="227743" y="444818"/>
                  </a:cubicBezTo>
                  <a:cubicBezTo>
                    <a:pt x="236696" y="437960"/>
                    <a:pt x="243650" y="429768"/>
                    <a:pt x="248603" y="420053"/>
                  </a:cubicBezTo>
                  <a:cubicBezTo>
                    <a:pt x="253555" y="410432"/>
                    <a:pt x="256032" y="399669"/>
                    <a:pt x="256032" y="387858"/>
                  </a:cubicBezTo>
                  <a:lnTo>
                    <a:pt x="256032" y="366617"/>
                  </a:lnTo>
                  <a:close/>
                </a:path>
              </a:pathLst>
            </a:custGeom>
            <a:solidFill>
              <a:srgbClr val="44505E"/>
            </a:solidFill>
            <a:ln w="9525" cap="flat">
              <a:noFill/>
              <a:prstDash val="solid"/>
              <a:miter/>
            </a:ln>
          </p:spPr>
          <p:txBody>
            <a:bodyPr rtlCol="0" anchor="ctr"/>
            <a:lstStyle/>
            <a:p>
              <a:endParaRPr lang="pt-BR" noProof="0"/>
            </a:p>
          </p:txBody>
        </p:sp>
        <p:sp>
          <p:nvSpPr>
            <p:cNvPr id="31" name="Freeform: Shape 30">
              <a:extLst>
                <a:ext uri="{FF2B5EF4-FFF2-40B4-BE49-F238E27FC236}">
                  <a16:creationId xmlns:a16="http://schemas.microsoft.com/office/drawing/2014/main" id="{FDD184AC-9188-27FD-B7AD-DE1933858D1A}"/>
                </a:ext>
              </a:extLst>
            </p:cNvPr>
            <p:cNvSpPr/>
            <p:nvPr/>
          </p:nvSpPr>
          <p:spPr>
            <a:xfrm>
              <a:off x="6506477" y="699959"/>
              <a:ext cx="100038" cy="97908"/>
            </a:xfrm>
            <a:custGeom>
              <a:avLst/>
              <a:gdLst>
                <a:gd name="connsiteX0" fmla="*/ 197834 w 397954"/>
                <a:gd name="connsiteY0" fmla="*/ 389477 h 389477"/>
                <a:gd name="connsiteX1" fmla="*/ 119063 w 397954"/>
                <a:gd name="connsiteY1" fmla="*/ 374237 h 389477"/>
                <a:gd name="connsiteX2" fmla="*/ 56198 w 397954"/>
                <a:gd name="connsiteY2" fmla="*/ 332899 h 389477"/>
                <a:gd name="connsiteX3" fmla="*/ 14859 w 397954"/>
                <a:gd name="connsiteY3" fmla="*/ 271463 h 389477"/>
                <a:gd name="connsiteX4" fmla="*/ 0 w 397954"/>
                <a:gd name="connsiteY4" fmla="*/ 196501 h 389477"/>
                <a:gd name="connsiteX5" fmla="*/ 0 w 397954"/>
                <a:gd name="connsiteY5" fmla="*/ 195072 h 389477"/>
                <a:gd name="connsiteX6" fmla="*/ 15240 w 397954"/>
                <a:gd name="connsiteY6" fmla="*/ 119444 h 389477"/>
                <a:gd name="connsiteX7" fmla="*/ 56960 w 397954"/>
                <a:gd name="connsiteY7" fmla="*/ 57626 h 389477"/>
                <a:gd name="connsiteX8" fmla="*/ 119825 w 397954"/>
                <a:gd name="connsiteY8" fmla="*/ 15526 h 389477"/>
                <a:gd name="connsiteX9" fmla="*/ 199358 w 397954"/>
                <a:gd name="connsiteY9" fmla="*/ 0 h 389477"/>
                <a:gd name="connsiteX10" fmla="*/ 278892 w 397954"/>
                <a:gd name="connsiteY10" fmla="*/ 15240 h 389477"/>
                <a:gd name="connsiteX11" fmla="*/ 341757 w 397954"/>
                <a:gd name="connsiteY11" fmla="*/ 56959 h 389477"/>
                <a:gd name="connsiteX12" fmla="*/ 383096 w 397954"/>
                <a:gd name="connsiteY12" fmla="*/ 118396 h 389477"/>
                <a:gd name="connsiteX13" fmla="*/ 397955 w 397954"/>
                <a:gd name="connsiteY13" fmla="*/ 193643 h 389477"/>
                <a:gd name="connsiteX14" fmla="*/ 397955 w 397954"/>
                <a:gd name="connsiteY14" fmla="*/ 195072 h 389477"/>
                <a:gd name="connsiteX15" fmla="*/ 382714 w 397954"/>
                <a:gd name="connsiteY15" fmla="*/ 270034 h 389477"/>
                <a:gd name="connsiteX16" fmla="*/ 340995 w 397954"/>
                <a:gd name="connsiteY16" fmla="*/ 331851 h 389477"/>
                <a:gd name="connsiteX17" fmla="*/ 277749 w 397954"/>
                <a:gd name="connsiteY17" fmla="*/ 373856 h 389477"/>
                <a:gd name="connsiteX18" fmla="*/ 197834 w 397954"/>
                <a:gd name="connsiteY18" fmla="*/ 389382 h 389477"/>
                <a:gd name="connsiteX19" fmla="*/ 199263 w 397954"/>
                <a:gd name="connsiteY19" fmla="*/ 315278 h 389477"/>
                <a:gd name="connsiteX20" fmla="*/ 245936 w 397954"/>
                <a:gd name="connsiteY20" fmla="*/ 305753 h 389477"/>
                <a:gd name="connsiteX21" fmla="*/ 281369 w 397954"/>
                <a:gd name="connsiteY21" fmla="*/ 279940 h 389477"/>
                <a:gd name="connsiteX22" fmla="*/ 303848 w 397954"/>
                <a:gd name="connsiteY22" fmla="*/ 242125 h 389477"/>
                <a:gd name="connsiteX23" fmla="*/ 311563 w 397954"/>
                <a:gd name="connsiteY23" fmla="*/ 196501 h 389477"/>
                <a:gd name="connsiteX24" fmla="*/ 311563 w 397954"/>
                <a:gd name="connsiteY24" fmla="*/ 195072 h 389477"/>
                <a:gd name="connsiteX25" fmla="*/ 303181 w 397954"/>
                <a:gd name="connsiteY25" fmla="*/ 148400 h 389477"/>
                <a:gd name="connsiteX26" fmla="*/ 279654 w 397954"/>
                <a:gd name="connsiteY26" fmla="*/ 110204 h 389477"/>
                <a:gd name="connsiteX27" fmla="*/ 243840 w 397954"/>
                <a:gd name="connsiteY27" fmla="*/ 84392 h 389477"/>
                <a:gd name="connsiteX28" fmla="*/ 197834 w 397954"/>
                <a:gd name="connsiteY28" fmla="*/ 74867 h 389477"/>
                <a:gd name="connsiteX29" fmla="*/ 151829 w 397954"/>
                <a:gd name="connsiteY29" fmla="*/ 84392 h 389477"/>
                <a:gd name="connsiteX30" fmla="*/ 116396 w 397954"/>
                <a:gd name="connsiteY30" fmla="*/ 109823 h 389477"/>
                <a:gd name="connsiteX31" fmla="*/ 93916 w 397954"/>
                <a:gd name="connsiteY31" fmla="*/ 147638 h 389477"/>
                <a:gd name="connsiteX32" fmla="*/ 86201 w 397954"/>
                <a:gd name="connsiteY32" fmla="*/ 193548 h 389477"/>
                <a:gd name="connsiteX33" fmla="*/ 86201 w 397954"/>
                <a:gd name="connsiteY33" fmla="*/ 194977 h 389477"/>
                <a:gd name="connsiteX34" fmla="*/ 94583 w 397954"/>
                <a:gd name="connsiteY34" fmla="*/ 241268 h 389477"/>
                <a:gd name="connsiteX35" fmla="*/ 118110 w 397954"/>
                <a:gd name="connsiteY35" fmla="*/ 279463 h 389477"/>
                <a:gd name="connsiteX36" fmla="*/ 153924 w 397954"/>
                <a:gd name="connsiteY36" fmla="*/ 305562 h 389477"/>
                <a:gd name="connsiteX37" fmla="*/ 199263 w 397954"/>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954" h="389477">
                  <a:moveTo>
                    <a:pt x="197834" y="389477"/>
                  </a:moveTo>
                  <a:cubicBezTo>
                    <a:pt x="169545" y="389477"/>
                    <a:pt x="143351" y="384429"/>
                    <a:pt x="119063" y="374237"/>
                  </a:cubicBezTo>
                  <a:cubicBezTo>
                    <a:pt x="94774" y="364141"/>
                    <a:pt x="73819" y="350330"/>
                    <a:pt x="56198" y="332899"/>
                  </a:cubicBezTo>
                  <a:cubicBezTo>
                    <a:pt x="38576" y="315468"/>
                    <a:pt x="24765" y="294989"/>
                    <a:pt x="14859" y="271463"/>
                  </a:cubicBezTo>
                  <a:cubicBezTo>
                    <a:pt x="4953" y="247936"/>
                    <a:pt x="0" y="222980"/>
                    <a:pt x="0" y="196501"/>
                  </a:cubicBezTo>
                  <a:lnTo>
                    <a:pt x="0" y="195072"/>
                  </a:lnTo>
                  <a:cubicBezTo>
                    <a:pt x="0" y="168212"/>
                    <a:pt x="5049" y="143066"/>
                    <a:pt x="15240" y="119444"/>
                  </a:cubicBezTo>
                  <a:cubicBezTo>
                    <a:pt x="25337" y="95917"/>
                    <a:pt x="39243" y="75248"/>
                    <a:pt x="56960" y="57626"/>
                  </a:cubicBezTo>
                  <a:cubicBezTo>
                    <a:pt x="74676" y="39910"/>
                    <a:pt x="95631" y="25908"/>
                    <a:pt x="119825" y="15526"/>
                  </a:cubicBezTo>
                  <a:cubicBezTo>
                    <a:pt x="144113" y="5144"/>
                    <a:pt x="170593" y="0"/>
                    <a:pt x="199358" y="0"/>
                  </a:cubicBezTo>
                  <a:cubicBezTo>
                    <a:pt x="228124" y="0"/>
                    <a:pt x="254604" y="5048"/>
                    <a:pt x="278892" y="15240"/>
                  </a:cubicBezTo>
                  <a:cubicBezTo>
                    <a:pt x="303181" y="25337"/>
                    <a:pt x="324136" y="39243"/>
                    <a:pt x="341757" y="56959"/>
                  </a:cubicBezTo>
                  <a:cubicBezTo>
                    <a:pt x="359379" y="74676"/>
                    <a:pt x="373189" y="95155"/>
                    <a:pt x="383096" y="118396"/>
                  </a:cubicBezTo>
                  <a:cubicBezTo>
                    <a:pt x="393002" y="141732"/>
                    <a:pt x="397955" y="166783"/>
                    <a:pt x="397955" y="193643"/>
                  </a:cubicBezTo>
                  <a:lnTo>
                    <a:pt x="397955" y="195072"/>
                  </a:lnTo>
                  <a:cubicBezTo>
                    <a:pt x="397955" y="221456"/>
                    <a:pt x="392906" y="246412"/>
                    <a:pt x="382714" y="270034"/>
                  </a:cubicBezTo>
                  <a:cubicBezTo>
                    <a:pt x="372618" y="293561"/>
                    <a:pt x="358712" y="314230"/>
                    <a:pt x="340995" y="331851"/>
                  </a:cubicBezTo>
                  <a:cubicBezTo>
                    <a:pt x="323279" y="349472"/>
                    <a:pt x="302229" y="363569"/>
                    <a:pt x="277749" y="373856"/>
                  </a:cubicBezTo>
                  <a:cubicBezTo>
                    <a:pt x="253270" y="384238"/>
                    <a:pt x="226600" y="389382"/>
                    <a:pt x="197834" y="389382"/>
                  </a:cubicBezTo>
                  <a:close/>
                  <a:moveTo>
                    <a:pt x="199263" y="315278"/>
                  </a:moveTo>
                  <a:cubicBezTo>
                    <a:pt x="216598" y="315278"/>
                    <a:pt x="232124" y="312039"/>
                    <a:pt x="245936" y="305753"/>
                  </a:cubicBezTo>
                  <a:cubicBezTo>
                    <a:pt x="259747" y="299371"/>
                    <a:pt x="271558" y="290798"/>
                    <a:pt x="281369" y="279940"/>
                  </a:cubicBezTo>
                  <a:cubicBezTo>
                    <a:pt x="291179" y="269081"/>
                    <a:pt x="298704" y="256508"/>
                    <a:pt x="303848" y="242125"/>
                  </a:cubicBezTo>
                  <a:cubicBezTo>
                    <a:pt x="308991" y="227743"/>
                    <a:pt x="311563" y="212598"/>
                    <a:pt x="311563" y="196501"/>
                  </a:cubicBezTo>
                  <a:lnTo>
                    <a:pt x="311563" y="195072"/>
                  </a:lnTo>
                  <a:cubicBezTo>
                    <a:pt x="311563" y="178594"/>
                    <a:pt x="308706" y="163068"/>
                    <a:pt x="303181" y="148400"/>
                  </a:cubicBezTo>
                  <a:cubicBezTo>
                    <a:pt x="297561" y="133826"/>
                    <a:pt x="289750" y="121063"/>
                    <a:pt x="279654" y="110204"/>
                  </a:cubicBezTo>
                  <a:cubicBezTo>
                    <a:pt x="269557" y="99346"/>
                    <a:pt x="257651" y="90773"/>
                    <a:pt x="243840" y="84392"/>
                  </a:cubicBezTo>
                  <a:cubicBezTo>
                    <a:pt x="230029" y="78010"/>
                    <a:pt x="214694" y="74867"/>
                    <a:pt x="197834" y="74867"/>
                  </a:cubicBezTo>
                  <a:cubicBezTo>
                    <a:pt x="180975" y="74867"/>
                    <a:pt x="165640" y="78010"/>
                    <a:pt x="151829" y="84392"/>
                  </a:cubicBezTo>
                  <a:cubicBezTo>
                    <a:pt x="138017" y="90773"/>
                    <a:pt x="126206" y="99250"/>
                    <a:pt x="116396" y="109823"/>
                  </a:cubicBezTo>
                  <a:cubicBezTo>
                    <a:pt x="106585" y="120396"/>
                    <a:pt x="99060" y="133064"/>
                    <a:pt x="93916" y="147638"/>
                  </a:cubicBezTo>
                  <a:cubicBezTo>
                    <a:pt x="88773" y="162211"/>
                    <a:pt x="86201" y="177546"/>
                    <a:pt x="86201" y="193548"/>
                  </a:cubicBezTo>
                  <a:lnTo>
                    <a:pt x="86201" y="194977"/>
                  </a:lnTo>
                  <a:cubicBezTo>
                    <a:pt x="86201" y="211455"/>
                    <a:pt x="89059" y="226886"/>
                    <a:pt x="94583" y="241268"/>
                  </a:cubicBezTo>
                  <a:cubicBezTo>
                    <a:pt x="100203" y="255651"/>
                    <a:pt x="108014" y="268319"/>
                    <a:pt x="118110" y="279463"/>
                  </a:cubicBezTo>
                  <a:cubicBezTo>
                    <a:pt x="128207" y="290608"/>
                    <a:pt x="140113" y="299275"/>
                    <a:pt x="153924" y="305562"/>
                  </a:cubicBezTo>
                  <a:cubicBezTo>
                    <a:pt x="167735" y="311944"/>
                    <a:pt x="182785"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32" name="Freeform: Shape 31">
              <a:extLst>
                <a:ext uri="{FF2B5EF4-FFF2-40B4-BE49-F238E27FC236}">
                  <a16:creationId xmlns:a16="http://schemas.microsoft.com/office/drawing/2014/main" id="{6B305AF9-DEF0-0655-3D57-C1022C6ABCBE}"/>
                </a:ext>
              </a:extLst>
            </p:cNvPr>
            <p:cNvSpPr/>
            <p:nvPr/>
          </p:nvSpPr>
          <p:spPr>
            <a:xfrm>
              <a:off x="662071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1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7 w 296894"/>
                <a:gd name="connsiteY23" fmla="*/ 42863 h 386714"/>
                <a:gd name="connsiteX24" fmla="*/ 254318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7 w 296894"/>
                <a:gd name="connsiteY30" fmla="*/ 124587 h 386714"/>
                <a:gd name="connsiteX31" fmla="*/ 122682 w 296894"/>
                <a:gd name="connsiteY31" fmla="*/ 138017 h 386714"/>
                <a:gd name="connsiteX32" fmla="*/ 149543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6" y="348901"/>
                    <a:pt x="0" y="330327"/>
                  </a:cubicBezTo>
                  <a:lnTo>
                    <a:pt x="38195" y="272224"/>
                  </a:lnTo>
                  <a:cubicBezTo>
                    <a:pt x="58484" y="287274"/>
                    <a:pt x="79057" y="298704"/>
                    <a:pt x="100013" y="306514"/>
                  </a:cubicBezTo>
                  <a:cubicBezTo>
                    <a:pt x="120968" y="314325"/>
                    <a:pt x="141161" y="318135"/>
                    <a:pt x="160401" y="318135"/>
                  </a:cubicBezTo>
                  <a:cubicBezTo>
                    <a:pt x="179641" y="318135"/>
                    <a:pt x="192977"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1" y="241078"/>
                    <a:pt x="176498" y="237553"/>
                    <a:pt x="166401"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2" y="40195"/>
                    <a:pt x="56864" y="30385"/>
                  </a:cubicBezTo>
                  <a:cubicBezTo>
                    <a:pt x="68866" y="20479"/>
                    <a:pt x="82962" y="12954"/>
                    <a:pt x="99250" y="7810"/>
                  </a:cubicBezTo>
                  <a:cubicBezTo>
                    <a:pt x="115538" y="2667"/>
                    <a:pt x="132779" y="0"/>
                    <a:pt x="151162" y="0"/>
                  </a:cubicBezTo>
                  <a:cubicBezTo>
                    <a:pt x="174688" y="0"/>
                    <a:pt x="198501" y="3810"/>
                    <a:pt x="222504" y="11430"/>
                  </a:cubicBezTo>
                  <a:cubicBezTo>
                    <a:pt x="246507" y="19050"/>
                    <a:pt x="268414" y="29527"/>
                    <a:pt x="288227" y="42863"/>
                  </a:cubicBezTo>
                  <a:lnTo>
                    <a:pt x="254318"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7" y="124587"/>
                  </a:cubicBezTo>
                  <a:cubicBezTo>
                    <a:pt x="108585" y="129540"/>
                    <a:pt x="114871" y="134017"/>
                    <a:pt x="122682" y="138017"/>
                  </a:cubicBezTo>
                  <a:cubicBezTo>
                    <a:pt x="130493" y="142018"/>
                    <a:pt x="139351" y="145732"/>
                    <a:pt x="149543"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696"/>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33" name="Freeform: Shape 32">
              <a:extLst>
                <a:ext uri="{FF2B5EF4-FFF2-40B4-BE49-F238E27FC236}">
                  <a16:creationId xmlns:a16="http://schemas.microsoft.com/office/drawing/2014/main" id="{89468F7A-839E-D820-C500-DE00DC1A1D1C}"/>
                </a:ext>
              </a:extLst>
            </p:cNvPr>
            <p:cNvSpPr/>
            <p:nvPr/>
          </p:nvSpPr>
          <p:spPr>
            <a:xfrm>
              <a:off x="526693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4 w 202977"/>
                <a:gd name="connsiteY17" fmla="*/ 19907 h 239267"/>
                <a:gd name="connsiteX18" fmla="*/ 59246 w 202977"/>
                <a:gd name="connsiteY18" fmla="*/ 5429 h 239267"/>
                <a:gd name="connsiteX19" fmla="*/ 104299 w 202977"/>
                <a:gd name="connsiteY19" fmla="*/ 0 h 239267"/>
                <a:gd name="connsiteX20" fmla="*/ 178880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5 w 202977"/>
                <a:gd name="connsiteY27" fmla="*/ 211169 h 239267"/>
                <a:gd name="connsiteX28" fmla="*/ 122968 w 202977"/>
                <a:gd name="connsiteY28" fmla="*/ 206788 h 239267"/>
                <a:gd name="connsiteX29" fmla="*/ 147257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9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9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3" y="99155"/>
                    <a:pt x="58674" y="95917"/>
                  </a:cubicBezTo>
                  <a:cubicBezTo>
                    <a:pt x="70771" y="92678"/>
                    <a:pt x="84011" y="90964"/>
                    <a:pt x="98584" y="90964"/>
                  </a:cubicBezTo>
                  <a:cubicBezTo>
                    <a:pt x="113157" y="90964"/>
                    <a:pt x="126301" y="91821"/>
                    <a:pt x="137160" y="93631"/>
                  </a:cubicBezTo>
                  <a:cubicBezTo>
                    <a:pt x="148019" y="95440"/>
                    <a:pt x="158687" y="97822"/>
                    <a:pt x="169069" y="100774"/>
                  </a:cubicBezTo>
                  <a:lnTo>
                    <a:pt x="169069" y="93726"/>
                  </a:lnTo>
                  <a:cubicBezTo>
                    <a:pt x="169069" y="73342"/>
                    <a:pt x="163068" y="57912"/>
                    <a:pt x="151162" y="47339"/>
                  </a:cubicBezTo>
                  <a:cubicBezTo>
                    <a:pt x="139256" y="36862"/>
                    <a:pt x="122492" y="31623"/>
                    <a:pt x="100679" y="31623"/>
                  </a:cubicBezTo>
                  <a:cubicBezTo>
                    <a:pt x="86963" y="31623"/>
                    <a:pt x="74581" y="33147"/>
                    <a:pt x="63437" y="36100"/>
                  </a:cubicBezTo>
                  <a:cubicBezTo>
                    <a:pt x="52292" y="39053"/>
                    <a:pt x="41339" y="43053"/>
                    <a:pt x="30671" y="48196"/>
                  </a:cubicBezTo>
                  <a:lnTo>
                    <a:pt x="20384" y="19907"/>
                  </a:lnTo>
                  <a:cubicBezTo>
                    <a:pt x="33147" y="13906"/>
                    <a:pt x="46101" y="9049"/>
                    <a:pt x="59246" y="5429"/>
                  </a:cubicBezTo>
                  <a:cubicBezTo>
                    <a:pt x="72295" y="1810"/>
                    <a:pt x="87344" y="0"/>
                    <a:pt x="104299" y="0"/>
                  </a:cubicBezTo>
                  <a:cubicBezTo>
                    <a:pt x="137065" y="0"/>
                    <a:pt x="161925" y="8477"/>
                    <a:pt x="178880"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99" y="239173"/>
                    <a:pt x="86011" y="239173"/>
                  </a:cubicBezTo>
                  <a:close/>
                  <a:moveTo>
                    <a:pt x="93155" y="211169"/>
                  </a:moveTo>
                  <a:cubicBezTo>
                    <a:pt x="103823" y="211169"/>
                    <a:pt x="113728" y="209740"/>
                    <a:pt x="122968" y="206788"/>
                  </a:cubicBezTo>
                  <a:cubicBezTo>
                    <a:pt x="132207" y="203835"/>
                    <a:pt x="140208" y="199644"/>
                    <a:pt x="147257"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9" y="121444"/>
                  </a:cubicBezTo>
                  <a:cubicBezTo>
                    <a:pt x="129445" y="119348"/>
                    <a:pt x="116776"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244" y="190500"/>
                    <a:pt x="47435" y="195358"/>
                    <a:pt x="52769" y="199263"/>
                  </a:cubicBezTo>
                  <a:cubicBezTo>
                    <a:pt x="58103" y="203073"/>
                    <a:pt x="64294" y="206026"/>
                    <a:pt x="71247" y="208121"/>
                  </a:cubicBezTo>
                  <a:cubicBezTo>
                    <a:pt x="78200" y="210217"/>
                    <a:pt x="85535"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34" name="Freeform: Shape 33">
              <a:extLst>
                <a:ext uri="{FF2B5EF4-FFF2-40B4-BE49-F238E27FC236}">
                  <a16:creationId xmlns:a16="http://schemas.microsoft.com/office/drawing/2014/main" id="{E8F0E593-8DF9-439C-0EE3-6CC2C5599B4B}"/>
                </a:ext>
              </a:extLst>
            </p:cNvPr>
            <p:cNvSpPr/>
            <p:nvPr/>
          </p:nvSpPr>
          <p:spPr>
            <a:xfrm>
              <a:off x="5331227"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9" y="303276"/>
                    <a:pt x="71438" y="300895"/>
                  </a:cubicBezTo>
                  <a:cubicBezTo>
                    <a:pt x="63437"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2"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5" name="Freeform: Shape 34">
              <a:extLst>
                <a:ext uri="{FF2B5EF4-FFF2-40B4-BE49-F238E27FC236}">
                  <a16:creationId xmlns:a16="http://schemas.microsoft.com/office/drawing/2014/main" id="{B010FA93-4D16-EACB-F346-B2BC35B1E3DC}"/>
                </a:ext>
              </a:extLst>
            </p:cNvPr>
            <p:cNvSpPr/>
            <p:nvPr/>
          </p:nvSpPr>
          <p:spPr>
            <a:xfrm>
              <a:off x="5381845"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191 w 39242"/>
                <a:gd name="connsiteY5" fmla="*/ 88392 h 319182"/>
                <a:gd name="connsiteX6" fmla="*/ 36576 w 39242"/>
                <a:gd name="connsiteY6" fmla="*/ 88392 h 319182"/>
                <a:gd name="connsiteX7" fmla="*/ 36576 w 39242"/>
                <a:gd name="connsiteY7" fmla="*/ 319183 h 319182"/>
                <a:gd name="connsiteX8" fmla="*/ 2191 w 39242"/>
                <a:gd name="connsiteY8" fmla="*/ 319183 h 319182"/>
                <a:gd name="connsiteX9" fmla="*/ 2191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191" y="88392"/>
                  </a:moveTo>
                  <a:lnTo>
                    <a:pt x="36576" y="88392"/>
                  </a:lnTo>
                  <a:lnTo>
                    <a:pt x="36576" y="319183"/>
                  </a:lnTo>
                  <a:lnTo>
                    <a:pt x="2191" y="319183"/>
                  </a:lnTo>
                  <a:lnTo>
                    <a:pt x="2191" y="88392"/>
                  </a:lnTo>
                  <a:close/>
                </a:path>
              </a:pathLst>
            </a:custGeom>
            <a:solidFill>
              <a:srgbClr val="44505E"/>
            </a:solidFill>
            <a:ln w="9525" cap="flat">
              <a:noFill/>
              <a:prstDash val="solid"/>
              <a:miter/>
            </a:ln>
          </p:spPr>
          <p:txBody>
            <a:bodyPr rtlCol="0" anchor="ctr"/>
            <a:lstStyle/>
            <a:p>
              <a:endParaRPr lang="pt-BR" noProof="0"/>
            </a:p>
          </p:txBody>
        </p:sp>
        <p:sp>
          <p:nvSpPr>
            <p:cNvPr id="36" name="Freeform: Shape 35">
              <a:extLst>
                <a:ext uri="{FF2B5EF4-FFF2-40B4-BE49-F238E27FC236}">
                  <a16:creationId xmlns:a16="http://schemas.microsoft.com/office/drawing/2014/main" id="{0E1DFF9E-2E7F-07A2-4BD6-80BB417AF411}"/>
                </a:ext>
              </a:extLst>
            </p:cNvPr>
            <p:cNvSpPr/>
            <p:nvPr/>
          </p:nvSpPr>
          <p:spPr>
            <a:xfrm>
              <a:off x="5406076"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8" y="303276"/>
                    <a:pt x="71438" y="300895"/>
                  </a:cubicBezTo>
                  <a:cubicBezTo>
                    <a:pt x="63436"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1"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7" name="Freeform: Shape 36">
              <a:extLst>
                <a:ext uri="{FF2B5EF4-FFF2-40B4-BE49-F238E27FC236}">
                  <a16:creationId xmlns:a16="http://schemas.microsoft.com/office/drawing/2014/main" id="{A9DC6E3F-7AA6-8BEA-3640-A0EAEDBFD18E}"/>
                </a:ext>
              </a:extLst>
            </p:cNvPr>
            <p:cNvSpPr/>
            <p:nvPr/>
          </p:nvSpPr>
          <p:spPr>
            <a:xfrm>
              <a:off x="5455545" y="925297"/>
              <a:ext cx="50594" cy="59238"/>
            </a:xfrm>
            <a:custGeom>
              <a:avLst/>
              <a:gdLst>
                <a:gd name="connsiteX0" fmla="*/ 88392 w 201263"/>
                <a:gd name="connsiteY0" fmla="*/ 235648 h 235648"/>
                <a:gd name="connsiteX1" fmla="*/ 51149 w 201263"/>
                <a:gd name="connsiteY1" fmla="*/ 228981 h 235648"/>
                <a:gd name="connsiteX2" fmla="*/ 23431 w 201263"/>
                <a:gd name="connsiteY2" fmla="*/ 210026 h 235648"/>
                <a:gd name="connsiteX3" fmla="*/ 6001 w 201263"/>
                <a:gd name="connsiteY3" fmla="*/ 180784 h 235648"/>
                <a:gd name="connsiteX4" fmla="*/ 0 w 201263"/>
                <a:gd name="connsiteY4" fmla="*/ 143256 h 235648"/>
                <a:gd name="connsiteX5" fmla="*/ 0 w 201263"/>
                <a:gd name="connsiteY5" fmla="*/ 0 h 235648"/>
                <a:gd name="connsiteX6" fmla="*/ 34385 w 201263"/>
                <a:gd name="connsiteY6" fmla="*/ 0 h 235648"/>
                <a:gd name="connsiteX7" fmla="*/ 34385 w 201263"/>
                <a:gd name="connsiteY7" fmla="*/ 134493 h 235648"/>
                <a:gd name="connsiteX8" fmla="*/ 50864 w 201263"/>
                <a:gd name="connsiteY8" fmla="*/ 185261 h 235648"/>
                <a:gd name="connsiteX9" fmla="*/ 98203 w 201263"/>
                <a:gd name="connsiteY9" fmla="*/ 203930 h 235648"/>
                <a:gd name="connsiteX10" fmla="*/ 125635 w 201263"/>
                <a:gd name="connsiteY10" fmla="*/ 198787 h 235648"/>
                <a:gd name="connsiteX11" fmla="*/ 147542 w 201263"/>
                <a:gd name="connsiteY11" fmla="*/ 184118 h 235648"/>
                <a:gd name="connsiteX12" fmla="*/ 162020 w 201263"/>
                <a:gd name="connsiteY12" fmla="*/ 161163 h 235648"/>
                <a:gd name="connsiteX13" fmla="*/ 167354 w 201263"/>
                <a:gd name="connsiteY13" fmla="*/ 131826 h 235648"/>
                <a:gd name="connsiteX14" fmla="*/ 167354 w 201263"/>
                <a:gd name="connsiteY14" fmla="*/ 0 h 235648"/>
                <a:gd name="connsiteX15" fmla="*/ 201263 w 201263"/>
                <a:gd name="connsiteY15" fmla="*/ 0 h 235648"/>
                <a:gd name="connsiteX16" fmla="*/ 201263 w 201263"/>
                <a:gd name="connsiteY16" fmla="*/ 230791 h 235648"/>
                <a:gd name="connsiteX17" fmla="*/ 167354 w 201263"/>
                <a:gd name="connsiteY17" fmla="*/ 230791 h 235648"/>
                <a:gd name="connsiteX18" fmla="*/ 167354 w 201263"/>
                <a:gd name="connsiteY18" fmla="*/ 190595 h 235648"/>
                <a:gd name="connsiteX19" fmla="*/ 136969 w 201263"/>
                <a:gd name="connsiteY19" fmla="*/ 222504 h 235648"/>
                <a:gd name="connsiteX20" fmla="*/ 88297 w 201263"/>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263" h="235648">
                  <a:moveTo>
                    <a:pt x="88392" y="235648"/>
                  </a:moveTo>
                  <a:cubicBezTo>
                    <a:pt x="74390" y="235648"/>
                    <a:pt x="62008" y="233363"/>
                    <a:pt x="51149" y="228981"/>
                  </a:cubicBezTo>
                  <a:cubicBezTo>
                    <a:pt x="40291" y="224504"/>
                    <a:pt x="31052" y="218218"/>
                    <a:pt x="23431"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864" y="185261"/>
                  </a:cubicBezTo>
                  <a:cubicBezTo>
                    <a:pt x="61913" y="197739"/>
                    <a:pt x="77629" y="203930"/>
                    <a:pt x="98203" y="203930"/>
                  </a:cubicBezTo>
                  <a:cubicBezTo>
                    <a:pt x="108014" y="203930"/>
                    <a:pt x="117158" y="202216"/>
                    <a:pt x="125635" y="198787"/>
                  </a:cubicBezTo>
                  <a:cubicBezTo>
                    <a:pt x="134112" y="195358"/>
                    <a:pt x="141351" y="190500"/>
                    <a:pt x="147542" y="184118"/>
                  </a:cubicBezTo>
                  <a:cubicBezTo>
                    <a:pt x="153638" y="177736"/>
                    <a:pt x="158496" y="170116"/>
                    <a:pt x="162020" y="161163"/>
                  </a:cubicBezTo>
                  <a:cubicBezTo>
                    <a:pt x="165640" y="152305"/>
                    <a:pt x="167354" y="142494"/>
                    <a:pt x="167354" y="131826"/>
                  </a:cubicBezTo>
                  <a:lnTo>
                    <a:pt x="167354" y="0"/>
                  </a:lnTo>
                  <a:lnTo>
                    <a:pt x="201263" y="0"/>
                  </a:lnTo>
                  <a:lnTo>
                    <a:pt x="201263" y="230791"/>
                  </a:lnTo>
                  <a:lnTo>
                    <a:pt x="167354" y="230791"/>
                  </a:lnTo>
                  <a:lnTo>
                    <a:pt x="167354" y="190595"/>
                  </a:lnTo>
                  <a:cubicBezTo>
                    <a:pt x="159639" y="203073"/>
                    <a:pt x="149447" y="213741"/>
                    <a:pt x="136969" y="222504"/>
                  </a:cubicBezTo>
                  <a:cubicBezTo>
                    <a:pt x="124492" y="231267"/>
                    <a:pt x="108299" y="235648"/>
                    <a:pt x="88297" y="235648"/>
                  </a:cubicBezTo>
                  <a:close/>
                </a:path>
              </a:pathLst>
            </a:custGeom>
            <a:solidFill>
              <a:srgbClr val="44505E"/>
            </a:solidFill>
            <a:ln w="9525" cap="flat">
              <a:noFill/>
              <a:prstDash val="solid"/>
              <a:miter/>
            </a:ln>
          </p:spPr>
          <p:txBody>
            <a:bodyPr rtlCol="0" anchor="ctr"/>
            <a:lstStyle/>
            <a:p>
              <a:endParaRPr lang="pt-BR" noProof="0"/>
            </a:p>
          </p:txBody>
        </p:sp>
        <p:sp>
          <p:nvSpPr>
            <p:cNvPr id="38" name="Freeform: Shape 37">
              <a:extLst>
                <a:ext uri="{FF2B5EF4-FFF2-40B4-BE49-F238E27FC236}">
                  <a16:creationId xmlns:a16="http://schemas.microsoft.com/office/drawing/2014/main" id="{7AF3DAE5-4F03-84BB-6E2C-AA3FBFEF0237}"/>
                </a:ext>
              </a:extLst>
            </p:cNvPr>
            <p:cNvSpPr/>
            <p:nvPr/>
          </p:nvSpPr>
          <p:spPr>
            <a:xfrm>
              <a:off x="5522205" y="901353"/>
              <a:ext cx="58567" cy="83182"/>
            </a:xfrm>
            <a:custGeom>
              <a:avLst/>
              <a:gdLst>
                <a:gd name="connsiteX0" fmla="*/ 110204 w 232981"/>
                <a:gd name="connsiteY0" fmla="*/ 330898 h 330898"/>
                <a:gd name="connsiteX1" fmla="*/ 69628 w 232981"/>
                <a:gd name="connsiteY1" fmla="*/ 322897 h 330898"/>
                <a:gd name="connsiteX2" fmla="*/ 34385 w 232981"/>
                <a:gd name="connsiteY2" fmla="*/ 299466 h 330898"/>
                <a:gd name="connsiteX3" fmla="*/ 9334 w 232981"/>
                <a:gd name="connsiteY3" fmla="*/ 261938 h 330898"/>
                <a:gd name="connsiteX4" fmla="*/ 0 w 232981"/>
                <a:gd name="connsiteY4" fmla="*/ 211264 h 330898"/>
                <a:gd name="connsiteX5" fmla="*/ 0 w 232981"/>
                <a:gd name="connsiteY5" fmla="*/ 210407 h 330898"/>
                <a:gd name="connsiteX6" fmla="*/ 9334 w 232981"/>
                <a:gd name="connsiteY6" fmla="*/ 159925 h 330898"/>
                <a:gd name="connsiteX7" fmla="*/ 34385 w 232981"/>
                <a:gd name="connsiteY7" fmla="*/ 122206 h 330898"/>
                <a:gd name="connsiteX8" fmla="*/ 69628 w 232981"/>
                <a:gd name="connsiteY8" fmla="*/ 98488 h 330898"/>
                <a:gd name="connsiteX9" fmla="*/ 110204 w 232981"/>
                <a:gd name="connsiteY9" fmla="*/ 90202 h 330898"/>
                <a:gd name="connsiteX10" fmla="*/ 139636 w 232981"/>
                <a:gd name="connsiteY10" fmla="*/ 94202 h 330898"/>
                <a:gd name="connsiteX11" fmla="*/ 163735 w 232981"/>
                <a:gd name="connsiteY11" fmla="*/ 104870 h 330898"/>
                <a:gd name="connsiteX12" fmla="*/ 183166 w 232981"/>
                <a:gd name="connsiteY12" fmla="*/ 120491 h 330898"/>
                <a:gd name="connsiteX13" fmla="*/ 198596 w 232981"/>
                <a:gd name="connsiteY13" fmla="*/ 139255 h 330898"/>
                <a:gd name="connsiteX14" fmla="*/ 198596 w 232981"/>
                <a:gd name="connsiteY14" fmla="*/ 0 h 330898"/>
                <a:gd name="connsiteX15" fmla="*/ 232981 w 232981"/>
                <a:gd name="connsiteY15" fmla="*/ 0 h 330898"/>
                <a:gd name="connsiteX16" fmla="*/ 232981 w 232981"/>
                <a:gd name="connsiteY16" fmla="*/ 325850 h 330898"/>
                <a:gd name="connsiteX17" fmla="*/ 198596 w 232981"/>
                <a:gd name="connsiteY17" fmla="*/ 325850 h 330898"/>
                <a:gd name="connsiteX18" fmla="*/ 198596 w 232981"/>
                <a:gd name="connsiteY18" fmla="*/ 279463 h 330898"/>
                <a:gd name="connsiteX19" fmla="*/ 182785 w 232981"/>
                <a:gd name="connsiteY19" fmla="*/ 299085 h 330898"/>
                <a:gd name="connsiteX20" fmla="*/ 163354 w 232981"/>
                <a:gd name="connsiteY20" fmla="*/ 315658 h 330898"/>
                <a:gd name="connsiteX21" fmla="*/ 139446 w 232981"/>
                <a:gd name="connsiteY21" fmla="*/ 326803 h 330898"/>
                <a:gd name="connsiteX22" fmla="*/ 110204 w 232981"/>
                <a:gd name="connsiteY22" fmla="*/ 330803 h 330898"/>
                <a:gd name="connsiteX23" fmla="*/ 116491 w 232981"/>
                <a:gd name="connsiteY23" fmla="*/ 300133 h 330898"/>
                <a:gd name="connsiteX24" fmla="*/ 147542 w 232981"/>
                <a:gd name="connsiteY24" fmla="*/ 293656 h 330898"/>
                <a:gd name="connsiteX25" fmla="*/ 174307 w 232981"/>
                <a:gd name="connsiteY25" fmla="*/ 275368 h 330898"/>
                <a:gd name="connsiteX26" fmla="*/ 193072 w 232981"/>
                <a:gd name="connsiteY26" fmla="*/ 247269 h 330898"/>
                <a:gd name="connsiteX27" fmla="*/ 200025 w 232981"/>
                <a:gd name="connsiteY27" fmla="*/ 210883 h 330898"/>
                <a:gd name="connsiteX28" fmla="*/ 200025 w 232981"/>
                <a:gd name="connsiteY28" fmla="*/ 210026 h 330898"/>
                <a:gd name="connsiteX29" fmla="*/ 193072 w 232981"/>
                <a:gd name="connsiteY29" fmla="*/ 173641 h 330898"/>
                <a:gd name="connsiteX30" fmla="*/ 174307 w 232981"/>
                <a:gd name="connsiteY30" fmla="*/ 145732 h 330898"/>
                <a:gd name="connsiteX31" fmla="*/ 147542 w 232981"/>
                <a:gd name="connsiteY31" fmla="*/ 127635 h 330898"/>
                <a:gd name="connsiteX32" fmla="*/ 116491 w 232981"/>
                <a:gd name="connsiteY32" fmla="*/ 121158 h 330898"/>
                <a:gd name="connsiteX33" fmla="*/ 84772 w 232981"/>
                <a:gd name="connsiteY33" fmla="*/ 127159 h 330898"/>
                <a:gd name="connsiteX34" fmla="*/ 59150 w 232981"/>
                <a:gd name="connsiteY34" fmla="*/ 144589 h 330898"/>
                <a:gd name="connsiteX35" fmla="*/ 41719 w 232981"/>
                <a:gd name="connsiteY35" fmla="*/ 172498 h 330898"/>
                <a:gd name="connsiteX36" fmla="*/ 35242 w 232981"/>
                <a:gd name="connsiteY36" fmla="*/ 210026 h 330898"/>
                <a:gd name="connsiteX37" fmla="*/ 35242 w 232981"/>
                <a:gd name="connsiteY37" fmla="*/ 210883 h 330898"/>
                <a:gd name="connsiteX38" fmla="*/ 41719 w 232981"/>
                <a:gd name="connsiteY38" fmla="*/ 247936 h 330898"/>
                <a:gd name="connsiteX39" fmla="*/ 59341 w 232981"/>
                <a:gd name="connsiteY39" fmla="*/ 276034 h 330898"/>
                <a:gd name="connsiteX40" fmla="*/ 85249 w 232981"/>
                <a:gd name="connsiteY40" fmla="*/ 293941 h 330898"/>
                <a:gd name="connsiteX41" fmla="*/ 116491 w 23298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30898">
                  <a:moveTo>
                    <a:pt x="110204" y="330898"/>
                  </a:moveTo>
                  <a:cubicBezTo>
                    <a:pt x="96202" y="330898"/>
                    <a:pt x="82677" y="328231"/>
                    <a:pt x="69628" y="322897"/>
                  </a:cubicBezTo>
                  <a:cubicBezTo>
                    <a:pt x="56578" y="317563"/>
                    <a:pt x="44767" y="309753"/>
                    <a:pt x="34385" y="299466"/>
                  </a:cubicBezTo>
                  <a:cubicBezTo>
                    <a:pt x="24003" y="289179"/>
                    <a:pt x="15621" y="276701"/>
                    <a:pt x="9334" y="261938"/>
                  </a:cubicBezTo>
                  <a:cubicBezTo>
                    <a:pt x="3048" y="247174"/>
                    <a:pt x="0" y="230314"/>
                    <a:pt x="0" y="211264"/>
                  </a:cubicBezTo>
                  <a:lnTo>
                    <a:pt x="0" y="210407"/>
                  </a:lnTo>
                  <a:cubicBezTo>
                    <a:pt x="0" y="191643"/>
                    <a:pt x="3143" y="174879"/>
                    <a:pt x="9334" y="159925"/>
                  </a:cubicBezTo>
                  <a:cubicBezTo>
                    <a:pt x="15621" y="145066"/>
                    <a:pt x="23908" y="132493"/>
                    <a:pt x="34385" y="122206"/>
                  </a:cubicBezTo>
                  <a:cubicBezTo>
                    <a:pt x="44767" y="111919"/>
                    <a:pt x="56578" y="104013"/>
                    <a:pt x="69628" y="98488"/>
                  </a:cubicBezTo>
                  <a:cubicBezTo>
                    <a:pt x="82677" y="92964"/>
                    <a:pt x="96298" y="90202"/>
                    <a:pt x="110204" y="90202"/>
                  </a:cubicBezTo>
                  <a:cubicBezTo>
                    <a:pt x="120967" y="90202"/>
                    <a:pt x="130778" y="91535"/>
                    <a:pt x="139636" y="94202"/>
                  </a:cubicBezTo>
                  <a:cubicBezTo>
                    <a:pt x="148590" y="96869"/>
                    <a:pt x="156591" y="100489"/>
                    <a:pt x="163735" y="104870"/>
                  </a:cubicBezTo>
                  <a:cubicBezTo>
                    <a:pt x="170878" y="109347"/>
                    <a:pt x="177356" y="114586"/>
                    <a:pt x="183166" y="120491"/>
                  </a:cubicBezTo>
                  <a:cubicBezTo>
                    <a:pt x="188976" y="126492"/>
                    <a:pt x="194119" y="132683"/>
                    <a:pt x="198596" y="139255"/>
                  </a:cubicBezTo>
                  <a:lnTo>
                    <a:pt x="198596" y="0"/>
                  </a:lnTo>
                  <a:lnTo>
                    <a:pt x="232981" y="0"/>
                  </a:lnTo>
                  <a:lnTo>
                    <a:pt x="232981" y="325850"/>
                  </a:lnTo>
                  <a:lnTo>
                    <a:pt x="198596" y="325850"/>
                  </a:lnTo>
                  <a:lnTo>
                    <a:pt x="198596" y="279463"/>
                  </a:lnTo>
                  <a:cubicBezTo>
                    <a:pt x="193834" y="286321"/>
                    <a:pt x="188595" y="292894"/>
                    <a:pt x="182785" y="299085"/>
                  </a:cubicBezTo>
                  <a:cubicBezTo>
                    <a:pt x="176974" y="305371"/>
                    <a:pt x="170498" y="310896"/>
                    <a:pt x="163354" y="315658"/>
                  </a:cubicBezTo>
                  <a:cubicBezTo>
                    <a:pt x="156210" y="320421"/>
                    <a:pt x="148209" y="324136"/>
                    <a:pt x="139446" y="326803"/>
                  </a:cubicBezTo>
                  <a:cubicBezTo>
                    <a:pt x="130683" y="329470"/>
                    <a:pt x="120967" y="330803"/>
                    <a:pt x="110204" y="330803"/>
                  </a:cubicBezTo>
                  <a:close/>
                  <a:moveTo>
                    <a:pt x="116491" y="300133"/>
                  </a:moveTo>
                  <a:cubicBezTo>
                    <a:pt x="127159" y="300133"/>
                    <a:pt x="137541" y="297942"/>
                    <a:pt x="147542" y="293656"/>
                  </a:cubicBezTo>
                  <a:cubicBezTo>
                    <a:pt x="157544" y="289369"/>
                    <a:pt x="166402" y="283273"/>
                    <a:pt x="174307" y="275368"/>
                  </a:cubicBezTo>
                  <a:cubicBezTo>
                    <a:pt x="182213" y="267462"/>
                    <a:pt x="188404" y="258127"/>
                    <a:pt x="193072" y="247269"/>
                  </a:cubicBezTo>
                  <a:cubicBezTo>
                    <a:pt x="197644" y="236410"/>
                    <a:pt x="200025" y="224314"/>
                    <a:pt x="200025" y="210883"/>
                  </a:cubicBezTo>
                  <a:lnTo>
                    <a:pt x="200025" y="210026"/>
                  </a:lnTo>
                  <a:cubicBezTo>
                    <a:pt x="200025" y="196596"/>
                    <a:pt x="197739" y="184499"/>
                    <a:pt x="193072" y="173641"/>
                  </a:cubicBezTo>
                  <a:cubicBezTo>
                    <a:pt x="188500" y="162782"/>
                    <a:pt x="182213" y="153448"/>
                    <a:pt x="174307" y="145732"/>
                  </a:cubicBezTo>
                  <a:cubicBezTo>
                    <a:pt x="166402" y="138017"/>
                    <a:pt x="157448" y="132016"/>
                    <a:pt x="147542" y="127635"/>
                  </a:cubicBezTo>
                  <a:cubicBezTo>
                    <a:pt x="137541" y="123349"/>
                    <a:pt x="127254" y="121158"/>
                    <a:pt x="116491" y="121158"/>
                  </a:cubicBezTo>
                  <a:cubicBezTo>
                    <a:pt x="105156" y="121158"/>
                    <a:pt x="94583" y="123158"/>
                    <a:pt x="84772" y="127159"/>
                  </a:cubicBezTo>
                  <a:cubicBezTo>
                    <a:pt x="74962" y="131159"/>
                    <a:pt x="66389" y="136969"/>
                    <a:pt x="59150" y="144589"/>
                  </a:cubicBezTo>
                  <a:cubicBezTo>
                    <a:pt x="51816" y="152114"/>
                    <a:pt x="46101" y="161449"/>
                    <a:pt x="41719" y="172498"/>
                  </a:cubicBezTo>
                  <a:cubicBezTo>
                    <a:pt x="37433" y="183451"/>
                    <a:pt x="35242" y="196024"/>
                    <a:pt x="35242" y="210026"/>
                  </a:cubicBezTo>
                  <a:lnTo>
                    <a:pt x="35242" y="210883"/>
                  </a:lnTo>
                  <a:cubicBezTo>
                    <a:pt x="35242" y="224599"/>
                    <a:pt x="37433" y="236982"/>
                    <a:pt x="41719" y="247936"/>
                  </a:cubicBezTo>
                  <a:cubicBezTo>
                    <a:pt x="46006" y="258984"/>
                    <a:pt x="51911" y="268319"/>
                    <a:pt x="59341" y="276034"/>
                  </a:cubicBezTo>
                  <a:cubicBezTo>
                    <a:pt x="66770" y="283750"/>
                    <a:pt x="75438" y="289750"/>
                    <a:pt x="85249" y="293941"/>
                  </a:cubicBezTo>
                  <a:cubicBezTo>
                    <a:pt x="95059" y="298132"/>
                    <a:pt x="105442" y="300228"/>
                    <a:pt x="116491" y="300228"/>
                  </a:cubicBezTo>
                  <a:close/>
                </a:path>
              </a:pathLst>
            </a:custGeom>
            <a:solidFill>
              <a:srgbClr val="44505E"/>
            </a:solidFill>
            <a:ln w="9525" cap="flat">
              <a:noFill/>
              <a:prstDash val="solid"/>
              <a:miter/>
            </a:ln>
          </p:spPr>
          <p:txBody>
            <a:bodyPr rtlCol="0" anchor="ctr"/>
            <a:lstStyle/>
            <a:p>
              <a:endParaRPr lang="pt-BR" noProof="0"/>
            </a:p>
          </p:txBody>
        </p:sp>
        <p:sp>
          <p:nvSpPr>
            <p:cNvPr id="39" name="Freeform: Shape 38">
              <a:extLst>
                <a:ext uri="{FF2B5EF4-FFF2-40B4-BE49-F238E27FC236}">
                  <a16:creationId xmlns:a16="http://schemas.microsoft.com/office/drawing/2014/main" id="{9D964F92-3F71-2D63-9005-B9CF0F99D288}"/>
                </a:ext>
              </a:extLst>
            </p:cNvPr>
            <p:cNvSpPr/>
            <p:nvPr/>
          </p:nvSpPr>
          <p:spPr>
            <a:xfrm>
              <a:off x="5596504"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6963 w 218217"/>
                <a:gd name="connsiteY3" fmla="*/ 206026 h 241077"/>
                <a:gd name="connsiteX4" fmla="*/ 116015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8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1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452 w 218217"/>
                <a:gd name="connsiteY25" fmla="*/ 106299 h 241077"/>
                <a:gd name="connsiteX26" fmla="*/ 176784 w 218217"/>
                <a:gd name="connsiteY26" fmla="*/ 76771 h 241077"/>
                <a:gd name="connsiteX27" fmla="*/ 162306 w 218217"/>
                <a:gd name="connsiteY27" fmla="*/ 52101 h 241077"/>
                <a:gd name="connsiteX28" fmla="*/ 140018 w 218217"/>
                <a:gd name="connsiteY28" fmla="*/ 35242 h 241077"/>
                <a:gd name="connsiteX29" fmla="*/ 109919 w 218217"/>
                <a:gd name="connsiteY29" fmla="*/ 29051 h 241077"/>
                <a:gd name="connsiteX30" fmla="*/ 82201 w 218217"/>
                <a:gd name="connsiteY30" fmla="*/ 34766 h 241077"/>
                <a:gd name="connsiteX31" fmla="*/ 59436 w 218217"/>
                <a:gd name="connsiteY31" fmla="*/ 50959 h 241077"/>
                <a:gd name="connsiteX32" fmla="*/ 43148 w 218217"/>
                <a:gd name="connsiteY32" fmla="*/ 75628 h 241077"/>
                <a:gd name="connsiteX33" fmla="*/ 34862 w 218217"/>
                <a:gd name="connsiteY33" fmla="*/ 106204 h 241077"/>
                <a:gd name="connsiteX34" fmla="*/ 183547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724" y="202597"/>
                    <a:pt x="86963" y="206026"/>
                  </a:cubicBezTo>
                  <a:cubicBezTo>
                    <a:pt x="96203" y="209455"/>
                    <a:pt x="105823" y="211169"/>
                    <a:pt x="116015" y="211169"/>
                  </a:cubicBezTo>
                  <a:cubicBezTo>
                    <a:pt x="132112" y="211169"/>
                    <a:pt x="145828" y="208216"/>
                    <a:pt x="157353" y="202216"/>
                  </a:cubicBezTo>
                  <a:cubicBezTo>
                    <a:pt x="168783" y="196310"/>
                    <a:pt x="179261" y="188404"/>
                    <a:pt x="188786" y="178594"/>
                  </a:cubicBezTo>
                  <a:lnTo>
                    <a:pt x="210217" y="197834"/>
                  </a:lnTo>
                  <a:cubicBezTo>
                    <a:pt x="198596" y="210979"/>
                    <a:pt x="185357" y="221361"/>
                    <a:pt x="170498" y="229267"/>
                  </a:cubicBezTo>
                  <a:cubicBezTo>
                    <a:pt x="155639"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679" y="0"/>
                    <a:pt x="110681"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452" y="106299"/>
                  </a:moveTo>
                  <a:cubicBezTo>
                    <a:pt x="182594" y="95917"/>
                    <a:pt x="180308" y="86106"/>
                    <a:pt x="176784" y="76771"/>
                  </a:cubicBezTo>
                  <a:cubicBezTo>
                    <a:pt x="173165" y="67437"/>
                    <a:pt x="168402" y="59245"/>
                    <a:pt x="162306" y="52101"/>
                  </a:cubicBezTo>
                  <a:cubicBezTo>
                    <a:pt x="156210" y="44958"/>
                    <a:pt x="148781" y="39338"/>
                    <a:pt x="140018" y="35242"/>
                  </a:cubicBezTo>
                  <a:cubicBezTo>
                    <a:pt x="131254" y="31147"/>
                    <a:pt x="121158" y="29051"/>
                    <a:pt x="109919" y="29051"/>
                  </a:cubicBezTo>
                  <a:cubicBezTo>
                    <a:pt x="100108" y="29051"/>
                    <a:pt x="90869" y="30956"/>
                    <a:pt x="82201" y="34766"/>
                  </a:cubicBezTo>
                  <a:cubicBezTo>
                    <a:pt x="73533" y="38671"/>
                    <a:pt x="66008" y="44005"/>
                    <a:pt x="59436" y="50959"/>
                  </a:cubicBezTo>
                  <a:cubicBezTo>
                    <a:pt x="52864" y="57912"/>
                    <a:pt x="47435" y="66103"/>
                    <a:pt x="43148" y="75628"/>
                  </a:cubicBezTo>
                  <a:cubicBezTo>
                    <a:pt x="38862" y="85058"/>
                    <a:pt x="36100" y="95345"/>
                    <a:pt x="34862" y="106204"/>
                  </a:cubicBezTo>
                  <a:lnTo>
                    <a:pt x="183547" y="106204"/>
                  </a:lnTo>
                  <a:close/>
                </a:path>
              </a:pathLst>
            </a:custGeom>
            <a:solidFill>
              <a:srgbClr val="44505E"/>
            </a:solidFill>
            <a:ln w="9525" cap="flat">
              <a:noFill/>
              <a:prstDash val="solid"/>
              <a:miter/>
            </a:ln>
          </p:spPr>
          <p:txBody>
            <a:bodyPr rtlCol="0" anchor="ctr"/>
            <a:lstStyle/>
            <a:p>
              <a:endParaRPr lang="pt-BR" noProof="0"/>
            </a:p>
          </p:txBody>
        </p:sp>
        <p:sp>
          <p:nvSpPr>
            <p:cNvPr id="40" name="Freeform: Shape 39">
              <a:extLst>
                <a:ext uri="{FF2B5EF4-FFF2-40B4-BE49-F238E27FC236}">
                  <a16:creationId xmlns:a16="http://schemas.microsoft.com/office/drawing/2014/main" id="{9E2E38C9-4875-0C0A-F989-2A10F80E1DFE}"/>
                </a:ext>
              </a:extLst>
            </p:cNvPr>
            <p:cNvSpPr/>
            <p:nvPr/>
          </p:nvSpPr>
          <p:spPr>
            <a:xfrm>
              <a:off x="5661680" y="924268"/>
              <a:ext cx="44656" cy="60195"/>
            </a:xfrm>
            <a:custGeom>
              <a:avLst/>
              <a:gdLst>
                <a:gd name="connsiteX0" fmla="*/ 95536 w 177641"/>
                <a:gd name="connsiteY0" fmla="*/ 239268 h 239458"/>
                <a:gd name="connsiteX1" fmla="*/ 45053 w 177641"/>
                <a:gd name="connsiteY1" fmla="*/ 230124 h 239458"/>
                <a:gd name="connsiteX2" fmla="*/ 0 w 177641"/>
                <a:gd name="connsiteY2" fmla="*/ 205359 h 239458"/>
                <a:gd name="connsiteX3" fmla="*/ 17431 w 177641"/>
                <a:gd name="connsiteY3" fmla="*/ 180785 h 239458"/>
                <a:gd name="connsiteX4" fmla="*/ 56483 w 177641"/>
                <a:gd name="connsiteY4" fmla="*/ 202692 h 239458"/>
                <a:gd name="connsiteX5" fmla="*/ 97346 w 177641"/>
                <a:gd name="connsiteY5" fmla="*/ 210217 h 239458"/>
                <a:gd name="connsiteX6" fmla="*/ 131731 w 177641"/>
                <a:gd name="connsiteY6" fmla="*/ 200406 h 239458"/>
                <a:gd name="connsiteX7" fmla="*/ 145161 w 177641"/>
                <a:gd name="connsiteY7" fmla="*/ 173641 h 239458"/>
                <a:gd name="connsiteX8" fmla="*/ 145161 w 177641"/>
                <a:gd name="connsiteY8" fmla="*/ 172784 h 239458"/>
                <a:gd name="connsiteX9" fmla="*/ 140494 w 177641"/>
                <a:gd name="connsiteY9" fmla="*/ 158020 h 239458"/>
                <a:gd name="connsiteX10" fmla="*/ 127730 w 177641"/>
                <a:gd name="connsiteY10" fmla="*/ 147066 h 239458"/>
                <a:gd name="connsiteX11" fmla="*/ 109157 w 177641"/>
                <a:gd name="connsiteY11" fmla="*/ 138779 h 239458"/>
                <a:gd name="connsiteX12" fmla="*/ 87535 w 177641"/>
                <a:gd name="connsiteY12" fmla="*/ 132112 h 239458"/>
                <a:gd name="connsiteX13" fmla="*/ 60484 w 177641"/>
                <a:gd name="connsiteY13" fmla="*/ 123444 h 239458"/>
                <a:gd name="connsiteX14" fmla="*/ 35909 w 177641"/>
                <a:gd name="connsiteY14" fmla="*/ 111633 h 239458"/>
                <a:gd name="connsiteX15" fmla="*/ 18098 w 177641"/>
                <a:gd name="connsiteY15" fmla="*/ 93726 h 239458"/>
                <a:gd name="connsiteX16" fmla="*/ 11144 w 177641"/>
                <a:gd name="connsiteY16" fmla="*/ 66961 h 239458"/>
                <a:gd name="connsiteX17" fmla="*/ 11144 w 177641"/>
                <a:gd name="connsiteY17" fmla="*/ 66008 h 239458"/>
                <a:gd name="connsiteX18" fmla="*/ 16954 w 177641"/>
                <a:gd name="connsiteY18" fmla="*/ 39053 h 239458"/>
                <a:gd name="connsiteX19" fmla="*/ 33242 w 177641"/>
                <a:gd name="connsiteY19" fmla="*/ 18098 h 239458"/>
                <a:gd name="connsiteX20" fmla="*/ 58293 w 177641"/>
                <a:gd name="connsiteY20" fmla="*/ 4667 h 239458"/>
                <a:gd name="connsiteX21" fmla="*/ 89725 w 177641"/>
                <a:gd name="connsiteY21" fmla="*/ 0 h 239458"/>
                <a:gd name="connsiteX22" fmla="*/ 133064 w 177641"/>
                <a:gd name="connsiteY22" fmla="*/ 6953 h 239458"/>
                <a:gd name="connsiteX23" fmla="*/ 172784 w 177641"/>
                <a:gd name="connsiteY23" fmla="*/ 25527 h 239458"/>
                <a:gd name="connsiteX24" fmla="*/ 157163 w 177641"/>
                <a:gd name="connsiteY24" fmla="*/ 51435 h 239458"/>
                <a:gd name="connsiteX25" fmla="*/ 123444 w 177641"/>
                <a:gd name="connsiteY25" fmla="*/ 35147 h 239458"/>
                <a:gd name="connsiteX26" fmla="*/ 88868 w 177641"/>
                <a:gd name="connsiteY26" fmla="*/ 29146 h 239458"/>
                <a:gd name="connsiteX27" fmla="*/ 56293 w 177641"/>
                <a:gd name="connsiteY27" fmla="*/ 38767 h 239458"/>
                <a:gd name="connsiteX28" fmla="*/ 44196 w 177641"/>
                <a:gd name="connsiteY28" fmla="*/ 62675 h 239458"/>
                <a:gd name="connsiteX29" fmla="*/ 44196 w 177641"/>
                <a:gd name="connsiteY29" fmla="*/ 63627 h 239458"/>
                <a:gd name="connsiteX30" fmla="*/ 49149 w 177641"/>
                <a:gd name="connsiteY30" fmla="*/ 77724 h 239458"/>
                <a:gd name="connsiteX31" fmla="*/ 62294 w 177641"/>
                <a:gd name="connsiteY31" fmla="*/ 88202 h 239458"/>
                <a:gd name="connsiteX32" fmla="*/ 81248 w 177641"/>
                <a:gd name="connsiteY32" fmla="*/ 96203 h 239458"/>
                <a:gd name="connsiteX33" fmla="*/ 103537 w 177641"/>
                <a:gd name="connsiteY33" fmla="*/ 103346 h 239458"/>
                <a:gd name="connsiteX34" fmla="*/ 130112 w 177641"/>
                <a:gd name="connsiteY34" fmla="*/ 112300 h 239458"/>
                <a:gd name="connsiteX35" fmla="*/ 154019 w 177641"/>
                <a:gd name="connsiteY35" fmla="*/ 124778 h 239458"/>
                <a:gd name="connsiteX36" fmla="*/ 171164 w 177641"/>
                <a:gd name="connsiteY36" fmla="*/ 143066 h 239458"/>
                <a:gd name="connsiteX37" fmla="*/ 177641 w 177641"/>
                <a:gd name="connsiteY37" fmla="*/ 169450 h 239458"/>
                <a:gd name="connsiteX38" fmla="*/ 177641 w 177641"/>
                <a:gd name="connsiteY38" fmla="*/ 170307 h 239458"/>
                <a:gd name="connsiteX39" fmla="*/ 171164 w 177641"/>
                <a:gd name="connsiteY39" fmla="*/ 199549 h 239458"/>
                <a:gd name="connsiteX40" fmla="*/ 153734 w 177641"/>
                <a:gd name="connsiteY40" fmla="*/ 221171 h 239458"/>
                <a:gd name="connsiteX41" fmla="*/ 127825 w 177641"/>
                <a:gd name="connsiteY41" fmla="*/ 234791 h 239458"/>
                <a:gd name="connsiteX42" fmla="*/ 95441 w 177641"/>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641" h="239458">
                  <a:moveTo>
                    <a:pt x="95536" y="239268"/>
                  </a:moveTo>
                  <a:cubicBezTo>
                    <a:pt x="78867" y="239268"/>
                    <a:pt x="62008" y="236220"/>
                    <a:pt x="45053" y="230124"/>
                  </a:cubicBezTo>
                  <a:cubicBezTo>
                    <a:pt x="28099" y="224028"/>
                    <a:pt x="13049" y="215741"/>
                    <a:pt x="0" y="205359"/>
                  </a:cubicBezTo>
                  <a:lnTo>
                    <a:pt x="17431" y="180785"/>
                  </a:lnTo>
                  <a:cubicBezTo>
                    <a:pt x="29908"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542" y="162211"/>
                    <a:pt x="140494" y="158020"/>
                  </a:cubicBezTo>
                  <a:cubicBezTo>
                    <a:pt x="137350" y="153829"/>
                    <a:pt x="133160" y="150209"/>
                    <a:pt x="127730" y="147066"/>
                  </a:cubicBezTo>
                  <a:cubicBezTo>
                    <a:pt x="122396" y="143923"/>
                    <a:pt x="116205" y="141161"/>
                    <a:pt x="109157" y="138779"/>
                  </a:cubicBezTo>
                  <a:cubicBezTo>
                    <a:pt x="102203" y="136398"/>
                    <a:pt x="94964" y="134207"/>
                    <a:pt x="87535" y="132112"/>
                  </a:cubicBezTo>
                  <a:cubicBezTo>
                    <a:pt x="78581" y="129445"/>
                    <a:pt x="69628" y="126492"/>
                    <a:pt x="60484" y="123444"/>
                  </a:cubicBezTo>
                  <a:cubicBezTo>
                    <a:pt x="51435" y="120301"/>
                    <a:pt x="43244" y="116396"/>
                    <a:pt x="35909" y="111633"/>
                  </a:cubicBezTo>
                  <a:cubicBezTo>
                    <a:pt x="28575" y="106871"/>
                    <a:pt x="22670" y="100870"/>
                    <a:pt x="18098" y="93726"/>
                  </a:cubicBezTo>
                  <a:cubicBezTo>
                    <a:pt x="13525" y="86582"/>
                    <a:pt x="11144" y="77629"/>
                    <a:pt x="11144" y="66961"/>
                  </a:cubicBezTo>
                  <a:lnTo>
                    <a:pt x="11144" y="66008"/>
                  </a:lnTo>
                  <a:cubicBezTo>
                    <a:pt x="11144" y="56198"/>
                    <a:pt x="13049" y="47149"/>
                    <a:pt x="16954" y="39053"/>
                  </a:cubicBezTo>
                  <a:cubicBezTo>
                    <a:pt x="20860" y="30861"/>
                    <a:pt x="26289" y="23908"/>
                    <a:pt x="33242" y="18098"/>
                  </a:cubicBezTo>
                  <a:cubicBezTo>
                    <a:pt x="40196" y="12287"/>
                    <a:pt x="48578" y="7811"/>
                    <a:pt x="58293" y="4667"/>
                  </a:cubicBezTo>
                  <a:cubicBezTo>
                    <a:pt x="67913" y="1524"/>
                    <a:pt x="78486" y="0"/>
                    <a:pt x="89725" y="0"/>
                  </a:cubicBezTo>
                  <a:cubicBezTo>
                    <a:pt x="104013" y="0"/>
                    <a:pt x="118396" y="2286"/>
                    <a:pt x="133064" y="6953"/>
                  </a:cubicBezTo>
                  <a:cubicBezTo>
                    <a:pt x="147638" y="11621"/>
                    <a:pt x="160877" y="17717"/>
                    <a:pt x="172784" y="25527"/>
                  </a:cubicBezTo>
                  <a:lnTo>
                    <a:pt x="157163" y="51435"/>
                  </a:lnTo>
                  <a:cubicBezTo>
                    <a:pt x="146399" y="44577"/>
                    <a:pt x="135255" y="39148"/>
                    <a:pt x="123444" y="35147"/>
                  </a:cubicBezTo>
                  <a:cubicBezTo>
                    <a:pt x="111728" y="31147"/>
                    <a:pt x="100203" y="29146"/>
                    <a:pt x="88868" y="29146"/>
                  </a:cubicBezTo>
                  <a:cubicBezTo>
                    <a:pt x="75152" y="29146"/>
                    <a:pt x="64294" y="32385"/>
                    <a:pt x="56293" y="38767"/>
                  </a:cubicBezTo>
                  <a:cubicBezTo>
                    <a:pt x="48292" y="45149"/>
                    <a:pt x="44196" y="53150"/>
                    <a:pt x="44196" y="62675"/>
                  </a:cubicBezTo>
                  <a:lnTo>
                    <a:pt x="44196" y="63627"/>
                  </a:lnTo>
                  <a:cubicBezTo>
                    <a:pt x="44196" y="68961"/>
                    <a:pt x="45815" y="73628"/>
                    <a:pt x="49149" y="77724"/>
                  </a:cubicBezTo>
                  <a:cubicBezTo>
                    <a:pt x="52388" y="81725"/>
                    <a:pt x="56769" y="85249"/>
                    <a:pt x="62294" y="88202"/>
                  </a:cubicBezTo>
                  <a:cubicBezTo>
                    <a:pt x="67818" y="91154"/>
                    <a:pt x="74104" y="93821"/>
                    <a:pt x="81248" y="96203"/>
                  </a:cubicBezTo>
                  <a:cubicBezTo>
                    <a:pt x="88392" y="98584"/>
                    <a:pt x="95821" y="100965"/>
                    <a:pt x="103537" y="103346"/>
                  </a:cubicBezTo>
                  <a:cubicBezTo>
                    <a:pt x="112490" y="106013"/>
                    <a:pt x="121349" y="108966"/>
                    <a:pt x="130112" y="112300"/>
                  </a:cubicBezTo>
                  <a:cubicBezTo>
                    <a:pt x="138875" y="115538"/>
                    <a:pt x="146875" y="119729"/>
                    <a:pt x="154019" y="124778"/>
                  </a:cubicBezTo>
                  <a:cubicBezTo>
                    <a:pt x="161163" y="129826"/>
                    <a:pt x="166878" y="135922"/>
                    <a:pt x="171164" y="143066"/>
                  </a:cubicBezTo>
                  <a:cubicBezTo>
                    <a:pt x="175450" y="150209"/>
                    <a:pt x="177641" y="158972"/>
                    <a:pt x="177641" y="169450"/>
                  </a:cubicBezTo>
                  <a:lnTo>
                    <a:pt x="177641" y="170307"/>
                  </a:lnTo>
                  <a:cubicBezTo>
                    <a:pt x="177641" y="181356"/>
                    <a:pt x="175450" y="191071"/>
                    <a:pt x="171164" y="199549"/>
                  </a:cubicBezTo>
                  <a:cubicBezTo>
                    <a:pt x="166878" y="208026"/>
                    <a:pt x="161068" y="215265"/>
                    <a:pt x="153734" y="221171"/>
                  </a:cubicBezTo>
                  <a:cubicBezTo>
                    <a:pt x="146495" y="227171"/>
                    <a:pt x="137827" y="231648"/>
                    <a:pt x="127825" y="234791"/>
                  </a:cubicBezTo>
                  <a:cubicBezTo>
                    <a:pt x="117824" y="237935"/>
                    <a:pt x="107061" y="239459"/>
                    <a:pt x="95441" y="239459"/>
                  </a:cubicBezTo>
                  <a:close/>
                </a:path>
              </a:pathLst>
            </a:custGeom>
            <a:solidFill>
              <a:srgbClr val="44505E"/>
            </a:solidFill>
            <a:ln w="9525" cap="flat">
              <a:noFill/>
              <a:prstDash val="solid"/>
              <a:miter/>
            </a:ln>
          </p:spPr>
          <p:txBody>
            <a:bodyPr rtlCol="0" anchor="ctr"/>
            <a:lstStyle/>
            <a:p>
              <a:endParaRPr lang="pt-BR" noProof="0"/>
            </a:p>
          </p:txBody>
        </p:sp>
        <p:sp>
          <p:nvSpPr>
            <p:cNvPr id="41" name="Freeform: Shape 40">
              <a:extLst>
                <a:ext uri="{FF2B5EF4-FFF2-40B4-BE49-F238E27FC236}">
                  <a16:creationId xmlns:a16="http://schemas.microsoft.com/office/drawing/2014/main" id="{8B3A6339-5C4A-492A-F104-F2D2FB44F779}"/>
                </a:ext>
              </a:extLst>
            </p:cNvPr>
            <p:cNvSpPr/>
            <p:nvPr/>
          </p:nvSpPr>
          <p:spPr>
            <a:xfrm>
              <a:off x="5752668" y="924028"/>
              <a:ext cx="58567" cy="77196"/>
            </a:xfrm>
            <a:custGeom>
              <a:avLst/>
              <a:gdLst>
                <a:gd name="connsiteX0" fmla="*/ 198596 w 232981"/>
                <a:gd name="connsiteY0" fmla="*/ 189357 h 307085"/>
                <a:gd name="connsiteX1" fmla="*/ 182785 w 232981"/>
                <a:gd name="connsiteY1" fmla="*/ 208978 h 307085"/>
                <a:gd name="connsiteX2" fmla="*/ 163354 w 232981"/>
                <a:gd name="connsiteY2" fmla="*/ 225552 h 307085"/>
                <a:gd name="connsiteX3" fmla="*/ 139446 w 232981"/>
                <a:gd name="connsiteY3" fmla="*/ 236696 h 307085"/>
                <a:gd name="connsiteX4" fmla="*/ 110204 w 232981"/>
                <a:gd name="connsiteY4" fmla="*/ 240697 h 307085"/>
                <a:gd name="connsiteX5" fmla="*/ 69628 w 232981"/>
                <a:gd name="connsiteY5" fmla="*/ 232696 h 307085"/>
                <a:gd name="connsiteX6" fmla="*/ 34385 w 232981"/>
                <a:gd name="connsiteY6" fmla="*/ 209264 h 307085"/>
                <a:gd name="connsiteX7" fmla="*/ 9335 w 232981"/>
                <a:gd name="connsiteY7" fmla="*/ 171736 h 307085"/>
                <a:gd name="connsiteX8" fmla="*/ 0 w 232981"/>
                <a:gd name="connsiteY8" fmla="*/ 121063 h 307085"/>
                <a:gd name="connsiteX9" fmla="*/ 0 w 232981"/>
                <a:gd name="connsiteY9" fmla="*/ 120205 h 307085"/>
                <a:gd name="connsiteX10" fmla="*/ 9335 w 232981"/>
                <a:gd name="connsiteY10" fmla="*/ 69723 h 307085"/>
                <a:gd name="connsiteX11" fmla="*/ 34385 w 232981"/>
                <a:gd name="connsiteY11" fmla="*/ 32004 h 307085"/>
                <a:gd name="connsiteX12" fmla="*/ 69628 w 232981"/>
                <a:gd name="connsiteY12" fmla="*/ 8287 h 307085"/>
                <a:gd name="connsiteX13" fmla="*/ 110204 w 232981"/>
                <a:gd name="connsiteY13" fmla="*/ 0 h 307085"/>
                <a:gd name="connsiteX14" fmla="*/ 139637 w 232981"/>
                <a:gd name="connsiteY14" fmla="*/ 4000 h 307085"/>
                <a:gd name="connsiteX15" fmla="*/ 163735 w 232981"/>
                <a:gd name="connsiteY15" fmla="*/ 14668 h 307085"/>
                <a:gd name="connsiteX16" fmla="*/ 183166 w 232981"/>
                <a:gd name="connsiteY16" fmla="*/ 30289 h 307085"/>
                <a:gd name="connsiteX17" fmla="*/ 198596 w 232981"/>
                <a:gd name="connsiteY17" fmla="*/ 49054 h 307085"/>
                <a:gd name="connsiteX18" fmla="*/ 198596 w 232981"/>
                <a:gd name="connsiteY18" fmla="*/ 4858 h 307085"/>
                <a:gd name="connsiteX19" fmla="*/ 232982 w 232981"/>
                <a:gd name="connsiteY19" fmla="*/ 4858 h 307085"/>
                <a:gd name="connsiteX20" fmla="*/ 232982 w 232981"/>
                <a:gd name="connsiteY20" fmla="*/ 307086 h 307085"/>
                <a:gd name="connsiteX21" fmla="*/ 198596 w 232981"/>
                <a:gd name="connsiteY21" fmla="*/ 307086 h 307085"/>
                <a:gd name="connsiteX22" fmla="*/ 198596 w 232981"/>
                <a:gd name="connsiteY22" fmla="*/ 189262 h 307085"/>
                <a:gd name="connsiteX23" fmla="*/ 116491 w 232981"/>
                <a:gd name="connsiteY23" fmla="*/ 209931 h 307085"/>
                <a:gd name="connsiteX24" fmla="*/ 147542 w 232981"/>
                <a:gd name="connsiteY24" fmla="*/ 203454 h 307085"/>
                <a:gd name="connsiteX25" fmla="*/ 174308 w 232981"/>
                <a:gd name="connsiteY25" fmla="*/ 185166 h 307085"/>
                <a:gd name="connsiteX26" fmla="*/ 193072 w 232981"/>
                <a:gd name="connsiteY26" fmla="*/ 157067 h 307085"/>
                <a:gd name="connsiteX27" fmla="*/ 200025 w 232981"/>
                <a:gd name="connsiteY27" fmla="*/ 120682 h 307085"/>
                <a:gd name="connsiteX28" fmla="*/ 200025 w 232981"/>
                <a:gd name="connsiteY28" fmla="*/ 119824 h 307085"/>
                <a:gd name="connsiteX29" fmla="*/ 193072 w 232981"/>
                <a:gd name="connsiteY29" fmla="*/ 83439 h 307085"/>
                <a:gd name="connsiteX30" fmla="*/ 174308 w 232981"/>
                <a:gd name="connsiteY30" fmla="*/ 55531 h 307085"/>
                <a:gd name="connsiteX31" fmla="*/ 147542 w 232981"/>
                <a:gd name="connsiteY31" fmla="*/ 37433 h 307085"/>
                <a:gd name="connsiteX32" fmla="*/ 116491 w 232981"/>
                <a:gd name="connsiteY32" fmla="*/ 30956 h 307085"/>
                <a:gd name="connsiteX33" fmla="*/ 84773 w 232981"/>
                <a:gd name="connsiteY33" fmla="*/ 36957 h 307085"/>
                <a:gd name="connsiteX34" fmla="*/ 59150 w 232981"/>
                <a:gd name="connsiteY34" fmla="*/ 54388 h 307085"/>
                <a:gd name="connsiteX35" fmla="*/ 41720 w 232981"/>
                <a:gd name="connsiteY35" fmla="*/ 82296 h 307085"/>
                <a:gd name="connsiteX36" fmla="*/ 35242 w 232981"/>
                <a:gd name="connsiteY36" fmla="*/ 119824 h 307085"/>
                <a:gd name="connsiteX37" fmla="*/ 35242 w 232981"/>
                <a:gd name="connsiteY37" fmla="*/ 120682 h 307085"/>
                <a:gd name="connsiteX38" fmla="*/ 41720 w 232981"/>
                <a:gd name="connsiteY38" fmla="*/ 157734 h 307085"/>
                <a:gd name="connsiteX39" fmla="*/ 59341 w 232981"/>
                <a:gd name="connsiteY39" fmla="*/ 185833 h 307085"/>
                <a:gd name="connsiteX40" fmla="*/ 85249 w 232981"/>
                <a:gd name="connsiteY40" fmla="*/ 203740 h 307085"/>
                <a:gd name="connsiteX41" fmla="*/ 116491 w 232981"/>
                <a:gd name="connsiteY41" fmla="*/ 210026 h 30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07085">
                  <a:moveTo>
                    <a:pt x="198596" y="189357"/>
                  </a:moveTo>
                  <a:cubicBezTo>
                    <a:pt x="193834" y="196215"/>
                    <a:pt x="188595" y="202787"/>
                    <a:pt x="182785" y="208978"/>
                  </a:cubicBezTo>
                  <a:cubicBezTo>
                    <a:pt x="176975" y="215265"/>
                    <a:pt x="170498" y="220789"/>
                    <a:pt x="163354" y="225552"/>
                  </a:cubicBezTo>
                  <a:cubicBezTo>
                    <a:pt x="156210" y="230314"/>
                    <a:pt x="148209" y="234029"/>
                    <a:pt x="139446" y="236696"/>
                  </a:cubicBezTo>
                  <a:cubicBezTo>
                    <a:pt x="130683" y="239363"/>
                    <a:pt x="120967" y="240697"/>
                    <a:pt x="110204" y="240697"/>
                  </a:cubicBezTo>
                  <a:cubicBezTo>
                    <a:pt x="96203" y="240697"/>
                    <a:pt x="82677" y="238030"/>
                    <a:pt x="69628" y="232696"/>
                  </a:cubicBezTo>
                  <a:cubicBezTo>
                    <a:pt x="56579" y="227362"/>
                    <a:pt x="44767" y="219551"/>
                    <a:pt x="34385" y="209264"/>
                  </a:cubicBezTo>
                  <a:cubicBezTo>
                    <a:pt x="24003" y="198977"/>
                    <a:pt x="15621" y="186499"/>
                    <a:pt x="9335" y="171736"/>
                  </a:cubicBezTo>
                  <a:cubicBezTo>
                    <a:pt x="3048" y="156972"/>
                    <a:pt x="0" y="140113"/>
                    <a:pt x="0" y="121063"/>
                  </a:cubicBezTo>
                  <a:lnTo>
                    <a:pt x="0" y="120205"/>
                  </a:lnTo>
                  <a:cubicBezTo>
                    <a:pt x="0" y="101441"/>
                    <a:pt x="3143" y="84677"/>
                    <a:pt x="9335" y="69723"/>
                  </a:cubicBezTo>
                  <a:cubicBezTo>
                    <a:pt x="15621" y="54864"/>
                    <a:pt x="23908" y="42291"/>
                    <a:pt x="34385" y="32004"/>
                  </a:cubicBezTo>
                  <a:cubicBezTo>
                    <a:pt x="44767" y="21717"/>
                    <a:pt x="56579" y="13811"/>
                    <a:pt x="69628" y="8287"/>
                  </a:cubicBezTo>
                  <a:cubicBezTo>
                    <a:pt x="82677" y="2762"/>
                    <a:pt x="96298" y="0"/>
                    <a:pt x="110204" y="0"/>
                  </a:cubicBezTo>
                  <a:cubicBezTo>
                    <a:pt x="120967" y="0"/>
                    <a:pt x="130778" y="1333"/>
                    <a:pt x="139637" y="4000"/>
                  </a:cubicBezTo>
                  <a:cubicBezTo>
                    <a:pt x="148590" y="6667"/>
                    <a:pt x="156591" y="10287"/>
                    <a:pt x="163735" y="14668"/>
                  </a:cubicBezTo>
                  <a:cubicBezTo>
                    <a:pt x="170879" y="19145"/>
                    <a:pt x="177356" y="24384"/>
                    <a:pt x="183166" y="30289"/>
                  </a:cubicBezTo>
                  <a:cubicBezTo>
                    <a:pt x="188976" y="36290"/>
                    <a:pt x="194120" y="42481"/>
                    <a:pt x="198596" y="49054"/>
                  </a:cubicBezTo>
                  <a:lnTo>
                    <a:pt x="198596" y="4858"/>
                  </a:lnTo>
                  <a:lnTo>
                    <a:pt x="232982" y="4858"/>
                  </a:lnTo>
                  <a:lnTo>
                    <a:pt x="232982" y="307086"/>
                  </a:lnTo>
                  <a:lnTo>
                    <a:pt x="198596" y="307086"/>
                  </a:lnTo>
                  <a:lnTo>
                    <a:pt x="198596" y="189262"/>
                  </a:lnTo>
                  <a:close/>
                  <a:moveTo>
                    <a:pt x="116491" y="209931"/>
                  </a:moveTo>
                  <a:cubicBezTo>
                    <a:pt x="127159" y="209931"/>
                    <a:pt x="137541" y="207740"/>
                    <a:pt x="147542" y="203454"/>
                  </a:cubicBezTo>
                  <a:cubicBezTo>
                    <a:pt x="157544" y="199168"/>
                    <a:pt x="166402" y="193072"/>
                    <a:pt x="174308" y="185166"/>
                  </a:cubicBezTo>
                  <a:cubicBezTo>
                    <a:pt x="182213" y="177260"/>
                    <a:pt x="188404" y="167926"/>
                    <a:pt x="193072" y="157067"/>
                  </a:cubicBezTo>
                  <a:cubicBezTo>
                    <a:pt x="197739" y="146209"/>
                    <a:pt x="200025" y="134112"/>
                    <a:pt x="200025" y="120682"/>
                  </a:cubicBezTo>
                  <a:lnTo>
                    <a:pt x="200025" y="119824"/>
                  </a:lnTo>
                  <a:cubicBezTo>
                    <a:pt x="200025" y="106394"/>
                    <a:pt x="197739" y="94297"/>
                    <a:pt x="193072" y="83439"/>
                  </a:cubicBezTo>
                  <a:cubicBezTo>
                    <a:pt x="188500" y="72580"/>
                    <a:pt x="182213" y="63246"/>
                    <a:pt x="174308" y="55531"/>
                  </a:cubicBezTo>
                  <a:cubicBezTo>
                    <a:pt x="166402" y="47815"/>
                    <a:pt x="157544" y="41815"/>
                    <a:pt x="147542" y="37433"/>
                  </a:cubicBezTo>
                  <a:cubicBezTo>
                    <a:pt x="137541" y="33147"/>
                    <a:pt x="127254" y="30956"/>
                    <a:pt x="116491" y="30956"/>
                  </a:cubicBezTo>
                  <a:cubicBezTo>
                    <a:pt x="105156" y="30956"/>
                    <a:pt x="94583" y="32956"/>
                    <a:pt x="84773" y="36957"/>
                  </a:cubicBezTo>
                  <a:cubicBezTo>
                    <a:pt x="74962" y="40957"/>
                    <a:pt x="66389" y="46767"/>
                    <a:pt x="59150" y="54388"/>
                  </a:cubicBezTo>
                  <a:cubicBezTo>
                    <a:pt x="51816" y="61913"/>
                    <a:pt x="46101" y="71247"/>
                    <a:pt x="41720" y="82296"/>
                  </a:cubicBezTo>
                  <a:cubicBezTo>
                    <a:pt x="37433" y="93250"/>
                    <a:pt x="35242" y="105823"/>
                    <a:pt x="35242" y="119824"/>
                  </a:cubicBezTo>
                  <a:lnTo>
                    <a:pt x="35242" y="120682"/>
                  </a:lnTo>
                  <a:cubicBezTo>
                    <a:pt x="35242" y="134398"/>
                    <a:pt x="37433" y="146780"/>
                    <a:pt x="41720" y="157734"/>
                  </a:cubicBezTo>
                  <a:cubicBezTo>
                    <a:pt x="46006" y="168783"/>
                    <a:pt x="51911" y="178117"/>
                    <a:pt x="59341" y="185833"/>
                  </a:cubicBezTo>
                  <a:cubicBezTo>
                    <a:pt x="66770" y="193548"/>
                    <a:pt x="75438" y="199549"/>
                    <a:pt x="85249" y="203740"/>
                  </a:cubicBezTo>
                  <a:cubicBezTo>
                    <a:pt x="95060" y="207931"/>
                    <a:pt x="105442" y="210026"/>
                    <a:pt x="116491" y="210026"/>
                  </a:cubicBezTo>
                  <a:close/>
                </a:path>
              </a:pathLst>
            </a:custGeom>
            <a:solidFill>
              <a:srgbClr val="44505E"/>
            </a:solidFill>
            <a:ln w="9525" cap="flat">
              <a:noFill/>
              <a:prstDash val="solid"/>
              <a:miter/>
            </a:ln>
          </p:spPr>
          <p:txBody>
            <a:bodyPr rtlCol="0" anchor="ctr"/>
            <a:lstStyle/>
            <a:p>
              <a:endParaRPr lang="pt-BR" noProof="0"/>
            </a:p>
          </p:txBody>
        </p:sp>
        <p:sp>
          <p:nvSpPr>
            <p:cNvPr id="42" name="Freeform: Shape 41">
              <a:extLst>
                <a:ext uri="{FF2B5EF4-FFF2-40B4-BE49-F238E27FC236}">
                  <a16:creationId xmlns:a16="http://schemas.microsoft.com/office/drawing/2014/main" id="{E1729C75-5CB1-B2B6-DFE5-08E155C111AA}"/>
                </a:ext>
              </a:extLst>
            </p:cNvPr>
            <p:cNvSpPr/>
            <p:nvPr/>
          </p:nvSpPr>
          <p:spPr>
            <a:xfrm>
              <a:off x="5829624" y="925297"/>
              <a:ext cx="50618" cy="59238"/>
            </a:xfrm>
            <a:custGeom>
              <a:avLst/>
              <a:gdLst>
                <a:gd name="connsiteX0" fmla="*/ 88392 w 201358"/>
                <a:gd name="connsiteY0" fmla="*/ 235648 h 235648"/>
                <a:gd name="connsiteX1" fmla="*/ 51149 w 201358"/>
                <a:gd name="connsiteY1" fmla="*/ 228981 h 235648"/>
                <a:gd name="connsiteX2" fmla="*/ 23432 w 201358"/>
                <a:gd name="connsiteY2" fmla="*/ 210026 h 235648"/>
                <a:gd name="connsiteX3" fmla="*/ 6001 w 201358"/>
                <a:gd name="connsiteY3" fmla="*/ 180784 h 235648"/>
                <a:gd name="connsiteX4" fmla="*/ 0 w 201358"/>
                <a:gd name="connsiteY4" fmla="*/ 143256 h 235648"/>
                <a:gd name="connsiteX5" fmla="*/ 0 w 201358"/>
                <a:gd name="connsiteY5" fmla="*/ 0 h 235648"/>
                <a:gd name="connsiteX6" fmla="*/ 34385 w 201358"/>
                <a:gd name="connsiteY6" fmla="*/ 0 h 235648"/>
                <a:gd name="connsiteX7" fmla="*/ 34385 w 201358"/>
                <a:gd name="connsiteY7" fmla="*/ 134493 h 235648"/>
                <a:gd name="connsiteX8" fmla="*/ 50959 w 201358"/>
                <a:gd name="connsiteY8" fmla="*/ 185261 h 235648"/>
                <a:gd name="connsiteX9" fmla="*/ 98298 w 201358"/>
                <a:gd name="connsiteY9" fmla="*/ 203930 h 235648"/>
                <a:gd name="connsiteX10" fmla="*/ 125730 w 201358"/>
                <a:gd name="connsiteY10" fmla="*/ 198787 h 235648"/>
                <a:gd name="connsiteX11" fmla="*/ 147638 w 201358"/>
                <a:gd name="connsiteY11" fmla="*/ 184118 h 235648"/>
                <a:gd name="connsiteX12" fmla="*/ 162116 w 201358"/>
                <a:gd name="connsiteY12" fmla="*/ 161163 h 235648"/>
                <a:gd name="connsiteX13" fmla="*/ 167450 w 201358"/>
                <a:gd name="connsiteY13" fmla="*/ 131826 h 235648"/>
                <a:gd name="connsiteX14" fmla="*/ 167450 w 201358"/>
                <a:gd name="connsiteY14" fmla="*/ 0 h 235648"/>
                <a:gd name="connsiteX15" fmla="*/ 201359 w 201358"/>
                <a:gd name="connsiteY15" fmla="*/ 0 h 235648"/>
                <a:gd name="connsiteX16" fmla="*/ 201359 w 201358"/>
                <a:gd name="connsiteY16" fmla="*/ 230791 h 235648"/>
                <a:gd name="connsiteX17" fmla="*/ 167450 w 201358"/>
                <a:gd name="connsiteY17" fmla="*/ 230791 h 235648"/>
                <a:gd name="connsiteX18" fmla="*/ 167450 w 201358"/>
                <a:gd name="connsiteY18" fmla="*/ 190595 h 235648"/>
                <a:gd name="connsiteX19" fmla="*/ 137065 w 201358"/>
                <a:gd name="connsiteY19" fmla="*/ 222504 h 235648"/>
                <a:gd name="connsiteX20" fmla="*/ 88392 w 201358"/>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358" h="235648">
                  <a:moveTo>
                    <a:pt x="88392" y="235648"/>
                  </a:moveTo>
                  <a:cubicBezTo>
                    <a:pt x="74390" y="235648"/>
                    <a:pt x="62008" y="233363"/>
                    <a:pt x="51149" y="228981"/>
                  </a:cubicBezTo>
                  <a:cubicBezTo>
                    <a:pt x="40291" y="224504"/>
                    <a:pt x="31052" y="218218"/>
                    <a:pt x="23432"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959" y="185261"/>
                  </a:cubicBezTo>
                  <a:cubicBezTo>
                    <a:pt x="61913" y="197739"/>
                    <a:pt x="77724" y="203930"/>
                    <a:pt x="98298" y="203930"/>
                  </a:cubicBezTo>
                  <a:cubicBezTo>
                    <a:pt x="108109" y="203930"/>
                    <a:pt x="117253" y="202216"/>
                    <a:pt x="125730" y="198787"/>
                  </a:cubicBezTo>
                  <a:cubicBezTo>
                    <a:pt x="134207" y="195358"/>
                    <a:pt x="141446" y="190500"/>
                    <a:pt x="147638" y="184118"/>
                  </a:cubicBezTo>
                  <a:cubicBezTo>
                    <a:pt x="153734" y="177736"/>
                    <a:pt x="158591" y="170116"/>
                    <a:pt x="162116" y="161163"/>
                  </a:cubicBezTo>
                  <a:cubicBezTo>
                    <a:pt x="165735" y="152305"/>
                    <a:pt x="167450" y="142494"/>
                    <a:pt x="167450" y="131826"/>
                  </a:cubicBezTo>
                  <a:lnTo>
                    <a:pt x="167450" y="0"/>
                  </a:lnTo>
                  <a:lnTo>
                    <a:pt x="201359" y="0"/>
                  </a:lnTo>
                  <a:lnTo>
                    <a:pt x="201359" y="230791"/>
                  </a:lnTo>
                  <a:lnTo>
                    <a:pt x="167450" y="230791"/>
                  </a:lnTo>
                  <a:lnTo>
                    <a:pt x="167450" y="190595"/>
                  </a:lnTo>
                  <a:cubicBezTo>
                    <a:pt x="159734" y="203073"/>
                    <a:pt x="149543" y="213741"/>
                    <a:pt x="137065" y="222504"/>
                  </a:cubicBezTo>
                  <a:cubicBezTo>
                    <a:pt x="124587" y="231267"/>
                    <a:pt x="108395" y="235648"/>
                    <a:pt x="88392" y="235648"/>
                  </a:cubicBezTo>
                  <a:close/>
                </a:path>
              </a:pathLst>
            </a:custGeom>
            <a:solidFill>
              <a:srgbClr val="44505E"/>
            </a:solidFill>
            <a:ln w="9525" cap="flat">
              <a:noFill/>
              <a:prstDash val="solid"/>
              <a:miter/>
            </a:ln>
          </p:spPr>
          <p:txBody>
            <a:bodyPr rtlCol="0" anchor="ctr"/>
            <a:lstStyle/>
            <a:p>
              <a:endParaRPr lang="pt-BR" noProof="0"/>
            </a:p>
          </p:txBody>
        </p:sp>
        <p:sp>
          <p:nvSpPr>
            <p:cNvPr id="43" name="Freeform: Shape 42">
              <a:extLst>
                <a:ext uri="{FF2B5EF4-FFF2-40B4-BE49-F238E27FC236}">
                  <a16:creationId xmlns:a16="http://schemas.microsoft.com/office/drawing/2014/main" id="{05D2C19C-EDFF-2A0D-439E-A60216F3A6F4}"/>
                </a:ext>
              </a:extLst>
            </p:cNvPr>
            <p:cNvSpPr/>
            <p:nvPr/>
          </p:nvSpPr>
          <p:spPr>
            <a:xfrm>
              <a:off x="5896069"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7059 w 218217"/>
                <a:gd name="connsiteY3" fmla="*/ 206026 h 241077"/>
                <a:gd name="connsiteX4" fmla="*/ 116110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7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0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356 w 218217"/>
                <a:gd name="connsiteY25" fmla="*/ 106299 h 241077"/>
                <a:gd name="connsiteX26" fmla="*/ 176689 w 218217"/>
                <a:gd name="connsiteY26" fmla="*/ 76771 h 241077"/>
                <a:gd name="connsiteX27" fmla="*/ 162211 w 218217"/>
                <a:gd name="connsiteY27" fmla="*/ 52101 h 241077"/>
                <a:gd name="connsiteX28" fmla="*/ 139922 w 218217"/>
                <a:gd name="connsiteY28" fmla="*/ 35242 h 241077"/>
                <a:gd name="connsiteX29" fmla="*/ 109823 w 218217"/>
                <a:gd name="connsiteY29" fmla="*/ 29051 h 241077"/>
                <a:gd name="connsiteX30" fmla="*/ 82105 w 218217"/>
                <a:gd name="connsiteY30" fmla="*/ 34766 h 241077"/>
                <a:gd name="connsiteX31" fmla="*/ 59341 w 218217"/>
                <a:gd name="connsiteY31" fmla="*/ 50959 h 241077"/>
                <a:gd name="connsiteX32" fmla="*/ 43053 w 218217"/>
                <a:gd name="connsiteY32" fmla="*/ 75628 h 241077"/>
                <a:gd name="connsiteX33" fmla="*/ 34766 w 218217"/>
                <a:gd name="connsiteY33" fmla="*/ 106204 h 241077"/>
                <a:gd name="connsiteX34" fmla="*/ 183356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819" y="202597"/>
                    <a:pt x="87059" y="206026"/>
                  </a:cubicBezTo>
                  <a:cubicBezTo>
                    <a:pt x="96298" y="209455"/>
                    <a:pt x="105918" y="211169"/>
                    <a:pt x="116110" y="211169"/>
                  </a:cubicBezTo>
                  <a:cubicBezTo>
                    <a:pt x="132207" y="211169"/>
                    <a:pt x="145923" y="208216"/>
                    <a:pt x="157353" y="202216"/>
                  </a:cubicBezTo>
                  <a:cubicBezTo>
                    <a:pt x="168783" y="196310"/>
                    <a:pt x="179261" y="188404"/>
                    <a:pt x="188786" y="178594"/>
                  </a:cubicBezTo>
                  <a:lnTo>
                    <a:pt x="210217" y="197834"/>
                  </a:lnTo>
                  <a:cubicBezTo>
                    <a:pt x="198596" y="210979"/>
                    <a:pt x="185356" y="221361"/>
                    <a:pt x="170497" y="229267"/>
                  </a:cubicBezTo>
                  <a:cubicBezTo>
                    <a:pt x="155638"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583" y="0"/>
                    <a:pt x="110680"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356" y="106299"/>
                  </a:moveTo>
                  <a:cubicBezTo>
                    <a:pt x="182499" y="95917"/>
                    <a:pt x="180213" y="86106"/>
                    <a:pt x="176689" y="76771"/>
                  </a:cubicBezTo>
                  <a:cubicBezTo>
                    <a:pt x="173069" y="67437"/>
                    <a:pt x="168307" y="59245"/>
                    <a:pt x="162211" y="52101"/>
                  </a:cubicBezTo>
                  <a:cubicBezTo>
                    <a:pt x="156115" y="44958"/>
                    <a:pt x="148685" y="39338"/>
                    <a:pt x="139922" y="35242"/>
                  </a:cubicBezTo>
                  <a:cubicBezTo>
                    <a:pt x="131159" y="31147"/>
                    <a:pt x="121063" y="29051"/>
                    <a:pt x="109823" y="29051"/>
                  </a:cubicBezTo>
                  <a:cubicBezTo>
                    <a:pt x="100013" y="29051"/>
                    <a:pt x="90773" y="30956"/>
                    <a:pt x="82105" y="34766"/>
                  </a:cubicBezTo>
                  <a:cubicBezTo>
                    <a:pt x="73438" y="38671"/>
                    <a:pt x="65913" y="44005"/>
                    <a:pt x="59341" y="50959"/>
                  </a:cubicBezTo>
                  <a:cubicBezTo>
                    <a:pt x="52769" y="57912"/>
                    <a:pt x="47339" y="66103"/>
                    <a:pt x="43053" y="75628"/>
                  </a:cubicBezTo>
                  <a:cubicBezTo>
                    <a:pt x="38767" y="85058"/>
                    <a:pt x="36004" y="95345"/>
                    <a:pt x="34766" y="106204"/>
                  </a:cubicBezTo>
                  <a:lnTo>
                    <a:pt x="183356" y="106204"/>
                  </a:lnTo>
                  <a:close/>
                </a:path>
              </a:pathLst>
            </a:custGeom>
            <a:solidFill>
              <a:srgbClr val="44505E"/>
            </a:solidFill>
            <a:ln w="9525" cap="flat">
              <a:noFill/>
              <a:prstDash val="solid"/>
              <a:miter/>
            </a:ln>
          </p:spPr>
          <p:txBody>
            <a:bodyPr rtlCol="0" anchor="ctr"/>
            <a:lstStyle/>
            <a:p>
              <a:endParaRPr lang="pt-BR" noProof="0"/>
            </a:p>
          </p:txBody>
        </p:sp>
        <p:sp>
          <p:nvSpPr>
            <p:cNvPr id="44" name="Freeform: Shape 43">
              <a:extLst>
                <a:ext uri="{FF2B5EF4-FFF2-40B4-BE49-F238E27FC236}">
                  <a16:creationId xmlns:a16="http://schemas.microsoft.com/office/drawing/2014/main" id="{7B78F79A-2AE8-E3CD-52B9-FAB2433E7DE7}"/>
                </a:ext>
              </a:extLst>
            </p:cNvPr>
            <p:cNvSpPr/>
            <p:nvPr/>
          </p:nvSpPr>
          <p:spPr>
            <a:xfrm>
              <a:off x="5994910" y="924268"/>
              <a:ext cx="44680" cy="60195"/>
            </a:xfrm>
            <a:custGeom>
              <a:avLst/>
              <a:gdLst>
                <a:gd name="connsiteX0" fmla="*/ 95536 w 177736"/>
                <a:gd name="connsiteY0" fmla="*/ 239268 h 239458"/>
                <a:gd name="connsiteX1" fmla="*/ 45053 w 177736"/>
                <a:gd name="connsiteY1" fmla="*/ 230124 h 239458"/>
                <a:gd name="connsiteX2" fmla="*/ 0 w 177736"/>
                <a:gd name="connsiteY2" fmla="*/ 205359 h 239458"/>
                <a:gd name="connsiteX3" fmla="*/ 17431 w 177736"/>
                <a:gd name="connsiteY3" fmla="*/ 180785 h 239458"/>
                <a:gd name="connsiteX4" fmla="*/ 56483 w 177736"/>
                <a:gd name="connsiteY4" fmla="*/ 202692 h 239458"/>
                <a:gd name="connsiteX5" fmla="*/ 97346 w 177736"/>
                <a:gd name="connsiteY5" fmla="*/ 210217 h 239458"/>
                <a:gd name="connsiteX6" fmla="*/ 131731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730 w 177736"/>
                <a:gd name="connsiteY10" fmla="*/ 147066 h 239458"/>
                <a:gd name="connsiteX11" fmla="*/ 109252 w 177736"/>
                <a:gd name="connsiteY11" fmla="*/ 138779 h 239458"/>
                <a:gd name="connsiteX12" fmla="*/ 87630 w 177736"/>
                <a:gd name="connsiteY12" fmla="*/ 132112 h 239458"/>
                <a:gd name="connsiteX13" fmla="*/ 60674 w 177736"/>
                <a:gd name="connsiteY13" fmla="*/ 123444 h 239458"/>
                <a:gd name="connsiteX14" fmla="*/ 36100 w 177736"/>
                <a:gd name="connsiteY14" fmla="*/ 111633 h 239458"/>
                <a:gd name="connsiteX15" fmla="*/ 18193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60 w 177736"/>
                <a:gd name="connsiteY22" fmla="*/ 6953 h 239458"/>
                <a:gd name="connsiteX23" fmla="*/ 172879 w 177736"/>
                <a:gd name="connsiteY23" fmla="*/ 25527 h 239458"/>
                <a:gd name="connsiteX24" fmla="*/ 157258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4 w 177736"/>
                <a:gd name="connsiteY32" fmla="*/ 96203 h 239458"/>
                <a:gd name="connsiteX33" fmla="*/ 103632 w 177736"/>
                <a:gd name="connsiteY33" fmla="*/ 103346 h 239458"/>
                <a:gd name="connsiteX34" fmla="*/ 130207 w 177736"/>
                <a:gd name="connsiteY34" fmla="*/ 112300 h 239458"/>
                <a:gd name="connsiteX35" fmla="*/ 154114 w 177736"/>
                <a:gd name="connsiteY35" fmla="*/ 124778 h 239458"/>
                <a:gd name="connsiteX36" fmla="*/ 171260 w 177736"/>
                <a:gd name="connsiteY36" fmla="*/ 143066 h 239458"/>
                <a:gd name="connsiteX37" fmla="*/ 177737 w 177736"/>
                <a:gd name="connsiteY37" fmla="*/ 169450 h 239458"/>
                <a:gd name="connsiteX38" fmla="*/ 177737 w 177736"/>
                <a:gd name="connsiteY38" fmla="*/ 170307 h 239458"/>
                <a:gd name="connsiteX39" fmla="*/ 171260 w 177736"/>
                <a:gd name="connsiteY39" fmla="*/ 199549 h 239458"/>
                <a:gd name="connsiteX40" fmla="*/ 153829 w 177736"/>
                <a:gd name="connsiteY40" fmla="*/ 221171 h 239458"/>
                <a:gd name="connsiteX41" fmla="*/ 127921 w 177736"/>
                <a:gd name="connsiteY41" fmla="*/ 234791 h 239458"/>
                <a:gd name="connsiteX42" fmla="*/ 95536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6" y="239268"/>
                  </a:moveTo>
                  <a:cubicBezTo>
                    <a:pt x="78867" y="239268"/>
                    <a:pt x="62008" y="236220"/>
                    <a:pt x="45053" y="230124"/>
                  </a:cubicBezTo>
                  <a:cubicBezTo>
                    <a:pt x="28099" y="224028"/>
                    <a:pt x="13049" y="215741"/>
                    <a:pt x="0" y="205359"/>
                  </a:cubicBezTo>
                  <a:lnTo>
                    <a:pt x="17431" y="180785"/>
                  </a:lnTo>
                  <a:cubicBezTo>
                    <a:pt x="29909"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637" y="162211"/>
                    <a:pt x="140494" y="158020"/>
                  </a:cubicBezTo>
                  <a:cubicBezTo>
                    <a:pt x="137351" y="153829"/>
                    <a:pt x="133160" y="150209"/>
                    <a:pt x="127730" y="147066"/>
                  </a:cubicBezTo>
                  <a:cubicBezTo>
                    <a:pt x="122396" y="143923"/>
                    <a:pt x="116205" y="141161"/>
                    <a:pt x="109252" y="138779"/>
                  </a:cubicBezTo>
                  <a:cubicBezTo>
                    <a:pt x="102299" y="136398"/>
                    <a:pt x="95060" y="134207"/>
                    <a:pt x="87630" y="132112"/>
                  </a:cubicBezTo>
                  <a:cubicBezTo>
                    <a:pt x="78677" y="129445"/>
                    <a:pt x="69723" y="126492"/>
                    <a:pt x="60674" y="123444"/>
                  </a:cubicBezTo>
                  <a:cubicBezTo>
                    <a:pt x="51626" y="120301"/>
                    <a:pt x="43434" y="116396"/>
                    <a:pt x="36100" y="111633"/>
                  </a:cubicBezTo>
                  <a:cubicBezTo>
                    <a:pt x="28766" y="106871"/>
                    <a:pt x="22860" y="100870"/>
                    <a:pt x="18193" y="93726"/>
                  </a:cubicBezTo>
                  <a:cubicBezTo>
                    <a:pt x="13621" y="86582"/>
                    <a:pt x="11239" y="77629"/>
                    <a:pt x="11239" y="66961"/>
                  </a:cubicBezTo>
                  <a:lnTo>
                    <a:pt x="11239" y="66008"/>
                  </a:lnTo>
                  <a:cubicBezTo>
                    <a:pt x="11239" y="56198"/>
                    <a:pt x="13145" y="47149"/>
                    <a:pt x="17050" y="39053"/>
                  </a:cubicBezTo>
                  <a:cubicBezTo>
                    <a:pt x="20860" y="30861"/>
                    <a:pt x="26289" y="23908"/>
                    <a:pt x="33338" y="18098"/>
                  </a:cubicBezTo>
                  <a:cubicBezTo>
                    <a:pt x="40291" y="12287"/>
                    <a:pt x="48673" y="7811"/>
                    <a:pt x="58388" y="4667"/>
                  </a:cubicBezTo>
                  <a:cubicBezTo>
                    <a:pt x="68009" y="1524"/>
                    <a:pt x="78581" y="0"/>
                    <a:pt x="89821" y="0"/>
                  </a:cubicBezTo>
                  <a:cubicBezTo>
                    <a:pt x="104108" y="0"/>
                    <a:pt x="118491" y="2286"/>
                    <a:pt x="133160" y="6953"/>
                  </a:cubicBezTo>
                  <a:cubicBezTo>
                    <a:pt x="147733" y="11621"/>
                    <a:pt x="160972" y="17717"/>
                    <a:pt x="172879" y="25527"/>
                  </a:cubicBezTo>
                  <a:lnTo>
                    <a:pt x="157258" y="51435"/>
                  </a:lnTo>
                  <a:cubicBezTo>
                    <a:pt x="146495" y="44577"/>
                    <a:pt x="135350" y="39148"/>
                    <a:pt x="123539" y="35147"/>
                  </a:cubicBezTo>
                  <a:cubicBezTo>
                    <a:pt x="111824" y="31147"/>
                    <a:pt x="100298" y="29146"/>
                    <a:pt x="88963" y="29146"/>
                  </a:cubicBezTo>
                  <a:cubicBezTo>
                    <a:pt x="75247" y="29146"/>
                    <a:pt x="64389" y="32385"/>
                    <a:pt x="56388" y="38767"/>
                  </a:cubicBezTo>
                  <a:cubicBezTo>
                    <a:pt x="48387" y="45149"/>
                    <a:pt x="44291" y="53150"/>
                    <a:pt x="44291" y="62675"/>
                  </a:cubicBezTo>
                  <a:lnTo>
                    <a:pt x="44291" y="63627"/>
                  </a:lnTo>
                  <a:cubicBezTo>
                    <a:pt x="44291" y="68961"/>
                    <a:pt x="45911" y="73628"/>
                    <a:pt x="49244" y="77724"/>
                  </a:cubicBezTo>
                  <a:cubicBezTo>
                    <a:pt x="52483" y="81725"/>
                    <a:pt x="56960" y="85249"/>
                    <a:pt x="62389" y="88202"/>
                  </a:cubicBezTo>
                  <a:cubicBezTo>
                    <a:pt x="67913" y="91154"/>
                    <a:pt x="74200" y="93821"/>
                    <a:pt x="81344" y="96203"/>
                  </a:cubicBezTo>
                  <a:cubicBezTo>
                    <a:pt x="88487" y="98584"/>
                    <a:pt x="95917" y="100965"/>
                    <a:pt x="103632" y="103346"/>
                  </a:cubicBezTo>
                  <a:cubicBezTo>
                    <a:pt x="112586" y="106013"/>
                    <a:pt x="121444" y="108966"/>
                    <a:pt x="130207" y="112300"/>
                  </a:cubicBezTo>
                  <a:cubicBezTo>
                    <a:pt x="138970" y="115538"/>
                    <a:pt x="146971" y="119729"/>
                    <a:pt x="154114" y="124778"/>
                  </a:cubicBezTo>
                  <a:cubicBezTo>
                    <a:pt x="161258" y="129826"/>
                    <a:pt x="166973" y="135922"/>
                    <a:pt x="171260" y="143066"/>
                  </a:cubicBezTo>
                  <a:cubicBezTo>
                    <a:pt x="175546" y="150209"/>
                    <a:pt x="177737" y="158972"/>
                    <a:pt x="177737" y="169450"/>
                  </a:cubicBezTo>
                  <a:lnTo>
                    <a:pt x="177737" y="170307"/>
                  </a:lnTo>
                  <a:cubicBezTo>
                    <a:pt x="177737" y="181356"/>
                    <a:pt x="175546" y="191071"/>
                    <a:pt x="171260" y="199549"/>
                  </a:cubicBezTo>
                  <a:cubicBezTo>
                    <a:pt x="166973" y="208026"/>
                    <a:pt x="161163" y="215265"/>
                    <a:pt x="153829" y="221171"/>
                  </a:cubicBezTo>
                  <a:cubicBezTo>
                    <a:pt x="146495" y="227171"/>
                    <a:pt x="137922" y="231648"/>
                    <a:pt x="127921" y="234791"/>
                  </a:cubicBezTo>
                  <a:cubicBezTo>
                    <a:pt x="117920" y="237935"/>
                    <a:pt x="107156" y="239459"/>
                    <a:pt x="95536" y="239459"/>
                  </a:cubicBezTo>
                  <a:close/>
                </a:path>
              </a:pathLst>
            </a:custGeom>
            <a:solidFill>
              <a:srgbClr val="44505E"/>
            </a:solidFill>
            <a:ln w="9525" cap="flat">
              <a:noFill/>
              <a:prstDash val="solid"/>
              <a:miter/>
            </a:ln>
          </p:spPr>
          <p:txBody>
            <a:bodyPr rtlCol="0" anchor="ctr"/>
            <a:lstStyle/>
            <a:p>
              <a:endParaRPr lang="pt-BR" noProof="0"/>
            </a:p>
          </p:txBody>
        </p:sp>
        <p:sp>
          <p:nvSpPr>
            <p:cNvPr id="45" name="Freeform: Shape 44">
              <a:extLst>
                <a:ext uri="{FF2B5EF4-FFF2-40B4-BE49-F238E27FC236}">
                  <a16:creationId xmlns:a16="http://schemas.microsoft.com/office/drawing/2014/main" id="{6F6CD8D3-F7D4-B022-C4B1-347FCC59D9E9}"/>
                </a:ext>
              </a:extLst>
            </p:cNvPr>
            <p:cNvSpPr/>
            <p:nvPr/>
          </p:nvSpPr>
          <p:spPr>
            <a:xfrm>
              <a:off x="605122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4 w 202977"/>
                <a:gd name="connsiteY30" fmla="*/ 174593 h 239267"/>
                <a:gd name="connsiteX31" fmla="*/ 169735 w 202977"/>
                <a:gd name="connsiteY31" fmla="*/ 149447 h 239267"/>
                <a:gd name="connsiteX32" fmla="*/ 169735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0" y="90964"/>
                    <a:pt x="98584" y="90964"/>
                  </a:cubicBezTo>
                  <a:cubicBezTo>
                    <a:pt x="113157" y="90964"/>
                    <a:pt x="126301"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1" y="33147"/>
                    <a:pt x="63436" y="36100"/>
                  </a:cubicBezTo>
                  <a:cubicBezTo>
                    <a:pt x="52292" y="39053"/>
                    <a:pt x="41338" y="43053"/>
                    <a:pt x="30671" y="48196"/>
                  </a:cubicBezTo>
                  <a:lnTo>
                    <a:pt x="20383" y="19907"/>
                  </a:lnTo>
                  <a:cubicBezTo>
                    <a:pt x="33147" y="13906"/>
                    <a:pt x="46101" y="9049"/>
                    <a:pt x="59246" y="5429"/>
                  </a:cubicBezTo>
                  <a:cubicBezTo>
                    <a:pt x="72295"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1" y="239173"/>
                  </a:cubicBezTo>
                  <a:close/>
                  <a:moveTo>
                    <a:pt x="93154" y="211169"/>
                  </a:moveTo>
                  <a:cubicBezTo>
                    <a:pt x="103822" y="211169"/>
                    <a:pt x="113728" y="209740"/>
                    <a:pt x="122967" y="206788"/>
                  </a:cubicBezTo>
                  <a:cubicBezTo>
                    <a:pt x="132207" y="203835"/>
                    <a:pt x="140208" y="199644"/>
                    <a:pt x="147256" y="194120"/>
                  </a:cubicBezTo>
                  <a:cubicBezTo>
                    <a:pt x="154209" y="188595"/>
                    <a:pt x="159734" y="182118"/>
                    <a:pt x="163734" y="174593"/>
                  </a:cubicBezTo>
                  <a:cubicBezTo>
                    <a:pt x="167735" y="167068"/>
                    <a:pt x="169735" y="158687"/>
                    <a:pt x="169735" y="149447"/>
                  </a:cubicBezTo>
                  <a:lnTo>
                    <a:pt x="169735" y="128111"/>
                  </a:lnTo>
                  <a:cubicBezTo>
                    <a:pt x="161163" y="125730"/>
                    <a:pt x="151352" y="123539"/>
                    <a:pt x="140398" y="121444"/>
                  </a:cubicBezTo>
                  <a:cubicBezTo>
                    <a:pt x="129445" y="119348"/>
                    <a:pt x="116872"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46" name="Freeform: Shape 45">
              <a:extLst>
                <a:ext uri="{FF2B5EF4-FFF2-40B4-BE49-F238E27FC236}">
                  <a16:creationId xmlns:a16="http://schemas.microsoft.com/office/drawing/2014/main" id="{552E7FAB-AEB9-4775-6CF9-B71E0EAA084E}"/>
                </a:ext>
              </a:extLst>
            </p:cNvPr>
            <p:cNvSpPr/>
            <p:nvPr/>
          </p:nvSpPr>
          <p:spPr>
            <a:xfrm>
              <a:off x="6121359" y="901377"/>
              <a:ext cx="8644" cy="81913"/>
            </a:xfrm>
            <a:custGeom>
              <a:avLst/>
              <a:gdLst>
                <a:gd name="connsiteX0" fmla="*/ 0 w 34385"/>
                <a:gd name="connsiteY0" fmla="*/ 0 h 325850"/>
                <a:gd name="connsiteX1" fmla="*/ 34385 w 34385"/>
                <a:gd name="connsiteY1" fmla="*/ 0 h 325850"/>
                <a:gd name="connsiteX2" fmla="*/ 34385 w 34385"/>
                <a:gd name="connsiteY2" fmla="*/ 325850 h 325850"/>
                <a:gd name="connsiteX3" fmla="*/ 0 w 34385"/>
                <a:gd name="connsiteY3" fmla="*/ 325850 h 325850"/>
                <a:gd name="connsiteX4" fmla="*/ 0 w 34385"/>
                <a:gd name="connsiteY4" fmla="*/ 0 h 32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 h="325850">
                  <a:moveTo>
                    <a:pt x="0" y="0"/>
                  </a:moveTo>
                  <a:lnTo>
                    <a:pt x="34385" y="0"/>
                  </a:lnTo>
                  <a:lnTo>
                    <a:pt x="34385" y="325850"/>
                  </a:lnTo>
                  <a:lnTo>
                    <a:pt x="0" y="325850"/>
                  </a:lnTo>
                  <a:lnTo>
                    <a:pt x="0" y="0"/>
                  </a:lnTo>
                  <a:close/>
                </a:path>
              </a:pathLst>
            </a:custGeom>
            <a:solidFill>
              <a:srgbClr val="44505E"/>
            </a:solidFill>
            <a:ln w="9525" cap="flat">
              <a:noFill/>
              <a:prstDash val="solid"/>
              <a:miter/>
            </a:ln>
          </p:spPr>
          <p:txBody>
            <a:bodyPr rtlCol="0" anchor="ctr"/>
            <a:lstStyle/>
            <a:p>
              <a:endParaRPr lang="pt-BR" noProof="0"/>
            </a:p>
          </p:txBody>
        </p:sp>
        <p:sp>
          <p:nvSpPr>
            <p:cNvPr id="47" name="Freeform: Shape 46">
              <a:extLst>
                <a:ext uri="{FF2B5EF4-FFF2-40B4-BE49-F238E27FC236}">
                  <a16:creationId xmlns:a16="http://schemas.microsoft.com/office/drawing/2014/main" id="{73200BCF-E66E-8708-006F-89DA328FAB57}"/>
                </a:ext>
              </a:extLst>
            </p:cNvPr>
            <p:cNvSpPr/>
            <p:nvPr/>
          </p:nvSpPr>
          <p:spPr>
            <a:xfrm>
              <a:off x="6144346" y="925273"/>
              <a:ext cx="58016" cy="58448"/>
            </a:xfrm>
            <a:custGeom>
              <a:avLst/>
              <a:gdLst>
                <a:gd name="connsiteX0" fmla="*/ 95 w 230790"/>
                <a:gd name="connsiteY0" fmla="*/ 0 h 232505"/>
                <a:gd name="connsiteX1" fmla="*/ 38005 w 230790"/>
                <a:gd name="connsiteY1" fmla="*/ 0 h 232505"/>
                <a:gd name="connsiteX2" fmla="*/ 115634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4"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48" name="Freeform: Shape 47">
              <a:extLst>
                <a:ext uri="{FF2B5EF4-FFF2-40B4-BE49-F238E27FC236}">
                  <a16:creationId xmlns:a16="http://schemas.microsoft.com/office/drawing/2014/main" id="{A6ADCEBE-E8BB-341E-8280-C1B6168FC69A}"/>
                </a:ext>
              </a:extLst>
            </p:cNvPr>
            <p:cNvSpPr/>
            <p:nvPr/>
          </p:nvSpPr>
          <p:spPr>
            <a:xfrm>
              <a:off x="621155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8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338 w 202977"/>
                <a:gd name="connsiteY36" fmla="*/ 164497 h 239267"/>
                <a:gd name="connsiteX37" fmla="*/ 35338 w 202977"/>
                <a:gd name="connsiteY37" fmla="*/ 165449 h 239267"/>
                <a:gd name="connsiteX38" fmla="*/ 40005 w 202977"/>
                <a:gd name="connsiteY38" fmla="*/ 184785 h 239267"/>
                <a:gd name="connsiteX39" fmla="*/ 52673 w 202977"/>
                <a:gd name="connsiteY39" fmla="*/ 199263 h 239267"/>
                <a:gd name="connsiteX40" fmla="*/ 71152 w 202977"/>
                <a:gd name="connsiteY40" fmla="*/ 208121 h 239267"/>
                <a:gd name="connsiteX41" fmla="*/ 93154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438" y="239268"/>
                    <a:pt x="64961"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1" y="90964"/>
                    <a:pt x="98584" y="90964"/>
                  </a:cubicBezTo>
                  <a:cubicBezTo>
                    <a:pt x="113157" y="90964"/>
                    <a:pt x="126302" y="91821"/>
                    <a:pt x="137160" y="93631"/>
                  </a:cubicBezTo>
                  <a:cubicBezTo>
                    <a:pt x="148019" y="95440"/>
                    <a:pt x="158687" y="97822"/>
                    <a:pt x="169069" y="100774"/>
                  </a:cubicBezTo>
                  <a:lnTo>
                    <a:pt x="169069" y="93726"/>
                  </a:lnTo>
                  <a:cubicBezTo>
                    <a:pt x="169069" y="73342"/>
                    <a:pt x="163068" y="57912"/>
                    <a:pt x="151162" y="47339"/>
                  </a:cubicBezTo>
                  <a:cubicBezTo>
                    <a:pt x="139255" y="36862"/>
                    <a:pt x="122491" y="31623"/>
                    <a:pt x="100679" y="31623"/>
                  </a:cubicBezTo>
                  <a:cubicBezTo>
                    <a:pt x="86963" y="31623"/>
                    <a:pt x="74581" y="33147"/>
                    <a:pt x="63437" y="36100"/>
                  </a:cubicBezTo>
                  <a:cubicBezTo>
                    <a:pt x="52292" y="39053"/>
                    <a:pt x="41338" y="43053"/>
                    <a:pt x="30671" y="48196"/>
                  </a:cubicBezTo>
                  <a:lnTo>
                    <a:pt x="20383" y="19907"/>
                  </a:lnTo>
                  <a:cubicBezTo>
                    <a:pt x="33147" y="13906"/>
                    <a:pt x="46101" y="9049"/>
                    <a:pt x="59246" y="5429"/>
                  </a:cubicBezTo>
                  <a:cubicBezTo>
                    <a:pt x="72390"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04" y="239173"/>
                    <a:pt x="86011" y="239173"/>
                  </a:cubicBezTo>
                  <a:close/>
                  <a:moveTo>
                    <a:pt x="93154" y="211169"/>
                  </a:moveTo>
                  <a:cubicBezTo>
                    <a:pt x="103822" y="211169"/>
                    <a:pt x="113824" y="209740"/>
                    <a:pt x="122968" y="206788"/>
                  </a:cubicBezTo>
                  <a:cubicBezTo>
                    <a:pt x="132112"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5" y="119348"/>
                    <a:pt x="116777" y="118300"/>
                    <a:pt x="102584" y="118300"/>
                  </a:cubicBezTo>
                  <a:cubicBezTo>
                    <a:pt x="81248" y="118300"/>
                    <a:pt x="64675" y="122491"/>
                    <a:pt x="52959" y="130969"/>
                  </a:cubicBezTo>
                  <a:cubicBezTo>
                    <a:pt x="41243" y="139446"/>
                    <a:pt x="35338" y="150590"/>
                    <a:pt x="35338" y="164497"/>
                  </a:cubicBezTo>
                  <a:lnTo>
                    <a:pt x="35338" y="165449"/>
                  </a:lnTo>
                  <a:cubicBezTo>
                    <a:pt x="35338" y="172498"/>
                    <a:pt x="36862" y="178975"/>
                    <a:pt x="40005" y="184785"/>
                  </a:cubicBezTo>
                  <a:cubicBezTo>
                    <a:pt x="43148" y="190500"/>
                    <a:pt x="47339" y="195358"/>
                    <a:pt x="52673" y="199263"/>
                  </a:cubicBezTo>
                  <a:cubicBezTo>
                    <a:pt x="58007" y="203073"/>
                    <a:pt x="64198" y="206026"/>
                    <a:pt x="71152" y="208121"/>
                  </a:cubicBezTo>
                  <a:cubicBezTo>
                    <a:pt x="78105" y="210217"/>
                    <a:pt x="85439" y="211169"/>
                    <a:pt x="93154" y="211169"/>
                  </a:cubicBezTo>
                  <a:close/>
                </a:path>
              </a:pathLst>
            </a:custGeom>
            <a:solidFill>
              <a:srgbClr val="44505E"/>
            </a:solidFill>
            <a:ln w="9525" cap="flat">
              <a:noFill/>
              <a:prstDash val="solid"/>
              <a:miter/>
            </a:ln>
          </p:spPr>
          <p:txBody>
            <a:bodyPr rtlCol="0" anchor="ctr"/>
            <a:lstStyle/>
            <a:p>
              <a:endParaRPr lang="pt-BR" noProof="0"/>
            </a:p>
          </p:txBody>
        </p:sp>
        <p:sp>
          <p:nvSpPr>
            <p:cNvPr id="49" name="Freeform: Shape 48">
              <a:extLst>
                <a:ext uri="{FF2B5EF4-FFF2-40B4-BE49-F238E27FC236}">
                  <a16:creationId xmlns:a16="http://schemas.microsoft.com/office/drawing/2014/main" id="{E3271548-4849-904C-1DB4-4A4DE95B5D25}"/>
                </a:ext>
              </a:extLst>
            </p:cNvPr>
            <p:cNvSpPr/>
            <p:nvPr/>
          </p:nvSpPr>
          <p:spPr>
            <a:xfrm>
              <a:off x="6280899" y="923980"/>
              <a:ext cx="87995" cy="59238"/>
            </a:xfrm>
            <a:custGeom>
              <a:avLst/>
              <a:gdLst>
                <a:gd name="connsiteX0" fmla="*/ 0 w 350043"/>
                <a:gd name="connsiteY0" fmla="*/ 5144 h 235648"/>
                <a:gd name="connsiteX1" fmla="*/ 34385 w 350043"/>
                <a:gd name="connsiteY1" fmla="*/ 5144 h 235648"/>
                <a:gd name="connsiteX2" fmla="*/ 34385 w 350043"/>
                <a:gd name="connsiteY2" fmla="*/ 44005 h 235648"/>
                <a:gd name="connsiteX3" fmla="*/ 47149 w 350043"/>
                <a:gd name="connsiteY3" fmla="*/ 27432 h 235648"/>
                <a:gd name="connsiteX4" fmla="*/ 62960 w 350043"/>
                <a:gd name="connsiteY4" fmla="*/ 13335 h 235648"/>
                <a:gd name="connsiteX5" fmla="*/ 83058 w 350043"/>
                <a:gd name="connsiteY5" fmla="*/ 3715 h 235648"/>
                <a:gd name="connsiteX6" fmla="*/ 108966 w 350043"/>
                <a:gd name="connsiteY6" fmla="*/ 95 h 235648"/>
                <a:gd name="connsiteX7" fmla="*/ 155448 w 350043"/>
                <a:gd name="connsiteY7" fmla="*/ 13240 h 235648"/>
                <a:gd name="connsiteX8" fmla="*/ 183166 w 350043"/>
                <a:gd name="connsiteY8" fmla="*/ 46006 h 235648"/>
                <a:gd name="connsiteX9" fmla="*/ 197168 w 350043"/>
                <a:gd name="connsiteY9" fmla="*/ 28194 h 235648"/>
                <a:gd name="connsiteX10" fmla="*/ 214789 w 350043"/>
                <a:gd name="connsiteY10" fmla="*/ 13430 h 235648"/>
                <a:gd name="connsiteX11" fmla="*/ 236887 w 350043"/>
                <a:gd name="connsiteY11" fmla="*/ 3620 h 235648"/>
                <a:gd name="connsiteX12" fmla="*/ 264319 w 350043"/>
                <a:gd name="connsiteY12" fmla="*/ 0 h 235648"/>
                <a:gd name="connsiteX13" fmla="*/ 327279 w 350043"/>
                <a:gd name="connsiteY13" fmla="*/ 24765 h 235648"/>
                <a:gd name="connsiteX14" fmla="*/ 350044 w 350043"/>
                <a:gd name="connsiteY14" fmla="*/ 92773 h 235648"/>
                <a:gd name="connsiteX15" fmla="*/ 350044 w 350043"/>
                <a:gd name="connsiteY15" fmla="*/ 235648 h 235648"/>
                <a:gd name="connsiteX16" fmla="*/ 315659 w 350043"/>
                <a:gd name="connsiteY16" fmla="*/ 235648 h 235648"/>
                <a:gd name="connsiteX17" fmla="*/ 315659 w 350043"/>
                <a:gd name="connsiteY17" fmla="*/ 101155 h 235648"/>
                <a:gd name="connsiteX18" fmla="*/ 299847 w 350043"/>
                <a:gd name="connsiteY18" fmla="*/ 49721 h 235648"/>
                <a:gd name="connsiteX19" fmla="*/ 255937 w 350043"/>
                <a:gd name="connsiteY19" fmla="*/ 31718 h 235648"/>
                <a:gd name="connsiteX20" fmla="*/ 231362 w 350043"/>
                <a:gd name="connsiteY20" fmla="*/ 36386 h 235648"/>
                <a:gd name="connsiteX21" fmla="*/ 211074 w 350043"/>
                <a:gd name="connsiteY21" fmla="*/ 50197 h 235648"/>
                <a:gd name="connsiteX22" fmla="*/ 197263 w 350043"/>
                <a:gd name="connsiteY22" fmla="*/ 72676 h 235648"/>
                <a:gd name="connsiteX23" fmla="*/ 192119 w 350043"/>
                <a:gd name="connsiteY23" fmla="*/ 102965 h 235648"/>
                <a:gd name="connsiteX24" fmla="*/ 192119 w 350043"/>
                <a:gd name="connsiteY24" fmla="*/ 235648 h 235648"/>
                <a:gd name="connsiteX25" fmla="*/ 158210 w 350043"/>
                <a:gd name="connsiteY25" fmla="*/ 235648 h 235648"/>
                <a:gd name="connsiteX26" fmla="*/ 158210 w 350043"/>
                <a:gd name="connsiteY26" fmla="*/ 100298 h 235648"/>
                <a:gd name="connsiteX27" fmla="*/ 142399 w 350043"/>
                <a:gd name="connsiteY27" fmla="*/ 49721 h 235648"/>
                <a:gd name="connsiteX28" fmla="*/ 98870 w 350043"/>
                <a:gd name="connsiteY28" fmla="*/ 31718 h 235648"/>
                <a:gd name="connsiteX29" fmla="*/ 73438 w 350043"/>
                <a:gd name="connsiteY29" fmla="*/ 37052 h 235648"/>
                <a:gd name="connsiteX30" fmla="*/ 53150 w 350043"/>
                <a:gd name="connsiteY30" fmla="*/ 52197 h 235648"/>
                <a:gd name="connsiteX31" fmla="*/ 39529 w 350043"/>
                <a:gd name="connsiteY31" fmla="*/ 75152 h 235648"/>
                <a:gd name="connsiteX32" fmla="*/ 34576 w 350043"/>
                <a:gd name="connsiteY32" fmla="*/ 104299 h 235648"/>
                <a:gd name="connsiteX33" fmla="*/ 34576 w 350043"/>
                <a:gd name="connsiteY33" fmla="*/ 235648 h 235648"/>
                <a:gd name="connsiteX34" fmla="*/ 190 w 350043"/>
                <a:gd name="connsiteY34" fmla="*/ 235648 h 235648"/>
                <a:gd name="connsiteX35" fmla="*/ 190 w 350043"/>
                <a:gd name="connsiteY35" fmla="*/ 485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0043" h="235648">
                  <a:moveTo>
                    <a:pt x="0" y="5144"/>
                  </a:moveTo>
                  <a:lnTo>
                    <a:pt x="34385" y="5144"/>
                  </a:lnTo>
                  <a:lnTo>
                    <a:pt x="34385" y="44005"/>
                  </a:lnTo>
                  <a:cubicBezTo>
                    <a:pt x="38290" y="38386"/>
                    <a:pt x="42481" y="32861"/>
                    <a:pt x="47149" y="27432"/>
                  </a:cubicBezTo>
                  <a:cubicBezTo>
                    <a:pt x="51721" y="22098"/>
                    <a:pt x="57055" y="17431"/>
                    <a:pt x="62960" y="13335"/>
                  </a:cubicBezTo>
                  <a:cubicBezTo>
                    <a:pt x="68866" y="9335"/>
                    <a:pt x="75629" y="6096"/>
                    <a:pt x="83058" y="3715"/>
                  </a:cubicBezTo>
                  <a:cubicBezTo>
                    <a:pt x="90488" y="1334"/>
                    <a:pt x="99155" y="95"/>
                    <a:pt x="108966" y="95"/>
                  </a:cubicBezTo>
                  <a:cubicBezTo>
                    <a:pt x="127730" y="95"/>
                    <a:pt x="143161" y="4477"/>
                    <a:pt x="155448" y="13240"/>
                  </a:cubicBezTo>
                  <a:cubicBezTo>
                    <a:pt x="167640" y="22003"/>
                    <a:pt x="176879" y="32956"/>
                    <a:pt x="183166" y="46006"/>
                  </a:cubicBezTo>
                  <a:cubicBezTo>
                    <a:pt x="187357" y="39719"/>
                    <a:pt x="192024" y="33814"/>
                    <a:pt x="197168" y="28194"/>
                  </a:cubicBezTo>
                  <a:cubicBezTo>
                    <a:pt x="202406" y="22574"/>
                    <a:pt x="208217" y="17621"/>
                    <a:pt x="214789" y="13430"/>
                  </a:cubicBezTo>
                  <a:cubicBezTo>
                    <a:pt x="221361" y="9239"/>
                    <a:pt x="228695" y="6001"/>
                    <a:pt x="236887" y="3620"/>
                  </a:cubicBezTo>
                  <a:cubicBezTo>
                    <a:pt x="245078" y="1238"/>
                    <a:pt x="254222" y="0"/>
                    <a:pt x="264319" y="0"/>
                  </a:cubicBezTo>
                  <a:cubicBezTo>
                    <a:pt x="291084" y="0"/>
                    <a:pt x="312039" y="8287"/>
                    <a:pt x="327279" y="24765"/>
                  </a:cubicBezTo>
                  <a:cubicBezTo>
                    <a:pt x="342519" y="41243"/>
                    <a:pt x="350044" y="63913"/>
                    <a:pt x="350044" y="92773"/>
                  </a:cubicBezTo>
                  <a:lnTo>
                    <a:pt x="350044" y="235648"/>
                  </a:lnTo>
                  <a:lnTo>
                    <a:pt x="315659" y="235648"/>
                  </a:lnTo>
                  <a:lnTo>
                    <a:pt x="315659" y="101155"/>
                  </a:lnTo>
                  <a:cubicBezTo>
                    <a:pt x="315659" y="78867"/>
                    <a:pt x="310420" y="61722"/>
                    <a:pt x="299847" y="49721"/>
                  </a:cubicBezTo>
                  <a:cubicBezTo>
                    <a:pt x="289274" y="37719"/>
                    <a:pt x="274606" y="31718"/>
                    <a:pt x="255937" y="31718"/>
                  </a:cubicBezTo>
                  <a:cubicBezTo>
                    <a:pt x="247269" y="31718"/>
                    <a:pt x="239078" y="33242"/>
                    <a:pt x="231362" y="36386"/>
                  </a:cubicBezTo>
                  <a:cubicBezTo>
                    <a:pt x="223647" y="39529"/>
                    <a:pt x="216884" y="44101"/>
                    <a:pt x="211074" y="50197"/>
                  </a:cubicBezTo>
                  <a:cubicBezTo>
                    <a:pt x="205264" y="56293"/>
                    <a:pt x="200692" y="63818"/>
                    <a:pt x="197263" y="72676"/>
                  </a:cubicBezTo>
                  <a:cubicBezTo>
                    <a:pt x="193834" y="81629"/>
                    <a:pt x="192119" y="91726"/>
                    <a:pt x="192119" y="102965"/>
                  </a:cubicBezTo>
                  <a:lnTo>
                    <a:pt x="192119" y="235648"/>
                  </a:lnTo>
                  <a:lnTo>
                    <a:pt x="158210" y="235648"/>
                  </a:lnTo>
                  <a:lnTo>
                    <a:pt x="158210" y="100298"/>
                  </a:lnTo>
                  <a:cubicBezTo>
                    <a:pt x="158210" y="78677"/>
                    <a:pt x="152971" y="61817"/>
                    <a:pt x="142399" y="49721"/>
                  </a:cubicBezTo>
                  <a:cubicBezTo>
                    <a:pt x="131826" y="37719"/>
                    <a:pt x="117348" y="31718"/>
                    <a:pt x="98870" y="31718"/>
                  </a:cubicBezTo>
                  <a:cubicBezTo>
                    <a:pt x="89630" y="31718"/>
                    <a:pt x="81153" y="33528"/>
                    <a:pt x="73438" y="37052"/>
                  </a:cubicBezTo>
                  <a:cubicBezTo>
                    <a:pt x="65722" y="40672"/>
                    <a:pt x="58960" y="45720"/>
                    <a:pt x="53150" y="52197"/>
                  </a:cubicBezTo>
                  <a:cubicBezTo>
                    <a:pt x="47339" y="58769"/>
                    <a:pt x="42767" y="66389"/>
                    <a:pt x="39529" y="75152"/>
                  </a:cubicBezTo>
                  <a:cubicBezTo>
                    <a:pt x="36290" y="83915"/>
                    <a:pt x="34576" y="93631"/>
                    <a:pt x="34576" y="104299"/>
                  </a:cubicBezTo>
                  <a:lnTo>
                    <a:pt x="34576" y="235648"/>
                  </a:lnTo>
                  <a:lnTo>
                    <a:pt x="190" y="235648"/>
                  </a:lnTo>
                  <a:lnTo>
                    <a:pt x="190" y="4858"/>
                  </a:lnTo>
                  <a:close/>
                </a:path>
              </a:pathLst>
            </a:custGeom>
            <a:solidFill>
              <a:srgbClr val="44505E"/>
            </a:solidFill>
            <a:ln w="9525" cap="flat">
              <a:noFill/>
              <a:prstDash val="solid"/>
              <a:miter/>
            </a:ln>
          </p:spPr>
          <p:txBody>
            <a:bodyPr rtlCol="0" anchor="ctr"/>
            <a:lstStyle/>
            <a:p>
              <a:endParaRPr lang="pt-BR" noProof="0"/>
            </a:p>
          </p:txBody>
        </p:sp>
        <p:sp>
          <p:nvSpPr>
            <p:cNvPr id="50" name="Freeform: Shape 49">
              <a:extLst>
                <a:ext uri="{FF2B5EF4-FFF2-40B4-BE49-F238E27FC236}">
                  <a16:creationId xmlns:a16="http://schemas.microsoft.com/office/drawing/2014/main" id="{87D056FB-0BC5-EA7F-81B6-49F9582083E3}"/>
                </a:ext>
              </a:extLst>
            </p:cNvPr>
            <p:cNvSpPr/>
            <p:nvPr/>
          </p:nvSpPr>
          <p:spPr>
            <a:xfrm>
              <a:off x="6415537" y="925273"/>
              <a:ext cx="58016" cy="58448"/>
            </a:xfrm>
            <a:custGeom>
              <a:avLst/>
              <a:gdLst>
                <a:gd name="connsiteX0" fmla="*/ 95 w 230790"/>
                <a:gd name="connsiteY0" fmla="*/ 0 h 232505"/>
                <a:gd name="connsiteX1" fmla="*/ 38005 w 230790"/>
                <a:gd name="connsiteY1" fmla="*/ 0 h 232505"/>
                <a:gd name="connsiteX2" fmla="*/ 115633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3"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51" name="Freeform: Shape 50">
              <a:extLst>
                <a:ext uri="{FF2B5EF4-FFF2-40B4-BE49-F238E27FC236}">
                  <a16:creationId xmlns:a16="http://schemas.microsoft.com/office/drawing/2014/main" id="{7511F7AA-1C63-C87F-0329-7C77D58CC372}"/>
                </a:ext>
              </a:extLst>
            </p:cNvPr>
            <p:cNvSpPr/>
            <p:nvPr/>
          </p:nvSpPr>
          <p:spPr>
            <a:xfrm>
              <a:off x="6487369"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286 w 39242"/>
                <a:gd name="connsiteY5" fmla="*/ 88392 h 319182"/>
                <a:gd name="connsiteX6" fmla="*/ 36671 w 39242"/>
                <a:gd name="connsiteY6" fmla="*/ 88392 h 319182"/>
                <a:gd name="connsiteX7" fmla="*/ 36671 w 39242"/>
                <a:gd name="connsiteY7" fmla="*/ 319183 h 319182"/>
                <a:gd name="connsiteX8" fmla="*/ 2286 w 39242"/>
                <a:gd name="connsiteY8" fmla="*/ 319183 h 319182"/>
                <a:gd name="connsiteX9" fmla="*/ 2286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286" y="88392"/>
                  </a:moveTo>
                  <a:lnTo>
                    <a:pt x="36671" y="88392"/>
                  </a:lnTo>
                  <a:lnTo>
                    <a:pt x="36671" y="319183"/>
                  </a:lnTo>
                  <a:lnTo>
                    <a:pt x="2286" y="319183"/>
                  </a:lnTo>
                  <a:lnTo>
                    <a:pt x="2286" y="88392"/>
                  </a:lnTo>
                  <a:close/>
                </a:path>
              </a:pathLst>
            </a:custGeom>
            <a:solidFill>
              <a:srgbClr val="44505E"/>
            </a:solidFill>
            <a:ln w="9525" cap="flat">
              <a:noFill/>
              <a:prstDash val="solid"/>
              <a:miter/>
            </a:ln>
          </p:spPr>
          <p:txBody>
            <a:bodyPr rtlCol="0" anchor="ctr"/>
            <a:lstStyle/>
            <a:p>
              <a:endParaRPr lang="pt-BR" noProof="0"/>
            </a:p>
          </p:txBody>
        </p:sp>
        <p:sp>
          <p:nvSpPr>
            <p:cNvPr id="52" name="Freeform: Shape 51">
              <a:extLst>
                <a:ext uri="{FF2B5EF4-FFF2-40B4-BE49-F238E27FC236}">
                  <a16:creationId xmlns:a16="http://schemas.microsoft.com/office/drawing/2014/main" id="{B6C4B586-FA45-F407-4B8B-0D2891B580CA}"/>
                </a:ext>
              </a:extLst>
            </p:cNvPr>
            <p:cNvSpPr/>
            <p:nvPr/>
          </p:nvSpPr>
          <p:spPr>
            <a:xfrm>
              <a:off x="6513253" y="901353"/>
              <a:ext cx="58615" cy="83182"/>
            </a:xfrm>
            <a:custGeom>
              <a:avLst/>
              <a:gdLst>
                <a:gd name="connsiteX0" fmla="*/ 110394 w 233171"/>
                <a:gd name="connsiteY0" fmla="*/ 330898 h 330898"/>
                <a:gd name="connsiteX1" fmla="*/ 69723 w 233171"/>
                <a:gd name="connsiteY1" fmla="*/ 322897 h 330898"/>
                <a:gd name="connsiteX2" fmla="*/ 34480 w 233171"/>
                <a:gd name="connsiteY2" fmla="*/ 299466 h 330898"/>
                <a:gd name="connsiteX3" fmla="*/ 9430 w 233171"/>
                <a:gd name="connsiteY3" fmla="*/ 261938 h 330898"/>
                <a:gd name="connsiteX4" fmla="*/ 0 w 233171"/>
                <a:gd name="connsiteY4" fmla="*/ 211264 h 330898"/>
                <a:gd name="connsiteX5" fmla="*/ 0 w 233171"/>
                <a:gd name="connsiteY5" fmla="*/ 210407 h 330898"/>
                <a:gd name="connsiteX6" fmla="*/ 9430 w 233171"/>
                <a:gd name="connsiteY6" fmla="*/ 159925 h 330898"/>
                <a:gd name="connsiteX7" fmla="*/ 34480 w 233171"/>
                <a:gd name="connsiteY7" fmla="*/ 122206 h 330898"/>
                <a:gd name="connsiteX8" fmla="*/ 69723 w 233171"/>
                <a:gd name="connsiteY8" fmla="*/ 98488 h 330898"/>
                <a:gd name="connsiteX9" fmla="*/ 110394 w 233171"/>
                <a:gd name="connsiteY9" fmla="*/ 90202 h 330898"/>
                <a:gd name="connsiteX10" fmla="*/ 139827 w 233171"/>
                <a:gd name="connsiteY10" fmla="*/ 94202 h 330898"/>
                <a:gd name="connsiteX11" fmla="*/ 163925 w 233171"/>
                <a:gd name="connsiteY11" fmla="*/ 104870 h 330898"/>
                <a:gd name="connsiteX12" fmla="*/ 183356 w 233171"/>
                <a:gd name="connsiteY12" fmla="*/ 120491 h 330898"/>
                <a:gd name="connsiteX13" fmla="*/ 198787 w 233171"/>
                <a:gd name="connsiteY13" fmla="*/ 139255 h 330898"/>
                <a:gd name="connsiteX14" fmla="*/ 198787 w 233171"/>
                <a:gd name="connsiteY14" fmla="*/ 0 h 330898"/>
                <a:gd name="connsiteX15" fmla="*/ 233172 w 233171"/>
                <a:gd name="connsiteY15" fmla="*/ 0 h 330898"/>
                <a:gd name="connsiteX16" fmla="*/ 233172 w 233171"/>
                <a:gd name="connsiteY16" fmla="*/ 325850 h 330898"/>
                <a:gd name="connsiteX17" fmla="*/ 198787 w 233171"/>
                <a:gd name="connsiteY17" fmla="*/ 325850 h 330898"/>
                <a:gd name="connsiteX18" fmla="*/ 198787 w 233171"/>
                <a:gd name="connsiteY18" fmla="*/ 279463 h 330898"/>
                <a:gd name="connsiteX19" fmla="*/ 182975 w 233171"/>
                <a:gd name="connsiteY19" fmla="*/ 299085 h 330898"/>
                <a:gd name="connsiteX20" fmla="*/ 163544 w 233171"/>
                <a:gd name="connsiteY20" fmla="*/ 315658 h 330898"/>
                <a:gd name="connsiteX21" fmla="*/ 139636 w 233171"/>
                <a:gd name="connsiteY21" fmla="*/ 326803 h 330898"/>
                <a:gd name="connsiteX22" fmla="*/ 110394 w 233171"/>
                <a:gd name="connsiteY22" fmla="*/ 330803 h 330898"/>
                <a:gd name="connsiteX23" fmla="*/ 116681 w 233171"/>
                <a:gd name="connsiteY23" fmla="*/ 300133 h 330898"/>
                <a:gd name="connsiteX24" fmla="*/ 147733 w 233171"/>
                <a:gd name="connsiteY24" fmla="*/ 293656 h 330898"/>
                <a:gd name="connsiteX25" fmla="*/ 174498 w 233171"/>
                <a:gd name="connsiteY25" fmla="*/ 275368 h 330898"/>
                <a:gd name="connsiteX26" fmla="*/ 193262 w 233171"/>
                <a:gd name="connsiteY26" fmla="*/ 247269 h 330898"/>
                <a:gd name="connsiteX27" fmla="*/ 200216 w 233171"/>
                <a:gd name="connsiteY27" fmla="*/ 210883 h 330898"/>
                <a:gd name="connsiteX28" fmla="*/ 200216 w 233171"/>
                <a:gd name="connsiteY28" fmla="*/ 210026 h 330898"/>
                <a:gd name="connsiteX29" fmla="*/ 193262 w 233171"/>
                <a:gd name="connsiteY29" fmla="*/ 173641 h 330898"/>
                <a:gd name="connsiteX30" fmla="*/ 174498 w 233171"/>
                <a:gd name="connsiteY30" fmla="*/ 145732 h 330898"/>
                <a:gd name="connsiteX31" fmla="*/ 147733 w 233171"/>
                <a:gd name="connsiteY31" fmla="*/ 127635 h 330898"/>
                <a:gd name="connsiteX32" fmla="*/ 116681 w 233171"/>
                <a:gd name="connsiteY32" fmla="*/ 121158 h 330898"/>
                <a:gd name="connsiteX33" fmla="*/ 84963 w 233171"/>
                <a:gd name="connsiteY33" fmla="*/ 127159 h 330898"/>
                <a:gd name="connsiteX34" fmla="*/ 59341 w 233171"/>
                <a:gd name="connsiteY34" fmla="*/ 144589 h 330898"/>
                <a:gd name="connsiteX35" fmla="*/ 41910 w 233171"/>
                <a:gd name="connsiteY35" fmla="*/ 172498 h 330898"/>
                <a:gd name="connsiteX36" fmla="*/ 35433 w 233171"/>
                <a:gd name="connsiteY36" fmla="*/ 210026 h 330898"/>
                <a:gd name="connsiteX37" fmla="*/ 35433 w 233171"/>
                <a:gd name="connsiteY37" fmla="*/ 210883 h 330898"/>
                <a:gd name="connsiteX38" fmla="*/ 41910 w 233171"/>
                <a:gd name="connsiteY38" fmla="*/ 247936 h 330898"/>
                <a:gd name="connsiteX39" fmla="*/ 59531 w 233171"/>
                <a:gd name="connsiteY39" fmla="*/ 276034 h 330898"/>
                <a:gd name="connsiteX40" fmla="*/ 85439 w 233171"/>
                <a:gd name="connsiteY40" fmla="*/ 293941 h 330898"/>
                <a:gd name="connsiteX41" fmla="*/ 116681 w 23317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3171" h="330898">
                  <a:moveTo>
                    <a:pt x="110394" y="330898"/>
                  </a:moveTo>
                  <a:cubicBezTo>
                    <a:pt x="96393" y="330898"/>
                    <a:pt x="82868" y="328231"/>
                    <a:pt x="69723" y="322897"/>
                  </a:cubicBezTo>
                  <a:cubicBezTo>
                    <a:pt x="56674" y="317563"/>
                    <a:pt x="44863" y="309753"/>
                    <a:pt x="34480" y="299466"/>
                  </a:cubicBezTo>
                  <a:cubicBezTo>
                    <a:pt x="24003" y="289179"/>
                    <a:pt x="15716" y="276701"/>
                    <a:pt x="9430" y="261938"/>
                  </a:cubicBezTo>
                  <a:cubicBezTo>
                    <a:pt x="3143" y="247174"/>
                    <a:pt x="0" y="230314"/>
                    <a:pt x="0" y="211264"/>
                  </a:cubicBezTo>
                  <a:lnTo>
                    <a:pt x="0" y="210407"/>
                  </a:lnTo>
                  <a:cubicBezTo>
                    <a:pt x="0" y="191643"/>
                    <a:pt x="3143" y="174879"/>
                    <a:pt x="9430" y="159925"/>
                  </a:cubicBezTo>
                  <a:cubicBezTo>
                    <a:pt x="15716" y="145066"/>
                    <a:pt x="24003" y="132493"/>
                    <a:pt x="34480" y="122206"/>
                  </a:cubicBezTo>
                  <a:cubicBezTo>
                    <a:pt x="44863" y="111919"/>
                    <a:pt x="56674" y="104013"/>
                    <a:pt x="69723" y="98488"/>
                  </a:cubicBezTo>
                  <a:cubicBezTo>
                    <a:pt x="82868" y="92964"/>
                    <a:pt x="96393" y="90202"/>
                    <a:pt x="110394" y="90202"/>
                  </a:cubicBezTo>
                  <a:cubicBezTo>
                    <a:pt x="121158" y="90202"/>
                    <a:pt x="130969" y="91535"/>
                    <a:pt x="139827" y="94202"/>
                  </a:cubicBezTo>
                  <a:cubicBezTo>
                    <a:pt x="148780" y="96869"/>
                    <a:pt x="156782" y="100489"/>
                    <a:pt x="163925" y="104870"/>
                  </a:cubicBezTo>
                  <a:cubicBezTo>
                    <a:pt x="171069" y="109347"/>
                    <a:pt x="177546" y="114586"/>
                    <a:pt x="183356" y="120491"/>
                  </a:cubicBezTo>
                  <a:cubicBezTo>
                    <a:pt x="189166" y="126492"/>
                    <a:pt x="194310" y="132683"/>
                    <a:pt x="198787" y="139255"/>
                  </a:cubicBezTo>
                  <a:lnTo>
                    <a:pt x="198787" y="0"/>
                  </a:lnTo>
                  <a:lnTo>
                    <a:pt x="233172" y="0"/>
                  </a:lnTo>
                  <a:lnTo>
                    <a:pt x="233172" y="325850"/>
                  </a:lnTo>
                  <a:lnTo>
                    <a:pt x="198787" y="325850"/>
                  </a:lnTo>
                  <a:lnTo>
                    <a:pt x="198787" y="279463"/>
                  </a:lnTo>
                  <a:cubicBezTo>
                    <a:pt x="194024" y="286321"/>
                    <a:pt x="188786" y="292894"/>
                    <a:pt x="182975" y="299085"/>
                  </a:cubicBezTo>
                  <a:cubicBezTo>
                    <a:pt x="177165" y="305371"/>
                    <a:pt x="170688" y="310896"/>
                    <a:pt x="163544" y="315658"/>
                  </a:cubicBezTo>
                  <a:cubicBezTo>
                    <a:pt x="156400" y="320421"/>
                    <a:pt x="148494" y="324136"/>
                    <a:pt x="139636" y="326803"/>
                  </a:cubicBezTo>
                  <a:cubicBezTo>
                    <a:pt x="130873" y="329470"/>
                    <a:pt x="121158" y="330803"/>
                    <a:pt x="110394" y="330803"/>
                  </a:cubicBezTo>
                  <a:close/>
                  <a:moveTo>
                    <a:pt x="116681" y="300133"/>
                  </a:moveTo>
                  <a:cubicBezTo>
                    <a:pt x="127445" y="300133"/>
                    <a:pt x="137732" y="297942"/>
                    <a:pt x="147733" y="293656"/>
                  </a:cubicBezTo>
                  <a:cubicBezTo>
                    <a:pt x="157734" y="289369"/>
                    <a:pt x="166592" y="283273"/>
                    <a:pt x="174498" y="275368"/>
                  </a:cubicBezTo>
                  <a:cubicBezTo>
                    <a:pt x="182404" y="267462"/>
                    <a:pt x="188595" y="258127"/>
                    <a:pt x="193262" y="247269"/>
                  </a:cubicBezTo>
                  <a:cubicBezTo>
                    <a:pt x="197834" y="236410"/>
                    <a:pt x="200216" y="224314"/>
                    <a:pt x="200216" y="210883"/>
                  </a:cubicBezTo>
                  <a:lnTo>
                    <a:pt x="200216" y="210026"/>
                  </a:lnTo>
                  <a:cubicBezTo>
                    <a:pt x="200216" y="196596"/>
                    <a:pt x="197929" y="184499"/>
                    <a:pt x="193262" y="173641"/>
                  </a:cubicBezTo>
                  <a:cubicBezTo>
                    <a:pt x="188595" y="162782"/>
                    <a:pt x="182404" y="153448"/>
                    <a:pt x="174498" y="145732"/>
                  </a:cubicBezTo>
                  <a:cubicBezTo>
                    <a:pt x="166592" y="138017"/>
                    <a:pt x="157639" y="132016"/>
                    <a:pt x="147733" y="127635"/>
                  </a:cubicBezTo>
                  <a:cubicBezTo>
                    <a:pt x="137732" y="123349"/>
                    <a:pt x="127445" y="121158"/>
                    <a:pt x="116681" y="121158"/>
                  </a:cubicBezTo>
                  <a:cubicBezTo>
                    <a:pt x="105346" y="121158"/>
                    <a:pt x="94774" y="123158"/>
                    <a:pt x="84963" y="127159"/>
                  </a:cubicBezTo>
                  <a:cubicBezTo>
                    <a:pt x="75152" y="131159"/>
                    <a:pt x="66580" y="136969"/>
                    <a:pt x="59341" y="144589"/>
                  </a:cubicBezTo>
                  <a:cubicBezTo>
                    <a:pt x="52007" y="152114"/>
                    <a:pt x="46291" y="161449"/>
                    <a:pt x="41910" y="172498"/>
                  </a:cubicBezTo>
                  <a:cubicBezTo>
                    <a:pt x="37624" y="183451"/>
                    <a:pt x="35433" y="196024"/>
                    <a:pt x="35433" y="210026"/>
                  </a:cubicBezTo>
                  <a:lnTo>
                    <a:pt x="35433" y="210883"/>
                  </a:lnTo>
                  <a:cubicBezTo>
                    <a:pt x="35433" y="224599"/>
                    <a:pt x="37624" y="236982"/>
                    <a:pt x="41910" y="247936"/>
                  </a:cubicBezTo>
                  <a:cubicBezTo>
                    <a:pt x="46196" y="258984"/>
                    <a:pt x="52101" y="268319"/>
                    <a:pt x="59531" y="276034"/>
                  </a:cubicBezTo>
                  <a:cubicBezTo>
                    <a:pt x="66960" y="283750"/>
                    <a:pt x="75629" y="289750"/>
                    <a:pt x="85439" y="293941"/>
                  </a:cubicBezTo>
                  <a:cubicBezTo>
                    <a:pt x="95250" y="298132"/>
                    <a:pt x="105632" y="300228"/>
                    <a:pt x="116681" y="300228"/>
                  </a:cubicBezTo>
                  <a:close/>
                </a:path>
              </a:pathLst>
            </a:custGeom>
            <a:solidFill>
              <a:srgbClr val="44505E"/>
            </a:solidFill>
            <a:ln w="9525" cap="flat">
              <a:noFill/>
              <a:prstDash val="solid"/>
              <a:miter/>
            </a:ln>
          </p:spPr>
          <p:txBody>
            <a:bodyPr rtlCol="0" anchor="ctr"/>
            <a:lstStyle/>
            <a:p>
              <a:endParaRPr lang="pt-BR" noProof="0"/>
            </a:p>
          </p:txBody>
        </p:sp>
        <p:sp>
          <p:nvSpPr>
            <p:cNvPr id="53" name="Freeform: Shape 52">
              <a:extLst>
                <a:ext uri="{FF2B5EF4-FFF2-40B4-BE49-F238E27FC236}">
                  <a16:creationId xmlns:a16="http://schemas.microsoft.com/office/drawing/2014/main" id="{E2C78067-2644-2B5B-B738-3C555A210F9B}"/>
                </a:ext>
              </a:extLst>
            </p:cNvPr>
            <p:cNvSpPr/>
            <p:nvPr/>
          </p:nvSpPr>
          <p:spPr>
            <a:xfrm>
              <a:off x="6586762"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0 w 202977"/>
                <a:gd name="connsiteY16" fmla="*/ 48196 h 239267"/>
                <a:gd name="connsiteX17" fmla="*/ 20383 w 202977"/>
                <a:gd name="connsiteY17" fmla="*/ 19907 h 239267"/>
                <a:gd name="connsiteX18" fmla="*/ 59245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0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1"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675" y="92678"/>
                    <a:pt x="84011" y="90964"/>
                    <a:pt x="98584" y="90964"/>
                  </a:cubicBezTo>
                  <a:cubicBezTo>
                    <a:pt x="113157" y="90964"/>
                    <a:pt x="126302"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0" y="33147"/>
                    <a:pt x="63436" y="36100"/>
                  </a:cubicBezTo>
                  <a:cubicBezTo>
                    <a:pt x="52292" y="39053"/>
                    <a:pt x="41338" y="43053"/>
                    <a:pt x="30670" y="48196"/>
                  </a:cubicBezTo>
                  <a:lnTo>
                    <a:pt x="20383" y="19907"/>
                  </a:lnTo>
                  <a:cubicBezTo>
                    <a:pt x="33147" y="13906"/>
                    <a:pt x="46101" y="9049"/>
                    <a:pt x="59245" y="5429"/>
                  </a:cubicBezTo>
                  <a:cubicBezTo>
                    <a:pt x="72294" y="1810"/>
                    <a:pt x="87344" y="0"/>
                    <a:pt x="104299" y="0"/>
                  </a:cubicBezTo>
                  <a:cubicBezTo>
                    <a:pt x="137064" y="0"/>
                    <a:pt x="161925" y="8477"/>
                    <a:pt x="178879" y="25432"/>
                  </a:cubicBezTo>
                  <a:cubicBezTo>
                    <a:pt x="194976"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0" y="239173"/>
                  </a:cubicBezTo>
                  <a:close/>
                  <a:moveTo>
                    <a:pt x="93154" y="211169"/>
                  </a:moveTo>
                  <a:cubicBezTo>
                    <a:pt x="103822" y="211169"/>
                    <a:pt x="113729" y="209740"/>
                    <a:pt x="122967" y="206788"/>
                  </a:cubicBezTo>
                  <a:cubicBezTo>
                    <a:pt x="132207"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4" y="119348"/>
                    <a:pt x="116871"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54" name="Freeform: Shape 53">
              <a:extLst>
                <a:ext uri="{FF2B5EF4-FFF2-40B4-BE49-F238E27FC236}">
                  <a16:creationId xmlns:a16="http://schemas.microsoft.com/office/drawing/2014/main" id="{A380A83B-3D38-2CBC-130B-81EE73572D47}"/>
                </a:ext>
              </a:extLst>
            </p:cNvPr>
            <p:cNvSpPr/>
            <p:nvPr/>
          </p:nvSpPr>
          <p:spPr>
            <a:xfrm>
              <a:off x="6651291" y="924268"/>
              <a:ext cx="44680" cy="60195"/>
            </a:xfrm>
            <a:custGeom>
              <a:avLst/>
              <a:gdLst>
                <a:gd name="connsiteX0" fmla="*/ 95535 w 177736"/>
                <a:gd name="connsiteY0" fmla="*/ 239268 h 239458"/>
                <a:gd name="connsiteX1" fmla="*/ 45053 w 177736"/>
                <a:gd name="connsiteY1" fmla="*/ 230124 h 239458"/>
                <a:gd name="connsiteX2" fmla="*/ 0 w 177736"/>
                <a:gd name="connsiteY2" fmla="*/ 205359 h 239458"/>
                <a:gd name="connsiteX3" fmla="*/ 17430 w 177736"/>
                <a:gd name="connsiteY3" fmla="*/ 180785 h 239458"/>
                <a:gd name="connsiteX4" fmla="*/ 56483 w 177736"/>
                <a:gd name="connsiteY4" fmla="*/ 202692 h 239458"/>
                <a:gd name="connsiteX5" fmla="*/ 97345 w 177736"/>
                <a:gd name="connsiteY5" fmla="*/ 210217 h 239458"/>
                <a:gd name="connsiteX6" fmla="*/ 131730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825 w 177736"/>
                <a:gd name="connsiteY10" fmla="*/ 147066 h 239458"/>
                <a:gd name="connsiteX11" fmla="*/ 109251 w 177736"/>
                <a:gd name="connsiteY11" fmla="*/ 138779 h 239458"/>
                <a:gd name="connsiteX12" fmla="*/ 87630 w 177736"/>
                <a:gd name="connsiteY12" fmla="*/ 132112 h 239458"/>
                <a:gd name="connsiteX13" fmla="*/ 60579 w 177736"/>
                <a:gd name="connsiteY13" fmla="*/ 123444 h 239458"/>
                <a:gd name="connsiteX14" fmla="*/ 36004 w 177736"/>
                <a:gd name="connsiteY14" fmla="*/ 111633 h 239458"/>
                <a:gd name="connsiteX15" fmla="*/ 18192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59 w 177736"/>
                <a:gd name="connsiteY22" fmla="*/ 6953 h 239458"/>
                <a:gd name="connsiteX23" fmla="*/ 172878 w 177736"/>
                <a:gd name="connsiteY23" fmla="*/ 25527 h 239458"/>
                <a:gd name="connsiteX24" fmla="*/ 157257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3 w 177736"/>
                <a:gd name="connsiteY32" fmla="*/ 96203 h 239458"/>
                <a:gd name="connsiteX33" fmla="*/ 103631 w 177736"/>
                <a:gd name="connsiteY33" fmla="*/ 103346 h 239458"/>
                <a:gd name="connsiteX34" fmla="*/ 130207 w 177736"/>
                <a:gd name="connsiteY34" fmla="*/ 112300 h 239458"/>
                <a:gd name="connsiteX35" fmla="*/ 154114 w 177736"/>
                <a:gd name="connsiteY35" fmla="*/ 124778 h 239458"/>
                <a:gd name="connsiteX36" fmla="*/ 171259 w 177736"/>
                <a:gd name="connsiteY36" fmla="*/ 143066 h 239458"/>
                <a:gd name="connsiteX37" fmla="*/ 177736 w 177736"/>
                <a:gd name="connsiteY37" fmla="*/ 169450 h 239458"/>
                <a:gd name="connsiteX38" fmla="*/ 177736 w 177736"/>
                <a:gd name="connsiteY38" fmla="*/ 170307 h 239458"/>
                <a:gd name="connsiteX39" fmla="*/ 171259 w 177736"/>
                <a:gd name="connsiteY39" fmla="*/ 199549 h 239458"/>
                <a:gd name="connsiteX40" fmla="*/ 153828 w 177736"/>
                <a:gd name="connsiteY40" fmla="*/ 221171 h 239458"/>
                <a:gd name="connsiteX41" fmla="*/ 127921 w 177736"/>
                <a:gd name="connsiteY41" fmla="*/ 234791 h 239458"/>
                <a:gd name="connsiteX42" fmla="*/ 95535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5" y="239268"/>
                  </a:moveTo>
                  <a:cubicBezTo>
                    <a:pt x="78867" y="239268"/>
                    <a:pt x="62007" y="236220"/>
                    <a:pt x="45053" y="230124"/>
                  </a:cubicBezTo>
                  <a:cubicBezTo>
                    <a:pt x="28098" y="224028"/>
                    <a:pt x="13049" y="215741"/>
                    <a:pt x="0" y="205359"/>
                  </a:cubicBezTo>
                  <a:lnTo>
                    <a:pt x="17430" y="180785"/>
                  </a:lnTo>
                  <a:cubicBezTo>
                    <a:pt x="29908" y="190310"/>
                    <a:pt x="42957" y="197644"/>
                    <a:pt x="56483" y="202692"/>
                  </a:cubicBezTo>
                  <a:cubicBezTo>
                    <a:pt x="70009" y="207740"/>
                    <a:pt x="83629" y="210217"/>
                    <a:pt x="97345" y="210217"/>
                  </a:cubicBezTo>
                  <a:cubicBezTo>
                    <a:pt x="111061" y="210217"/>
                    <a:pt x="122777" y="206978"/>
                    <a:pt x="131730" y="200406"/>
                  </a:cubicBezTo>
                  <a:cubicBezTo>
                    <a:pt x="140684" y="193834"/>
                    <a:pt x="145161" y="184976"/>
                    <a:pt x="145161" y="173641"/>
                  </a:cubicBezTo>
                  <a:lnTo>
                    <a:pt x="145161" y="172784"/>
                  </a:lnTo>
                  <a:cubicBezTo>
                    <a:pt x="145161" y="167164"/>
                    <a:pt x="143541" y="162211"/>
                    <a:pt x="140494" y="158020"/>
                  </a:cubicBezTo>
                  <a:cubicBezTo>
                    <a:pt x="137350" y="153829"/>
                    <a:pt x="133159" y="150209"/>
                    <a:pt x="127825" y="147066"/>
                  </a:cubicBezTo>
                  <a:cubicBezTo>
                    <a:pt x="122491" y="143923"/>
                    <a:pt x="116300" y="141161"/>
                    <a:pt x="109251" y="138779"/>
                  </a:cubicBezTo>
                  <a:cubicBezTo>
                    <a:pt x="102298" y="136398"/>
                    <a:pt x="95059" y="134207"/>
                    <a:pt x="87630" y="132112"/>
                  </a:cubicBezTo>
                  <a:cubicBezTo>
                    <a:pt x="78676" y="129445"/>
                    <a:pt x="69722" y="126492"/>
                    <a:pt x="60579" y="123444"/>
                  </a:cubicBezTo>
                  <a:cubicBezTo>
                    <a:pt x="51530" y="120301"/>
                    <a:pt x="43339" y="116396"/>
                    <a:pt x="36004" y="111633"/>
                  </a:cubicBezTo>
                  <a:cubicBezTo>
                    <a:pt x="28670" y="106871"/>
                    <a:pt x="22764" y="100870"/>
                    <a:pt x="18192" y="93726"/>
                  </a:cubicBezTo>
                  <a:cubicBezTo>
                    <a:pt x="13525" y="86582"/>
                    <a:pt x="11239" y="77629"/>
                    <a:pt x="11239" y="66961"/>
                  </a:cubicBezTo>
                  <a:lnTo>
                    <a:pt x="11239" y="66008"/>
                  </a:lnTo>
                  <a:cubicBezTo>
                    <a:pt x="11239" y="56198"/>
                    <a:pt x="13144" y="47149"/>
                    <a:pt x="17050" y="39053"/>
                  </a:cubicBezTo>
                  <a:cubicBezTo>
                    <a:pt x="20955" y="30861"/>
                    <a:pt x="26384" y="23908"/>
                    <a:pt x="33338" y="18098"/>
                  </a:cubicBezTo>
                  <a:cubicBezTo>
                    <a:pt x="40291" y="12287"/>
                    <a:pt x="48673" y="7811"/>
                    <a:pt x="58388" y="4667"/>
                  </a:cubicBezTo>
                  <a:cubicBezTo>
                    <a:pt x="68008" y="1524"/>
                    <a:pt x="78581" y="0"/>
                    <a:pt x="89821" y="0"/>
                  </a:cubicBezTo>
                  <a:cubicBezTo>
                    <a:pt x="104108" y="0"/>
                    <a:pt x="118586" y="2286"/>
                    <a:pt x="133159" y="6953"/>
                  </a:cubicBezTo>
                  <a:cubicBezTo>
                    <a:pt x="147732" y="11621"/>
                    <a:pt x="160972" y="17717"/>
                    <a:pt x="172878" y="25527"/>
                  </a:cubicBezTo>
                  <a:lnTo>
                    <a:pt x="157257" y="51435"/>
                  </a:lnTo>
                  <a:cubicBezTo>
                    <a:pt x="146494" y="44577"/>
                    <a:pt x="135255" y="39148"/>
                    <a:pt x="123539" y="35147"/>
                  </a:cubicBezTo>
                  <a:cubicBezTo>
                    <a:pt x="111823" y="31147"/>
                    <a:pt x="100203" y="29146"/>
                    <a:pt x="88963" y="29146"/>
                  </a:cubicBezTo>
                  <a:cubicBezTo>
                    <a:pt x="75247" y="29146"/>
                    <a:pt x="64389" y="32385"/>
                    <a:pt x="56388" y="38767"/>
                  </a:cubicBezTo>
                  <a:cubicBezTo>
                    <a:pt x="48291" y="45149"/>
                    <a:pt x="44291" y="53150"/>
                    <a:pt x="44291" y="62675"/>
                  </a:cubicBezTo>
                  <a:lnTo>
                    <a:pt x="44291" y="63627"/>
                  </a:lnTo>
                  <a:cubicBezTo>
                    <a:pt x="44291" y="68961"/>
                    <a:pt x="45910" y="73628"/>
                    <a:pt x="49244" y="77724"/>
                  </a:cubicBezTo>
                  <a:cubicBezTo>
                    <a:pt x="52482" y="81725"/>
                    <a:pt x="56864" y="85249"/>
                    <a:pt x="62389" y="88202"/>
                  </a:cubicBezTo>
                  <a:cubicBezTo>
                    <a:pt x="67913" y="91154"/>
                    <a:pt x="74200" y="93821"/>
                    <a:pt x="81343" y="96203"/>
                  </a:cubicBezTo>
                  <a:cubicBezTo>
                    <a:pt x="88487" y="98584"/>
                    <a:pt x="95916" y="100965"/>
                    <a:pt x="103631" y="103346"/>
                  </a:cubicBezTo>
                  <a:cubicBezTo>
                    <a:pt x="112585" y="106013"/>
                    <a:pt x="121444" y="108966"/>
                    <a:pt x="130207" y="112300"/>
                  </a:cubicBezTo>
                  <a:cubicBezTo>
                    <a:pt x="138969" y="115538"/>
                    <a:pt x="146971" y="119729"/>
                    <a:pt x="154114" y="124778"/>
                  </a:cubicBezTo>
                  <a:cubicBezTo>
                    <a:pt x="161258" y="129826"/>
                    <a:pt x="166973" y="135922"/>
                    <a:pt x="171259" y="143066"/>
                  </a:cubicBezTo>
                  <a:cubicBezTo>
                    <a:pt x="175546" y="150209"/>
                    <a:pt x="177736" y="158972"/>
                    <a:pt x="177736" y="169450"/>
                  </a:cubicBezTo>
                  <a:lnTo>
                    <a:pt x="177736" y="170307"/>
                  </a:lnTo>
                  <a:cubicBezTo>
                    <a:pt x="177736" y="181356"/>
                    <a:pt x="175546" y="191071"/>
                    <a:pt x="171259" y="199549"/>
                  </a:cubicBezTo>
                  <a:cubicBezTo>
                    <a:pt x="166973" y="208026"/>
                    <a:pt x="161163" y="215265"/>
                    <a:pt x="153828" y="221171"/>
                  </a:cubicBezTo>
                  <a:cubicBezTo>
                    <a:pt x="146589" y="227171"/>
                    <a:pt x="137922" y="231648"/>
                    <a:pt x="127921" y="234791"/>
                  </a:cubicBezTo>
                  <a:cubicBezTo>
                    <a:pt x="117919" y="237935"/>
                    <a:pt x="107156" y="239459"/>
                    <a:pt x="95535" y="239459"/>
                  </a:cubicBezTo>
                  <a:close/>
                </a:path>
              </a:pathLst>
            </a:custGeom>
            <a:solidFill>
              <a:srgbClr val="44505E"/>
            </a:solidFill>
            <a:ln w="9525" cap="flat">
              <a:noFill/>
              <a:prstDash val="solid"/>
              <a:miter/>
            </a:ln>
          </p:spPr>
          <p:txBody>
            <a:bodyPr rtlCol="0" anchor="ctr"/>
            <a:lstStyle/>
            <a:p>
              <a:endParaRPr lang="pt-BR" noProof="0"/>
            </a:p>
          </p:txBody>
        </p:sp>
        <p:sp>
          <p:nvSpPr>
            <p:cNvPr id="55" name="Freeform: Shape 54">
              <a:extLst>
                <a:ext uri="{FF2B5EF4-FFF2-40B4-BE49-F238E27FC236}">
                  <a16:creationId xmlns:a16="http://schemas.microsoft.com/office/drawing/2014/main" id="{D353EF25-8A2D-B42A-F47E-20607068B19D}"/>
                </a:ext>
              </a:extLst>
            </p:cNvPr>
            <p:cNvSpPr/>
            <p:nvPr/>
          </p:nvSpPr>
          <p:spPr>
            <a:xfrm>
              <a:off x="5250320" y="846952"/>
              <a:ext cx="1459036" cy="16186"/>
            </a:xfrm>
            <a:custGeom>
              <a:avLst/>
              <a:gdLst>
                <a:gd name="connsiteX0" fmla="*/ 0 w 5804058"/>
                <a:gd name="connsiteY0" fmla="*/ 0 h 64388"/>
                <a:gd name="connsiteX1" fmla="*/ 5804059 w 5804058"/>
                <a:gd name="connsiteY1" fmla="*/ 0 h 64388"/>
                <a:gd name="connsiteX2" fmla="*/ 5804059 w 5804058"/>
                <a:gd name="connsiteY2" fmla="*/ 64389 h 64388"/>
                <a:gd name="connsiteX3" fmla="*/ 0 w 5804058"/>
                <a:gd name="connsiteY3" fmla="*/ 64389 h 64388"/>
              </a:gdLst>
              <a:ahLst/>
              <a:cxnLst>
                <a:cxn ang="0">
                  <a:pos x="connsiteX0" y="connsiteY0"/>
                </a:cxn>
                <a:cxn ang="0">
                  <a:pos x="connsiteX1" y="connsiteY1"/>
                </a:cxn>
                <a:cxn ang="0">
                  <a:pos x="connsiteX2" y="connsiteY2"/>
                </a:cxn>
                <a:cxn ang="0">
                  <a:pos x="connsiteX3" y="connsiteY3"/>
                </a:cxn>
              </a:cxnLst>
              <a:rect l="l" t="t" r="r" b="b"/>
              <a:pathLst>
                <a:path w="5804058" h="64388">
                  <a:moveTo>
                    <a:pt x="0" y="0"/>
                  </a:moveTo>
                  <a:lnTo>
                    <a:pt x="5804059" y="0"/>
                  </a:lnTo>
                  <a:lnTo>
                    <a:pt x="5804059" y="64389"/>
                  </a:lnTo>
                  <a:lnTo>
                    <a:pt x="0" y="64389"/>
                  </a:lnTo>
                  <a:close/>
                </a:path>
              </a:pathLst>
            </a:custGeom>
            <a:solidFill>
              <a:srgbClr val="44505E"/>
            </a:solidFill>
            <a:ln w="9525" cap="flat">
              <a:noFill/>
              <a:prstDash val="solid"/>
              <a:miter/>
            </a:ln>
          </p:spPr>
          <p:txBody>
            <a:bodyPr rtlCol="0" anchor="ctr"/>
            <a:lstStyle/>
            <a:p>
              <a:endParaRPr lang="pt-BR" noProof="0"/>
            </a:p>
          </p:txBody>
        </p:sp>
        <p:sp>
          <p:nvSpPr>
            <p:cNvPr id="56" name="Freeform: Shape 55">
              <a:extLst>
                <a:ext uri="{FF2B5EF4-FFF2-40B4-BE49-F238E27FC236}">
                  <a16:creationId xmlns:a16="http://schemas.microsoft.com/office/drawing/2014/main" id="{C0BA96CB-2211-EBAB-78F1-6FE1AB6CFBC3}"/>
                </a:ext>
              </a:extLst>
            </p:cNvPr>
            <p:cNvSpPr/>
            <p:nvPr/>
          </p:nvSpPr>
          <p:spPr>
            <a:xfrm>
              <a:off x="6902633" y="268821"/>
              <a:ext cx="273418" cy="601046"/>
            </a:xfrm>
            <a:custGeom>
              <a:avLst/>
              <a:gdLst>
                <a:gd name="connsiteX0" fmla="*/ 0 w 1087659"/>
                <a:gd name="connsiteY0" fmla="*/ 210979 h 2390965"/>
                <a:gd name="connsiteX1" fmla="*/ 125063 w 1087659"/>
                <a:gd name="connsiteY1" fmla="*/ 103442 h 2390965"/>
                <a:gd name="connsiteX2" fmla="*/ 250031 w 1087659"/>
                <a:gd name="connsiteY2" fmla="*/ 210979 h 2390965"/>
                <a:gd name="connsiteX3" fmla="*/ 250031 w 1087659"/>
                <a:gd name="connsiteY3" fmla="*/ 1922717 h 2390965"/>
                <a:gd name="connsiteX4" fmla="*/ 249841 w 1087659"/>
                <a:gd name="connsiteY4" fmla="*/ 1922717 h 2390965"/>
                <a:gd name="connsiteX5" fmla="*/ 249841 w 1087659"/>
                <a:gd name="connsiteY5" fmla="*/ 1925955 h 2390965"/>
                <a:gd name="connsiteX6" fmla="*/ 333756 w 1087659"/>
                <a:gd name="connsiteY6" fmla="*/ 2100263 h 2390965"/>
                <a:gd name="connsiteX7" fmla="*/ 335566 w 1087659"/>
                <a:gd name="connsiteY7" fmla="*/ 2101787 h 2390965"/>
                <a:gd name="connsiteX8" fmla="*/ 336042 w 1087659"/>
                <a:gd name="connsiteY8" fmla="*/ 2102168 h 2390965"/>
                <a:gd name="connsiteX9" fmla="*/ 543877 w 1087659"/>
                <a:gd name="connsiteY9" fmla="*/ 2175891 h 2390965"/>
                <a:gd name="connsiteX10" fmla="*/ 749998 w 1087659"/>
                <a:gd name="connsiteY10" fmla="*/ 2103692 h 2390965"/>
                <a:gd name="connsiteX11" fmla="*/ 751713 w 1087659"/>
                <a:gd name="connsiteY11" fmla="*/ 2102168 h 2390965"/>
                <a:gd name="connsiteX12" fmla="*/ 752189 w 1087659"/>
                <a:gd name="connsiteY12" fmla="*/ 2101787 h 2390965"/>
                <a:gd name="connsiteX13" fmla="*/ 837819 w 1087659"/>
                <a:gd name="connsiteY13" fmla="*/ 1922812 h 2390965"/>
                <a:gd name="connsiteX14" fmla="*/ 837819 w 1087659"/>
                <a:gd name="connsiteY14" fmla="*/ 107537 h 2390965"/>
                <a:gd name="connsiteX15" fmla="*/ 962787 w 1087659"/>
                <a:gd name="connsiteY15" fmla="*/ 0 h 2390965"/>
                <a:gd name="connsiteX16" fmla="*/ 1087660 w 1087659"/>
                <a:gd name="connsiteY16" fmla="*/ 107537 h 2390965"/>
                <a:gd name="connsiteX17" fmla="*/ 1087660 w 1087659"/>
                <a:gd name="connsiteY17" fmla="*/ 1922621 h 2390965"/>
                <a:gd name="connsiteX18" fmla="*/ 928307 w 1087659"/>
                <a:gd name="connsiteY18" fmla="*/ 2253234 h 2390965"/>
                <a:gd name="connsiteX19" fmla="*/ 928116 w 1087659"/>
                <a:gd name="connsiteY19" fmla="*/ 2253424 h 2390965"/>
                <a:gd name="connsiteX20" fmla="*/ 927830 w 1087659"/>
                <a:gd name="connsiteY20" fmla="*/ 2253710 h 2390965"/>
                <a:gd name="connsiteX21" fmla="*/ 927354 w 1087659"/>
                <a:gd name="connsiteY21" fmla="*/ 2254187 h 2390965"/>
                <a:gd name="connsiteX22" fmla="*/ 543783 w 1087659"/>
                <a:gd name="connsiteY22" fmla="*/ 2390966 h 2390965"/>
                <a:gd name="connsiteX23" fmla="*/ 159734 w 1087659"/>
                <a:gd name="connsiteY23" fmla="*/ 2253710 h 2390965"/>
                <a:gd name="connsiteX24" fmla="*/ 159734 w 1087659"/>
                <a:gd name="connsiteY24" fmla="*/ 2253424 h 2390965"/>
                <a:gd name="connsiteX25" fmla="*/ 159353 w 1087659"/>
                <a:gd name="connsiteY25" fmla="*/ 2253234 h 2390965"/>
                <a:gd name="connsiteX26" fmla="*/ 158877 w 1087659"/>
                <a:gd name="connsiteY26" fmla="*/ 2252948 h 2390965"/>
                <a:gd name="connsiteX27" fmla="*/ 0 w 1087659"/>
                <a:gd name="connsiteY27" fmla="*/ 1922621 h 2390965"/>
                <a:gd name="connsiteX28" fmla="*/ 0 w 1087659"/>
                <a:gd name="connsiteY28" fmla="*/ 1922621 h 2390965"/>
                <a:gd name="connsiteX29" fmla="*/ 0 w 1087659"/>
                <a:gd name="connsiteY29" fmla="*/ 210979 h 239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87659" h="2390965">
                  <a:moveTo>
                    <a:pt x="0" y="210979"/>
                  </a:moveTo>
                  <a:cubicBezTo>
                    <a:pt x="0" y="151638"/>
                    <a:pt x="56007" y="103442"/>
                    <a:pt x="125063" y="103442"/>
                  </a:cubicBezTo>
                  <a:cubicBezTo>
                    <a:pt x="194120" y="103442"/>
                    <a:pt x="250031" y="151638"/>
                    <a:pt x="250031" y="210979"/>
                  </a:cubicBezTo>
                  <a:lnTo>
                    <a:pt x="250031" y="1922717"/>
                  </a:lnTo>
                  <a:lnTo>
                    <a:pt x="249841" y="1922717"/>
                  </a:lnTo>
                  <a:lnTo>
                    <a:pt x="249841" y="1925955"/>
                  </a:lnTo>
                  <a:cubicBezTo>
                    <a:pt x="250793" y="1994059"/>
                    <a:pt x="282797" y="2055495"/>
                    <a:pt x="333756" y="2100263"/>
                  </a:cubicBezTo>
                  <a:lnTo>
                    <a:pt x="335566" y="2101787"/>
                  </a:lnTo>
                  <a:lnTo>
                    <a:pt x="336042" y="2102168"/>
                  </a:lnTo>
                  <a:cubicBezTo>
                    <a:pt x="388906" y="2147697"/>
                    <a:pt x="462343" y="2175891"/>
                    <a:pt x="543877" y="2175891"/>
                  </a:cubicBezTo>
                  <a:cubicBezTo>
                    <a:pt x="625411" y="2175891"/>
                    <a:pt x="697420" y="2148364"/>
                    <a:pt x="749998" y="2103692"/>
                  </a:cubicBezTo>
                  <a:lnTo>
                    <a:pt x="751713" y="2102168"/>
                  </a:lnTo>
                  <a:lnTo>
                    <a:pt x="752189" y="2101787"/>
                  </a:lnTo>
                  <a:cubicBezTo>
                    <a:pt x="805053" y="2056352"/>
                    <a:pt x="837819" y="1993011"/>
                    <a:pt x="837819" y="1922812"/>
                  </a:cubicBezTo>
                  <a:lnTo>
                    <a:pt x="837819" y="107537"/>
                  </a:lnTo>
                  <a:cubicBezTo>
                    <a:pt x="837819" y="48196"/>
                    <a:pt x="893731" y="0"/>
                    <a:pt x="962787" y="0"/>
                  </a:cubicBezTo>
                  <a:cubicBezTo>
                    <a:pt x="1031843" y="0"/>
                    <a:pt x="1087660" y="48196"/>
                    <a:pt x="1087660" y="107537"/>
                  </a:cubicBezTo>
                  <a:lnTo>
                    <a:pt x="1087660" y="1922621"/>
                  </a:lnTo>
                  <a:cubicBezTo>
                    <a:pt x="1087660" y="2051399"/>
                    <a:pt x="1026795" y="2168366"/>
                    <a:pt x="928307" y="2253234"/>
                  </a:cubicBezTo>
                  <a:lnTo>
                    <a:pt x="928116" y="2253424"/>
                  </a:lnTo>
                  <a:lnTo>
                    <a:pt x="927830" y="2253710"/>
                  </a:lnTo>
                  <a:lnTo>
                    <a:pt x="927354" y="2254187"/>
                  </a:lnTo>
                  <a:cubicBezTo>
                    <a:pt x="828770" y="2338673"/>
                    <a:pt x="693134" y="2390966"/>
                    <a:pt x="543783" y="2390966"/>
                  </a:cubicBezTo>
                  <a:cubicBezTo>
                    <a:pt x="394430" y="2390966"/>
                    <a:pt x="258413" y="2338483"/>
                    <a:pt x="159734" y="2253710"/>
                  </a:cubicBezTo>
                  <a:lnTo>
                    <a:pt x="159734" y="2253424"/>
                  </a:lnTo>
                  <a:cubicBezTo>
                    <a:pt x="159734" y="2253424"/>
                    <a:pt x="159353" y="2253234"/>
                    <a:pt x="159353" y="2253234"/>
                  </a:cubicBezTo>
                  <a:lnTo>
                    <a:pt x="158877" y="2252948"/>
                  </a:lnTo>
                  <a:cubicBezTo>
                    <a:pt x="60770" y="2167985"/>
                    <a:pt x="0" y="2051304"/>
                    <a:pt x="0" y="1922621"/>
                  </a:cubicBezTo>
                  <a:lnTo>
                    <a:pt x="0" y="1922621"/>
                  </a:lnTo>
                  <a:lnTo>
                    <a:pt x="0" y="210979"/>
                  </a:lnTo>
                  <a:close/>
                </a:path>
              </a:pathLst>
            </a:custGeom>
            <a:solidFill>
              <a:srgbClr val="8FC640"/>
            </a:solidFill>
            <a:ln w="9525" cap="flat">
              <a:noFill/>
              <a:prstDash val="solid"/>
              <a:miter/>
            </a:ln>
          </p:spPr>
          <p:txBody>
            <a:bodyPr rtlCol="0" anchor="ctr"/>
            <a:lstStyle/>
            <a:p>
              <a:endParaRPr lang="pt-BR" noProof="0"/>
            </a:p>
          </p:txBody>
        </p:sp>
        <p:sp>
          <p:nvSpPr>
            <p:cNvPr id="57" name="Freeform: Shape 56">
              <a:extLst>
                <a:ext uri="{FF2B5EF4-FFF2-40B4-BE49-F238E27FC236}">
                  <a16:creationId xmlns:a16="http://schemas.microsoft.com/office/drawing/2014/main" id="{9092EB9D-F4B8-530E-0DAD-7E739607A0FE}"/>
                </a:ext>
              </a:extLst>
            </p:cNvPr>
            <p:cNvSpPr/>
            <p:nvPr/>
          </p:nvSpPr>
          <p:spPr>
            <a:xfrm>
              <a:off x="7013590" y="213965"/>
              <a:ext cx="54018" cy="562280"/>
            </a:xfrm>
            <a:custGeom>
              <a:avLst/>
              <a:gdLst>
                <a:gd name="connsiteX0" fmla="*/ 0 w 214883"/>
                <a:gd name="connsiteY0" fmla="*/ 107537 h 2236755"/>
                <a:gd name="connsiteX1" fmla="*/ 107537 w 214883"/>
                <a:gd name="connsiteY1" fmla="*/ 0 h 2236755"/>
                <a:gd name="connsiteX2" fmla="*/ 214884 w 214883"/>
                <a:gd name="connsiteY2" fmla="*/ 107537 h 2236755"/>
                <a:gd name="connsiteX3" fmla="*/ 214884 w 214883"/>
                <a:gd name="connsiteY3" fmla="*/ 2129219 h 2236755"/>
                <a:gd name="connsiteX4" fmla="*/ 107537 w 214883"/>
                <a:gd name="connsiteY4" fmla="*/ 2236756 h 2236755"/>
                <a:gd name="connsiteX5" fmla="*/ 0 w 214883"/>
                <a:gd name="connsiteY5" fmla="*/ 2129219 h 2236755"/>
                <a:gd name="connsiteX6" fmla="*/ 0 w 214883"/>
                <a:gd name="connsiteY6" fmla="*/ 107537 h 223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 h="2236755">
                  <a:moveTo>
                    <a:pt x="0" y="107537"/>
                  </a:moveTo>
                  <a:cubicBezTo>
                    <a:pt x="0" y="48197"/>
                    <a:pt x="48101" y="0"/>
                    <a:pt x="107537" y="0"/>
                  </a:cubicBezTo>
                  <a:cubicBezTo>
                    <a:pt x="166973" y="0"/>
                    <a:pt x="214884" y="48197"/>
                    <a:pt x="214884" y="107537"/>
                  </a:cubicBezTo>
                  <a:lnTo>
                    <a:pt x="214884" y="2129219"/>
                  </a:lnTo>
                  <a:cubicBezTo>
                    <a:pt x="214884" y="2188559"/>
                    <a:pt x="166782" y="2236756"/>
                    <a:pt x="107537" y="2236756"/>
                  </a:cubicBezTo>
                  <a:cubicBezTo>
                    <a:pt x="48291" y="2236756"/>
                    <a:pt x="0" y="2188559"/>
                    <a:pt x="0" y="2129219"/>
                  </a:cubicBezTo>
                  <a:lnTo>
                    <a:pt x="0" y="107537"/>
                  </a:lnTo>
                  <a:close/>
                </a:path>
              </a:pathLst>
            </a:custGeom>
            <a:solidFill>
              <a:srgbClr val="3698B0"/>
            </a:solidFill>
            <a:ln w="9525" cap="flat">
              <a:noFill/>
              <a:prstDash val="solid"/>
              <a:miter/>
            </a:ln>
          </p:spPr>
          <p:txBody>
            <a:bodyPr rtlCol="0" anchor="ctr"/>
            <a:lstStyle/>
            <a:p>
              <a:endParaRPr lang="pt-BR" noProof="0"/>
            </a:p>
          </p:txBody>
        </p:sp>
        <p:sp>
          <p:nvSpPr>
            <p:cNvPr id="58" name="Freeform: Shape 57">
              <a:extLst>
                <a:ext uri="{FF2B5EF4-FFF2-40B4-BE49-F238E27FC236}">
                  <a16:creationId xmlns:a16="http://schemas.microsoft.com/office/drawing/2014/main" id="{AAF484B9-C2CA-98F1-E246-E5E79F99E9DE}"/>
                </a:ext>
              </a:extLst>
            </p:cNvPr>
            <p:cNvSpPr/>
            <p:nvPr/>
          </p:nvSpPr>
          <p:spPr>
            <a:xfrm>
              <a:off x="6795770" y="332991"/>
              <a:ext cx="485994" cy="649437"/>
            </a:xfrm>
            <a:custGeom>
              <a:avLst/>
              <a:gdLst>
                <a:gd name="connsiteX0" fmla="*/ 1933290 w 1933289"/>
                <a:gd name="connsiteY0" fmla="*/ 138017 h 2583465"/>
                <a:gd name="connsiteX1" fmla="*/ 1933290 w 1933289"/>
                <a:gd name="connsiteY1" fmla="*/ 1734122 h 2583465"/>
                <a:gd name="connsiteX2" fmla="*/ 1796606 w 1933289"/>
                <a:gd name="connsiteY2" fmla="*/ 2229136 h 2583465"/>
                <a:gd name="connsiteX3" fmla="*/ 977742 w 1933289"/>
                <a:gd name="connsiteY3" fmla="*/ 2583466 h 2583465"/>
                <a:gd name="connsiteX4" fmla="*/ 955357 w 1933289"/>
                <a:gd name="connsiteY4" fmla="*/ 2583466 h 2583465"/>
                <a:gd name="connsiteX5" fmla="*/ 136589 w 1933289"/>
                <a:gd name="connsiteY5" fmla="*/ 2229136 h 2583465"/>
                <a:gd name="connsiteX6" fmla="*/ 0 w 1933289"/>
                <a:gd name="connsiteY6" fmla="*/ 1734122 h 2583465"/>
                <a:gd name="connsiteX7" fmla="*/ 0 w 1933289"/>
                <a:gd name="connsiteY7" fmla="*/ 794194 h 2583465"/>
                <a:gd name="connsiteX8" fmla="*/ 137827 w 1933289"/>
                <a:gd name="connsiteY8" fmla="*/ 656273 h 2583465"/>
                <a:gd name="connsiteX9" fmla="*/ 275463 w 1933289"/>
                <a:gd name="connsiteY9" fmla="*/ 794194 h 2583465"/>
                <a:gd name="connsiteX10" fmla="*/ 275463 w 1933289"/>
                <a:gd name="connsiteY10" fmla="*/ 1734122 h 2583465"/>
                <a:gd name="connsiteX11" fmla="*/ 354235 w 1933289"/>
                <a:gd name="connsiteY11" fmla="*/ 2059686 h 2583465"/>
                <a:gd name="connsiteX12" fmla="*/ 958215 w 1933289"/>
                <a:gd name="connsiteY12" fmla="*/ 2307527 h 2583465"/>
                <a:gd name="connsiteX13" fmla="*/ 974789 w 1933289"/>
                <a:gd name="connsiteY13" fmla="*/ 2307527 h 2583465"/>
                <a:gd name="connsiteX14" fmla="*/ 1578959 w 1933289"/>
                <a:gd name="connsiteY14" fmla="*/ 2059686 h 2583465"/>
                <a:gd name="connsiteX15" fmla="*/ 1657636 w 1933289"/>
                <a:gd name="connsiteY15" fmla="*/ 1734122 h 2583465"/>
                <a:gd name="connsiteX16" fmla="*/ 1657636 w 1933289"/>
                <a:gd name="connsiteY16" fmla="*/ 138017 h 2583465"/>
                <a:gd name="connsiteX17" fmla="*/ 1795463 w 1933289"/>
                <a:gd name="connsiteY17" fmla="*/ 0 h 2583465"/>
                <a:gd name="connsiteX18" fmla="*/ 1933290 w 1933289"/>
                <a:gd name="connsiteY18" fmla="*/ 138017 h 25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3289" h="2583465">
                  <a:moveTo>
                    <a:pt x="1933290" y="138017"/>
                  </a:moveTo>
                  <a:lnTo>
                    <a:pt x="1933290" y="1734122"/>
                  </a:lnTo>
                  <a:cubicBezTo>
                    <a:pt x="1933290" y="1870996"/>
                    <a:pt x="1919002" y="2071211"/>
                    <a:pt x="1796606" y="2229136"/>
                  </a:cubicBezTo>
                  <a:cubicBezTo>
                    <a:pt x="1634395" y="2438305"/>
                    <a:pt x="1432084" y="2578703"/>
                    <a:pt x="977742" y="2583466"/>
                  </a:cubicBezTo>
                  <a:lnTo>
                    <a:pt x="955357" y="2583466"/>
                  </a:lnTo>
                  <a:cubicBezTo>
                    <a:pt x="501015" y="2578703"/>
                    <a:pt x="298704" y="2438400"/>
                    <a:pt x="136589" y="2229136"/>
                  </a:cubicBezTo>
                  <a:cubicBezTo>
                    <a:pt x="14192" y="2071211"/>
                    <a:pt x="0" y="1870996"/>
                    <a:pt x="0" y="1734122"/>
                  </a:cubicBezTo>
                  <a:lnTo>
                    <a:pt x="0" y="794194"/>
                  </a:lnTo>
                  <a:cubicBezTo>
                    <a:pt x="0" y="718185"/>
                    <a:pt x="61436" y="656273"/>
                    <a:pt x="137827" y="656273"/>
                  </a:cubicBezTo>
                  <a:cubicBezTo>
                    <a:pt x="214217" y="656273"/>
                    <a:pt x="275463" y="718185"/>
                    <a:pt x="275463" y="794194"/>
                  </a:cubicBezTo>
                  <a:lnTo>
                    <a:pt x="275463" y="1734122"/>
                  </a:lnTo>
                  <a:cubicBezTo>
                    <a:pt x="275463" y="1887188"/>
                    <a:pt x="300324" y="1990630"/>
                    <a:pt x="354235" y="2059686"/>
                  </a:cubicBezTo>
                  <a:cubicBezTo>
                    <a:pt x="476250" y="2217611"/>
                    <a:pt x="609791" y="2304479"/>
                    <a:pt x="958215" y="2307527"/>
                  </a:cubicBezTo>
                  <a:lnTo>
                    <a:pt x="974789" y="2307527"/>
                  </a:lnTo>
                  <a:cubicBezTo>
                    <a:pt x="1323499" y="2304479"/>
                    <a:pt x="1456563" y="2217611"/>
                    <a:pt x="1578959" y="2059686"/>
                  </a:cubicBezTo>
                  <a:cubicBezTo>
                    <a:pt x="1632490" y="1990630"/>
                    <a:pt x="1657636" y="1887093"/>
                    <a:pt x="1657636" y="1734122"/>
                  </a:cubicBezTo>
                  <a:lnTo>
                    <a:pt x="1657636" y="138017"/>
                  </a:lnTo>
                  <a:cubicBezTo>
                    <a:pt x="1657636" y="61531"/>
                    <a:pt x="1719453" y="0"/>
                    <a:pt x="1795463" y="0"/>
                  </a:cubicBezTo>
                  <a:cubicBezTo>
                    <a:pt x="1871472" y="0"/>
                    <a:pt x="1933290" y="61531"/>
                    <a:pt x="1933290" y="138017"/>
                  </a:cubicBezTo>
                </a:path>
              </a:pathLst>
            </a:custGeom>
            <a:solidFill>
              <a:srgbClr val="49306E"/>
            </a:solidFill>
            <a:ln w="9525" cap="flat">
              <a:noFill/>
              <a:prstDash val="solid"/>
              <a:miter/>
            </a:ln>
          </p:spPr>
          <p:txBody>
            <a:bodyPr rtlCol="0" anchor="ctr"/>
            <a:lstStyle/>
            <a:p>
              <a:endParaRPr lang="pt-BR" noProof="0"/>
            </a:p>
          </p:txBody>
        </p:sp>
      </p:grpSp>
      <p:sp>
        <p:nvSpPr>
          <p:cNvPr id="5" name="Rectangle 3">
            <a:extLst>
              <a:ext uri="{FF2B5EF4-FFF2-40B4-BE49-F238E27FC236}">
                <a16:creationId xmlns:a16="http://schemas.microsoft.com/office/drawing/2014/main" id="{09244179-7F8C-EAE1-7B9B-B033D99E6822}"/>
              </a:ext>
            </a:extLst>
          </p:cNvPr>
          <p:cNvSpPr>
            <a:spLocks noChangeArrowheads="1"/>
          </p:cNvSpPr>
          <p:nvPr/>
        </p:nvSpPr>
        <p:spPr bwMode="auto">
          <a:xfrm>
            <a:off x="428153" y="692497"/>
            <a:ext cx="264816" cy="2862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p:txBody>
      </p:sp>
      <p:sp>
        <p:nvSpPr>
          <p:cNvPr id="3" name="Seta: para Baixo 2">
            <a:extLst>
              <a:ext uri="{FF2B5EF4-FFF2-40B4-BE49-F238E27FC236}">
                <a16:creationId xmlns:a16="http://schemas.microsoft.com/office/drawing/2014/main" id="{C1077D61-47CE-7046-976F-D613FC98B8ED}"/>
              </a:ext>
            </a:extLst>
          </p:cNvPr>
          <p:cNvSpPr/>
          <p:nvPr/>
        </p:nvSpPr>
        <p:spPr>
          <a:xfrm rot="16200000">
            <a:off x="5159159" y="1911456"/>
            <a:ext cx="457200" cy="542417"/>
          </a:xfrm>
          <a:prstGeom prst="downArrow">
            <a:avLst/>
          </a:prstGeom>
          <a:solidFill>
            <a:srgbClr val="D9D9D9"/>
          </a:solidFill>
          <a:ln w="19050">
            <a:solidFill>
              <a:srgbClr val="7F3D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lgn="just">
              <a:buFont typeface="Arial" panose="020B0604020202020204" pitchFamily="34" charset="0"/>
              <a:buChar char="•"/>
            </a:pPr>
            <a:endParaRPr lang="pt-BR"/>
          </a:p>
        </p:txBody>
      </p:sp>
      <p:sp>
        <p:nvSpPr>
          <p:cNvPr id="4" name="Seta: para Baixo 3">
            <a:extLst>
              <a:ext uri="{FF2B5EF4-FFF2-40B4-BE49-F238E27FC236}">
                <a16:creationId xmlns:a16="http://schemas.microsoft.com/office/drawing/2014/main" id="{8DC23956-ED99-885E-700D-D942CABF29E6}"/>
              </a:ext>
            </a:extLst>
          </p:cNvPr>
          <p:cNvSpPr/>
          <p:nvPr/>
        </p:nvSpPr>
        <p:spPr>
          <a:xfrm rot="16200000">
            <a:off x="11059783" y="6044763"/>
            <a:ext cx="457200" cy="542417"/>
          </a:xfrm>
          <a:prstGeom prst="downArrow">
            <a:avLst/>
          </a:prstGeom>
          <a:solidFill>
            <a:srgbClr val="D9D9D9"/>
          </a:solidFill>
          <a:ln w="19050">
            <a:solidFill>
              <a:srgbClr val="7F3D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lgn="just">
              <a:buFont typeface="Arial" panose="020B0604020202020204" pitchFamily="34" charset="0"/>
              <a:buChar char="•"/>
            </a:pPr>
            <a:endParaRPr lang="pt-BR"/>
          </a:p>
        </p:txBody>
      </p:sp>
      <p:pic>
        <p:nvPicPr>
          <p:cNvPr id="6" name="Picture 2" descr="Vetores de Ilustração Em Vetor De Uma Pessoa Abrindo Um ...">
            <a:extLst>
              <a:ext uri="{FF2B5EF4-FFF2-40B4-BE49-F238E27FC236}">
                <a16:creationId xmlns:a16="http://schemas.microsoft.com/office/drawing/2014/main" id="{314F4ACA-721D-9F32-660B-07400322BA4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2931" y="1895513"/>
            <a:ext cx="3891100" cy="3367736"/>
          </a:xfrm>
          <a:prstGeom prst="rect">
            <a:avLst/>
          </a:prstGeom>
          <a:noFill/>
          <a:extLst>
            <a:ext uri="{909E8E84-426E-40DD-AFC4-6F175D3DCCD1}">
              <a14:hiddenFill xmlns:a14="http://schemas.microsoft.com/office/drawing/2010/main">
                <a:solidFill>
                  <a:srgbClr val="FFFFFF"/>
                </a:solidFill>
              </a14:hiddenFill>
            </a:ext>
          </a:extLst>
        </p:spPr>
      </p:pic>
      <p:sp>
        <p:nvSpPr>
          <p:cNvPr id="9" name="CaixaDeTexto 8">
            <a:extLst>
              <a:ext uri="{FF2B5EF4-FFF2-40B4-BE49-F238E27FC236}">
                <a16:creationId xmlns:a16="http://schemas.microsoft.com/office/drawing/2014/main" id="{5824D84D-D42C-C823-0839-88F34EA9B796}"/>
              </a:ext>
            </a:extLst>
          </p:cNvPr>
          <p:cNvSpPr txBox="1"/>
          <p:nvPr/>
        </p:nvSpPr>
        <p:spPr>
          <a:xfrm>
            <a:off x="1642373" y="3117252"/>
            <a:ext cx="1741715" cy="461665"/>
          </a:xfrm>
          <a:prstGeom prst="rect">
            <a:avLst/>
          </a:prstGeom>
          <a:noFill/>
        </p:spPr>
        <p:txBody>
          <a:bodyPr wrap="square" rtlCol="0">
            <a:spAutoFit/>
          </a:bodyPr>
          <a:lstStyle/>
          <a:p>
            <a:r>
              <a:rPr lang="pt-BR" sz="2400" b="1" noProof="0"/>
              <a:t>Envelope 2</a:t>
            </a:r>
          </a:p>
        </p:txBody>
      </p:sp>
      <p:sp>
        <p:nvSpPr>
          <p:cNvPr id="7" name="CaixaDeTexto 6">
            <a:extLst>
              <a:ext uri="{FF2B5EF4-FFF2-40B4-BE49-F238E27FC236}">
                <a16:creationId xmlns:a16="http://schemas.microsoft.com/office/drawing/2014/main" id="{736D6516-59B2-B34A-A8AE-7272B9FF76B0}"/>
              </a:ext>
            </a:extLst>
          </p:cNvPr>
          <p:cNvSpPr txBox="1"/>
          <p:nvPr/>
        </p:nvSpPr>
        <p:spPr>
          <a:xfrm>
            <a:off x="5917914" y="1895513"/>
            <a:ext cx="6090055" cy="2862322"/>
          </a:xfrm>
          <a:prstGeom prst="rect">
            <a:avLst/>
          </a:prstGeom>
          <a:noFill/>
        </p:spPr>
        <p:txBody>
          <a:bodyPr wrap="square">
            <a:spAutoFit/>
          </a:bodyPr>
          <a:lstStyle/>
          <a:p>
            <a:r>
              <a:rPr lang="pt-BR" sz="2000" b="1" dirty="0">
                <a:solidFill>
                  <a:srgbClr val="1C1C1C"/>
                </a:solidFill>
              </a:rPr>
              <a:t>12º dia de internação: </a:t>
            </a:r>
          </a:p>
          <a:p>
            <a:endParaRPr lang="pt-BR" sz="2000" b="1" dirty="0">
              <a:solidFill>
                <a:srgbClr val="1C1C1C"/>
              </a:solidFill>
            </a:endParaRPr>
          </a:p>
          <a:p>
            <a:pPr marL="285750" indent="-285750">
              <a:buFont typeface="Arial" panose="020B0604020202020204" pitchFamily="34" charset="0"/>
              <a:buChar char="•"/>
            </a:pPr>
            <a:r>
              <a:rPr lang="pt-BR" sz="2000" dirty="0"/>
              <a:t>Persistência do desconforto abdominal </a:t>
            </a:r>
          </a:p>
          <a:p>
            <a:pPr marL="285750" indent="-285750">
              <a:buFont typeface="Arial" panose="020B0604020202020204" pitchFamily="34" charset="0"/>
              <a:buChar char="•"/>
            </a:pPr>
            <a:endParaRPr lang="pt-BR" sz="2000" dirty="0"/>
          </a:p>
          <a:p>
            <a:pPr marL="285750" indent="-285750">
              <a:buFont typeface="Arial" panose="020B0604020202020204" pitchFamily="34" charset="0"/>
              <a:buChar char="•"/>
            </a:pPr>
            <a:r>
              <a:rPr lang="pt-BR" sz="2000" dirty="0"/>
              <a:t>Durante visita multi, enfermeira da UTI informa que ao esvaziar a bolsa, a urina apresentava grumos </a:t>
            </a:r>
          </a:p>
          <a:p>
            <a:pPr marL="285750" indent="-285750">
              <a:buFont typeface="Arial" panose="020B0604020202020204" pitchFamily="34" charset="0"/>
              <a:buChar char="•"/>
            </a:pPr>
            <a:endParaRPr lang="pt-BR" sz="2000" dirty="0"/>
          </a:p>
          <a:p>
            <a:pPr marL="285750" indent="-285750">
              <a:buFont typeface="Arial" panose="020B0604020202020204" pitchFamily="34" charset="0"/>
              <a:buChar char="•"/>
            </a:pPr>
            <a:r>
              <a:rPr lang="pt-BR" sz="2000" dirty="0"/>
              <a:t>Solicitado urocultura</a:t>
            </a:r>
          </a:p>
          <a:p>
            <a:pPr marL="285750" indent="-285750">
              <a:buFont typeface="Arial" panose="020B0604020202020204" pitchFamily="34" charset="0"/>
              <a:buChar char="•"/>
            </a:pPr>
            <a:endParaRPr lang="pt-BR" sz="2000" i="1" dirty="0"/>
          </a:p>
        </p:txBody>
      </p:sp>
    </p:spTree>
    <p:extLst>
      <p:ext uri="{BB962C8B-B14F-4D97-AF65-F5344CB8AC3E}">
        <p14:creationId xmlns:p14="http://schemas.microsoft.com/office/powerpoint/2010/main" val="2379050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394C6AF3-C7CC-63CB-E71B-C35269DF67D5}"/>
            </a:ext>
          </a:extLst>
        </p:cNvPr>
        <p:cNvGrpSpPr/>
        <p:nvPr/>
      </p:nvGrpSpPr>
      <p:grpSpPr>
        <a:xfrm>
          <a:off x="0" y="0"/>
          <a:ext cx="0" cy="0"/>
          <a:chOff x="0" y="0"/>
          <a:chExt cx="0" cy="0"/>
        </a:xfrm>
      </p:grpSpPr>
      <p:grpSp>
        <p:nvGrpSpPr>
          <p:cNvPr id="2" name="Group 12">
            <a:extLst>
              <a:ext uri="{FF2B5EF4-FFF2-40B4-BE49-F238E27FC236}">
                <a16:creationId xmlns:a16="http://schemas.microsoft.com/office/drawing/2014/main" id="{66DC0DC8-E071-07CF-5D1E-0DDBA56FFB63}"/>
              </a:ext>
            </a:extLst>
          </p:cNvPr>
          <p:cNvGrpSpPr/>
          <p:nvPr/>
        </p:nvGrpSpPr>
        <p:grpSpPr>
          <a:xfrm>
            <a:off x="304800" y="249455"/>
            <a:ext cx="1193800" cy="462985"/>
            <a:chOff x="5245100" y="211355"/>
            <a:chExt cx="2036664" cy="789869"/>
          </a:xfrm>
        </p:grpSpPr>
        <p:sp>
          <p:nvSpPr>
            <p:cNvPr id="3" name="Freeform: Shape 13">
              <a:extLst>
                <a:ext uri="{FF2B5EF4-FFF2-40B4-BE49-F238E27FC236}">
                  <a16:creationId xmlns:a16="http://schemas.microsoft.com/office/drawing/2014/main" id="{D9519D3C-93EE-CE98-D3BE-EE5A6ED17A1D}"/>
                </a:ext>
              </a:extLst>
            </p:cNvPr>
            <p:cNvSpPr/>
            <p:nvPr/>
          </p:nvSpPr>
          <p:spPr>
            <a:xfrm>
              <a:off x="5245100" y="308520"/>
              <a:ext cx="247894" cy="322815"/>
            </a:xfrm>
            <a:custGeom>
              <a:avLst/>
              <a:gdLst>
                <a:gd name="connsiteX0" fmla="*/ 529590 w 986123"/>
                <a:gd name="connsiteY0" fmla="*/ 1284160 h 1284160"/>
                <a:gd name="connsiteX1" fmla="*/ 249650 w 986123"/>
                <a:gd name="connsiteY1" fmla="*/ 1235107 h 1284160"/>
                <a:gd name="connsiteX2" fmla="*/ 0 w 986123"/>
                <a:gd name="connsiteY2" fmla="*/ 1084421 h 1284160"/>
                <a:gd name="connsiteX3" fmla="*/ 162306 w 986123"/>
                <a:gd name="connsiteY3" fmla="*/ 890016 h 1284160"/>
                <a:gd name="connsiteX4" fmla="*/ 337947 w 986123"/>
                <a:gd name="connsiteY4" fmla="*/ 1000601 h 1284160"/>
                <a:gd name="connsiteX5" fmla="*/ 535019 w 986123"/>
                <a:gd name="connsiteY5" fmla="*/ 1041654 h 1284160"/>
                <a:gd name="connsiteX6" fmla="*/ 667893 w 986123"/>
                <a:gd name="connsiteY6" fmla="*/ 1010412 h 1284160"/>
                <a:gd name="connsiteX7" fmla="*/ 715137 w 986123"/>
                <a:gd name="connsiteY7" fmla="*/ 923925 h 1284160"/>
                <a:gd name="connsiteX8" fmla="*/ 715137 w 986123"/>
                <a:gd name="connsiteY8" fmla="*/ 920305 h 1284160"/>
                <a:gd name="connsiteX9" fmla="*/ 705326 w 986123"/>
                <a:gd name="connsiteY9" fmla="*/ 873062 h 1284160"/>
                <a:gd name="connsiteX10" fmla="*/ 667798 w 986123"/>
                <a:gd name="connsiteY10" fmla="*/ 834676 h 1284160"/>
                <a:gd name="connsiteX11" fmla="*/ 590931 w 986123"/>
                <a:gd name="connsiteY11" fmla="*/ 798957 h 1284160"/>
                <a:gd name="connsiteX12" fmla="*/ 463106 w 986123"/>
                <a:gd name="connsiteY12" fmla="*/ 761524 h 1284160"/>
                <a:gd name="connsiteX13" fmla="*/ 291465 w 986123"/>
                <a:gd name="connsiteY13" fmla="*/ 709803 h 1284160"/>
                <a:gd name="connsiteX14" fmla="*/ 160973 w 986123"/>
                <a:gd name="connsiteY14" fmla="*/ 639318 h 1284160"/>
                <a:gd name="connsiteX15" fmla="*/ 77819 w 986123"/>
                <a:gd name="connsiteY15" fmla="*/ 535019 h 1284160"/>
                <a:gd name="connsiteX16" fmla="*/ 48292 w 986123"/>
                <a:gd name="connsiteY16" fmla="*/ 379857 h 1284160"/>
                <a:gd name="connsiteX17" fmla="*/ 48292 w 986123"/>
                <a:gd name="connsiteY17" fmla="*/ 376238 h 1284160"/>
                <a:gd name="connsiteX18" fmla="*/ 80201 w 986123"/>
                <a:gd name="connsiteY18" fmla="*/ 222028 h 1284160"/>
                <a:gd name="connsiteX19" fmla="*/ 169640 w 986123"/>
                <a:gd name="connsiteY19" fmla="*/ 103441 h 1284160"/>
                <a:gd name="connsiteX20" fmla="*/ 307181 w 986123"/>
                <a:gd name="connsiteY20" fmla="*/ 26765 h 1284160"/>
                <a:gd name="connsiteX21" fmla="*/ 483394 w 986123"/>
                <a:gd name="connsiteY21" fmla="*/ 0 h 1284160"/>
                <a:gd name="connsiteX22" fmla="*/ 735711 w 986123"/>
                <a:gd name="connsiteY22" fmla="*/ 41053 h 1284160"/>
                <a:gd name="connsiteX23" fmla="*/ 946976 w 986123"/>
                <a:gd name="connsiteY23" fmla="*/ 158687 h 1284160"/>
                <a:gd name="connsiteX24" fmla="*/ 804291 w 986123"/>
                <a:gd name="connsiteY24" fmla="*/ 365569 h 1284160"/>
                <a:gd name="connsiteX25" fmla="*/ 640271 w 986123"/>
                <a:gd name="connsiteY25" fmla="*/ 275558 h 1284160"/>
                <a:gd name="connsiteX26" fmla="*/ 479774 w 986123"/>
                <a:gd name="connsiteY26" fmla="*/ 242602 h 1284160"/>
                <a:gd name="connsiteX27" fmla="*/ 359378 w 986123"/>
                <a:gd name="connsiteY27" fmla="*/ 273844 h 1284160"/>
                <a:gd name="connsiteX28" fmla="*/ 319278 w 986123"/>
                <a:gd name="connsiteY28" fmla="*/ 351377 h 1284160"/>
                <a:gd name="connsiteX29" fmla="*/ 319278 w 986123"/>
                <a:gd name="connsiteY29" fmla="*/ 354997 h 1284160"/>
                <a:gd name="connsiteX30" fmla="*/ 330899 w 986123"/>
                <a:gd name="connsiteY30" fmla="*/ 407575 h 1284160"/>
                <a:gd name="connsiteX31" fmla="*/ 372904 w 986123"/>
                <a:gd name="connsiteY31" fmla="*/ 447675 h 1284160"/>
                <a:gd name="connsiteX32" fmla="*/ 456057 w 986123"/>
                <a:gd name="connsiteY32" fmla="*/ 481489 h 1284160"/>
                <a:gd name="connsiteX33" fmla="*/ 589217 w 986123"/>
                <a:gd name="connsiteY33" fmla="*/ 518922 h 1284160"/>
                <a:gd name="connsiteX34" fmla="*/ 758190 w 986123"/>
                <a:gd name="connsiteY34" fmla="*/ 575120 h 1284160"/>
                <a:gd name="connsiteX35" fmla="*/ 883349 w 986123"/>
                <a:gd name="connsiteY35" fmla="*/ 649986 h 1284160"/>
                <a:gd name="connsiteX36" fmla="*/ 960215 w 986123"/>
                <a:gd name="connsiteY36" fmla="*/ 752570 h 1284160"/>
                <a:gd name="connsiteX37" fmla="*/ 986123 w 986123"/>
                <a:gd name="connsiteY37" fmla="*/ 893445 h 1284160"/>
                <a:gd name="connsiteX38" fmla="*/ 986123 w 986123"/>
                <a:gd name="connsiteY38" fmla="*/ 897064 h 1284160"/>
                <a:gd name="connsiteX39" fmla="*/ 952500 w 986123"/>
                <a:gd name="connsiteY39" fmla="*/ 1062038 h 1284160"/>
                <a:gd name="connsiteX40" fmla="*/ 858584 w 986123"/>
                <a:gd name="connsiteY40" fmla="*/ 1183291 h 1284160"/>
                <a:gd name="connsiteX41" fmla="*/ 714851 w 986123"/>
                <a:gd name="connsiteY41" fmla="*/ 1258157 h 1284160"/>
                <a:gd name="connsiteX42" fmla="*/ 529685 w 986123"/>
                <a:gd name="connsiteY42" fmla="*/ 1284065 h 128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6123" h="1284160">
                  <a:moveTo>
                    <a:pt x="529590" y="1284160"/>
                  </a:moveTo>
                  <a:cubicBezTo>
                    <a:pt x="434435" y="1284160"/>
                    <a:pt x="341186" y="1267777"/>
                    <a:pt x="249650" y="1235107"/>
                  </a:cubicBezTo>
                  <a:cubicBezTo>
                    <a:pt x="158115" y="1202436"/>
                    <a:pt x="74867" y="1152239"/>
                    <a:pt x="0" y="1084421"/>
                  </a:cubicBezTo>
                  <a:lnTo>
                    <a:pt x="162306" y="890016"/>
                  </a:lnTo>
                  <a:cubicBezTo>
                    <a:pt x="219361" y="936403"/>
                    <a:pt x="277844" y="973264"/>
                    <a:pt x="337947" y="1000601"/>
                  </a:cubicBezTo>
                  <a:cubicBezTo>
                    <a:pt x="397955" y="1027938"/>
                    <a:pt x="463677" y="1041654"/>
                    <a:pt x="535019" y="1041654"/>
                  </a:cubicBezTo>
                  <a:cubicBezTo>
                    <a:pt x="592074" y="1041654"/>
                    <a:pt x="636365" y="1031272"/>
                    <a:pt x="667893" y="1010412"/>
                  </a:cubicBezTo>
                  <a:cubicBezTo>
                    <a:pt x="699421" y="989647"/>
                    <a:pt x="715137" y="960787"/>
                    <a:pt x="715137" y="923925"/>
                  </a:cubicBezTo>
                  <a:lnTo>
                    <a:pt x="715137" y="920305"/>
                  </a:lnTo>
                  <a:cubicBezTo>
                    <a:pt x="715137" y="902494"/>
                    <a:pt x="711803" y="886777"/>
                    <a:pt x="705326" y="873062"/>
                  </a:cubicBezTo>
                  <a:cubicBezTo>
                    <a:pt x="698754" y="859441"/>
                    <a:pt x="686276" y="846582"/>
                    <a:pt x="667798" y="834676"/>
                  </a:cubicBezTo>
                  <a:cubicBezTo>
                    <a:pt x="649319" y="822770"/>
                    <a:pt x="623697" y="810863"/>
                    <a:pt x="590931" y="798957"/>
                  </a:cubicBezTo>
                  <a:cubicBezTo>
                    <a:pt x="558165" y="787146"/>
                    <a:pt x="515493" y="774573"/>
                    <a:pt x="463106" y="761524"/>
                  </a:cubicBezTo>
                  <a:cubicBezTo>
                    <a:pt x="399955" y="746093"/>
                    <a:pt x="342710" y="728853"/>
                    <a:pt x="291465" y="709803"/>
                  </a:cubicBezTo>
                  <a:cubicBezTo>
                    <a:pt x="240221" y="690753"/>
                    <a:pt x="196691" y="667322"/>
                    <a:pt x="160973" y="639318"/>
                  </a:cubicBezTo>
                  <a:cubicBezTo>
                    <a:pt x="125159" y="611410"/>
                    <a:pt x="97536" y="576644"/>
                    <a:pt x="77819" y="535019"/>
                  </a:cubicBezTo>
                  <a:cubicBezTo>
                    <a:pt x="58103" y="493395"/>
                    <a:pt x="48292" y="441674"/>
                    <a:pt x="48292" y="379857"/>
                  </a:cubicBezTo>
                  <a:lnTo>
                    <a:pt x="48292" y="376238"/>
                  </a:lnTo>
                  <a:cubicBezTo>
                    <a:pt x="48292" y="319183"/>
                    <a:pt x="58865" y="267748"/>
                    <a:pt x="80201" y="222028"/>
                  </a:cubicBezTo>
                  <a:cubicBezTo>
                    <a:pt x="101441" y="176308"/>
                    <a:pt x="131255" y="136779"/>
                    <a:pt x="169640" y="103441"/>
                  </a:cubicBezTo>
                  <a:cubicBezTo>
                    <a:pt x="208026" y="70199"/>
                    <a:pt x="253841" y="44577"/>
                    <a:pt x="307181" y="26765"/>
                  </a:cubicBezTo>
                  <a:cubicBezTo>
                    <a:pt x="360426" y="8953"/>
                    <a:pt x="419195" y="0"/>
                    <a:pt x="483394" y="0"/>
                  </a:cubicBezTo>
                  <a:cubicBezTo>
                    <a:pt x="574929" y="0"/>
                    <a:pt x="659035" y="13716"/>
                    <a:pt x="735711" y="41053"/>
                  </a:cubicBezTo>
                  <a:cubicBezTo>
                    <a:pt x="812387" y="68389"/>
                    <a:pt x="882777" y="107632"/>
                    <a:pt x="946976" y="158687"/>
                  </a:cubicBezTo>
                  <a:lnTo>
                    <a:pt x="804291" y="365569"/>
                  </a:lnTo>
                  <a:cubicBezTo>
                    <a:pt x="748379" y="327565"/>
                    <a:pt x="693706" y="297561"/>
                    <a:pt x="640271" y="275558"/>
                  </a:cubicBezTo>
                  <a:cubicBezTo>
                    <a:pt x="586740" y="253555"/>
                    <a:pt x="533305" y="242602"/>
                    <a:pt x="479774" y="242602"/>
                  </a:cubicBezTo>
                  <a:cubicBezTo>
                    <a:pt x="426244" y="242602"/>
                    <a:pt x="386144" y="252984"/>
                    <a:pt x="359378" y="273844"/>
                  </a:cubicBezTo>
                  <a:cubicBezTo>
                    <a:pt x="332613" y="294608"/>
                    <a:pt x="319278" y="320516"/>
                    <a:pt x="319278" y="351377"/>
                  </a:cubicBezTo>
                  <a:lnTo>
                    <a:pt x="319278" y="354997"/>
                  </a:lnTo>
                  <a:cubicBezTo>
                    <a:pt x="319278" y="375190"/>
                    <a:pt x="323183" y="392716"/>
                    <a:pt x="330899" y="407575"/>
                  </a:cubicBezTo>
                  <a:cubicBezTo>
                    <a:pt x="338614" y="422434"/>
                    <a:pt x="352616" y="435864"/>
                    <a:pt x="372904" y="447675"/>
                  </a:cubicBezTo>
                  <a:cubicBezTo>
                    <a:pt x="393192" y="459581"/>
                    <a:pt x="420910" y="470821"/>
                    <a:pt x="456057" y="481489"/>
                  </a:cubicBezTo>
                  <a:cubicBezTo>
                    <a:pt x="491204" y="492157"/>
                    <a:pt x="535591" y="504730"/>
                    <a:pt x="589217" y="518922"/>
                  </a:cubicBezTo>
                  <a:cubicBezTo>
                    <a:pt x="652367" y="535591"/>
                    <a:pt x="708660" y="554260"/>
                    <a:pt x="758190" y="575120"/>
                  </a:cubicBezTo>
                  <a:cubicBezTo>
                    <a:pt x="807625" y="595979"/>
                    <a:pt x="849344" y="620935"/>
                    <a:pt x="883349" y="649986"/>
                  </a:cubicBezTo>
                  <a:cubicBezTo>
                    <a:pt x="917353" y="679132"/>
                    <a:pt x="942975" y="713327"/>
                    <a:pt x="960215" y="752570"/>
                  </a:cubicBezTo>
                  <a:cubicBezTo>
                    <a:pt x="977456" y="791813"/>
                    <a:pt x="986123" y="838772"/>
                    <a:pt x="986123" y="893445"/>
                  </a:cubicBezTo>
                  <a:lnTo>
                    <a:pt x="986123" y="897064"/>
                  </a:lnTo>
                  <a:cubicBezTo>
                    <a:pt x="986123" y="958882"/>
                    <a:pt x="974884" y="1013841"/>
                    <a:pt x="952500" y="1062038"/>
                  </a:cubicBezTo>
                  <a:cubicBezTo>
                    <a:pt x="930021" y="1110139"/>
                    <a:pt x="898779" y="1150620"/>
                    <a:pt x="858584" y="1183291"/>
                  </a:cubicBezTo>
                  <a:cubicBezTo>
                    <a:pt x="818388" y="1216057"/>
                    <a:pt x="770477" y="1241012"/>
                    <a:pt x="714851" y="1258157"/>
                  </a:cubicBezTo>
                  <a:cubicBezTo>
                    <a:pt x="659130" y="1275398"/>
                    <a:pt x="597503" y="1284065"/>
                    <a:pt x="529685" y="1284065"/>
                  </a:cubicBezTo>
                  <a:close/>
                </a:path>
              </a:pathLst>
            </a:custGeom>
            <a:solidFill>
              <a:srgbClr val="44505E"/>
            </a:solidFill>
            <a:ln w="9525" cap="flat">
              <a:noFill/>
              <a:prstDash val="solid"/>
              <a:miter/>
            </a:ln>
          </p:spPr>
          <p:txBody>
            <a:bodyPr rtlCol="0" anchor="ctr"/>
            <a:lstStyle/>
            <a:p>
              <a:endParaRPr lang="pt-BR" noProof="0"/>
            </a:p>
          </p:txBody>
        </p:sp>
        <p:sp>
          <p:nvSpPr>
            <p:cNvPr id="4" name="Freeform: Shape 16">
              <a:extLst>
                <a:ext uri="{FF2B5EF4-FFF2-40B4-BE49-F238E27FC236}">
                  <a16:creationId xmlns:a16="http://schemas.microsoft.com/office/drawing/2014/main" id="{006F7167-8468-BD54-6521-27719B93E5D4}"/>
                </a:ext>
              </a:extLst>
            </p:cNvPr>
            <p:cNvSpPr/>
            <p:nvPr/>
          </p:nvSpPr>
          <p:spPr>
            <a:xfrm>
              <a:off x="5492084" y="310867"/>
              <a:ext cx="332584" cy="315991"/>
            </a:xfrm>
            <a:custGeom>
              <a:avLst/>
              <a:gdLst>
                <a:gd name="connsiteX0" fmla="*/ 534924 w 1323022"/>
                <a:gd name="connsiteY0" fmla="*/ 0 h 1257014"/>
                <a:gd name="connsiteX1" fmla="*/ 788099 w 1323022"/>
                <a:gd name="connsiteY1" fmla="*/ 0 h 1257014"/>
                <a:gd name="connsiteX2" fmla="*/ 1323023 w 1323022"/>
                <a:gd name="connsiteY2" fmla="*/ 1257014 h 1257014"/>
                <a:gd name="connsiteX3" fmla="*/ 1035939 w 1323022"/>
                <a:gd name="connsiteY3" fmla="*/ 1257014 h 1257014"/>
                <a:gd name="connsiteX4" fmla="*/ 921829 w 1323022"/>
                <a:gd name="connsiteY4" fmla="*/ 977075 h 1257014"/>
                <a:gd name="connsiteX5" fmla="*/ 394049 w 1323022"/>
                <a:gd name="connsiteY5" fmla="*/ 977075 h 1257014"/>
                <a:gd name="connsiteX6" fmla="*/ 279940 w 1323022"/>
                <a:gd name="connsiteY6" fmla="*/ 1257014 h 1257014"/>
                <a:gd name="connsiteX7" fmla="*/ 0 w 1323022"/>
                <a:gd name="connsiteY7" fmla="*/ 1257014 h 1257014"/>
                <a:gd name="connsiteX8" fmla="*/ 534924 w 1323022"/>
                <a:gd name="connsiteY8" fmla="*/ 0 h 1257014"/>
                <a:gd name="connsiteX9" fmla="*/ 823817 w 1323022"/>
                <a:gd name="connsiteY9" fmla="*/ 734568 h 1257014"/>
                <a:gd name="connsiteX10" fmla="*/ 657987 w 1323022"/>
                <a:gd name="connsiteY10" fmla="*/ 329851 h 1257014"/>
                <a:gd name="connsiteX11" fmla="*/ 492157 w 1323022"/>
                <a:gd name="connsiteY11" fmla="*/ 734568 h 1257014"/>
                <a:gd name="connsiteX12" fmla="*/ 823817 w 1323022"/>
                <a:gd name="connsiteY12" fmla="*/ 734568 h 125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022" h="1257014">
                  <a:moveTo>
                    <a:pt x="534924" y="0"/>
                  </a:moveTo>
                  <a:lnTo>
                    <a:pt x="788099" y="0"/>
                  </a:lnTo>
                  <a:lnTo>
                    <a:pt x="1323023" y="1257014"/>
                  </a:lnTo>
                  <a:lnTo>
                    <a:pt x="1035939" y="1257014"/>
                  </a:lnTo>
                  <a:lnTo>
                    <a:pt x="921829" y="977075"/>
                  </a:lnTo>
                  <a:lnTo>
                    <a:pt x="394049" y="977075"/>
                  </a:lnTo>
                  <a:lnTo>
                    <a:pt x="279940" y="1257014"/>
                  </a:lnTo>
                  <a:lnTo>
                    <a:pt x="0" y="1257014"/>
                  </a:lnTo>
                  <a:lnTo>
                    <a:pt x="534924" y="0"/>
                  </a:lnTo>
                  <a:close/>
                  <a:moveTo>
                    <a:pt x="823817" y="734568"/>
                  </a:moveTo>
                  <a:lnTo>
                    <a:pt x="657987" y="329851"/>
                  </a:lnTo>
                  <a:lnTo>
                    <a:pt x="492157" y="734568"/>
                  </a:lnTo>
                  <a:lnTo>
                    <a:pt x="823817" y="734568"/>
                  </a:lnTo>
                  <a:close/>
                </a:path>
              </a:pathLst>
            </a:custGeom>
            <a:solidFill>
              <a:srgbClr val="44505E"/>
            </a:solidFill>
            <a:ln w="9525" cap="flat">
              <a:noFill/>
              <a:prstDash val="solid"/>
              <a:miter/>
            </a:ln>
          </p:spPr>
          <p:txBody>
            <a:bodyPr rtlCol="0" anchor="ctr"/>
            <a:lstStyle/>
            <a:p>
              <a:endParaRPr lang="pt-BR" noProof="0"/>
            </a:p>
          </p:txBody>
        </p:sp>
        <p:sp>
          <p:nvSpPr>
            <p:cNvPr id="5" name="Freeform: Shape 17">
              <a:extLst>
                <a:ext uri="{FF2B5EF4-FFF2-40B4-BE49-F238E27FC236}">
                  <a16:creationId xmlns:a16="http://schemas.microsoft.com/office/drawing/2014/main" id="{C19CEBBD-A7BC-359F-F5B2-DAF5F5D8CA03}"/>
                </a:ext>
              </a:extLst>
            </p:cNvPr>
            <p:cNvSpPr/>
            <p:nvPr/>
          </p:nvSpPr>
          <p:spPr>
            <a:xfrm>
              <a:off x="5834078" y="211355"/>
              <a:ext cx="273442" cy="420435"/>
            </a:xfrm>
            <a:custGeom>
              <a:avLst/>
              <a:gdLst>
                <a:gd name="connsiteX0" fmla="*/ 540258 w 1087754"/>
                <a:gd name="connsiteY0" fmla="*/ 1672495 h 1672494"/>
                <a:gd name="connsiteX1" fmla="*/ 144399 w 1087754"/>
                <a:gd name="connsiteY1" fmla="*/ 1533430 h 1672494"/>
                <a:gd name="connsiteX2" fmla="*/ 0 w 1087754"/>
                <a:gd name="connsiteY2" fmla="*/ 1117949 h 1672494"/>
                <a:gd name="connsiteX3" fmla="*/ 0 w 1087754"/>
                <a:gd name="connsiteY3" fmla="*/ 404717 h 1672494"/>
                <a:gd name="connsiteX4" fmla="*/ 274606 w 1087754"/>
                <a:gd name="connsiteY4" fmla="*/ 404717 h 1672494"/>
                <a:gd name="connsiteX5" fmla="*/ 274606 w 1087754"/>
                <a:gd name="connsiteY5" fmla="*/ 1110806 h 1672494"/>
                <a:gd name="connsiteX6" fmla="*/ 345948 w 1087754"/>
                <a:gd name="connsiteY6" fmla="*/ 1341692 h 1672494"/>
                <a:gd name="connsiteX7" fmla="*/ 543877 w 1087754"/>
                <a:gd name="connsiteY7" fmla="*/ 1419225 h 1672494"/>
                <a:gd name="connsiteX8" fmla="*/ 741807 w 1087754"/>
                <a:gd name="connsiteY8" fmla="*/ 1344359 h 1672494"/>
                <a:gd name="connsiteX9" fmla="*/ 813149 w 1087754"/>
                <a:gd name="connsiteY9" fmla="*/ 1119664 h 1672494"/>
                <a:gd name="connsiteX10" fmla="*/ 813149 w 1087754"/>
                <a:gd name="connsiteY10" fmla="*/ 404717 h 1672494"/>
                <a:gd name="connsiteX11" fmla="*/ 1087755 w 1087754"/>
                <a:gd name="connsiteY11" fmla="*/ 404717 h 1672494"/>
                <a:gd name="connsiteX12" fmla="*/ 1087755 w 1087754"/>
                <a:gd name="connsiteY12" fmla="*/ 1108996 h 1672494"/>
                <a:gd name="connsiteX13" fmla="*/ 1049369 w 1087754"/>
                <a:gd name="connsiteY13" fmla="*/ 1356836 h 1672494"/>
                <a:gd name="connsiteX14" fmla="*/ 939737 w 1087754"/>
                <a:gd name="connsiteY14" fmla="*/ 1532477 h 1672494"/>
                <a:gd name="connsiteX15" fmla="*/ 766763 w 1087754"/>
                <a:gd name="connsiteY15" fmla="*/ 1637729 h 1672494"/>
                <a:gd name="connsiteX16" fmla="*/ 540353 w 1087754"/>
                <a:gd name="connsiteY16" fmla="*/ 1672495 h 1672494"/>
                <a:gd name="connsiteX17" fmla="*/ 622268 w 1087754"/>
                <a:gd name="connsiteY17" fmla="*/ 0 h 1672494"/>
                <a:gd name="connsiteX18" fmla="*/ 855821 w 1087754"/>
                <a:gd name="connsiteY18" fmla="*/ 101632 h 1672494"/>
                <a:gd name="connsiteX19" fmla="*/ 627602 w 1087754"/>
                <a:gd name="connsiteY19" fmla="*/ 315563 h 1672494"/>
                <a:gd name="connsiteX20" fmla="*/ 420719 w 1087754"/>
                <a:gd name="connsiteY20" fmla="*/ 315563 h 1672494"/>
                <a:gd name="connsiteX21" fmla="*/ 622268 w 1087754"/>
                <a:gd name="connsiteY21" fmla="*/ 0 h 16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754" h="1672494">
                  <a:moveTo>
                    <a:pt x="540258" y="1672495"/>
                  </a:moveTo>
                  <a:cubicBezTo>
                    <a:pt x="372618" y="1672495"/>
                    <a:pt x="240697" y="1626108"/>
                    <a:pt x="144399" y="1533430"/>
                  </a:cubicBezTo>
                  <a:cubicBezTo>
                    <a:pt x="48101" y="1440752"/>
                    <a:pt x="0" y="1302258"/>
                    <a:pt x="0" y="1117949"/>
                  </a:cubicBezTo>
                  <a:lnTo>
                    <a:pt x="0" y="404717"/>
                  </a:lnTo>
                  <a:lnTo>
                    <a:pt x="274606" y="404717"/>
                  </a:lnTo>
                  <a:lnTo>
                    <a:pt x="274606" y="1110806"/>
                  </a:lnTo>
                  <a:cubicBezTo>
                    <a:pt x="274606" y="1213009"/>
                    <a:pt x="298418" y="1289971"/>
                    <a:pt x="345948" y="1341692"/>
                  </a:cubicBezTo>
                  <a:cubicBezTo>
                    <a:pt x="393478" y="1393412"/>
                    <a:pt x="459486" y="1419225"/>
                    <a:pt x="543877" y="1419225"/>
                  </a:cubicBezTo>
                  <a:cubicBezTo>
                    <a:pt x="628269" y="1419225"/>
                    <a:pt x="694277" y="1394270"/>
                    <a:pt x="741807" y="1344359"/>
                  </a:cubicBezTo>
                  <a:cubicBezTo>
                    <a:pt x="789337" y="1294448"/>
                    <a:pt x="813149" y="1219581"/>
                    <a:pt x="813149" y="1119664"/>
                  </a:cubicBezTo>
                  <a:lnTo>
                    <a:pt x="813149" y="404717"/>
                  </a:lnTo>
                  <a:lnTo>
                    <a:pt x="1087755" y="404717"/>
                  </a:lnTo>
                  <a:lnTo>
                    <a:pt x="1087755" y="1108996"/>
                  </a:lnTo>
                  <a:cubicBezTo>
                    <a:pt x="1087755" y="1204151"/>
                    <a:pt x="1074992" y="1286732"/>
                    <a:pt x="1049369" y="1356836"/>
                  </a:cubicBezTo>
                  <a:cubicBezTo>
                    <a:pt x="1023747" y="1426940"/>
                    <a:pt x="987266" y="1485519"/>
                    <a:pt x="939737" y="1532477"/>
                  </a:cubicBezTo>
                  <a:cubicBezTo>
                    <a:pt x="892207" y="1579436"/>
                    <a:pt x="834485" y="1614488"/>
                    <a:pt x="766763" y="1637729"/>
                  </a:cubicBezTo>
                  <a:cubicBezTo>
                    <a:pt x="699040" y="1660874"/>
                    <a:pt x="623507" y="1672495"/>
                    <a:pt x="540353" y="1672495"/>
                  </a:cubicBezTo>
                  <a:close/>
                  <a:moveTo>
                    <a:pt x="622268" y="0"/>
                  </a:moveTo>
                  <a:lnTo>
                    <a:pt x="855821" y="101632"/>
                  </a:lnTo>
                  <a:lnTo>
                    <a:pt x="627602" y="315563"/>
                  </a:lnTo>
                  <a:lnTo>
                    <a:pt x="420719" y="315563"/>
                  </a:lnTo>
                  <a:lnTo>
                    <a:pt x="622268" y="0"/>
                  </a:lnTo>
                  <a:close/>
                </a:path>
              </a:pathLst>
            </a:custGeom>
            <a:solidFill>
              <a:srgbClr val="44505E"/>
            </a:solidFill>
            <a:ln w="9525" cap="flat">
              <a:noFill/>
              <a:prstDash val="solid"/>
              <a:miter/>
            </a:ln>
          </p:spPr>
          <p:txBody>
            <a:bodyPr rtlCol="0" anchor="ctr"/>
            <a:lstStyle/>
            <a:p>
              <a:endParaRPr lang="pt-BR" noProof="0"/>
            </a:p>
          </p:txBody>
        </p:sp>
        <p:sp>
          <p:nvSpPr>
            <p:cNvPr id="6" name="Freeform: Shape 18">
              <a:extLst>
                <a:ext uri="{FF2B5EF4-FFF2-40B4-BE49-F238E27FC236}">
                  <a16:creationId xmlns:a16="http://schemas.microsoft.com/office/drawing/2014/main" id="{1D30A2E7-7AD9-D7E9-1C80-1D07AE159C15}"/>
                </a:ext>
              </a:extLst>
            </p:cNvPr>
            <p:cNvSpPr/>
            <p:nvPr/>
          </p:nvSpPr>
          <p:spPr>
            <a:xfrm>
              <a:off x="6143795" y="313094"/>
              <a:ext cx="289101" cy="313764"/>
            </a:xfrm>
            <a:custGeom>
              <a:avLst/>
              <a:gdLst>
                <a:gd name="connsiteX0" fmla="*/ 0 w 1150048"/>
                <a:gd name="connsiteY0" fmla="*/ 0 h 1248155"/>
                <a:gd name="connsiteX1" fmla="*/ 486728 w 1150048"/>
                <a:gd name="connsiteY1" fmla="*/ 0 h 1248155"/>
                <a:gd name="connsiteX2" fmla="*/ 755047 w 1150048"/>
                <a:gd name="connsiteY2" fmla="*/ 47244 h 1248155"/>
                <a:gd name="connsiteX3" fmla="*/ 965454 w 1150048"/>
                <a:gd name="connsiteY3" fmla="*/ 178308 h 1248155"/>
                <a:gd name="connsiteX4" fmla="*/ 1101852 w 1150048"/>
                <a:gd name="connsiteY4" fmla="*/ 375380 h 1248155"/>
                <a:gd name="connsiteX5" fmla="*/ 1150049 w 1150048"/>
                <a:gd name="connsiteY5" fmla="*/ 620554 h 1248155"/>
                <a:gd name="connsiteX6" fmla="*/ 1150049 w 1150048"/>
                <a:gd name="connsiteY6" fmla="*/ 624173 h 1248155"/>
                <a:gd name="connsiteX7" fmla="*/ 1101852 w 1150048"/>
                <a:gd name="connsiteY7" fmla="*/ 870204 h 1248155"/>
                <a:gd name="connsiteX8" fmla="*/ 965454 w 1150048"/>
                <a:gd name="connsiteY8" fmla="*/ 1068134 h 1248155"/>
                <a:gd name="connsiteX9" fmla="*/ 755047 w 1150048"/>
                <a:gd name="connsiteY9" fmla="*/ 1200055 h 1248155"/>
                <a:gd name="connsiteX10" fmla="*/ 486728 w 1150048"/>
                <a:gd name="connsiteY10" fmla="*/ 1248156 h 1248155"/>
                <a:gd name="connsiteX11" fmla="*/ 0 w 1150048"/>
                <a:gd name="connsiteY11" fmla="*/ 1248156 h 1248155"/>
                <a:gd name="connsiteX12" fmla="*/ 0 w 1150048"/>
                <a:gd name="connsiteY12" fmla="*/ 0 h 1248155"/>
                <a:gd name="connsiteX13" fmla="*/ 486728 w 1150048"/>
                <a:gd name="connsiteY13" fmla="*/ 1000315 h 1248155"/>
                <a:gd name="connsiteX14" fmla="*/ 640080 w 1150048"/>
                <a:gd name="connsiteY14" fmla="*/ 973550 h 1248155"/>
                <a:gd name="connsiteX15" fmla="*/ 758667 w 1150048"/>
                <a:gd name="connsiteY15" fmla="*/ 896874 h 1248155"/>
                <a:gd name="connsiteX16" fmla="*/ 835343 w 1150048"/>
                <a:gd name="connsiteY16" fmla="*/ 779240 h 1248155"/>
                <a:gd name="connsiteX17" fmla="*/ 862965 w 1150048"/>
                <a:gd name="connsiteY17" fmla="*/ 627698 h 1248155"/>
                <a:gd name="connsiteX18" fmla="*/ 862965 w 1150048"/>
                <a:gd name="connsiteY18" fmla="*/ 624078 h 1248155"/>
                <a:gd name="connsiteX19" fmla="*/ 835343 w 1150048"/>
                <a:gd name="connsiteY19" fmla="*/ 472535 h 1248155"/>
                <a:gd name="connsiteX20" fmla="*/ 758667 w 1150048"/>
                <a:gd name="connsiteY20" fmla="*/ 353092 h 1248155"/>
                <a:gd name="connsiteX21" fmla="*/ 640080 w 1150048"/>
                <a:gd name="connsiteY21" fmla="*/ 275558 h 1248155"/>
                <a:gd name="connsiteX22" fmla="*/ 486728 w 1150048"/>
                <a:gd name="connsiteY22" fmla="*/ 247936 h 1248155"/>
                <a:gd name="connsiteX23" fmla="*/ 274511 w 1150048"/>
                <a:gd name="connsiteY23" fmla="*/ 247936 h 1248155"/>
                <a:gd name="connsiteX24" fmla="*/ 274511 w 1150048"/>
                <a:gd name="connsiteY24" fmla="*/ 1000411 h 1248155"/>
                <a:gd name="connsiteX25" fmla="*/ 486728 w 1150048"/>
                <a:gd name="connsiteY25" fmla="*/ 1000411 h 124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50048" h="1248155">
                  <a:moveTo>
                    <a:pt x="0" y="0"/>
                  </a:moveTo>
                  <a:lnTo>
                    <a:pt x="486728" y="0"/>
                  </a:lnTo>
                  <a:cubicBezTo>
                    <a:pt x="584168" y="0"/>
                    <a:pt x="673608" y="15811"/>
                    <a:pt x="755047" y="47244"/>
                  </a:cubicBezTo>
                  <a:cubicBezTo>
                    <a:pt x="836486" y="78772"/>
                    <a:pt x="906590" y="122396"/>
                    <a:pt x="965454" y="178308"/>
                  </a:cubicBezTo>
                  <a:cubicBezTo>
                    <a:pt x="1024319" y="234220"/>
                    <a:pt x="1069753" y="299847"/>
                    <a:pt x="1101852" y="375380"/>
                  </a:cubicBezTo>
                  <a:cubicBezTo>
                    <a:pt x="1133951" y="450914"/>
                    <a:pt x="1150049" y="532543"/>
                    <a:pt x="1150049" y="620554"/>
                  </a:cubicBezTo>
                  <a:lnTo>
                    <a:pt x="1150049" y="624173"/>
                  </a:lnTo>
                  <a:cubicBezTo>
                    <a:pt x="1150049" y="712184"/>
                    <a:pt x="1133951" y="794195"/>
                    <a:pt x="1101852" y="870204"/>
                  </a:cubicBezTo>
                  <a:cubicBezTo>
                    <a:pt x="1069753" y="946309"/>
                    <a:pt x="1024319" y="1012222"/>
                    <a:pt x="965454" y="1068134"/>
                  </a:cubicBezTo>
                  <a:cubicBezTo>
                    <a:pt x="906590" y="1124045"/>
                    <a:pt x="836486" y="1167956"/>
                    <a:pt x="755047" y="1200055"/>
                  </a:cubicBezTo>
                  <a:cubicBezTo>
                    <a:pt x="673608" y="1232154"/>
                    <a:pt x="584168" y="1248156"/>
                    <a:pt x="486728" y="1248156"/>
                  </a:cubicBezTo>
                  <a:lnTo>
                    <a:pt x="0" y="1248156"/>
                  </a:lnTo>
                  <a:lnTo>
                    <a:pt x="0" y="0"/>
                  </a:lnTo>
                  <a:close/>
                  <a:moveTo>
                    <a:pt x="486728" y="1000315"/>
                  </a:moveTo>
                  <a:cubicBezTo>
                    <a:pt x="542639" y="1000315"/>
                    <a:pt x="593693" y="991457"/>
                    <a:pt x="640080" y="973550"/>
                  </a:cubicBezTo>
                  <a:cubicBezTo>
                    <a:pt x="686467" y="955739"/>
                    <a:pt x="725900" y="930211"/>
                    <a:pt x="758667" y="896874"/>
                  </a:cubicBezTo>
                  <a:cubicBezTo>
                    <a:pt x="791337" y="863632"/>
                    <a:pt x="816864" y="824389"/>
                    <a:pt x="835343" y="779240"/>
                  </a:cubicBezTo>
                  <a:cubicBezTo>
                    <a:pt x="853726" y="734092"/>
                    <a:pt x="862965" y="683609"/>
                    <a:pt x="862965" y="627698"/>
                  </a:cubicBezTo>
                  <a:lnTo>
                    <a:pt x="862965" y="624078"/>
                  </a:lnTo>
                  <a:cubicBezTo>
                    <a:pt x="862965" y="569404"/>
                    <a:pt x="853726" y="518827"/>
                    <a:pt x="835343" y="472535"/>
                  </a:cubicBezTo>
                  <a:cubicBezTo>
                    <a:pt x="816864" y="426149"/>
                    <a:pt x="791337" y="386334"/>
                    <a:pt x="758667" y="353092"/>
                  </a:cubicBezTo>
                  <a:cubicBezTo>
                    <a:pt x="725996" y="319849"/>
                    <a:pt x="686467" y="293941"/>
                    <a:pt x="640080" y="275558"/>
                  </a:cubicBezTo>
                  <a:cubicBezTo>
                    <a:pt x="593693" y="257175"/>
                    <a:pt x="542639" y="247936"/>
                    <a:pt x="486728" y="247936"/>
                  </a:cubicBezTo>
                  <a:lnTo>
                    <a:pt x="274511" y="247936"/>
                  </a:lnTo>
                  <a:lnTo>
                    <a:pt x="274511" y="1000411"/>
                  </a:lnTo>
                  <a:lnTo>
                    <a:pt x="486728" y="1000411"/>
                  </a:lnTo>
                  <a:close/>
                </a:path>
              </a:pathLst>
            </a:custGeom>
            <a:solidFill>
              <a:srgbClr val="44505E"/>
            </a:solidFill>
            <a:ln w="9525" cap="flat">
              <a:noFill/>
              <a:prstDash val="solid"/>
              <a:miter/>
            </a:ln>
          </p:spPr>
          <p:txBody>
            <a:bodyPr rtlCol="0" anchor="ctr"/>
            <a:lstStyle/>
            <a:p>
              <a:endParaRPr lang="pt-BR" noProof="0"/>
            </a:p>
          </p:txBody>
        </p:sp>
        <p:sp>
          <p:nvSpPr>
            <p:cNvPr id="7" name="Freeform: Shape 19">
              <a:extLst>
                <a:ext uri="{FF2B5EF4-FFF2-40B4-BE49-F238E27FC236}">
                  <a16:creationId xmlns:a16="http://schemas.microsoft.com/office/drawing/2014/main" id="{506D26D9-7A0C-A897-C72E-3EB9CAED3E9C}"/>
                </a:ext>
              </a:extLst>
            </p:cNvPr>
            <p:cNvSpPr/>
            <p:nvPr/>
          </p:nvSpPr>
          <p:spPr>
            <a:xfrm>
              <a:off x="6460217" y="313094"/>
              <a:ext cx="238459" cy="313788"/>
            </a:xfrm>
            <a:custGeom>
              <a:avLst/>
              <a:gdLst>
                <a:gd name="connsiteX0" fmla="*/ 95 w 948594"/>
                <a:gd name="connsiteY0" fmla="*/ 0 h 1248251"/>
                <a:gd name="connsiteX1" fmla="*/ 939737 w 948594"/>
                <a:gd name="connsiteY1" fmla="*/ 0 h 1248251"/>
                <a:gd name="connsiteX2" fmla="*/ 939737 w 948594"/>
                <a:gd name="connsiteY2" fmla="*/ 244316 h 1248251"/>
                <a:gd name="connsiteX3" fmla="*/ 271081 w 948594"/>
                <a:gd name="connsiteY3" fmla="*/ 244316 h 1248251"/>
                <a:gd name="connsiteX4" fmla="*/ 271081 w 948594"/>
                <a:gd name="connsiteY4" fmla="*/ 497491 h 1248251"/>
                <a:gd name="connsiteX5" fmla="*/ 859441 w 948594"/>
                <a:gd name="connsiteY5" fmla="*/ 497491 h 1248251"/>
                <a:gd name="connsiteX6" fmla="*/ 859441 w 948594"/>
                <a:gd name="connsiteY6" fmla="*/ 741807 h 1248251"/>
                <a:gd name="connsiteX7" fmla="*/ 271081 w 948594"/>
                <a:gd name="connsiteY7" fmla="*/ 741807 h 1248251"/>
                <a:gd name="connsiteX8" fmla="*/ 271081 w 948594"/>
                <a:gd name="connsiteY8" fmla="*/ 1003935 h 1248251"/>
                <a:gd name="connsiteX9" fmla="*/ 948595 w 948594"/>
                <a:gd name="connsiteY9" fmla="*/ 1003935 h 1248251"/>
                <a:gd name="connsiteX10" fmla="*/ 948595 w 948594"/>
                <a:gd name="connsiteY10" fmla="*/ 1248251 h 1248251"/>
                <a:gd name="connsiteX11" fmla="*/ 0 w 948594"/>
                <a:gd name="connsiteY11" fmla="*/ 1248251 h 1248251"/>
                <a:gd name="connsiteX12" fmla="*/ 0 w 948594"/>
                <a:gd name="connsiteY12" fmla="*/ 0 h 124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594" h="1248251">
                  <a:moveTo>
                    <a:pt x="95" y="0"/>
                  </a:moveTo>
                  <a:lnTo>
                    <a:pt x="939737" y="0"/>
                  </a:lnTo>
                  <a:lnTo>
                    <a:pt x="939737" y="244316"/>
                  </a:lnTo>
                  <a:lnTo>
                    <a:pt x="271081" y="244316"/>
                  </a:lnTo>
                  <a:lnTo>
                    <a:pt x="271081" y="497491"/>
                  </a:lnTo>
                  <a:lnTo>
                    <a:pt x="859441" y="497491"/>
                  </a:lnTo>
                  <a:lnTo>
                    <a:pt x="859441" y="741807"/>
                  </a:lnTo>
                  <a:lnTo>
                    <a:pt x="271081" y="741807"/>
                  </a:lnTo>
                  <a:lnTo>
                    <a:pt x="271081" y="1003935"/>
                  </a:lnTo>
                  <a:lnTo>
                    <a:pt x="948595" y="1003935"/>
                  </a:lnTo>
                  <a:lnTo>
                    <a:pt x="948595" y="1248251"/>
                  </a:lnTo>
                  <a:lnTo>
                    <a:pt x="0" y="1248251"/>
                  </a:lnTo>
                  <a:lnTo>
                    <a:pt x="0" y="0"/>
                  </a:lnTo>
                  <a:close/>
                </a:path>
              </a:pathLst>
            </a:custGeom>
            <a:solidFill>
              <a:srgbClr val="44505E"/>
            </a:solidFill>
            <a:ln w="9525" cap="flat">
              <a:noFill/>
              <a:prstDash val="solid"/>
              <a:miter/>
            </a:ln>
          </p:spPr>
          <p:txBody>
            <a:bodyPr rtlCol="0" anchor="ctr"/>
            <a:lstStyle/>
            <a:p>
              <a:endParaRPr lang="pt-BR" noProof="0"/>
            </a:p>
          </p:txBody>
        </p:sp>
        <p:sp>
          <p:nvSpPr>
            <p:cNvPr id="8" name="Freeform: Shape 20">
              <a:extLst>
                <a:ext uri="{FF2B5EF4-FFF2-40B4-BE49-F238E27FC236}">
                  <a16:creationId xmlns:a16="http://schemas.microsoft.com/office/drawing/2014/main" id="{A43D5610-F42D-C2BB-88DE-C3EC6A05BEB8}"/>
                </a:ext>
              </a:extLst>
            </p:cNvPr>
            <p:cNvSpPr/>
            <p:nvPr/>
          </p:nvSpPr>
          <p:spPr>
            <a:xfrm>
              <a:off x="5253193" y="699983"/>
              <a:ext cx="90796" cy="97883"/>
            </a:xfrm>
            <a:custGeom>
              <a:avLst/>
              <a:gdLst>
                <a:gd name="connsiteX0" fmla="*/ 191548 w 361187"/>
                <a:gd name="connsiteY0" fmla="*/ 389382 h 389381"/>
                <a:gd name="connsiteX1" fmla="*/ 116300 w 361187"/>
                <a:gd name="connsiteY1" fmla="*/ 375285 h 389381"/>
                <a:gd name="connsiteX2" fmla="*/ 55531 w 361187"/>
                <a:gd name="connsiteY2" fmla="*/ 335756 h 389381"/>
                <a:gd name="connsiteX3" fmla="*/ 14859 w 361187"/>
                <a:gd name="connsiteY3" fmla="*/ 274606 h 389381"/>
                <a:gd name="connsiteX4" fmla="*/ 0 w 361187"/>
                <a:gd name="connsiteY4" fmla="*/ 195834 h 389381"/>
                <a:gd name="connsiteX5" fmla="*/ 0 w 361187"/>
                <a:gd name="connsiteY5" fmla="*/ 194405 h 389381"/>
                <a:gd name="connsiteX6" fmla="*/ 13430 w 361187"/>
                <a:gd name="connsiteY6" fmla="*/ 118777 h 389381"/>
                <a:gd name="connsiteX7" fmla="*/ 51245 w 361187"/>
                <a:gd name="connsiteY7" fmla="*/ 56959 h 389381"/>
                <a:gd name="connsiteX8" fmla="*/ 108871 w 361187"/>
                <a:gd name="connsiteY8" fmla="*/ 15240 h 389381"/>
                <a:gd name="connsiteX9" fmla="*/ 182404 w 361187"/>
                <a:gd name="connsiteY9" fmla="*/ 0 h 389381"/>
                <a:gd name="connsiteX10" fmla="*/ 260509 w 361187"/>
                <a:gd name="connsiteY10" fmla="*/ 16288 h 389381"/>
                <a:gd name="connsiteX11" fmla="*/ 316325 w 361187"/>
                <a:gd name="connsiteY11" fmla="*/ 60103 h 389381"/>
                <a:gd name="connsiteX12" fmla="*/ 349853 w 361187"/>
                <a:gd name="connsiteY12" fmla="*/ 124015 h 389381"/>
                <a:gd name="connsiteX13" fmla="*/ 361188 w 361187"/>
                <a:gd name="connsiteY13" fmla="*/ 200692 h 389381"/>
                <a:gd name="connsiteX14" fmla="*/ 360807 w 361187"/>
                <a:gd name="connsiteY14" fmla="*/ 212312 h 389381"/>
                <a:gd name="connsiteX15" fmla="*/ 359759 w 361187"/>
                <a:gd name="connsiteY15" fmla="*/ 224695 h 389381"/>
                <a:gd name="connsiteX16" fmla="*/ 85534 w 361187"/>
                <a:gd name="connsiteY16" fmla="*/ 224695 h 389381"/>
                <a:gd name="connsiteX17" fmla="*/ 121920 w 361187"/>
                <a:gd name="connsiteY17" fmla="*/ 294989 h 389381"/>
                <a:gd name="connsiteX18" fmla="*/ 192977 w 361187"/>
                <a:gd name="connsiteY18" fmla="*/ 319373 h 389381"/>
                <a:gd name="connsiteX19" fmla="*/ 248126 w 361187"/>
                <a:gd name="connsiteY19" fmla="*/ 308038 h 389381"/>
                <a:gd name="connsiteX20" fmla="*/ 294037 w 361187"/>
                <a:gd name="connsiteY20" fmla="*/ 274796 h 389381"/>
                <a:gd name="connsiteX21" fmla="*/ 344234 w 361187"/>
                <a:gd name="connsiteY21" fmla="*/ 319278 h 389381"/>
                <a:gd name="connsiteX22" fmla="*/ 280226 w 361187"/>
                <a:gd name="connsiteY22" fmla="*/ 370141 h 389381"/>
                <a:gd name="connsiteX23" fmla="*/ 191548 w 361187"/>
                <a:gd name="connsiteY23" fmla="*/ 389191 h 389381"/>
                <a:gd name="connsiteX24" fmla="*/ 276320 w 361187"/>
                <a:gd name="connsiteY24" fmla="*/ 168211 h 389381"/>
                <a:gd name="connsiteX25" fmla="*/ 267176 w 361187"/>
                <a:gd name="connsiteY25" fmla="*/ 129730 h 389381"/>
                <a:gd name="connsiteX26" fmla="*/ 248126 w 361187"/>
                <a:gd name="connsiteY26" fmla="*/ 98679 h 389381"/>
                <a:gd name="connsiteX27" fmla="*/ 219551 w 361187"/>
                <a:gd name="connsiteY27" fmla="*/ 77819 h 389381"/>
                <a:gd name="connsiteX28" fmla="*/ 181737 w 361187"/>
                <a:gd name="connsiteY28" fmla="*/ 70009 h 389381"/>
                <a:gd name="connsiteX29" fmla="*/ 116396 w 361187"/>
                <a:gd name="connsiteY29" fmla="*/ 97250 h 389381"/>
                <a:gd name="connsiteX30" fmla="*/ 84963 w 361187"/>
                <a:gd name="connsiteY30" fmla="*/ 168307 h 389381"/>
                <a:gd name="connsiteX31" fmla="*/ 276511 w 361187"/>
                <a:gd name="connsiteY31" fmla="*/ 168307 h 38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187" h="389381">
                  <a:moveTo>
                    <a:pt x="191548" y="389382"/>
                  </a:moveTo>
                  <a:cubicBezTo>
                    <a:pt x="164687" y="389382"/>
                    <a:pt x="139637" y="384715"/>
                    <a:pt x="116300" y="375285"/>
                  </a:cubicBezTo>
                  <a:cubicBezTo>
                    <a:pt x="92964" y="365855"/>
                    <a:pt x="72771" y="352711"/>
                    <a:pt x="55531" y="335756"/>
                  </a:cubicBezTo>
                  <a:cubicBezTo>
                    <a:pt x="38291" y="318802"/>
                    <a:pt x="24765" y="298418"/>
                    <a:pt x="14859" y="274606"/>
                  </a:cubicBezTo>
                  <a:cubicBezTo>
                    <a:pt x="4953" y="250793"/>
                    <a:pt x="0" y="224599"/>
                    <a:pt x="0" y="195834"/>
                  </a:cubicBezTo>
                  <a:lnTo>
                    <a:pt x="0" y="194405"/>
                  </a:lnTo>
                  <a:cubicBezTo>
                    <a:pt x="0" y="167545"/>
                    <a:pt x="4477" y="142399"/>
                    <a:pt x="13430" y="118777"/>
                  </a:cubicBezTo>
                  <a:cubicBezTo>
                    <a:pt x="22384" y="95250"/>
                    <a:pt x="34957" y="74581"/>
                    <a:pt x="51245" y="56959"/>
                  </a:cubicBezTo>
                  <a:cubicBezTo>
                    <a:pt x="67532" y="39338"/>
                    <a:pt x="86677" y="25432"/>
                    <a:pt x="108871" y="15240"/>
                  </a:cubicBezTo>
                  <a:cubicBezTo>
                    <a:pt x="131064" y="5143"/>
                    <a:pt x="155543" y="0"/>
                    <a:pt x="182404" y="0"/>
                  </a:cubicBezTo>
                  <a:cubicBezTo>
                    <a:pt x="212122" y="0"/>
                    <a:pt x="238125" y="5429"/>
                    <a:pt x="260509" y="16288"/>
                  </a:cubicBezTo>
                  <a:cubicBezTo>
                    <a:pt x="282893" y="27146"/>
                    <a:pt x="301466" y="41719"/>
                    <a:pt x="316325" y="60103"/>
                  </a:cubicBezTo>
                  <a:cubicBezTo>
                    <a:pt x="331184" y="78486"/>
                    <a:pt x="342329" y="99822"/>
                    <a:pt x="349853" y="124015"/>
                  </a:cubicBezTo>
                  <a:cubicBezTo>
                    <a:pt x="357378" y="148304"/>
                    <a:pt x="361188" y="173831"/>
                    <a:pt x="361188" y="200692"/>
                  </a:cubicBezTo>
                  <a:cubicBezTo>
                    <a:pt x="361188" y="204502"/>
                    <a:pt x="361093" y="208312"/>
                    <a:pt x="360807" y="212312"/>
                  </a:cubicBezTo>
                  <a:cubicBezTo>
                    <a:pt x="360521" y="216313"/>
                    <a:pt x="360236" y="220409"/>
                    <a:pt x="359759" y="224695"/>
                  </a:cubicBezTo>
                  <a:lnTo>
                    <a:pt x="85534" y="224695"/>
                  </a:lnTo>
                  <a:cubicBezTo>
                    <a:pt x="90202" y="255365"/>
                    <a:pt x="102394" y="278797"/>
                    <a:pt x="121920" y="294989"/>
                  </a:cubicBezTo>
                  <a:cubicBezTo>
                    <a:pt x="141446" y="311277"/>
                    <a:pt x="165164" y="319373"/>
                    <a:pt x="192977" y="319373"/>
                  </a:cubicBezTo>
                  <a:cubicBezTo>
                    <a:pt x="214217" y="319373"/>
                    <a:pt x="232505" y="315563"/>
                    <a:pt x="248126" y="308038"/>
                  </a:cubicBezTo>
                  <a:cubicBezTo>
                    <a:pt x="263652" y="300514"/>
                    <a:pt x="278987" y="289465"/>
                    <a:pt x="294037" y="274796"/>
                  </a:cubicBezTo>
                  <a:lnTo>
                    <a:pt x="344234" y="319278"/>
                  </a:lnTo>
                  <a:cubicBezTo>
                    <a:pt x="326327" y="340519"/>
                    <a:pt x="304991" y="357473"/>
                    <a:pt x="280226" y="370141"/>
                  </a:cubicBezTo>
                  <a:cubicBezTo>
                    <a:pt x="255461" y="382810"/>
                    <a:pt x="225933" y="389191"/>
                    <a:pt x="191548" y="389191"/>
                  </a:cubicBezTo>
                  <a:close/>
                  <a:moveTo>
                    <a:pt x="276320" y="168211"/>
                  </a:moveTo>
                  <a:cubicBezTo>
                    <a:pt x="274892" y="154591"/>
                    <a:pt x="271844" y="141732"/>
                    <a:pt x="267176" y="129730"/>
                  </a:cubicBezTo>
                  <a:cubicBezTo>
                    <a:pt x="262414" y="117729"/>
                    <a:pt x="256127" y="107347"/>
                    <a:pt x="248126" y="98679"/>
                  </a:cubicBezTo>
                  <a:cubicBezTo>
                    <a:pt x="240125" y="89916"/>
                    <a:pt x="230600" y="82963"/>
                    <a:pt x="219551" y="77819"/>
                  </a:cubicBezTo>
                  <a:cubicBezTo>
                    <a:pt x="208502" y="72676"/>
                    <a:pt x="195834" y="70009"/>
                    <a:pt x="181737" y="70009"/>
                  </a:cubicBezTo>
                  <a:cubicBezTo>
                    <a:pt x="155353" y="70009"/>
                    <a:pt x="133541" y="79057"/>
                    <a:pt x="116396" y="97250"/>
                  </a:cubicBezTo>
                  <a:cubicBezTo>
                    <a:pt x="99155" y="115348"/>
                    <a:pt x="88678" y="139065"/>
                    <a:pt x="84963" y="168307"/>
                  </a:cubicBezTo>
                  <a:lnTo>
                    <a:pt x="276511" y="168307"/>
                  </a:lnTo>
                  <a:close/>
                </a:path>
              </a:pathLst>
            </a:custGeom>
            <a:solidFill>
              <a:srgbClr val="44505E"/>
            </a:solidFill>
            <a:ln w="9525" cap="flat">
              <a:noFill/>
              <a:prstDash val="solid"/>
              <a:miter/>
            </a:ln>
          </p:spPr>
          <p:txBody>
            <a:bodyPr rtlCol="0" anchor="ctr"/>
            <a:lstStyle/>
            <a:p>
              <a:endParaRPr lang="pt-BR" noProof="0"/>
            </a:p>
          </p:txBody>
        </p:sp>
        <p:sp>
          <p:nvSpPr>
            <p:cNvPr id="9" name="Freeform: Shape 21">
              <a:extLst>
                <a:ext uri="{FF2B5EF4-FFF2-40B4-BE49-F238E27FC236}">
                  <a16:creationId xmlns:a16="http://schemas.microsoft.com/office/drawing/2014/main" id="{26709703-7A62-4847-4FA8-A0BB790F5D4C}"/>
                </a:ext>
              </a:extLst>
            </p:cNvPr>
            <p:cNvSpPr/>
            <p:nvPr/>
          </p:nvSpPr>
          <p:spPr>
            <a:xfrm>
              <a:off x="5365659"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5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8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3 w 568166"/>
                <a:gd name="connsiteY21" fmla="*/ 381000 h 381000"/>
                <a:gd name="connsiteX22" fmla="*/ 240983 w 568166"/>
                <a:gd name="connsiteY22" fmla="*/ 168783 h 381000"/>
                <a:gd name="connsiteX23" fmla="*/ 221266 w 568166"/>
                <a:gd name="connsiteY23" fmla="*/ 101822 h 381000"/>
                <a:gd name="connsiteX24" fmla="*/ 165640 w 568166"/>
                <a:gd name="connsiteY24" fmla="*/ 78581 h 381000"/>
                <a:gd name="connsiteX25" fmla="*/ 108014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70" y="48196"/>
                    <a:pt x="105918" y="40576"/>
                  </a:cubicBezTo>
                  <a:cubicBezTo>
                    <a:pt x="112967" y="32956"/>
                    <a:pt x="121063" y="26099"/>
                    <a:pt x="130207" y="19907"/>
                  </a:cubicBezTo>
                  <a:cubicBezTo>
                    <a:pt x="139351" y="13716"/>
                    <a:pt x="149733" y="8858"/>
                    <a:pt x="161163" y="5334"/>
                  </a:cubicBezTo>
                  <a:cubicBezTo>
                    <a:pt x="172688" y="1714"/>
                    <a:pt x="185452" y="0"/>
                    <a:pt x="199549" y="0"/>
                  </a:cubicBezTo>
                  <a:cubicBezTo>
                    <a:pt x="226314" y="0"/>
                    <a:pt x="248984" y="6096"/>
                    <a:pt x="267557" y="18193"/>
                  </a:cubicBezTo>
                  <a:cubicBezTo>
                    <a:pt x="286131" y="30289"/>
                    <a:pt x="300323" y="46387"/>
                    <a:pt x="310134" y="66294"/>
                  </a:cubicBezTo>
                  <a:cubicBezTo>
                    <a:pt x="325279" y="46387"/>
                    <a:pt x="343091" y="30289"/>
                    <a:pt x="363665" y="18193"/>
                  </a:cubicBezTo>
                  <a:cubicBezTo>
                    <a:pt x="384239" y="6096"/>
                    <a:pt x="408718" y="0"/>
                    <a:pt x="437007" y="0"/>
                  </a:cubicBezTo>
                  <a:cubicBezTo>
                    <a:pt x="478060"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8" y="78486"/>
                  </a:cubicBezTo>
                  <a:cubicBezTo>
                    <a:pt x="382810" y="78486"/>
                    <a:pt x="364141" y="86392"/>
                    <a:pt x="349377" y="102108"/>
                  </a:cubicBezTo>
                  <a:cubicBezTo>
                    <a:pt x="334613" y="117824"/>
                    <a:pt x="327184" y="140779"/>
                    <a:pt x="327184" y="170879"/>
                  </a:cubicBezTo>
                  <a:lnTo>
                    <a:pt x="327184" y="381000"/>
                  </a:lnTo>
                  <a:lnTo>
                    <a:pt x="240983" y="381000"/>
                  </a:lnTo>
                  <a:lnTo>
                    <a:pt x="240983" y="168783"/>
                  </a:lnTo>
                  <a:cubicBezTo>
                    <a:pt x="240983" y="139637"/>
                    <a:pt x="234410" y="117348"/>
                    <a:pt x="221266" y="101822"/>
                  </a:cubicBezTo>
                  <a:cubicBezTo>
                    <a:pt x="208121" y="86296"/>
                    <a:pt x="189643" y="78581"/>
                    <a:pt x="165640" y="78581"/>
                  </a:cubicBezTo>
                  <a:cubicBezTo>
                    <a:pt x="141637" y="78581"/>
                    <a:pt x="122492" y="86773"/>
                    <a:pt x="108014"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10" name="Freeform: Shape 22">
              <a:extLst>
                <a:ext uri="{FF2B5EF4-FFF2-40B4-BE49-F238E27FC236}">
                  <a16:creationId xmlns:a16="http://schemas.microsoft.com/office/drawing/2014/main" id="{4C59D6F7-0555-1BEE-E7AD-21EED0900DE5}"/>
                </a:ext>
              </a:extLst>
            </p:cNvPr>
            <p:cNvSpPr/>
            <p:nvPr/>
          </p:nvSpPr>
          <p:spPr>
            <a:xfrm>
              <a:off x="5587693" y="700007"/>
              <a:ext cx="84211" cy="95752"/>
            </a:xfrm>
            <a:custGeom>
              <a:avLst/>
              <a:gdLst>
                <a:gd name="connsiteX0" fmla="*/ 95 w 334994"/>
                <a:gd name="connsiteY0" fmla="*/ 7715 h 380904"/>
                <a:gd name="connsiteX1" fmla="*/ 86296 w 334994"/>
                <a:gd name="connsiteY1" fmla="*/ 7715 h 380904"/>
                <a:gd name="connsiteX2" fmla="*/ 86296 w 334994"/>
                <a:gd name="connsiteY2" fmla="*/ 66294 h 380904"/>
                <a:gd name="connsiteX3" fmla="*/ 106394 w 334994"/>
                <a:gd name="connsiteY3" fmla="*/ 40958 h 380904"/>
                <a:gd name="connsiteX4" fmla="*/ 131731 w 334994"/>
                <a:gd name="connsiteY4" fmla="*/ 19907 h 380904"/>
                <a:gd name="connsiteX5" fmla="*/ 163449 w 334994"/>
                <a:gd name="connsiteY5" fmla="*/ 5334 h 380904"/>
                <a:gd name="connsiteX6" fmla="*/ 202597 w 334994"/>
                <a:gd name="connsiteY6" fmla="*/ 0 h 380904"/>
                <a:gd name="connsiteX7" fmla="*/ 300514 w 334994"/>
                <a:gd name="connsiteY7" fmla="*/ 38862 h 380904"/>
                <a:gd name="connsiteX8" fmla="*/ 334994 w 334994"/>
                <a:gd name="connsiteY8" fmla="*/ 143446 h 380904"/>
                <a:gd name="connsiteX9" fmla="*/ 334994 w 334994"/>
                <a:gd name="connsiteY9" fmla="*/ 380905 h 380904"/>
                <a:gd name="connsiteX10" fmla="*/ 248793 w 334994"/>
                <a:gd name="connsiteY10" fmla="*/ 380905 h 380904"/>
                <a:gd name="connsiteX11" fmla="*/ 248793 w 334994"/>
                <a:gd name="connsiteY11" fmla="*/ 169450 h 380904"/>
                <a:gd name="connsiteX12" fmla="*/ 228124 w 334994"/>
                <a:gd name="connsiteY12" fmla="*/ 102108 h 380904"/>
                <a:gd name="connsiteX13" fmla="*/ 169640 w 334994"/>
                <a:gd name="connsiteY13" fmla="*/ 78486 h 380904"/>
                <a:gd name="connsiteX14" fmla="*/ 109347 w 334994"/>
                <a:gd name="connsiteY14" fmla="*/ 102775 h 380904"/>
                <a:gd name="connsiteX15" fmla="*/ 86201 w 334994"/>
                <a:gd name="connsiteY15" fmla="*/ 170783 h 380904"/>
                <a:gd name="connsiteX16" fmla="*/ 86201 w 334994"/>
                <a:gd name="connsiteY16" fmla="*/ 380905 h 380904"/>
                <a:gd name="connsiteX17" fmla="*/ 0 w 334994"/>
                <a:gd name="connsiteY17" fmla="*/ 380905 h 380904"/>
                <a:gd name="connsiteX18" fmla="*/ 0 w 334994"/>
                <a:gd name="connsiteY18" fmla="*/ 7810 h 38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94" h="380904">
                  <a:moveTo>
                    <a:pt x="95" y="7715"/>
                  </a:moveTo>
                  <a:lnTo>
                    <a:pt x="86296" y="7715"/>
                  </a:lnTo>
                  <a:lnTo>
                    <a:pt x="86296" y="66294"/>
                  </a:lnTo>
                  <a:cubicBezTo>
                    <a:pt x="92392" y="57245"/>
                    <a:pt x="99060" y="48863"/>
                    <a:pt x="106394" y="40958"/>
                  </a:cubicBezTo>
                  <a:cubicBezTo>
                    <a:pt x="113633" y="33147"/>
                    <a:pt x="122110" y="26099"/>
                    <a:pt x="131731" y="19907"/>
                  </a:cubicBezTo>
                  <a:cubicBezTo>
                    <a:pt x="141351" y="13716"/>
                    <a:pt x="151924" y="8858"/>
                    <a:pt x="163449" y="5334"/>
                  </a:cubicBezTo>
                  <a:cubicBezTo>
                    <a:pt x="174974" y="1714"/>
                    <a:pt x="188024" y="0"/>
                    <a:pt x="202597" y="0"/>
                  </a:cubicBezTo>
                  <a:cubicBezTo>
                    <a:pt x="244888" y="0"/>
                    <a:pt x="277559" y="12954"/>
                    <a:pt x="300514" y="38862"/>
                  </a:cubicBezTo>
                  <a:cubicBezTo>
                    <a:pt x="323564" y="64770"/>
                    <a:pt x="334994" y="99631"/>
                    <a:pt x="334994" y="143446"/>
                  </a:cubicBezTo>
                  <a:lnTo>
                    <a:pt x="334994" y="380905"/>
                  </a:lnTo>
                  <a:lnTo>
                    <a:pt x="248793" y="380905"/>
                  </a:lnTo>
                  <a:lnTo>
                    <a:pt x="248793" y="169450"/>
                  </a:lnTo>
                  <a:cubicBezTo>
                    <a:pt x="248793" y="140303"/>
                    <a:pt x="241935" y="117824"/>
                    <a:pt x="228124" y="102108"/>
                  </a:cubicBezTo>
                  <a:cubicBezTo>
                    <a:pt x="214313" y="86392"/>
                    <a:pt x="194881" y="78486"/>
                    <a:pt x="169640" y="78486"/>
                  </a:cubicBezTo>
                  <a:cubicBezTo>
                    <a:pt x="144399" y="78486"/>
                    <a:pt x="124777" y="86582"/>
                    <a:pt x="109347" y="102775"/>
                  </a:cubicBezTo>
                  <a:cubicBezTo>
                    <a:pt x="93917" y="118967"/>
                    <a:pt x="86201" y="141637"/>
                    <a:pt x="86201" y="170783"/>
                  </a:cubicBezTo>
                  <a:lnTo>
                    <a:pt x="86201" y="380905"/>
                  </a:lnTo>
                  <a:lnTo>
                    <a:pt x="0" y="380905"/>
                  </a:lnTo>
                  <a:lnTo>
                    <a:pt x="0" y="7810"/>
                  </a:lnTo>
                  <a:close/>
                </a:path>
              </a:pathLst>
            </a:custGeom>
            <a:solidFill>
              <a:srgbClr val="44505E"/>
            </a:solidFill>
            <a:ln w="9525" cap="flat">
              <a:noFill/>
              <a:prstDash val="solid"/>
              <a:miter/>
            </a:ln>
          </p:spPr>
          <p:txBody>
            <a:bodyPr rtlCol="0" anchor="ctr"/>
            <a:lstStyle/>
            <a:p>
              <a:endParaRPr lang="pt-BR" noProof="0"/>
            </a:p>
          </p:txBody>
        </p:sp>
        <p:sp>
          <p:nvSpPr>
            <p:cNvPr id="11" name="Freeform: Shape 23">
              <a:extLst>
                <a:ext uri="{FF2B5EF4-FFF2-40B4-BE49-F238E27FC236}">
                  <a16:creationId xmlns:a16="http://schemas.microsoft.com/office/drawing/2014/main" id="{786CEA97-EC9E-8BCC-2ACA-7FFC95BF9A25}"/>
                </a:ext>
              </a:extLst>
            </p:cNvPr>
            <p:cNvSpPr/>
            <p:nvPr/>
          </p:nvSpPr>
          <p:spPr>
            <a:xfrm>
              <a:off x="5692712" y="699959"/>
              <a:ext cx="100015" cy="97908"/>
            </a:xfrm>
            <a:custGeom>
              <a:avLst/>
              <a:gdLst>
                <a:gd name="connsiteX0" fmla="*/ 197834 w 397859"/>
                <a:gd name="connsiteY0" fmla="*/ 389477 h 389477"/>
                <a:gd name="connsiteX1" fmla="*/ 119063 w 397859"/>
                <a:gd name="connsiteY1" fmla="*/ 374237 h 389477"/>
                <a:gd name="connsiteX2" fmla="*/ 56197 w 397859"/>
                <a:gd name="connsiteY2" fmla="*/ 332899 h 389477"/>
                <a:gd name="connsiteX3" fmla="*/ 14859 w 397859"/>
                <a:gd name="connsiteY3" fmla="*/ 271463 h 389477"/>
                <a:gd name="connsiteX4" fmla="*/ 0 w 397859"/>
                <a:gd name="connsiteY4" fmla="*/ 196501 h 389477"/>
                <a:gd name="connsiteX5" fmla="*/ 0 w 397859"/>
                <a:gd name="connsiteY5" fmla="*/ 195072 h 389477"/>
                <a:gd name="connsiteX6" fmla="*/ 15145 w 397859"/>
                <a:gd name="connsiteY6" fmla="*/ 119444 h 389477"/>
                <a:gd name="connsiteX7" fmla="*/ 56864 w 397859"/>
                <a:gd name="connsiteY7" fmla="*/ 57626 h 389477"/>
                <a:gd name="connsiteX8" fmla="*/ 119729 w 397859"/>
                <a:gd name="connsiteY8" fmla="*/ 15526 h 389477"/>
                <a:gd name="connsiteX9" fmla="*/ 199263 w 397859"/>
                <a:gd name="connsiteY9" fmla="*/ 0 h 389477"/>
                <a:gd name="connsiteX10" fmla="*/ 278797 w 397859"/>
                <a:gd name="connsiteY10" fmla="*/ 15240 h 389477"/>
                <a:gd name="connsiteX11" fmla="*/ 341662 w 397859"/>
                <a:gd name="connsiteY11" fmla="*/ 56959 h 389477"/>
                <a:gd name="connsiteX12" fmla="*/ 383000 w 397859"/>
                <a:gd name="connsiteY12" fmla="*/ 118396 h 389477"/>
                <a:gd name="connsiteX13" fmla="*/ 397859 w 397859"/>
                <a:gd name="connsiteY13" fmla="*/ 193643 h 389477"/>
                <a:gd name="connsiteX14" fmla="*/ 397859 w 397859"/>
                <a:gd name="connsiteY14" fmla="*/ 195072 h 389477"/>
                <a:gd name="connsiteX15" fmla="*/ 382619 w 397859"/>
                <a:gd name="connsiteY15" fmla="*/ 270034 h 389477"/>
                <a:gd name="connsiteX16" fmla="*/ 340900 w 397859"/>
                <a:gd name="connsiteY16" fmla="*/ 331851 h 389477"/>
                <a:gd name="connsiteX17" fmla="*/ 277654 w 397859"/>
                <a:gd name="connsiteY17" fmla="*/ 373856 h 389477"/>
                <a:gd name="connsiteX18" fmla="*/ 197834 w 397859"/>
                <a:gd name="connsiteY18" fmla="*/ 389382 h 389477"/>
                <a:gd name="connsiteX19" fmla="*/ 199263 w 397859"/>
                <a:gd name="connsiteY19" fmla="*/ 315278 h 389477"/>
                <a:gd name="connsiteX20" fmla="*/ 245935 w 397859"/>
                <a:gd name="connsiteY20" fmla="*/ 305753 h 389477"/>
                <a:gd name="connsiteX21" fmla="*/ 281368 w 397859"/>
                <a:gd name="connsiteY21" fmla="*/ 279940 h 389477"/>
                <a:gd name="connsiteX22" fmla="*/ 303847 w 397859"/>
                <a:gd name="connsiteY22" fmla="*/ 242125 h 389477"/>
                <a:gd name="connsiteX23" fmla="*/ 311563 w 397859"/>
                <a:gd name="connsiteY23" fmla="*/ 196501 h 389477"/>
                <a:gd name="connsiteX24" fmla="*/ 311563 w 397859"/>
                <a:gd name="connsiteY24" fmla="*/ 195072 h 389477"/>
                <a:gd name="connsiteX25" fmla="*/ 303181 w 397859"/>
                <a:gd name="connsiteY25" fmla="*/ 148400 h 389477"/>
                <a:gd name="connsiteX26" fmla="*/ 279654 w 397859"/>
                <a:gd name="connsiteY26" fmla="*/ 110204 h 389477"/>
                <a:gd name="connsiteX27" fmla="*/ 243840 w 397859"/>
                <a:gd name="connsiteY27" fmla="*/ 84392 h 389477"/>
                <a:gd name="connsiteX28" fmla="*/ 197834 w 397859"/>
                <a:gd name="connsiteY28" fmla="*/ 74867 h 389477"/>
                <a:gd name="connsiteX29" fmla="*/ 151829 w 397859"/>
                <a:gd name="connsiteY29" fmla="*/ 84392 h 389477"/>
                <a:gd name="connsiteX30" fmla="*/ 116396 w 397859"/>
                <a:gd name="connsiteY30" fmla="*/ 109823 h 389477"/>
                <a:gd name="connsiteX31" fmla="*/ 93917 w 397859"/>
                <a:gd name="connsiteY31" fmla="*/ 147638 h 389477"/>
                <a:gd name="connsiteX32" fmla="*/ 86201 w 397859"/>
                <a:gd name="connsiteY32" fmla="*/ 193548 h 389477"/>
                <a:gd name="connsiteX33" fmla="*/ 86201 w 397859"/>
                <a:gd name="connsiteY33" fmla="*/ 194977 h 389477"/>
                <a:gd name="connsiteX34" fmla="*/ 94583 w 397859"/>
                <a:gd name="connsiteY34" fmla="*/ 241268 h 389477"/>
                <a:gd name="connsiteX35" fmla="*/ 118110 w 397859"/>
                <a:gd name="connsiteY35" fmla="*/ 279463 h 389477"/>
                <a:gd name="connsiteX36" fmla="*/ 153924 w 397859"/>
                <a:gd name="connsiteY36" fmla="*/ 305562 h 389477"/>
                <a:gd name="connsiteX37" fmla="*/ 199263 w 397859"/>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859" h="389477">
                  <a:moveTo>
                    <a:pt x="197834" y="389477"/>
                  </a:moveTo>
                  <a:cubicBezTo>
                    <a:pt x="169545" y="389477"/>
                    <a:pt x="143351" y="384429"/>
                    <a:pt x="119063" y="374237"/>
                  </a:cubicBezTo>
                  <a:cubicBezTo>
                    <a:pt x="94774" y="364141"/>
                    <a:pt x="73819" y="350330"/>
                    <a:pt x="56197" y="332899"/>
                  </a:cubicBezTo>
                  <a:cubicBezTo>
                    <a:pt x="38481" y="315468"/>
                    <a:pt x="24765" y="294989"/>
                    <a:pt x="14859" y="271463"/>
                  </a:cubicBezTo>
                  <a:cubicBezTo>
                    <a:pt x="4953" y="247936"/>
                    <a:pt x="0" y="222980"/>
                    <a:pt x="0" y="196501"/>
                  </a:cubicBezTo>
                  <a:lnTo>
                    <a:pt x="0" y="195072"/>
                  </a:lnTo>
                  <a:cubicBezTo>
                    <a:pt x="0" y="168212"/>
                    <a:pt x="5048" y="143066"/>
                    <a:pt x="15145" y="119444"/>
                  </a:cubicBezTo>
                  <a:cubicBezTo>
                    <a:pt x="25241" y="95917"/>
                    <a:pt x="39148" y="75248"/>
                    <a:pt x="56864" y="57626"/>
                  </a:cubicBezTo>
                  <a:cubicBezTo>
                    <a:pt x="74581" y="39910"/>
                    <a:pt x="95536" y="25908"/>
                    <a:pt x="119729" y="15526"/>
                  </a:cubicBezTo>
                  <a:cubicBezTo>
                    <a:pt x="144018" y="5144"/>
                    <a:pt x="170497" y="0"/>
                    <a:pt x="199263" y="0"/>
                  </a:cubicBezTo>
                  <a:cubicBezTo>
                    <a:pt x="228029" y="0"/>
                    <a:pt x="254508" y="5048"/>
                    <a:pt x="278797" y="15240"/>
                  </a:cubicBezTo>
                  <a:cubicBezTo>
                    <a:pt x="303085" y="25337"/>
                    <a:pt x="324041" y="39243"/>
                    <a:pt x="341662" y="56959"/>
                  </a:cubicBezTo>
                  <a:cubicBezTo>
                    <a:pt x="359378" y="74676"/>
                    <a:pt x="373094" y="95155"/>
                    <a:pt x="383000" y="118396"/>
                  </a:cubicBezTo>
                  <a:cubicBezTo>
                    <a:pt x="392906" y="141732"/>
                    <a:pt x="397859" y="166783"/>
                    <a:pt x="397859" y="193643"/>
                  </a:cubicBezTo>
                  <a:lnTo>
                    <a:pt x="397859" y="195072"/>
                  </a:lnTo>
                  <a:cubicBezTo>
                    <a:pt x="397859" y="221456"/>
                    <a:pt x="392811" y="246412"/>
                    <a:pt x="382619" y="270034"/>
                  </a:cubicBezTo>
                  <a:cubicBezTo>
                    <a:pt x="372523" y="293561"/>
                    <a:pt x="358616" y="314230"/>
                    <a:pt x="340900" y="331851"/>
                  </a:cubicBezTo>
                  <a:cubicBezTo>
                    <a:pt x="323183" y="349472"/>
                    <a:pt x="302133" y="363569"/>
                    <a:pt x="277654" y="373856"/>
                  </a:cubicBezTo>
                  <a:cubicBezTo>
                    <a:pt x="253175" y="384238"/>
                    <a:pt x="226504" y="389382"/>
                    <a:pt x="197834" y="389382"/>
                  </a:cubicBezTo>
                  <a:close/>
                  <a:moveTo>
                    <a:pt x="199263" y="315278"/>
                  </a:moveTo>
                  <a:cubicBezTo>
                    <a:pt x="216598" y="315278"/>
                    <a:pt x="232124" y="312039"/>
                    <a:pt x="245935" y="305753"/>
                  </a:cubicBezTo>
                  <a:cubicBezTo>
                    <a:pt x="259747" y="299371"/>
                    <a:pt x="271558" y="290798"/>
                    <a:pt x="281368" y="279940"/>
                  </a:cubicBezTo>
                  <a:cubicBezTo>
                    <a:pt x="291179" y="269081"/>
                    <a:pt x="298704" y="256508"/>
                    <a:pt x="303847" y="242125"/>
                  </a:cubicBezTo>
                  <a:cubicBezTo>
                    <a:pt x="308991" y="227743"/>
                    <a:pt x="311563" y="212598"/>
                    <a:pt x="311563" y="196501"/>
                  </a:cubicBezTo>
                  <a:lnTo>
                    <a:pt x="311563" y="195072"/>
                  </a:lnTo>
                  <a:cubicBezTo>
                    <a:pt x="311563" y="178594"/>
                    <a:pt x="308800" y="163068"/>
                    <a:pt x="303181" y="148400"/>
                  </a:cubicBezTo>
                  <a:cubicBezTo>
                    <a:pt x="297561" y="133826"/>
                    <a:pt x="289750" y="121063"/>
                    <a:pt x="279654" y="110204"/>
                  </a:cubicBezTo>
                  <a:cubicBezTo>
                    <a:pt x="269558" y="99346"/>
                    <a:pt x="257651" y="90773"/>
                    <a:pt x="243840" y="84392"/>
                  </a:cubicBezTo>
                  <a:cubicBezTo>
                    <a:pt x="230029" y="78010"/>
                    <a:pt x="214693" y="74867"/>
                    <a:pt x="197834" y="74867"/>
                  </a:cubicBezTo>
                  <a:cubicBezTo>
                    <a:pt x="180975" y="74867"/>
                    <a:pt x="165640" y="78010"/>
                    <a:pt x="151829" y="84392"/>
                  </a:cubicBezTo>
                  <a:cubicBezTo>
                    <a:pt x="138017" y="90773"/>
                    <a:pt x="126206" y="99250"/>
                    <a:pt x="116396" y="109823"/>
                  </a:cubicBezTo>
                  <a:cubicBezTo>
                    <a:pt x="106585" y="120396"/>
                    <a:pt x="99060" y="133064"/>
                    <a:pt x="93917" y="147638"/>
                  </a:cubicBezTo>
                  <a:cubicBezTo>
                    <a:pt x="88773" y="162211"/>
                    <a:pt x="86201" y="177546"/>
                    <a:pt x="86201" y="193548"/>
                  </a:cubicBezTo>
                  <a:lnTo>
                    <a:pt x="86201" y="194977"/>
                  </a:lnTo>
                  <a:cubicBezTo>
                    <a:pt x="86201" y="211455"/>
                    <a:pt x="88963" y="226886"/>
                    <a:pt x="94583" y="241268"/>
                  </a:cubicBezTo>
                  <a:cubicBezTo>
                    <a:pt x="100203" y="255651"/>
                    <a:pt x="108013" y="268319"/>
                    <a:pt x="118110" y="279463"/>
                  </a:cubicBezTo>
                  <a:cubicBezTo>
                    <a:pt x="128206" y="290513"/>
                    <a:pt x="140113" y="299275"/>
                    <a:pt x="153924" y="305562"/>
                  </a:cubicBezTo>
                  <a:cubicBezTo>
                    <a:pt x="167735" y="311944"/>
                    <a:pt x="182880"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12" name="Freeform: Shape 24">
              <a:extLst>
                <a:ext uri="{FF2B5EF4-FFF2-40B4-BE49-F238E27FC236}">
                  <a16:creationId xmlns:a16="http://schemas.microsoft.com/office/drawing/2014/main" id="{2A82B2EF-F0C0-0674-257D-02C1DB43E2A5}"/>
                </a:ext>
              </a:extLst>
            </p:cNvPr>
            <p:cNvSpPr/>
            <p:nvPr/>
          </p:nvSpPr>
          <p:spPr>
            <a:xfrm>
              <a:off x="5806925"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2 w 296894"/>
                <a:gd name="connsiteY36" fmla="*/ 224980 h 386714"/>
                <a:gd name="connsiteX37" fmla="*/ 296894 w 296894"/>
                <a:gd name="connsiteY37" fmla="*/ 267938 h 386714"/>
                <a:gd name="connsiteX38" fmla="*/ 296894 w 296894"/>
                <a:gd name="connsiteY38" fmla="*/ 269367 h 386714"/>
                <a:gd name="connsiteX39" fmla="*/ 286322 w 296894"/>
                <a:gd name="connsiteY39" fmla="*/ 320897 h 386714"/>
                <a:gd name="connsiteX40" fmla="*/ 256984 w 296894"/>
                <a:gd name="connsiteY40" fmla="*/ 357188 h 386714"/>
                <a:gd name="connsiteX41" fmla="*/ 212789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8" y="298704"/>
                    <a:pt x="100013" y="306514"/>
                  </a:cubicBezTo>
                  <a:cubicBezTo>
                    <a:pt x="120967" y="314325"/>
                    <a:pt x="141161" y="318135"/>
                    <a:pt x="160401" y="318135"/>
                  </a:cubicBezTo>
                  <a:cubicBezTo>
                    <a:pt x="179642" y="318135"/>
                    <a:pt x="192976"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2" y="241078"/>
                    <a:pt x="176498" y="237553"/>
                    <a:pt x="166402" y="234220"/>
                  </a:cubicBezTo>
                  <a:cubicBezTo>
                    <a:pt x="156305" y="230886"/>
                    <a:pt x="145733" y="227647"/>
                    <a:pt x="134969" y="224314"/>
                  </a:cubicBezTo>
                  <a:cubicBezTo>
                    <a:pt x="121253" y="220599"/>
                    <a:pt x="107537" y="216122"/>
                    <a:pt x="93631" y="210884"/>
                  </a:cubicBezTo>
                  <a:cubicBezTo>
                    <a:pt x="79724" y="205740"/>
                    <a:pt x="67246" y="198977"/>
                    <a:pt x="56197" y="190786"/>
                  </a:cubicBezTo>
                  <a:cubicBezTo>
                    <a:pt x="45149" y="182594"/>
                    <a:pt x="36100" y="172307"/>
                    <a:pt x="28956" y="160115"/>
                  </a:cubicBezTo>
                  <a:cubicBezTo>
                    <a:pt x="21908"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5"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7" y="156210"/>
                    <a:pt x="180975" y="159448"/>
                  </a:cubicBezTo>
                  <a:cubicBezTo>
                    <a:pt x="194596" y="163639"/>
                    <a:pt x="208312" y="168592"/>
                    <a:pt x="222028" y="174212"/>
                  </a:cubicBezTo>
                  <a:cubicBezTo>
                    <a:pt x="235649" y="179832"/>
                    <a:pt x="248031" y="186785"/>
                    <a:pt x="259080" y="194977"/>
                  </a:cubicBezTo>
                  <a:cubicBezTo>
                    <a:pt x="270129" y="203168"/>
                    <a:pt x="279273" y="213169"/>
                    <a:pt x="286322" y="224980"/>
                  </a:cubicBezTo>
                  <a:cubicBezTo>
                    <a:pt x="293370" y="236696"/>
                    <a:pt x="296894" y="251079"/>
                    <a:pt x="296894" y="267938"/>
                  </a:cubicBezTo>
                  <a:lnTo>
                    <a:pt x="296894" y="269367"/>
                  </a:lnTo>
                  <a:cubicBezTo>
                    <a:pt x="296894" y="289084"/>
                    <a:pt x="293370" y="306229"/>
                    <a:pt x="286322" y="320897"/>
                  </a:cubicBezTo>
                  <a:cubicBezTo>
                    <a:pt x="279273" y="335470"/>
                    <a:pt x="269462" y="347567"/>
                    <a:pt x="256984" y="357188"/>
                  </a:cubicBezTo>
                  <a:cubicBezTo>
                    <a:pt x="244507" y="366808"/>
                    <a:pt x="229743" y="374142"/>
                    <a:pt x="212789"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13" name="Freeform: Shape 25">
              <a:extLst>
                <a:ext uri="{FF2B5EF4-FFF2-40B4-BE49-F238E27FC236}">
                  <a16:creationId xmlns:a16="http://schemas.microsoft.com/office/drawing/2014/main" id="{4BF84058-A776-57F0-4F58-4E7A8A230799}"/>
                </a:ext>
              </a:extLst>
            </p:cNvPr>
            <p:cNvSpPr/>
            <p:nvPr/>
          </p:nvSpPr>
          <p:spPr>
            <a:xfrm>
              <a:off x="589573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6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160" y="318135"/>
                    <a:pt x="160401" y="318135"/>
                  </a:cubicBezTo>
                  <a:cubicBezTo>
                    <a:pt x="179641" y="318135"/>
                    <a:pt x="192976"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4"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792"/>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14" name="Freeform: Shape 26">
              <a:extLst>
                <a:ext uri="{FF2B5EF4-FFF2-40B4-BE49-F238E27FC236}">
                  <a16:creationId xmlns:a16="http://schemas.microsoft.com/office/drawing/2014/main" id="{41F73132-3F7E-962A-AC0B-F1A9CF491999}"/>
                </a:ext>
              </a:extLst>
            </p:cNvPr>
            <p:cNvSpPr/>
            <p:nvPr/>
          </p:nvSpPr>
          <p:spPr>
            <a:xfrm>
              <a:off x="5985812" y="700558"/>
              <a:ext cx="85097" cy="97141"/>
            </a:xfrm>
            <a:custGeom>
              <a:avLst/>
              <a:gdLst>
                <a:gd name="connsiteX0" fmla="*/ 253651 w 338518"/>
                <a:gd name="connsiteY0" fmla="*/ 378619 h 386429"/>
                <a:gd name="connsiteX1" fmla="*/ 253651 w 338518"/>
                <a:gd name="connsiteY1" fmla="*/ 332708 h 386429"/>
                <a:gd name="connsiteX2" fmla="*/ 204883 w 338518"/>
                <a:gd name="connsiteY2" fmla="*/ 370904 h 386429"/>
                <a:gd name="connsiteX3" fmla="*/ 132779 w 338518"/>
                <a:gd name="connsiteY3" fmla="*/ 386429 h 386429"/>
                <a:gd name="connsiteX4" fmla="*/ 81915 w 338518"/>
                <a:gd name="connsiteY4" fmla="*/ 379000 h 386429"/>
                <a:gd name="connsiteX5" fmla="*/ 39910 w 338518"/>
                <a:gd name="connsiteY5" fmla="*/ 357092 h 386429"/>
                <a:gd name="connsiteX6" fmla="*/ 10954 w 338518"/>
                <a:gd name="connsiteY6" fmla="*/ 321088 h 386429"/>
                <a:gd name="connsiteX7" fmla="*/ 0 w 338518"/>
                <a:gd name="connsiteY7" fmla="*/ 271272 h 386429"/>
                <a:gd name="connsiteX8" fmla="*/ 0 w 338518"/>
                <a:gd name="connsiteY8" fmla="*/ 269843 h 386429"/>
                <a:gd name="connsiteX9" fmla="*/ 11335 w 338518"/>
                <a:gd name="connsiteY9" fmla="*/ 215741 h 386429"/>
                <a:gd name="connsiteX10" fmla="*/ 42767 w 338518"/>
                <a:gd name="connsiteY10" fmla="*/ 177546 h 386429"/>
                <a:gd name="connsiteX11" fmla="*/ 90773 w 338518"/>
                <a:gd name="connsiteY11" fmla="*/ 154972 h 386429"/>
                <a:gd name="connsiteX12" fmla="*/ 151162 w 338518"/>
                <a:gd name="connsiteY12" fmla="*/ 147542 h 386429"/>
                <a:gd name="connsiteX13" fmla="*/ 208788 w 338518"/>
                <a:gd name="connsiteY13" fmla="*/ 151829 h 386429"/>
                <a:gd name="connsiteX14" fmla="*/ 254413 w 338518"/>
                <a:gd name="connsiteY14" fmla="*/ 163163 h 386429"/>
                <a:gd name="connsiteX15" fmla="*/ 254413 w 338518"/>
                <a:gd name="connsiteY15" fmla="*/ 156115 h 386429"/>
                <a:gd name="connsiteX16" fmla="*/ 230696 w 338518"/>
                <a:gd name="connsiteY16" fmla="*/ 96774 h 386429"/>
                <a:gd name="connsiteX17" fmla="*/ 162496 w 338518"/>
                <a:gd name="connsiteY17" fmla="*/ 76295 h 386429"/>
                <a:gd name="connsiteX18" fmla="*/ 106013 w 338518"/>
                <a:gd name="connsiteY18" fmla="*/ 82677 h 386429"/>
                <a:gd name="connsiteX19" fmla="*/ 55816 w 338518"/>
                <a:gd name="connsiteY19" fmla="*/ 99632 h 386429"/>
                <a:gd name="connsiteX20" fmla="*/ 32480 w 338518"/>
                <a:gd name="connsiteY20" fmla="*/ 31052 h 386429"/>
                <a:gd name="connsiteX21" fmla="*/ 96107 w 338518"/>
                <a:gd name="connsiteY21" fmla="*/ 8477 h 386429"/>
                <a:gd name="connsiteX22" fmla="*/ 174593 w 338518"/>
                <a:gd name="connsiteY22" fmla="*/ 0 h 386429"/>
                <a:gd name="connsiteX23" fmla="*/ 298228 w 338518"/>
                <a:gd name="connsiteY23" fmla="*/ 41338 h 386429"/>
                <a:gd name="connsiteX24" fmla="*/ 338519 w 338518"/>
                <a:gd name="connsiteY24" fmla="*/ 157544 h 386429"/>
                <a:gd name="connsiteX25" fmla="*/ 338519 w 338518"/>
                <a:gd name="connsiteY25" fmla="*/ 378714 h 386429"/>
                <a:gd name="connsiteX26" fmla="*/ 253746 w 338518"/>
                <a:gd name="connsiteY26" fmla="*/ 378714 h 386429"/>
                <a:gd name="connsiteX27" fmla="*/ 255746 w 338518"/>
                <a:gd name="connsiteY27" fmla="*/ 222409 h 386429"/>
                <a:gd name="connsiteX28" fmla="*/ 217265 w 338518"/>
                <a:gd name="connsiteY28" fmla="*/ 211836 h 386429"/>
                <a:gd name="connsiteX29" fmla="*/ 170307 w 338518"/>
                <a:gd name="connsiteY29" fmla="*/ 207550 h 386429"/>
                <a:gd name="connsiteX30" fmla="*/ 107442 w 338518"/>
                <a:gd name="connsiteY30" fmla="*/ 223075 h 386429"/>
                <a:gd name="connsiteX31" fmla="*/ 84868 w 338518"/>
                <a:gd name="connsiteY31" fmla="*/ 265462 h 386429"/>
                <a:gd name="connsiteX32" fmla="*/ 84868 w 338518"/>
                <a:gd name="connsiteY32" fmla="*/ 266891 h 386429"/>
                <a:gd name="connsiteX33" fmla="*/ 105728 w 338518"/>
                <a:gd name="connsiteY33" fmla="*/ 307848 h 386429"/>
                <a:gd name="connsiteX34" fmla="*/ 156972 w 338518"/>
                <a:gd name="connsiteY34" fmla="*/ 321945 h 386429"/>
                <a:gd name="connsiteX35" fmla="*/ 196215 w 338518"/>
                <a:gd name="connsiteY35" fmla="*/ 316325 h 386429"/>
                <a:gd name="connsiteX36" fmla="*/ 227647 w 338518"/>
                <a:gd name="connsiteY36" fmla="*/ 300419 h 386429"/>
                <a:gd name="connsiteX37" fmla="*/ 248507 w 338518"/>
                <a:gd name="connsiteY37" fmla="*/ 275654 h 386429"/>
                <a:gd name="connsiteX38" fmla="*/ 255937 w 338518"/>
                <a:gd name="connsiteY38" fmla="*/ 243459 h 386429"/>
                <a:gd name="connsiteX39" fmla="*/ 255937 w 338518"/>
                <a:gd name="connsiteY39" fmla="*/ 222218 h 3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8518" h="386429">
                  <a:moveTo>
                    <a:pt x="253651" y="378619"/>
                  </a:moveTo>
                  <a:lnTo>
                    <a:pt x="253651" y="332708"/>
                  </a:lnTo>
                  <a:cubicBezTo>
                    <a:pt x="240887" y="347758"/>
                    <a:pt x="224695" y="360521"/>
                    <a:pt x="204883" y="370904"/>
                  </a:cubicBezTo>
                  <a:cubicBezTo>
                    <a:pt x="185071" y="381286"/>
                    <a:pt x="161068" y="386429"/>
                    <a:pt x="132779" y="386429"/>
                  </a:cubicBezTo>
                  <a:cubicBezTo>
                    <a:pt x="114871" y="386429"/>
                    <a:pt x="97917" y="383953"/>
                    <a:pt x="81915" y="379000"/>
                  </a:cubicBezTo>
                  <a:cubicBezTo>
                    <a:pt x="65913" y="374047"/>
                    <a:pt x="51911" y="366713"/>
                    <a:pt x="39910" y="357092"/>
                  </a:cubicBezTo>
                  <a:cubicBezTo>
                    <a:pt x="27908" y="347472"/>
                    <a:pt x="18193" y="335471"/>
                    <a:pt x="10954" y="321088"/>
                  </a:cubicBezTo>
                  <a:cubicBezTo>
                    <a:pt x="3620" y="306705"/>
                    <a:pt x="0" y="290132"/>
                    <a:pt x="0" y="271272"/>
                  </a:cubicBezTo>
                  <a:lnTo>
                    <a:pt x="0" y="269843"/>
                  </a:lnTo>
                  <a:cubicBezTo>
                    <a:pt x="0" y="249079"/>
                    <a:pt x="3810" y="231077"/>
                    <a:pt x="11335" y="215741"/>
                  </a:cubicBezTo>
                  <a:cubicBezTo>
                    <a:pt x="18859" y="200406"/>
                    <a:pt x="29337" y="187738"/>
                    <a:pt x="42767" y="177546"/>
                  </a:cubicBezTo>
                  <a:cubicBezTo>
                    <a:pt x="56197" y="167450"/>
                    <a:pt x="72199" y="159925"/>
                    <a:pt x="90773" y="154972"/>
                  </a:cubicBezTo>
                  <a:cubicBezTo>
                    <a:pt x="109347" y="150019"/>
                    <a:pt x="129540" y="147542"/>
                    <a:pt x="151162" y="147542"/>
                  </a:cubicBezTo>
                  <a:cubicBezTo>
                    <a:pt x="172783" y="147542"/>
                    <a:pt x="192976" y="148971"/>
                    <a:pt x="208788" y="151829"/>
                  </a:cubicBezTo>
                  <a:cubicBezTo>
                    <a:pt x="224599" y="154686"/>
                    <a:pt x="239744" y="158401"/>
                    <a:pt x="254413" y="163163"/>
                  </a:cubicBezTo>
                  <a:lnTo>
                    <a:pt x="254413" y="156115"/>
                  </a:lnTo>
                  <a:cubicBezTo>
                    <a:pt x="254413" y="130207"/>
                    <a:pt x="246507" y="110395"/>
                    <a:pt x="230696" y="96774"/>
                  </a:cubicBezTo>
                  <a:cubicBezTo>
                    <a:pt x="214884" y="83153"/>
                    <a:pt x="192214" y="76295"/>
                    <a:pt x="162496" y="76295"/>
                  </a:cubicBezTo>
                  <a:cubicBezTo>
                    <a:pt x="141351" y="76295"/>
                    <a:pt x="122491" y="78391"/>
                    <a:pt x="106013" y="82677"/>
                  </a:cubicBezTo>
                  <a:cubicBezTo>
                    <a:pt x="89535" y="86963"/>
                    <a:pt x="72771" y="92583"/>
                    <a:pt x="55816" y="99632"/>
                  </a:cubicBezTo>
                  <a:lnTo>
                    <a:pt x="32480" y="31052"/>
                  </a:lnTo>
                  <a:cubicBezTo>
                    <a:pt x="53149" y="21622"/>
                    <a:pt x="74390" y="14097"/>
                    <a:pt x="96107" y="8477"/>
                  </a:cubicBezTo>
                  <a:cubicBezTo>
                    <a:pt x="117729" y="2858"/>
                    <a:pt x="143923" y="0"/>
                    <a:pt x="174593" y="0"/>
                  </a:cubicBezTo>
                  <a:cubicBezTo>
                    <a:pt x="230124" y="0"/>
                    <a:pt x="271367" y="13811"/>
                    <a:pt x="298228" y="41338"/>
                  </a:cubicBezTo>
                  <a:cubicBezTo>
                    <a:pt x="325088" y="68866"/>
                    <a:pt x="338519" y="107633"/>
                    <a:pt x="338519" y="157544"/>
                  </a:cubicBezTo>
                  <a:lnTo>
                    <a:pt x="338519" y="378714"/>
                  </a:lnTo>
                  <a:lnTo>
                    <a:pt x="253746" y="378714"/>
                  </a:lnTo>
                  <a:close/>
                  <a:moveTo>
                    <a:pt x="255746" y="222409"/>
                  </a:moveTo>
                  <a:cubicBezTo>
                    <a:pt x="244888" y="218123"/>
                    <a:pt x="232029" y="214598"/>
                    <a:pt x="217265" y="211836"/>
                  </a:cubicBezTo>
                  <a:cubicBezTo>
                    <a:pt x="202406" y="208979"/>
                    <a:pt x="186785" y="207550"/>
                    <a:pt x="170307" y="207550"/>
                  </a:cubicBezTo>
                  <a:cubicBezTo>
                    <a:pt x="143446" y="207550"/>
                    <a:pt x="122491" y="212693"/>
                    <a:pt x="107442" y="223075"/>
                  </a:cubicBezTo>
                  <a:cubicBezTo>
                    <a:pt x="92392" y="233458"/>
                    <a:pt x="84868" y="247555"/>
                    <a:pt x="84868" y="265462"/>
                  </a:cubicBezTo>
                  <a:lnTo>
                    <a:pt x="84868" y="266891"/>
                  </a:lnTo>
                  <a:cubicBezTo>
                    <a:pt x="84868" y="284798"/>
                    <a:pt x="91821" y="298418"/>
                    <a:pt x="105728" y="307848"/>
                  </a:cubicBezTo>
                  <a:cubicBezTo>
                    <a:pt x="119634" y="317278"/>
                    <a:pt x="136684" y="321945"/>
                    <a:pt x="156972" y="321945"/>
                  </a:cubicBezTo>
                  <a:cubicBezTo>
                    <a:pt x="171069" y="321945"/>
                    <a:pt x="184213" y="320040"/>
                    <a:pt x="196215" y="316325"/>
                  </a:cubicBezTo>
                  <a:cubicBezTo>
                    <a:pt x="208216" y="312515"/>
                    <a:pt x="218694" y="307277"/>
                    <a:pt x="227647" y="300419"/>
                  </a:cubicBezTo>
                  <a:cubicBezTo>
                    <a:pt x="236601" y="293561"/>
                    <a:pt x="243554" y="285369"/>
                    <a:pt x="248507" y="275654"/>
                  </a:cubicBezTo>
                  <a:cubicBezTo>
                    <a:pt x="253460" y="266033"/>
                    <a:pt x="255937" y="255270"/>
                    <a:pt x="255937" y="243459"/>
                  </a:cubicBezTo>
                  <a:lnTo>
                    <a:pt x="255937" y="222218"/>
                  </a:lnTo>
                  <a:close/>
                </a:path>
              </a:pathLst>
            </a:custGeom>
            <a:solidFill>
              <a:srgbClr val="44505E"/>
            </a:solidFill>
            <a:ln w="9525" cap="flat">
              <a:noFill/>
              <a:prstDash val="solid"/>
              <a:miter/>
            </a:ln>
          </p:spPr>
          <p:txBody>
            <a:bodyPr rtlCol="0" anchor="ctr"/>
            <a:lstStyle/>
            <a:p>
              <a:endParaRPr lang="pt-BR" noProof="0"/>
            </a:p>
          </p:txBody>
        </p:sp>
        <p:sp>
          <p:nvSpPr>
            <p:cNvPr id="15" name="Freeform: Shape 27">
              <a:extLst>
                <a:ext uri="{FF2B5EF4-FFF2-40B4-BE49-F238E27FC236}">
                  <a16:creationId xmlns:a16="http://schemas.microsoft.com/office/drawing/2014/main" id="{D92AC96C-C852-83D3-72C2-A080EB8537BA}"/>
                </a:ext>
              </a:extLst>
            </p:cNvPr>
            <p:cNvSpPr/>
            <p:nvPr/>
          </p:nvSpPr>
          <p:spPr>
            <a:xfrm>
              <a:off x="6088843" y="700318"/>
              <a:ext cx="74610" cy="97213"/>
            </a:xfrm>
            <a:custGeom>
              <a:avLst/>
              <a:gdLst>
                <a:gd name="connsiteX0" fmla="*/ 158305 w 296799"/>
                <a:gd name="connsiteY0" fmla="*/ 386715 h 386714"/>
                <a:gd name="connsiteX1" fmla="*/ 76676 w 296799"/>
                <a:gd name="connsiteY1" fmla="*/ 372427 h 386714"/>
                <a:gd name="connsiteX2" fmla="*/ 0 w 296799"/>
                <a:gd name="connsiteY2" fmla="*/ 330327 h 386714"/>
                <a:gd name="connsiteX3" fmla="*/ 38195 w 296799"/>
                <a:gd name="connsiteY3" fmla="*/ 272224 h 386714"/>
                <a:gd name="connsiteX4" fmla="*/ 100013 w 296799"/>
                <a:gd name="connsiteY4" fmla="*/ 306514 h 386714"/>
                <a:gd name="connsiteX5" fmla="*/ 160401 w 296799"/>
                <a:gd name="connsiteY5" fmla="*/ 318135 h 386714"/>
                <a:gd name="connsiteX6" fmla="*/ 203168 w 296799"/>
                <a:gd name="connsiteY6" fmla="*/ 307181 h 386714"/>
                <a:gd name="connsiteX7" fmla="*/ 218408 w 296799"/>
                <a:gd name="connsiteY7" fmla="*/ 277939 h 386714"/>
                <a:gd name="connsiteX8" fmla="*/ 218408 w 296799"/>
                <a:gd name="connsiteY8" fmla="*/ 276511 h 386714"/>
                <a:gd name="connsiteX9" fmla="*/ 211646 w 296799"/>
                <a:gd name="connsiteY9" fmla="*/ 258223 h 386714"/>
                <a:gd name="connsiteX10" fmla="*/ 193262 w 296799"/>
                <a:gd name="connsiteY10" fmla="*/ 244792 h 386714"/>
                <a:gd name="connsiteX11" fmla="*/ 166402 w 296799"/>
                <a:gd name="connsiteY11" fmla="*/ 234220 h 386714"/>
                <a:gd name="connsiteX12" fmla="*/ 134969 w 296799"/>
                <a:gd name="connsiteY12" fmla="*/ 224314 h 386714"/>
                <a:gd name="connsiteX13" fmla="*/ 93631 w 296799"/>
                <a:gd name="connsiteY13" fmla="*/ 210884 h 386714"/>
                <a:gd name="connsiteX14" fmla="*/ 56197 w 296799"/>
                <a:gd name="connsiteY14" fmla="*/ 190786 h 386714"/>
                <a:gd name="connsiteX15" fmla="*/ 28956 w 296799"/>
                <a:gd name="connsiteY15" fmla="*/ 160115 h 386714"/>
                <a:gd name="connsiteX16" fmla="*/ 18383 w 296799"/>
                <a:gd name="connsiteY16" fmla="*/ 114967 h 386714"/>
                <a:gd name="connsiteX17" fmla="*/ 18383 w 296799"/>
                <a:gd name="connsiteY17" fmla="*/ 113538 h 386714"/>
                <a:gd name="connsiteX18" fmla="*/ 28575 w 296799"/>
                <a:gd name="connsiteY18" fmla="*/ 66294 h 386714"/>
                <a:gd name="connsiteX19" fmla="*/ 56864 w 296799"/>
                <a:gd name="connsiteY19" fmla="*/ 30385 h 386714"/>
                <a:gd name="connsiteX20" fmla="*/ 99250 w 296799"/>
                <a:gd name="connsiteY20" fmla="*/ 7810 h 386714"/>
                <a:gd name="connsiteX21" fmla="*/ 151162 w 296799"/>
                <a:gd name="connsiteY21" fmla="*/ 0 h 386714"/>
                <a:gd name="connsiteX22" fmla="*/ 222504 w 296799"/>
                <a:gd name="connsiteY22" fmla="*/ 11430 h 386714"/>
                <a:gd name="connsiteX23" fmla="*/ 288227 w 296799"/>
                <a:gd name="connsiteY23" fmla="*/ 42863 h 386714"/>
                <a:gd name="connsiteX24" fmla="*/ 254317 w 296799"/>
                <a:gd name="connsiteY24" fmla="*/ 103918 h 386714"/>
                <a:gd name="connsiteX25" fmla="*/ 199930 w 296799"/>
                <a:gd name="connsiteY25" fmla="*/ 78105 h 386714"/>
                <a:gd name="connsiteX26" fmla="*/ 149066 w 296799"/>
                <a:gd name="connsiteY26" fmla="*/ 68580 h 386714"/>
                <a:gd name="connsiteX27" fmla="*/ 110585 w 296799"/>
                <a:gd name="connsiteY27" fmla="*/ 79153 h 386714"/>
                <a:gd name="connsiteX28" fmla="*/ 96774 w 296799"/>
                <a:gd name="connsiteY28" fmla="*/ 105918 h 386714"/>
                <a:gd name="connsiteX29" fmla="*/ 96774 w 296799"/>
                <a:gd name="connsiteY29" fmla="*/ 107347 h 386714"/>
                <a:gd name="connsiteX30" fmla="*/ 103822 w 296799"/>
                <a:gd name="connsiteY30" fmla="*/ 124587 h 386714"/>
                <a:gd name="connsiteX31" fmla="*/ 122587 w 296799"/>
                <a:gd name="connsiteY31" fmla="*/ 138017 h 386714"/>
                <a:gd name="connsiteX32" fmla="*/ 149447 w 296799"/>
                <a:gd name="connsiteY32" fmla="*/ 149257 h 386714"/>
                <a:gd name="connsiteX33" fmla="*/ 180880 w 296799"/>
                <a:gd name="connsiteY33" fmla="*/ 159448 h 386714"/>
                <a:gd name="connsiteX34" fmla="*/ 221837 w 296799"/>
                <a:gd name="connsiteY34" fmla="*/ 174212 h 386714"/>
                <a:gd name="connsiteX35" fmla="*/ 258985 w 296799"/>
                <a:gd name="connsiteY35" fmla="*/ 194977 h 386714"/>
                <a:gd name="connsiteX36" fmla="*/ 286226 w 296799"/>
                <a:gd name="connsiteY36" fmla="*/ 224980 h 386714"/>
                <a:gd name="connsiteX37" fmla="*/ 296799 w 296799"/>
                <a:gd name="connsiteY37" fmla="*/ 267938 h 386714"/>
                <a:gd name="connsiteX38" fmla="*/ 296799 w 296799"/>
                <a:gd name="connsiteY38" fmla="*/ 269367 h 386714"/>
                <a:gd name="connsiteX39" fmla="*/ 286226 w 296799"/>
                <a:gd name="connsiteY39" fmla="*/ 320897 h 386714"/>
                <a:gd name="connsiteX40" fmla="*/ 256889 w 296799"/>
                <a:gd name="connsiteY40" fmla="*/ 357188 h 386714"/>
                <a:gd name="connsiteX41" fmla="*/ 212693 w 296799"/>
                <a:gd name="connsiteY41" fmla="*/ 379095 h 386714"/>
                <a:gd name="connsiteX42" fmla="*/ 158305 w 296799"/>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799"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065" y="318135"/>
                    <a:pt x="160401" y="318135"/>
                  </a:cubicBezTo>
                  <a:cubicBezTo>
                    <a:pt x="179737" y="318135"/>
                    <a:pt x="193072"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828" y="227647"/>
                    <a:pt x="134969" y="224314"/>
                  </a:cubicBezTo>
                  <a:cubicBezTo>
                    <a:pt x="121348" y="220599"/>
                    <a:pt x="107537" y="216122"/>
                    <a:pt x="93631" y="210884"/>
                  </a:cubicBezTo>
                  <a:cubicBezTo>
                    <a:pt x="79724" y="205740"/>
                    <a:pt x="67246" y="198977"/>
                    <a:pt x="56197" y="190786"/>
                  </a:cubicBezTo>
                  <a:cubicBezTo>
                    <a:pt x="45148" y="182594"/>
                    <a:pt x="36004"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874" y="0"/>
                    <a:pt x="151162" y="0"/>
                  </a:cubicBezTo>
                  <a:cubicBezTo>
                    <a:pt x="174688" y="0"/>
                    <a:pt x="198501" y="3810"/>
                    <a:pt x="222504" y="11430"/>
                  </a:cubicBezTo>
                  <a:cubicBezTo>
                    <a:pt x="246507" y="19050"/>
                    <a:pt x="268414" y="29527"/>
                    <a:pt x="288227" y="42863"/>
                  </a:cubicBezTo>
                  <a:lnTo>
                    <a:pt x="254317"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774" y="95155"/>
                    <a:pt x="96774" y="105918"/>
                  </a:cubicBezTo>
                  <a:lnTo>
                    <a:pt x="96774" y="107347"/>
                  </a:lnTo>
                  <a:cubicBezTo>
                    <a:pt x="96774" y="113919"/>
                    <a:pt x="99155" y="119634"/>
                    <a:pt x="103822" y="124587"/>
                  </a:cubicBezTo>
                  <a:cubicBezTo>
                    <a:pt x="108490" y="129540"/>
                    <a:pt x="114776" y="134017"/>
                    <a:pt x="122587" y="138017"/>
                  </a:cubicBezTo>
                  <a:cubicBezTo>
                    <a:pt x="130397" y="142018"/>
                    <a:pt x="139351" y="145732"/>
                    <a:pt x="149447" y="149257"/>
                  </a:cubicBezTo>
                  <a:cubicBezTo>
                    <a:pt x="159544" y="152781"/>
                    <a:pt x="170021" y="156210"/>
                    <a:pt x="180880" y="159448"/>
                  </a:cubicBezTo>
                  <a:cubicBezTo>
                    <a:pt x="194500" y="163639"/>
                    <a:pt x="208216" y="168592"/>
                    <a:pt x="221837" y="174212"/>
                  </a:cubicBezTo>
                  <a:cubicBezTo>
                    <a:pt x="235458" y="179832"/>
                    <a:pt x="247840" y="186785"/>
                    <a:pt x="258985" y="194977"/>
                  </a:cubicBezTo>
                  <a:cubicBezTo>
                    <a:pt x="270034" y="203168"/>
                    <a:pt x="279178" y="213169"/>
                    <a:pt x="286226" y="224980"/>
                  </a:cubicBezTo>
                  <a:cubicBezTo>
                    <a:pt x="293275" y="236696"/>
                    <a:pt x="296799" y="251079"/>
                    <a:pt x="296799" y="267938"/>
                  </a:cubicBezTo>
                  <a:lnTo>
                    <a:pt x="296799" y="269367"/>
                  </a:lnTo>
                  <a:cubicBezTo>
                    <a:pt x="296799" y="289084"/>
                    <a:pt x="293275" y="306229"/>
                    <a:pt x="286226" y="320897"/>
                  </a:cubicBezTo>
                  <a:cubicBezTo>
                    <a:pt x="279178" y="335470"/>
                    <a:pt x="269367" y="347567"/>
                    <a:pt x="256889" y="357188"/>
                  </a:cubicBezTo>
                  <a:cubicBezTo>
                    <a:pt x="244412" y="366808"/>
                    <a:pt x="229648" y="374142"/>
                    <a:pt x="212693" y="379095"/>
                  </a:cubicBezTo>
                  <a:cubicBezTo>
                    <a:pt x="195739" y="384048"/>
                    <a:pt x="177641" y="386524"/>
                    <a:pt x="158305" y="386524"/>
                  </a:cubicBezTo>
                  <a:close/>
                </a:path>
              </a:pathLst>
            </a:custGeom>
            <a:solidFill>
              <a:srgbClr val="44505E"/>
            </a:solidFill>
            <a:ln w="9525" cap="flat">
              <a:noFill/>
              <a:prstDash val="solid"/>
              <a:miter/>
            </a:ln>
          </p:spPr>
          <p:txBody>
            <a:bodyPr rtlCol="0" anchor="ctr"/>
            <a:lstStyle/>
            <a:p>
              <a:endParaRPr lang="pt-BR" noProof="0"/>
            </a:p>
          </p:txBody>
        </p:sp>
        <p:sp>
          <p:nvSpPr>
            <p:cNvPr id="16" name="Freeform: Shape 28">
              <a:extLst>
                <a:ext uri="{FF2B5EF4-FFF2-40B4-BE49-F238E27FC236}">
                  <a16:creationId xmlns:a16="http://schemas.microsoft.com/office/drawing/2014/main" id="{C0948B74-39CB-CBC1-E916-84D7D51FAAEE}"/>
                </a:ext>
              </a:extLst>
            </p:cNvPr>
            <p:cNvSpPr/>
            <p:nvPr/>
          </p:nvSpPr>
          <p:spPr>
            <a:xfrm>
              <a:off x="6238590"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4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7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2 w 568166"/>
                <a:gd name="connsiteY21" fmla="*/ 381000 h 381000"/>
                <a:gd name="connsiteX22" fmla="*/ 240982 w 568166"/>
                <a:gd name="connsiteY22" fmla="*/ 168783 h 381000"/>
                <a:gd name="connsiteX23" fmla="*/ 221266 w 568166"/>
                <a:gd name="connsiteY23" fmla="*/ 101822 h 381000"/>
                <a:gd name="connsiteX24" fmla="*/ 165640 w 568166"/>
                <a:gd name="connsiteY24" fmla="*/ 78581 h 381000"/>
                <a:gd name="connsiteX25" fmla="*/ 108013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69" y="48196"/>
                    <a:pt x="105918" y="40576"/>
                  </a:cubicBezTo>
                  <a:cubicBezTo>
                    <a:pt x="112966" y="32956"/>
                    <a:pt x="121063" y="26099"/>
                    <a:pt x="130207" y="19907"/>
                  </a:cubicBezTo>
                  <a:cubicBezTo>
                    <a:pt x="139351" y="13716"/>
                    <a:pt x="149638" y="8858"/>
                    <a:pt x="161163" y="5334"/>
                  </a:cubicBezTo>
                  <a:cubicBezTo>
                    <a:pt x="172688" y="1714"/>
                    <a:pt x="185452" y="0"/>
                    <a:pt x="199549" y="0"/>
                  </a:cubicBezTo>
                  <a:cubicBezTo>
                    <a:pt x="226314" y="0"/>
                    <a:pt x="248983" y="6096"/>
                    <a:pt x="267557" y="18193"/>
                  </a:cubicBezTo>
                  <a:cubicBezTo>
                    <a:pt x="286131" y="30289"/>
                    <a:pt x="300323" y="46387"/>
                    <a:pt x="310134" y="66294"/>
                  </a:cubicBezTo>
                  <a:cubicBezTo>
                    <a:pt x="325279" y="46387"/>
                    <a:pt x="343090" y="30289"/>
                    <a:pt x="363664" y="18193"/>
                  </a:cubicBezTo>
                  <a:cubicBezTo>
                    <a:pt x="384238" y="6096"/>
                    <a:pt x="408718" y="0"/>
                    <a:pt x="437007" y="0"/>
                  </a:cubicBezTo>
                  <a:cubicBezTo>
                    <a:pt x="478155"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7" y="78486"/>
                  </a:cubicBezTo>
                  <a:cubicBezTo>
                    <a:pt x="382809" y="78486"/>
                    <a:pt x="364141" y="86392"/>
                    <a:pt x="349377" y="102108"/>
                  </a:cubicBezTo>
                  <a:cubicBezTo>
                    <a:pt x="334613" y="117824"/>
                    <a:pt x="327184" y="140779"/>
                    <a:pt x="327184" y="170879"/>
                  </a:cubicBezTo>
                  <a:lnTo>
                    <a:pt x="327184" y="381000"/>
                  </a:lnTo>
                  <a:lnTo>
                    <a:pt x="240982" y="381000"/>
                  </a:lnTo>
                  <a:lnTo>
                    <a:pt x="240982" y="168783"/>
                  </a:lnTo>
                  <a:cubicBezTo>
                    <a:pt x="240982" y="139637"/>
                    <a:pt x="234410" y="117348"/>
                    <a:pt x="221266" y="101822"/>
                  </a:cubicBezTo>
                  <a:cubicBezTo>
                    <a:pt x="208121" y="86296"/>
                    <a:pt x="189547" y="78581"/>
                    <a:pt x="165640" y="78581"/>
                  </a:cubicBezTo>
                  <a:cubicBezTo>
                    <a:pt x="141732" y="78581"/>
                    <a:pt x="122491" y="86773"/>
                    <a:pt x="108013"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17" name="Freeform: Shape 29">
              <a:extLst>
                <a:ext uri="{FF2B5EF4-FFF2-40B4-BE49-F238E27FC236}">
                  <a16:creationId xmlns:a16="http://schemas.microsoft.com/office/drawing/2014/main" id="{6D7C0FA9-B967-51C9-F51F-FE81D1929B76}"/>
                </a:ext>
              </a:extLst>
            </p:cNvPr>
            <p:cNvSpPr/>
            <p:nvPr/>
          </p:nvSpPr>
          <p:spPr>
            <a:xfrm>
              <a:off x="6400979" y="664258"/>
              <a:ext cx="85097" cy="133441"/>
            </a:xfrm>
            <a:custGeom>
              <a:avLst/>
              <a:gdLst>
                <a:gd name="connsiteX0" fmla="*/ 253651 w 338518"/>
                <a:gd name="connsiteY0" fmla="*/ 523018 h 530828"/>
                <a:gd name="connsiteX1" fmla="*/ 253651 w 338518"/>
                <a:gd name="connsiteY1" fmla="*/ 477107 h 530828"/>
                <a:gd name="connsiteX2" fmla="*/ 204883 w 338518"/>
                <a:gd name="connsiteY2" fmla="*/ 515303 h 530828"/>
                <a:gd name="connsiteX3" fmla="*/ 132779 w 338518"/>
                <a:gd name="connsiteY3" fmla="*/ 530828 h 530828"/>
                <a:gd name="connsiteX4" fmla="*/ 81915 w 338518"/>
                <a:gd name="connsiteY4" fmla="*/ 523399 h 530828"/>
                <a:gd name="connsiteX5" fmla="*/ 39910 w 338518"/>
                <a:gd name="connsiteY5" fmla="*/ 501491 h 530828"/>
                <a:gd name="connsiteX6" fmla="*/ 10954 w 338518"/>
                <a:gd name="connsiteY6" fmla="*/ 465487 h 530828"/>
                <a:gd name="connsiteX7" fmla="*/ 0 w 338518"/>
                <a:gd name="connsiteY7" fmla="*/ 415671 h 530828"/>
                <a:gd name="connsiteX8" fmla="*/ 0 w 338518"/>
                <a:gd name="connsiteY8" fmla="*/ 414242 h 530828"/>
                <a:gd name="connsiteX9" fmla="*/ 11335 w 338518"/>
                <a:gd name="connsiteY9" fmla="*/ 360140 h 530828"/>
                <a:gd name="connsiteX10" fmla="*/ 42767 w 338518"/>
                <a:gd name="connsiteY10" fmla="*/ 321945 h 530828"/>
                <a:gd name="connsiteX11" fmla="*/ 90773 w 338518"/>
                <a:gd name="connsiteY11" fmla="*/ 299371 h 530828"/>
                <a:gd name="connsiteX12" fmla="*/ 151162 w 338518"/>
                <a:gd name="connsiteY12" fmla="*/ 291941 h 530828"/>
                <a:gd name="connsiteX13" fmla="*/ 208788 w 338518"/>
                <a:gd name="connsiteY13" fmla="*/ 296228 h 530828"/>
                <a:gd name="connsiteX14" fmla="*/ 254413 w 338518"/>
                <a:gd name="connsiteY14" fmla="*/ 307562 h 530828"/>
                <a:gd name="connsiteX15" fmla="*/ 254413 w 338518"/>
                <a:gd name="connsiteY15" fmla="*/ 300514 h 530828"/>
                <a:gd name="connsiteX16" fmla="*/ 230696 w 338518"/>
                <a:gd name="connsiteY16" fmla="*/ 241173 h 530828"/>
                <a:gd name="connsiteX17" fmla="*/ 162496 w 338518"/>
                <a:gd name="connsiteY17" fmla="*/ 220694 h 530828"/>
                <a:gd name="connsiteX18" fmla="*/ 106013 w 338518"/>
                <a:gd name="connsiteY18" fmla="*/ 227076 h 530828"/>
                <a:gd name="connsiteX19" fmla="*/ 55817 w 338518"/>
                <a:gd name="connsiteY19" fmla="*/ 244031 h 530828"/>
                <a:gd name="connsiteX20" fmla="*/ 32480 w 338518"/>
                <a:gd name="connsiteY20" fmla="*/ 175451 h 530828"/>
                <a:gd name="connsiteX21" fmla="*/ 96107 w 338518"/>
                <a:gd name="connsiteY21" fmla="*/ 152876 h 530828"/>
                <a:gd name="connsiteX22" fmla="*/ 174593 w 338518"/>
                <a:gd name="connsiteY22" fmla="*/ 144399 h 530828"/>
                <a:gd name="connsiteX23" fmla="*/ 298228 w 338518"/>
                <a:gd name="connsiteY23" fmla="*/ 185738 h 530828"/>
                <a:gd name="connsiteX24" fmla="*/ 338519 w 338518"/>
                <a:gd name="connsiteY24" fmla="*/ 301943 h 530828"/>
                <a:gd name="connsiteX25" fmla="*/ 338519 w 338518"/>
                <a:gd name="connsiteY25" fmla="*/ 523113 h 530828"/>
                <a:gd name="connsiteX26" fmla="*/ 253746 w 338518"/>
                <a:gd name="connsiteY26" fmla="*/ 523113 h 530828"/>
                <a:gd name="connsiteX27" fmla="*/ 45911 w 338518"/>
                <a:gd name="connsiteY27" fmla="*/ 95441 h 530828"/>
                <a:gd name="connsiteX28" fmla="*/ 75248 w 338518"/>
                <a:gd name="connsiteY28" fmla="*/ 29718 h 530828"/>
                <a:gd name="connsiteX29" fmla="*/ 125063 w 338518"/>
                <a:gd name="connsiteY29" fmla="*/ 7144 h 530828"/>
                <a:gd name="connsiteX30" fmla="*/ 154019 w 338518"/>
                <a:gd name="connsiteY30" fmla="*/ 11716 h 530828"/>
                <a:gd name="connsiteX31" fmla="*/ 181261 w 338518"/>
                <a:gd name="connsiteY31" fmla="*/ 21622 h 530828"/>
                <a:gd name="connsiteX32" fmla="*/ 205645 w 338518"/>
                <a:gd name="connsiteY32" fmla="*/ 31147 h 530828"/>
                <a:gd name="connsiteX33" fmla="*/ 226790 w 338518"/>
                <a:gd name="connsiteY33" fmla="*/ 35338 h 530828"/>
                <a:gd name="connsiteX34" fmla="*/ 250127 w 338518"/>
                <a:gd name="connsiteY34" fmla="*/ 26861 h 530828"/>
                <a:gd name="connsiteX35" fmla="*/ 265652 w 338518"/>
                <a:gd name="connsiteY35" fmla="*/ 0 h 530828"/>
                <a:gd name="connsiteX36" fmla="*/ 312991 w 338518"/>
                <a:gd name="connsiteY36" fmla="*/ 14859 h 530828"/>
                <a:gd name="connsiteX37" fmla="*/ 283655 w 338518"/>
                <a:gd name="connsiteY37" fmla="*/ 79820 h 530828"/>
                <a:gd name="connsiteX38" fmla="*/ 233839 w 338518"/>
                <a:gd name="connsiteY38" fmla="*/ 102394 h 530828"/>
                <a:gd name="connsiteX39" fmla="*/ 204883 w 338518"/>
                <a:gd name="connsiteY39" fmla="*/ 98203 h 530828"/>
                <a:gd name="connsiteX40" fmla="*/ 177641 w 338518"/>
                <a:gd name="connsiteY40" fmla="*/ 88678 h 530828"/>
                <a:gd name="connsiteX41" fmla="*/ 152876 w 338518"/>
                <a:gd name="connsiteY41" fmla="*/ 78772 h 530828"/>
                <a:gd name="connsiteX42" fmla="*/ 132017 w 338518"/>
                <a:gd name="connsiteY42" fmla="*/ 74200 h 530828"/>
                <a:gd name="connsiteX43" fmla="*/ 108680 w 338518"/>
                <a:gd name="connsiteY43" fmla="*/ 82677 h 530828"/>
                <a:gd name="connsiteX44" fmla="*/ 93154 w 338518"/>
                <a:gd name="connsiteY44" fmla="*/ 109538 h 530828"/>
                <a:gd name="connsiteX45" fmla="*/ 45815 w 338518"/>
                <a:gd name="connsiteY45" fmla="*/ 95441 h 530828"/>
                <a:gd name="connsiteX46" fmla="*/ 255842 w 338518"/>
                <a:gd name="connsiteY46" fmla="*/ 366808 h 530828"/>
                <a:gd name="connsiteX47" fmla="*/ 217361 w 338518"/>
                <a:gd name="connsiteY47" fmla="*/ 356235 h 530828"/>
                <a:gd name="connsiteX48" fmla="*/ 170402 w 338518"/>
                <a:gd name="connsiteY48" fmla="*/ 351949 h 530828"/>
                <a:gd name="connsiteX49" fmla="*/ 107537 w 338518"/>
                <a:gd name="connsiteY49" fmla="*/ 367475 h 530828"/>
                <a:gd name="connsiteX50" fmla="*/ 84963 w 338518"/>
                <a:gd name="connsiteY50" fmla="*/ 409861 h 530828"/>
                <a:gd name="connsiteX51" fmla="*/ 84963 w 338518"/>
                <a:gd name="connsiteY51" fmla="*/ 411290 h 530828"/>
                <a:gd name="connsiteX52" fmla="*/ 105823 w 338518"/>
                <a:gd name="connsiteY52" fmla="*/ 452247 h 530828"/>
                <a:gd name="connsiteX53" fmla="*/ 157067 w 338518"/>
                <a:gd name="connsiteY53" fmla="*/ 466344 h 530828"/>
                <a:gd name="connsiteX54" fmla="*/ 196310 w 338518"/>
                <a:gd name="connsiteY54" fmla="*/ 460724 h 530828"/>
                <a:gd name="connsiteX55" fmla="*/ 227743 w 338518"/>
                <a:gd name="connsiteY55" fmla="*/ 444818 h 530828"/>
                <a:gd name="connsiteX56" fmla="*/ 248603 w 338518"/>
                <a:gd name="connsiteY56" fmla="*/ 420053 h 530828"/>
                <a:gd name="connsiteX57" fmla="*/ 256032 w 338518"/>
                <a:gd name="connsiteY57" fmla="*/ 387858 h 530828"/>
                <a:gd name="connsiteX58" fmla="*/ 256032 w 338518"/>
                <a:gd name="connsiteY58" fmla="*/ 366617 h 5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8518" h="530828">
                  <a:moveTo>
                    <a:pt x="253651" y="523018"/>
                  </a:moveTo>
                  <a:lnTo>
                    <a:pt x="253651" y="477107"/>
                  </a:lnTo>
                  <a:cubicBezTo>
                    <a:pt x="240887" y="492157"/>
                    <a:pt x="224695" y="504920"/>
                    <a:pt x="204883" y="515303"/>
                  </a:cubicBezTo>
                  <a:cubicBezTo>
                    <a:pt x="185071" y="525685"/>
                    <a:pt x="161068" y="530828"/>
                    <a:pt x="132779" y="530828"/>
                  </a:cubicBezTo>
                  <a:cubicBezTo>
                    <a:pt x="114871" y="530828"/>
                    <a:pt x="97917" y="528352"/>
                    <a:pt x="81915" y="523399"/>
                  </a:cubicBezTo>
                  <a:cubicBezTo>
                    <a:pt x="65913" y="518446"/>
                    <a:pt x="51911" y="511112"/>
                    <a:pt x="39910" y="501491"/>
                  </a:cubicBezTo>
                  <a:cubicBezTo>
                    <a:pt x="27908" y="491871"/>
                    <a:pt x="18193" y="479870"/>
                    <a:pt x="10954" y="465487"/>
                  </a:cubicBezTo>
                  <a:cubicBezTo>
                    <a:pt x="3620" y="451104"/>
                    <a:pt x="0" y="434531"/>
                    <a:pt x="0" y="415671"/>
                  </a:cubicBezTo>
                  <a:lnTo>
                    <a:pt x="0" y="414242"/>
                  </a:lnTo>
                  <a:cubicBezTo>
                    <a:pt x="0" y="393478"/>
                    <a:pt x="3810" y="375476"/>
                    <a:pt x="11335" y="360140"/>
                  </a:cubicBezTo>
                  <a:cubicBezTo>
                    <a:pt x="18860" y="344805"/>
                    <a:pt x="29337" y="332137"/>
                    <a:pt x="42767" y="321945"/>
                  </a:cubicBezTo>
                  <a:cubicBezTo>
                    <a:pt x="56198" y="311849"/>
                    <a:pt x="72200" y="304324"/>
                    <a:pt x="90773" y="299371"/>
                  </a:cubicBezTo>
                  <a:cubicBezTo>
                    <a:pt x="109347" y="294418"/>
                    <a:pt x="129540" y="291941"/>
                    <a:pt x="151162" y="291941"/>
                  </a:cubicBezTo>
                  <a:cubicBezTo>
                    <a:pt x="172784" y="291941"/>
                    <a:pt x="192977" y="293370"/>
                    <a:pt x="208788" y="296228"/>
                  </a:cubicBezTo>
                  <a:cubicBezTo>
                    <a:pt x="224600" y="299085"/>
                    <a:pt x="239744" y="302800"/>
                    <a:pt x="254413" y="307562"/>
                  </a:cubicBezTo>
                  <a:lnTo>
                    <a:pt x="254413" y="300514"/>
                  </a:lnTo>
                  <a:cubicBezTo>
                    <a:pt x="254413" y="274606"/>
                    <a:pt x="246507" y="254794"/>
                    <a:pt x="230696" y="241173"/>
                  </a:cubicBezTo>
                  <a:cubicBezTo>
                    <a:pt x="214884" y="227552"/>
                    <a:pt x="192215" y="220694"/>
                    <a:pt x="162496" y="220694"/>
                  </a:cubicBezTo>
                  <a:cubicBezTo>
                    <a:pt x="141351" y="220694"/>
                    <a:pt x="122492" y="222790"/>
                    <a:pt x="106013" y="227076"/>
                  </a:cubicBezTo>
                  <a:cubicBezTo>
                    <a:pt x="89535" y="231362"/>
                    <a:pt x="72771" y="236982"/>
                    <a:pt x="55817" y="244031"/>
                  </a:cubicBezTo>
                  <a:lnTo>
                    <a:pt x="32480" y="175451"/>
                  </a:lnTo>
                  <a:cubicBezTo>
                    <a:pt x="53150" y="166021"/>
                    <a:pt x="74390" y="158496"/>
                    <a:pt x="96107" y="152876"/>
                  </a:cubicBezTo>
                  <a:cubicBezTo>
                    <a:pt x="117729" y="147257"/>
                    <a:pt x="143923" y="144399"/>
                    <a:pt x="174593" y="144399"/>
                  </a:cubicBezTo>
                  <a:cubicBezTo>
                    <a:pt x="230124" y="144399"/>
                    <a:pt x="271367" y="158210"/>
                    <a:pt x="298228" y="185738"/>
                  </a:cubicBezTo>
                  <a:cubicBezTo>
                    <a:pt x="325088" y="213265"/>
                    <a:pt x="338519" y="252032"/>
                    <a:pt x="338519" y="301943"/>
                  </a:cubicBezTo>
                  <a:lnTo>
                    <a:pt x="338519" y="523113"/>
                  </a:lnTo>
                  <a:lnTo>
                    <a:pt x="253746" y="523113"/>
                  </a:lnTo>
                  <a:close/>
                  <a:moveTo>
                    <a:pt x="45911" y="95441"/>
                  </a:moveTo>
                  <a:cubicBezTo>
                    <a:pt x="53912" y="66675"/>
                    <a:pt x="63722" y="44768"/>
                    <a:pt x="75248" y="29718"/>
                  </a:cubicBezTo>
                  <a:cubicBezTo>
                    <a:pt x="86773" y="14669"/>
                    <a:pt x="103442" y="7144"/>
                    <a:pt x="125063" y="7144"/>
                  </a:cubicBezTo>
                  <a:cubicBezTo>
                    <a:pt x="134969" y="7144"/>
                    <a:pt x="144590" y="8668"/>
                    <a:pt x="154019" y="11716"/>
                  </a:cubicBezTo>
                  <a:cubicBezTo>
                    <a:pt x="163449" y="14764"/>
                    <a:pt x="172498" y="18098"/>
                    <a:pt x="181261" y="21622"/>
                  </a:cubicBezTo>
                  <a:cubicBezTo>
                    <a:pt x="189929" y="25146"/>
                    <a:pt x="198120" y="28385"/>
                    <a:pt x="205645" y="31147"/>
                  </a:cubicBezTo>
                  <a:cubicBezTo>
                    <a:pt x="213170" y="34004"/>
                    <a:pt x="220218" y="35338"/>
                    <a:pt x="226790" y="35338"/>
                  </a:cubicBezTo>
                  <a:cubicBezTo>
                    <a:pt x="237173" y="35338"/>
                    <a:pt x="244888" y="32480"/>
                    <a:pt x="250127" y="26861"/>
                  </a:cubicBezTo>
                  <a:cubicBezTo>
                    <a:pt x="255270" y="21241"/>
                    <a:pt x="260509" y="12287"/>
                    <a:pt x="265652" y="0"/>
                  </a:cubicBezTo>
                  <a:lnTo>
                    <a:pt x="312991" y="14859"/>
                  </a:lnTo>
                  <a:cubicBezTo>
                    <a:pt x="304991" y="43148"/>
                    <a:pt x="295180" y="64770"/>
                    <a:pt x="283655" y="79820"/>
                  </a:cubicBezTo>
                  <a:cubicBezTo>
                    <a:pt x="272129" y="94869"/>
                    <a:pt x="255461" y="102394"/>
                    <a:pt x="233839" y="102394"/>
                  </a:cubicBezTo>
                  <a:cubicBezTo>
                    <a:pt x="223933" y="102394"/>
                    <a:pt x="214313" y="100965"/>
                    <a:pt x="204883" y="98203"/>
                  </a:cubicBezTo>
                  <a:cubicBezTo>
                    <a:pt x="195453" y="95345"/>
                    <a:pt x="186404" y="92202"/>
                    <a:pt x="177641" y="88678"/>
                  </a:cubicBezTo>
                  <a:cubicBezTo>
                    <a:pt x="168878" y="85154"/>
                    <a:pt x="160687" y="81820"/>
                    <a:pt x="152876" y="78772"/>
                  </a:cubicBezTo>
                  <a:cubicBezTo>
                    <a:pt x="145066" y="75724"/>
                    <a:pt x="138113" y="74200"/>
                    <a:pt x="132017" y="74200"/>
                  </a:cubicBezTo>
                  <a:cubicBezTo>
                    <a:pt x="121634" y="74200"/>
                    <a:pt x="113919" y="77057"/>
                    <a:pt x="108680" y="82677"/>
                  </a:cubicBezTo>
                  <a:cubicBezTo>
                    <a:pt x="103537" y="88297"/>
                    <a:pt x="98298" y="97250"/>
                    <a:pt x="93154" y="109538"/>
                  </a:cubicBezTo>
                  <a:lnTo>
                    <a:pt x="45815" y="95441"/>
                  </a:lnTo>
                  <a:close/>
                  <a:moveTo>
                    <a:pt x="255842" y="366808"/>
                  </a:moveTo>
                  <a:cubicBezTo>
                    <a:pt x="244983" y="362522"/>
                    <a:pt x="232124" y="358997"/>
                    <a:pt x="217361" y="356235"/>
                  </a:cubicBezTo>
                  <a:cubicBezTo>
                    <a:pt x="202502" y="353378"/>
                    <a:pt x="186880" y="351949"/>
                    <a:pt x="170402" y="351949"/>
                  </a:cubicBezTo>
                  <a:cubicBezTo>
                    <a:pt x="143542" y="351949"/>
                    <a:pt x="122587" y="357092"/>
                    <a:pt x="107537" y="367475"/>
                  </a:cubicBezTo>
                  <a:cubicBezTo>
                    <a:pt x="92488" y="377857"/>
                    <a:pt x="84963" y="391954"/>
                    <a:pt x="84963" y="409861"/>
                  </a:cubicBezTo>
                  <a:lnTo>
                    <a:pt x="84963" y="411290"/>
                  </a:lnTo>
                  <a:cubicBezTo>
                    <a:pt x="84963" y="429197"/>
                    <a:pt x="91916" y="442817"/>
                    <a:pt x="105823" y="452247"/>
                  </a:cubicBezTo>
                  <a:cubicBezTo>
                    <a:pt x="119729" y="461677"/>
                    <a:pt x="136779" y="466344"/>
                    <a:pt x="157067" y="466344"/>
                  </a:cubicBezTo>
                  <a:cubicBezTo>
                    <a:pt x="171164" y="466344"/>
                    <a:pt x="184309" y="464439"/>
                    <a:pt x="196310" y="460724"/>
                  </a:cubicBezTo>
                  <a:cubicBezTo>
                    <a:pt x="208312" y="456914"/>
                    <a:pt x="218789" y="451676"/>
                    <a:pt x="227743" y="444818"/>
                  </a:cubicBezTo>
                  <a:cubicBezTo>
                    <a:pt x="236696" y="437960"/>
                    <a:pt x="243650" y="429768"/>
                    <a:pt x="248603" y="420053"/>
                  </a:cubicBezTo>
                  <a:cubicBezTo>
                    <a:pt x="253555" y="410432"/>
                    <a:pt x="256032" y="399669"/>
                    <a:pt x="256032" y="387858"/>
                  </a:cubicBezTo>
                  <a:lnTo>
                    <a:pt x="256032" y="366617"/>
                  </a:lnTo>
                  <a:close/>
                </a:path>
              </a:pathLst>
            </a:custGeom>
            <a:solidFill>
              <a:srgbClr val="44505E"/>
            </a:solidFill>
            <a:ln w="9525" cap="flat">
              <a:noFill/>
              <a:prstDash val="solid"/>
              <a:miter/>
            </a:ln>
          </p:spPr>
          <p:txBody>
            <a:bodyPr rtlCol="0" anchor="ctr"/>
            <a:lstStyle/>
            <a:p>
              <a:endParaRPr lang="pt-BR" noProof="0"/>
            </a:p>
          </p:txBody>
        </p:sp>
        <p:sp>
          <p:nvSpPr>
            <p:cNvPr id="18" name="Freeform: Shape 30">
              <a:extLst>
                <a:ext uri="{FF2B5EF4-FFF2-40B4-BE49-F238E27FC236}">
                  <a16:creationId xmlns:a16="http://schemas.microsoft.com/office/drawing/2014/main" id="{5EFFD557-AED3-A78F-908E-97C22E982B8C}"/>
                </a:ext>
              </a:extLst>
            </p:cNvPr>
            <p:cNvSpPr/>
            <p:nvPr/>
          </p:nvSpPr>
          <p:spPr>
            <a:xfrm>
              <a:off x="6506477" y="699959"/>
              <a:ext cx="100038" cy="97908"/>
            </a:xfrm>
            <a:custGeom>
              <a:avLst/>
              <a:gdLst>
                <a:gd name="connsiteX0" fmla="*/ 197834 w 397954"/>
                <a:gd name="connsiteY0" fmla="*/ 389477 h 389477"/>
                <a:gd name="connsiteX1" fmla="*/ 119063 w 397954"/>
                <a:gd name="connsiteY1" fmla="*/ 374237 h 389477"/>
                <a:gd name="connsiteX2" fmla="*/ 56198 w 397954"/>
                <a:gd name="connsiteY2" fmla="*/ 332899 h 389477"/>
                <a:gd name="connsiteX3" fmla="*/ 14859 w 397954"/>
                <a:gd name="connsiteY3" fmla="*/ 271463 h 389477"/>
                <a:gd name="connsiteX4" fmla="*/ 0 w 397954"/>
                <a:gd name="connsiteY4" fmla="*/ 196501 h 389477"/>
                <a:gd name="connsiteX5" fmla="*/ 0 w 397954"/>
                <a:gd name="connsiteY5" fmla="*/ 195072 h 389477"/>
                <a:gd name="connsiteX6" fmla="*/ 15240 w 397954"/>
                <a:gd name="connsiteY6" fmla="*/ 119444 h 389477"/>
                <a:gd name="connsiteX7" fmla="*/ 56960 w 397954"/>
                <a:gd name="connsiteY7" fmla="*/ 57626 h 389477"/>
                <a:gd name="connsiteX8" fmla="*/ 119825 w 397954"/>
                <a:gd name="connsiteY8" fmla="*/ 15526 h 389477"/>
                <a:gd name="connsiteX9" fmla="*/ 199358 w 397954"/>
                <a:gd name="connsiteY9" fmla="*/ 0 h 389477"/>
                <a:gd name="connsiteX10" fmla="*/ 278892 w 397954"/>
                <a:gd name="connsiteY10" fmla="*/ 15240 h 389477"/>
                <a:gd name="connsiteX11" fmla="*/ 341757 w 397954"/>
                <a:gd name="connsiteY11" fmla="*/ 56959 h 389477"/>
                <a:gd name="connsiteX12" fmla="*/ 383096 w 397954"/>
                <a:gd name="connsiteY12" fmla="*/ 118396 h 389477"/>
                <a:gd name="connsiteX13" fmla="*/ 397955 w 397954"/>
                <a:gd name="connsiteY13" fmla="*/ 193643 h 389477"/>
                <a:gd name="connsiteX14" fmla="*/ 397955 w 397954"/>
                <a:gd name="connsiteY14" fmla="*/ 195072 h 389477"/>
                <a:gd name="connsiteX15" fmla="*/ 382714 w 397954"/>
                <a:gd name="connsiteY15" fmla="*/ 270034 h 389477"/>
                <a:gd name="connsiteX16" fmla="*/ 340995 w 397954"/>
                <a:gd name="connsiteY16" fmla="*/ 331851 h 389477"/>
                <a:gd name="connsiteX17" fmla="*/ 277749 w 397954"/>
                <a:gd name="connsiteY17" fmla="*/ 373856 h 389477"/>
                <a:gd name="connsiteX18" fmla="*/ 197834 w 397954"/>
                <a:gd name="connsiteY18" fmla="*/ 389382 h 389477"/>
                <a:gd name="connsiteX19" fmla="*/ 199263 w 397954"/>
                <a:gd name="connsiteY19" fmla="*/ 315278 h 389477"/>
                <a:gd name="connsiteX20" fmla="*/ 245936 w 397954"/>
                <a:gd name="connsiteY20" fmla="*/ 305753 h 389477"/>
                <a:gd name="connsiteX21" fmla="*/ 281369 w 397954"/>
                <a:gd name="connsiteY21" fmla="*/ 279940 h 389477"/>
                <a:gd name="connsiteX22" fmla="*/ 303848 w 397954"/>
                <a:gd name="connsiteY22" fmla="*/ 242125 h 389477"/>
                <a:gd name="connsiteX23" fmla="*/ 311563 w 397954"/>
                <a:gd name="connsiteY23" fmla="*/ 196501 h 389477"/>
                <a:gd name="connsiteX24" fmla="*/ 311563 w 397954"/>
                <a:gd name="connsiteY24" fmla="*/ 195072 h 389477"/>
                <a:gd name="connsiteX25" fmla="*/ 303181 w 397954"/>
                <a:gd name="connsiteY25" fmla="*/ 148400 h 389477"/>
                <a:gd name="connsiteX26" fmla="*/ 279654 w 397954"/>
                <a:gd name="connsiteY26" fmla="*/ 110204 h 389477"/>
                <a:gd name="connsiteX27" fmla="*/ 243840 w 397954"/>
                <a:gd name="connsiteY27" fmla="*/ 84392 h 389477"/>
                <a:gd name="connsiteX28" fmla="*/ 197834 w 397954"/>
                <a:gd name="connsiteY28" fmla="*/ 74867 h 389477"/>
                <a:gd name="connsiteX29" fmla="*/ 151829 w 397954"/>
                <a:gd name="connsiteY29" fmla="*/ 84392 h 389477"/>
                <a:gd name="connsiteX30" fmla="*/ 116396 w 397954"/>
                <a:gd name="connsiteY30" fmla="*/ 109823 h 389477"/>
                <a:gd name="connsiteX31" fmla="*/ 93916 w 397954"/>
                <a:gd name="connsiteY31" fmla="*/ 147638 h 389477"/>
                <a:gd name="connsiteX32" fmla="*/ 86201 w 397954"/>
                <a:gd name="connsiteY32" fmla="*/ 193548 h 389477"/>
                <a:gd name="connsiteX33" fmla="*/ 86201 w 397954"/>
                <a:gd name="connsiteY33" fmla="*/ 194977 h 389477"/>
                <a:gd name="connsiteX34" fmla="*/ 94583 w 397954"/>
                <a:gd name="connsiteY34" fmla="*/ 241268 h 389477"/>
                <a:gd name="connsiteX35" fmla="*/ 118110 w 397954"/>
                <a:gd name="connsiteY35" fmla="*/ 279463 h 389477"/>
                <a:gd name="connsiteX36" fmla="*/ 153924 w 397954"/>
                <a:gd name="connsiteY36" fmla="*/ 305562 h 389477"/>
                <a:gd name="connsiteX37" fmla="*/ 199263 w 397954"/>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954" h="389477">
                  <a:moveTo>
                    <a:pt x="197834" y="389477"/>
                  </a:moveTo>
                  <a:cubicBezTo>
                    <a:pt x="169545" y="389477"/>
                    <a:pt x="143351" y="384429"/>
                    <a:pt x="119063" y="374237"/>
                  </a:cubicBezTo>
                  <a:cubicBezTo>
                    <a:pt x="94774" y="364141"/>
                    <a:pt x="73819" y="350330"/>
                    <a:pt x="56198" y="332899"/>
                  </a:cubicBezTo>
                  <a:cubicBezTo>
                    <a:pt x="38576" y="315468"/>
                    <a:pt x="24765" y="294989"/>
                    <a:pt x="14859" y="271463"/>
                  </a:cubicBezTo>
                  <a:cubicBezTo>
                    <a:pt x="4953" y="247936"/>
                    <a:pt x="0" y="222980"/>
                    <a:pt x="0" y="196501"/>
                  </a:cubicBezTo>
                  <a:lnTo>
                    <a:pt x="0" y="195072"/>
                  </a:lnTo>
                  <a:cubicBezTo>
                    <a:pt x="0" y="168212"/>
                    <a:pt x="5049" y="143066"/>
                    <a:pt x="15240" y="119444"/>
                  </a:cubicBezTo>
                  <a:cubicBezTo>
                    <a:pt x="25337" y="95917"/>
                    <a:pt x="39243" y="75248"/>
                    <a:pt x="56960" y="57626"/>
                  </a:cubicBezTo>
                  <a:cubicBezTo>
                    <a:pt x="74676" y="39910"/>
                    <a:pt x="95631" y="25908"/>
                    <a:pt x="119825" y="15526"/>
                  </a:cubicBezTo>
                  <a:cubicBezTo>
                    <a:pt x="144113" y="5144"/>
                    <a:pt x="170593" y="0"/>
                    <a:pt x="199358" y="0"/>
                  </a:cubicBezTo>
                  <a:cubicBezTo>
                    <a:pt x="228124" y="0"/>
                    <a:pt x="254604" y="5048"/>
                    <a:pt x="278892" y="15240"/>
                  </a:cubicBezTo>
                  <a:cubicBezTo>
                    <a:pt x="303181" y="25337"/>
                    <a:pt x="324136" y="39243"/>
                    <a:pt x="341757" y="56959"/>
                  </a:cubicBezTo>
                  <a:cubicBezTo>
                    <a:pt x="359379" y="74676"/>
                    <a:pt x="373189" y="95155"/>
                    <a:pt x="383096" y="118396"/>
                  </a:cubicBezTo>
                  <a:cubicBezTo>
                    <a:pt x="393002" y="141732"/>
                    <a:pt x="397955" y="166783"/>
                    <a:pt x="397955" y="193643"/>
                  </a:cubicBezTo>
                  <a:lnTo>
                    <a:pt x="397955" y="195072"/>
                  </a:lnTo>
                  <a:cubicBezTo>
                    <a:pt x="397955" y="221456"/>
                    <a:pt x="392906" y="246412"/>
                    <a:pt x="382714" y="270034"/>
                  </a:cubicBezTo>
                  <a:cubicBezTo>
                    <a:pt x="372618" y="293561"/>
                    <a:pt x="358712" y="314230"/>
                    <a:pt x="340995" y="331851"/>
                  </a:cubicBezTo>
                  <a:cubicBezTo>
                    <a:pt x="323279" y="349472"/>
                    <a:pt x="302229" y="363569"/>
                    <a:pt x="277749" y="373856"/>
                  </a:cubicBezTo>
                  <a:cubicBezTo>
                    <a:pt x="253270" y="384238"/>
                    <a:pt x="226600" y="389382"/>
                    <a:pt x="197834" y="389382"/>
                  </a:cubicBezTo>
                  <a:close/>
                  <a:moveTo>
                    <a:pt x="199263" y="315278"/>
                  </a:moveTo>
                  <a:cubicBezTo>
                    <a:pt x="216598" y="315278"/>
                    <a:pt x="232124" y="312039"/>
                    <a:pt x="245936" y="305753"/>
                  </a:cubicBezTo>
                  <a:cubicBezTo>
                    <a:pt x="259747" y="299371"/>
                    <a:pt x="271558" y="290798"/>
                    <a:pt x="281369" y="279940"/>
                  </a:cubicBezTo>
                  <a:cubicBezTo>
                    <a:pt x="291179" y="269081"/>
                    <a:pt x="298704" y="256508"/>
                    <a:pt x="303848" y="242125"/>
                  </a:cubicBezTo>
                  <a:cubicBezTo>
                    <a:pt x="308991" y="227743"/>
                    <a:pt x="311563" y="212598"/>
                    <a:pt x="311563" y="196501"/>
                  </a:cubicBezTo>
                  <a:lnTo>
                    <a:pt x="311563" y="195072"/>
                  </a:lnTo>
                  <a:cubicBezTo>
                    <a:pt x="311563" y="178594"/>
                    <a:pt x="308706" y="163068"/>
                    <a:pt x="303181" y="148400"/>
                  </a:cubicBezTo>
                  <a:cubicBezTo>
                    <a:pt x="297561" y="133826"/>
                    <a:pt x="289750" y="121063"/>
                    <a:pt x="279654" y="110204"/>
                  </a:cubicBezTo>
                  <a:cubicBezTo>
                    <a:pt x="269557" y="99346"/>
                    <a:pt x="257651" y="90773"/>
                    <a:pt x="243840" y="84392"/>
                  </a:cubicBezTo>
                  <a:cubicBezTo>
                    <a:pt x="230029" y="78010"/>
                    <a:pt x="214694" y="74867"/>
                    <a:pt x="197834" y="74867"/>
                  </a:cubicBezTo>
                  <a:cubicBezTo>
                    <a:pt x="180975" y="74867"/>
                    <a:pt x="165640" y="78010"/>
                    <a:pt x="151829" y="84392"/>
                  </a:cubicBezTo>
                  <a:cubicBezTo>
                    <a:pt x="138017" y="90773"/>
                    <a:pt x="126206" y="99250"/>
                    <a:pt x="116396" y="109823"/>
                  </a:cubicBezTo>
                  <a:cubicBezTo>
                    <a:pt x="106585" y="120396"/>
                    <a:pt x="99060" y="133064"/>
                    <a:pt x="93916" y="147638"/>
                  </a:cubicBezTo>
                  <a:cubicBezTo>
                    <a:pt x="88773" y="162211"/>
                    <a:pt x="86201" y="177546"/>
                    <a:pt x="86201" y="193548"/>
                  </a:cubicBezTo>
                  <a:lnTo>
                    <a:pt x="86201" y="194977"/>
                  </a:lnTo>
                  <a:cubicBezTo>
                    <a:pt x="86201" y="211455"/>
                    <a:pt x="89059" y="226886"/>
                    <a:pt x="94583" y="241268"/>
                  </a:cubicBezTo>
                  <a:cubicBezTo>
                    <a:pt x="100203" y="255651"/>
                    <a:pt x="108014" y="268319"/>
                    <a:pt x="118110" y="279463"/>
                  </a:cubicBezTo>
                  <a:cubicBezTo>
                    <a:pt x="128207" y="290608"/>
                    <a:pt x="140113" y="299275"/>
                    <a:pt x="153924" y="305562"/>
                  </a:cubicBezTo>
                  <a:cubicBezTo>
                    <a:pt x="167735" y="311944"/>
                    <a:pt x="182785"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19" name="Freeform: Shape 31">
              <a:extLst>
                <a:ext uri="{FF2B5EF4-FFF2-40B4-BE49-F238E27FC236}">
                  <a16:creationId xmlns:a16="http://schemas.microsoft.com/office/drawing/2014/main" id="{03710F52-3B60-A4F3-4270-4B2C2FF2D0D0}"/>
                </a:ext>
              </a:extLst>
            </p:cNvPr>
            <p:cNvSpPr/>
            <p:nvPr/>
          </p:nvSpPr>
          <p:spPr>
            <a:xfrm>
              <a:off x="662071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1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7 w 296894"/>
                <a:gd name="connsiteY23" fmla="*/ 42863 h 386714"/>
                <a:gd name="connsiteX24" fmla="*/ 254318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7 w 296894"/>
                <a:gd name="connsiteY30" fmla="*/ 124587 h 386714"/>
                <a:gd name="connsiteX31" fmla="*/ 122682 w 296894"/>
                <a:gd name="connsiteY31" fmla="*/ 138017 h 386714"/>
                <a:gd name="connsiteX32" fmla="*/ 149543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6" y="348901"/>
                    <a:pt x="0" y="330327"/>
                  </a:cubicBezTo>
                  <a:lnTo>
                    <a:pt x="38195" y="272224"/>
                  </a:lnTo>
                  <a:cubicBezTo>
                    <a:pt x="58484" y="287274"/>
                    <a:pt x="79057" y="298704"/>
                    <a:pt x="100013" y="306514"/>
                  </a:cubicBezTo>
                  <a:cubicBezTo>
                    <a:pt x="120968" y="314325"/>
                    <a:pt x="141161" y="318135"/>
                    <a:pt x="160401" y="318135"/>
                  </a:cubicBezTo>
                  <a:cubicBezTo>
                    <a:pt x="179641" y="318135"/>
                    <a:pt x="192977"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1" y="241078"/>
                    <a:pt x="176498" y="237553"/>
                    <a:pt x="166401"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2" y="40195"/>
                    <a:pt x="56864" y="30385"/>
                  </a:cubicBezTo>
                  <a:cubicBezTo>
                    <a:pt x="68866" y="20479"/>
                    <a:pt x="82962" y="12954"/>
                    <a:pt x="99250" y="7810"/>
                  </a:cubicBezTo>
                  <a:cubicBezTo>
                    <a:pt x="115538" y="2667"/>
                    <a:pt x="132779" y="0"/>
                    <a:pt x="151162" y="0"/>
                  </a:cubicBezTo>
                  <a:cubicBezTo>
                    <a:pt x="174688" y="0"/>
                    <a:pt x="198501" y="3810"/>
                    <a:pt x="222504" y="11430"/>
                  </a:cubicBezTo>
                  <a:cubicBezTo>
                    <a:pt x="246507" y="19050"/>
                    <a:pt x="268414" y="29527"/>
                    <a:pt x="288227" y="42863"/>
                  </a:cubicBezTo>
                  <a:lnTo>
                    <a:pt x="254318"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7" y="124587"/>
                  </a:cubicBezTo>
                  <a:cubicBezTo>
                    <a:pt x="108585" y="129540"/>
                    <a:pt x="114871" y="134017"/>
                    <a:pt x="122682" y="138017"/>
                  </a:cubicBezTo>
                  <a:cubicBezTo>
                    <a:pt x="130493" y="142018"/>
                    <a:pt x="139351" y="145732"/>
                    <a:pt x="149543"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696"/>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0" name="Freeform: Shape 32">
              <a:extLst>
                <a:ext uri="{FF2B5EF4-FFF2-40B4-BE49-F238E27FC236}">
                  <a16:creationId xmlns:a16="http://schemas.microsoft.com/office/drawing/2014/main" id="{83363EBC-D7F0-4DC9-706E-EC27A25D5D27}"/>
                </a:ext>
              </a:extLst>
            </p:cNvPr>
            <p:cNvSpPr/>
            <p:nvPr/>
          </p:nvSpPr>
          <p:spPr>
            <a:xfrm>
              <a:off x="526693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4 w 202977"/>
                <a:gd name="connsiteY17" fmla="*/ 19907 h 239267"/>
                <a:gd name="connsiteX18" fmla="*/ 59246 w 202977"/>
                <a:gd name="connsiteY18" fmla="*/ 5429 h 239267"/>
                <a:gd name="connsiteX19" fmla="*/ 104299 w 202977"/>
                <a:gd name="connsiteY19" fmla="*/ 0 h 239267"/>
                <a:gd name="connsiteX20" fmla="*/ 178880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5 w 202977"/>
                <a:gd name="connsiteY27" fmla="*/ 211169 h 239267"/>
                <a:gd name="connsiteX28" fmla="*/ 122968 w 202977"/>
                <a:gd name="connsiteY28" fmla="*/ 206788 h 239267"/>
                <a:gd name="connsiteX29" fmla="*/ 147257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9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9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3" y="99155"/>
                    <a:pt x="58674" y="95917"/>
                  </a:cubicBezTo>
                  <a:cubicBezTo>
                    <a:pt x="70771" y="92678"/>
                    <a:pt x="84011" y="90964"/>
                    <a:pt x="98584" y="90964"/>
                  </a:cubicBezTo>
                  <a:cubicBezTo>
                    <a:pt x="113157" y="90964"/>
                    <a:pt x="126301" y="91821"/>
                    <a:pt x="137160" y="93631"/>
                  </a:cubicBezTo>
                  <a:cubicBezTo>
                    <a:pt x="148019" y="95440"/>
                    <a:pt x="158687" y="97822"/>
                    <a:pt x="169069" y="100774"/>
                  </a:cubicBezTo>
                  <a:lnTo>
                    <a:pt x="169069" y="93726"/>
                  </a:lnTo>
                  <a:cubicBezTo>
                    <a:pt x="169069" y="73342"/>
                    <a:pt x="163068" y="57912"/>
                    <a:pt x="151162" y="47339"/>
                  </a:cubicBezTo>
                  <a:cubicBezTo>
                    <a:pt x="139256" y="36862"/>
                    <a:pt x="122492" y="31623"/>
                    <a:pt x="100679" y="31623"/>
                  </a:cubicBezTo>
                  <a:cubicBezTo>
                    <a:pt x="86963" y="31623"/>
                    <a:pt x="74581" y="33147"/>
                    <a:pt x="63437" y="36100"/>
                  </a:cubicBezTo>
                  <a:cubicBezTo>
                    <a:pt x="52292" y="39053"/>
                    <a:pt x="41339" y="43053"/>
                    <a:pt x="30671" y="48196"/>
                  </a:cubicBezTo>
                  <a:lnTo>
                    <a:pt x="20384" y="19907"/>
                  </a:lnTo>
                  <a:cubicBezTo>
                    <a:pt x="33147" y="13906"/>
                    <a:pt x="46101" y="9049"/>
                    <a:pt x="59246" y="5429"/>
                  </a:cubicBezTo>
                  <a:cubicBezTo>
                    <a:pt x="72295" y="1810"/>
                    <a:pt x="87344" y="0"/>
                    <a:pt x="104299" y="0"/>
                  </a:cubicBezTo>
                  <a:cubicBezTo>
                    <a:pt x="137065" y="0"/>
                    <a:pt x="161925" y="8477"/>
                    <a:pt x="178880"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99" y="239173"/>
                    <a:pt x="86011" y="239173"/>
                  </a:cubicBezTo>
                  <a:close/>
                  <a:moveTo>
                    <a:pt x="93155" y="211169"/>
                  </a:moveTo>
                  <a:cubicBezTo>
                    <a:pt x="103823" y="211169"/>
                    <a:pt x="113728" y="209740"/>
                    <a:pt x="122968" y="206788"/>
                  </a:cubicBezTo>
                  <a:cubicBezTo>
                    <a:pt x="132207" y="203835"/>
                    <a:pt x="140208" y="199644"/>
                    <a:pt x="147257"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9" y="121444"/>
                  </a:cubicBezTo>
                  <a:cubicBezTo>
                    <a:pt x="129445" y="119348"/>
                    <a:pt x="116776"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244" y="190500"/>
                    <a:pt x="47435" y="195358"/>
                    <a:pt x="52769" y="199263"/>
                  </a:cubicBezTo>
                  <a:cubicBezTo>
                    <a:pt x="58103" y="203073"/>
                    <a:pt x="64294" y="206026"/>
                    <a:pt x="71247" y="208121"/>
                  </a:cubicBezTo>
                  <a:cubicBezTo>
                    <a:pt x="78200" y="210217"/>
                    <a:pt x="85535"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21" name="Freeform: Shape 33">
              <a:extLst>
                <a:ext uri="{FF2B5EF4-FFF2-40B4-BE49-F238E27FC236}">
                  <a16:creationId xmlns:a16="http://schemas.microsoft.com/office/drawing/2014/main" id="{005099C2-4200-6D8C-729B-EE14D175EA98}"/>
                </a:ext>
              </a:extLst>
            </p:cNvPr>
            <p:cNvSpPr/>
            <p:nvPr/>
          </p:nvSpPr>
          <p:spPr>
            <a:xfrm>
              <a:off x="5331227"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9" y="303276"/>
                    <a:pt x="71438" y="300895"/>
                  </a:cubicBezTo>
                  <a:cubicBezTo>
                    <a:pt x="63437"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2"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22" name="Freeform: Shape 34">
              <a:extLst>
                <a:ext uri="{FF2B5EF4-FFF2-40B4-BE49-F238E27FC236}">
                  <a16:creationId xmlns:a16="http://schemas.microsoft.com/office/drawing/2014/main" id="{51359FE1-A944-39D1-D629-5A0A3E368130}"/>
                </a:ext>
              </a:extLst>
            </p:cNvPr>
            <p:cNvSpPr/>
            <p:nvPr/>
          </p:nvSpPr>
          <p:spPr>
            <a:xfrm>
              <a:off x="5381845"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191 w 39242"/>
                <a:gd name="connsiteY5" fmla="*/ 88392 h 319182"/>
                <a:gd name="connsiteX6" fmla="*/ 36576 w 39242"/>
                <a:gd name="connsiteY6" fmla="*/ 88392 h 319182"/>
                <a:gd name="connsiteX7" fmla="*/ 36576 w 39242"/>
                <a:gd name="connsiteY7" fmla="*/ 319183 h 319182"/>
                <a:gd name="connsiteX8" fmla="*/ 2191 w 39242"/>
                <a:gd name="connsiteY8" fmla="*/ 319183 h 319182"/>
                <a:gd name="connsiteX9" fmla="*/ 2191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191" y="88392"/>
                  </a:moveTo>
                  <a:lnTo>
                    <a:pt x="36576" y="88392"/>
                  </a:lnTo>
                  <a:lnTo>
                    <a:pt x="36576" y="319183"/>
                  </a:lnTo>
                  <a:lnTo>
                    <a:pt x="2191" y="319183"/>
                  </a:lnTo>
                  <a:lnTo>
                    <a:pt x="2191" y="88392"/>
                  </a:lnTo>
                  <a:close/>
                </a:path>
              </a:pathLst>
            </a:custGeom>
            <a:solidFill>
              <a:srgbClr val="44505E"/>
            </a:solidFill>
            <a:ln w="9525" cap="flat">
              <a:noFill/>
              <a:prstDash val="solid"/>
              <a:miter/>
            </a:ln>
          </p:spPr>
          <p:txBody>
            <a:bodyPr rtlCol="0" anchor="ctr"/>
            <a:lstStyle/>
            <a:p>
              <a:endParaRPr lang="pt-BR" noProof="0"/>
            </a:p>
          </p:txBody>
        </p:sp>
        <p:sp>
          <p:nvSpPr>
            <p:cNvPr id="23" name="Freeform: Shape 35">
              <a:extLst>
                <a:ext uri="{FF2B5EF4-FFF2-40B4-BE49-F238E27FC236}">
                  <a16:creationId xmlns:a16="http://schemas.microsoft.com/office/drawing/2014/main" id="{5DB12F4B-AA1D-9FAB-BD48-E007E93C49E7}"/>
                </a:ext>
              </a:extLst>
            </p:cNvPr>
            <p:cNvSpPr/>
            <p:nvPr/>
          </p:nvSpPr>
          <p:spPr>
            <a:xfrm>
              <a:off x="5406076"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8" y="303276"/>
                    <a:pt x="71438" y="300895"/>
                  </a:cubicBezTo>
                  <a:cubicBezTo>
                    <a:pt x="63436"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1"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24" name="Freeform: Shape 36">
              <a:extLst>
                <a:ext uri="{FF2B5EF4-FFF2-40B4-BE49-F238E27FC236}">
                  <a16:creationId xmlns:a16="http://schemas.microsoft.com/office/drawing/2014/main" id="{47BA837A-1D29-82A2-8360-9400627AC7D4}"/>
                </a:ext>
              </a:extLst>
            </p:cNvPr>
            <p:cNvSpPr/>
            <p:nvPr/>
          </p:nvSpPr>
          <p:spPr>
            <a:xfrm>
              <a:off x="5455545" y="925297"/>
              <a:ext cx="50594" cy="59238"/>
            </a:xfrm>
            <a:custGeom>
              <a:avLst/>
              <a:gdLst>
                <a:gd name="connsiteX0" fmla="*/ 88392 w 201263"/>
                <a:gd name="connsiteY0" fmla="*/ 235648 h 235648"/>
                <a:gd name="connsiteX1" fmla="*/ 51149 w 201263"/>
                <a:gd name="connsiteY1" fmla="*/ 228981 h 235648"/>
                <a:gd name="connsiteX2" fmla="*/ 23431 w 201263"/>
                <a:gd name="connsiteY2" fmla="*/ 210026 h 235648"/>
                <a:gd name="connsiteX3" fmla="*/ 6001 w 201263"/>
                <a:gd name="connsiteY3" fmla="*/ 180784 h 235648"/>
                <a:gd name="connsiteX4" fmla="*/ 0 w 201263"/>
                <a:gd name="connsiteY4" fmla="*/ 143256 h 235648"/>
                <a:gd name="connsiteX5" fmla="*/ 0 w 201263"/>
                <a:gd name="connsiteY5" fmla="*/ 0 h 235648"/>
                <a:gd name="connsiteX6" fmla="*/ 34385 w 201263"/>
                <a:gd name="connsiteY6" fmla="*/ 0 h 235648"/>
                <a:gd name="connsiteX7" fmla="*/ 34385 w 201263"/>
                <a:gd name="connsiteY7" fmla="*/ 134493 h 235648"/>
                <a:gd name="connsiteX8" fmla="*/ 50864 w 201263"/>
                <a:gd name="connsiteY8" fmla="*/ 185261 h 235648"/>
                <a:gd name="connsiteX9" fmla="*/ 98203 w 201263"/>
                <a:gd name="connsiteY9" fmla="*/ 203930 h 235648"/>
                <a:gd name="connsiteX10" fmla="*/ 125635 w 201263"/>
                <a:gd name="connsiteY10" fmla="*/ 198787 h 235648"/>
                <a:gd name="connsiteX11" fmla="*/ 147542 w 201263"/>
                <a:gd name="connsiteY11" fmla="*/ 184118 h 235648"/>
                <a:gd name="connsiteX12" fmla="*/ 162020 w 201263"/>
                <a:gd name="connsiteY12" fmla="*/ 161163 h 235648"/>
                <a:gd name="connsiteX13" fmla="*/ 167354 w 201263"/>
                <a:gd name="connsiteY13" fmla="*/ 131826 h 235648"/>
                <a:gd name="connsiteX14" fmla="*/ 167354 w 201263"/>
                <a:gd name="connsiteY14" fmla="*/ 0 h 235648"/>
                <a:gd name="connsiteX15" fmla="*/ 201263 w 201263"/>
                <a:gd name="connsiteY15" fmla="*/ 0 h 235648"/>
                <a:gd name="connsiteX16" fmla="*/ 201263 w 201263"/>
                <a:gd name="connsiteY16" fmla="*/ 230791 h 235648"/>
                <a:gd name="connsiteX17" fmla="*/ 167354 w 201263"/>
                <a:gd name="connsiteY17" fmla="*/ 230791 h 235648"/>
                <a:gd name="connsiteX18" fmla="*/ 167354 w 201263"/>
                <a:gd name="connsiteY18" fmla="*/ 190595 h 235648"/>
                <a:gd name="connsiteX19" fmla="*/ 136969 w 201263"/>
                <a:gd name="connsiteY19" fmla="*/ 222504 h 235648"/>
                <a:gd name="connsiteX20" fmla="*/ 88297 w 201263"/>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263" h="235648">
                  <a:moveTo>
                    <a:pt x="88392" y="235648"/>
                  </a:moveTo>
                  <a:cubicBezTo>
                    <a:pt x="74390" y="235648"/>
                    <a:pt x="62008" y="233363"/>
                    <a:pt x="51149" y="228981"/>
                  </a:cubicBezTo>
                  <a:cubicBezTo>
                    <a:pt x="40291" y="224504"/>
                    <a:pt x="31052" y="218218"/>
                    <a:pt x="23431"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864" y="185261"/>
                  </a:cubicBezTo>
                  <a:cubicBezTo>
                    <a:pt x="61913" y="197739"/>
                    <a:pt x="77629" y="203930"/>
                    <a:pt x="98203" y="203930"/>
                  </a:cubicBezTo>
                  <a:cubicBezTo>
                    <a:pt x="108014" y="203930"/>
                    <a:pt x="117158" y="202216"/>
                    <a:pt x="125635" y="198787"/>
                  </a:cubicBezTo>
                  <a:cubicBezTo>
                    <a:pt x="134112" y="195358"/>
                    <a:pt x="141351" y="190500"/>
                    <a:pt x="147542" y="184118"/>
                  </a:cubicBezTo>
                  <a:cubicBezTo>
                    <a:pt x="153638" y="177736"/>
                    <a:pt x="158496" y="170116"/>
                    <a:pt x="162020" y="161163"/>
                  </a:cubicBezTo>
                  <a:cubicBezTo>
                    <a:pt x="165640" y="152305"/>
                    <a:pt x="167354" y="142494"/>
                    <a:pt x="167354" y="131826"/>
                  </a:cubicBezTo>
                  <a:lnTo>
                    <a:pt x="167354" y="0"/>
                  </a:lnTo>
                  <a:lnTo>
                    <a:pt x="201263" y="0"/>
                  </a:lnTo>
                  <a:lnTo>
                    <a:pt x="201263" y="230791"/>
                  </a:lnTo>
                  <a:lnTo>
                    <a:pt x="167354" y="230791"/>
                  </a:lnTo>
                  <a:lnTo>
                    <a:pt x="167354" y="190595"/>
                  </a:lnTo>
                  <a:cubicBezTo>
                    <a:pt x="159639" y="203073"/>
                    <a:pt x="149447" y="213741"/>
                    <a:pt x="136969" y="222504"/>
                  </a:cubicBezTo>
                  <a:cubicBezTo>
                    <a:pt x="124492" y="231267"/>
                    <a:pt x="108299" y="235648"/>
                    <a:pt x="88297" y="235648"/>
                  </a:cubicBezTo>
                  <a:close/>
                </a:path>
              </a:pathLst>
            </a:custGeom>
            <a:solidFill>
              <a:srgbClr val="44505E"/>
            </a:solidFill>
            <a:ln w="9525" cap="flat">
              <a:noFill/>
              <a:prstDash val="solid"/>
              <a:miter/>
            </a:ln>
          </p:spPr>
          <p:txBody>
            <a:bodyPr rtlCol="0" anchor="ctr"/>
            <a:lstStyle/>
            <a:p>
              <a:endParaRPr lang="pt-BR" noProof="0"/>
            </a:p>
          </p:txBody>
        </p:sp>
        <p:sp>
          <p:nvSpPr>
            <p:cNvPr id="25" name="Freeform: Shape 37">
              <a:extLst>
                <a:ext uri="{FF2B5EF4-FFF2-40B4-BE49-F238E27FC236}">
                  <a16:creationId xmlns:a16="http://schemas.microsoft.com/office/drawing/2014/main" id="{987DF92E-6BD8-8957-A5B9-985E4D2F1DA8}"/>
                </a:ext>
              </a:extLst>
            </p:cNvPr>
            <p:cNvSpPr/>
            <p:nvPr/>
          </p:nvSpPr>
          <p:spPr>
            <a:xfrm>
              <a:off x="5522205" y="901353"/>
              <a:ext cx="58567" cy="83182"/>
            </a:xfrm>
            <a:custGeom>
              <a:avLst/>
              <a:gdLst>
                <a:gd name="connsiteX0" fmla="*/ 110204 w 232981"/>
                <a:gd name="connsiteY0" fmla="*/ 330898 h 330898"/>
                <a:gd name="connsiteX1" fmla="*/ 69628 w 232981"/>
                <a:gd name="connsiteY1" fmla="*/ 322897 h 330898"/>
                <a:gd name="connsiteX2" fmla="*/ 34385 w 232981"/>
                <a:gd name="connsiteY2" fmla="*/ 299466 h 330898"/>
                <a:gd name="connsiteX3" fmla="*/ 9334 w 232981"/>
                <a:gd name="connsiteY3" fmla="*/ 261938 h 330898"/>
                <a:gd name="connsiteX4" fmla="*/ 0 w 232981"/>
                <a:gd name="connsiteY4" fmla="*/ 211264 h 330898"/>
                <a:gd name="connsiteX5" fmla="*/ 0 w 232981"/>
                <a:gd name="connsiteY5" fmla="*/ 210407 h 330898"/>
                <a:gd name="connsiteX6" fmla="*/ 9334 w 232981"/>
                <a:gd name="connsiteY6" fmla="*/ 159925 h 330898"/>
                <a:gd name="connsiteX7" fmla="*/ 34385 w 232981"/>
                <a:gd name="connsiteY7" fmla="*/ 122206 h 330898"/>
                <a:gd name="connsiteX8" fmla="*/ 69628 w 232981"/>
                <a:gd name="connsiteY8" fmla="*/ 98488 h 330898"/>
                <a:gd name="connsiteX9" fmla="*/ 110204 w 232981"/>
                <a:gd name="connsiteY9" fmla="*/ 90202 h 330898"/>
                <a:gd name="connsiteX10" fmla="*/ 139636 w 232981"/>
                <a:gd name="connsiteY10" fmla="*/ 94202 h 330898"/>
                <a:gd name="connsiteX11" fmla="*/ 163735 w 232981"/>
                <a:gd name="connsiteY11" fmla="*/ 104870 h 330898"/>
                <a:gd name="connsiteX12" fmla="*/ 183166 w 232981"/>
                <a:gd name="connsiteY12" fmla="*/ 120491 h 330898"/>
                <a:gd name="connsiteX13" fmla="*/ 198596 w 232981"/>
                <a:gd name="connsiteY13" fmla="*/ 139255 h 330898"/>
                <a:gd name="connsiteX14" fmla="*/ 198596 w 232981"/>
                <a:gd name="connsiteY14" fmla="*/ 0 h 330898"/>
                <a:gd name="connsiteX15" fmla="*/ 232981 w 232981"/>
                <a:gd name="connsiteY15" fmla="*/ 0 h 330898"/>
                <a:gd name="connsiteX16" fmla="*/ 232981 w 232981"/>
                <a:gd name="connsiteY16" fmla="*/ 325850 h 330898"/>
                <a:gd name="connsiteX17" fmla="*/ 198596 w 232981"/>
                <a:gd name="connsiteY17" fmla="*/ 325850 h 330898"/>
                <a:gd name="connsiteX18" fmla="*/ 198596 w 232981"/>
                <a:gd name="connsiteY18" fmla="*/ 279463 h 330898"/>
                <a:gd name="connsiteX19" fmla="*/ 182785 w 232981"/>
                <a:gd name="connsiteY19" fmla="*/ 299085 h 330898"/>
                <a:gd name="connsiteX20" fmla="*/ 163354 w 232981"/>
                <a:gd name="connsiteY20" fmla="*/ 315658 h 330898"/>
                <a:gd name="connsiteX21" fmla="*/ 139446 w 232981"/>
                <a:gd name="connsiteY21" fmla="*/ 326803 h 330898"/>
                <a:gd name="connsiteX22" fmla="*/ 110204 w 232981"/>
                <a:gd name="connsiteY22" fmla="*/ 330803 h 330898"/>
                <a:gd name="connsiteX23" fmla="*/ 116491 w 232981"/>
                <a:gd name="connsiteY23" fmla="*/ 300133 h 330898"/>
                <a:gd name="connsiteX24" fmla="*/ 147542 w 232981"/>
                <a:gd name="connsiteY24" fmla="*/ 293656 h 330898"/>
                <a:gd name="connsiteX25" fmla="*/ 174307 w 232981"/>
                <a:gd name="connsiteY25" fmla="*/ 275368 h 330898"/>
                <a:gd name="connsiteX26" fmla="*/ 193072 w 232981"/>
                <a:gd name="connsiteY26" fmla="*/ 247269 h 330898"/>
                <a:gd name="connsiteX27" fmla="*/ 200025 w 232981"/>
                <a:gd name="connsiteY27" fmla="*/ 210883 h 330898"/>
                <a:gd name="connsiteX28" fmla="*/ 200025 w 232981"/>
                <a:gd name="connsiteY28" fmla="*/ 210026 h 330898"/>
                <a:gd name="connsiteX29" fmla="*/ 193072 w 232981"/>
                <a:gd name="connsiteY29" fmla="*/ 173641 h 330898"/>
                <a:gd name="connsiteX30" fmla="*/ 174307 w 232981"/>
                <a:gd name="connsiteY30" fmla="*/ 145732 h 330898"/>
                <a:gd name="connsiteX31" fmla="*/ 147542 w 232981"/>
                <a:gd name="connsiteY31" fmla="*/ 127635 h 330898"/>
                <a:gd name="connsiteX32" fmla="*/ 116491 w 232981"/>
                <a:gd name="connsiteY32" fmla="*/ 121158 h 330898"/>
                <a:gd name="connsiteX33" fmla="*/ 84772 w 232981"/>
                <a:gd name="connsiteY33" fmla="*/ 127159 h 330898"/>
                <a:gd name="connsiteX34" fmla="*/ 59150 w 232981"/>
                <a:gd name="connsiteY34" fmla="*/ 144589 h 330898"/>
                <a:gd name="connsiteX35" fmla="*/ 41719 w 232981"/>
                <a:gd name="connsiteY35" fmla="*/ 172498 h 330898"/>
                <a:gd name="connsiteX36" fmla="*/ 35242 w 232981"/>
                <a:gd name="connsiteY36" fmla="*/ 210026 h 330898"/>
                <a:gd name="connsiteX37" fmla="*/ 35242 w 232981"/>
                <a:gd name="connsiteY37" fmla="*/ 210883 h 330898"/>
                <a:gd name="connsiteX38" fmla="*/ 41719 w 232981"/>
                <a:gd name="connsiteY38" fmla="*/ 247936 h 330898"/>
                <a:gd name="connsiteX39" fmla="*/ 59341 w 232981"/>
                <a:gd name="connsiteY39" fmla="*/ 276034 h 330898"/>
                <a:gd name="connsiteX40" fmla="*/ 85249 w 232981"/>
                <a:gd name="connsiteY40" fmla="*/ 293941 h 330898"/>
                <a:gd name="connsiteX41" fmla="*/ 116491 w 23298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30898">
                  <a:moveTo>
                    <a:pt x="110204" y="330898"/>
                  </a:moveTo>
                  <a:cubicBezTo>
                    <a:pt x="96202" y="330898"/>
                    <a:pt x="82677" y="328231"/>
                    <a:pt x="69628" y="322897"/>
                  </a:cubicBezTo>
                  <a:cubicBezTo>
                    <a:pt x="56578" y="317563"/>
                    <a:pt x="44767" y="309753"/>
                    <a:pt x="34385" y="299466"/>
                  </a:cubicBezTo>
                  <a:cubicBezTo>
                    <a:pt x="24003" y="289179"/>
                    <a:pt x="15621" y="276701"/>
                    <a:pt x="9334" y="261938"/>
                  </a:cubicBezTo>
                  <a:cubicBezTo>
                    <a:pt x="3048" y="247174"/>
                    <a:pt x="0" y="230314"/>
                    <a:pt x="0" y="211264"/>
                  </a:cubicBezTo>
                  <a:lnTo>
                    <a:pt x="0" y="210407"/>
                  </a:lnTo>
                  <a:cubicBezTo>
                    <a:pt x="0" y="191643"/>
                    <a:pt x="3143" y="174879"/>
                    <a:pt x="9334" y="159925"/>
                  </a:cubicBezTo>
                  <a:cubicBezTo>
                    <a:pt x="15621" y="145066"/>
                    <a:pt x="23908" y="132493"/>
                    <a:pt x="34385" y="122206"/>
                  </a:cubicBezTo>
                  <a:cubicBezTo>
                    <a:pt x="44767" y="111919"/>
                    <a:pt x="56578" y="104013"/>
                    <a:pt x="69628" y="98488"/>
                  </a:cubicBezTo>
                  <a:cubicBezTo>
                    <a:pt x="82677" y="92964"/>
                    <a:pt x="96298" y="90202"/>
                    <a:pt x="110204" y="90202"/>
                  </a:cubicBezTo>
                  <a:cubicBezTo>
                    <a:pt x="120967" y="90202"/>
                    <a:pt x="130778" y="91535"/>
                    <a:pt x="139636" y="94202"/>
                  </a:cubicBezTo>
                  <a:cubicBezTo>
                    <a:pt x="148590" y="96869"/>
                    <a:pt x="156591" y="100489"/>
                    <a:pt x="163735" y="104870"/>
                  </a:cubicBezTo>
                  <a:cubicBezTo>
                    <a:pt x="170878" y="109347"/>
                    <a:pt x="177356" y="114586"/>
                    <a:pt x="183166" y="120491"/>
                  </a:cubicBezTo>
                  <a:cubicBezTo>
                    <a:pt x="188976" y="126492"/>
                    <a:pt x="194119" y="132683"/>
                    <a:pt x="198596" y="139255"/>
                  </a:cubicBezTo>
                  <a:lnTo>
                    <a:pt x="198596" y="0"/>
                  </a:lnTo>
                  <a:lnTo>
                    <a:pt x="232981" y="0"/>
                  </a:lnTo>
                  <a:lnTo>
                    <a:pt x="232981" y="325850"/>
                  </a:lnTo>
                  <a:lnTo>
                    <a:pt x="198596" y="325850"/>
                  </a:lnTo>
                  <a:lnTo>
                    <a:pt x="198596" y="279463"/>
                  </a:lnTo>
                  <a:cubicBezTo>
                    <a:pt x="193834" y="286321"/>
                    <a:pt x="188595" y="292894"/>
                    <a:pt x="182785" y="299085"/>
                  </a:cubicBezTo>
                  <a:cubicBezTo>
                    <a:pt x="176974" y="305371"/>
                    <a:pt x="170498" y="310896"/>
                    <a:pt x="163354" y="315658"/>
                  </a:cubicBezTo>
                  <a:cubicBezTo>
                    <a:pt x="156210" y="320421"/>
                    <a:pt x="148209" y="324136"/>
                    <a:pt x="139446" y="326803"/>
                  </a:cubicBezTo>
                  <a:cubicBezTo>
                    <a:pt x="130683" y="329470"/>
                    <a:pt x="120967" y="330803"/>
                    <a:pt x="110204" y="330803"/>
                  </a:cubicBezTo>
                  <a:close/>
                  <a:moveTo>
                    <a:pt x="116491" y="300133"/>
                  </a:moveTo>
                  <a:cubicBezTo>
                    <a:pt x="127159" y="300133"/>
                    <a:pt x="137541" y="297942"/>
                    <a:pt x="147542" y="293656"/>
                  </a:cubicBezTo>
                  <a:cubicBezTo>
                    <a:pt x="157544" y="289369"/>
                    <a:pt x="166402" y="283273"/>
                    <a:pt x="174307" y="275368"/>
                  </a:cubicBezTo>
                  <a:cubicBezTo>
                    <a:pt x="182213" y="267462"/>
                    <a:pt x="188404" y="258127"/>
                    <a:pt x="193072" y="247269"/>
                  </a:cubicBezTo>
                  <a:cubicBezTo>
                    <a:pt x="197644" y="236410"/>
                    <a:pt x="200025" y="224314"/>
                    <a:pt x="200025" y="210883"/>
                  </a:cubicBezTo>
                  <a:lnTo>
                    <a:pt x="200025" y="210026"/>
                  </a:lnTo>
                  <a:cubicBezTo>
                    <a:pt x="200025" y="196596"/>
                    <a:pt x="197739" y="184499"/>
                    <a:pt x="193072" y="173641"/>
                  </a:cubicBezTo>
                  <a:cubicBezTo>
                    <a:pt x="188500" y="162782"/>
                    <a:pt x="182213" y="153448"/>
                    <a:pt x="174307" y="145732"/>
                  </a:cubicBezTo>
                  <a:cubicBezTo>
                    <a:pt x="166402" y="138017"/>
                    <a:pt x="157448" y="132016"/>
                    <a:pt x="147542" y="127635"/>
                  </a:cubicBezTo>
                  <a:cubicBezTo>
                    <a:pt x="137541" y="123349"/>
                    <a:pt x="127254" y="121158"/>
                    <a:pt x="116491" y="121158"/>
                  </a:cubicBezTo>
                  <a:cubicBezTo>
                    <a:pt x="105156" y="121158"/>
                    <a:pt x="94583" y="123158"/>
                    <a:pt x="84772" y="127159"/>
                  </a:cubicBezTo>
                  <a:cubicBezTo>
                    <a:pt x="74962" y="131159"/>
                    <a:pt x="66389" y="136969"/>
                    <a:pt x="59150" y="144589"/>
                  </a:cubicBezTo>
                  <a:cubicBezTo>
                    <a:pt x="51816" y="152114"/>
                    <a:pt x="46101" y="161449"/>
                    <a:pt x="41719" y="172498"/>
                  </a:cubicBezTo>
                  <a:cubicBezTo>
                    <a:pt x="37433" y="183451"/>
                    <a:pt x="35242" y="196024"/>
                    <a:pt x="35242" y="210026"/>
                  </a:cubicBezTo>
                  <a:lnTo>
                    <a:pt x="35242" y="210883"/>
                  </a:lnTo>
                  <a:cubicBezTo>
                    <a:pt x="35242" y="224599"/>
                    <a:pt x="37433" y="236982"/>
                    <a:pt x="41719" y="247936"/>
                  </a:cubicBezTo>
                  <a:cubicBezTo>
                    <a:pt x="46006" y="258984"/>
                    <a:pt x="51911" y="268319"/>
                    <a:pt x="59341" y="276034"/>
                  </a:cubicBezTo>
                  <a:cubicBezTo>
                    <a:pt x="66770" y="283750"/>
                    <a:pt x="75438" y="289750"/>
                    <a:pt x="85249" y="293941"/>
                  </a:cubicBezTo>
                  <a:cubicBezTo>
                    <a:pt x="95059" y="298132"/>
                    <a:pt x="105442" y="300228"/>
                    <a:pt x="116491" y="300228"/>
                  </a:cubicBezTo>
                  <a:close/>
                </a:path>
              </a:pathLst>
            </a:custGeom>
            <a:solidFill>
              <a:srgbClr val="44505E"/>
            </a:solidFill>
            <a:ln w="9525" cap="flat">
              <a:noFill/>
              <a:prstDash val="solid"/>
              <a:miter/>
            </a:ln>
          </p:spPr>
          <p:txBody>
            <a:bodyPr rtlCol="0" anchor="ctr"/>
            <a:lstStyle/>
            <a:p>
              <a:endParaRPr lang="pt-BR" noProof="0"/>
            </a:p>
          </p:txBody>
        </p:sp>
        <p:sp>
          <p:nvSpPr>
            <p:cNvPr id="26" name="Freeform: Shape 38">
              <a:extLst>
                <a:ext uri="{FF2B5EF4-FFF2-40B4-BE49-F238E27FC236}">
                  <a16:creationId xmlns:a16="http://schemas.microsoft.com/office/drawing/2014/main" id="{0A58BEFD-A169-B27B-2F22-8AF38B93F251}"/>
                </a:ext>
              </a:extLst>
            </p:cNvPr>
            <p:cNvSpPr/>
            <p:nvPr/>
          </p:nvSpPr>
          <p:spPr>
            <a:xfrm>
              <a:off x="5596504"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6963 w 218217"/>
                <a:gd name="connsiteY3" fmla="*/ 206026 h 241077"/>
                <a:gd name="connsiteX4" fmla="*/ 116015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8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1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452 w 218217"/>
                <a:gd name="connsiteY25" fmla="*/ 106299 h 241077"/>
                <a:gd name="connsiteX26" fmla="*/ 176784 w 218217"/>
                <a:gd name="connsiteY26" fmla="*/ 76771 h 241077"/>
                <a:gd name="connsiteX27" fmla="*/ 162306 w 218217"/>
                <a:gd name="connsiteY27" fmla="*/ 52101 h 241077"/>
                <a:gd name="connsiteX28" fmla="*/ 140018 w 218217"/>
                <a:gd name="connsiteY28" fmla="*/ 35242 h 241077"/>
                <a:gd name="connsiteX29" fmla="*/ 109919 w 218217"/>
                <a:gd name="connsiteY29" fmla="*/ 29051 h 241077"/>
                <a:gd name="connsiteX30" fmla="*/ 82201 w 218217"/>
                <a:gd name="connsiteY30" fmla="*/ 34766 h 241077"/>
                <a:gd name="connsiteX31" fmla="*/ 59436 w 218217"/>
                <a:gd name="connsiteY31" fmla="*/ 50959 h 241077"/>
                <a:gd name="connsiteX32" fmla="*/ 43148 w 218217"/>
                <a:gd name="connsiteY32" fmla="*/ 75628 h 241077"/>
                <a:gd name="connsiteX33" fmla="*/ 34862 w 218217"/>
                <a:gd name="connsiteY33" fmla="*/ 106204 h 241077"/>
                <a:gd name="connsiteX34" fmla="*/ 183547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724" y="202597"/>
                    <a:pt x="86963" y="206026"/>
                  </a:cubicBezTo>
                  <a:cubicBezTo>
                    <a:pt x="96203" y="209455"/>
                    <a:pt x="105823" y="211169"/>
                    <a:pt x="116015" y="211169"/>
                  </a:cubicBezTo>
                  <a:cubicBezTo>
                    <a:pt x="132112" y="211169"/>
                    <a:pt x="145828" y="208216"/>
                    <a:pt x="157353" y="202216"/>
                  </a:cubicBezTo>
                  <a:cubicBezTo>
                    <a:pt x="168783" y="196310"/>
                    <a:pt x="179261" y="188404"/>
                    <a:pt x="188786" y="178594"/>
                  </a:cubicBezTo>
                  <a:lnTo>
                    <a:pt x="210217" y="197834"/>
                  </a:lnTo>
                  <a:cubicBezTo>
                    <a:pt x="198596" y="210979"/>
                    <a:pt x="185357" y="221361"/>
                    <a:pt x="170498" y="229267"/>
                  </a:cubicBezTo>
                  <a:cubicBezTo>
                    <a:pt x="155639"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679" y="0"/>
                    <a:pt x="110681"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452" y="106299"/>
                  </a:moveTo>
                  <a:cubicBezTo>
                    <a:pt x="182594" y="95917"/>
                    <a:pt x="180308" y="86106"/>
                    <a:pt x="176784" y="76771"/>
                  </a:cubicBezTo>
                  <a:cubicBezTo>
                    <a:pt x="173165" y="67437"/>
                    <a:pt x="168402" y="59245"/>
                    <a:pt x="162306" y="52101"/>
                  </a:cubicBezTo>
                  <a:cubicBezTo>
                    <a:pt x="156210" y="44958"/>
                    <a:pt x="148781" y="39338"/>
                    <a:pt x="140018" y="35242"/>
                  </a:cubicBezTo>
                  <a:cubicBezTo>
                    <a:pt x="131254" y="31147"/>
                    <a:pt x="121158" y="29051"/>
                    <a:pt x="109919" y="29051"/>
                  </a:cubicBezTo>
                  <a:cubicBezTo>
                    <a:pt x="100108" y="29051"/>
                    <a:pt x="90869" y="30956"/>
                    <a:pt x="82201" y="34766"/>
                  </a:cubicBezTo>
                  <a:cubicBezTo>
                    <a:pt x="73533" y="38671"/>
                    <a:pt x="66008" y="44005"/>
                    <a:pt x="59436" y="50959"/>
                  </a:cubicBezTo>
                  <a:cubicBezTo>
                    <a:pt x="52864" y="57912"/>
                    <a:pt x="47435" y="66103"/>
                    <a:pt x="43148" y="75628"/>
                  </a:cubicBezTo>
                  <a:cubicBezTo>
                    <a:pt x="38862" y="85058"/>
                    <a:pt x="36100" y="95345"/>
                    <a:pt x="34862" y="106204"/>
                  </a:cubicBezTo>
                  <a:lnTo>
                    <a:pt x="183547" y="106204"/>
                  </a:lnTo>
                  <a:close/>
                </a:path>
              </a:pathLst>
            </a:custGeom>
            <a:solidFill>
              <a:srgbClr val="44505E"/>
            </a:solidFill>
            <a:ln w="9525" cap="flat">
              <a:noFill/>
              <a:prstDash val="solid"/>
              <a:miter/>
            </a:ln>
          </p:spPr>
          <p:txBody>
            <a:bodyPr rtlCol="0" anchor="ctr"/>
            <a:lstStyle/>
            <a:p>
              <a:endParaRPr lang="pt-BR" noProof="0"/>
            </a:p>
          </p:txBody>
        </p:sp>
        <p:sp>
          <p:nvSpPr>
            <p:cNvPr id="27" name="Freeform: Shape 39">
              <a:extLst>
                <a:ext uri="{FF2B5EF4-FFF2-40B4-BE49-F238E27FC236}">
                  <a16:creationId xmlns:a16="http://schemas.microsoft.com/office/drawing/2014/main" id="{822EC496-F1C8-D2B1-217D-2D2B59BF1F97}"/>
                </a:ext>
              </a:extLst>
            </p:cNvPr>
            <p:cNvSpPr/>
            <p:nvPr/>
          </p:nvSpPr>
          <p:spPr>
            <a:xfrm>
              <a:off x="5661680" y="924268"/>
              <a:ext cx="44656" cy="60195"/>
            </a:xfrm>
            <a:custGeom>
              <a:avLst/>
              <a:gdLst>
                <a:gd name="connsiteX0" fmla="*/ 95536 w 177641"/>
                <a:gd name="connsiteY0" fmla="*/ 239268 h 239458"/>
                <a:gd name="connsiteX1" fmla="*/ 45053 w 177641"/>
                <a:gd name="connsiteY1" fmla="*/ 230124 h 239458"/>
                <a:gd name="connsiteX2" fmla="*/ 0 w 177641"/>
                <a:gd name="connsiteY2" fmla="*/ 205359 h 239458"/>
                <a:gd name="connsiteX3" fmla="*/ 17431 w 177641"/>
                <a:gd name="connsiteY3" fmla="*/ 180785 h 239458"/>
                <a:gd name="connsiteX4" fmla="*/ 56483 w 177641"/>
                <a:gd name="connsiteY4" fmla="*/ 202692 h 239458"/>
                <a:gd name="connsiteX5" fmla="*/ 97346 w 177641"/>
                <a:gd name="connsiteY5" fmla="*/ 210217 h 239458"/>
                <a:gd name="connsiteX6" fmla="*/ 131731 w 177641"/>
                <a:gd name="connsiteY6" fmla="*/ 200406 h 239458"/>
                <a:gd name="connsiteX7" fmla="*/ 145161 w 177641"/>
                <a:gd name="connsiteY7" fmla="*/ 173641 h 239458"/>
                <a:gd name="connsiteX8" fmla="*/ 145161 w 177641"/>
                <a:gd name="connsiteY8" fmla="*/ 172784 h 239458"/>
                <a:gd name="connsiteX9" fmla="*/ 140494 w 177641"/>
                <a:gd name="connsiteY9" fmla="*/ 158020 h 239458"/>
                <a:gd name="connsiteX10" fmla="*/ 127730 w 177641"/>
                <a:gd name="connsiteY10" fmla="*/ 147066 h 239458"/>
                <a:gd name="connsiteX11" fmla="*/ 109157 w 177641"/>
                <a:gd name="connsiteY11" fmla="*/ 138779 h 239458"/>
                <a:gd name="connsiteX12" fmla="*/ 87535 w 177641"/>
                <a:gd name="connsiteY12" fmla="*/ 132112 h 239458"/>
                <a:gd name="connsiteX13" fmla="*/ 60484 w 177641"/>
                <a:gd name="connsiteY13" fmla="*/ 123444 h 239458"/>
                <a:gd name="connsiteX14" fmla="*/ 35909 w 177641"/>
                <a:gd name="connsiteY14" fmla="*/ 111633 h 239458"/>
                <a:gd name="connsiteX15" fmla="*/ 18098 w 177641"/>
                <a:gd name="connsiteY15" fmla="*/ 93726 h 239458"/>
                <a:gd name="connsiteX16" fmla="*/ 11144 w 177641"/>
                <a:gd name="connsiteY16" fmla="*/ 66961 h 239458"/>
                <a:gd name="connsiteX17" fmla="*/ 11144 w 177641"/>
                <a:gd name="connsiteY17" fmla="*/ 66008 h 239458"/>
                <a:gd name="connsiteX18" fmla="*/ 16954 w 177641"/>
                <a:gd name="connsiteY18" fmla="*/ 39053 h 239458"/>
                <a:gd name="connsiteX19" fmla="*/ 33242 w 177641"/>
                <a:gd name="connsiteY19" fmla="*/ 18098 h 239458"/>
                <a:gd name="connsiteX20" fmla="*/ 58293 w 177641"/>
                <a:gd name="connsiteY20" fmla="*/ 4667 h 239458"/>
                <a:gd name="connsiteX21" fmla="*/ 89725 w 177641"/>
                <a:gd name="connsiteY21" fmla="*/ 0 h 239458"/>
                <a:gd name="connsiteX22" fmla="*/ 133064 w 177641"/>
                <a:gd name="connsiteY22" fmla="*/ 6953 h 239458"/>
                <a:gd name="connsiteX23" fmla="*/ 172784 w 177641"/>
                <a:gd name="connsiteY23" fmla="*/ 25527 h 239458"/>
                <a:gd name="connsiteX24" fmla="*/ 157163 w 177641"/>
                <a:gd name="connsiteY24" fmla="*/ 51435 h 239458"/>
                <a:gd name="connsiteX25" fmla="*/ 123444 w 177641"/>
                <a:gd name="connsiteY25" fmla="*/ 35147 h 239458"/>
                <a:gd name="connsiteX26" fmla="*/ 88868 w 177641"/>
                <a:gd name="connsiteY26" fmla="*/ 29146 h 239458"/>
                <a:gd name="connsiteX27" fmla="*/ 56293 w 177641"/>
                <a:gd name="connsiteY27" fmla="*/ 38767 h 239458"/>
                <a:gd name="connsiteX28" fmla="*/ 44196 w 177641"/>
                <a:gd name="connsiteY28" fmla="*/ 62675 h 239458"/>
                <a:gd name="connsiteX29" fmla="*/ 44196 w 177641"/>
                <a:gd name="connsiteY29" fmla="*/ 63627 h 239458"/>
                <a:gd name="connsiteX30" fmla="*/ 49149 w 177641"/>
                <a:gd name="connsiteY30" fmla="*/ 77724 h 239458"/>
                <a:gd name="connsiteX31" fmla="*/ 62294 w 177641"/>
                <a:gd name="connsiteY31" fmla="*/ 88202 h 239458"/>
                <a:gd name="connsiteX32" fmla="*/ 81248 w 177641"/>
                <a:gd name="connsiteY32" fmla="*/ 96203 h 239458"/>
                <a:gd name="connsiteX33" fmla="*/ 103537 w 177641"/>
                <a:gd name="connsiteY33" fmla="*/ 103346 h 239458"/>
                <a:gd name="connsiteX34" fmla="*/ 130112 w 177641"/>
                <a:gd name="connsiteY34" fmla="*/ 112300 h 239458"/>
                <a:gd name="connsiteX35" fmla="*/ 154019 w 177641"/>
                <a:gd name="connsiteY35" fmla="*/ 124778 h 239458"/>
                <a:gd name="connsiteX36" fmla="*/ 171164 w 177641"/>
                <a:gd name="connsiteY36" fmla="*/ 143066 h 239458"/>
                <a:gd name="connsiteX37" fmla="*/ 177641 w 177641"/>
                <a:gd name="connsiteY37" fmla="*/ 169450 h 239458"/>
                <a:gd name="connsiteX38" fmla="*/ 177641 w 177641"/>
                <a:gd name="connsiteY38" fmla="*/ 170307 h 239458"/>
                <a:gd name="connsiteX39" fmla="*/ 171164 w 177641"/>
                <a:gd name="connsiteY39" fmla="*/ 199549 h 239458"/>
                <a:gd name="connsiteX40" fmla="*/ 153734 w 177641"/>
                <a:gd name="connsiteY40" fmla="*/ 221171 h 239458"/>
                <a:gd name="connsiteX41" fmla="*/ 127825 w 177641"/>
                <a:gd name="connsiteY41" fmla="*/ 234791 h 239458"/>
                <a:gd name="connsiteX42" fmla="*/ 95441 w 177641"/>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641" h="239458">
                  <a:moveTo>
                    <a:pt x="95536" y="239268"/>
                  </a:moveTo>
                  <a:cubicBezTo>
                    <a:pt x="78867" y="239268"/>
                    <a:pt x="62008" y="236220"/>
                    <a:pt x="45053" y="230124"/>
                  </a:cubicBezTo>
                  <a:cubicBezTo>
                    <a:pt x="28099" y="224028"/>
                    <a:pt x="13049" y="215741"/>
                    <a:pt x="0" y="205359"/>
                  </a:cubicBezTo>
                  <a:lnTo>
                    <a:pt x="17431" y="180785"/>
                  </a:lnTo>
                  <a:cubicBezTo>
                    <a:pt x="29908"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542" y="162211"/>
                    <a:pt x="140494" y="158020"/>
                  </a:cubicBezTo>
                  <a:cubicBezTo>
                    <a:pt x="137350" y="153829"/>
                    <a:pt x="133160" y="150209"/>
                    <a:pt x="127730" y="147066"/>
                  </a:cubicBezTo>
                  <a:cubicBezTo>
                    <a:pt x="122396" y="143923"/>
                    <a:pt x="116205" y="141161"/>
                    <a:pt x="109157" y="138779"/>
                  </a:cubicBezTo>
                  <a:cubicBezTo>
                    <a:pt x="102203" y="136398"/>
                    <a:pt x="94964" y="134207"/>
                    <a:pt x="87535" y="132112"/>
                  </a:cubicBezTo>
                  <a:cubicBezTo>
                    <a:pt x="78581" y="129445"/>
                    <a:pt x="69628" y="126492"/>
                    <a:pt x="60484" y="123444"/>
                  </a:cubicBezTo>
                  <a:cubicBezTo>
                    <a:pt x="51435" y="120301"/>
                    <a:pt x="43244" y="116396"/>
                    <a:pt x="35909" y="111633"/>
                  </a:cubicBezTo>
                  <a:cubicBezTo>
                    <a:pt x="28575" y="106871"/>
                    <a:pt x="22670" y="100870"/>
                    <a:pt x="18098" y="93726"/>
                  </a:cubicBezTo>
                  <a:cubicBezTo>
                    <a:pt x="13525" y="86582"/>
                    <a:pt x="11144" y="77629"/>
                    <a:pt x="11144" y="66961"/>
                  </a:cubicBezTo>
                  <a:lnTo>
                    <a:pt x="11144" y="66008"/>
                  </a:lnTo>
                  <a:cubicBezTo>
                    <a:pt x="11144" y="56198"/>
                    <a:pt x="13049" y="47149"/>
                    <a:pt x="16954" y="39053"/>
                  </a:cubicBezTo>
                  <a:cubicBezTo>
                    <a:pt x="20860" y="30861"/>
                    <a:pt x="26289" y="23908"/>
                    <a:pt x="33242" y="18098"/>
                  </a:cubicBezTo>
                  <a:cubicBezTo>
                    <a:pt x="40196" y="12287"/>
                    <a:pt x="48578" y="7811"/>
                    <a:pt x="58293" y="4667"/>
                  </a:cubicBezTo>
                  <a:cubicBezTo>
                    <a:pt x="67913" y="1524"/>
                    <a:pt x="78486" y="0"/>
                    <a:pt x="89725" y="0"/>
                  </a:cubicBezTo>
                  <a:cubicBezTo>
                    <a:pt x="104013" y="0"/>
                    <a:pt x="118396" y="2286"/>
                    <a:pt x="133064" y="6953"/>
                  </a:cubicBezTo>
                  <a:cubicBezTo>
                    <a:pt x="147638" y="11621"/>
                    <a:pt x="160877" y="17717"/>
                    <a:pt x="172784" y="25527"/>
                  </a:cubicBezTo>
                  <a:lnTo>
                    <a:pt x="157163" y="51435"/>
                  </a:lnTo>
                  <a:cubicBezTo>
                    <a:pt x="146399" y="44577"/>
                    <a:pt x="135255" y="39148"/>
                    <a:pt x="123444" y="35147"/>
                  </a:cubicBezTo>
                  <a:cubicBezTo>
                    <a:pt x="111728" y="31147"/>
                    <a:pt x="100203" y="29146"/>
                    <a:pt x="88868" y="29146"/>
                  </a:cubicBezTo>
                  <a:cubicBezTo>
                    <a:pt x="75152" y="29146"/>
                    <a:pt x="64294" y="32385"/>
                    <a:pt x="56293" y="38767"/>
                  </a:cubicBezTo>
                  <a:cubicBezTo>
                    <a:pt x="48292" y="45149"/>
                    <a:pt x="44196" y="53150"/>
                    <a:pt x="44196" y="62675"/>
                  </a:cubicBezTo>
                  <a:lnTo>
                    <a:pt x="44196" y="63627"/>
                  </a:lnTo>
                  <a:cubicBezTo>
                    <a:pt x="44196" y="68961"/>
                    <a:pt x="45815" y="73628"/>
                    <a:pt x="49149" y="77724"/>
                  </a:cubicBezTo>
                  <a:cubicBezTo>
                    <a:pt x="52388" y="81725"/>
                    <a:pt x="56769" y="85249"/>
                    <a:pt x="62294" y="88202"/>
                  </a:cubicBezTo>
                  <a:cubicBezTo>
                    <a:pt x="67818" y="91154"/>
                    <a:pt x="74104" y="93821"/>
                    <a:pt x="81248" y="96203"/>
                  </a:cubicBezTo>
                  <a:cubicBezTo>
                    <a:pt x="88392" y="98584"/>
                    <a:pt x="95821" y="100965"/>
                    <a:pt x="103537" y="103346"/>
                  </a:cubicBezTo>
                  <a:cubicBezTo>
                    <a:pt x="112490" y="106013"/>
                    <a:pt x="121349" y="108966"/>
                    <a:pt x="130112" y="112300"/>
                  </a:cubicBezTo>
                  <a:cubicBezTo>
                    <a:pt x="138875" y="115538"/>
                    <a:pt x="146875" y="119729"/>
                    <a:pt x="154019" y="124778"/>
                  </a:cubicBezTo>
                  <a:cubicBezTo>
                    <a:pt x="161163" y="129826"/>
                    <a:pt x="166878" y="135922"/>
                    <a:pt x="171164" y="143066"/>
                  </a:cubicBezTo>
                  <a:cubicBezTo>
                    <a:pt x="175450" y="150209"/>
                    <a:pt x="177641" y="158972"/>
                    <a:pt x="177641" y="169450"/>
                  </a:cubicBezTo>
                  <a:lnTo>
                    <a:pt x="177641" y="170307"/>
                  </a:lnTo>
                  <a:cubicBezTo>
                    <a:pt x="177641" y="181356"/>
                    <a:pt x="175450" y="191071"/>
                    <a:pt x="171164" y="199549"/>
                  </a:cubicBezTo>
                  <a:cubicBezTo>
                    <a:pt x="166878" y="208026"/>
                    <a:pt x="161068" y="215265"/>
                    <a:pt x="153734" y="221171"/>
                  </a:cubicBezTo>
                  <a:cubicBezTo>
                    <a:pt x="146495" y="227171"/>
                    <a:pt x="137827" y="231648"/>
                    <a:pt x="127825" y="234791"/>
                  </a:cubicBezTo>
                  <a:cubicBezTo>
                    <a:pt x="117824" y="237935"/>
                    <a:pt x="107061" y="239459"/>
                    <a:pt x="95441" y="239459"/>
                  </a:cubicBezTo>
                  <a:close/>
                </a:path>
              </a:pathLst>
            </a:custGeom>
            <a:solidFill>
              <a:srgbClr val="44505E"/>
            </a:solidFill>
            <a:ln w="9525" cap="flat">
              <a:noFill/>
              <a:prstDash val="solid"/>
              <a:miter/>
            </a:ln>
          </p:spPr>
          <p:txBody>
            <a:bodyPr rtlCol="0" anchor="ctr"/>
            <a:lstStyle/>
            <a:p>
              <a:endParaRPr lang="pt-BR" noProof="0"/>
            </a:p>
          </p:txBody>
        </p:sp>
        <p:sp>
          <p:nvSpPr>
            <p:cNvPr id="28" name="Freeform: Shape 40">
              <a:extLst>
                <a:ext uri="{FF2B5EF4-FFF2-40B4-BE49-F238E27FC236}">
                  <a16:creationId xmlns:a16="http://schemas.microsoft.com/office/drawing/2014/main" id="{EDB124D1-BB86-6C27-1A71-210E218A9196}"/>
                </a:ext>
              </a:extLst>
            </p:cNvPr>
            <p:cNvSpPr/>
            <p:nvPr/>
          </p:nvSpPr>
          <p:spPr>
            <a:xfrm>
              <a:off x="5752668" y="924028"/>
              <a:ext cx="58567" cy="77196"/>
            </a:xfrm>
            <a:custGeom>
              <a:avLst/>
              <a:gdLst>
                <a:gd name="connsiteX0" fmla="*/ 198596 w 232981"/>
                <a:gd name="connsiteY0" fmla="*/ 189357 h 307085"/>
                <a:gd name="connsiteX1" fmla="*/ 182785 w 232981"/>
                <a:gd name="connsiteY1" fmla="*/ 208978 h 307085"/>
                <a:gd name="connsiteX2" fmla="*/ 163354 w 232981"/>
                <a:gd name="connsiteY2" fmla="*/ 225552 h 307085"/>
                <a:gd name="connsiteX3" fmla="*/ 139446 w 232981"/>
                <a:gd name="connsiteY3" fmla="*/ 236696 h 307085"/>
                <a:gd name="connsiteX4" fmla="*/ 110204 w 232981"/>
                <a:gd name="connsiteY4" fmla="*/ 240697 h 307085"/>
                <a:gd name="connsiteX5" fmla="*/ 69628 w 232981"/>
                <a:gd name="connsiteY5" fmla="*/ 232696 h 307085"/>
                <a:gd name="connsiteX6" fmla="*/ 34385 w 232981"/>
                <a:gd name="connsiteY6" fmla="*/ 209264 h 307085"/>
                <a:gd name="connsiteX7" fmla="*/ 9335 w 232981"/>
                <a:gd name="connsiteY7" fmla="*/ 171736 h 307085"/>
                <a:gd name="connsiteX8" fmla="*/ 0 w 232981"/>
                <a:gd name="connsiteY8" fmla="*/ 121063 h 307085"/>
                <a:gd name="connsiteX9" fmla="*/ 0 w 232981"/>
                <a:gd name="connsiteY9" fmla="*/ 120205 h 307085"/>
                <a:gd name="connsiteX10" fmla="*/ 9335 w 232981"/>
                <a:gd name="connsiteY10" fmla="*/ 69723 h 307085"/>
                <a:gd name="connsiteX11" fmla="*/ 34385 w 232981"/>
                <a:gd name="connsiteY11" fmla="*/ 32004 h 307085"/>
                <a:gd name="connsiteX12" fmla="*/ 69628 w 232981"/>
                <a:gd name="connsiteY12" fmla="*/ 8287 h 307085"/>
                <a:gd name="connsiteX13" fmla="*/ 110204 w 232981"/>
                <a:gd name="connsiteY13" fmla="*/ 0 h 307085"/>
                <a:gd name="connsiteX14" fmla="*/ 139637 w 232981"/>
                <a:gd name="connsiteY14" fmla="*/ 4000 h 307085"/>
                <a:gd name="connsiteX15" fmla="*/ 163735 w 232981"/>
                <a:gd name="connsiteY15" fmla="*/ 14668 h 307085"/>
                <a:gd name="connsiteX16" fmla="*/ 183166 w 232981"/>
                <a:gd name="connsiteY16" fmla="*/ 30289 h 307085"/>
                <a:gd name="connsiteX17" fmla="*/ 198596 w 232981"/>
                <a:gd name="connsiteY17" fmla="*/ 49054 h 307085"/>
                <a:gd name="connsiteX18" fmla="*/ 198596 w 232981"/>
                <a:gd name="connsiteY18" fmla="*/ 4858 h 307085"/>
                <a:gd name="connsiteX19" fmla="*/ 232982 w 232981"/>
                <a:gd name="connsiteY19" fmla="*/ 4858 h 307085"/>
                <a:gd name="connsiteX20" fmla="*/ 232982 w 232981"/>
                <a:gd name="connsiteY20" fmla="*/ 307086 h 307085"/>
                <a:gd name="connsiteX21" fmla="*/ 198596 w 232981"/>
                <a:gd name="connsiteY21" fmla="*/ 307086 h 307085"/>
                <a:gd name="connsiteX22" fmla="*/ 198596 w 232981"/>
                <a:gd name="connsiteY22" fmla="*/ 189262 h 307085"/>
                <a:gd name="connsiteX23" fmla="*/ 116491 w 232981"/>
                <a:gd name="connsiteY23" fmla="*/ 209931 h 307085"/>
                <a:gd name="connsiteX24" fmla="*/ 147542 w 232981"/>
                <a:gd name="connsiteY24" fmla="*/ 203454 h 307085"/>
                <a:gd name="connsiteX25" fmla="*/ 174308 w 232981"/>
                <a:gd name="connsiteY25" fmla="*/ 185166 h 307085"/>
                <a:gd name="connsiteX26" fmla="*/ 193072 w 232981"/>
                <a:gd name="connsiteY26" fmla="*/ 157067 h 307085"/>
                <a:gd name="connsiteX27" fmla="*/ 200025 w 232981"/>
                <a:gd name="connsiteY27" fmla="*/ 120682 h 307085"/>
                <a:gd name="connsiteX28" fmla="*/ 200025 w 232981"/>
                <a:gd name="connsiteY28" fmla="*/ 119824 h 307085"/>
                <a:gd name="connsiteX29" fmla="*/ 193072 w 232981"/>
                <a:gd name="connsiteY29" fmla="*/ 83439 h 307085"/>
                <a:gd name="connsiteX30" fmla="*/ 174308 w 232981"/>
                <a:gd name="connsiteY30" fmla="*/ 55531 h 307085"/>
                <a:gd name="connsiteX31" fmla="*/ 147542 w 232981"/>
                <a:gd name="connsiteY31" fmla="*/ 37433 h 307085"/>
                <a:gd name="connsiteX32" fmla="*/ 116491 w 232981"/>
                <a:gd name="connsiteY32" fmla="*/ 30956 h 307085"/>
                <a:gd name="connsiteX33" fmla="*/ 84773 w 232981"/>
                <a:gd name="connsiteY33" fmla="*/ 36957 h 307085"/>
                <a:gd name="connsiteX34" fmla="*/ 59150 w 232981"/>
                <a:gd name="connsiteY34" fmla="*/ 54388 h 307085"/>
                <a:gd name="connsiteX35" fmla="*/ 41720 w 232981"/>
                <a:gd name="connsiteY35" fmla="*/ 82296 h 307085"/>
                <a:gd name="connsiteX36" fmla="*/ 35242 w 232981"/>
                <a:gd name="connsiteY36" fmla="*/ 119824 h 307085"/>
                <a:gd name="connsiteX37" fmla="*/ 35242 w 232981"/>
                <a:gd name="connsiteY37" fmla="*/ 120682 h 307085"/>
                <a:gd name="connsiteX38" fmla="*/ 41720 w 232981"/>
                <a:gd name="connsiteY38" fmla="*/ 157734 h 307085"/>
                <a:gd name="connsiteX39" fmla="*/ 59341 w 232981"/>
                <a:gd name="connsiteY39" fmla="*/ 185833 h 307085"/>
                <a:gd name="connsiteX40" fmla="*/ 85249 w 232981"/>
                <a:gd name="connsiteY40" fmla="*/ 203740 h 307085"/>
                <a:gd name="connsiteX41" fmla="*/ 116491 w 232981"/>
                <a:gd name="connsiteY41" fmla="*/ 210026 h 30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07085">
                  <a:moveTo>
                    <a:pt x="198596" y="189357"/>
                  </a:moveTo>
                  <a:cubicBezTo>
                    <a:pt x="193834" y="196215"/>
                    <a:pt x="188595" y="202787"/>
                    <a:pt x="182785" y="208978"/>
                  </a:cubicBezTo>
                  <a:cubicBezTo>
                    <a:pt x="176975" y="215265"/>
                    <a:pt x="170498" y="220789"/>
                    <a:pt x="163354" y="225552"/>
                  </a:cubicBezTo>
                  <a:cubicBezTo>
                    <a:pt x="156210" y="230314"/>
                    <a:pt x="148209" y="234029"/>
                    <a:pt x="139446" y="236696"/>
                  </a:cubicBezTo>
                  <a:cubicBezTo>
                    <a:pt x="130683" y="239363"/>
                    <a:pt x="120967" y="240697"/>
                    <a:pt x="110204" y="240697"/>
                  </a:cubicBezTo>
                  <a:cubicBezTo>
                    <a:pt x="96203" y="240697"/>
                    <a:pt x="82677" y="238030"/>
                    <a:pt x="69628" y="232696"/>
                  </a:cubicBezTo>
                  <a:cubicBezTo>
                    <a:pt x="56579" y="227362"/>
                    <a:pt x="44767" y="219551"/>
                    <a:pt x="34385" y="209264"/>
                  </a:cubicBezTo>
                  <a:cubicBezTo>
                    <a:pt x="24003" y="198977"/>
                    <a:pt x="15621" y="186499"/>
                    <a:pt x="9335" y="171736"/>
                  </a:cubicBezTo>
                  <a:cubicBezTo>
                    <a:pt x="3048" y="156972"/>
                    <a:pt x="0" y="140113"/>
                    <a:pt x="0" y="121063"/>
                  </a:cubicBezTo>
                  <a:lnTo>
                    <a:pt x="0" y="120205"/>
                  </a:lnTo>
                  <a:cubicBezTo>
                    <a:pt x="0" y="101441"/>
                    <a:pt x="3143" y="84677"/>
                    <a:pt x="9335" y="69723"/>
                  </a:cubicBezTo>
                  <a:cubicBezTo>
                    <a:pt x="15621" y="54864"/>
                    <a:pt x="23908" y="42291"/>
                    <a:pt x="34385" y="32004"/>
                  </a:cubicBezTo>
                  <a:cubicBezTo>
                    <a:pt x="44767" y="21717"/>
                    <a:pt x="56579" y="13811"/>
                    <a:pt x="69628" y="8287"/>
                  </a:cubicBezTo>
                  <a:cubicBezTo>
                    <a:pt x="82677" y="2762"/>
                    <a:pt x="96298" y="0"/>
                    <a:pt x="110204" y="0"/>
                  </a:cubicBezTo>
                  <a:cubicBezTo>
                    <a:pt x="120967" y="0"/>
                    <a:pt x="130778" y="1333"/>
                    <a:pt x="139637" y="4000"/>
                  </a:cubicBezTo>
                  <a:cubicBezTo>
                    <a:pt x="148590" y="6667"/>
                    <a:pt x="156591" y="10287"/>
                    <a:pt x="163735" y="14668"/>
                  </a:cubicBezTo>
                  <a:cubicBezTo>
                    <a:pt x="170879" y="19145"/>
                    <a:pt x="177356" y="24384"/>
                    <a:pt x="183166" y="30289"/>
                  </a:cubicBezTo>
                  <a:cubicBezTo>
                    <a:pt x="188976" y="36290"/>
                    <a:pt x="194120" y="42481"/>
                    <a:pt x="198596" y="49054"/>
                  </a:cubicBezTo>
                  <a:lnTo>
                    <a:pt x="198596" y="4858"/>
                  </a:lnTo>
                  <a:lnTo>
                    <a:pt x="232982" y="4858"/>
                  </a:lnTo>
                  <a:lnTo>
                    <a:pt x="232982" y="307086"/>
                  </a:lnTo>
                  <a:lnTo>
                    <a:pt x="198596" y="307086"/>
                  </a:lnTo>
                  <a:lnTo>
                    <a:pt x="198596" y="189262"/>
                  </a:lnTo>
                  <a:close/>
                  <a:moveTo>
                    <a:pt x="116491" y="209931"/>
                  </a:moveTo>
                  <a:cubicBezTo>
                    <a:pt x="127159" y="209931"/>
                    <a:pt x="137541" y="207740"/>
                    <a:pt x="147542" y="203454"/>
                  </a:cubicBezTo>
                  <a:cubicBezTo>
                    <a:pt x="157544" y="199168"/>
                    <a:pt x="166402" y="193072"/>
                    <a:pt x="174308" y="185166"/>
                  </a:cubicBezTo>
                  <a:cubicBezTo>
                    <a:pt x="182213" y="177260"/>
                    <a:pt x="188404" y="167926"/>
                    <a:pt x="193072" y="157067"/>
                  </a:cubicBezTo>
                  <a:cubicBezTo>
                    <a:pt x="197739" y="146209"/>
                    <a:pt x="200025" y="134112"/>
                    <a:pt x="200025" y="120682"/>
                  </a:cubicBezTo>
                  <a:lnTo>
                    <a:pt x="200025" y="119824"/>
                  </a:lnTo>
                  <a:cubicBezTo>
                    <a:pt x="200025" y="106394"/>
                    <a:pt x="197739" y="94297"/>
                    <a:pt x="193072" y="83439"/>
                  </a:cubicBezTo>
                  <a:cubicBezTo>
                    <a:pt x="188500" y="72580"/>
                    <a:pt x="182213" y="63246"/>
                    <a:pt x="174308" y="55531"/>
                  </a:cubicBezTo>
                  <a:cubicBezTo>
                    <a:pt x="166402" y="47815"/>
                    <a:pt x="157544" y="41815"/>
                    <a:pt x="147542" y="37433"/>
                  </a:cubicBezTo>
                  <a:cubicBezTo>
                    <a:pt x="137541" y="33147"/>
                    <a:pt x="127254" y="30956"/>
                    <a:pt x="116491" y="30956"/>
                  </a:cubicBezTo>
                  <a:cubicBezTo>
                    <a:pt x="105156" y="30956"/>
                    <a:pt x="94583" y="32956"/>
                    <a:pt x="84773" y="36957"/>
                  </a:cubicBezTo>
                  <a:cubicBezTo>
                    <a:pt x="74962" y="40957"/>
                    <a:pt x="66389" y="46767"/>
                    <a:pt x="59150" y="54388"/>
                  </a:cubicBezTo>
                  <a:cubicBezTo>
                    <a:pt x="51816" y="61913"/>
                    <a:pt x="46101" y="71247"/>
                    <a:pt x="41720" y="82296"/>
                  </a:cubicBezTo>
                  <a:cubicBezTo>
                    <a:pt x="37433" y="93250"/>
                    <a:pt x="35242" y="105823"/>
                    <a:pt x="35242" y="119824"/>
                  </a:cubicBezTo>
                  <a:lnTo>
                    <a:pt x="35242" y="120682"/>
                  </a:lnTo>
                  <a:cubicBezTo>
                    <a:pt x="35242" y="134398"/>
                    <a:pt x="37433" y="146780"/>
                    <a:pt x="41720" y="157734"/>
                  </a:cubicBezTo>
                  <a:cubicBezTo>
                    <a:pt x="46006" y="168783"/>
                    <a:pt x="51911" y="178117"/>
                    <a:pt x="59341" y="185833"/>
                  </a:cubicBezTo>
                  <a:cubicBezTo>
                    <a:pt x="66770" y="193548"/>
                    <a:pt x="75438" y="199549"/>
                    <a:pt x="85249" y="203740"/>
                  </a:cubicBezTo>
                  <a:cubicBezTo>
                    <a:pt x="95060" y="207931"/>
                    <a:pt x="105442" y="210026"/>
                    <a:pt x="116491" y="210026"/>
                  </a:cubicBezTo>
                  <a:close/>
                </a:path>
              </a:pathLst>
            </a:custGeom>
            <a:solidFill>
              <a:srgbClr val="44505E"/>
            </a:solidFill>
            <a:ln w="9525" cap="flat">
              <a:noFill/>
              <a:prstDash val="solid"/>
              <a:miter/>
            </a:ln>
          </p:spPr>
          <p:txBody>
            <a:bodyPr rtlCol="0" anchor="ctr"/>
            <a:lstStyle/>
            <a:p>
              <a:endParaRPr lang="pt-BR" noProof="0"/>
            </a:p>
          </p:txBody>
        </p:sp>
        <p:sp>
          <p:nvSpPr>
            <p:cNvPr id="29" name="Freeform: Shape 41">
              <a:extLst>
                <a:ext uri="{FF2B5EF4-FFF2-40B4-BE49-F238E27FC236}">
                  <a16:creationId xmlns:a16="http://schemas.microsoft.com/office/drawing/2014/main" id="{06594537-39B8-2EF1-4D91-A90DD0D40DC5}"/>
                </a:ext>
              </a:extLst>
            </p:cNvPr>
            <p:cNvSpPr/>
            <p:nvPr/>
          </p:nvSpPr>
          <p:spPr>
            <a:xfrm>
              <a:off x="5829624" y="925297"/>
              <a:ext cx="50618" cy="59238"/>
            </a:xfrm>
            <a:custGeom>
              <a:avLst/>
              <a:gdLst>
                <a:gd name="connsiteX0" fmla="*/ 88392 w 201358"/>
                <a:gd name="connsiteY0" fmla="*/ 235648 h 235648"/>
                <a:gd name="connsiteX1" fmla="*/ 51149 w 201358"/>
                <a:gd name="connsiteY1" fmla="*/ 228981 h 235648"/>
                <a:gd name="connsiteX2" fmla="*/ 23432 w 201358"/>
                <a:gd name="connsiteY2" fmla="*/ 210026 h 235648"/>
                <a:gd name="connsiteX3" fmla="*/ 6001 w 201358"/>
                <a:gd name="connsiteY3" fmla="*/ 180784 h 235648"/>
                <a:gd name="connsiteX4" fmla="*/ 0 w 201358"/>
                <a:gd name="connsiteY4" fmla="*/ 143256 h 235648"/>
                <a:gd name="connsiteX5" fmla="*/ 0 w 201358"/>
                <a:gd name="connsiteY5" fmla="*/ 0 h 235648"/>
                <a:gd name="connsiteX6" fmla="*/ 34385 w 201358"/>
                <a:gd name="connsiteY6" fmla="*/ 0 h 235648"/>
                <a:gd name="connsiteX7" fmla="*/ 34385 w 201358"/>
                <a:gd name="connsiteY7" fmla="*/ 134493 h 235648"/>
                <a:gd name="connsiteX8" fmla="*/ 50959 w 201358"/>
                <a:gd name="connsiteY8" fmla="*/ 185261 h 235648"/>
                <a:gd name="connsiteX9" fmla="*/ 98298 w 201358"/>
                <a:gd name="connsiteY9" fmla="*/ 203930 h 235648"/>
                <a:gd name="connsiteX10" fmla="*/ 125730 w 201358"/>
                <a:gd name="connsiteY10" fmla="*/ 198787 h 235648"/>
                <a:gd name="connsiteX11" fmla="*/ 147638 w 201358"/>
                <a:gd name="connsiteY11" fmla="*/ 184118 h 235648"/>
                <a:gd name="connsiteX12" fmla="*/ 162116 w 201358"/>
                <a:gd name="connsiteY12" fmla="*/ 161163 h 235648"/>
                <a:gd name="connsiteX13" fmla="*/ 167450 w 201358"/>
                <a:gd name="connsiteY13" fmla="*/ 131826 h 235648"/>
                <a:gd name="connsiteX14" fmla="*/ 167450 w 201358"/>
                <a:gd name="connsiteY14" fmla="*/ 0 h 235648"/>
                <a:gd name="connsiteX15" fmla="*/ 201359 w 201358"/>
                <a:gd name="connsiteY15" fmla="*/ 0 h 235648"/>
                <a:gd name="connsiteX16" fmla="*/ 201359 w 201358"/>
                <a:gd name="connsiteY16" fmla="*/ 230791 h 235648"/>
                <a:gd name="connsiteX17" fmla="*/ 167450 w 201358"/>
                <a:gd name="connsiteY17" fmla="*/ 230791 h 235648"/>
                <a:gd name="connsiteX18" fmla="*/ 167450 w 201358"/>
                <a:gd name="connsiteY18" fmla="*/ 190595 h 235648"/>
                <a:gd name="connsiteX19" fmla="*/ 137065 w 201358"/>
                <a:gd name="connsiteY19" fmla="*/ 222504 h 235648"/>
                <a:gd name="connsiteX20" fmla="*/ 88392 w 201358"/>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358" h="235648">
                  <a:moveTo>
                    <a:pt x="88392" y="235648"/>
                  </a:moveTo>
                  <a:cubicBezTo>
                    <a:pt x="74390" y="235648"/>
                    <a:pt x="62008" y="233363"/>
                    <a:pt x="51149" y="228981"/>
                  </a:cubicBezTo>
                  <a:cubicBezTo>
                    <a:pt x="40291" y="224504"/>
                    <a:pt x="31052" y="218218"/>
                    <a:pt x="23432"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959" y="185261"/>
                  </a:cubicBezTo>
                  <a:cubicBezTo>
                    <a:pt x="61913" y="197739"/>
                    <a:pt x="77724" y="203930"/>
                    <a:pt x="98298" y="203930"/>
                  </a:cubicBezTo>
                  <a:cubicBezTo>
                    <a:pt x="108109" y="203930"/>
                    <a:pt x="117253" y="202216"/>
                    <a:pt x="125730" y="198787"/>
                  </a:cubicBezTo>
                  <a:cubicBezTo>
                    <a:pt x="134207" y="195358"/>
                    <a:pt x="141446" y="190500"/>
                    <a:pt x="147638" y="184118"/>
                  </a:cubicBezTo>
                  <a:cubicBezTo>
                    <a:pt x="153734" y="177736"/>
                    <a:pt x="158591" y="170116"/>
                    <a:pt x="162116" y="161163"/>
                  </a:cubicBezTo>
                  <a:cubicBezTo>
                    <a:pt x="165735" y="152305"/>
                    <a:pt x="167450" y="142494"/>
                    <a:pt x="167450" y="131826"/>
                  </a:cubicBezTo>
                  <a:lnTo>
                    <a:pt x="167450" y="0"/>
                  </a:lnTo>
                  <a:lnTo>
                    <a:pt x="201359" y="0"/>
                  </a:lnTo>
                  <a:lnTo>
                    <a:pt x="201359" y="230791"/>
                  </a:lnTo>
                  <a:lnTo>
                    <a:pt x="167450" y="230791"/>
                  </a:lnTo>
                  <a:lnTo>
                    <a:pt x="167450" y="190595"/>
                  </a:lnTo>
                  <a:cubicBezTo>
                    <a:pt x="159734" y="203073"/>
                    <a:pt x="149543" y="213741"/>
                    <a:pt x="137065" y="222504"/>
                  </a:cubicBezTo>
                  <a:cubicBezTo>
                    <a:pt x="124587" y="231267"/>
                    <a:pt x="108395" y="235648"/>
                    <a:pt x="88392" y="235648"/>
                  </a:cubicBezTo>
                  <a:close/>
                </a:path>
              </a:pathLst>
            </a:custGeom>
            <a:solidFill>
              <a:srgbClr val="44505E"/>
            </a:solidFill>
            <a:ln w="9525" cap="flat">
              <a:noFill/>
              <a:prstDash val="solid"/>
              <a:miter/>
            </a:ln>
          </p:spPr>
          <p:txBody>
            <a:bodyPr rtlCol="0" anchor="ctr"/>
            <a:lstStyle/>
            <a:p>
              <a:endParaRPr lang="pt-BR" noProof="0"/>
            </a:p>
          </p:txBody>
        </p:sp>
        <p:sp>
          <p:nvSpPr>
            <p:cNvPr id="30" name="Freeform: Shape 42">
              <a:extLst>
                <a:ext uri="{FF2B5EF4-FFF2-40B4-BE49-F238E27FC236}">
                  <a16:creationId xmlns:a16="http://schemas.microsoft.com/office/drawing/2014/main" id="{88D2E967-E38C-120A-791E-AC760B342D3F}"/>
                </a:ext>
              </a:extLst>
            </p:cNvPr>
            <p:cNvSpPr/>
            <p:nvPr/>
          </p:nvSpPr>
          <p:spPr>
            <a:xfrm>
              <a:off x="5896069"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7059 w 218217"/>
                <a:gd name="connsiteY3" fmla="*/ 206026 h 241077"/>
                <a:gd name="connsiteX4" fmla="*/ 116110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7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0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356 w 218217"/>
                <a:gd name="connsiteY25" fmla="*/ 106299 h 241077"/>
                <a:gd name="connsiteX26" fmla="*/ 176689 w 218217"/>
                <a:gd name="connsiteY26" fmla="*/ 76771 h 241077"/>
                <a:gd name="connsiteX27" fmla="*/ 162211 w 218217"/>
                <a:gd name="connsiteY27" fmla="*/ 52101 h 241077"/>
                <a:gd name="connsiteX28" fmla="*/ 139922 w 218217"/>
                <a:gd name="connsiteY28" fmla="*/ 35242 h 241077"/>
                <a:gd name="connsiteX29" fmla="*/ 109823 w 218217"/>
                <a:gd name="connsiteY29" fmla="*/ 29051 h 241077"/>
                <a:gd name="connsiteX30" fmla="*/ 82105 w 218217"/>
                <a:gd name="connsiteY30" fmla="*/ 34766 h 241077"/>
                <a:gd name="connsiteX31" fmla="*/ 59341 w 218217"/>
                <a:gd name="connsiteY31" fmla="*/ 50959 h 241077"/>
                <a:gd name="connsiteX32" fmla="*/ 43053 w 218217"/>
                <a:gd name="connsiteY32" fmla="*/ 75628 h 241077"/>
                <a:gd name="connsiteX33" fmla="*/ 34766 w 218217"/>
                <a:gd name="connsiteY33" fmla="*/ 106204 h 241077"/>
                <a:gd name="connsiteX34" fmla="*/ 183356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819" y="202597"/>
                    <a:pt x="87059" y="206026"/>
                  </a:cubicBezTo>
                  <a:cubicBezTo>
                    <a:pt x="96298" y="209455"/>
                    <a:pt x="105918" y="211169"/>
                    <a:pt x="116110" y="211169"/>
                  </a:cubicBezTo>
                  <a:cubicBezTo>
                    <a:pt x="132207" y="211169"/>
                    <a:pt x="145923" y="208216"/>
                    <a:pt x="157353" y="202216"/>
                  </a:cubicBezTo>
                  <a:cubicBezTo>
                    <a:pt x="168783" y="196310"/>
                    <a:pt x="179261" y="188404"/>
                    <a:pt x="188786" y="178594"/>
                  </a:cubicBezTo>
                  <a:lnTo>
                    <a:pt x="210217" y="197834"/>
                  </a:lnTo>
                  <a:cubicBezTo>
                    <a:pt x="198596" y="210979"/>
                    <a:pt x="185356" y="221361"/>
                    <a:pt x="170497" y="229267"/>
                  </a:cubicBezTo>
                  <a:cubicBezTo>
                    <a:pt x="155638"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583" y="0"/>
                    <a:pt x="110680"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356" y="106299"/>
                  </a:moveTo>
                  <a:cubicBezTo>
                    <a:pt x="182499" y="95917"/>
                    <a:pt x="180213" y="86106"/>
                    <a:pt x="176689" y="76771"/>
                  </a:cubicBezTo>
                  <a:cubicBezTo>
                    <a:pt x="173069" y="67437"/>
                    <a:pt x="168307" y="59245"/>
                    <a:pt x="162211" y="52101"/>
                  </a:cubicBezTo>
                  <a:cubicBezTo>
                    <a:pt x="156115" y="44958"/>
                    <a:pt x="148685" y="39338"/>
                    <a:pt x="139922" y="35242"/>
                  </a:cubicBezTo>
                  <a:cubicBezTo>
                    <a:pt x="131159" y="31147"/>
                    <a:pt x="121063" y="29051"/>
                    <a:pt x="109823" y="29051"/>
                  </a:cubicBezTo>
                  <a:cubicBezTo>
                    <a:pt x="100013" y="29051"/>
                    <a:pt x="90773" y="30956"/>
                    <a:pt x="82105" y="34766"/>
                  </a:cubicBezTo>
                  <a:cubicBezTo>
                    <a:pt x="73438" y="38671"/>
                    <a:pt x="65913" y="44005"/>
                    <a:pt x="59341" y="50959"/>
                  </a:cubicBezTo>
                  <a:cubicBezTo>
                    <a:pt x="52769" y="57912"/>
                    <a:pt x="47339" y="66103"/>
                    <a:pt x="43053" y="75628"/>
                  </a:cubicBezTo>
                  <a:cubicBezTo>
                    <a:pt x="38767" y="85058"/>
                    <a:pt x="36004" y="95345"/>
                    <a:pt x="34766" y="106204"/>
                  </a:cubicBezTo>
                  <a:lnTo>
                    <a:pt x="183356" y="106204"/>
                  </a:lnTo>
                  <a:close/>
                </a:path>
              </a:pathLst>
            </a:custGeom>
            <a:solidFill>
              <a:srgbClr val="44505E"/>
            </a:solidFill>
            <a:ln w="9525" cap="flat">
              <a:noFill/>
              <a:prstDash val="solid"/>
              <a:miter/>
            </a:ln>
          </p:spPr>
          <p:txBody>
            <a:bodyPr rtlCol="0" anchor="ctr"/>
            <a:lstStyle/>
            <a:p>
              <a:endParaRPr lang="pt-BR" noProof="0"/>
            </a:p>
          </p:txBody>
        </p:sp>
        <p:sp>
          <p:nvSpPr>
            <p:cNvPr id="31" name="Freeform: Shape 43">
              <a:extLst>
                <a:ext uri="{FF2B5EF4-FFF2-40B4-BE49-F238E27FC236}">
                  <a16:creationId xmlns:a16="http://schemas.microsoft.com/office/drawing/2014/main" id="{FE7F7191-4A45-6853-C30A-4FA7C22CAFDF}"/>
                </a:ext>
              </a:extLst>
            </p:cNvPr>
            <p:cNvSpPr/>
            <p:nvPr/>
          </p:nvSpPr>
          <p:spPr>
            <a:xfrm>
              <a:off x="5994910" y="924268"/>
              <a:ext cx="44680" cy="60195"/>
            </a:xfrm>
            <a:custGeom>
              <a:avLst/>
              <a:gdLst>
                <a:gd name="connsiteX0" fmla="*/ 95536 w 177736"/>
                <a:gd name="connsiteY0" fmla="*/ 239268 h 239458"/>
                <a:gd name="connsiteX1" fmla="*/ 45053 w 177736"/>
                <a:gd name="connsiteY1" fmla="*/ 230124 h 239458"/>
                <a:gd name="connsiteX2" fmla="*/ 0 w 177736"/>
                <a:gd name="connsiteY2" fmla="*/ 205359 h 239458"/>
                <a:gd name="connsiteX3" fmla="*/ 17431 w 177736"/>
                <a:gd name="connsiteY3" fmla="*/ 180785 h 239458"/>
                <a:gd name="connsiteX4" fmla="*/ 56483 w 177736"/>
                <a:gd name="connsiteY4" fmla="*/ 202692 h 239458"/>
                <a:gd name="connsiteX5" fmla="*/ 97346 w 177736"/>
                <a:gd name="connsiteY5" fmla="*/ 210217 h 239458"/>
                <a:gd name="connsiteX6" fmla="*/ 131731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730 w 177736"/>
                <a:gd name="connsiteY10" fmla="*/ 147066 h 239458"/>
                <a:gd name="connsiteX11" fmla="*/ 109252 w 177736"/>
                <a:gd name="connsiteY11" fmla="*/ 138779 h 239458"/>
                <a:gd name="connsiteX12" fmla="*/ 87630 w 177736"/>
                <a:gd name="connsiteY12" fmla="*/ 132112 h 239458"/>
                <a:gd name="connsiteX13" fmla="*/ 60674 w 177736"/>
                <a:gd name="connsiteY13" fmla="*/ 123444 h 239458"/>
                <a:gd name="connsiteX14" fmla="*/ 36100 w 177736"/>
                <a:gd name="connsiteY14" fmla="*/ 111633 h 239458"/>
                <a:gd name="connsiteX15" fmla="*/ 18193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60 w 177736"/>
                <a:gd name="connsiteY22" fmla="*/ 6953 h 239458"/>
                <a:gd name="connsiteX23" fmla="*/ 172879 w 177736"/>
                <a:gd name="connsiteY23" fmla="*/ 25527 h 239458"/>
                <a:gd name="connsiteX24" fmla="*/ 157258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4 w 177736"/>
                <a:gd name="connsiteY32" fmla="*/ 96203 h 239458"/>
                <a:gd name="connsiteX33" fmla="*/ 103632 w 177736"/>
                <a:gd name="connsiteY33" fmla="*/ 103346 h 239458"/>
                <a:gd name="connsiteX34" fmla="*/ 130207 w 177736"/>
                <a:gd name="connsiteY34" fmla="*/ 112300 h 239458"/>
                <a:gd name="connsiteX35" fmla="*/ 154114 w 177736"/>
                <a:gd name="connsiteY35" fmla="*/ 124778 h 239458"/>
                <a:gd name="connsiteX36" fmla="*/ 171260 w 177736"/>
                <a:gd name="connsiteY36" fmla="*/ 143066 h 239458"/>
                <a:gd name="connsiteX37" fmla="*/ 177737 w 177736"/>
                <a:gd name="connsiteY37" fmla="*/ 169450 h 239458"/>
                <a:gd name="connsiteX38" fmla="*/ 177737 w 177736"/>
                <a:gd name="connsiteY38" fmla="*/ 170307 h 239458"/>
                <a:gd name="connsiteX39" fmla="*/ 171260 w 177736"/>
                <a:gd name="connsiteY39" fmla="*/ 199549 h 239458"/>
                <a:gd name="connsiteX40" fmla="*/ 153829 w 177736"/>
                <a:gd name="connsiteY40" fmla="*/ 221171 h 239458"/>
                <a:gd name="connsiteX41" fmla="*/ 127921 w 177736"/>
                <a:gd name="connsiteY41" fmla="*/ 234791 h 239458"/>
                <a:gd name="connsiteX42" fmla="*/ 95536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6" y="239268"/>
                  </a:moveTo>
                  <a:cubicBezTo>
                    <a:pt x="78867" y="239268"/>
                    <a:pt x="62008" y="236220"/>
                    <a:pt x="45053" y="230124"/>
                  </a:cubicBezTo>
                  <a:cubicBezTo>
                    <a:pt x="28099" y="224028"/>
                    <a:pt x="13049" y="215741"/>
                    <a:pt x="0" y="205359"/>
                  </a:cubicBezTo>
                  <a:lnTo>
                    <a:pt x="17431" y="180785"/>
                  </a:lnTo>
                  <a:cubicBezTo>
                    <a:pt x="29909"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637" y="162211"/>
                    <a:pt x="140494" y="158020"/>
                  </a:cubicBezTo>
                  <a:cubicBezTo>
                    <a:pt x="137351" y="153829"/>
                    <a:pt x="133160" y="150209"/>
                    <a:pt x="127730" y="147066"/>
                  </a:cubicBezTo>
                  <a:cubicBezTo>
                    <a:pt x="122396" y="143923"/>
                    <a:pt x="116205" y="141161"/>
                    <a:pt x="109252" y="138779"/>
                  </a:cubicBezTo>
                  <a:cubicBezTo>
                    <a:pt x="102299" y="136398"/>
                    <a:pt x="95060" y="134207"/>
                    <a:pt x="87630" y="132112"/>
                  </a:cubicBezTo>
                  <a:cubicBezTo>
                    <a:pt x="78677" y="129445"/>
                    <a:pt x="69723" y="126492"/>
                    <a:pt x="60674" y="123444"/>
                  </a:cubicBezTo>
                  <a:cubicBezTo>
                    <a:pt x="51626" y="120301"/>
                    <a:pt x="43434" y="116396"/>
                    <a:pt x="36100" y="111633"/>
                  </a:cubicBezTo>
                  <a:cubicBezTo>
                    <a:pt x="28766" y="106871"/>
                    <a:pt x="22860" y="100870"/>
                    <a:pt x="18193" y="93726"/>
                  </a:cubicBezTo>
                  <a:cubicBezTo>
                    <a:pt x="13621" y="86582"/>
                    <a:pt x="11239" y="77629"/>
                    <a:pt x="11239" y="66961"/>
                  </a:cubicBezTo>
                  <a:lnTo>
                    <a:pt x="11239" y="66008"/>
                  </a:lnTo>
                  <a:cubicBezTo>
                    <a:pt x="11239" y="56198"/>
                    <a:pt x="13145" y="47149"/>
                    <a:pt x="17050" y="39053"/>
                  </a:cubicBezTo>
                  <a:cubicBezTo>
                    <a:pt x="20860" y="30861"/>
                    <a:pt x="26289" y="23908"/>
                    <a:pt x="33338" y="18098"/>
                  </a:cubicBezTo>
                  <a:cubicBezTo>
                    <a:pt x="40291" y="12287"/>
                    <a:pt x="48673" y="7811"/>
                    <a:pt x="58388" y="4667"/>
                  </a:cubicBezTo>
                  <a:cubicBezTo>
                    <a:pt x="68009" y="1524"/>
                    <a:pt x="78581" y="0"/>
                    <a:pt x="89821" y="0"/>
                  </a:cubicBezTo>
                  <a:cubicBezTo>
                    <a:pt x="104108" y="0"/>
                    <a:pt x="118491" y="2286"/>
                    <a:pt x="133160" y="6953"/>
                  </a:cubicBezTo>
                  <a:cubicBezTo>
                    <a:pt x="147733" y="11621"/>
                    <a:pt x="160972" y="17717"/>
                    <a:pt x="172879" y="25527"/>
                  </a:cubicBezTo>
                  <a:lnTo>
                    <a:pt x="157258" y="51435"/>
                  </a:lnTo>
                  <a:cubicBezTo>
                    <a:pt x="146495" y="44577"/>
                    <a:pt x="135350" y="39148"/>
                    <a:pt x="123539" y="35147"/>
                  </a:cubicBezTo>
                  <a:cubicBezTo>
                    <a:pt x="111824" y="31147"/>
                    <a:pt x="100298" y="29146"/>
                    <a:pt x="88963" y="29146"/>
                  </a:cubicBezTo>
                  <a:cubicBezTo>
                    <a:pt x="75247" y="29146"/>
                    <a:pt x="64389" y="32385"/>
                    <a:pt x="56388" y="38767"/>
                  </a:cubicBezTo>
                  <a:cubicBezTo>
                    <a:pt x="48387" y="45149"/>
                    <a:pt x="44291" y="53150"/>
                    <a:pt x="44291" y="62675"/>
                  </a:cubicBezTo>
                  <a:lnTo>
                    <a:pt x="44291" y="63627"/>
                  </a:lnTo>
                  <a:cubicBezTo>
                    <a:pt x="44291" y="68961"/>
                    <a:pt x="45911" y="73628"/>
                    <a:pt x="49244" y="77724"/>
                  </a:cubicBezTo>
                  <a:cubicBezTo>
                    <a:pt x="52483" y="81725"/>
                    <a:pt x="56960" y="85249"/>
                    <a:pt x="62389" y="88202"/>
                  </a:cubicBezTo>
                  <a:cubicBezTo>
                    <a:pt x="67913" y="91154"/>
                    <a:pt x="74200" y="93821"/>
                    <a:pt x="81344" y="96203"/>
                  </a:cubicBezTo>
                  <a:cubicBezTo>
                    <a:pt x="88487" y="98584"/>
                    <a:pt x="95917" y="100965"/>
                    <a:pt x="103632" y="103346"/>
                  </a:cubicBezTo>
                  <a:cubicBezTo>
                    <a:pt x="112586" y="106013"/>
                    <a:pt x="121444" y="108966"/>
                    <a:pt x="130207" y="112300"/>
                  </a:cubicBezTo>
                  <a:cubicBezTo>
                    <a:pt x="138970" y="115538"/>
                    <a:pt x="146971" y="119729"/>
                    <a:pt x="154114" y="124778"/>
                  </a:cubicBezTo>
                  <a:cubicBezTo>
                    <a:pt x="161258" y="129826"/>
                    <a:pt x="166973" y="135922"/>
                    <a:pt x="171260" y="143066"/>
                  </a:cubicBezTo>
                  <a:cubicBezTo>
                    <a:pt x="175546" y="150209"/>
                    <a:pt x="177737" y="158972"/>
                    <a:pt x="177737" y="169450"/>
                  </a:cubicBezTo>
                  <a:lnTo>
                    <a:pt x="177737" y="170307"/>
                  </a:lnTo>
                  <a:cubicBezTo>
                    <a:pt x="177737" y="181356"/>
                    <a:pt x="175546" y="191071"/>
                    <a:pt x="171260" y="199549"/>
                  </a:cubicBezTo>
                  <a:cubicBezTo>
                    <a:pt x="166973" y="208026"/>
                    <a:pt x="161163" y="215265"/>
                    <a:pt x="153829" y="221171"/>
                  </a:cubicBezTo>
                  <a:cubicBezTo>
                    <a:pt x="146495" y="227171"/>
                    <a:pt x="137922" y="231648"/>
                    <a:pt x="127921" y="234791"/>
                  </a:cubicBezTo>
                  <a:cubicBezTo>
                    <a:pt x="117920" y="237935"/>
                    <a:pt x="107156" y="239459"/>
                    <a:pt x="95536" y="239459"/>
                  </a:cubicBezTo>
                  <a:close/>
                </a:path>
              </a:pathLst>
            </a:custGeom>
            <a:solidFill>
              <a:srgbClr val="44505E"/>
            </a:solidFill>
            <a:ln w="9525" cap="flat">
              <a:noFill/>
              <a:prstDash val="solid"/>
              <a:miter/>
            </a:ln>
          </p:spPr>
          <p:txBody>
            <a:bodyPr rtlCol="0" anchor="ctr"/>
            <a:lstStyle/>
            <a:p>
              <a:endParaRPr lang="pt-BR" noProof="0"/>
            </a:p>
          </p:txBody>
        </p:sp>
        <p:sp>
          <p:nvSpPr>
            <p:cNvPr id="32" name="Freeform: Shape 44">
              <a:extLst>
                <a:ext uri="{FF2B5EF4-FFF2-40B4-BE49-F238E27FC236}">
                  <a16:creationId xmlns:a16="http://schemas.microsoft.com/office/drawing/2014/main" id="{41D8789C-CE2C-98C1-D64F-DB43B08C5483}"/>
                </a:ext>
              </a:extLst>
            </p:cNvPr>
            <p:cNvSpPr/>
            <p:nvPr/>
          </p:nvSpPr>
          <p:spPr>
            <a:xfrm>
              <a:off x="605122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4 w 202977"/>
                <a:gd name="connsiteY30" fmla="*/ 174593 h 239267"/>
                <a:gd name="connsiteX31" fmla="*/ 169735 w 202977"/>
                <a:gd name="connsiteY31" fmla="*/ 149447 h 239267"/>
                <a:gd name="connsiteX32" fmla="*/ 169735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0" y="90964"/>
                    <a:pt x="98584" y="90964"/>
                  </a:cubicBezTo>
                  <a:cubicBezTo>
                    <a:pt x="113157" y="90964"/>
                    <a:pt x="126301"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1" y="33147"/>
                    <a:pt x="63436" y="36100"/>
                  </a:cubicBezTo>
                  <a:cubicBezTo>
                    <a:pt x="52292" y="39053"/>
                    <a:pt x="41338" y="43053"/>
                    <a:pt x="30671" y="48196"/>
                  </a:cubicBezTo>
                  <a:lnTo>
                    <a:pt x="20383" y="19907"/>
                  </a:lnTo>
                  <a:cubicBezTo>
                    <a:pt x="33147" y="13906"/>
                    <a:pt x="46101" y="9049"/>
                    <a:pt x="59246" y="5429"/>
                  </a:cubicBezTo>
                  <a:cubicBezTo>
                    <a:pt x="72295"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1" y="239173"/>
                  </a:cubicBezTo>
                  <a:close/>
                  <a:moveTo>
                    <a:pt x="93154" y="211169"/>
                  </a:moveTo>
                  <a:cubicBezTo>
                    <a:pt x="103822" y="211169"/>
                    <a:pt x="113728" y="209740"/>
                    <a:pt x="122967" y="206788"/>
                  </a:cubicBezTo>
                  <a:cubicBezTo>
                    <a:pt x="132207" y="203835"/>
                    <a:pt x="140208" y="199644"/>
                    <a:pt x="147256" y="194120"/>
                  </a:cubicBezTo>
                  <a:cubicBezTo>
                    <a:pt x="154209" y="188595"/>
                    <a:pt x="159734" y="182118"/>
                    <a:pt x="163734" y="174593"/>
                  </a:cubicBezTo>
                  <a:cubicBezTo>
                    <a:pt x="167735" y="167068"/>
                    <a:pt x="169735" y="158687"/>
                    <a:pt x="169735" y="149447"/>
                  </a:cubicBezTo>
                  <a:lnTo>
                    <a:pt x="169735" y="128111"/>
                  </a:lnTo>
                  <a:cubicBezTo>
                    <a:pt x="161163" y="125730"/>
                    <a:pt x="151352" y="123539"/>
                    <a:pt x="140398" y="121444"/>
                  </a:cubicBezTo>
                  <a:cubicBezTo>
                    <a:pt x="129445" y="119348"/>
                    <a:pt x="116872"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33" name="Freeform: Shape 45">
              <a:extLst>
                <a:ext uri="{FF2B5EF4-FFF2-40B4-BE49-F238E27FC236}">
                  <a16:creationId xmlns:a16="http://schemas.microsoft.com/office/drawing/2014/main" id="{AAA2C014-5553-BBDB-8F1A-00C177A5DD4E}"/>
                </a:ext>
              </a:extLst>
            </p:cNvPr>
            <p:cNvSpPr/>
            <p:nvPr/>
          </p:nvSpPr>
          <p:spPr>
            <a:xfrm>
              <a:off x="6121359" y="901377"/>
              <a:ext cx="8644" cy="81913"/>
            </a:xfrm>
            <a:custGeom>
              <a:avLst/>
              <a:gdLst>
                <a:gd name="connsiteX0" fmla="*/ 0 w 34385"/>
                <a:gd name="connsiteY0" fmla="*/ 0 h 325850"/>
                <a:gd name="connsiteX1" fmla="*/ 34385 w 34385"/>
                <a:gd name="connsiteY1" fmla="*/ 0 h 325850"/>
                <a:gd name="connsiteX2" fmla="*/ 34385 w 34385"/>
                <a:gd name="connsiteY2" fmla="*/ 325850 h 325850"/>
                <a:gd name="connsiteX3" fmla="*/ 0 w 34385"/>
                <a:gd name="connsiteY3" fmla="*/ 325850 h 325850"/>
                <a:gd name="connsiteX4" fmla="*/ 0 w 34385"/>
                <a:gd name="connsiteY4" fmla="*/ 0 h 32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 h="325850">
                  <a:moveTo>
                    <a:pt x="0" y="0"/>
                  </a:moveTo>
                  <a:lnTo>
                    <a:pt x="34385" y="0"/>
                  </a:lnTo>
                  <a:lnTo>
                    <a:pt x="34385" y="325850"/>
                  </a:lnTo>
                  <a:lnTo>
                    <a:pt x="0" y="325850"/>
                  </a:lnTo>
                  <a:lnTo>
                    <a:pt x="0" y="0"/>
                  </a:lnTo>
                  <a:close/>
                </a:path>
              </a:pathLst>
            </a:custGeom>
            <a:solidFill>
              <a:srgbClr val="44505E"/>
            </a:solidFill>
            <a:ln w="9525" cap="flat">
              <a:noFill/>
              <a:prstDash val="solid"/>
              <a:miter/>
            </a:ln>
          </p:spPr>
          <p:txBody>
            <a:bodyPr rtlCol="0" anchor="ctr"/>
            <a:lstStyle/>
            <a:p>
              <a:endParaRPr lang="pt-BR" noProof="0"/>
            </a:p>
          </p:txBody>
        </p:sp>
        <p:sp>
          <p:nvSpPr>
            <p:cNvPr id="34" name="Freeform: Shape 46">
              <a:extLst>
                <a:ext uri="{FF2B5EF4-FFF2-40B4-BE49-F238E27FC236}">
                  <a16:creationId xmlns:a16="http://schemas.microsoft.com/office/drawing/2014/main" id="{E7232F10-D0FF-A5A1-FF75-3F3594C2047B}"/>
                </a:ext>
              </a:extLst>
            </p:cNvPr>
            <p:cNvSpPr/>
            <p:nvPr/>
          </p:nvSpPr>
          <p:spPr>
            <a:xfrm>
              <a:off x="6144346" y="925273"/>
              <a:ext cx="58016" cy="58448"/>
            </a:xfrm>
            <a:custGeom>
              <a:avLst/>
              <a:gdLst>
                <a:gd name="connsiteX0" fmla="*/ 95 w 230790"/>
                <a:gd name="connsiteY0" fmla="*/ 0 h 232505"/>
                <a:gd name="connsiteX1" fmla="*/ 38005 w 230790"/>
                <a:gd name="connsiteY1" fmla="*/ 0 h 232505"/>
                <a:gd name="connsiteX2" fmla="*/ 115634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4"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35" name="Freeform: Shape 47">
              <a:extLst>
                <a:ext uri="{FF2B5EF4-FFF2-40B4-BE49-F238E27FC236}">
                  <a16:creationId xmlns:a16="http://schemas.microsoft.com/office/drawing/2014/main" id="{24F54AD0-73F9-06CD-1225-FEC78CE32FA4}"/>
                </a:ext>
              </a:extLst>
            </p:cNvPr>
            <p:cNvSpPr/>
            <p:nvPr/>
          </p:nvSpPr>
          <p:spPr>
            <a:xfrm>
              <a:off x="621155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8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338 w 202977"/>
                <a:gd name="connsiteY36" fmla="*/ 164497 h 239267"/>
                <a:gd name="connsiteX37" fmla="*/ 35338 w 202977"/>
                <a:gd name="connsiteY37" fmla="*/ 165449 h 239267"/>
                <a:gd name="connsiteX38" fmla="*/ 40005 w 202977"/>
                <a:gd name="connsiteY38" fmla="*/ 184785 h 239267"/>
                <a:gd name="connsiteX39" fmla="*/ 52673 w 202977"/>
                <a:gd name="connsiteY39" fmla="*/ 199263 h 239267"/>
                <a:gd name="connsiteX40" fmla="*/ 71152 w 202977"/>
                <a:gd name="connsiteY40" fmla="*/ 208121 h 239267"/>
                <a:gd name="connsiteX41" fmla="*/ 93154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438" y="239268"/>
                    <a:pt x="64961"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1" y="90964"/>
                    <a:pt x="98584" y="90964"/>
                  </a:cubicBezTo>
                  <a:cubicBezTo>
                    <a:pt x="113157" y="90964"/>
                    <a:pt x="126302" y="91821"/>
                    <a:pt x="137160" y="93631"/>
                  </a:cubicBezTo>
                  <a:cubicBezTo>
                    <a:pt x="148019" y="95440"/>
                    <a:pt x="158687" y="97822"/>
                    <a:pt x="169069" y="100774"/>
                  </a:cubicBezTo>
                  <a:lnTo>
                    <a:pt x="169069" y="93726"/>
                  </a:lnTo>
                  <a:cubicBezTo>
                    <a:pt x="169069" y="73342"/>
                    <a:pt x="163068" y="57912"/>
                    <a:pt x="151162" y="47339"/>
                  </a:cubicBezTo>
                  <a:cubicBezTo>
                    <a:pt x="139255" y="36862"/>
                    <a:pt x="122491" y="31623"/>
                    <a:pt x="100679" y="31623"/>
                  </a:cubicBezTo>
                  <a:cubicBezTo>
                    <a:pt x="86963" y="31623"/>
                    <a:pt x="74581" y="33147"/>
                    <a:pt x="63437" y="36100"/>
                  </a:cubicBezTo>
                  <a:cubicBezTo>
                    <a:pt x="52292" y="39053"/>
                    <a:pt x="41338" y="43053"/>
                    <a:pt x="30671" y="48196"/>
                  </a:cubicBezTo>
                  <a:lnTo>
                    <a:pt x="20383" y="19907"/>
                  </a:lnTo>
                  <a:cubicBezTo>
                    <a:pt x="33147" y="13906"/>
                    <a:pt x="46101" y="9049"/>
                    <a:pt x="59246" y="5429"/>
                  </a:cubicBezTo>
                  <a:cubicBezTo>
                    <a:pt x="72390"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04" y="239173"/>
                    <a:pt x="86011" y="239173"/>
                  </a:cubicBezTo>
                  <a:close/>
                  <a:moveTo>
                    <a:pt x="93154" y="211169"/>
                  </a:moveTo>
                  <a:cubicBezTo>
                    <a:pt x="103822" y="211169"/>
                    <a:pt x="113824" y="209740"/>
                    <a:pt x="122968" y="206788"/>
                  </a:cubicBezTo>
                  <a:cubicBezTo>
                    <a:pt x="132112"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5" y="119348"/>
                    <a:pt x="116777" y="118300"/>
                    <a:pt x="102584" y="118300"/>
                  </a:cubicBezTo>
                  <a:cubicBezTo>
                    <a:pt x="81248" y="118300"/>
                    <a:pt x="64675" y="122491"/>
                    <a:pt x="52959" y="130969"/>
                  </a:cubicBezTo>
                  <a:cubicBezTo>
                    <a:pt x="41243" y="139446"/>
                    <a:pt x="35338" y="150590"/>
                    <a:pt x="35338" y="164497"/>
                  </a:cubicBezTo>
                  <a:lnTo>
                    <a:pt x="35338" y="165449"/>
                  </a:lnTo>
                  <a:cubicBezTo>
                    <a:pt x="35338" y="172498"/>
                    <a:pt x="36862" y="178975"/>
                    <a:pt x="40005" y="184785"/>
                  </a:cubicBezTo>
                  <a:cubicBezTo>
                    <a:pt x="43148" y="190500"/>
                    <a:pt x="47339" y="195358"/>
                    <a:pt x="52673" y="199263"/>
                  </a:cubicBezTo>
                  <a:cubicBezTo>
                    <a:pt x="58007" y="203073"/>
                    <a:pt x="64198" y="206026"/>
                    <a:pt x="71152" y="208121"/>
                  </a:cubicBezTo>
                  <a:cubicBezTo>
                    <a:pt x="78105" y="210217"/>
                    <a:pt x="85439" y="211169"/>
                    <a:pt x="93154" y="211169"/>
                  </a:cubicBezTo>
                  <a:close/>
                </a:path>
              </a:pathLst>
            </a:custGeom>
            <a:solidFill>
              <a:srgbClr val="44505E"/>
            </a:solidFill>
            <a:ln w="9525" cap="flat">
              <a:noFill/>
              <a:prstDash val="solid"/>
              <a:miter/>
            </a:ln>
          </p:spPr>
          <p:txBody>
            <a:bodyPr rtlCol="0" anchor="ctr"/>
            <a:lstStyle/>
            <a:p>
              <a:endParaRPr lang="pt-BR" noProof="0"/>
            </a:p>
          </p:txBody>
        </p:sp>
        <p:sp>
          <p:nvSpPr>
            <p:cNvPr id="36" name="Freeform: Shape 48">
              <a:extLst>
                <a:ext uri="{FF2B5EF4-FFF2-40B4-BE49-F238E27FC236}">
                  <a16:creationId xmlns:a16="http://schemas.microsoft.com/office/drawing/2014/main" id="{9A74A355-DECC-6A36-CF35-64D0E78F4A4F}"/>
                </a:ext>
              </a:extLst>
            </p:cNvPr>
            <p:cNvSpPr/>
            <p:nvPr/>
          </p:nvSpPr>
          <p:spPr>
            <a:xfrm>
              <a:off x="6280899" y="923980"/>
              <a:ext cx="87995" cy="59238"/>
            </a:xfrm>
            <a:custGeom>
              <a:avLst/>
              <a:gdLst>
                <a:gd name="connsiteX0" fmla="*/ 0 w 350043"/>
                <a:gd name="connsiteY0" fmla="*/ 5144 h 235648"/>
                <a:gd name="connsiteX1" fmla="*/ 34385 w 350043"/>
                <a:gd name="connsiteY1" fmla="*/ 5144 h 235648"/>
                <a:gd name="connsiteX2" fmla="*/ 34385 w 350043"/>
                <a:gd name="connsiteY2" fmla="*/ 44005 h 235648"/>
                <a:gd name="connsiteX3" fmla="*/ 47149 w 350043"/>
                <a:gd name="connsiteY3" fmla="*/ 27432 h 235648"/>
                <a:gd name="connsiteX4" fmla="*/ 62960 w 350043"/>
                <a:gd name="connsiteY4" fmla="*/ 13335 h 235648"/>
                <a:gd name="connsiteX5" fmla="*/ 83058 w 350043"/>
                <a:gd name="connsiteY5" fmla="*/ 3715 h 235648"/>
                <a:gd name="connsiteX6" fmla="*/ 108966 w 350043"/>
                <a:gd name="connsiteY6" fmla="*/ 95 h 235648"/>
                <a:gd name="connsiteX7" fmla="*/ 155448 w 350043"/>
                <a:gd name="connsiteY7" fmla="*/ 13240 h 235648"/>
                <a:gd name="connsiteX8" fmla="*/ 183166 w 350043"/>
                <a:gd name="connsiteY8" fmla="*/ 46006 h 235648"/>
                <a:gd name="connsiteX9" fmla="*/ 197168 w 350043"/>
                <a:gd name="connsiteY9" fmla="*/ 28194 h 235648"/>
                <a:gd name="connsiteX10" fmla="*/ 214789 w 350043"/>
                <a:gd name="connsiteY10" fmla="*/ 13430 h 235648"/>
                <a:gd name="connsiteX11" fmla="*/ 236887 w 350043"/>
                <a:gd name="connsiteY11" fmla="*/ 3620 h 235648"/>
                <a:gd name="connsiteX12" fmla="*/ 264319 w 350043"/>
                <a:gd name="connsiteY12" fmla="*/ 0 h 235648"/>
                <a:gd name="connsiteX13" fmla="*/ 327279 w 350043"/>
                <a:gd name="connsiteY13" fmla="*/ 24765 h 235648"/>
                <a:gd name="connsiteX14" fmla="*/ 350044 w 350043"/>
                <a:gd name="connsiteY14" fmla="*/ 92773 h 235648"/>
                <a:gd name="connsiteX15" fmla="*/ 350044 w 350043"/>
                <a:gd name="connsiteY15" fmla="*/ 235648 h 235648"/>
                <a:gd name="connsiteX16" fmla="*/ 315659 w 350043"/>
                <a:gd name="connsiteY16" fmla="*/ 235648 h 235648"/>
                <a:gd name="connsiteX17" fmla="*/ 315659 w 350043"/>
                <a:gd name="connsiteY17" fmla="*/ 101155 h 235648"/>
                <a:gd name="connsiteX18" fmla="*/ 299847 w 350043"/>
                <a:gd name="connsiteY18" fmla="*/ 49721 h 235648"/>
                <a:gd name="connsiteX19" fmla="*/ 255937 w 350043"/>
                <a:gd name="connsiteY19" fmla="*/ 31718 h 235648"/>
                <a:gd name="connsiteX20" fmla="*/ 231362 w 350043"/>
                <a:gd name="connsiteY20" fmla="*/ 36386 h 235648"/>
                <a:gd name="connsiteX21" fmla="*/ 211074 w 350043"/>
                <a:gd name="connsiteY21" fmla="*/ 50197 h 235648"/>
                <a:gd name="connsiteX22" fmla="*/ 197263 w 350043"/>
                <a:gd name="connsiteY22" fmla="*/ 72676 h 235648"/>
                <a:gd name="connsiteX23" fmla="*/ 192119 w 350043"/>
                <a:gd name="connsiteY23" fmla="*/ 102965 h 235648"/>
                <a:gd name="connsiteX24" fmla="*/ 192119 w 350043"/>
                <a:gd name="connsiteY24" fmla="*/ 235648 h 235648"/>
                <a:gd name="connsiteX25" fmla="*/ 158210 w 350043"/>
                <a:gd name="connsiteY25" fmla="*/ 235648 h 235648"/>
                <a:gd name="connsiteX26" fmla="*/ 158210 w 350043"/>
                <a:gd name="connsiteY26" fmla="*/ 100298 h 235648"/>
                <a:gd name="connsiteX27" fmla="*/ 142399 w 350043"/>
                <a:gd name="connsiteY27" fmla="*/ 49721 h 235648"/>
                <a:gd name="connsiteX28" fmla="*/ 98870 w 350043"/>
                <a:gd name="connsiteY28" fmla="*/ 31718 h 235648"/>
                <a:gd name="connsiteX29" fmla="*/ 73438 w 350043"/>
                <a:gd name="connsiteY29" fmla="*/ 37052 h 235648"/>
                <a:gd name="connsiteX30" fmla="*/ 53150 w 350043"/>
                <a:gd name="connsiteY30" fmla="*/ 52197 h 235648"/>
                <a:gd name="connsiteX31" fmla="*/ 39529 w 350043"/>
                <a:gd name="connsiteY31" fmla="*/ 75152 h 235648"/>
                <a:gd name="connsiteX32" fmla="*/ 34576 w 350043"/>
                <a:gd name="connsiteY32" fmla="*/ 104299 h 235648"/>
                <a:gd name="connsiteX33" fmla="*/ 34576 w 350043"/>
                <a:gd name="connsiteY33" fmla="*/ 235648 h 235648"/>
                <a:gd name="connsiteX34" fmla="*/ 190 w 350043"/>
                <a:gd name="connsiteY34" fmla="*/ 235648 h 235648"/>
                <a:gd name="connsiteX35" fmla="*/ 190 w 350043"/>
                <a:gd name="connsiteY35" fmla="*/ 485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0043" h="235648">
                  <a:moveTo>
                    <a:pt x="0" y="5144"/>
                  </a:moveTo>
                  <a:lnTo>
                    <a:pt x="34385" y="5144"/>
                  </a:lnTo>
                  <a:lnTo>
                    <a:pt x="34385" y="44005"/>
                  </a:lnTo>
                  <a:cubicBezTo>
                    <a:pt x="38290" y="38386"/>
                    <a:pt x="42481" y="32861"/>
                    <a:pt x="47149" y="27432"/>
                  </a:cubicBezTo>
                  <a:cubicBezTo>
                    <a:pt x="51721" y="22098"/>
                    <a:pt x="57055" y="17431"/>
                    <a:pt x="62960" y="13335"/>
                  </a:cubicBezTo>
                  <a:cubicBezTo>
                    <a:pt x="68866" y="9335"/>
                    <a:pt x="75629" y="6096"/>
                    <a:pt x="83058" y="3715"/>
                  </a:cubicBezTo>
                  <a:cubicBezTo>
                    <a:pt x="90488" y="1334"/>
                    <a:pt x="99155" y="95"/>
                    <a:pt x="108966" y="95"/>
                  </a:cubicBezTo>
                  <a:cubicBezTo>
                    <a:pt x="127730" y="95"/>
                    <a:pt x="143161" y="4477"/>
                    <a:pt x="155448" y="13240"/>
                  </a:cubicBezTo>
                  <a:cubicBezTo>
                    <a:pt x="167640" y="22003"/>
                    <a:pt x="176879" y="32956"/>
                    <a:pt x="183166" y="46006"/>
                  </a:cubicBezTo>
                  <a:cubicBezTo>
                    <a:pt x="187357" y="39719"/>
                    <a:pt x="192024" y="33814"/>
                    <a:pt x="197168" y="28194"/>
                  </a:cubicBezTo>
                  <a:cubicBezTo>
                    <a:pt x="202406" y="22574"/>
                    <a:pt x="208217" y="17621"/>
                    <a:pt x="214789" y="13430"/>
                  </a:cubicBezTo>
                  <a:cubicBezTo>
                    <a:pt x="221361" y="9239"/>
                    <a:pt x="228695" y="6001"/>
                    <a:pt x="236887" y="3620"/>
                  </a:cubicBezTo>
                  <a:cubicBezTo>
                    <a:pt x="245078" y="1238"/>
                    <a:pt x="254222" y="0"/>
                    <a:pt x="264319" y="0"/>
                  </a:cubicBezTo>
                  <a:cubicBezTo>
                    <a:pt x="291084" y="0"/>
                    <a:pt x="312039" y="8287"/>
                    <a:pt x="327279" y="24765"/>
                  </a:cubicBezTo>
                  <a:cubicBezTo>
                    <a:pt x="342519" y="41243"/>
                    <a:pt x="350044" y="63913"/>
                    <a:pt x="350044" y="92773"/>
                  </a:cubicBezTo>
                  <a:lnTo>
                    <a:pt x="350044" y="235648"/>
                  </a:lnTo>
                  <a:lnTo>
                    <a:pt x="315659" y="235648"/>
                  </a:lnTo>
                  <a:lnTo>
                    <a:pt x="315659" y="101155"/>
                  </a:lnTo>
                  <a:cubicBezTo>
                    <a:pt x="315659" y="78867"/>
                    <a:pt x="310420" y="61722"/>
                    <a:pt x="299847" y="49721"/>
                  </a:cubicBezTo>
                  <a:cubicBezTo>
                    <a:pt x="289274" y="37719"/>
                    <a:pt x="274606" y="31718"/>
                    <a:pt x="255937" y="31718"/>
                  </a:cubicBezTo>
                  <a:cubicBezTo>
                    <a:pt x="247269" y="31718"/>
                    <a:pt x="239078" y="33242"/>
                    <a:pt x="231362" y="36386"/>
                  </a:cubicBezTo>
                  <a:cubicBezTo>
                    <a:pt x="223647" y="39529"/>
                    <a:pt x="216884" y="44101"/>
                    <a:pt x="211074" y="50197"/>
                  </a:cubicBezTo>
                  <a:cubicBezTo>
                    <a:pt x="205264" y="56293"/>
                    <a:pt x="200692" y="63818"/>
                    <a:pt x="197263" y="72676"/>
                  </a:cubicBezTo>
                  <a:cubicBezTo>
                    <a:pt x="193834" y="81629"/>
                    <a:pt x="192119" y="91726"/>
                    <a:pt x="192119" y="102965"/>
                  </a:cubicBezTo>
                  <a:lnTo>
                    <a:pt x="192119" y="235648"/>
                  </a:lnTo>
                  <a:lnTo>
                    <a:pt x="158210" y="235648"/>
                  </a:lnTo>
                  <a:lnTo>
                    <a:pt x="158210" y="100298"/>
                  </a:lnTo>
                  <a:cubicBezTo>
                    <a:pt x="158210" y="78677"/>
                    <a:pt x="152971" y="61817"/>
                    <a:pt x="142399" y="49721"/>
                  </a:cubicBezTo>
                  <a:cubicBezTo>
                    <a:pt x="131826" y="37719"/>
                    <a:pt x="117348" y="31718"/>
                    <a:pt x="98870" y="31718"/>
                  </a:cubicBezTo>
                  <a:cubicBezTo>
                    <a:pt x="89630" y="31718"/>
                    <a:pt x="81153" y="33528"/>
                    <a:pt x="73438" y="37052"/>
                  </a:cubicBezTo>
                  <a:cubicBezTo>
                    <a:pt x="65722" y="40672"/>
                    <a:pt x="58960" y="45720"/>
                    <a:pt x="53150" y="52197"/>
                  </a:cubicBezTo>
                  <a:cubicBezTo>
                    <a:pt x="47339" y="58769"/>
                    <a:pt x="42767" y="66389"/>
                    <a:pt x="39529" y="75152"/>
                  </a:cubicBezTo>
                  <a:cubicBezTo>
                    <a:pt x="36290" y="83915"/>
                    <a:pt x="34576" y="93631"/>
                    <a:pt x="34576" y="104299"/>
                  </a:cubicBezTo>
                  <a:lnTo>
                    <a:pt x="34576" y="235648"/>
                  </a:lnTo>
                  <a:lnTo>
                    <a:pt x="190" y="235648"/>
                  </a:lnTo>
                  <a:lnTo>
                    <a:pt x="190" y="4858"/>
                  </a:lnTo>
                  <a:close/>
                </a:path>
              </a:pathLst>
            </a:custGeom>
            <a:solidFill>
              <a:srgbClr val="44505E"/>
            </a:solidFill>
            <a:ln w="9525" cap="flat">
              <a:noFill/>
              <a:prstDash val="solid"/>
              <a:miter/>
            </a:ln>
          </p:spPr>
          <p:txBody>
            <a:bodyPr rtlCol="0" anchor="ctr"/>
            <a:lstStyle/>
            <a:p>
              <a:endParaRPr lang="pt-BR" noProof="0"/>
            </a:p>
          </p:txBody>
        </p:sp>
        <p:sp>
          <p:nvSpPr>
            <p:cNvPr id="37" name="Freeform: Shape 49">
              <a:extLst>
                <a:ext uri="{FF2B5EF4-FFF2-40B4-BE49-F238E27FC236}">
                  <a16:creationId xmlns:a16="http://schemas.microsoft.com/office/drawing/2014/main" id="{739F00ED-CCE6-3797-A629-80991CC8A9DD}"/>
                </a:ext>
              </a:extLst>
            </p:cNvPr>
            <p:cNvSpPr/>
            <p:nvPr/>
          </p:nvSpPr>
          <p:spPr>
            <a:xfrm>
              <a:off x="6415537" y="925273"/>
              <a:ext cx="58016" cy="58448"/>
            </a:xfrm>
            <a:custGeom>
              <a:avLst/>
              <a:gdLst>
                <a:gd name="connsiteX0" fmla="*/ 95 w 230790"/>
                <a:gd name="connsiteY0" fmla="*/ 0 h 232505"/>
                <a:gd name="connsiteX1" fmla="*/ 38005 w 230790"/>
                <a:gd name="connsiteY1" fmla="*/ 0 h 232505"/>
                <a:gd name="connsiteX2" fmla="*/ 115633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3"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38" name="Freeform: Shape 50">
              <a:extLst>
                <a:ext uri="{FF2B5EF4-FFF2-40B4-BE49-F238E27FC236}">
                  <a16:creationId xmlns:a16="http://schemas.microsoft.com/office/drawing/2014/main" id="{A88AE843-9367-DDAC-AB31-CE81E6D2FEEF}"/>
                </a:ext>
              </a:extLst>
            </p:cNvPr>
            <p:cNvSpPr/>
            <p:nvPr/>
          </p:nvSpPr>
          <p:spPr>
            <a:xfrm>
              <a:off x="6487369"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286 w 39242"/>
                <a:gd name="connsiteY5" fmla="*/ 88392 h 319182"/>
                <a:gd name="connsiteX6" fmla="*/ 36671 w 39242"/>
                <a:gd name="connsiteY6" fmla="*/ 88392 h 319182"/>
                <a:gd name="connsiteX7" fmla="*/ 36671 w 39242"/>
                <a:gd name="connsiteY7" fmla="*/ 319183 h 319182"/>
                <a:gd name="connsiteX8" fmla="*/ 2286 w 39242"/>
                <a:gd name="connsiteY8" fmla="*/ 319183 h 319182"/>
                <a:gd name="connsiteX9" fmla="*/ 2286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286" y="88392"/>
                  </a:moveTo>
                  <a:lnTo>
                    <a:pt x="36671" y="88392"/>
                  </a:lnTo>
                  <a:lnTo>
                    <a:pt x="36671" y="319183"/>
                  </a:lnTo>
                  <a:lnTo>
                    <a:pt x="2286" y="319183"/>
                  </a:lnTo>
                  <a:lnTo>
                    <a:pt x="2286" y="88392"/>
                  </a:lnTo>
                  <a:close/>
                </a:path>
              </a:pathLst>
            </a:custGeom>
            <a:solidFill>
              <a:srgbClr val="44505E"/>
            </a:solidFill>
            <a:ln w="9525" cap="flat">
              <a:noFill/>
              <a:prstDash val="solid"/>
              <a:miter/>
            </a:ln>
          </p:spPr>
          <p:txBody>
            <a:bodyPr rtlCol="0" anchor="ctr"/>
            <a:lstStyle/>
            <a:p>
              <a:endParaRPr lang="pt-BR" noProof="0"/>
            </a:p>
          </p:txBody>
        </p:sp>
        <p:sp>
          <p:nvSpPr>
            <p:cNvPr id="39" name="Freeform: Shape 51">
              <a:extLst>
                <a:ext uri="{FF2B5EF4-FFF2-40B4-BE49-F238E27FC236}">
                  <a16:creationId xmlns:a16="http://schemas.microsoft.com/office/drawing/2014/main" id="{B7DD241D-BD42-904E-092E-0BD0F2218A3D}"/>
                </a:ext>
              </a:extLst>
            </p:cNvPr>
            <p:cNvSpPr/>
            <p:nvPr/>
          </p:nvSpPr>
          <p:spPr>
            <a:xfrm>
              <a:off x="6513253" y="901353"/>
              <a:ext cx="58615" cy="83182"/>
            </a:xfrm>
            <a:custGeom>
              <a:avLst/>
              <a:gdLst>
                <a:gd name="connsiteX0" fmla="*/ 110394 w 233171"/>
                <a:gd name="connsiteY0" fmla="*/ 330898 h 330898"/>
                <a:gd name="connsiteX1" fmla="*/ 69723 w 233171"/>
                <a:gd name="connsiteY1" fmla="*/ 322897 h 330898"/>
                <a:gd name="connsiteX2" fmla="*/ 34480 w 233171"/>
                <a:gd name="connsiteY2" fmla="*/ 299466 h 330898"/>
                <a:gd name="connsiteX3" fmla="*/ 9430 w 233171"/>
                <a:gd name="connsiteY3" fmla="*/ 261938 h 330898"/>
                <a:gd name="connsiteX4" fmla="*/ 0 w 233171"/>
                <a:gd name="connsiteY4" fmla="*/ 211264 h 330898"/>
                <a:gd name="connsiteX5" fmla="*/ 0 w 233171"/>
                <a:gd name="connsiteY5" fmla="*/ 210407 h 330898"/>
                <a:gd name="connsiteX6" fmla="*/ 9430 w 233171"/>
                <a:gd name="connsiteY6" fmla="*/ 159925 h 330898"/>
                <a:gd name="connsiteX7" fmla="*/ 34480 w 233171"/>
                <a:gd name="connsiteY7" fmla="*/ 122206 h 330898"/>
                <a:gd name="connsiteX8" fmla="*/ 69723 w 233171"/>
                <a:gd name="connsiteY8" fmla="*/ 98488 h 330898"/>
                <a:gd name="connsiteX9" fmla="*/ 110394 w 233171"/>
                <a:gd name="connsiteY9" fmla="*/ 90202 h 330898"/>
                <a:gd name="connsiteX10" fmla="*/ 139827 w 233171"/>
                <a:gd name="connsiteY10" fmla="*/ 94202 h 330898"/>
                <a:gd name="connsiteX11" fmla="*/ 163925 w 233171"/>
                <a:gd name="connsiteY11" fmla="*/ 104870 h 330898"/>
                <a:gd name="connsiteX12" fmla="*/ 183356 w 233171"/>
                <a:gd name="connsiteY12" fmla="*/ 120491 h 330898"/>
                <a:gd name="connsiteX13" fmla="*/ 198787 w 233171"/>
                <a:gd name="connsiteY13" fmla="*/ 139255 h 330898"/>
                <a:gd name="connsiteX14" fmla="*/ 198787 w 233171"/>
                <a:gd name="connsiteY14" fmla="*/ 0 h 330898"/>
                <a:gd name="connsiteX15" fmla="*/ 233172 w 233171"/>
                <a:gd name="connsiteY15" fmla="*/ 0 h 330898"/>
                <a:gd name="connsiteX16" fmla="*/ 233172 w 233171"/>
                <a:gd name="connsiteY16" fmla="*/ 325850 h 330898"/>
                <a:gd name="connsiteX17" fmla="*/ 198787 w 233171"/>
                <a:gd name="connsiteY17" fmla="*/ 325850 h 330898"/>
                <a:gd name="connsiteX18" fmla="*/ 198787 w 233171"/>
                <a:gd name="connsiteY18" fmla="*/ 279463 h 330898"/>
                <a:gd name="connsiteX19" fmla="*/ 182975 w 233171"/>
                <a:gd name="connsiteY19" fmla="*/ 299085 h 330898"/>
                <a:gd name="connsiteX20" fmla="*/ 163544 w 233171"/>
                <a:gd name="connsiteY20" fmla="*/ 315658 h 330898"/>
                <a:gd name="connsiteX21" fmla="*/ 139636 w 233171"/>
                <a:gd name="connsiteY21" fmla="*/ 326803 h 330898"/>
                <a:gd name="connsiteX22" fmla="*/ 110394 w 233171"/>
                <a:gd name="connsiteY22" fmla="*/ 330803 h 330898"/>
                <a:gd name="connsiteX23" fmla="*/ 116681 w 233171"/>
                <a:gd name="connsiteY23" fmla="*/ 300133 h 330898"/>
                <a:gd name="connsiteX24" fmla="*/ 147733 w 233171"/>
                <a:gd name="connsiteY24" fmla="*/ 293656 h 330898"/>
                <a:gd name="connsiteX25" fmla="*/ 174498 w 233171"/>
                <a:gd name="connsiteY25" fmla="*/ 275368 h 330898"/>
                <a:gd name="connsiteX26" fmla="*/ 193262 w 233171"/>
                <a:gd name="connsiteY26" fmla="*/ 247269 h 330898"/>
                <a:gd name="connsiteX27" fmla="*/ 200216 w 233171"/>
                <a:gd name="connsiteY27" fmla="*/ 210883 h 330898"/>
                <a:gd name="connsiteX28" fmla="*/ 200216 w 233171"/>
                <a:gd name="connsiteY28" fmla="*/ 210026 h 330898"/>
                <a:gd name="connsiteX29" fmla="*/ 193262 w 233171"/>
                <a:gd name="connsiteY29" fmla="*/ 173641 h 330898"/>
                <a:gd name="connsiteX30" fmla="*/ 174498 w 233171"/>
                <a:gd name="connsiteY30" fmla="*/ 145732 h 330898"/>
                <a:gd name="connsiteX31" fmla="*/ 147733 w 233171"/>
                <a:gd name="connsiteY31" fmla="*/ 127635 h 330898"/>
                <a:gd name="connsiteX32" fmla="*/ 116681 w 233171"/>
                <a:gd name="connsiteY32" fmla="*/ 121158 h 330898"/>
                <a:gd name="connsiteX33" fmla="*/ 84963 w 233171"/>
                <a:gd name="connsiteY33" fmla="*/ 127159 h 330898"/>
                <a:gd name="connsiteX34" fmla="*/ 59341 w 233171"/>
                <a:gd name="connsiteY34" fmla="*/ 144589 h 330898"/>
                <a:gd name="connsiteX35" fmla="*/ 41910 w 233171"/>
                <a:gd name="connsiteY35" fmla="*/ 172498 h 330898"/>
                <a:gd name="connsiteX36" fmla="*/ 35433 w 233171"/>
                <a:gd name="connsiteY36" fmla="*/ 210026 h 330898"/>
                <a:gd name="connsiteX37" fmla="*/ 35433 w 233171"/>
                <a:gd name="connsiteY37" fmla="*/ 210883 h 330898"/>
                <a:gd name="connsiteX38" fmla="*/ 41910 w 233171"/>
                <a:gd name="connsiteY38" fmla="*/ 247936 h 330898"/>
                <a:gd name="connsiteX39" fmla="*/ 59531 w 233171"/>
                <a:gd name="connsiteY39" fmla="*/ 276034 h 330898"/>
                <a:gd name="connsiteX40" fmla="*/ 85439 w 233171"/>
                <a:gd name="connsiteY40" fmla="*/ 293941 h 330898"/>
                <a:gd name="connsiteX41" fmla="*/ 116681 w 23317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3171" h="330898">
                  <a:moveTo>
                    <a:pt x="110394" y="330898"/>
                  </a:moveTo>
                  <a:cubicBezTo>
                    <a:pt x="96393" y="330898"/>
                    <a:pt x="82868" y="328231"/>
                    <a:pt x="69723" y="322897"/>
                  </a:cubicBezTo>
                  <a:cubicBezTo>
                    <a:pt x="56674" y="317563"/>
                    <a:pt x="44863" y="309753"/>
                    <a:pt x="34480" y="299466"/>
                  </a:cubicBezTo>
                  <a:cubicBezTo>
                    <a:pt x="24003" y="289179"/>
                    <a:pt x="15716" y="276701"/>
                    <a:pt x="9430" y="261938"/>
                  </a:cubicBezTo>
                  <a:cubicBezTo>
                    <a:pt x="3143" y="247174"/>
                    <a:pt x="0" y="230314"/>
                    <a:pt x="0" y="211264"/>
                  </a:cubicBezTo>
                  <a:lnTo>
                    <a:pt x="0" y="210407"/>
                  </a:lnTo>
                  <a:cubicBezTo>
                    <a:pt x="0" y="191643"/>
                    <a:pt x="3143" y="174879"/>
                    <a:pt x="9430" y="159925"/>
                  </a:cubicBezTo>
                  <a:cubicBezTo>
                    <a:pt x="15716" y="145066"/>
                    <a:pt x="24003" y="132493"/>
                    <a:pt x="34480" y="122206"/>
                  </a:cubicBezTo>
                  <a:cubicBezTo>
                    <a:pt x="44863" y="111919"/>
                    <a:pt x="56674" y="104013"/>
                    <a:pt x="69723" y="98488"/>
                  </a:cubicBezTo>
                  <a:cubicBezTo>
                    <a:pt x="82868" y="92964"/>
                    <a:pt x="96393" y="90202"/>
                    <a:pt x="110394" y="90202"/>
                  </a:cubicBezTo>
                  <a:cubicBezTo>
                    <a:pt x="121158" y="90202"/>
                    <a:pt x="130969" y="91535"/>
                    <a:pt x="139827" y="94202"/>
                  </a:cubicBezTo>
                  <a:cubicBezTo>
                    <a:pt x="148780" y="96869"/>
                    <a:pt x="156782" y="100489"/>
                    <a:pt x="163925" y="104870"/>
                  </a:cubicBezTo>
                  <a:cubicBezTo>
                    <a:pt x="171069" y="109347"/>
                    <a:pt x="177546" y="114586"/>
                    <a:pt x="183356" y="120491"/>
                  </a:cubicBezTo>
                  <a:cubicBezTo>
                    <a:pt x="189166" y="126492"/>
                    <a:pt x="194310" y="132683"/>
                    <a:pt x="198787" y="139255"/>
                  </a:cubicBezTo>
                  <a:lnTo>
                    <a:pt x="198787" y="0"/>
                  </a:lnTo>
                  <a:lnTo>
                    <a:pt x="233172" y="0"/>
                  </a:lnTo>
                  <a:lnTo>
                    <a:pt x="233172" y="325850"/>
                  </a:lnTo>
                  <a:lnTo>
                    <a:pt x="198787" y="325850"/>
                  </a:lnTo>
                  <a:lnTo>
                    <a:pt x="198787" y="279463"/>
                  </a:lnTo>
                  <a:cubicBezTo>
                    <a:pt x="194024" y="286321"/>
                    <a:pt x="188786" y="292894"/>
                    <a:pt x="182975" y="299085"/>
                  </a:cubicBezTo>
                  <a:cubicBezTo>
                    <a:pt x="177165" y="305371"/>
                    <a:pt x="170688" y="310896"/>
                    <a:pt x="163544" y="315658"/>
                  </a:cubicBezTo>
                  <a:cubicBezTo>
                    <a:pt x="156400" y="320421"/>
                    <a:pt x="148494" y="324136"/>
                    <a:pt x="139636" y="326803"/>
                  </a:cubicBezTo>
                  <a:cubicBezTo>
                    <a:pt x="130873" y="329470"/>
                    <a:pt x="121158" y="330803"/>
                    <a:pt x="110394" y="330803"/>
                  </a:cubicBezTo>
                  <a:close/>
                  <a:moveTo>
                    <a:pt x="116681" y="300133"/>
                  </a:moveTo>
                  <a:cubicBezTo>
                    <a:pt x="127445" y="300133"/>
                    <a:pt x="137732" y="297942"/>
                    <a:pt x="147733" y="293656"/>
                  </a:cubicBezTo>
                  <a:cubicBezTo>
                    <a:pt x="157734" y="289369"/>
                    <a:pt x="166592" y="283273"/>
                    <a:pt x="174498" y="275368"/>
                  </a:cubicBezTo>
                  <a:cubicBezTo>
                    <a:pt x="182404" y="267462"/>
                    <a:pt x="188595" y="258127"/>
                    <a:pt x="193262" y="247269"/>
                  </a:cubicBezTo>
                  <a:cubicBezTo>
                    <a:pt x="197834" y="236410"/>
                    <a:pt x="200216" y="224314"/>
                    <a:pt x="200216" y="210883"/>
                  </a:cubicBezTo>
                  <a:lnTo>
                    <a:pt x="200216" y="210026"/>
                  </a:lnTo>
                  <a:cubicBezTo>
                    <a:pt x="200216" y="196596"/>
                    <a:pt x="197929" y="184499"/>
                    <a:pt x="193262" y="173641"/>
                  </a:cubicBezTo>
                  <a:cubicBezTo>
                    <a:pt x="188595" y="162782"/>
                    <a:pt x="182404" y="153448"/>
                    <a:pt x="174498" y="145732"/>
                  </a:cubicBezTo>
                  <a:cubicBezTo>
                    <a:pt x="166592" y="138017"/>
                    <a:pt x="157639" y="132016"/>
                    <a:pt x="147733" y="127635"/>
                  </a:cubicBezTo>
                  <a:cubicBezTo>
                    <a:pt x="137732" y="123349"/>
                    <a:pt x="127445" y="121158"/>
                    <a:pt x="116681" y="121158"/>
                  </a:cubicBezTo>
                  <a:cubicBezTo>
                    <a:pt x="105346" y="121158"/>
                    <a:pt x="94774" y="123158"/>
                    <a:pt x="84963" y="127159"/>
                  </a:cubicBezTo>
                  <a:cubicBezTo>
                    <a:pt x="75152" y="131159"/>
                    <a:pt x="66580" y="136969"/>
                    <a:pt x="59341" y="144589"/>
                  </a:cubicBezTo>
                  <a:cubicBezTo>
                    <a:pt x="52007" y="152114"/>
                    <a:pt x="46291" y="161449"/>
                    <a:pt x="41910" y="172498"/>
                  </a:cubicBezTo>
                  <a:cubicBezTo>
                    <a:pt x="37624" y="183451"/>
                    <a:pt x="35433" y="196024"/>
                    <a:pt x="35433" y="210026"/>
                  </a:cubicBezTo>
                  <a:lnTo>
                    <a:pt x="35433" y="210883"/>
                  </a:lnTo>
                  <a:cubicBezTo>
                    <a:pt x="35433" y="224599"/>
                    <a:pt x="37624" y="236982"/>
                    <a:pt x="41910" y="247936"/>
                  </a:cubicBezTo>
                  <a:cubicBezTo>
                    <a:pt x="46196" y="258984"/>
                    <a:pt x="52101" y="268319"/>
                    <a:pt x="59531" y="276034"/>
                  </a:cubicBezTo>
                  <a:cubicBezTo>
                    <a:pt x="66960" y="283750"/>
                    <a:pt x="75629" y="289750"/>
                    <a:pt x="85439" y="293941"/>
                  </a:cubicBezTo>
                  <a:cubicBezTo>
                    <a:pt x="95250" y="298132"/>
                    <a:pt x="105632" y="300228"/>
                    <a:pt x="116681" y="300228"/>
                  </a:cubicBezTo>
                  <a:close/>
                </a:path>
              </a:pathLst>
            </a:custGeom>
            <a:solidFill>
              <a:srgbClr val="44505E"/>
            </a:solidFill>
            <a:ln w="9525" cap="flat">
              <a:noFill/>
              <a:prstDash val="solid"/>
              <a:miter/>
            </a:ln>
          </p:spPr>
          <p:txBody>
            <a:bodyPr rtlCol="0" anchor="ctr"/>
            <a:lstStyle/>
            <a:p>
              <a:endParaRPr lang="pt-BR" noProof="0"/>
            </a:p>
          </p:txBody>
        </p:sp>
        <p:sp>
          <p:nvSpPr>
            <p:cNvPr id="40" name="Freeform: Shape 52">
              <a:extLst>
                <a:ext uri="{FF2B5EF4-FFF2-40B4-BE49-F238E27FC236}">
                  <a16:creationId xmlns:a16="http://schemas.microsoft.com/office/drawing/2014/main" id="{87640D12-5990-DB87-99E8-8A2020844DA2}"/>
                </a:ext>
              </a:extLst>
            </p:cNvPr>
            <p:cNvSpPr/>
            <p:nvPr/>
          </p:nvSpPr>
          <p:spPr>
            <a:xfrm>
              <a:off x="6586762"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0 w 202977"/>
                <a:gd name="connsiteY16" fmla="*/ 48196 h 239267"/>
                <a:gd name="connsiteX17" fmla="*/ 20383 w 202977"/>
                <a:gd name="connsiteY17" fmla="*/ 19907 h 239267"/>
                <a:gd name="connsiteX18" fmla="*/ 59245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0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1"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675" y="92678"/>
                    <a:pt x="84011" y="90964"/>
                    <a:pt x="98584" y="90964"/>
                  </a:cubicBezTo>
                  <a:cubicBezTo>
                    <a:pt x="113157" y="90964"/>
                    <a:pt x="126302"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0" y="33147"/>
                    <a:pt x="63436" y="36100"/>
                  </a:cubicBezTo>
                  <a:cubicBezTo>
                    <a:pt x="52292" y="39053"/>
                    <a:pt x="41338" y="43053"/>
                    <a:pt x="30670" y="48196"/>
                  </a:cubicBezTo>
                  <a:lnTo>
                    <a:pt x="20383" y="19907"/>
                  </a:lnTo>
                  <a:cubicBezTo>
                    <a:pt x="33147" y="13906"/>
                    <a:pt x="46101" y="9049"/>
                    <a:pt x="59245" y="5429"/>
                  </a:cubicBezTo>
                  <a:cubicBezTo>
                    <a:pt x="72294" y="1810"/>
                    <a:pt x="87344" y="0"/>
                    <a:pt x="104299" y="0"/>
                  </a:cubicBezTo>
                  <a:cubicBezTo>
                    <a:pt x="137064" y="0"/>
                    <a:pt x="161925" y="8477"/>
                    <a:pt x="178879" y="25432"/>
                  </a:cubicBezTo>
                  <a:cubicBezTo>
                    <a:pt x="194976"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0" y="239173"/>
                  </a:cubicBezTo>
                  <a:close/>
                  <a:moveTo>
                    <a:pt x="93154" y="211169"/>
                  </a:moveTo>
                  <a:cubicBezTo>
                    <a:pt x="103822" y="211169"/>
                    <a:pt x="113729" y="209740"/>
                    <a:pt x="122967" y="206788"/>
                  </a:cubicBezTo>
                  <a:cubicBezTo>
                    <a:pt x="132207"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4" y="119348"/>
                    <a:pt x="116871"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41" name="Freeform: Shape 53">
              <a:extLst>
                <a:ext uri="{FF2B5EF4-FFF2-40B4-BE49-F238E27FC236}">
                  <a16:creationId xmlns:a16="http://schemas.microsoft.com/office/drawing/2014/main" id="{0499822B-9016-1DBF-CC7E-0330292E4F65}"/>
                </a:ext>
              </a:extLst>
            </p:cNvPr>
            <p:cNvSpPr/>
            <p:nvPr/>
          </p:nvSpPr>
          <p:spPr>
            <a:xfrm>
              <a:off x="6651291" y="924268"/>
              <a:ext cx="44680" cy="60195"/>
            </a:xfrm>
            <a:custGeom>
              <a:avLst/>
              <a:gdLst>
                <a:gd name="connsiteX0" fmla="*/ 95535 w 177736"/>
                <a:gd name="connsiteY0" fmla="*/ 239268 h 239458"/>
                <a:gd name="connsiteX1" fmla="*/ 45053 w 177736"/>
                <a:gd name="connsiteY1" fmla="*/ 230124 h 239458"/>
                <a:gd name="connsiteX2" fmla="*/ 0 w 177736"/>
                <a:gd name="connsiteY2" fmla="*/ 205359 h 239458"/>
                <a:gd name="connsiteX3" fmla="*/ 17430 w 177736"/>
                <a:gd name="connsiteY3" fmla="*/ 180785 h 239458"/>
                <a:gd name="connsiteX4" fmla="*/ 56483 w 177736"/>
                <a:gd name="connsiteY4" fmla="*/ 202692 h 239458"/>
                <a:gd name="connsiteX5" fmla="*/ 97345 w 177736"/>
                <a:gd name="connsiteY5" fmla="*/ 210217 h 239458"/>
                <a:gd name="connsiteX6" fmla="*/ 131730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825 w 177736"/>
                <a:gd name="connsiteY10" fmla="*/ 147066 h 239458"/>
                <a:gd name="connsiteX11" fmla="*/ 109251 w 177736"/>
                <a:gd name="connsiteY11" fmla="*/ 138779 h 239458"/>
                <a:gd name="connsiteX12" fmla="*/ 87630 w 177736"/>
                <a:gd name="connsiteY12" fmla="*/ 132112 h 239458"/>
                <a:gd name="connsiteX13" fmla="*/ 60579 w 177736"/>
                <a:gd name="connsiteY13" fmla="*/ 123444 h 239458"/>
                <a:gd name="connsiteX14" fmla="*/ 36004 w 177736"/>
                <a:gd name="connsiteY14" fmla="*/ 111633 h 239458"/>
                <a:gd name="connsiteX15" fmla="*/ 18192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59 w 177736"/>
                <a:gd name="connsiteY22" fmla="*/ 6953 h 239458"/>
                <a:gd name="connsiteX23" fmla="*/ 172878 w 177736"/>
                <a:gd name="connsiteY23" fmla="*/ 25527 h 239458"/>
                <a:gd name="connsiteX24" fmla="*/ 157257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3 w 177736"/>
                <a:gd name="connsiteY32" fmla="*/ 96203 h 239458"/>
                <a:gd name="connsiteX33" fmla="*/ 103631 w 177736"/>
                <a:gd name="connsiteY33" fmla="*/ 103346 h 239458"/>
                <a:gd name="connsiteX34" fmla="*/ 130207 w 177736"/>
                <a:gd name="connsiteY34" fmla="*/ 112300 h 239458"/>
                <a:gd name="connsiteX35" fmla="*/ 154114 w 177736"/>
                <a:gd name="connsiteY35" fmla="*/ 124778 h 239458"/>
                <a:gd name="connsiteX36" fmla="*/ 171259 w 177736"/>
                <a:gd name="connsiteY36" fmla="*/ 143066 h 239458"/>
                <a:gd name="connsiteX37" fmla="*/ 177736 w 177736"/>
                <a:gd name="connsiteY37" fmla="*/ 169450 h 239458"/>
                <a:gd name="connsiteX38" fmla="*/ 177736 w 177736"/>
                <a:gd name="connsiteY38" fmla="*/ 170307 h 239458"/>
                <a:gd name="connsiteX39" fmla="*/ 171259 w 177736"/>
                <a:gd name="connsiteY39" fmla="*/ 199549 h 239458"/>
                <a:gd name="connsiteX40" fmla="*/ 153828 w 177736"/>
                <a:gd name="connsiteY40" fmla="*/ 221171 h 239458"/>
                <a:gd name="connsiteX41" fmla="*/ 127921 w 177736"/>
                <a:gd name="connsiteY41" fmla="*/ 234791 h 239458"/>
                <a:gd name="connsiteX42" fmla="*/ 95535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5" y="239268"/>
                  </a:moveTo>
                  <a:cubicBezTo>
                    <a:pt x="78867" y="239268"/>
                    <a:pt x="62007" y="236220"/>
                    <a:pt x="45053" y="230124"/>
                  </a:cubicBezTo>
                  <a:cubicBezTo>
                    <a:pt x="28098" y="224028"/>
                    <a:pt x="13049" y="215741"/>
                    <a:pt x="0" y="205359"/>
                  </a:cubicBezTo>
                  <a:lnTo>
                    <a:pt x="17430" y="180785"/>
                  </a:lnTo>
                  <a:cubicBezTo>
                    <a:pt x="29908" y="190310"/>
                    <a:pt x="42957" y="197644"/>
                    <a:pt x="56483" y="202692"/>
                  </a:cubicBezTo>
                  <a:cubicBezTo>
                    <a:pt x="70009" y="207740"/>
                    <a:pt x="83629" y="210217"/>
                    <a:pt x="97345" y="210217"/>
                  </a:cubicBezTo>
                  <a:cubicBezTo>
                    <a:pt x="111061" y="210217"/>
                    <a:pt x="122777" y="206978"/>
                    <a:pt x="131730" y="200406"/>
                  </a:cubicBezTo>
                  <a:cubicBezTo>
                    <a:pt x="140684" y="193834"/>
                    <a:pt x="145161" y="184976"/>
                    <a:pt x="145161" y="173641"/>
                  </a:cubicBezTo>
                  <a:lnTo>
                    <a:pt x="145161" y="172784"/>
                  </a:lnTo>
                  <a:cubicBezTo>
                    <a:pt x="145161" y="167164"/>
                    <a:pt x="143541" y="162211"/>
                    <a:pt x="140494" y="158020"/>
                  </a:cubicBezTo>
                  <a:cubicBezTo>
                    <a:pt x="137350" y="153829"/>
                    <a:pt x="133159" y="150209"/>
                    <a:pt x="127825" y="147066"/>
                  </a:cubicBezTo>
                  <a:cubicBezTo>
                    <a:pt x="122491" y="143923"/>
                    <a:pt x="116300" y="141161"/>
                    <a:pt x="109251" y="138779"/>
                  </a:cubicBezTo>
                  <a:cubicBezTo>
                    <a:pt x="102298" y="136398"/>
                    <a:pt x="95059" y="134207"/>
                    <a:pt x="87630" y="132112"/>
                  </a:cubicBezTo>
                  <a:cubicBezTo>
                    <a:pt x="78676" y="129445"/>
                    <a:pt x="69722" y="126492"/>
                    <a:pt x="60579" y="123444"/>
                  </a:cubicBezTo>
                  <a:cubicBezTo>
                    <a:pt x="51530" y="120301"/>
                    <a:pt x="43339" y="116396"/>
                    <a:pt x="36004" y="111633"/>
                  </a:cubicBezTo>
                  <a:cubicBezTo>
                    <a:pt x="28670" y="106871"/>
                    <a:pt x="22764" y="100870"/>
                    <a:pt x="18192" y="93726"/>
                  </a:cubicBezTo>
                  <a:cubicBezTo>
                    <a:pt x="13525" y="86582"/>
                    <a:pt x="11239" y="77629"/>
                    <a:pt x="11239" y="66961"/>
                  </a:cubicBezTo>
                  <a:lnTo>
                    <a:pt x="11239" y="66008"/>
                  </a:lnTo>
                  <a:cubicBezTo>
                    <a:pt x="11239" y="56198"/>
                    <a:pt x="13144" y="47149"/>
                    <a:pt x="17050" y="39053"/>
                  </a:cubicBezTo>
                  <a:cubicBezTo>
                    <a:pt x="20955" y="30861"/>
                    <a:pt x="26384" y="23908"/>
                    <a:pt x="33338" y="18098"/>
                  </a:cubicBezTo>
                  <a:cubicBezTo>
                    <a:pt x="40291" y="12287"/>
                    <a:pt x="48673" y="7811"/>
                    <a:pt x="58388" y="4667"/>
                  </a:cubicBezTo>
                  <a:cubicBezTo>
                    <a:pt x="68008" y="1524"/>
                    <a:pt x="78581" y="0"/>
                    <a:pt x="89821" y="0"/>
                  </a:cubicBezTo>
                  <a:cubicBezTo>
                    <a:pt x="104108" y="0"/>
                    <a:pt x="118586" y="2286"/>
                    <a:pt x="133159" y="6953"/>
                  </a:cubicBezTo>
                  <a:cubicBezTo>
                    <a:pt x="147732" y="11621"/>
                    <a:pt x="160972" y="17717"/>
                    <a:pt x="172878" y="25527"/>
                  </a:cubicBezTo>
                  <a:lnTo>
                    <a:pt x="157257" y="51435"/>
                  </a:lnTo>
                  <a:cubicBezTo>
                    <a:pt x="146494" y="44577"/>
                    <a:pt x="135255" y="39148"/>
                    <a:pt x="123539" y="35147"/>
                  </a:cubicBezTo>
                  <a:cubicBezTo>
                    <a:pt x="111823" y="31147"/>
                    <a:pt x="100203" y="29146"/>
                    <a:pt x="88963" y="29146"/>
                  </a:cubicBezTo>
                  <a:cubicBezTo>
                    <a:pt x="75247" y="29146"/>
                    <a:pt x="64389" y="32385"/>
                    <a:pt x="56388" y="38767"/>
                  </a:cubicBezTo>
                  <a:cubicBezTo>
                    <a:pt x="48291" y="45149"/>
                    <a:pt x="44291" y="53150"/>
                    <a:pt x="44291" y="62675"/>
                  </a:cubicBezTo>
                  <a:lnTo>
                    <a:pt x="44291" y="63627"/>
                  </a:lnTo>
                  <a:cubicBezTo>
                    <a:pt x="44291" y="68961"/>
                    <a:pt x="45910" y="73628"/>
                    <a:pt x="49244" y="77724"/>
                  </a:cubicBezTo>
                  <a:cubicBezTo>
                    <a:pt x="52482" y="81725"/>
                    <a:pt x="56864" y="85249"/>
                    <a:pt x="62389" y="88202"/>
                  </a:cubicBezTo>
                  <a:cubicBezTo>
                    <a:pt x="67913" y="91154"/>
                    <a:pt x="74200" y="93821"/>
                    <a:pt x="81343" y="96203"/>
                  </a:cubicBezTo>
                  <a:cubicBezTo>
                    <a:pt x="88487" y="98584"/>
                    <a:pt x="95916" y="100965"/>
                    <a:pt x="103631" y="103346"/>
                  </a:cubicBezTo>
                  <a:cubicBezTo>
                    <a:pt x="112585" y="106013"/>
                    <a:pt x="121444" y="108966"/>
                    <a:pt x="130207" y="112300"/>
                  </a:cubicBezTo>
                  <a:cubicBezTo>
                    <a:pt x="138969" y="115538"/>
                    <a:pt x="146971" y="119729"/>
                    <a:pt x="154114" y="124778"/>
                  </a:cubicBezTo>
                  <a:cubicBezTo>
                    <a:pt x="161258" y="129826"/>
                    <a:pt x="166973" y="135922"/>
                    <a:pt x="171259" y="143066"/>
                  </a:cubicBezTo>
                  <a:cubicBezTo>
                    <a:pt x="175546" y="150209"/>
                    <a:pt x="177736" y="158972"/>
                    <a:pt x="177736" y="169450"/>
                  </a:cubicBezTo>
                  <a:lnTo>
                    <a:pt x="177736" y="170307"/>
                  </a:lnTo>
                  <a:cubicBezTo>
                    <a:pt x="177736" y="181356"/>
                    <a:pt x="175546" y="191071"/>
                    <a:pt x="171259" y="199549"/>
                  </a:cubicBezTo>
                  <a:cubicBezTo>
                    <a:pt x="166973" y="208026"/>
                    <a:pt x="161163" y="215265"/>
                    <a:pt x="153828" y="221171"/>
                  </a:cubicBezTo>
                  <a:cubicBezTo>
                    <a:pt x="146589" y="227171"/>
                    <a:pt x="137922" y="231648"/>
                    <a:pt x="127921" y="234791"/>
                  </a:cubicBezTo>
                  <a:cubicBezTo>
                    <a:pt x="117919" y="237935"/>
                    <a:pt x="107156" y="239459"/>
                    <a:pt x="95535" y="239459"/>
                  </a:cubicBezTo>
                  <a:close/>
                </a:path>
              </a:pathLst>
            </a:custGeom>
            <a:solidFill>
              <a:srgbClr val="44505E"/>
            </a:solidFill>
            <a:ln w="9525" cap="flat">
              <a:noFill/>
              <a:prstDash val="solid"/>
              <a:miter/>
            </a:ln>
          </p:spPr>
          <p:txBody>
            <a:bodyPr rtlCol="0" anchor="ctr"/>
            <a:lstStyle/>
            <a:p>
              <a:endParaRPr lang="pt-BR" noProof="0"/>
            </a:p>
          </p:txBody>
        </p:sp>
        <p:sp>
          <p:nvSpPr>
            <p:cNvPr id="42" name="Freeform: Shape 54">
              <a:extLst>
                <a:ext uri="{FF2B5EF4-FFF2-40B4-BE49-F238E27FC236}">
                  <a16:creationId xmlns:a16="http://schemas.microsoft.com/office/drawing/2014/main" id="{B6E089EF-C81F-A562-B56B-7A086E7C6807}"/>
                </a:ext>
              </a:extLst>
            </p:cNvPr>
            <p:cNvSpPr/>
            <p:nvPr/>
          </p:nvSpPr>
          <p:spPr>
            <a:xfrm>
              <a:off x="5250320" y="846952"/>
              <a:ext cx="1459036" cy="16186"/>
            </a:xfrm>
            <a:custGeom>
              <a:avLst/>
              <a:gdLst>
                <a:gd name="connsiteX0" fmla="*/ 0 w 5804058"/>
                <a:gd name="connsiteY0" fmla="*/ 0 h 64388"/>
                <a:gd name="connsiteX1" fmla="*/ 5804059 w 5804058"/>
                <a:gd name="connsiteY1" fmla="*/ 0 h 64388"/>
                <a:gd name="connsiteX2" fmla="*/ 5804059 w 5804058"/>
                <a:gd name="connsiteY2" fmla="*/ 64389 h 64388"/>
                <a:gd name="connsiteX3" fmla="*/ 0 w 5804058"/>
                <a:gd name="connsiteY3" fmla="*/ 64389 h 64388"/>
              </a:gdLst>
              <a:ahLst/>
              <a:cxnLst>
                <a:cxn ang="0">
                  <a:pos x="connsiteX0" y="connsiteY0"/>
                </a:cxn>
                <a:cxn ang="0">
                  <a:pos x="connsiteX1" y="connsiteY1"/>
                </a:cxn>
                <a:cxn ang="0">
                  <a:pos x="connsiteX2" y="connsiteY2"/>
                </a:cxn>
                <a:cxn ang="0">
                  <a:pos x="connsiteX3" y="connsiteY3"/>
                </a:cxn>
              </a:cxnLst>
              <a:rect l="l" t="t" r="r" b="b"/>
              <a:pathLst>
                <a:path w="5804058" h="64388">
                  <a:moveTo>
                    <a:pt x="0" y="0"/>
                  </a:moveTo>
                  <a:lnTo>
                    <a:pt x="5804059" y="0"/>
                  </a:lnTo>
                  <a:lnTo>
                    <a:pt x="5804059" y="64389"/>
                  </a:lnTo>
                  <a:lnTo>
                    <a:pt x="0" y="64389"/>
                  </a:lnTo>
                  <a:close/>
                </a:path>
              </a:pathLst>
            </a:custGeom>
            <a:solidFill>
              <a:srgbClr val="44505E"/>
            </a:solidFill>
            <a:ln w="9525" cap="flat">
              <a:noFill/>
              <a:prstDash val="solid"/>
              <a:miter/>
            </a:ln>
          </p:spPr>
          <p:txBody>
            <a:bodyPr rtlCol="0" anchor="ctr"/>
            <a:lstStyle/>
            <a:p>
              <a:endParaRPr lang="pt-BR" noProof="0"/>
            </a:p>
          </p:txBody>
        </p:sp>
        <p:sp>
          <p:nvSpPr>
            <p:cNvPr id="43" name="Freeform: Shape 55">
              <a:extLst>
                <a:ext uri="{FF2B5EF4-FFF2-40B4-BE49-F238E27FC236}">
                  <a16:creationId xmlns:a16="http://schemas.microsoft.com/office/drawing/2014/main" id="{707627B9-0728-C7C6-2838-0FA7C57DEEFE}"/>
                </a:ext>
              </a:extLst>
            </p:cNvPr>
            <p:cNvSpPr/>
            <p:nvPr/>
          </p:nvSpPr>
          <p:spPr>
            <a:xfrm>
              <a:off x="6902633" y="268821"/>
              <a:ext cx="273418" cy="601046"/>
            </a:xfrm>
            <a:custGeom>
              <a:avLst/>
              <a:gdLst>
                <a:gd name="connsiteX0" fmla="*/ 0 w 1087659"/>
                <a:gd name="connsiteY0" fmla="*/ 210979 h 2390965"/>
                <a:gd name="connsiteX1" fmla="*/ 125063 w 1087659"/>
                <a:gd name="connsiteY1" fmla="*/ 103442 h 2390965"/>
                <a:gd name="connsiteX2" fmla="*/ 250031 w 1087659"/>
                <a:gd name="connsiteY2" fmla="*/ 210979 h 2390965"/>
                <a:gd name="connsiteX3" fmla="*/ 250031 w 1087659"/>
                <a:gd name="connsiteY3" fmla="*/ 1922717 h 2390965"/>
                <a:gd name="connsiteX4" fmla="*/ 249841 w 1087659"/>
                <a:gd name="connsiteY4" fmla="*/ 1922717 h 2390965"/>
                <a:gd name="connsiteX5" fmla="*/ 249841 w 1087659"/>
                <a:gd name="connsiteY5" fmla="*/ 1925955 h 2390965"/>
                <a:gd name="connsiteX6" fmla="*/ 333756 w 1087659"/>
                <a:gd name="connsiteY6" fmla="*/ 2100263 h 2390965"/>
                <a:gd name="connsiteX7" fmla="*/ 335566 w 1087659"/>
                <a:gd name="connsiteY7" fmla="*/ 2101787 h 2390965"/>
                <a:gd name="connsiteX8" fmla="*/ 336042 w 1087659"/>
                <a:gd name="connsiteY8" fmla="*/ 2102168 h 2390965"/>
                <a:gd name="connsiteX9" fmla="*/ 543877 w 1087659"/>
                <a:gd name="connsiteY9" fmla="*/ 2175891 h 2390965"/>
                <a:gd name="connsiteX10" fmla="*/ 749998 w 1087659"/>
                <a:gd name="connsiteY10" fmla="*/ 2103692 h 2390965"/>
                <a:gd name="connsiteX11" fmla="*/ 751713 w 1087659"/>
                <a:gd name="connsiteY11" fmla="*/ 2102168 h 2390965"/>
                <a:gd name="connsiteX12" fmla="*/ 752189 w 1087659"/>
                <a:gd name="connsiteY12" fmla="*/ 2101787 h 2390965"/>
                <a:gd name="connsiteX13" fmla="*/ 837819 w 1087659"/>
                <a:gd name="connsiteY13" fmla="*/ 1922812 h 2390965"/>
                <a:gd name="connsiteX14" fmla="*/ 837819 w 1087659"/>
                <a:gd name="connsiteY14" fmla="*/ 107537 h 2390965"/>
                <a:gd name="connsiteX15" fmla="*/ 962787 w 1087659"/>
                <a:gd name="connsiteY15" fmla="*/ 0 h 2390965"/>
                <a:gd name="connsiteX16" fmla="*/ 1087660 w 1087659"/>
                <a:gd name="connsiteY16" fmla="*/ 107537 h 2390965"/>
                <a:gd name="connsiteX17" fmla="*/ 1087660 w 1087659"/>
                <a:gd name="connsiteY17" fmla="*/ 1922621 h 2390965"/>
                <a:gd name="connsiteX18" fmla="*/ 928307 w 1087659"/>
                <a:gd name="connsiteY18" fmla="*/ 2253234 h 2390965"/>
                <a:gd name="connsiteX19" fmla="*/ 928116 w 1087659"/>
                <a:gd name="connsiteY19" fmla="*/ 2253424 h 2390965"/>
                <a:gd name="connsiteX20" fmla="*/ 927830 w 1087659"/>
                <a:gd name="connsiteY20" fmla="*/ 2253710 h 2390965"/>
                <a:gd name="connsiteX21" fmla="*/ 927354 w 1087659"/>
                <a:gd name="connsiteY21" fmla="*/ 2254187 h 2390965"/>
                <a:gd name="connsiteX22" fmla="*/ 543783 w 1087659"/>
                <a:gd name="connsiteY22" fmla="*/ 2390966 h 2390965"/>
                <a:gd name="connsiteX23" fmla="*/ 159734 w 1087659"/>
                <a:gd name="connsiteY23" fmla="*/ 2253710 h 2390965"/>
                <a:gd name="connsiteX24" fmla="*/ 159734 w 1087659"/>
                <a:gd name="connsiteY24" fmla="*/ 2253424 h 2390965"/>
                <a:gd name="connsiteX25" fmla="*/ 159353 w 1087659"/>
                <a:gd name="connsiteY25" fmla="*/ 2253234 h 2390965"/>
                <a:gd name="connsiteX26" fmla="*/ 158877 w 1087659"/>
                <a:gd name="connsiteY26" fmla="*/ 2252948 h 2390965"/>
                <a:gd name="connsiteX27" fmla="*/ 0 w 1087659"/>
                <a:gd name="connsiteY27" fmla="*/ 1922621 h 2390965"/>
                <a:gd name="connsiteX28" fmla="*/ 0 w 1087659"/>
                <a:gd name="connsiteY28" fmla="*/ 1922621 h 2390965"/>
                <a:gd name="connsiteX29" fmla="*/ 0 w 1087659"/>
                <a:gd name="connsiteY29" fmla="*/ 210979 h 239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87659" h="2390965">
                  <a:moveTo>
                    <a:pt x="0" y="210979"/>
                  </a:moveTo>
                  <a:cubicBezTo>
                    <a:pt x="0" y="151638"/>
                    <a:pt x="56007" y="103442"/>
                    <a:pt x="125063" y="103442"/>
                  </a:cubicBezTo>
                  <a:cubicBezTo>
                    <a:pt x="194120" y="103442"/>
                    <a:pt x="250031" y="151638"/>
                    <a:pt x="250031" y="210979"/>
                  </a:cubicBezTo>
                  <a:lnTo>
                    <a:pt x="250031" y="1922717"/>
                  </a:lnTo>
                  <a:lnTo>
                    <a:pt x="249841" y="1922717"/>
                  </a:lnTo>
                  <a:lnTo>
                    <a:pt x="249841" y="1925955"/>
                  </a:lnTo>
                  <a:cubicBezTo>
                    <a:pt x="250793" y="1994059"/>
                    <a:pt x="282797" y="2055495"/>
                    <a:pt x="333756" y="2100263"/>
                  </a:cubicBezTo>
                  <a:lnTo>
                    <a:pt x="335566" y="2101787"/>
                  </a:lnTo>
                  <a:lnTo>
                    <a:pt x="336042" y="2102168"/>
                  </a:lnTo>
                  <a:cubicBezTo>
                    <a:pt x="388906" y="2147697"/>
                    <a:pt x="462343" y="2175891"/>
                    <a:pt x="543877" y="2175891"/>
                  </a:cubicBezTo>
                  <a:cubicBezTo>
                    <a:pt x="625411" y="2175891"/>
                    <a:pt x="697420" y="2148364"/>
                    <a:pt x="749998" y="2103692"/>
                  </a:cubicBezTo>
                  <a:lnTo>
                    <a:pt x="751713" y="2102168"/>
                  </a:lnTo>
                  <a:lnTo>
                    <a:pt x="752189" y="2101787"/>
                  </a:lnTo>
                  <a:cubicBezTo>
                    <a:pt x="805053" y="2056352"/>
                    <a:pt x="837819" y="1993011"/>
                    <a:pt x="837819" y="1922812"/>
                  </a:cubicBezTo>
                  <a:lnTo>
                    <a:pt x="837819" y="107537"/>
                  </a:lnTo>
                  <a:cubicBezTo>
                    <a:pt x="837819" y="48196"/>
                    <a:pt x="893731" y="0"/>
                    <a:pt x="962787" y="0"/>
                  </a:cubicBezTo>
                  <a:cubicBezTo>
                    <a:pt x="1031843" y="0"/>
                    <a:pt x="1087660" y="48196"/>
                    <a:pt x="1087660" y="107537"/>
                  </a:cubicBezTo>
                  <a:lnTo>
                    <a:pt x="1087660" y="1922621"/>
                  </a:lnTo>
                  <a:cubicBezTo>
                    <a:pt x="1087660" y="2051399"/>
                    <a:pt x="1026795" y="2168366"/>
                    <a:pt x="928307" y="2253234"/>
                  </a:cubicBezTo>
                  <a:lnTo>
                    <a:pt x="928116" y="2253424"/>
                  </a:lnTo>
                  <a:lnTo>
                    <a:pt x="927830" y="2253710"/>
                  </a:lnTo>
                  <a:lnTo>
                    <a:pt x="927354" y="2254187"/>
                  </a:lnTo>
                  <a:cubicBezTo>
                    <a:pt x="828770" y="2338673"/>
                    <a:pt x="693134" y="2390966"/>
                    <a:pt x="543783" y="2390966"/>
                  </a:cubicBezTo>
                  <a:cubicBezTo>
                    <a:pt x="394430" y="2390966"/>
                    <a:pt x="258413" y="2338483"/>
                    <a:pt x="159734" y="2253710"/>
                  </a:cubicBezTo>
                  <a:lnTo>
                    <a:pt x="159734" y="2253424"/>
                  </a:lnTo>
                  <a:cubicBezTo>
                    <a:pt x="159734" y="2253424"/>
                    <a:pt x="159353" y="2253234"/>
                    <a:pt x="159353" y="2253234"/>
                  </a:cubicBezTo>
                  <a:lnTo>
                    <a:pt x="158877" y="2252948"/>
                  </a:lnTo>
                  <a:cubicBezTo>
                    <a:pt x="60770" y="2167985"/>
                    <a:pt x="0" y="2051304"/>
                    <a:pt x="0" y="1922621"/>
                  </a:cubicBezTo>
                  <a:lnTo>
                    <a:pt x="0" y="1922621"/>
                  </a:lnTo>
                  <a:lnTo>
                    <a:pt x="0" y="210979"/>
                  </a:lnTo>
                  <a:close/>
                </a:path>
              </a:pathLst>
            </a:custGeom>
            <a:solidFill>
              <a:srgbClr val="8FC640"/>
            </a:solidFill>
            <a:ln w="9525" cap="flat">
              <a:noFill/>
              <a:prstDash val="solid"/>
              <a:miter/>
            </a:ln>
          </p:spPr>
          <p:txBody>
            <a:bodyPr rtlCol="0" anchor="ctr"/>
            <a:lstStyle/>
            <a:p>
              <a:endParaRPr lang="pt-BR" noProof="0"/>
            </a:p>
          </p:txBody>
        </p:sp>
        <p:sp>
          <p:nvSpPr>
            <p:cNvPr id="44" name="Freeform: Shape 56">
              <a:extLst>
                <a:ext uri="{FF2B5EF4-FFF2-40B4-BE49-F238E27FC236}">
                  <a16:creationId xmlns:a16="http://schemas.microsoft.com/office/drawing/2014/main" id="{B2E4F29C-51E4-4943-D294-65DC523D25C4}"/>
                </a:ext>
              </a:extLst>
            </p:cNvPr>
            <p:cNvSpPr/>
            <p:nvPr/>
          </p:nvSpPr>
          <p:spPr>
            <a:xfrm>
              <a:off x="7013590" y="213965"/>
              <a:ext cx="54018" cy="562280"/>
            </a:xfrm>
            <a:custGeom>
              <a:avLst/>
              <a:gdLst>
                <a:gd name="connsiteX0" fmla="*/ 0 w 214883"/>
                <a:gd name="connsiteY0" fmla="*/ 107537 h 2236755"/>
                <a:gd name="connsiteX1" fmla="*/ 107537 w 214883"/>
                <a:gd name="connsiteY1" fmla="*/ 0 h 2236755"/>
                <a:gd name="connsiteX2" fmla="*/ 214884 w 214883"/>
                <a:gd name="connsiteY2" fmla="*/ 107537 h 2236755"/>
                <a:gd name="connsiteX3" fmla="*/ 214884 w 214883"/>
                <a:gd name="connsiteY3" fmla="*/ 2129219 h 2236755"/>
                <a:gd name="connsiteX4" fmla="*/ 107537 w 214883"/>
                <a:gd name="connsiteY4" fmla="*/ 2236756 h 2236755"/>
                <a:gd name="connsiteX5" fmla="*/ 0 w 214883"/>
                <a:gd name="connsiteY5" fmla="*/ 2129219 h 2236755"/>
                <a:gd name="connsiteX6" fmla="*/ 0 w 214883"/>
                <a:gd name="connsiteY6" fmla="*/ 107537 h 223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 h="2236755">
                  <a:moveTo>
                    <a:pt x="0" y="107537"/>
                  </a:moveTo>
                  <a:cubicBezTo>
                    <a:pt x="0" y="48197"/>
                    <a:pt x="48101" y="0"/>
                    <a:pt x="107537" y="0"/>
                  </a:cubicBezTo>
                  <a:cubicBezTo>
                    <a:pt x="166973" y="0"/>
                    <a:pt x="214884" y="48197"/>
                    <a:pt x="214884" y="107537"/>
                  </a:cubicBezTo>
                  <a:lnTo>
                    <a:pt x="214884" y="2129219"/>
                  </a:lnTo>
                  <a:cubicBezTo>
                    <a:pt x="214884" y="2188559"/>
                    <a:pt x="166782" y="2236756"/>
                    <a:pt x="107537" y="2236756"/>
                  </a:cubicBezTo>
                  <a:cubicBezTo>
                    <a:pt x="48291" y="2236756"/>
                    <a:pt x="0" y="2188559"/>
                    <a:pt x="0" y="2129219"/>
                  </a:cubicBezTo>
                  <a:lnTo>
                    <a:pt x="0" y="107537"/>
                  </a:lnTo>
                  <a:close/>
                </a:path>
              </a:pathLst>
            </a:custGeom>
            <a:solidFill>
              <a:srgbClr val="3698B0"/>
            </a:solidFill>
            <a:ln w="9525" cap="flat">
              <a:noFill/>
              <a:prstDash val="solid"/>
              <a:miter/>
            </a:ln>
          </p:spPr>
          <p:txBody>
            <a:bodyPr rtlCol="0" anchor="ctr"/>
            <a:lstStyle/>
            <a:p>
              <a:endParaRPr lang="pt-BR" noProof="0"/>
            </a:p>
          </p:txBody>
        </p:sp>
        <p:sp>
          <p:nvSpPr>
            <p:cNvPr id="45" name="Freeform: Shape 57">
              <a:extLst>
                <a:ext uri="{FF2B5EF4-FFF2-40B4-BE49-F238E27FC236}">
                  <a16:creationId xmlns:a16="http://schemas.microsoft.com/office/drawing/2014/main" id="{0C115359-804B-355F-F337-F39864B0C2DC}"/>
                </a:ext>
              </a:extLst>
            </p:cNvPr>
            <p:cNvSpPr/>
            <p:nvPr/>
          </p:nvSpPr>
          <p:spPr>
            <a:xfrm>
              <a:off x="6795770" y="332991"/>
              <a:ext cx="485994" cy="649437"/>
            </a:xfrm>
            <a:custGeom>
              <a:avLst/>
              <a:gdLst>
                <a:gd name="connsiteX0" fmla="*/ 1933290 w 1933289"/>
                <a:gd name="connsiteY0" fmla="*/ 138017 h 2583465"/>
                <a:gd name="connsiteX1" fmla="*/ 1933290 w 1933289"/>
                <a:gd name="connsiteY1" fmla="*/ 1734122 h 2583465"/>
                <a:gd name="connsiteX2" fmla="*/ 1796606 w 1933289"/>
                <a:gd name="connsiteY2" fmla="*/ 2229136 h 2583465"/>
                <a:gd name="connsiteX3" fmla="*/ 977742 w 1933289"/>
                <a:gd name="connsiteY3" fmla="*/ 2583466 h 2583465"/>
                <a:gd name="connsiteX4" fmla="*/ 955357 w 1933289"/>
                <a:gd name="connsiteY4" fmla="*/ 2583466 h 2583465"/>
                <a:gd name="connsiteX5" fmla="*/ 136589 w 1933289"/>
                <a:gd name="connsiteY5" fmla="*/ 2229136 h 2583465"/>
                <a:gd name="connsiteX6" fmla="*/ 0 w 1933289"/>
                <a:gd name="connsiteY6" fmla="*/ 1734122 h 2583465"/>
                <a:gd name="connsiteX7" fmla="*/ 0 w 1933289"/>
                <a:gd name="connsiteY7" fmla="*/ 794194 h 2583465"/>
                <a:gd name="connsiteX8" fmla="*/ 137827 w 1933289"/>
                <a:gd name="connsiteY8" fmla="*/ 656273 h 2583465"/>
                <a:gd name="connsiteX9" fmla="*/ 275463 w 1933289"/>
                <a:gd name="connsiteY9" fmla="*/ 794194 h 2583465"/>
                <a:gd name="connsiteX10" fmla="*/ 275463 w 1933289"/>
                <a:gd name="connsiteY10" fmla="*/ 1734122 h 2583465"/>
                <a:gd name="connsiteX11" fmla="*/ 354235 w 1933289"/>
                <a:gd name="connsiteY11" fmla="*/ 2059686 h 2583465"/>
                <a:gd name="connsiteX12" fmla="*/ 958215 w 1933289"/>
                <a:gd name="connsiteY12" fmla="*/ 2307527 h 2583465"/>
                <a:gd name="connsiteX13" fmla="*/ 974789 w 1933289"/>
                <a:gd name="connsiteY13" fmla="*/ 2307527 h 2583465"/>
                <a:gd name="connsiteX14" fmla="*/ 1578959 w 1933289"/>
                <a:gd name="connsiteY14" fmla="*/ 2059686 h 2583465"/>
                <a:gd name="connsiteX15" fmla="*/ 1657636 w 1933289"/>
                <a:gd name="connsiteY15" fmla="*/ 1734122 h 2583465"/>
                <a:gd name="connsiteX16" fmla="*/ 1657636 w 1933289"/>
                <a:gd name="connsiteY16" fmla="*/ 138017 h 2583465"/>
                <a:gd name="connsiteX17" fmla="*/ 1795463 w 1933289"/>
                <a:gd name="connsiteY17" fmla="*/ 0 h 2583465"/>
                <a:gd name="connsiteX18" fmla="*/ 1933290 w 1933289"/>
                <a:gd name="connsiteY18" fmla="*/ 138017 h 25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3289" h="2583465">
                  <a:moveTo>
                    <a:pt x="1933290" y="138017"/>
                  </a:moveTo>
                  <a:lnTo>
                    <a:pt x="1933290" y="1734122"/>
                  </a:lnTo>
                  <a:cubicBezTo>
                    <a:pt x="1933290" y="1870996"/>
                    <a:pt x="1919002" y="2071211"/>
                    <a:pt x="1796606" y="2229136"/>
                  </a:cubicBezTo>
                  <a:cubicBezTo>
                    <a:pt x="1634395" y="2438305"/>
                    <a:pt x="1432084" y="2578703"/>
                    <a:pt x="977742" y="2583466"/>
                  </a:cubicBezTo>
                  <a:lnTo>
                    <a:pt x="955357" y="2583466"/>
                  </a:lnTo>
                  <a:cubicBezTo>
                    <a:pt x="501015" y="2578703"/>
                    <a:pt x="298704" y="2438400"/>
                    <a:pt x="136589" y="2229136"/>
                  </a:cubicBezTo>
                  <a:cubicBezTo>
                    <a:pt x="14192" y="2071211"/>
                    <a:pt x="0" y="1870996"/>
                    <a:pt x="0" y="1734122"/>
                  </a:cubicBezTo>
                  <a:lnTo>
                    <a:pt x="0" y="794194"/>
                  </a:lnTo>
                  <a:cubicBezTo>
                    <a:pt x="0" y="718185"/>
                    <a:pt x="61436" y="656273"/>
                    <a:pt x="137827" y="656273"/>
                  </a:cubicBezTo>
                  <a:cubicBezTo>
                    <a:pt x="214217" y="656273"/>
                    <a:pt x="275463" y="718185"/>
                    <a:pt x="275463" y="794194"/>
                  </a:cubicBezTo>
                  <a:lnTo>
                    <a:pt x="275463" y="1734122"/>
                  </a:lnTo>
                  <a:cubicBezTo>
                    <a:pt x="275463" y="1887188"/>
                    <a:pt x="300324" y="1990630"/>
                    <a:pt x="354235" y="2059686"/>
                  </a:cubicBezTo>
                  <a:cubicBezTo>
                    <a:pt x="476250" y="2217611"/>
                    <a:pt x="609791" y="2304479"/>
                    <a:pt x="958215" y="2307527"/>
                  </a:cubicBezTo>
                  <a:lnTo>
                    <a:pt x="974789" y="2307527"/>
                  </a:lnTo>
                  <a:cubicBezTo>
                    <a:pt x="1323499" y="2304479"/>
                    <a:pt x="1456563" y="2217611"/>
                    <a:pt x="1578959" y="2059686"/>
                  </a:cubicBezTo>
                  <a:cubicBezTo>
                    <a:pt x="1632490" y="1990630"/>
                    <a:pt x="1657636" y="1887093"/>
                    <a:pt x="1657636" y="1734122"/>
                  </a:cubicBezTo>
                  <a:lnTo>
                    <a:pt x="1657636" y="138017"/>
                  </a:lnTo>
                  <a:cubicBezTo>
                    <a:pt x="1657636" y="61531"/>
                    <a:pt x="1719453" y="0"/>
                    <a:pt x="1795463" y="0"/>
                  </a:cubicBezTo>
                  <a:cubicBezTo>
                    <a:pt x="1871472" y="0"/>
                    <a:pt x="1933290" y="61531"/>
                    <a:pt x="1933290" y="138017"/>
                  </a:cubicBezTo>
                </a:path>
              </a:pathLst>
            </a:custGeom>
            <a:solidFill>
              <a:srgbClr val="49306E"/>
            </a:solidFill>
            <a:ln w="9525" cap="flat">
              <a:noFill/>
              <a:prstDash val="solid"/>
              <a:miter/>
            </a:ln>
          </p:spPr>
          <p:txBody>
            <a:bodyPr rtlCol="0" anchor="ctr"/>
            <a:lstStyle/>
            <a:p>
              <a:endParaRPr lang="pt-BR" noProof="0"/>
            </a:p>
          </p:txBody>
        </p:sp>
      </p:grpSp>
      <p:sp>
        <p:nvSpPr>
          <p:cNvPr id="46" name="Título 1">
            <a:extLst>
              <a:ext uri="{FF2B5EF4-FFF2-40B4-BE49-F238E27FC236}">
                <a16:creationId xmlns:a16="http://schemas.microsoft.com/office/drawing/2014/main" id="{288DBC2F-37B4-E14B-CD75-EB53AE9907BC}"/>
              </a:ext>
            </a:extLst>
          </p:cNvPr>
          <p:cNvSpPr txBox="1">
            <a:spLocks/>
          </p:cNvSpPr>
          <p:nvPr/>
        </p:nvSpPr>
        <p:spPr>
          <a:xfrm>
            <a:off x="2157359" y="238418"/>
            <a:ext cx="10058400" cy="631231"/>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pt-BR" sz="3600" b="1">
                <a:solidFill>
                  <a:srgbClr val="3299B1"/>
                </a:solidFill>
                <a:latin typeface="Agency FB" panose="020B0503020202020204" pitchFamily="34" charset="0"/>
              </a:rPr>
              <a:t>Dinâmica</a:t>
            </a:r>
          </a:p>
        </p:txBody>
      </p:sp>
      <p:pic>
        <p:nvPicPr>
          <p:cNvPr id="47" name="Imagem 46" descr="Tabela&#10;&#10;O conteúdo gerado por IA pode estar incorreto.">
            <a:extLst>
              <a:ext uri="{FF2B5EF4-FFF2-40B4-BE49-F238E27FC236}">
                <a16:creationId xmlns:a16="http://schemas.microsoft.com/office/drawing/2014/main" id="{873ACAE3-77A6-6A03-8529-A13D3C1D2EB0}"/>
              </a:ext>
            </a:extLst>
          </p:cNvPr>
          <p:cNvPicPr>
            <a:picLocks noChangeAspect="1"/>
          </p:cNvPicPr>
          <p:nvPr/>
        </p:nvPicPr>
        <p:blipFill>
          <a:blip r:embed="rId2"/>
          <a:stretch>
            <a:fillRect/>
          </a:stretch>
        </p:blipFill>
        <p:spPr>
          <a:xfrm>
            <a:off x="1700223" y="1462065"/>
            <a:ext cx="8791554" cy="4599741"/>
          </a:xfrm>
          <a:prstGeom prst="rect">
            <a:avLst/>
          </a:prstGeom>
        </p:spPr>
      </p:pic>
    </p:spTree>
    <p:extLst>
      <p:ext uri="{BB962C8B-B14F-4D97-AF65-F5344CB8AC3E}">
        <p14:creationId xmlns:p14="http://schemas.microsoft.com/office/powerpoint/2010/main" val="74525236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91B3DD-5D69-4E1B-BBF5-3DEDE38701F7}"/>
            </a:ext>
          </a:extLst>
        </p:cNvPr>
        <p:cNvGrpSpPr/>
        <p:nvPr/>
      </p:nvGrpSpPr>
      <p:grpSpPr>
        <a:xfrm>
          <a:off x="0" y="0"/>
          <a:ext cx="0" cy="0"/>
          <a:chOff x="0" y="0"/>
          <a:chExt cx="0" cy="0"/>
        </a:xfrm>
      </p:grpSpPr>
      <p:pic>
        <p:nvPicPr>
          <p:cNvPr id="15362" name="Picture 2" descr="Design PNG E SVG De Ilustração De Envelope Para Camisetas">
            <a:extLst>
              <a:ext uri="{FF2B5EF4-FFF2-40B4-BE49-F238E27FC236}">
                <a16:creationId xmlns:a16="http://schemas.microsoft.com/office/drawing/2014/main" id="{D95A1A1B-044F-13CD-3D94-13529BDD8591}"/>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069" t="24190" r="4060" b="25133"/>
          <a:stretch/>
        </p:blipFill>
        <p:spPr bwMode="auto">
          <a:xfrm>
            <a:off x="1341409" y="739035"/>
            <a:ext cx="9669995" cy="533410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2" name="think-cell data - do not delete" hidden="1">
            <a:extLst>
              <a:ext uri="{FF2B5EF4-FFF2-40B4-BE49-F238E27FC236}">
                <a16:creationId xmlns:a16="http://schemas.microsoft.com/office/drawing/2014/main" id="{DFA1BF0B-D4AD-E2A1-8EDD-92011A7379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8" progId="TCLayout.ActiveDocument.1">
                  <p:embed/>
                </p:oleObj>
              </mc:Choice>
              <mc:Fallback>
                <p:oleObj name="think-cell Slide" r:id="rId5" imgW="306" imgH="308" progId="TCLayout.ActiveDocument.1">
                  <p:embed/>
                  <p:pic>
                    <p:nvPicPr>
                      <p:cNvPr id="12" name="think-cell data - do not delete" hidden="1">
                        <a:extLst>
                          <a:ext uri="{FF2B5EF4-FFF2-40B4-BE49-F238E27FC236}">
                            <a16:creationId xmlns:a16="http://schemas.microsoft.com/office/drawing/2014/main" id="{DFA1BF0B-D4AD-E2A1-8EDD-92011A73799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3" name="Group 12">
            <a:extLst>
              <a:ext uri="{FF2B5EF4-FFF2-40B4-BE49-F238E27FC236}">
                <a16:creationId xmlns:a16="http://schemas.microsoft.com/office/drawing/2014/main" id="{D60CD601-D0F1-3ED6-0436-50E6DA8E3452}"/>
              </a:ext>
            </a:extLst>
          </p:cNvPr>
          <p:cNvGrpSpPr/>
          <p:nvPr/>
        </p:nvGrpSpPr>
        <p:grpSpPr>
          <a:xfrm>
            <a:off x="304800" y="249455"/>
            <a:ext cx="1193800" cy="462985"/>
            <a:chOff x="5245100" y="211355"/>
            <a:chExt cx="2036664" cy="789869"/>
          </a:xfrm>
        </p:grpSpPr>
        <p:sp>
          <p:nvSpPr>
            <p:cNvPr id="14" name="Freeform: Shape 13">
              <a:extLst>
                <a:ext uri="{FF2B5EF4-FFF2-40B4-BE49-F238E27FC236}">
                  <a16:creationId xmlns:a16="http://schemas.microsoft.com/office/drawing/2014/main" id="{5A5062B5-A6B6-5071-9482-516C99CBB68D}"/>
                </a:ext>
              </a:extLst>
            </p:cNvPr>
            <p:cNvSpPr/>
            <p:nvPr/>
          </p:nvSpPr>
          <p:spPr>
            <a:xfrm>
              <a:off x="5245100" y="308520"/>
              <a:ext cx="247894" cy="322815"/>
            </a:xfrm>
            <a:custGeom>
              <a:avLst/>
              <a:gdLst>
                <a:gd name="connsiteX0" fmla="*/ 529590 w 986123"/>
                <a:gd name="connsiteY0" fmla="*/ 1284160 h 1284160"/>
                <a:gd name="connsiteX1" fmla="*/ 249650 w 986123"/>
                <a:gd name="connsiteY1" fmla="*/ 1235107 h 1284160"/>
                <a:gd name="connsiteX2" fmla="*/ 0 w 986123"/>
                <a:gd name="connsiteY2" fmla="*/ 1084421 h 1284160"/>
                <a:gd name="connsiteX3" fmla="*/ 162306 w 986123"/>
                <a:gd name="connsiteY3" fmla="*/ 890016 h 1284160"/>
                <a:gd name="connsiteX4" fmla="*/ 337947 w 986123"/>
                <a:gd name="connsiteY4" fmla="*/ 1000601 h 1284160"/>
                <a:gd name="connsiteX5" fmla="*/ 535019 w 986123"/>
                <a:gd name="connsiteY5" fmla="*/ 1041654 h 1284160"/>
                <a:gd name="connsiteX6" fmla="*/ 667893 w 986123"/>
                <a:gd name="connsiteY6" fmla="*/ 1010412 h 1284160"/>
                <a:gd name="connsiteX7" fmla="*/ 715137 w 986123"/>
                <a:gd name="connsiteY7" fmla="*/ 923925 h 1284160"/>
                <a:gd name="connsiteX8" fmla="*/ 715137 w 986123"/>
                <a:gd name="connsiteY8" fmla="*/ 920305 h 1284160"/>
                <a:gd name="connsiteX9" fmla="*/ 705326 w 986123"/>
                <a:gd name="connsiteY9" fmla="*/ 873062 h 1284160"/>
                <a:gd name="connsiteX10" fmla="*/ 667798 w 986123"/>
                <a:gd name="connsiteY10" fmla="*/ 834676 h 1284160"/>
                <a:gd name="connsiteX11" fmla="*/ 590931 w 986123"/>
                <a:gd name="connsiteY11" fmla="*/ 798957 h 1284160"/>
                <a:gd name="connsiteX12" fmla="*/ 463106 w 986123"/>
                <a:gd name="connsiteY12" fmla="*/ 761524 h 1284160"/>
                <a:gd name="connsiteX13" fmla="*/ 291465 w 986123"/>
                <a:gd name="connsiteY13" fmla="*/ 709803 h 1284160"/>
                <a:gd name="connsiteX14" fmla="*/ 160973 w 986123"/>
                <a:gd name="connsiteY14" fmla="*/ 639318 h 1284160"/>
                <a:gd name="connsiteX15" fmla="*/ 77819 w 986123"/>
                <a:gd name="connsiteY15" fmla="*/ 535019 h 1284160"/>
                <a:gd name="connsiteX16" fmla="*/ 48292 w 986123"/>
                <a:gd name="connsiteY16" fmla="*/ 379857 h 1284160"/>
                <a:gd name="connsiteX17" fmla="*/ 48292 w 986123"/>
                <a:gd name="connsiteY17" fmla="*/ 376238 h 1284160"/>
                <a:gd name="connsiteX18" fmla="*/ 80201 w 986123"/>
                <a:gd name="connsiteY18" fmla="*/ 222028 h 1284160"/>
                <a:gd name="connsiteX19" fmla="*/ 169640 w 986123"/>
                <a:gd name="connsiteY19" fmla="*/ 103441 h 1284160"/>
                <a:gd name="connsiteX20" fmla="*/ 307181 w 986123"/>
                <a:gd name="connsiteY20" fmla="*/ 26765 h 1284160"/>
                <a:gd name="connsiteX21" fmla="*/ 483394 w 986123"/>
                <a:gd name="connsiteY21" fmla="*/ 0 h 1284160"/>
                <a:gd name="connsiteX22" fmla="*/ 735711 w 986123"/>
                <a:gd name="connsiteY22" fmla="*/ 41053 h 1284160"/>
                <a:gd name="connsiteX23" fmla="*/ 946976 w 986123"/>
                <a:gd name="connsiteY23" fmla="*/ 158687 h 1284160"/>
                <a:gd name="connsiteX24" fmla="*/ 804291 w 986123"/>
                <a:gd name="connsiteY24" fmla="*/ 365569 h 1284160"/>
                <a:gd name="connsiteX25" fmla="*/ 640271 w 986123"/>
                <a:gd name="connsiteY25" fmla="*/ 275558 h 1284160"/>
                <a:gd name="connsiteX26" fmla="*/ 479774 w 986123"/>
                <a:gd name="connsiteY26" fmla="*/ 242602 h 1284160"/>
                <a:gd name="connsiteX27" fmla="*/ 359378 w 986123"/>
                <a:gd name="connsiteY27" fmla="*/ 273844 h 1284160"/>
                <a:gd name="connsiteX28" fmla="*/ 319278 w 986123"/>
                <a:gd name="connsiteY28" fmla="*/ 351377 h 1284160"/>
                <a:gd name="connsiteX29" fmla="*/ 319278 w 986123"/>
                <a:gd name="connsiteY29" fmla="*/ 354997 h 1284160"/>
                <a:gd name="connsiteX30" fmla="*/ 330899 w 986123"/>
                <a:gd name="connsiteY30" fmla="*/ 407575 h 1284160"/>
                <a:gd name="connsiteX31" fmla="*/ 372904 w 986123"/>
                <a:gd name="connsiteY31" fmla="*/ 447675 h 1284160"/>
                <a:gd name="connsiteX32" fmla="*/ 456057 w 986123"/>
                <a:gd name="connsiteY32" fmla="*/ 481489 h 1284160"/>
                <a:gd name="connsiteX33" fmla="*/ 589217 w 986123"/>
                <a:gd name="connsiteY33" fmla="*/ 518922 h 1284160"/>
                <a:gd name="connsiteX34" fmla="*/ 758190 w 986123"/>
                <a:gd name="connsiteY34" fmla="*/ 575120 h 1284160"/>
                <a:gd name="connsiteX35" fmla="*/ 883349 w 986123"/>
                <a:gd name="connsiteY35" fmla="*/ 649986 h 1284160"/>
                <a:gd name="connsiteX36" fmla="*/ 960215 w 986123"/>
                <a:gd name="connsiteY36" fmla="*/ 752570 h 1284160"/>
                <a:gd name="connsiteX37" fmla="*/ 986123 w 986123"/>
                <a:gd name="connsiteY37" fmla="*/ 893445 h 1284160"/>
                <a:gd name="connsiteX38" fmla="*/ 986123 w 986123"/>
                <a:gd name="connsiteY38" fmla="*/ 897064 h 1284160"/>
                <a:gd name="connsiteX39" fmla="*/ 952500 w 986123"/>
                <a:gd name="connsiteY39" fmla="*/ 1062038 h 1284160"/>
                <a:gd name="connsiteX40" fmla="*/ 858584 w 986123"/>
                <a:gd name="connsiteY40" fmla="*/ 1183291 h 1284160"/>
                <a:gd name="connsiteX41" fmla="*/ 714851 w 986123"/>
                <a:gd name="connsiteY41" fmla="*/ 1258157 h 1284160"/>
                <a:gd name="connsiteX42" fmla="*/ 529685 w 986123"/>
                <a:gd name="connsiteY42" fmla="*/ 1284065 h 128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6123" h="1284160">
                  <a:moveTo>
                    <a:pt x="529590" y="1284160"/>
                  </a:moveTo>
                  <a:cubicBezTo>
                    <a:pt x="434435" y="1284160"/>
                    <a:pt x="341186" y="1267777"/>
                    <a:pt x="249650" y="1235107"/>
                  </a:cubicBezTo>
                  <a:cubicBezTo>
                    <a:pt x="158115" y="1202436"/>
                    <a:pt x="74867" y="1152239"/>
                    <a:pt x="0" y="1084421"/>
                  </a:cubicBezTo>
                  <a:lnTo>
                    <a:pt x="162306" y="890016"/>
                  </a:lnTo>
                  <a:cubicBezTo>
                    <a:pt x="219361" y="936403"/>
                    <a:pt x="277844" y="973264"/>
                    <a:pt x="337947" y="1000601"/>
                  </a:cubicBezTo>
                  <a:cubicBezTo>
                    <a:pt x="397955" y="1027938"/>
                    <a:pt x="463677" y="1041654"/>
                    <a:pt x="535019" y="1041654"/>
                  </a:cubicBezTo>
                  <a:cubicBezTo>
                    <a:pt x="592074" y="1041654"/>
                    <a:pt x="636365" y="1031272"/>
                    <a:pt x="667893" y="1010412"/>
                  </a:cubicBezTo>
                  <a:cubicBezTo>
                    <a:pt x="699421" y="989647"/>
                    <a:pt x="715137" y="960787"/>
                    <a:pt x="715137" y="923925"/>
                  </a:cubicBezTo>
                  <a:lnTo>
                    <a:pt x="715137" y="920305"/>
                  </a:lnTo>
                  <a:cubicBezTo>
                    <a:pt x="715137" y="902494"/>
                    <a:pt x="711803" y="886777"/>
                    <a:pt x="705326" y="873062"/>
                  </a:cubicBezTo>
                  <a:cubicBezTo>
                    <a:pt x="698754" y="859441"/>
                    <a:pt x="686276" y="846582"/>
                    <a:pt x="667798" y="834676"/>
                  </a:cubicBezTo>
                  <a:cubicBezTo>
                    <a:pt x="649319" y="822770"/>
                    <a:pt x="623697" y="810863"/>
                    <a:pt x="590931" y="798957"/>
                  </a:cubicBezTo>
                  <a:cubicBezTo>
                    <a:pt x="558165" y="787146"/>
                    <a:pt x="515493" y="774573"/>
                    <a:pt x="463106" y="761524"/>
                  </a:cubicBezTo>
                  <a:cubicBezTo>
                    <a:pt x="399955" y="746093"/>
                    <a:pt x="342710" y="728853"/>
                    <a:pt x="291465" y="709803"/>
                  </a:cubicBezTo>
                  <a:cubicBezTo>
                    <a:pt x="240221" y="690753"/>
                    <a:pt x="196691" y="667322"/>
                    <a:pt x="160973" y="639318"/>
                  </a:cubicBezTo>
                  <a:cubicBezTo>
                    <a:pt x="125159" y="611410"/>
                    <a:pt x="97536" y="576644"/>
                    <a:pt x="77819" y="535019"/>
                  </a:cubicBezTo>
                  <a:cubicBezTo>
                    <a:pt x="58103" y="493395"/>
                    <a:pt x="48292" y="441674"/>
                    <a:pt x="48292" y="379857"/>
                  </a:cubicBezTo>
                  <a:lnTo>
                    <a:pt x="48292" y="376238"/>
                  </a:lnTo>
                  <a:cubicBezTo>
                    <a:pt x="48292" y="319183"/>
                    <a:pt x="58865" y="267748"/>
                    <a:pt x="80201" y="222028"/>
                  </a:cubicBezTo>
                  <a:cubicBezTo>
                    <a:pt x="101441" y="176308"/>
                    <a:pt x="131255" y="136779"/>
                    <a:pt x="169640" y="103441"/>
                  </a:cubicBezTo>
                  <a:cubicBezTo>
                    <a:pt x="208026" y="70199"/>
                    <a:pt x="253841" y="44577"/>
                    <a:pt x="307181" y="26765"/>
                  </a:cubicBezTo>
                  <a:cubicBezTo>
                    <a:pt x="360426" y="8953"/>
                    <a:pt x="419195" y="0"/>
                    <a:pt x="483394" y="0"/>
                  </a:cubicBezTo>
                  <a:cubicBezTo>
                    <a:pt x="574929" y="0"/>
                    <a:pt x="659035" y="13716"/>
                    <a:pt x="735711" y="41053"/>
                  </a:cubicBezTo>
                  <a:cubicBezTo>
                    <a:pt x="812387" y="68389"/>
                    <a:pt x="882777" y="107632"/>
                    <a:pt x="946976" y="158687"/>
                  </a:cubicBezTo>
                  <a:lnTo>
                    <a:pt x="804291" y="365569"/>
                  </a:lnTo>
                  <a:cubicBezTo>
                    <a:pt x="748379" y="327565"/>
                    <a:pt x="693706" y="297561"/>
                    <a:pt x="640271" y="275558"/>
                  </a:cubicBezTo>
                  <a:cubicBezTo>
                    <a:pt x="586740" y="253555"/>
                    <a:pt x="533305" y="242602"/>
                    <a:pt x="479774" y="242602"/>
                  </a:cubicBezTo>
                  <a:cubicBezTo>
                    <a:pt x="426244" y="242602"/>
                    <a:pt x="386144" y="252984"/>
                    <a:pt x="359378" y="273844"/>
                  </a:cubicBezTo>
                  <a:cubicBezTo>
                    <a:pt x="332613" y="294608"/>
                    <a:pt x="319278" y="320516"/>
                    <a:pt x="319278" y="351377"/>
                  </a:cubicBezTo>
                  <a:lnTo>
                    <a:pt x="319278" y="354997"/>
                  </a:lnTo>
                  <a:cubicBezTo>
                    <a:pt x="319278" y="375190"/>
                    <a:pt x="323183" y="392716"/>
                    <a:pt x="330899" y="407575"/>
                  </a:cubicBezTo>
                  <a:cubicBezTo>
                    <a:pt x="338614" y="422434"/>
                    <a:pt x="352616" y="435864"/>
                    <a:pt x="372904" y="447675"/>
                  </a:cubicBezTo>
                  <a:cubicBezTo>
                    <a:pt x="393192" y="459581"/>
                    <a:pt x="420910" y="470821"/>
                    <a:pt x="456057" y="481489"/>
                  </a:cubicBezTo>
                  <a:cubicBezTo>
                    <a:pt x="491204" y="492157"/>
                    <a:pt x="535591" y="504730"/>
                    <a:pt x="589217" y="518922"/>
                  </a:cubicBezTo>
                  <a:cubicBezTo>
                    <a:pt x="652367" y="535591"/>
                    <a:pt x="708660" y="554260"/>
                    <a:pt x="758190" y="575120"/>
                  </a:cubicBezTo>
                  <a:cubicBezTo>
                    <a:pt x="807625" y="595979"/>
                    <a:pt x="849344" y="620935"/>
                    <a:pt x="883349" y="649986"/>
                  </a:cubicBezTo>
                  <a:cubicBezTo>
                    <a:pt x="917353" y="679132"/>
                    <a:pt x="942975" y="713327"/>
                    <a:pt x="960215" y="752570"/>
                  </a:cubicBezTo>
                  <a:cubicBezTo>
                    <a:pt x="977456" y="791813"/>
                    <a:pt x="986123" y="838772"/>
                    <a:pt x="986123" y="893445"/>
                  </a:cubicBezTo>
                  <a:lnTo>
                    <a:pt x="986123" y="897064"/>
                  </a:lnTo>
                  <a:cubicBezTo>
                    <a:pt x="986123" y="958882"/>
                    <a:pt x="974884" y="1013841"/>
                    <a:pt x="952500" y="1062038"/>
                  </a:cubicBezTo>
                  <a:cubicBezTo>
                    <a:pt x="930021" y="1110139"/>
                    <a:pt x="898779" y="1150620"/>
                    <a:pt x="858584" y="1183291"/>
                  </a:cubicBezTo>
                  <a:cubicBezTo>
                    <a:pt x="818388" y="1216057"/>
                    <a:pt x="770477" y="1241012"/>
                    <a:pt x="714851" y="1258157"/>
                  </a:cubicBezTo>
                  <a:cubicBezTo>
                    <a:pt x="659130" y="1275398"/>
                    <a:pt x="597503" y="1284065"/>
                    <a:pt x="529685" y="1284065"/>
                  </a:cubicBezTo>
                  <a:close/>
                </a:path>
              </a:pathLst>
            </a:custGeom>
            <a:solidFill>
              <a:srgbClr val="44505E"/>
            </a:solidFill>
            <a:ln w="9525" cap="flat">
              <a:noFill/>
              <a:prstDash val="solid"/>
              <a:miter/>
            </a:ln>
          </p:spPr>
          <p:txBody>
            <a:bodyPr rtlCol="0" anchor="ctr"/>
            <a:lstStyle/>
            <a:p>
              <a:endParaRPr lang="pt-BR" noProof="0"/>
            </a:p>
          </p:txBody>
        </p:sp>
        <p:sp>
          <p:nvSpPr>
            <p:cNvPr id="17" name="Freeform: Shape 16">
              <a:extLst>
                <a:ext uri="{FF2B5EF4-FFF2-40B4-BE49-F238E27FC236}">
                  <a16:creationId xmlns:a16="http://schemas.microsoft.com/office/drawing/2014/main" id="{BD87D58A-8BA5-9786-9026-0620D1FF7739}"/>
                </a:ext>
              </a:extLst>
            </p:cNvPr>
            <p:cNvSpPr/>
            <p:nvPr/>
          </p:nvSpPr>
          <p:spPr>
            <a:xfrm>
              <a:off x="5492084" y="310867"/>
              <a:ext cx="332584" cy="315991"/>
            </a:xfrm>
            <a:custGeom>
              <a:avLst/>
              <a:gdLst>
                <a:gd name="connsiteX0" fmla="*/ 534924 w 1323022"/>
                <a:gd name="connsiteY0" fmla="*/ 0 h 1257014"/>
                <a:gd name="connsiteX1" fmla="*/ 788099 w 1323022"/>
                <a:gd name="connsiteY1" fmla="*/ 0 h 1257014"/>
                <a:gd name="connsiteX2" fmla="*/ 1323023 w 1323022"/>
                <a:gd name="connsiteY2" fmla="*/ 1257014 h 1257014"/>
                <a:gd name="connsiteX3" fmla="*/ 1035939 w 1323022"/>
                <a:gd name="connsiteY3" fmla="*/ 1257014 h 1257014"/>
                <a:gd name="connsiteX4" fmla="*/ 921829 w 1323022"/>
                <a:gd name="connsiteY4" fmla="*/ 977075 h 1257014"/>
                <a:gd name="connsiteX5" fmla="*/ 394049 w 1323022"/>
                <a:gd name="connsiteY5" fmla="*/ 977075 h 1257014"/>
                <a:gd name="connsiteX6" fmla="*/ 279940 w 1323022"/>
                <a:gd name="connsiteY6" fmla="*/ 1257014 h 1257014"/>
                <a:gd name="connsiteX7" fmla="*/ 0 w 1323022"/>
                <a:gd name="connsiteY7" fmla="*/ 1257014 h 1257014"/>
                <a:gd name="connsiteX8" fmla="*/ 534924 w 1323022"/>
                <a:gd name="connsiteY8" fmla="*/ 0 h 1257014"/>
                <a:gd name="connsiteX9" fmla="*/ 823817 w 1323022"/>
                <a:gd name="connsiteY9" fmla="*/ 734568 h 1257014"/>
                <a:gd name="connsiteX10" fmla="*/ 657987 w 1323022"/>
                <a:gd name="connsiteY10" fmla="*/ 329851 h 1257014"/>
                <a:gd name="connsiteX11" fmla="*/ 492157 w 1323022"/>
                <a:gd name="connsiteY11" fmla="*/ 734568 h 1257014"/>
                <a:gd name="connsiteX12" fmla="*/ 823817 w 1323022"/>
                <a:gd name="connsiteY12" fmla="*/ 734568 h 125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022" h="1257014">
                  <a:moveTo>
                    <a:pt x="534924" y="0"/>
                  </a:moveTo>
                  <a:lnTo>
                    <a:pt x="788099" y="0"/>
                  </a:lnTo>
                  <a:lnTo>
                    <a:pt x="1323023" y="1257014"/>
                  </a:lnTo>
                  <a:lnTo>
                    <a:pt x="1035939" y="1257014"/>
                  </a:lnTo>
                  <a:lnTo>
                    <a:pt x="921829" y="977075"/>
                  </a:lnTo>
                  <a:lnTo>
                    <a:pt x="394049" y="977075"/>
                  </a:lnTo>
                  <a:lnTo>
                    <a:pt x="279940" y="1257014"/>
                  </a:lnTo>
                  <a:lnTo>
                    <a:pt x="0" y="1257014"/>
                  </a:lnTo>
                  <a:lnTo>
                    <a:pt x="534924" y="0"/>
                  </a:lnTo>
                  <a:close/>
                  <a:moveTo>
                    <a:pt x="823817" y="734568"/>
                  </a:moveTo>
                  <a:lnTo>
                    <a:pt x="657987" y="329851"/>
                  </a:lnTo>
                  <a:lnTo>
                    <a:pt x="492157" y="734568"/>
                  </a:lnTo>
                  <a:lnTo>
                    <a:pt x="823817" y="734568"/>
                  </a:lnTo>
                  <a:close/>
                </a:path>
              </a:pathLst>
            </a:custGeom>
            <a:solidFill>
              <a:srgbClr val="44505E"/>
            </a:solidFill>
            <a:ln w="9525" cap="flat">
              <a:noFill/>
              <a:prstDash val="solid"/>
              <a:miter/>
            </a:ln>
          </p:spPr>
          <p:txBody>
            <a:bodyPr rtlCol="0" anchor="ctr"/>
            <a:lstStyle/>
            <a:p>
              <a:endParaRPr lang="pt-BR" noProof="0"/>
            </a:p>
          </p:txBody>
        </p:sp>
        <p:sp>
          <p:nvSpPr>
            <p:cNvPr id="18" name="Freeform: Shape 17">
              <a:extLst>
                <a:ext uri="{FF2B5EF4-FFF2-40B4-BE49-F238E27FC236}">
                  <a16:creationId xmlns:a16="http://schemas.microsoft.com/office/drawing/2014/main" id="{30E4D94B-88BD-9C63-CC9D-59EFFD847755}"/>
                </a:ext>
              </a:extLst>
            </p:cNvPr>
            <p:cNvSpPr/>
            <p:nvPr/>
          </p:nvSpPr>
          <p:spPr>
            <a:xfrm>
              <a:off x="5834078" y="211355"/>
              <a:ext cx="273442" cy="420435"/>
            </a:xfrm>
            <a:custGeom>
              <a:avLst/>
              <a:gdLst>
                <a:gd name="connsiteX0" fmla="*/ 540258 w 1087754"/>
                <a:gd name="connsiteY0" fmla="*/ 1672495 h 1672494"/>
                <a:gd name="connsiteX1" fmla="*/ 144399 w 1087754"/>
                <a:gd name="connsiteY1" fmla="*/ 1533430 h 1672494"/>
                <a:gd name="connsiteX2" fmla="*/ 0 w 1087754"/>
                <a:gd name="connsiteY2" fmla="*/ 1117949 h 1672494"/>
                <a:gd name="connsiteX3" fmla="*/ 0 w 1087754"/>
                <a:gd name="connsiteY3" fmla="*/ 404717 h 1672494"/>
                <a:gd name="connsiteX4" fmla="*/ 274606 w 1087754"/>
                <a:gd name="connsiteY4" fmla="*/ 404717 h 1672494"/>
                <a:gd name="connsiteX5" fmla="*/ 274606 w 1087754"/>
                <a:gd name="connsiteY5" fmla="*/ 1110806 h 1672494"/>
                <a:gd name="connsiteX6" fmla="*/ 345948 w 1087754"/>
                <a:gd name="connsiteY6" fmla="*/ 1341692 h 1672494"/>
                <a:gd name="connsiteX7" fmla="*/ 543877 w 1087754"/>
                <a:gd name="connsiteY7" fmla="*/ 1419225 h 1672494"/>
                <a:gd name="connsiteX8" fmla="*/ 741807 w 1087754"/>
                <a:gd name="connsiteY8" fmla="*/ 1344359 h 1672494"/>
                <a:gd name="connsiteX9" fmla="*/ 813149 w 1087754"/>
                <a:gd name="connsiteY9" fmla="*/ 1119664 h 1672494"/>
                <a:gd name="connsiteX10" fmla="*/ 813149 w 1087754"/>
                <a:gd name="connsiteY10" fmla="*/ 404717 h 1672494"/>
                <a:gd name="connsiteX11" fmla="*/ 1087755 w 1087754"/>
                <a:gd name="connsiteY11" fmla="*/ 404717 h 1672494"/>
                <a:gd name="connsiteX12" fmla="*/ 1087755 w 1087754"/>
                <a:gd name="connsiteY12" fmla="*/ 1108996 h 1672494"/>
                <a:gd name="connsiteX13" fmla="*/ 1049369 w 1087754"/>
                <a:gd name="connsiteY13" fmla="*/ 1356836 h 1672494"/>
                <a:gd name="connsiteX14" fmla="*/ 939737 w 1087754"/>
                <a:gd name="connsiteY14" fmla="*/ 1532477 h 1672494"/>
                <a:gd name="connsiteX15" fmla="*/ 766763 w 1087754"/>
                <a:gd name="connsiteY15" fmla="*/ 1637729 h 1672494"/>
                <a:gd name="connsiteX16" fmla="*/ 540353 w 1087754"/>
                <a:gd name="connsiteY16" fmla="*/ 1672495 h 1672494"/>
                <a:gd name="connsiteX17" fmla="*/ 622268 w 1087754"/>
                <a:gd name="connsiteY17" fmla="*/ 0 h 1672494"/>
                <a:gd name="connsiteX18" fmla="*/ 855821 w 1087754"/>
                <a:gd name="connsiteY18" fmla="*/ 101632 h 1672494"/>
                <a:gd name="connsiteX19" fmla="*/ 627602 w 1087754"/>
                <a:gd name="connsiteY19" fmla="*/ 315563 h 1672494"/>
                <a:gd name="connsiteX20" fmla="*/ 420719 w 1087754"/>
                <a:gd name="connsiteY20" fmla="*/ 315563 h 1672494"/>
                <a:gd name="connsiteX21" fmla="*/ 622268 w 1087754"/>
                <a:gd name="connsiteY21" fmla="*/ 0 h 16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754" h="1672494">
                  <a:moveTo>
                    <a:pt x="540258" y="1672495"/>
                  </a:moveTo>
                  <a:cubicBezTo>
                    <a:pt x="372618" y="1672495"/>
                    <a:pt x="240697" y="1626108"/>
                    <a:pt x="144399" y="1533430"/>
                  </a:cubicBezTo>
                  <a:cubicBezTo>
                    <a:pt x="48101" y="1440752"/>
                    <a:pt x="0" y="1302258"/>
                    <a:pt x="0" y="1117949"/>
                  </a:cubicBezTo>
                  <a:lnTo>
                    <a:pt x="0" y="404717"/>
                  </a:lnTo>
                  <a:lnTo>
                    <a:pt x="274606" y="404717"/>
                  </a:lnTo>
                  <a:lnTo>
                    <a:pt x="274606" y="1110806"/>
                  </a:lnTo>
                  <a:cubicBezTo>
                    <a:pt x="274606" y="1213009"/>
                    <a:pt x="298418" y="1289971"/>
                    <a:pt x="345948" y="1341692"/>
                  </a:cubicBezTo>
                  <a:cubicBezTo>
                    <a:pt x="393478" y="1393412"/>
                    <a:pt x="459486" y="1419225"/>
                    <a:pt x="543877" y="1419225"/>
                  </a:cubicBezTo>
                  <a:cubicBezTo>
                    <a:pt x="628269" y="1419225"/>
                    <a:pt x="694277" y="1394270"/>
                    <a:pt x="741807" y="1344359"/>
                  </a:cubicBezTo>
                  <a:cubicBezTo>
                    <a:pt x="789337" y="1294448"/>
                    <a:pt x="813149" y="1219581"/>
                    <a:pt x="813149" y="1119664"/>
                  </a:cubicBezTo>
                  <a:lnTo>
                    <a:pt x="813149" y="404717"/>
                  </a:lnTo>
                  <a:lnTo>
                    <a:pt x="1087755" y="404717"/>
                  </a:lnTo>
                  <a:lnTo>
                    <a:pt x="1087755" y="1108996"/>
                  </a:lnTo>
                  <a:cubicBezTo>
                    <a:pt x="1087755" y="1204151"/>
                    <a:pt x="1074992" y="1286732"/>
                    <a:pt x="1049369" y="1356836"/>
                  </a:cubicBezTo>
                  <a:cubicBezTo>
                    <a:pt x="1023747" y="1426940"/>
                    <a:pt x="987266" y="1485519"/>
                    <a:pt x="939737" y="1532477"/>
                  </a:cubicBezTo>
                  <a:cubicBezTo>
                    <a:pt x="892207" y="1579436"/>
                    <a:pt x="834485" y="1614488"/>
                    <a:pt x="766763" y="1637729"/>
                  </a:cubicBezTo>
                  <a:cubicBezTo>
                    <a:pt x="699040" y="1660874"/>
                    <a:pt x="623507" y="1672495"/>
                    <a:pt x="540353" y="1672495"/>
                  </a:cubicBezTo>
                  <a:close/>
                  <a:moveTo>
                    <a:pt x="622268" y="0"/>
                  </a:moveTo>
                  <a:lnTo>
                    <a:pt x="855821" y="101632"/>
                  </a:lnTo>
                  <a:lnTo>
                    <a:pt x="627602" y="315563"/>
                  </a:lnTo>
                  <a:lnTo>
                    <a:pt x="420719" y="315563"/>
                  </a:lnTo>
                  <a:lnTo>
                    <a:pt x="622268" y="0"/>
                  </a:lnTo>
                  <a:close/>
                </a:path>
              </a:pathLst>
            </a:custGeom>
            <a:solidFill>
              <a:srgbClr val="44505E"/>
            </a:solidFill>
            <a:ln w="9525" cap="flat">
              <a:noFill/>
              <a:prstDash val="solid"/>
              <a:miter/>
            </a:ln>
          </p:spPr>
          <p:txBody>
            <a:bodyPr rtlCol="0" anchor="ctr"/>
            <a:lstStyle/>
            <a:p>
              <a:endParaRPr lang="pt-BR" noProof="0"/>
            </a:p>
          </p:txBody>
        </p:sp>
        <p:sp>
          <p:nvSpPr>
            <p:cNvPr id="19" name="Freeform: Shape 18">
              <a:extLst>
                <a:ext uri="{FF2B5EF4-FFF2-40B4-BE49-F238E27FC236}">
                  <a16:creationId xmlns:a16="http://schemas.microsoft.com/office/drawing/2014/main" id="{243E9BC8-13A8-E86F-5B01-7BD37C300712}"/>
                </a:ext>
              </a:extLst>
            </p:cNvPr>
            <p:cNvSpPr/>
            <p:nvPr/>
          </p:nvSpPr>
          <p:spPr>
            <a:xfrm>
              <a:off x="6143795" y="313094"/>
              <a:ext cx="289101" cy="313764"/>
            </a:xfrm>
            <a:custGeom>
              <a:avLst/>
              <a:gdLst>
                <a:gd name="connsiteX0" fmla="*/ 0 w 1150048"/>
                <a:gd name="connsiteY0" fmla="*/ 0 h 1248155"/>
                <a:gd name="connsiteX1" fmla="*/ 486728 w 1150048"/>
                <a:gd name="connsiteY1" fmla="*/ 0 h 1248155"/>
                <a:gd name="connsiteX2" fmla="*/ 755047 w 1150048"/>
                <a:gd name="connsiteY2" fmla="*/ 47244 h 1248155"/>
                <a:gd name="connsiteX3" fmla="*/ 965454 w 1150048"/>
                <a:gd name="connsiteY3" fmla="*/ 178308 h 1248155"/>
                <a:gd name="connsiteX4" fmla="*/ 1101852 w 1150048"/>
                <a:gd name="connsiteY4" fmla="*/ 375380 h 1248155"/>
                <a:gd name="connsiteX5" fmla="*/ 1150049 w 1150048"/>
                <a:gd name="connsiteY5" fmla="*/ 620554 h 1248155"/>
                <a:gd name="connsiteX6" fmla="*/ 1150049 w 1150048"/>
                <a:gd name="connsiteY6" fmla="*/ 624173 h 1248155"/>
                <a:gd name="connsiteX7" fmla="*/ 1101852 w 1150048"/>
                <a:gd name="connsiteY7" fmla="*/ 870204 h 1248155"/>
                <a:gd name="connsiteX8" fmla="*/ 965454 w 1150048"/>
                <a:gd name="connsiteY8" fmla="*/ 1068134 h 1248155"/>
                <a:gd name="connsiteX9" fmla="*/ 755047 w 1150048"/>
                <a:gd name="connsiteY9" fmla="*/ 1200055 h 1248155"/>
                <a:gd name="connsiteX10" fmla="*/ 486728 w 1150048"/>
                <a:gd name="connsiteY10" fmla="*/ 1248156 h 1248155"/>
                <a:gd name="connsiteX11" fmla="*/ 0 w 1150048"/>
                <a:gd name="connsiteY11" fmla="*/ 1248156 h 1248155"/>
                <a:gd name="connsiteX12" fmla="*/ 0 w 1150048"/>
                <a:gd name="connsiteY12" fmla="*/ 0 h 1248155"/>
                <a:gd name="connsiteX13" fmla="*/ 486728 w 1150048"/>
                <a:gd name="connsiteY13" fmla="*/ 1000315 h 1248155"/>
                <a:gd name="connsiteX14" fmla="*/ 640080 w 1150048"/>
                <a:gd name="connsiteY14" fmla="*/ 973550 h 1248155"/>
                <a:gd name="connsiteX15" fmla="*/ 758667 w 1150048"/>
                <a:gd name="connsiteY15" fmla="*/ 896874 h 1248155"/>
                <a:gd name="connsiteX16" fmla="*/ 835343 w 1150048"/>
                <a:gd name="connsiteY16" fmla="*/ 779240 h 1248155"/>
                <a:gd name="connsiteX17" fmla="*/ 862965 w 1150048"/>
                <a:gd name="connsiteY17" fmla="*/ 627698 h 1248155"/>
                <a:gd name="connsiteX18" fmla="*/ 862965 w 1150048"/>
                <a:gd name="connsiteY18" fmla="*/ 624078 h 1248155"/>
                <a:gd name="connsiteX19" fmla="*/ 835343 w 1150048"/>
                <a:gd name="connsiteY19" fmla="*/ 472535 h 1248155"/>
                <a:gd name="connsiteX20" fmla="*/ 758667 w 1150048"/>
                <a:gd name="connsiteY20" fmla="*/ 353092 h 1248155"/>
                <a:gd name="connsiteX21" fmla="*/ 640080 w 1150048"/>
                <a:gd name="connsiteY21" fmla="*/ 275558 h 1248155"/>
                <a:gd name="connsiteX22" fmla="*/ 486728 w 1150048"/>
                <a:gd name="connsiteY22" fmla="*/ 247936 h 1248155"/>
                <a:gd name="connsiteX23" fmla="*/ 274511 w 1150048"/>
                <a:gd name="connsiteY23" fmla="*/ 247936 h 1248155"/>
                <a:gd name="connsiteX24" fmla="*/ 274511 w 1150048"/>
                <a:gd name="connsiteY24" fmla="*/ 1000411 h 1248155"/>
                <a:gd name="connsiteX25" fmla="*/ 486728 w 1150048"/>
                <a:gd name="connsiteY25" fmla="*/ 1000411 h 124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50048" h="1248155">
                  <a:moveTo>
                    <a:pt x="0" y="0"/>
                  </a:moveTo>
                  <a:lnTo>
                    <a:pt x="486728" y="0"/>
                  </a:lnTo>
                  <a:cubicBezTo>
                    <a:pt x="584168" y="0"/>
                    <a:pt x="673608" y="15811"/>
                    <a:pt x="755047" y="47244"/>
                  </a:cubicBezTo>
                  <a:cubicBezTo>
                    <a:pt x="836486" y="78772"/>
                    <a:pt x="906590" y="122396"/>
                    <a:pt x="965454" y="178308"/>
                  </a:cubicBezTo>
                  <a:cubicBezTo>
                    <a:pt x="1024319" y="234220"/>
                    <a:pt x="1069753" y="299847"/>
                    <a:pt x="1101852" y="375380"/>
                  </a:cubicBezTo>
                  <a:cubicBezTo>
                    <a:pt x="1133951" y="450914"/>
                    <a:pt x="1150049" y="532543"/>
                    <a:pt x="1150049" y="620554"/>
                  </a:cubicBezTo>
                  <a:lnTo>
                    <a:pt x="1150049" y="624173"/>
                  </a:lnTo>
                  <a:cubicBezTo>
                    <a:pt x="1150049" y="712184"/>
                    <a:pt x="1133951" y="794195"/>
                    <a:pt x="1101852" y="870204"/>
                  </a:cubicBezTo>
                  <a:cubicBezTo>
                    <a:pt x="1069753" y="946309"/>
                    <a:pt x="1024319" y="1012222"/>
                    <a:pt x="965454" y="1068134"/>
                  </a:cubicBezTo>
                  <a:cubicBezTo>
                    <a:pt x="906590" y="1124045"/>
                    <a:pt x="836486" y="1167956"/>
                    <a:pt x="755047" y="1200055"/>
                  </a:cubicBezTo>
                  <a:cubicBezTo>
                    <a:pt x="673608" y="1232154"/>
                    <a:pt x="584168" y="1248156"/>
                    <a:pt x="486728" y="1248156"/>
                  </a:cubicBezTo>
                  <a:lnTo>
                    <a:pt x="0" y="1248156"/>
                  </a:lnTo>
                  <a:lnTo>
                    <a:pt x="0" y="0"/>
                  </a:lnTo>
                  <a:close/>
                  <a:moveTo>
                    <a:pt x="486728" y="1000315"/>
                  </a:moveTo>
                  <a:cubicBezTo>
                    <a:pt x="542639" y="1000315"/>
                    <a:pt x="593693" y="991457"/>
                    <a:pt x="640080" y="973550"/>
                  </a:cubicBezTo>
                  <a:cubicBezTo>
                    <a:pt x="686467" y="955739"/>
                    <a:pt x="725900" y="930211"/>
                    <a:pt x="758667" y="896874"/>
                  </a:cubicBezTo>
                  <a:cubicBezTo>
                    <a:pt x="791337" y="863632"/>
                    <a:pt x="816864" y="824389"/>
                    <a:pt x="835343" y="779240"/>
                  </a:cubicBezTo>
                  <a:cubicBezTo>
                    <a:pt x="853726" y="734092"/>
                    <a:pt x="862965" y="683609"/>
                    <a:pt x="862965" y="627698"/>
                  </a:cubicBezTo>
                  <a:lnTo>
                    <a:pt x="862965" y="624078"/>
                  </a:lnTo>
                  <a:cubicBezTo>
                    <a:pt x="862965" y="569404"/>
                    <a:pt x="853726" y="518827"/>
                    <a:pt x="835343" y="472535"/>
                  </a:cubicBezTo>
                  <a:cubicBezTo>
                    <a:pt x="816864" y="426149"/>
                    <a:pt x="791337" y="386334"/>
                    <a:pt x="758667" y="353092"/>
                  </a:cubicBezTo>
                  <a:cubicBezTo>
                    <a:pt x="725996" y="319849"/>
                    <a:pt x="686467" y="293941"/>
                    <a:pt x="640080" y="275558"/>
                  </a:cubicBezTo>
                  <a:cubicBezTo>
                    <a:pt x="593693" y="257175"/>
                    <a:pt x="542639" y="247936"/>
                    <a:pt x="486728" y="247936"/>
                  </a:cubicBezTo>
                  <a:lnTo>
                    <a:pt x="274511" y="247936"/>
                  </a:lnTo>
                  <a:lnTo>
                    <a:pt x="274511" y="1000411"/>
                  </a:lnTo>
                  <a:lnTo>
                    <a:pt x="486728" y="1000411"/>
                  </a:lnTo>
                  <a:close/>
                </a:path>
              </a:pathLst>
            </a:custGeom>
            <a:solidFill>
              <a:srgbClr val="44505E"/>
            </a:solidFill>
            <a:ln w="9525" cap="flat">
              <a:noFill/>
              <a:prstDash val="solid"/>
              <a:miter/>
            </a:ln>
          </p:spPr>
          <p:txBody>
            <a:bodyPr rtlCol="0" anchor="ctr"/>
            <a:lstStyle/>
            <a:p>
              <a:endParaRPr lang="pt-BR" noProof="0"/>
            </a:p>
          </p:txBody>
        </p:sp>
        <p:sp>
          <p:nvSpPr>
            <p:cNvPr id="20" name="Freeform: Shape 19">
              <a:extLst>
                <a:ext uri="{FF2B5EF4-FFF2-40B4-BE49-F238E27FC236}">
                  <a16:creationId xmlns:a16="http://schemas.microsoft.com/office/drawing/2014/main" id="{E18FDF54-6585-44C4-944F-880E0B933CFA}"/>
                </a:ext>
              </a:extLst>
            </p:cNvPr>
            <p:cNvSpPr/>
            <p:nvPr/>
          </p:nvSpPr>
          <p:spPr>
            <a:xfrm>
              <a:off x="6460217" y="313094"/>
              <a:ext cx="238459" cy="313788"/>
            </a:xfrm>
            <a:custGeom>
              <a:avLst/>
              <a:gdLst>
                <a:gd name="connsiteX0" fmla="*/ 95 w 948594"/>
                <a:gd name="connsiteY0" fmla="*/ 0 h 1248251"/>
                <a:gd name="connsiteX1" fmla="*/ 939737 w 948594"/>
                <a:gd name="connsiteY1" fmla="*/ 0 h 1248251"/>
                <a:gd name="connsiteX2" fmla="*/ 939737 w 948594"/>
                <a:gd name="connsiteY2" fmla="*/ 244316 h 1248251"/>
                <a:gd name="connsiteX3" fmla="*/ 271081 w 948594"/>
                <a:gd name="connsiteY3" fmla="*/ 244316 h 1248251"/>
                <a:gd name="connsiteX4" fmla="*/ 271081 w 948594"/>
                <a:gd name="connsiteY4" fmla="*/ 497491 h 1248251"/>
                <a:gd name="connsiteX5" fmla="*/ 859441 w 948594"/>
                <a:gd name="connsiteY5" fmla="*/ 497491 h 1248251"/>
                <a:gd name="connsiteX6" fmla="*/ 859441 w 948594"/>
                <a:gd name="connsiteY6" fmla="*/ 741807 h 1248251"/>
                <a:gd name="connsiteX7" fmla="*/ 271081 w 948594"/>
                <a:gd name="connsiteY7" fmla="*/ 741807 h 1248251"/>
                <a:gd name="connsiteX8" fmla="*/ 271081 w 948594"/>
                <a:gd name="connsiteY8" fmla="*/ 1003935 h 1248251"/>
                <a:gd name="connsiteX9" fmla="*/ 948595 w 948594"/>
                <a:gd name="connsiteY9" fmla="*/ 1003935 h 1248251"/>
                <a:gd name="connsiteX10" fmla="*/ 948595 w 948594"/>
                <a:gd name="connsiteY10" fmla="*/ 1248251 h 1248251"/>
                <a:gd name="connsiteX11" fmla="*/ 0 w 948594"/>
                <a:gd name="connsiteY11" fmla="*/ 1248251 h 1248251"/>
                <a:gd name="connsiteX12" fmla="*/ 0 w 948594"/>
                <a:gd name="connsiteY12" fmla="*/ 0 h 124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594" h="1248251">
                  <a:moveTo>
                    <a:pt x="95" y="0"/>
                  </a:moveTo>
                  <a:lnTo>
                    <a:pt x="939737" y="0"/>
                  </a:lnTo>
                  <a:lnTo>
                    <a:pt x="939737" y="244316"/>
                  </a:lnTo>
                  <a:lnTo>
                    <a:pt x="271081" y="244316"/>
                  </a:lnTo>
                  <a:lnTo>
                    <a:pt x="271081" y="497491"/>
                  </a:lnTo>
                  <a:lnTo>
                    <a:pt x="859441" y="497491"/>
                  </a:lnTo>
                  <a:lnTo>
                    <a:pt x="859441" y="741807"/>
                  </a:lnTo>
                  <a:lnTo>
                    <a:pt x="271081" y="741807"/>
                  </a:lnTo>
                  <a:lnTo>
                    <a:pt x="271081" y="1003935"/>
                  </a:lnTo>
                  <a:lnTo>
                    <a:pt x="948595" y="1003935"/>
                  </a:lnTo>
                  <a:lnTo>
                    <a:pt x="948595" y="1248251"/>
                  </a:lnTo>
                  <a:lnTo>
                    <a:pt x="0" y="1248251"/>
                  </a:lnTo>
                  <a:lnTo>
                    <a:pt x="0" y="0"/>
                  </a:lnTo>
                  <a:close/>
                </a:path>
              </a:pathLst>
            </a:custGeom>
            <a:solidFill>
              <a:srgbClr val="44505E"/>
            </a:solidFill>
            <a:ln w="9525" cap="flat">
              <a:noFill/>
              <a:prstDash val="solid"/>
              <a:miter/>
            </a:ln>
          </p:spPr>
          <p:txBody>
            <a:bodyPr rtlCol="0" anchor="ctr"/>
            <a:lstStyle/>
            <a:p>
              <a:endParaRPr lang="pt-BR" noProof="0"/>
            </a:p>
          </p:txBody>
        </p:sp>
        <p:sp>
          <p:nvSpPr>
            <p:cNvPr id="21" name="Freeform: Shape 20">
              <a:extLst>
                <a:ext uri="{FF2B5EF4-FFF2-40B4-BE49-F238E27FC236}">
                  <a16:creationId xmlns:a16="http://schemas.microsoft.com/office/drawing/2014/main" id="{9DB88C78-EB4D-0C3C-B29F-E764B0AD6EE1}"/>
                </a:ext>
              </a:extLst>
            </p:cNvPr>
            <p:cNvSpPr/>
            <p:nvPr/>
          </p:nvSpPr>
          <p:spPr>
            <a:xfrm>
              <a:off x="5253193" y="699983"/>
              <a:ext cx="90796" cy="97883"/>
            </a:xfrm>
            <a:custGeom>
              <a:avLst/>
              <a:gdLst>
                <a:gd name="connsiteX0" fmla="*/ 191548 w 361187"/>
                <a:gd name="connsiteY0" fmla="*/ 389382 h 389381"/>
                <a:gd name="connsiteX1" fmla="*/ 116300 w 361187"/>
                <a:gd name="connsiteY1" fmla="*/ 375285 h 389381"/>
                <a:gd name="connsiteX2" fmla="*/ 55531 w 361187"/>
                <a:gd name="connsiteY2" fmla="*/ 335756 h 389381"/>
                <a:gd name="connsiteX3" fmla="*/ 14859 w 361187"/>
                <a:gd name="connsiteY3" fmla="*/ 274606 h 389381"/>
                <a:gd name="connsiteX4" fmla="*/ 0 w 361187"/>
                <a:gd name="connsiteY4" fmla="*/ 195834 h 389381"/>
                <a:gd name="connsiteX5" fmla="*/ 0 w 361187"/>
                <a:gd name="connsiteY5" fmla="*/ 194405 h 389381"/>
                <a:gd name="connsiteX6" fmla="*/ 13430 w 361187"/>
                <a:gd name="connsiteY6" fmla="*/ 118777 h 389381"/>
                <a:gd name="connsiteX7" fmla="*/ 51245 w 361187"/>
                <a:gd name="connsiteY7" fmla="*/ 56959 h 389381"/>
                <a:gd name="connsiteX8" fmla="*/ 108871 w 361187"/>
                <a:gd name="connsiteY8" fmla="*/ 15240 h 389381"/>
                <a:gd name="connsiteX9" fmla="*/ 182404 w 361187"/>
                <a:gd name="connsiteY9" fmla="*/ 0 h 389381"/>
                <a:gd name="connsiteX10" fmla="*/ 260509 w 361187"/>
                <a:gd name="connsiteY10" fmla="*/ 16288 h 389381"/>
                <a:gd name="connsiteX11" fmla="*/ 316325 w 361187"/>
                <a:gd name="connsiteY11" fmla="*/ 60103 h 389381"/>
                <a:gd name="connsiteX12" fmla="*/ 349853 w 361187"/>
                <a:gd name="connsiteY12" fmla="*/ 124015 h 389381"/>
                <a:gd name="connsiteX13" fmla="*/ 361188 w 361187"/>
                <a:gd name="connsiteY13" fmla="*/ 200692 h 389381"/>
                <a:gd name="connsiteX14" fmla="*/ 360807 w 361187"/>
                <a:gd name="connsiteY14" fmla="*/ 212312 h 389381"/>
                <a:gd name="connsiteX15" fmla="*/ 359759 w 361187"/>
                <a:gd name="connsiteY15" fmla="*/ 224695 h 389381"/>
                <a:gd name="connsiteX16" fmla="*/ 85534 w 361187"/>
                <a:gd name="connsiteY16" fmla="*/ 224695 h 389381"/>
                <a:gd name="connsiteX17" fmla="*/ 121920 w 361187"/>
                <a:gd name="connsiteY17" fmla="*/ 294989 h 389381"/>
                <a:gd name="connsiteX18" fmla="*/ 192977 w 361187"/>
                <a:gd name="connsiteY18" fmla="*/ 319373 h 389381"/>
                <a:gd name="connsiteX19" fmla="*/ 248126 w 361187"/>
                <a:gd name="connsiteY19" fmla="*/ 308038 h 389381"/>
                <a:gd name="connsiteX20" fmla="*/ 294037 w 361187"/>
                <a:gd name="connsiteY20" fmla="*/ 274796 h 389381"/>
                <a:gd name="connsiteX21" fmla="*/ 344234 w 361187"/>
                <a:gd name="connsiteY21" fmla="*/ 319278 h 389381"/>
                <a:gd name="connsiteX22" fmla="*/ 280226 w 361187"/>
                <a:gd name="connsiteY22" fmla="*/ 370141 h 389381"/>
                <a:gd name="connsiteX23" fmla="*/ 191548 w 361187"/>
                <a:gd name="connsiteY23" fmla="*/ 389191 h 389381"/>
                <a:gd name="connsiteX24" fmla="*/ 276320 w 361187"/>
                <a:gd name="connsiteY24" fmla="*/ 168211 h 389381"/>
                <a:gd name="connsiteX25" fmla="*/ 267176 w 361187"/>
                <a:gd name="connsiteY25" fmla="*/ 129730 h 389381"/>
                <a:gd name="connsiteX26" fmla="*/ 248126 w 361187"/>
                <a:gd name="connsiteY26" fmla="*/ 98679 h 389381"/>
                <a:gd name="connsiteX27" fmla="*/ 219551 w 361187"/>
                <a:gd name="connsiteY27" fmla="*/ 77819 h 389381"/>
                <a:gd name="connsiteX28" fmla="*/ 181737 w 361187"/>
                <a:gd name="connsiteY28" fmla="*/ 70009 h 389381"/>
                <a:gd name="connsiteX29" fmla="*/ 116396 w 361187"/>
                <a:gd name="connsiteY29" fmla="*/ 97250 h 389381"/>
                <a:gd name="connsiteX30" fmla="*/ 84963 w 361187"/>
                <a:gd name="connsiteY30" fmla="*/ 168307 h 389381"/>
                <a:gd name="connsiteX31" fmla="*/ 276511 w 361187"/>
                <a:gd name="connsiteY31" fmla="*/ 168307 h 38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187" h="389381">
                  <a:moveTo>
                    <a:pt x="191548" y="389382"/>
                  </a:moveTo>
                  <a:cubicBezTo>
                    <a:pt x="164687" y="389382"/>
                    <a:pt x="139637" y="384715"/>
                    <a:pt x="116300" y="375285"/>
                  </a:cubicBezTo>
                  <a:cubicBezTo>
                    <a:pt x="92964" y="365855"/>
                    <a:pt x="72771" y="352711"/>
                    <a:pt x="55531" y="335756"/>
                  </a:cubicBezTo>
                  <a:cubicBezTo>
                    <a:pt x="38291" y="318802"/>
                    <a:pt x="24765" y="298418"/>
                    <a:pt x="14859" y="274606"/>
                  </a:cubicBezTo>
                  <a:cubicBezTo>
                    <a:pt x="4953" y="250793"/>
                    <a:pt x="0" y="224599"/>
                    <a:pt x="0" y="195834"/>
                  </a:cubicBezTo>
                  <a:lnTo>
                    <a:pt x="0" y="194405"/>
                  </a:lnTo>
                  <a:cubicBezTo>
                    <a:pt x="0" y="167545"/>
                    <a:pt x="4477" y="142399"/>
                    <a:pt x="13430" y="118777"/>
                  </a:cubicBezTo>
                  <a:cubicBezTo>
                    <a:pt x="22384" y="95250"/>
                    <a:pt x="34957" y="74581"/>
                    <a:pt x="51245" y="56959"/>
                  </a:cubicBezTo>
                  <a:cubicBezTo>
                    <a:pt x="67532" y="39338"/>
                    <a:pt x="86677" y="25432"/>
                    <a:pt x="108871" y="15240"/>
                  </a:cubicBezTo>
                  <a:cubicBezTo>
                    <a:pt x="131064" y="5143"/>
                    <a:pt x="155543" y="0"/>
                    <a:pt x="182404" y="0"/>
                  </a:cubicBezTo>
                  <a:cubicBezTo>
                    <a:pt x="212122" y="0"/>
                    <a:pt x="238125" y="5429"/>
                    <a:pt x="260509" y="16288"/>
                  </a:cubicBezTo>
                  <a:cubicBezTo>
                    <a:pt x="282893" y="27146"/>
                    <a:pt x="301466" y="41719"/>
                    <a:pt x="316325" y="60103"/>
                  </a:cubicBezTo>
                  <a:cubicBezTo>
                    <a:pt x="331184" y="78486"/>
                    <a:pt x="342329" y="99822"/>
                    <a:pt x="349853" y="124015"/>
                  </a:cubicBezTo>
                  <a:cubicBezTo>
                    <a:pt x="357378" y="148304"/>
                    <a:pt x="361188" y="173831"/>
                    <a:pt x="361188" y="200692"/>
                  </a:cubicBezTo>
                  <a:cubicBezTo>
                    <a:pt x="361188" y="204502"/>
                    <a:pt x="361093" y="208312"/>
                    <a:pt x="360807" y="212312"/>
                  </a:cubicBezTo>
                  <a:cubicBezTo>
                    <a:pt x="360521" y="216313"/>
                    <a:pt x="360236" y="220409"/>
                    <a:pt x="359759" y="224695"/>
                  </a:cubicBezTo>
                  <a:lnTo>
                    <a:pt x="85534" y="224695"/>
                  </a:lnTo>
                  <a:cubicBezTo>
                    <a:pt x="90202" y="255365"/>
                    <a:pt x="102394" y="278797"/>
                    <a:pt x="121920" y="294989"/>
                  </a:cubicBezTo>
                  <a:cubicBezTo>
                    <a:pt x="141446" y="311277"/>
                    <a:pt x="165164" y="319373"/>
                    <a:pt x="192977" y="319373"/>
                  </a:cubicBezTo>
                  <a:cubicBezTo>
                    <a:pt x="214217" y="319373"/>
                    <a:pt x="232505" y="315563"/>
                    <a:pt x="248126" y="308038"/>
                  </a:cubicBezTo>
                  <a:cubicBezTo>
                    <a:pt x="263652" y="300514"/>
                    <a:pt x="278987" y="289465"/>
                    <a:pt x="294037" y="274796"/>
                  </a:cubicBezTo>
                  <a:lnTo>
                    <a:pt x="344234" y="319278"/>
                  </a:lnTo>
                  <a:cubicBezTo>
                    <a:pt x="326327" y="340519"/>
                    <a:pt x="304991" y="357473"/>
                    <a:pt x="280226" y="370141"/>
                  </a:cubicBezTo>
                  <a:cubicBezTo>
                    <a:pt x="255461" y="382810"/>
                    <a:pt x="225933" y="389191"/>
                    <a:pt x="191548" y="389191"/>
                  </a:cubicBezTo>
                  <a:close/>
                  <a:moveTo>
                    <a:pt x="276320" y="168211"/>
                  </a:moveTo>
                  <a:cubicBezTo>
                    <a:pt x="274892" y="154591"/>
                    <a:pt x="271844" y="141732"/>
                    <a:pt x="267176" y="129730"/>
                  </a:cubicBezTo>
                  <a:cubicBezTo>
                    <a:pt x="262414" y="117729"/>
                    <a:pt x="256127" y="107347"/>
                    <a:pt x="248126" y="98679"/>
                  </a:cubicBezTo>
                  <a:cubicBezTo>
                    <a:pt x="240125" y="89916"/>
                    <a:pt x="230600" y="82963"/>
                    <a:pt x="219551" y="77819"/>
                  </a:cubicBezTo>
                  <a:cubicBezTo>
                    <a:pt x="208502" y="72676"/>
                    <a:pt x="195834" y="70009"/>
                    <a:pt x="181737" y="70009"/>
                  </a:cubicBezTo>
                  <a:cubicBezTo>
                    <a:pt x="155353" y="70009"/>
                    <a:pt x="133541" y="79057"/>
                    <a:pt x="116396" y="97250"/>
                  </a:cubicBezTo>
                  <a:cubicBezTo>
                    <a:pt x="99155" y="115348"/>
                    <a:pt x="88678" y="139065"/>
                    <a:pt x="84963" y="168307"/>
                  </a:cubicBezTo>
                  <a:lnTo>
                    <a:pt x="276511" y="168307"/>
                  </a:lnTo>
                  <a:close/>
                </a:path>
              </a:pathLst>
            </a:custGeom>
            <a:solidFill>
              <a:srgbClr val="44505E"/>
            </a:solidFill>
            <a:ln w="9525" cap="flat">
              <a:noFill/>
              <a:prstDash val="solid"/>
              <a:miter/>
            </a:ln>
          </p:spPr>
          <p:txBody>
            <a:bodyPr rtlCol="0" anchor="ctr"/>
            <a:lstStyle/>
            <a:p>
              <a:endParaRPr lang="pt-BR" noProof="0"/>
            </a:p>
          </p:txBody>
        </p:sp>
        <p:sp>
          <p:nvSpPr>
            <p:cNvPr id="22" name="Freeform: Shape 21">
              <a:extLst>
                <a:ext uri="{FF2B5EF4-FFF2-40B4-BE49-F238E27FC236}">
                  <a16:creationId xmlns:a16="http://schemas.microsoft.com/office/drawing/2014/main" id="{D1EC9EF0-63D2-56AD-93A9-31811E21C244}"/>
                </a:ext>
              </a:extLst>
            </p:cNvPr>
            <p:cNvSpPr/>
            <p:nvPr/>
          </p:nvSpPr>
          <p:spPr>
            <a:xfrm>
              <a:off x="5365659"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5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8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3 w 568166"/>
                <a:gd name="connsiteY21" fmla="*/ 381000 h 381000"/>
                <a:gd name="connsiteX22" fmla="*/ 240983 w 568166"/>
                <a:gd name="connsiteY22" fmla="*/ 168783 h 381000"/>
                <a:gd name="connsiteX23" fmla="*/ 221266 w 568166"/>
                <a:gd name="connsiteY23" fmla="*/ 101822 h 381000"/>
                <a:gd name="connsiteX24" fmla="*/ 165640 w 568166"/>
                <a:gd name="connsiteY24" fmla="*/ 78581 h 381000"/>
                <a:gd name="connsiteX25" fmla="*/ 108014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70" y="48196"/>
                    <a:pt x="105918" y="40576"/>
                  </a:cubicBezTo>
                  <a:cubicBezTo>
                    <a:pt x="112967" y="32956"/>
                    <a:pt x="121063" y="26099"/>
                    <a:pt x="130207" y="19907"/>
                  </a:cubicBezTo>
                  <a:cubicBezTo>
                    <a:pt x="139351" y="13716"/>
                    <a:pt x="149733" y="8858"/>
                    <a:pt x="161163" y="5334"/>
                  </a:cubicBezTo>
                  <a:cubicBezTo>
                    <a:pt x="172688" y="1714"/>
                    <a:pt x="185452" y="0"/>
                    <a:pt x="199549" y="0"/>
                  </a:cubicBezTo>
                  <a:cubicBezTo>
                    <a:pt x="226314" y="0"/>
                    <a:pt x="248984" y="6096"/>
                    <a:pt x="267557" y="18193"/>
                  </a:cubicBezTo>
                  <a:cubicBezTo>
                    <a:pt x="286131" y="30289"/>
                    <a:pt x="300323" y="46387"/>
                    <a:pt x="310134" y="66294"/>
                  </a:cubicBezTo>
                  <a:cubicBezTo>
                    <a:pt x="325279" y="46387"/>
                    <a:pt x="343091" y="30289"/>
                    <a:pt x="363665" y="18193"/>
                  </a:cubicBezTo>
                  <a:cubicBezTo>
                    <a:pt x="384239" y="6096"/>
                    <a:pt x="408718" y="0"/>
                    <a:pt x="437007" y="0"/>
                  </a:cubicBezTo>
                  <a:cubicBezTo>
                    <a:pt x="478060"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8" y="78486"/>
                  </a:cubicBezTo>
                  <a:cubicBezTo>
                    <a:pt x="382810" y="78486"/>
                    <a:pt x="364141" y="86392"/>
                    <a:pt x="349377" y="102108"/>
                  </a:cubicBezTo>
                  <a:cubicBezTo>
                    <a:pt x="334613" y="117824"/>
                    <a:pt x="327184" y="140779"/>
                    <a:pt x="327184" y="170879"/>
                  </a:cubicBezTo>
                  <a:lnTo>
                    <a:pt x="327184" y="381000"/>
                  </a:lnTo>
                  <a:lnTo>
                    <a:pt x="240983" y="381000"/>
                  </a:lnTo>
                  <a:lnTo>
                    <a:pt x="240983" y="168783"/>
                  </a:lnTo>
                  <a:cubicBezTo>
                    <a:pt x="240983" y="139637"/>
                    <a:pt x="234410" y="117348"/>
                    <a:pt x="221266" y="101822"/>
                  </a:cubicBezTo>
                  <a:cubicBezTo>
                    <a:pt x="208121" y="86296"/>
                    <a:pt x="189643" y="78581"/>
                    <a:pt x="165640" y="78581"/>
                  </a:cubicBezTo>
                  <a:cubicBezTo>
                    <a:pt x="141637" y="78581"/>
                    <a:pt x="122492" y="86773"/>
                    <a:pt x="108014"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23" name="Freeform: Shape 22">
              <a:extLst>
                <a:ext uri="{FF2B5EF4-FFF2-40B4-BE49-F238E27FC236}">
                  <a16:creationId xmlns:a16="http://schemas.microsoft.com/office/drawing/2014/main" id="{5B688D62-42FD-1EAE-F53B-EAD8529251B8}"/>
                </a:ext>
              </a:extLst>
            </p:cNvPr>
            <p:cNvSpPr/>
            <p:nvPr/>
          </p:nvSpPr>
          <p:spPr>
            <a:xfrm>
              <a:off x="5587693" y="700007"/>
              <a:ext cx="84211" cy="95752"/>
            </a:xfrm>
            <a:custGeom>
              <a:avLst/>
              <a:gdLst>
                <a:gd name="connsiteX0" fmla="*/ 95 w 334994"/>
                <a:gd name="connsiteY0" fmla="*/ 7715 h 380904"/>
                <a:gd name="connsiteX1" fmla="*/ 86296 w 334994"/>
                <a:gd name="connsiteY1" fmla="*/ 7715 h 380904"/>
                <a:gd name="connsiteX2" fmla="*/ 86296 w 334994"/>
                <a:gd name="connsiteY2" fmla="*/ 66294 h 380904"/>
                <a:gd name="connsiteX3" fmla="*/ 106394 w 334994"/>
                <a:gd name="connsiteY3" fmla="*/ 40958 h 380904"/>
                <a:gd name="connsiteX4" fmla="*/ 131731 w 334994"/>
                <a:gd name="connsiteY4" fmla="*/ 19907 h 380904"/>
                <a:gd name="connsiteX5" fmla="*/ 163449 w 334994"/>
                <a:gd name="connsiteY5" fmla="*/ 5334 h 380904"/>
                <a:gd name="connsiteX6" fmla="*/ 202597 w 334994"/>
                <a:gd name="connsiteY6" fmla="*/ 0 h 380904"/>
                <a:gd name="connsiteX7" fmla="*/ 300514 w 334994"/>
                <a:gd name="connsiteY7" fmla="*/ 38862 h 380904"/>
                <a:gd name="connsiteX8" fmla="*/ 334994 w 334994"/>
                <a:gd name="connsiteY8" fmla="*/ 143446 h 380904"/>
                <a:gd name="connsiteX9" fmla="*/ 334994 w 334994"/>
                <a:gd name="connsiteY9" fmla="*/ 380905 h 380904"/>
                <a:gd name="connsiteX10" fmla="*/ 248793 w 334994"/>
                <a:gd name="connsiteY10" fmla="*/ 380905 h 380904"/>
                <a:gd name="connsiteX11" fmla="*/ 248793 w 334994"/>
                <a:gd name="connsiteY11" fmla="*/ 169450 h 380904"/>
                <a:gd name="connsiteX12" fmla="*/ 228124 w 334994"/>
                <a:gd name="connsiteY12" fmla="*/ 102108 h 380904"/>
                <a:gd name="connsiteX13" fmla="*/ 169640 w 334994"/>
                <a:gd name="connsiteY13" fmla="*/ 78486 h 380904"/>
                <a:gd name="connsiteX14" fmla="*/ 109347 w 334994"/>
                <a:gd name="connsiteY14" fmla="*/ 102775 h 380904"/>
                <a:gd name="connsiteX15" fmla="*/ 86201 w 334994"/>
                <a:gd name="connsiteY15" fmla="*/ 170783 h 380904"/>
                <a:gd name="connsiteX16" fmla="*/ 86201 w 334994"/>
                <a:gd name="connsiteY16" fmla="*/ 380905 h 380904"/>
                <a:gd name="connsiteX17" fmla="*/ 0 w 334994"/>
                <a:gd name="connsiteY17" fmla="*/ 380905 h 380904"/>
                <a:gd name="connsiteX18" fmla="*/ 0 w 334994"/>
                <a:gd name="connsiteY18" fmla="*/ 7810 h 38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94" h="380904">
                  <a:moveTo>
                    <a:pt x="95" y="7715"/>
                  </a:moveTo>
                  <a:lnTo>
                    <a:pt x="86296" y="7715"/>
                  </a:lnTo>
                  <a:lnTo>
                    <a:pt x="86296" y="66294"/>
                  </a:lnTo>
                  <a:cubicBezTo>
                    <a:pt x="92392" y="57245"/>
                    <a:pt x="99060" y="48863"/>
                    <a:pt x="106394" y="40958"/>
                  </a:cubicBezTo>
                  <a:cubicBezTo>
                    <a:pt x="113633" y="33147"/>
                    <a:pt x="122110" y="26099"/>
                    <a:pt x="131731" y="19907"/>
                  </a:cubicBezTo>
                  <a:cubicBezTo>
                    <a:pt x="141351" y="13716"/>
                    <a:pt x="151924" y="8858"/>
                    <a:pt x="163449" y="5334"/>
                  </a:cubicBezTo>
                  <a:cubicBezTo>
                    <a:pt x="174974" y="1714"/>
                    <a:pt x="188024" y="0"/>
                    <a:pt x="202597" y="0"/>
                  </a:cubicBezTo>
                  <a:cubicBezTo>
                    <a:pt x="244888" y="0"/>
                    <a:pt x="277559" y="12954"/>
                    <a:pt x="300514" y="38862"/>
                  </a:cubicBezTo>
                  <a:cubicBezTo>
                    <a:pt x="323564" y="64770"/>
                    <a:pt x="334994" y="99631"/>
                    <a:pt x="334994" y="143446"/>
                  </a:cubicBezTo>
                  <a:lnTo>
                    <a:pt x="334994" y="380905"/>
                  </a:lnTo>
                  <a:lnTo>
                    <a:pt x="248793" y="380905"/>
                  </a:lnTo>
                  <a:lnTo>
                    <a:pt x="248793" y="169450"/>
                  </a:lnTo>
                  <a:cubicBezTo>
                    <a:pt x="248793" y="140303"/>
                    <a:pt x="241935" y="117824"/>
                    <a:pt x="228124" y="102108"/>
                  </a:cubicBezTo>
                  <a:cubicBezTo>
                    <a:pt x="214313" y="86392"/>
                    <a:pt x="194881" y="78486"/>
                    <a:pt x="169640" y="78486"/>
                  </a:cubicBezTo>
                  <a:cubicBezTo>
                    <a:pt x="144399" y="78486"/>
                    <a:pt x="124777" y="86582"/>
                    <a:pt x="109347" y="102775"/>
                  </a:cubicBezTo>
                  <a:cubicBezTo>
                    <a:pt x="93917" y="118967"/>
                    <a:pt x="86201" y="141637"/>
                    <a:pt x="86201" y="170783"/>
                  </a:cubicBezTo>
                  <a:lnTo>
                    <a:pt x="86201" y="380905"/>
                  </a:lnTo>
                  <a:lnTo>
                    <a:pt x="0" y="380905"/>
                  </a:lnTo>
                  <a:lnTo>
                    <a:pt x="0" y="7810"/>
                  </a:lnTo>
                  <a:close/>
                </a:path>
              </a:pathLst>
            </a:custGeom>
            <a:solidFill>
              <a:srgbClr val="44505E"/>
            </a:solidFill>
            <a:ln w="9525" cap="flat">
              <a:noFill/>
              <a:prstDash val="solid"/>
              <a:miter/>
            </a:ln>
          </p:spPr>
          <p:txBody>
            <a:bodyPr rtlCol="0" anchor="ctr"/>
            <a:lstStyle/>
            <a:p>
              <a:endParaRPr lang="pt-BR" noProof="0"/>
            </a:p>
          </p:txBody>
        </p:sp>
        <p:sp>
          <p:nvSpPr>
            <p:cNvPr id="24" name="Freeform: Shape 23">
              <a:extLst>
                <a:ext uri="{FF2B5EF4-FFF2-40B4-BE49-F238E27FC236}">
                  <a16:creationId xmlns:a16="http://schemas.microsoft.com/office/drawing/2014/main" id="{9135FB3D-6501-AFC7-501B-7681D18CF847}"/>
                </a:ext>
              </a:extLst>
            </p:cNvPr>
            <p:cNvSpPr/>
            <p:nvPr/>
          </p:nvSpPr>
          <p:spPr>
            <a:xfrm>
              <a:off x="5692712" y="699959"/>
              <a:ext cx="100015" cy="97908"/>
            </a:xfrm>
            <a:custGeom>
              <a:avLst/>
              <a:gdLst>
                <a:gd name="connsiteX0" fmla="*/ 197834 w 397859"/>
                <a:gd name="connsiteY0" fmla="*/ 389477 h 389477"/>
                <a:gd name="connsiteX1" fmla="*/ 119063 w 397859"/>
                <a:gd name="connsiteY1" fmla="*/ 374237 h 389477"/>
                <a:gd name="connsiteX2" fmla="*/ 56197 w 397859"/>
                <a:gd name="connsiteY2" fmla="*/ 332899 h 389477"/>
                <a:gd name="connsiteX3" fmla="*/ 14859 w 397859"/>
                <a:gd name="connsiteY3" fmla="*/ 271463 h 389477"/>
                <a:gd name="connsiteX4" fmla="*/ 0 w 397859"/>
                <a:gd name="connsiteY4" fmla="*/ 196501 h 389477"/>
                <a:gd name="connsiteX5" fmla="*/ 0 w 397859"/>
                <a:gd name="connsiteY5" fmla="*/ 195072 h 389477"/>
                <a:gd name="connsiteX6" fmla="*/ 15145 w 397859"/>
                <a:gd name="connsiteY6" fmla="*/ 119444 h 389477"/>
                <a:gd name="connsiteX7" fmla="*/ 56864 w 397859"/>
                <a:gd name="connsiteY7" fmla="*/ 57626 h 389477"/>
                <a:gd name="connsiteX8" fmla="*/ 119729 w 397859"/>
                <a:gd name="connsiteY8" fmla="*/ 15526 h 389477"/>
                <a:gd name="connsiteX9" fmla="*/ 199263 w 397859"/>
                <a:gd name="connsiteY9" fmla="*/ 0 h 389477"/>
                <a:gd name="connsiteX10" fmla="*/ 278797 w 397859"/>
                <a:gd name="connsiteY10" fmla="*/ 15240 h 389477"/>
                <a:gd name="connsiteX11" fmla="*/ 341662 w 397859"/>
                <a:gd name="connsiteY11" fmla="*/ 56959 h 389477"/>
                <a:gd name="connsiteX12" fmla="*/ 383000 w 397859"/>
                <a:gd name="connsiteY12" fmla="*/ 118396 h 389477"/>
                <a:gd name="connsiteX13" fmla="*/ 397859 w 397859"/>
                <a:gd name="connsiteY13" fmla="*/ 193643 h 389477"/>
                <a:gd name="connsiteX14" fmla="*/ 397859 w 397859"/>
                <a:gd name="connsiteY14" fmla="*/ 195072 h 389477"/>
                <a:gd name="connsiteX15" fmla="*/ 382619 w 397859"/>
                <a:gd name="connsiteY15" fmla="*/ 270034 h 389477"/>
                <a:gd name="connsiteX16" fmla="*/ 340900 w 397859"/>
                <a:gd name="connsiteY16" fmla="*/ 331851 h 389477"/>
                <a:gd name="connsiteX17" fmla="*/ 277654 w 397859"/>
                <a:gd name="connsiteY17" fmla="*/ 373856 h 389477"/>
                <a:gd name="connsiteX18" fmla="*/ 197834 w 397859"/>
                <a:gd name="connsiteY18" fmla="*/ 389382 h 389477"/>
                <a:gd name="connsiteX19" fmla="*/ 199263 w 397859"/>
                <a:gd name="connsiteY19" fmla="*/ 315278 h 389477"/>
                <a:gd name="connsiteX20" fmla="*/ 245935 w 397859"/>
                <a:gd name="connsiteY20" fmla="*/ 305753 h 389477"/>
                <a:gd name="connsiteX21" fmla="*/ 281368 w 397859"/>
                <a:gd name="connsiteY21" fmla="*/ 279940 h 389477"/>
                <a:gd name="connsiteX22" fmla="*/ 303847 w 397859"/>
                <a:gd name="connsiteY22" fmla="*/ 242125 h 389477"/>
                <a:gd name="connsiteX23" fmla="*/ 311563 w 397859"/>
                <a:gd name="connsiteY23" fmla="*/ 196501 h 389477"/>
                <a:gd name="connsiteX24" fmla="*/ 311563 w 397859"/>
                <a:gd name="connsiteY24" fmla="*/ 195072 h 389477"/>
                <a:gd name="connsiteX25" fmla="*/ 303181 w 397859"/>
                <a:gd name="connsiteY25" fmla="*/ 148400 h 389477"/>
                <a:gd name="connsiteX26" fmla="*/ 279654 w 397859"/>
                <a:gd name="connsiteY26" fmla="*/ 110204 h 389477"/>
                <a:gd name="connsiteX27" fmla="*/ 243840 w 397859"/>
                <a:gd name="connsiteY27" fmla="*/ 84392 h 389477"/>
                <a:gd name="connsiteX28" fmla="*/ 197834 w 397859"/>
                <a:gd name="connsiteY28" fmla="*/ 74867 h 389477"/>
                <a:gd name="connsiteX29" fmla="*/ 151829 w 397859"/>
                <a:gd name="connsiteY29" fmla="*/ 84392 h 389477"/>
                <a:gd name="connsiteX30" fmla="*/ 116396 w 397859"/>
                <a:gd name="connsiteY30" fmla="*/ 109823 h 389477"/>
                <a:gd name="connsiteX31" fmla="*/ 93917 w 397859"/>
                <a:gd name="connsiteY31" fmla="*/ 147638 h 389477"/>
                <a:gd name="connsiteX32" fmla="*/ 86201 w 397859"/>
                <a:gd name="connsiteY32" fmla="*/ 193548 h 389477"/>
                <a:gd name="connsiteX33" fmla="*/ 86201 w 397859"/>
                <a:gd name="connsiteY33" fmla="*/ 194977 h 389477"/>
                <a:gd name="connsiteX34" fmla="*/ 94583 w 397859"/>
                <a:gd name="connsiteY34" fmla="*/ 241268 h 389477"/>
                <a:gd name="connsiteX35" fmla="*/ 118110 w 397859"/>
                <a:gd name="connsiteY35" fmla="*/ 279463 h 389477"/>
                <a:gd name="connsiteX36" fmla="*/ 153924 w 397859"/>
                <a:gd name="connsiteY36" fmla="*/ 305562 h 389477"/>
                <a:gd name="connsiteX37" fmla="*/ 199263 w 397859"/>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859" h="389477">
                  <a:moveTo>
                    <a:pt x="197834" y="389477"/>
                  </a:moveTo>
                  <a:cubicBezTo>
                    <a:pt x="169545" y="389477"/>
                    <a:pt x="143351" y="384429"/>
                    <a:pt x="119063" y="374237"/>
                  </a:cubicBezTo>
                  <a:cubicBezTo>
                    <a:pt x="94774" y="364141"/>
                    <a:pt x="73819" y="350330"/>
                    <a:pt x="56197" y="332899"/>
                  </a:cubicBezTo>
                  <a:cubicBezTo>
                    <a:pt x="38481" y="315468"/>
                    <a:pt x="24765" y="294989"/>
                    <a:pt x="14859" y="271463"/>
                  </a:cubicBezTo>
                  <a:cubicBezTo>
                    <a:pt x="4953" y="247936"/>
                    <a:pt x="0" y="222980"/>
                    <a:pt x="0" y="196501"/>
                  </a:cubicBezTo>
                  <a:lnTo>
                    <a:pt x="0" y="195072"/>
                  </a:lnTo>
                  <a:cubicBezTo>
                    <a:pt x="0" y="168212"/>
                    <a:pt x="5048" y="143066"/>
                    <a:pt x="15145" y="119444"/>
                  </a:cubicBezTo>
                  <a:cubicBezTo>
                    <a:pt x="25241" y="95917"/>
                    <a:pt x="39148" y="75248"/>
                    <a:pt x="56864" y="57626"/>
                  </a:cubicBezTo>
                  <a:cubicBezTo>
                    <a:pt x="74581" y="39910"/>
                    <a:pt x="95536" y="25908"/>
                    <a:pt x="119729" y="15526"/>
                  </a:cubicBezTo>
                  <a:cubicBezTo>
                    <a:pt x="144018" y="5144"/>
                    <a:pt x="170497" y="0"/>
                    <a:pt x="199263" y="0"/>
                  </a:cubicBezTo>
                  <a:cubicBezTo>
                    <a:pt x="228029" y="0"/>
                    <a:pt x="254508" y="5048"/>
                    <a:pt x="278797" y="15240"/>
                  </a:cubicBezTo>
                  <a:cubicBezTo>
                    <a:pt x="303085" y="25337"/>
                    <a:pt x="324041" y="39243"/>
                    <a:pt x="341662" y="56959"/>
                  </a:cubicBezTo>
                  <a:cubicBezTo>
                    <a:pt x="359378" y="74676"/>
                    <a:pt x="373094" y="95155"/>
                    <a:pt x="383000" y="118396"/>
                  </a:cubicBezTo>
                  <a:cubicBezTo>
                    <a:pt x="392906" y="141732"/>
                    <a:pt x="397859" y="166783"/>
                    <a:pt x="397859" y="193643"/>
                  </a:cubicBezTo>
                  <a:lnTo>
                    <a:pt x="397859" y="195072"/>
                  </a:lnTo>
                  <a:cubicBezTo>
                    <a:pt x="397859" y="221456"/>
                    <a:pt x="392811" y="246412"/>
                    <a:pt x="382619" y="270034"/>
                  </a:cubicBezTo>
                  <a:cubicBezTo>
                    <a:pt x="372523" y="293561"/>
                    <a:pt x="358616" y="314230"/>
                    <a:pt x="340900" y="331851"/>
                  </a:cubicBezTo>
                  <a:cubicBezTo>
                    <a:pt x="323183" y="349472"/>
                    <a:pt x="302133" y="363569"/>
                    <a:pt x="277654" y="373856"/>
                  </a:cubicBezTo>
                  <a:cubicBezTo>
                    <a:pt x="253175" y="384238"/>
                    <a:pt x="226504" y="389382"/>
                    <a:pt x="197834" y="389382"/>
                  </a:cubicBezTo>
                  <a:close/>
                  <a:moveTo>
                    <a:pt x="199263" y="315278"/>
                  </a:moveTo>
                  <a:cubicBezTo>
                    <a:pt x="216598" y="315278"/>
                    <a:pt x="232124" y="312039"/>
                    <a:pt x="245935" y="305753"/>
                  </a:cubicBezTo>
                  <a:cubicBezTo>
                    <a:pt x="259747" y="299371"/>
                    <a:pt x="271558" y="290798"/>
                    <a:pt x="281368" y="279940"/>
                  </a:cubicBezTo>
                  <a:cubicBezTo>
                    <a:pt x="291179" y="269081"/>
                    <a:pt x="298704" y="256508"/>
                    <a:pt x="303847" y="242125"/>
                  </a:cubicBezTo>
                  <a:cubicBezTo>
                    <a:pt x="308991" y="227743"/>
                    <a:pt x="311563" y="212598"/>
                    <a:pt x="311563" y="196501"/>
                  </a:cubicBezTo>
                  <a:lnTo>
                    <a:pt x="311563" y="195072"/>
                  </a:lnTo>
                  <a:cubicBezTo>
                    <a:pt x="311563" y="178594"/>
                    <a:pt x="308800" y="163068"/>
                    <a:pt x="303181" y="148400"/>
                  </a:cubicBezTo>
                  <a:cubicBezTo>
                    <a:pt x="297561" y="133826"/>
                    <a:pt x="289750" y="121063"/>
                    <a:pt x="279654" y="110204"/>
                  </a:cubicBezTo>
                  <a:cubicBezTo>
                    <a:pt x="269558" y="99346"/>
                    <a:pt x="257651" y="90773"/>
                    <a:pt x="243840" y="84392"/>
                  </a:cubicBezTo>
                  <a:cubicBezTo>
                    <a:pt x="230029" y="78010"/>
                    <a:pt x="214693" y="74867"/>
                    <a:pt x="197834" y="74867"/>
                  </a:cubicBezTo>
                  <a:cubicBezTo>
                    <a:pt x="180975" y="74867"/>
                    <a:pt x="165640" y="78010"/>
                    <a:pt x="151829" y="84392"/>
                  </a:cubicBezTo>
                  <a:cubicBezTo>
                    <a:pt x="138017" y="90773"/>
                    <a:pt x="126206" y="99250"/>
                    <a:pt x="116396" y="109823"/>
                  </a:cubicBezTo>
                  <a:cubicBezTo>
                    <a:pt x="106585" y="120396"/>
                    <a:pt x="99060" y="133064"/>
                    <a:pt x="93917" y="147638"/>
                  </a:cubicBezTo>
                  <a:cubicBezTo>
                    <a:pt x="88773" y="162211"/>
                    <a:pt x="86201" y="177546"/>
                    <a:pt x="86201" y="193548"/>
                  </a:cubicBezTo>
                  <a:lnTo>
                    <a:pt x="86201" y="194977"/>
                  </a:lnTo>
                  <a:cubicBezTo>
                    <a:pt x="86201" y="211455"/>
                    <a:pt x="88963" y="226886"/>
                    <a:pt x="94583" y="241268"/>
                  </a:cubicBezTo>
                  <a:cubicBezTo>
                    <a:pt x="100203" y="255651"/>
                    <a:pt x="108013" y="268319"/>
                    <a:pt x="118110" y="279463"/>
                  </a:cubicBezTo>
                  <a:cubicBezTo>
                    <a:pt x="128206" y="290513"/>
                    <a:pt x="140113" y="299275"/>
                    <a:pt x="153924" y="305562"/>
                  </a:cubicBezTo>
                  <a:cubicBezTo>
                    <a:pt x="167735" y="311944"/>
                    <a:pt x="182880"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25" name="Freeform: Shape 24">
              <a:extLst>
                <a:ext uri="{FF2B5EF4-FFF2-40B4-BE49-F238E27FC236}">
                  <a16:creationId xmlns:a16="http://schemas.microsoft.com/office/drawing/2014/main" id="{5E3FD802-3E29-BC00-7ED4-B1C3974B44BA}"/>
                </a:ext>
              </a:extLst>
            </p:cNvPr>
            <p:cNvSpPr/>
            <p:nvPr/>
          </p:nvSpPr>
          <p:spPr>
            <a:xfrm>
              <a:off x="5806925"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2 w 296894"/>
                <a:gd name="connsiteY36" fmla="*/ 224980 h 386714"/>
                <a:gd name="connsiteX37" fmla="*/ 296894 w 296894"/>
                <a:gd name="connsiteY37" fmla="*/ 267938 h 386714"/>
                <a:gd name="connsiteX38" fmla="*/ 296894 w 296894"/>
                <a:gd name="connsiteY38" fmla="*/ 269367 h 386714"/>
                <a:gd name="connsiteX39" fmla="*/ 286322 w 296894"/>
                <a:gd name="connsiteY39" fmla="*/ 320897 h 386714"/>
                <a:gd name="connsiteX40" fmla="*/ 256984 w 296894"/>
                <a:gd name="connsiteY40" fmla="*/ 357188 h 386714"/>
                <a:gd name="connsiteX41" fmla="*/ 212789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8" y="298704"/>
                    <a:pt x="100013" y="306514"/>
                  </a:cubicBezTo>
                  <a:cubicBezTo>
                    <a:pt x="120967" y="314325"/>
                    <a:pt x="141161" y="318135"/>
                    <a:pt x="160401" y="318135"/>
                  </a:cubicBezTo>
                  <a:cubicBezTo>
                    <a:pt x="179642" y="318135"/>
                    <a:pt x="192976"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2" y="241078"/>
                    <a:pt x="176498" y="237553"/>
                    <a:pt x="166402" y="234220"/>
                  </a:cubicBezTo>
                  <a:cubicBezTo>
                    <a:pt x="156305" y="230886"/>
                    <a:pt x="145733" y="227647"/>
                    <a:pt x="134969" y="224314"/>
                  </a:cubicBezTo>
                  <a:cubicBezTo>
                    <a:pt x="121253" y="220599"/>
                    <a:pt x="107537" y="216122"/>
                    <a:pt x="93631" y="210884"/>
                  </a:cubicBezTo>
                  <a:cubicBezTo>
                    <a:pt x="79724" y="205740"/>
                    <a:pt x="67246" y="198977"/>
                    <a:pt x="56197" y="190786"/>
                  </a:cubicBezTo>
                  <a:cubicBezTo>
                    <a:pt x="45149" y="182594"/>
                    <a:pt x="36100" y="172307"/>
                    <a:pt x="28956" y="160115"/>
                  </a:cubicBezTo>
                  <a:cubicBezTo>
                    <a:pt x="21908"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5"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7" y="156210"/>
                    <a:pt x="180975" y="159448"/>
                  </a:cubicBezTo>
                  <a:cubicBezTo>
                    <a:pt x="194596" y="163639"/>
                    <a:pt x="208312" y="168592"/>
                    <a:pt x="222028" y="174212"/>
                  </a:cubicBezTo>
                  <a:cubicBezTo>
                    <a:pt x="235649" y="179832"/>
                    <a:pt x="248031" y="186785"/>
                    <a:pt x="259080" y="194977"/>
                  </a:cubicBezTo>
                  <a:cubicBezTo>
                    <a:pt x="270129" y="203168"/>
                    <a:pt x="279273" y="213169"/>
                    <a:pt x="286322" y="224980"/>
                  </a:cubicBezTo>
                  <a:cubicBezTo>
                    <a:pt x="293370" y="236696"/>
                    <a:pt x="296894" y="251079"/>
                    <a:pt x="296894" y="267938"/>
                  </a:cubicBezTo>
                  <a:lnTo>
                    <a:pt x="296894" y="269367"/>
                  </a:lnTo>
                  <a:cubicBezTo>
                    <a:pt x="296894" y="289084"/>
                    <a:pt x="293370" y="306229"/>
                    <a:pt x="286322" y="320897"/>
                  </a:cubicBezTo>
                  <a:cubicBezTo>
                    <a:pt x="279273" y="335470"/>
                    <a:pt x="269462" y="347567"/>
                    <a:pt x="256984" y="357188"/>
                  </a:cubicBezTo>
                  <a:cubicBezTo>
                    <a:pt x="244507" y="366808"/>
                    <a:pt x="229743" y="374142"/>
                    <a:pt x="212789"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6" name="Freeform: Shape 25">
              <a:extLst>
                <a:ext uri="{FF2B5EF4-FFF2-40B4-BE49-F238E27FC236}">
                  <a16:creationId xmlns:a16="http://schemas.microsoft.com/office/drawing/2014/main" id="{F8FC281B-7F58-C237-E029-CEC317E2E6A0}"/>
                </a:ext>
              </a:extLst>
            </p:cNvPr>
            <p:cNvSpPr/>
            <p:nvPr/>
          </p:nvSpPr>
          <p:spPr>
            <a:xfrm>
              <a:off x="589573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6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160" y="318135"/>
                    <a:pt x="160401" y="318135"/>
                  </a:cubicBezTo>
                  <a:cubicBezTo>
                    <a:pt x="179641" y="318135"/>
                    <a:pt x="192976"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4"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792"/>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7" name="Freeform: Shape 26">
              <a:extLst>
                <a:ext uri="{FF2B5EF4-FFF2-40B4-BE49-F238E27FC236}">
                  <a16:creationId xmlns:a16="http://schemas.microsoft.com/office/drawing/2014/main" id="{92E2F68F-12E1-D206-8686-483B206259B7}"/>
                </a:ext>
              </a:extLst>
            </p:cNvPr>
            <p:cNvSpPr/>
            <p:nvPr/>
          </p:nvSpPr>
          <p:spPr>
            <a:xfrm>
              <a:off x="5985812" y="700558"/>
              <a:ext cx="85097" cy="97141"/>
            </a:xfrm>
            <a:custGeom>
              <a:avLst/>
              <a:gdLst>
                <a:gd name="connsiteX0" fmla="*/ 253651 w 338518"/>
                <a:gd name="connsiteY0" fmla="*/ 378619 h 386429"/>
                <a:gd name="connsiteX1" fmla="*/ 253651 w 338518"/>
                <a:gd name="connsiteY1" fmla="*/ 332708 h 386429"/>
                <a:gd name="connsiteX2" fmla="*/ 204883 w 338518"/>
                <a:gd name="connsiteY2" fmla="*/ 370904 h 386429"/>
                <a:gd name="connsiteX3" fmla="*/ 132779 w 338518"/>
                <a:gd name="connsiteY3" fmla="*/ 386429 h 386429"/>
                <a:gd name="connsiteX4" fmla="*/ 81915 w 338518"/>
                <a:gd name="connsiteY4" fmla="*/ 379000 h 386429"/>
                <a:gd name="connsiteX5" fmla="*/ 39910 w 338518"/>
                <a:gd name="connsiteY5" fmla="*/ 357092 h 386429"/>
                <a:gd name="connsiteX6" fmla="*/ 10954 w 338518"/>
                <a:gd name="connsiteY6" fmla="*/ 321088 h 386429"/>
                <a:gd name="connsiteX7" fmla="*/ 0 w 338518"/>
                <a:gd name="connsiteY7" fmla="*/ 271272 h 386429"/>
                <a:gd name="connsiteX8" fmla="*/ 0 w 338518"/>
                <a:gd name="connsiteY8" fmla="*/ 269843 h 386429"/>
                <a:gd name="connsiteX9" fmla="*/ 11335 w 338518"/>
                <a:gd name="connsiteY9" fmla="*/ 215741 h 386429"/>
                <a:gd name="connsiteX10" fmla="*/ 42767 w 338518"/>
                <a:gd name="connsiteY10" fmla="*/ 177546 h 386429"/>
                <a:gd name="connsiteX11" fmla="*/ 90773 w 338518"/>
                <a:gd name="connsiteY11" fmla="*/ 154972 h 386429"/>
                <a:gd name="connsiteX12" fmla="*/ 151162 w 338518"/>
                <a:gd name="connsiteY12" fmla="*/ 147542 h 386429"/>
                <a:gd name="connsiteX13" fmla="*/ 208788 w 338518"/>
                <a:gd name="connsiteY13" fmla="*/ 151829 h 386429"/>
                <a:gd name="connsiteX14" fmla="*/ 254413 w 338518"/>
                <a:gd name="connsiteY14" fmla="*/ 163163 h 386429"/>
                <a:gd name="connsiteX15" fmla="*/ 254413 w 338518"/>
                <a:gd name="connsiteY15" fmla="*/ 156115 h 386429"/>
                <a:gd name="connsiteX16" fmla="*/ 230696 w 338518"/>
                <a:gd name="connsiteY16" fmla="*/ 96774 h 386429"/>
                <a:gd name="connsiteX17" fmla="*/ 162496 w 338518"/>
                <a:gd name="connsiteY17" fmla="*/ 76295 h 386429"/>
                <a:gd name="connsiteX18" fmla="*/ 106013 w 338518"/>
                <a:gd name="connsiteY18" fmla="*/ 82677 h 386429"/>
                <a:gd name="connsiteX19" fmla="*/ 55816 w 338518"/>
                <a:gd name="connsiteY19" fmla="*/ 99632 h 386429"/>
                <a:gd name="connsiteX20" fmla="*/ 32480 w 338518"/>
                <a:gd name="connsiteY20" fmla="*/ 31052 h 386429"/>
                <a:gd name="connsiteX21" fmla="*/ 96107 w 338518"/>
                <a:gd name="connsiteY21" fmla="*/ 8477 h 386429"/>
                <a:gd name="connsiteX22" fmla="*/ 174593 w 338518"/>
                <a:gd name="connsiteY22" fmla="*/ 0 h 386429"/>
                <a:gd name="connsiteX23" fmla="*/ 298228 w 338518"/>
                <a:gd name="connsiteY23" fmla="*/ 41338 h 386429"/>
                <a:gd name="connsiteX24" fmla="*/ 338519 w 338518"/>
                <a:gd name="connsiteY24" fmla="*/ 157544 h 386429"/>
                <a:gd name="connsiteX25" fmla="*/ 338519 w 338518"/>
                <a:gd name="connsiteY25" fmla="*/ 378714 h 386429"/>
                <a:gd name="connsiteX26" fmla="*/ 253746 w 338518"/>
                <a:gd name="connsiteY26" fmla="*/ 378714 h 386429"/>
                <a:gd name="connsiteX27" fmla="*/ 255746 w 338518"/>
                <a:gd name="connsiteY27" fmla="*/ 222409 h 386429"/>
                <a:gd name="connsiteX28" fmla="*/ 217265 w 338518"/>
                <a:gd name="connsiteY28" fmla="*/ 211836 h 386429"/>
                <a:gd name="connsiteX29" fmla="*/ 170307 w 338518"/>
                <a:gd name="connsiteY29" fmla="*/ 207550 h 386429"/>
                <a:gd name="connsiteX30" fmla="*/ 107442 w 338518"/>
                <a:gd name="connsiteY30" fmla="*/ 223075 h 386429"/>
                <a:gd name="connsiteX31" fmla="*/ 84868 w 338518"/>
                <a:gd name="connsiteY31" fmla="*/ 265462 h 386429"/>
                <a:gd name="connsiteX32" fmla="*/ 84868 w 338518"/>
                <a:gd name="connsiteY32" fmla="*/ 266891 h 386429"/>
                <a:gd name="connsiteX33" fmla="*/ 105728 w 338518"/>
                <a:gd name="connsiteY33" fmla="*/ 307848 h 386429"/>
                <a:gd name="connsiteX34" fmla="*/ 156972 w 338518"/>
                <a:gd name="connsiteY34" fmla="*/ 321945 h 386429"/>
                <a:gd name="connsiteX35" fmla="*/ 196215 w 338518"/>
                <a:gd name="connsiteY35" fmla="*/ 316325 h 386429"/>
                <a:gd name="connsiteX36" fmla="*/ 227647 w 338518"/>
                <a:gd name="connsiteY36" fmla="*/ 300419 h 386429"/>
                <a:gd name="connsiteX37" fmla="*/ 248507 w 338518"/>
                <a:gd name="connsiteY37" fmla="*/ 275654 h 386429"/>
                <a:gd name="connsiteX38" fmla="*/ 255937 w 338518"/>
                <a:gd name="connsiteY38" fmla="*/ 243459 h 386429"/>
                <a:gd name="connsiteX39" fmla="*/ 255937 w 338518"/>
                <a:gd name="connsiteY39" fmla="*/ 222218 h 3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8518" h="386429">
                  <a:moveTo>
                    <a:pt x="253651" y="378619"/>
                  </a:moveTo>
                  <a:lnTo>
                    <a:pt x="253651" y="332708"/>
                  </a:lnTo>
                  <a:cubicBezTo>
                    <a:pt x="240887" y="347758"/>
                    <a:pt x="224695" y="360521"/>
                    <a:pt x="204883" y="370904"/>
                  </a:cubicBezTo>
                  <a:cubicBezTo>
                    <a:pt x="185071" y="381286"/>
                    <a:pt x="161068" y="386429"/>
                    <a:pt x="132779" y="386429"/>
                  </a:cubicBezTo>
                  <a:cubicBezTo>
                    <a:pt x="114871" y="386429"/>
                    <a:pt x="97917" y="383953"/>
                    <a:pt x="81915" y="379000"/>
                  </a:cubicBezTo>
                  <a:cubicBezTo>
                    <a:pt x="65913" y="374047"/>
                    <a:pt x="51911" y="366713"/>
                    <a:pt x="39910" y="357092"/>
                  </a:cubicBezTo>
                  <a:cubicBezTo>
                    <a:pt x="27908" y="347472"/>
                    <a:pt x="18193" y="335471"/>
                    <a:pt x="10954" y="321088"/>
                  </a:cubicBezTo>
                  <a:cubicBezTo>
                    <a:pt x="3620" y="306705"/>
                    <a:pt x="0" y="290132"/>
                    <a:pt x="0" y="271272"/>
                  </a:cubicBezTo>
                  <a:lnTo>
                    <a:pt x="0" y="269843"/>
                  </a:lnTo>
                  <a:cubicBezTo>
                    <a:pt x="0" y="249079"/>
                    <a:pt x="3810" y="231077"/>
                    <a:pt x="11335" y="215741"/>
                  </a:cubicBezTo>
                  <a:cubicBezTo>
                    <a:pt x="18859" y="200406"/>
                    <a:pt x="29337" y="187738"/>
                    <a:pt x="42767" y="177546"/>
                  </a:cubicBezTo>
                  <a:cubicBezTo>
                    <a:pt x="56197" y="167450"/>
                    <a:pt x="72199" y="159925"/>
                    <a:pt x="90773" y="154972"/>
                  </a:cubicBezTo>
                  <a:cubicBezTo>
                    <a:pt x="109347" y="150019"/>
                    <a:pt x="129540" y="147542"/>
                    <a:pt x="151162" y="147542"/>
                  </a:cubicBezTo>
                  <a:cubicBezTo>
                    <a:pt x="172783" y="147542"/>
                    <a:pt x="192976" y="148971"/>
                    <a:pt x="208788" y="151829"/>
                  </a:cubicBezTo>
                  <a:cubicBezTo>
                    <a:pt x="224599" y="154686"/>
                    <a:pt x="239744" y="158401"/>
                    <a:pt x="254413" y="163163"/>
                  </a:cubicBezTo>
                  <a:lnTo>
                    <a:pt x="254413" y="156115"/>
                  </a:lnTo>
                  <a:cubicBezTo>
                    <a:pt x="254413" y="130207"/>
                    <a:pt x="246507" y="110395"/>
                    <a:pt x="230696" y="96774"/>
                  </a:cubicBezTo>
                  <a:cubicBezTo>
                    <a:pt x="214884" y="83153"/>
                    <a:pt x="192214" y="76295"/>
                    <a:pt x="162496" y="76295"/>
                  </a:cubicBezTo>
                  <a:cubicBezTo>
                    <a:pt x="141351" y="76295"/>
                    <a:pt x="122491" y="78391"/>
                    <a:pt x="106013" y="82677"/>
                  </a:cubicBezTo>
                  <a:cubicBezTo>
                    <a:pt x="89535" y="86963"/>
                    <a:pt x="72771" y="92583"/>
                    <a:pt x="55816" y="99632"/>
                  </a:cubicBezTo>
                  <a:lnTo>
                    <a:pt x="32480" y="31052"/>
                  </a:lnTo>
                  <a:cubicBezTo>
                    <a:pt x="53149" y="21622"/>
                    <a:pt x="74390" y="14097"/>
                    <a:pt x="96107" y="8477"/>
                  </a:cubicBezTo>
                  <a:cubicBezTo>
                    <a:pt x="117729" y="2858"/>
                    <a:pt x="143923" y="0"/>
                    <a:pt x="174593" y="0"/>
                  </a:cubicBezTo>
                  <a:cubicBezTo>
                    <a:pt x="230124" y="0"/>
                    <a:pt x="271367" y="13811"/>
                    <a:pt x="298228" y="41338"/>
                  </a:cubicBezTo>
                  <a:cubicBezTo>
                    <a:pt x="325088" y="68866"/>
                    <a:pt x="338519" y="107633"/>
                    <a:pt x="338519" y="157544"/>
                  </a:cubicBezTo>
                  <a:lnTo>
                    <a:pt x="338519" y="378714"/>
                  </a:lnTo>
                  <a:lnTo>
                    <a:pt x="253746" y="378714"/>
                  </a:lnTo>
                  <a:close/>
                  <a:moveTo>
                    <a:pt x="255746" y="222409"/>
                  </a:moveTo>
                  <a:cubicBezTo>
                    <a:pt x="244888" y="218123"/>
                    <a:pt x="232029" y="214598"/>
                    <a:pt x="217265" y="211836"/>
                  </a:cubicBezTo>
                  <a:cubicBezTo>
                    <a:pt x="202406" y="208979"/>
                    <a:pt x="186785" y="207550"/>
                    <a:pt x="170307" y="207550"/>
                  </a:cubicBezTo>
                  <a:cubicBezTo>
                    <a:pt x="143446" y="207550"/>
                    <a:pt x="122491" y="212693"/>
                    <a:pt x="107442" y="223075"/>
                  </a:cubicBezTo>
                  <a:cubicBezTo>
                    <a:pt x="92392" y="233458"/>
                    <a:pt x="84868" y="247555"/>
                    <a:pt x="84868" y="265462"/>
                  </a:cubicBezTo>
                  <a:lnTo>
                    <a:pt x="84868" y="266891"/>
                  </a:lnTo>
                  <a:cubicBezTo>
                    <a:pt x="84868" y="284798"/>
                    <a:pt x="91821" y="298418"/>
                    <a:pt x="105728" y="307848"/>
                  </a:cubicBezTo>
                  <a:cubicBezTo>
                    <a:pt x="119634" y="317278"/>
                    <a:pt x="136684" y="321945"/>
                    <a:pt x="156972" y="321945"/>
                  </a:cubicBezTo>
                  <a:cubicBezTo>
                    <a:pt x="171069" y="321945"/>
                    <a:pt x="184213" y="320040"/>
                    <a:pt x="196215" y="316325"/>
                  </a:cubicBezTo>
                  <a:cubicBezTo>
                    <a:pt x="208216" y="312515"/>
                    <a:pt x="218694" y="307277"/>
                    <a:pt x="227647" y="300419"/>
                  </a:cubicBezTo>
                  <a:cubicBezTo>
                    <a:pt x="236601" y="293561"/>
                    <a:pt x="243554" y="285369"/>
                    <a:pt x="248507" y="275654"/>
                  </a:cubicBezTo>
                  <a:cubicBezTo>
                    <a:pt x="253460" y="266033"/>
                    <a:pt x="255937" y="255270"/>
                    <a:pt x="255937" y="243459"/>
                  </a:cubicBezTo>
                  <a:lnTo>
                    <a:pt x="255937" y="222218"/>
                  </a:lnTo>
                  <a:close/>
                </a:path>
              </a:pathLst>
            </a:custGeom>
            <a:solidFill>
              <a:srgbClr val="44505E"/>
            </a:solidFill>
            <a:ln w="9525" cap="flat">
              <a:noFill/>
              <a:prstDash val="solid"/>
              <a:miter/>
            </a:ln>
          </p:spPr>
          <p:txBody>
            <a:bodyPr rtlCol="0" anchor="ctr"/>
            <a:lstStyle/>
            <a:p>
              <a:endParaRPr lang="pt-BR" noProof="0"/>
            </a:p>
          </p:txBody>
        </p:sp>
        <p:sp>
          <p:nvSpPr>
            <p:cNvPr id="28" name="Freeform: Shape 27">
              <a:extLst>
                <a:ext uri="{FF2B5EF4-FFF2-40B4-BE49-F238E27FC236}">
                  <a16:creationId xmlns:a16="http://schemas.microsoft.com/office/drawing/2014/main" id="{AC483B2B-4AF1-74E7-FC28-73B109A20C47}"/>
                </a:ext>
              </a:extLst>
            </p:cNvPr>
            <p:cNvSpPr/>
            <p:nvPr/>
          </p:nvSpPr>
          <p:spPr>
            <a:xfrm>
              <a:off x="6088843" y="700318"/>
              <a:ext cx="74610" cy="97213"/>
            </a:xfrm>
            <a:custGeom>
              <a:avLst/>
              <a:gdLst>
                <a:gd name="connsiteX0" fmla="*/ 158305 w 296799"/>
                <a:gd name="connsiteY0" fmla="*/ 386715 h 386714"/>
                <a:gd name="connsiteX1" fmla="*/ 76676 w 296799"/>
                <a:gd name="connsiteY1" fmla="*/ 372427 h 386714"/>
                <a:gd name="connsiteX2" fmla="*/ 0 w 296799"/>
                <a:gd name="connsiteY2" fmla="*/ 330327 h 386714"/>
                <a:gd name="connsiteX3" fmla="*/ 38195 w 296799"/>
                <a:gd name="connsiteY3" fmla="*/ 272224 h 386714"/>
                <a:gd name="connsiteX4" fmla="*/ 100013 w 296799"/>
                <a:gd name="connsiteY4" fmla="*/ 306514 h 386714"/>
                <a:gd name="connsiteX5" fmla="*/ 160401 w 296799"/>
                <a:gd name="connsiteY5" fmla="*/ 318135 h 386714"/>
                <a:gd name="connsiteX6" fmla="*/ 203168 w 296799"/>
                <a:gd name="connsiteY6" fmla="*/ 307181 h 386714"/>
                <a:gd name="connsiteX7" fmla="*/ 218408 w 296799"/>
                <a:gd name="connsiteY7" fmla="*/ 277939 h 386714"/>
                <a:gd name="connsiteX8" fmla="*/ 218408 w 296799"/>
                <a:gd name="connsiteY8" fmla="*/ 276511 h 386714"/>
                <a:gd name="connsiteX9" fmla="*/ 211646 w 296799"/>
                <a:gd name="connsiteY9" fmla="*/ 258223 h 386714"/>
                <a:gd name="connsiteX10" fmla="*/ 193262 w 296799"/>
                <a:gd name="connsiteY10" fmla="*/ 244792 h 386714"/>
                <a:gd name="connsiteX11" fmla="*/ 166402 w 296799"/>
                <a:gd name="connsiteY11" fmla="*/ 234220 h 386714"/>
                <a:gd name="connsiteX12" fmla="*/ 134969 w 296799"/>
                <a:gd name="connsiteY12" fmla="*/ 224314 h 386714"/>
                <a:gd name="connsiteX13" fmla="*/ 93631 w 296799"/>
                <a:gd name="connsiteY13" fmla="*/ 210884 h 386714"/>
                <a:gd name="connsiteX14" fmla="*/ 56197 w 296799"/>
                <a:gd name="connsiteY14" fmla="*/ 190786 h 386714"/>
                <a:gd name="connsiteX15" fmla="*/ 28956 w 296799"/>
                <a:gd name="connsiteY15" fmla="*/ 160115 h 386714"/>
                <a:gd name="connsiteX16" fmla="*/ 18383 w 296799"/>
                <a:gd name="connsiteY16" fmla="*/ 114967 h 386714"/>
                <a:gd name="connsiteX17" fmla="*/ 18383 w 296799"/>
                <a:gd name="connsiteY17" fmla="*/ 113538 h 386714"/>
                <a:gd name="connsiteX18" fmla="*/ 28575 w 296799"/>
                <a:gd name="connsiteY18" fmla="*/ 66294 h 386714"/>
                <a:gd name="connsiteX19" fmla="*/ 56864 w 296799"/>
                <a:gd name="connsiteY19" fmla="*/ 30385 h 386714"/>
                <a:gd name="connsiteX20" fmla="*/ 99250 w 296799"/>
                <a:gd name="connsiteY20" fmla="*/ 7810 h 386714"/>
                <a:gd name="connsiteX21" fmla="*/ 151162 w 296799"/>
                <a:gd name="connsiteY21" fmla="*/ 0 h 386714"/>
                <a:gd name="connsiteX22" fmla="*/ 222504 w 296799"/>
                <a:gd name="connsiteY22" fmla="*/ 11430 h 386714"/>
                <a:gd name="connsiteX23" fmla="*/ 288227 w 296799"/>
                <a:gd name="connsiteY23" fmla="*/ 42863 h 386714"/>
                <a:gd name="connsiteX24" fmla="*/ 254317 w 296799"/>
                <a:gd name="connsiteY24" fmla="*/ 103918 h 386714"/>
                <a:gd name="connsiteX25" fmla="*/ 199930 w 296799"/>
                <a:gd name="connsiteY25" fmla="*/ 78105 h 386714"/>
                <a:gd name="connsiteX26" fmla="*/ 149066 w 296799"/>
                <a:gd name="connsiteY26" fmla="*/ 68580 h 386714"/>
                <a:gd name="connsiteX27" fmla="*/ 110585 w 296799"/>
                <a:gd name="connsiteY27" fmla="*/ 79153 h 386714"/>
                <a:gd name="connsiteX28" fmla="*/ 96774 w 296799"/>
                <a:gd name="connsiteY28" fmla="*/ 105918 h 386714"/>
                <a:gd name="connsiteX29" fmla="*/ 96774 w 296799"/>
                <a:gd name="connsiteY29" fmla="*/ 107347 h 386714"/>
                <a:gd name="connsiteX30" fmla="*/ 103822 w 296799"/>
                <a:gd name="connsiteY30" fmla="*/ 124587 h 386714"/>
                <a:gd name="connsiteX31" fmla="*/ 122587 w 296799"/>
                <a:gd name="connsiteY31" fmla="*/ 138017 h 386714"/>
                <a:gd name="connsiteX32" fmla="*/ 149447 w 296799"/>
                <a:gd name="connsiteY32" fmla="*/ 149257 h 386714"/>
                <a:gd name="connsiteX33" fmla="*/ 180880 w 296799"/>
                <a:gd name="connsiteY33" fmla="*/ 159448 h 386714"/>
                <a:gd name="connsiteX34" fmla="*/ 221837 w 296799"/>
                <a:gd name="connsiteY34" fmla="*/ 174212 h 386714"/>
                <a:gd name="connsiteX35" fmla="*/ 258985 w 296799"/>
                <a:gd name="connsiteY35" fmla="*/ 194977 h 386714"/>
                <a:gd name="connsiteX36" fmla="*/ 286226 w 296799"/>
                <a:gd name="connsiteY36" fmla="*/ 224980 h 386714"/>
                <a:gd name="connsiteX37" fmla="*/ 296799 w 296799"/>
                <a:gd name="connsiteY37" fmla="*/ 267938 h 386714"/>
                <a:gd name="connsiteX38" fmla="*/ 296799 w 296799"/>
                <a:gd name="connsiteY38" fmla="*/ 269367 h 386714"/>
                <a:gd name="connsiteX39" fmla="*/ 286226 w 296799"/>
                <a:gd name="connsiteY39" fmla="*/ 320897 h 386714"/>
                <a:gd name="connsiteX40" fmla="*/ 256889 w 296799"/>
                <a:gd name="connsiteY40" fmla="*/ 357188 h 386714"/>
                <a:gd name="connsiteX41" fmla="*/ 212693 w 296799"/>
                <a:gd name="connsiteY41" fmla="*/ 379095 h 386714"/>
                <a:gd name="connsiteX42" fmla="*/ 158305 w 296799"/>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799"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065" y="318135"/>
                    <a:pt x="160401" y="318135"/>
                  </a:cubicBezTo>
                  <a:cubicBezTo>
                    <a:pt x="179737" y="318135"/>
                    <a:pt x="193072"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828" y="227647"/>
                    <a:pt x="134969" y="224314"/>
                  </a:cubicBezTo>
                  <a:cubicBezTo>
                    <a:pt x="121348" y="220599"/>
                    <a:pt x="107537" y="216122"/>
                    <a:pt x="93631" y="210884"/>
                  </a:cubicBezTo>
                  <a:cubicBezTo>
                    <a:pt x="79724" y="205740"/>
                    <a:pt x="67246" y="198977"/>
                    <a:pt x="56197" y="190786"/>
                  </a:cubicBezTo>
                  <a:cubicBezTo>
                    <a:pt x="45148" y="182594"/>
                    <a:pt x="36004"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874" y="0"/>
                    <a:pt x="151162" y="0"/>
                  </a:cubicBezTo>
                  <a:cubicBezTo>
                    <a:pt x="174688" y="0"/>
                    <a:pt x="198501" y="3810"/>
                    <a:pt x="222504" y="11430"/>
                  </a:cubicBezTo>
                  <a:cubicBezTo>
                    <a:pt x="246507" y="19050"/>
                    <a:pt x="268414" y="29527"/>
                    <a:pt x="288227" y="42863"/>
                  </a:cubicBezTo>
                  <a:lnTo>
                    <a:pt x="254317"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774" y="95155"/>
                    <a:pt x="96774" y="105918"/>
                  </a:cubicBezTo>
                  <a:lnTo>
                    <a:pt x="96774" y="107347"/>
                  </a:lnTo>
                  <a:cubicBezTo>
                    <a:pt x="96774" y="113919"/>
                    <a:pt x="99155" y="119634"/>
                    <a:pt x="103822" y="124587"/>
                  </a:cubicBezTo>
                  <a:cubicBezTo>
                    <a:pt x="108490" y="129540"/>
                    <a:pt x="114776" y="134017"/>
                    <a:pt x="122587" y="138017"/>
                  </a:cubicBezTo>
                  <a:cubicBezTo>
                    <a:pt x="130397" y="142018"/>
                    <a:pt x="139351" y="145732"/>
                    <a:pt x="149447" y="149257"/>
                  </a:cubicBezTo>
                  <a:cubicBezTo>
                    <a:pt x="159544" y="152781"/>
                    <a:pt x="170021" y="156210"/>
                    <a:pt x="180880" y="159448"/>
                  </a:cubicBezTo>
                  <a:cubicBezTo>
                    <a:pt x="194500" y="163639"/>
                    <a:pt x="208216" y="168592"/>
                    <a:pt x="221837" y="174212"/>
                  </a:cubicBezTo>
                  <a:cubicBezTo>
                    <a:pt x="235458" y="179832"/>
                    <a:pt x="247840" y="186785"/>
                    <a:pt x="258985" y="194977"/>
                  </a:cubicBezTo>
                  <a:cubicBezTo>
                    <a:pt x="270034" y="203168"/>
                    <a:pt x="279178" y="213169"/>
                    <a:pt x="286226" y="224980"/>
                  </a:cubicBezTo>
                  <a:cubicBezTo>
                    <a:pt x="293275" y="236696"/>
                    <a:pt x="296799" y="251079"/>
                    <a:pt x="296799" y="267938"/>
                  </a:cubicBezTo>
                  <a:lnTo>
                    <a:pt x="296799" y="269367"/>
                  </a:lnTo>
                  <a:cubicBezTo>
                    <a:pt x="296799" y="289084"/>
                    <a:pt x="293275" y="306229"/>
                    <a:pt x="286226" y="320897"/>
                  </a:cubicBezTo>
                  <a:cubicBezTo>
                    <a:pt x="279178" y="335470"/>
                    <a:pt x="269367" y="347567"/>
                    <a:pt x="256889" y="357188"/>
                  </a:cubicBezTo>
                  <a:cubicBezTo>
                    <a:pt x="244412" y="366808"/>
                    <a:pt x="229648" y="374142"/>
                    <a:pt x="212693" y="379095"/>
                  </a:cubicBezTo>
                  <a:cubicBezTo>
                    <a:pt x="195739" y="384048"/>
                    <a:pt x="177641" y="386524"/>
                    <a:pt x="158305" y="386524"/>
                  </a:cubicBezTo>
                  <a:close/>
                </a:path>
              </a:pathLst>
            </a:custGeom>
            <a:solidFill>
              <a:srgbClr val="44505E"/>
            </a:solidFill>
            <a:ln w="9525" cap="flat">
              <a:noFill/>
              <a:prstDash val="solid"/>
              <a:miter/>
            </a:ln>
          </p:spPr>
          <p:txBody>
            <a:bodyPr rtlCol="0" anchor="ctr"/>
            <a:lstStyle/>
            <a:p>
              <a:endParaRPr lang="pt-BR" noProof="0"/>
            </a:p>
          </p:txBody>
        </p:sp>
        <p:sp>
          <p:nvSpPr>
            <p:cNvPr id="29" name="Freeform: Shape 28">
              <a:extLst>
                <a:ext uri="{FF2B5EF4-FFF2-40B4-BE49-F238E27FC236}">
                  <a16:creationId xmlns:a16="http://schemas.microsoft.com/office/drawing/2014/main" id="{AF398E3B-2B09-EAF2-F856-CA1D246B3A3B}"/>
                </a:ext>
              </a:extLst>
            </p:cNvPr>
            <p:cNvSpPr/>
            <p:nvPr/>
          </p:nvSpPr>
          <p:spPr>
            <a:xfrm>
              <a:off x="6238590"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4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7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2 w 568166"/>
                <a:gd name="connsiteY21" fmla="*/ 381000 h 381000"/>
                <a:gd name="connsiteX22" fmla="*/ 240982 w 568166"/>
                <a:gd name="connsiteY22" fmla="*/ 168783 h 381000"/>
                <a:gd name="connsiteX23" fmla="*/ 221266 w 568166"/>
                <a:gd name="connsiteY23" fmla="*/ 101822 h 381000"/>
                <a:gd name="connsiteX24" fmla="*/ 165640 w 568166"/>
                <a:gd name="connsiteY24" fmla="*/ 78581 h 381000"/>
                <a:gd name="connsiteX25" fmla="*/ 108013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69" y="48196"/>
                    <a:pt x="105918" y="40576"/>
                  </a:cubicBezTo>
                  <a:cubicBezTo>
                    <a:pt x="112966" y="32956"/>
                    <a:pt x="121063" y="26099"/>
                    <a:pt x="130207" y="19907"/>
                  </a:cubicBezTo>
                  <a:cubicBezTo>
                    <a:pt x="139351" y="13716"/>
                    <a:pt x="149638" y="8858"/>
                    <a:pt x="161163" y="5334"/>
                  </a:cubicBezTo>
                  <a:cubicBezTo>
                    <a:pt x="172688" y="1714"/>
                    <a:pt x="185452" y="0"/>
                    <a:pt x="199549" y="0"/>
                  </a:cubicBezTo>
                  <a:cubicBezTo>
                    <a:pt x="226314" y="0"/>
                    <a:pt x="248983" y="6096"/>
                    <a:pt x="267557" y="18193"/>
                  </a:cubicBezTo>
                  <a:cubicBezTo>
                    <a:pt x="286131" y="30289"/>
                    <a:pt x="300323" y="46387"/>
                    <a:pt x="310134" y="66294"/>
                  </a:cubicBezTo>
                  <a:cubicBezTo>
                    <a:pt x="325279" y="46387"/>
                    <a:pt x="343090" y="30289"/>
                    <a:pt x="363664" y="18193"/>
                  </a:cubicBezTo>
                  <a:cubicBezTo>
                    <a:pt x="384238" y="6096"/>
                    <a:pt x="408718" y="0"/>
                    <a:pt x="437007" y="0"/>
                  </a:cubicBezTo>
                  <a:cubicBezTo>
                    <a:pt x="478155"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7" y="78486"/>
                  </a:cubicBezTo>
                  <a:cubicBezTo>
                    <a:pt x="382809" y="78486"/>
                    <a:pt x="364141" y="86392"/>
                    <a:pt x="349377" y="102108"/>
                  </a:cubicBezTo>
                  <a:cubicBezTo>
                    <a:pt x="334613" y="117824"/>
                    <a:pt x="327184" y="140779"/>
                    <a:pt x="327184" y="170879"/>
                  </a:cubicBezTo>
                  <a:lnTo>
                    <a:pt x="327184" y="381000"/>
                  </a:lnTo>
                  <a:lnTo>
                    <a:pt x="240982" y="381000"/>
                  </a:lnTo>
                  <a:lnTo>
                    <a:pt x="240982" y="168783"/>
                  </a:lnTo>
                  <a:cubicBezTo>
                    <a:pt x="240982" y="139637"/>
                    <a:pt x="234410" y="117348"/>
                    <a:pt x="221266" y="101822"/>
                  </a:cubicBezTo>
                  <a:cubicBezTo>
                    <a:pt x="208121" y="86296"/>
                    <a:pt x="189547" y="78581"/>
                    <a:pt x="165640" y="78581"/>
                  </a:cubicBezTo>
                  <a:cubicBezTo>
                    <a:pt x="141732" y="78581"/>
                    <a:pt x="122491" y="86773"/>
                    <a:pt x="108013"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30" name="Freeform: Shape 29">
              <a:extLst>
                <a:ext uri="{FF2B5EF4-FFF2-40B4-BE49-F238E27FC236}">
                  <a16:creationId xmlns:a16="http://schemas.microsoft.com/office/drawing/2014/main" id="{C87C7725-C8EE-9A04-A5FD-6BA031BE7251}"/>
                </a:ext>
              </a:extLst>
            </p:cNvPr>
            <p:cNvSpPr/>
            <p:nvPr/>
          </p:nvSpPr>
          <p:spPr>
            <a:xfrm>
              <a:off x="6400979" y="664258"/>
              <a:ext cx="85097" cy="133441"/>
            </a:xfrm>
            <a:custGeom>
              <a:avLst/>
              <a:gdLst>
                <a:gd name="connsiteX0" fmla="*/ 253651 w 338518"/>
                <a:gd name="connsiteY0" fmla="*/ 523018 h 530828"/>
                <a:gd name="connsiteX1" fmla="*/ 253651 w 338518"/>
                <a:gd name="connsiteY1" fmla="*/ 477107 h 530828"/>
                <a:gd name="connsiteX2" fmla="*/ 204883 w 338518"/>
                <a:gd name="connsiteY2" fmla="*/ 515303 h 530828"/>
                <a:gd name="connsiteX3" fmla="*/ 132779 w 338518"/>
                <a:gd name="connsiteY3" fmla="*/ 530828 h 530828"/>
                <a:gd name="connsiteX4" fmla="*/ 81915 w 338518"/>
                <a:gd name="connsiteY4" fmla="*/ 523399 h 530828"/>
                <a:gd name="connsiteX5" fmla="*/ 39910 w 338518"/>
                <a:gd name="connsiteY5" fmla="*/ 501491 h 530828"/>
                <a:gd name="connsiteX6" fmla="*/ 10954 w 338518"/>
                <a:gd name="connsiteY6" fmla="*/ 465487 h 530828"/>
                <a:gd name="connsiteX7" fmla="*/ 0 w 338518"/>
                <a:gd name="connsiteY7" fmla="*/ 415671 h 530828"/>
                <a:gd name="connsiteX8" fmla="*/ 0 w 338518"/>
                <a:gd name="connsiteY8" fmla="*/ 414242 h 530828"/>
                <a:gd name="connsiteX9" fmla="*/ 11335 w 338518"/>
                <a:gd name="connsiteY9" fmla="*/ 360140 h 530828"/>
                <a:gd name="connsiteX10" fmla="*/ 42767 w 338518"/>
                <a:gd name="connsiteY10" fmla="*/ 321945 h 530828"/>
                <a:gd name="connsiteX11" fmla="*/ 90773 w 338518"/>
                <a:gd name="connsiteY11" fmla="*/ 299371 h 530828"/>
                <a:gd name="connsiteX12" fmla="*/ 151162 w 338518"/>
                <a:gd name="connsiteY12" fmla="*/ 291941 h 530828"/>
                <a:gd name="connsiteX13" fmla="*/ 208788 w 338518"/>
                <a:gd name="connsiteY13" fmla="*/ 296228 h 530828"/>
                <a:gd name="connsiteX14" fmla="*/ 254413 w 338518"/>
                <a:gd name="connsiteY14" fmla="*/ 307562 h 530828"/>
                <a:gd name="connsiteX15" fmla="*/ 254413 w 338518"/>
                <a:gd name="connsiteY15" fmla="*/ 300514 h 530828"/>
                <a:gd name="connsiteX16" fmla="*/ 230696 w 338518"/>
                <a:gd name="connsiteY16" fmla="*/ 241173 h 530828"/>
                <a:gd name="connsiteX17" fmla="*/ 162496 w 338518"/>
                <a:gd name="connsiteY17" fmla="*/ 220694 h 530828"/>
                <a:gd name="connsiteX18" fmla="*/ 106013 w 338518"/>
                <a:gd name="connsiteY18" fmla="*/ 227076 h 530828"/>
                <a:gd name="connsiteX19" fmla="*/ 55817 w 338518"/>
                <a:gd name="connsiteY19" fmla="*/ 244031 h 530828"/>
                <a:gd name="connsiteX20" fmla="*/ 32480 w 338518"/>
                <a:gd name="connsiteY20" fmla="*/ 175451 h 530828"/>
                <a:gd name="connsiteX21" fmla="*/ 96107 w 338518"/>
                <a:gd name="connsiteY21" fmla="*/ 152876 h 530828"/>
                <a:gd name="connsiteX22" fmla="*/ 174593 w 338518"/>
                <a:gd name="connsiteY22" fmla="*/ 144399 h 530828"/>
                <a:gd name="connsiteX23" fmla="*/ 298228 w 338518"/>
                <a:gd name="connsiteY23" fmla="*/ 185738 h 530828"/>
                <a:gd name="connsiteX24" fmla="*/ 338519 w 338518"/>
                <a:gd name="connsiteY24" fmla="*/ 301943 h 530828"/>
                <a:gd name="connsiteX25" fmla="*/ 338519 w 338518"/>
                <a:gd name="connsiteY25" fmla="*/ 523113 h 530828"/>
                <a:gd name="connsiteX26" fmla="*/ 253746 w 338518"/>
                <a:gd name="connsiteY26" fmla="*/ 523113 h 530828"/>
                <a:gd name="connsiteX27" fmla="*/ 45911 w 338518"/>
                <a:gd name="connsiteY27" fmla="*/ 95441 h 530828"/>
                <a:gd name="connsiteX28" fmla="*/ 75248 w 338518"/>
                <a:gd name="connsiteY28" fmla="*/ 29718 h 530828"/>
                <a:gd name="connsiteX29" fmla="*/ 125063 w 338518"/>
                <a:gd name="connsiteY29" fmla="*/ 7144 h 530828"/>
                <a:gd name="connsiteX30" fmla="*/ 154019 w 338518"/>
                <a:gd name="connsiteY30" fmla="*/ 11716 h 530828"/>
                <a:gd name="connsiteX31" fmla="*/ 181261 w 338518"/>
                <a:gd name="connsiteY31" fmla="*/ 21622 h 530828"/>
                <a:gd name="connsiteX32" fmla="*/ 205645 w 338518"/>
                <a:gd name="connsiteY32" fmla="*/ 31147 h 530828"/>
                <a:gd name="connsiteX33" fmla="*/ 226790 w 338518"/>
                <a:gd name="connsiteY33" fmla="*/ 35338 h 530828"/>
                <a:gd name="connsiteX34" fmla="*/ 250127 w 338518"/>
                <a:gd name="connsiteY34" fmla="*/ 26861 h 530828"/>
                <a:gd name="connsiteX35" fmla="*/ 265652 w 338518"/>
                <a:gd name="connsiteY35" fmla="*/ 0 h 530828"/>
                <a:gd name="connsiteX36" fmla="*/ 312991 w 338518"/>
                <a:gd name="connsiteY36" fmla="*/ 14859 h 530828"/>
                <a:gd name="connsiteX37" fmla="*/ 283655 w 338518"/>
                <a:gd name="connsiteY37" fmla="*/ 79820 h 530828"/>
                <a:gd name="connsiteX38" fmla="*/ 233839 w 338518"/>
                <a:gd name="connsiteY38" fmla="*/ 102394 h 530828"/>
                <a:gd name="connsiteX39" fmla="*/ 204883 w 338518"/>
                <a:gd name="connsiteY39" fmla="*/ 98203 h 530828"/>
                <a:gd name="connsiteX40" fmla="*/ 177641 w 338518"/>
                <a:gd name="connsiteY40" fmla="*/ 88678 h 530828"/>
                <a:gd name="connsiteX41" fmla="*/ 152876 w 338518"/>
                <a:gd name="connsiteY41" fmla="*/ 78772 h 530828"/>
                <a:gd name="connsiteX42" fmla="*/ 132017 w 338518"/>
                <a:gd name="connsiteY42" fmla="*/ 74200 h 530828"/>
                <a:gd name="connsiteX43" fmla="*/ 108680 w 338518"/>
                <a:gd name="connsiteY43" fmla="*/ 82677 h 530828"/>
                <a:gd name="connsiteX44" fmla="*/ 93154 w 338518"/>
                <a:gd name="connsiteY44" fmla="*/ 109538 h 530828"/>
                <a:gd name="connsiteX45" fmla="*/ 45815 w 338518"/>
                <a:gd name="connsiteY45" fmla="*/ 95441 h 530828"/>
                <a:gd name="connsiteX46" fmla="*/ 255842 w 338518"/>
                <a:gd name="connsiteY46" fmla="*/ 366808 h 530828"/>
                <a:gd name="connsiteX47" fmla="*/ 217361 w 338518"/>
                <a:gd name="connsiteY47" fmla="*/ 356235 h 530828"/>
                <a:gd name="connsiteX48" fmla="*/ 170402 w 338518"/>
                <a:gd name="connsiteY48" fmla="*/ 351949 h 530828"/>
                <a:gd name="connsiteX49" fmla="*/ 107537 w 338518"/>
                <a:gd name="connsiteY49" fmla="*/ 367475 h 530828"/>
                <a:gd name="connsiteX50" fmla="*/ 84963 w 338518"/>
                <a:gd name="connsiteY50" fmla="*/ 409861 h 530828"/>
                <a:gd name="connsiteX51" fmla="*/ 84963 w 338518"/>
                <a:gd name="connsiteY51" fmla="*/ 411290 h 530828"/>
                <a:gd name="connsiteX52" fmla="*/ 105823 w 338518"/>
                <a:gd name="connsiteY52" fmla="*/ 452247 h 530828"/>
                <a:gd name="connsiteX53" fmla="*/ 157067 w 338518"/>
                <a:gd name="connsiteY53" fmla="*/ 466344 h 530828"/>
                <a:gd name="connsiteX54" fmla="*/ 196310 w 338518"/>
                <a:gd name="connsiteY54" fmla="*/ 460724 h 530828"/>
                <a:gd name="connsiteX55" fmla="*/ 227743 w 338518"/>
                <a:gd name="connsiteY55" fmla="*/ 444818 h 530828"/>
                <a:gd name="connsiteX56" fmla="*/ 248603 w 338518"/>
                <a:gd name="connsiteY56" fmla="*/ 420053 h 530828"/>
                <a:gd name="connsiteX57" fmla="*/ 256032 w 338518"/>
                <a:gd name="connsiteY57" fmla="*/ 387858 h 530828"/>
                <a:gd name="connsiteX58" fmla="*/ 256032 w 338518"/>
                <a:gd name="connsiteY58" fmla="*/ 366617 h 5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8518" h="530828">
                  <a:moveTo>
                    <a:pt x="253651" y="523018"/>
                  </a:moveTo>
                  <a:lnTo>
                    <a:pt x="253651" y="477107"/>
                  </a:lnTo>
                  <a:cubicBezTo>
                    <a:pt x="240887" y="492157"/>
                    <a:pt x="224695" y="504920"/>
                    <a:pt x="204883" y="515303"/>
                  </a:cubicBezTo>
                  <a:cubicBezTo>
                    <a:pt x="185071" y="525685"/>
                    <a:pt x="161068" y="530828"/>
                    <a:pt x="132779" y="530828"/>
                  </a:cubicBezTo>
                  <a:cubicBezTo>
                    <a:pt x="114871" y="530828"/>
                    <a:pt x="97917" y="528352"/>
                    <a:pt x="81915" y="523399"/>
                  </a:cubicBezTo>
                  <a:cubicBezTo>
                    <a:pt x="65913" y="518446"/>
                    <a:pt x="51911" y="511112"/>
                    <a:pt x="39910" y="501491"/>
                  </a:cubicBezTo>
                  <a:cubicBezTo>
                    <a:pt x="27908" y="491871"/>
                    <a:pt x="18193" y="479870"/>
                    <a:pt x="10954" y="465487"/>
                  </a:cubicBezTo>
                  <a:cubicBezTo>
                    <a:pt x="3620" y="451104"/>
                    <a:pt x="0" y="434531"/>
                    <a:pt x="0" y="415671"/>
                  </a:cubicBezTo>
                  <a:lnTo>
                    <a:pt x="0" y="414242"/>
                  </a:lnTo>
                  <a:cubicBezTo>
                    <a:pt x="0" y="393478"/>
                    <a:pt x="3810" y="375476"/>
                    <a:pt x="11335" y="360140"/>
                  </a:cubicBezTo>
                  <a:cubicBezTo>
                    <a:pt x="18860" y="344805"/>
                    <a:pt x="29337" y="332137"/>
                    <a:pt x="42767" y="321945"/>
                  </a:cubicBezTo>
                  <a:cubicBezTo>
                    <a:pt x="56198" y="311849"/>
                    <a:pt x="72200" y="304324"/>
                    <a:pt x="90773" y="299371"/>
                  </a:cubicBezTo>
                  <a:cubicBezTo>
                    <a:pt x="109347" y="294418"/>
                    <a:pt x="129540" y="291941"/>
                    <a:pt x="151162" y="291941"/>
                  </a:cubicBezTo>
                  <a:cubicBezTo>
                    <a:pt x="172784" y="291941"/>
                    <a:pt x="192977" y="293370"/>
                    <a:pt x="208788" y="296228"/>
                  </a:cubicBezTo>
                  <a:cubicBezTo>
                    <a:pt x="224600" y="299085"/>
                    <a:pt x="239744" y="302800"/>
                    <a:pt x="254413" y="307562"/>
                  </a:cubicBezTo>
                  <a:lnTo>
                    <a:pt x="254413" y="300514"/>
                  </a:lnTo>
                  <a:cubicBezTo>
                    <a:pt x="254413" y="274606"/>
                    <a:pt x="246507" y="254794"/>
                    <a:pt x="230696" y="241173"/>
                  </a:cubicBezTo>
                  <a:cubicBezTo>
                    <a:pt x="214884" y="227552"/>
                    <a:pt x="192215" y="220694"/>
                    <a:pt x="162496" y="220694"/>
                  </a:cubicBezTo>
                  <a:cubicBezTo>
                    <a:pt x="141351" y="220694"/>
                    <a:pt x="122492" y="222790"/>
                    <a:pt x="106013" y="227076"/>
                  </a:cubicBezTo>
                  <a:cubicBezTo>
                    <a:pt x="89535" y="231362"/>
                    <a:pt x="72771" y="236982"/>
                    <a:pt x="55817" y="244031"/>
                  </a:cubicBezTo>
                  <a:lnTo>
                    <a:pt x="32480" y="175451"/>
                  </a:lnTo>
                  <a:cubicBezTo>
                    <a:pt x="53150" y="166021"/>
                    <a:pt x="74390" y="158496"/>
                    <a:pt x="96107" y="152876"/>
                  </a:cubicBezTo>
                  <a:cubicBezTo>
                    <a:pt x="117729" y="147257"/>
                    <a:pt x="143923" y="144399"/>
                    <a:pt x="174593" y="144399"/>
                  </a:cubicBezTo>
                  <a:cubicBezTo>
                    <a:pt x="230124" y="144399"/>
                    <a:pt x="271367" y="158210"/>
                    <a:pt x="298228" y="185738"/>
                  </a:cubicBezTo>
                  <a:cubicBezTo>
                    <a:pt x="325088" y="213265"/>
                    <a:pt x="338519" y="252032"/>
                    <a:pt x="338519" y="301943"/>
                  </a:cubicBezTo>
                  <a:lnTo>
                    <a:pt x="338519" y="523113"/>
                  </a:lnTo>
                  <a:lnTo>
                    <a:pt x="253746" y="523113"/>
                  </a:lnTo>
                  <a:close/>
                  <a:moveTo>
                    <a:pt x="45911" y="95441"/>
                  </a:moveTo>
                  <a:cubicBezTo>
                    <a:pt x="53912" y="66675"/>
                    <a:pt x="63722" y="44768"/>
                    <a:pt x="75248" y="29718"/>
                  </a:cubicBezTo>
                  <a:cubicBezTo>
                    <a:pt x="86773" y="14669"/>
                    <a:pt x="103442" y="7144"/>
                    <a:pt x="125063" y="7144"/>
                  </a:cubicBezTo>
                  <a:cubicBezTo>
                    <a:pt x="134969" y="7144"/>
                    <a:pt x="144590" y="8668"/>
                    <a:pt x="154019" y="11716"/>
                  </a:cubicBezTo>
                  <a:cubicBezTo>
                    <a:pt x="163449" y="14764"/>
                    <a:pt x="172498" y="18098"/>
                    <a:pt x="181261" y="21622"/>
                  </a:cubicBezTo>
                  <a:cubicBezTo>
                    <a:pt x="189929" y="25146"/>
                    <a:pt x="198120" y="28385"/>
                    <a:pt x="205645" y="31147"/>
                  </a:cubicBezTo>
                  <a:cubicBezTo>
                    <a:pt x="213170" y="34004"/>
                    <a:pt x="220218" y="35338"/>
                    <a:pt x="226790" y="35338"/>
                  </a:cubicBezTo>
                  <a:cubicBezTo>
                    <a:pt x="237173" y="35338"/>
                    <a:pt x="244888" y="32480"/>
                    <a:pt x="250127" y="26861"/>
                  </a:cubicBezTo>
                  <a:cubicBezTo>
                    <a:pt x="255270" y="21241"/>
                    <a:pt x="260509" y="12287"/>
                    <a:pt x="265652" y="0"/>
                  </a:cubicBezTo>
                  <a:lnTo>
                    <a:pt x="312991" y="14859"/>
                  </a:lnTo>
                  <a:cubicBezTo>
                    <a:pt x="304991" y="43148"/>
                    <a:pt x="295180" y="64770"/>
                    <a:pt x="283655" y="79820"/>
                  </a:cubicBezTo>
                  <a:cubicBezTo>
                    <a:pt x="272129" y="94869"/>
                    <a:pt x="255461" y="102394"/>
                    <a:pt x="233839" y="102394"/>
                  </a:cubicBezTo>
                  <a:cubicBezTo>
                    <a:pt x="223933" y="102394"/>
                    <a:pt x="214313" y="100965"/>
                    <a:pt x="204883" y="98203"/>
                  </a:cubicBezTo>
                  <a:cubicBezTo>
                    <a:pt x="195453" y="95345"/>
                    <a:pt x="186404" y="92202"/>
                    <a:pt x="177641" y="88678"/>
                  </a:cubicBezTo>
                  <a:cubicBezTo>
                    <a:pt x="168878" y="85154"/>
                    <a:pt x="160687" y="81820"/>
                    <a:pt x="152876" y="78772"/>
                  </a:cubicBezTo>
                  <a:cubicBezTo>
                    <a:pt x="145066" y="75724"/>
                    <a:pt x="138113" y="74200"/>
                    <a:pt x="132017" y="74200"/>
                  </a:cubicBezTo>
                  <a:cubicBezTo>
                    <a:pt x="121634" y="74200"/>
                    <a:pt x="113919" y="77057"/>
                    <a:pt x="108680" y="82677"/>
                  </a:cubicBezTo>
                  <a:cubicBezTo>
                    <a:pt x="103537" y="88297"/>
                    <a:pt x="98298" y="97250"/>
                    <a:pt x="93154" y="109538"/>
                  </a:cubicBezTo>
                  <a:lnTo>
                    <a:pt x="45815" y="95441"/>
                  </a:lnTo>
                  <a:close/>
                  <a:moveTo>
                    <a:pt x="255842" y="366808"/>
                  </a:moveTo>
                  <a:cubicBezTo>
                    <a:pt x="244983" y="362522"/>
                    <a:pt x="232124" y="358997"/>
                    <a:pt x="217361" y="356235"/>
                  </a:cubicBezTo>
                  <a:cubicBezTo>
                    <a:pt x="202502" y="353378"/>
                    <a:pt x="186880" y="351949"/>
                    <a:pt x="170402" y="351949"/>
                  </a:cubicBezTo>
                  <a:cubicBezTo>
                    <a:pt x="143542" y="351949"/>
                    <a:pt x="122587" y="357092"/>
                    <a:pt x="107537" y="367475"/>
                  </a:cubicBezTo>
                  <a:cubicBezTo>
                    <a:pt x="92488" y="377857"/>
                    <a:pt x="84963" y="391954"/>
                    <a:pt x="84963" y="409861"/>
                  </a:cubicBezTo>
                  <a:lnTo>
                    <a:pt x="84963" y="411290"/>
                  </a:lnTo>
                  <a:cubicBezTo>
                    <a:pt x="84963" y="429197"/>
                    <a:pt x="91916" y="442817"/>
                    <a:pt x="105823" y="452247"/>
                  </a:cubicBezTo>
                  <a:cubicBezTo>
                    <a:pt x="119729" y="461677"/>
                    <a:pt x="136779" y="466344"/>
                    <a:pt x="157067" y="466344"/>
                  </a:cubicBezTo>
                  <a:cubicBezTo>
                    <a:pt x="171164" y="466344"/>
                    <a:pt x="184309" y="464439"/>
                    <a:pt x="196310" y="460724"/>
                  </a:cubicBezTo>
                  <a:cubicBezTo>
                    <a:pt x="208312" y="456914"/>
                    <a:pt x="218789" y="451676"/>
                    <a:pt x="227743" y="444818"/>
                  </a:cubicBezTo>
                  <a:cubicBezTo>
                    <a:pt x="236696" y="437960"/>
                    <a:pt x="243650" y="429768"/>
                    <a:pt x="248603" y="420053"/>
                  </a:cubicBezTo>
                  <a:cubicBezTo>
                    <a:pt x="253555" y="410432"/>
                    <a:pt x="256032" y="399669"/>
                    <a:pt x="256032" y="387858"/>
                  </a:cubicBezTo>
                  <a:lnTo>
                    <a:pt x="256032" y="366617"/>
                  </a:lnTo>
                  <a:close/>
                </a:path>
              </a:pathLst>
            </a:custGeom>
            <a:solidFill>
              <a:srgbClr val="44505E"/>
            </a:solidFill>
            <a:ln w="9525" cap="flat">
              <a:noFill/>
              <a:prstDash val="solid"/>
              <a:miter/>
            </a:ln>
          </p:spPr>
          <p:txBody>
            <a:bodyPr rtlCol="0" anchor="ctr"/>
            <a:lstStyle/>
            <a:p>
              <a:endParaRPr lang="pt-BR" noProof="0"/>
            </a:p>
          </p:txBody>
        </p:sp>
        <p:sp>
          <p:nvSpPr>
            <p:cNvPr id="31" name="Freeform: Shape 30">
              <a:extLst>
                <a:ext uri="{FF2B5EF4-FFF2-40B4-BE49-F238E27FC236}">
                  <a16:creationId xmlns:a16="http://schemas.microsoft.com/office/drawing/2014/main" id="{1219854B-C780-3D20-3032-51076FF187A8}"/>
                </a:ext>
              </a:extLst>
            </p:cNvPr>
            <p:cNvSpPr/>
            <p:nvPr/>
          </p:nvSpPr>
          <p:spPr>
            <a:xfrm>
              <a:off x="6506477" y="699959"/>
              <a:ext cx="100038" cy="97908"/>
            </a:xfrm>
            <a:custGeom>
              <a:avLst/>
              <a:gdLst>
                <a:gd name="connsiteX0" fmla="*/ 197834 w 397954"/>
                <a:gd name="connsiteY0" fmla="*/ 389477 h 389477"/>
                <a:gd name="connsiteX1" fmla="*/ 119063 w 397954"/>
                <a:gd name="connsiteY1" fmla="*/ 374237 h 389477"/>
                <a:gd name="connsiteX2" fmla="*/ 56198 w 397954"/>
                <a:gd name="connsiteY2" fmla="*/ 332899 h 389477"/>
                <a:gd name="connsiteX3" fmla="*/ 14859 w 397954"/>
                <a:gd name="connsiteY3" fmla="*/ 271463 h 389477"/>
                <a:gd name="connsiteX4" fmla="*/ 0 w 397954"/>
                <a:gd name="connsiteY4" fmla="*/ 196501 h 389477"/>
                <a:gd name="connsiteX5" fmla="*/ 0 w 397954"/>
                <a:gd name="connsiteY5" fmla="*/ 195072 h 389477"/>
                <a:gd name="connsiteX6" fmla="*/ 15240 w 397954"/>
                <a:gd name="connsiteY6" fmla="*/ 119444 h 389477"/>
                <a:gd name="connsiteX7" fmla="*/ 56960 w 397954"/>
                <a:gd name="connsiteY7" fmla="*/ 57626 h 389477"/>
                <a:gd name="connsiteX8" fmla="*/ 119825 w 397954"/>
                <a:gd name="connsiteY8" fmla="*/ 15526 h 389477"/>
                <a:gd name="connsiteX9" fmla="*/ 199358 w 397954"/>
                <a:gd name="connsiteY9" fmla="*/ 0 h 389477"/>
                <a:gd name="connsiteX10" fmla="*/ 278892 w 397954"/>
                <a:gd name="connsiteY10" fmla="*/ 15240 h 389477"/>
                <a:gd name="connsiteX11" fmla="*/ 341757 w 397954"/>
                <a:gd name="connsiteY11" fmla="*/ 56959 h 389477"/>
                <a:gd name="connsiteX12" fmla="*/ 383096 w 397954"/>
                <a:gd name="connsiteY12" fmla="*/ 118396 h 389477"/>
                <a:gd name="connsiteX13" fmla="*/ 397955 w 397954"/>
                <a:gd name="connsiteY13" fmla="*/ 193643 h 389477"/>
                <a:gd name="connsiteX14" fmla="*/ 397955 w 397954"/>
                <a:gd name="connsiteY14" fmla="*/ 195072 h 389477"/>
                <a:gd name="connsiteX15" fmla="*/ 382714 w 397954"/>
                <a:gd name="connsiteY15" fmla="*/ 270034 h 389477"/>
                <a:gd name="connsiteX16" fmla="*/ 340995 w 397954"/>
                <a:gd name="connsiteY16" fmla="*/ 331851 h 389477"/>
                <a:gd name="connsiteX17" fmla="*/ 277749 w 397954"/>
                <a:gd name="connsiteY17" fmla="*/ 373856 h 389477"/>
                <a:gd name="connsiteX18" fmla="*/ 197834 w 397954"/>
                <a:gd name="connsiteY18" fmla="*/ 389382 h 389477"/>
                <a:gd name="connsiteX19" fmla="*/ 199263 w 397954"/>
                <a:gd name="connsiteY19" fmla="*/ 315278 h 389477"/>
                <a:gd name="connsiteX20" fmla="*/ 245936 w 397954"/>
                <a:gd name="connsiteY20" fmla="*/ 305753 h 389477"/>
                <a:gd name="connsiteX21" fmla="*/ 281369 w 397954"/>
                <a:gd name="connsiteY21" fmla="*/ 279940 h 389477"/>
                <a:gd name="connsiteX22" fmla="*/ 303848 w 397954"/>
                <a:gd name="connsiteY22" fmla="*/ 242125 h 389477"/>
                <a:gd name="connsiteX23" fmla="*/ 311563 w 397954"/>
                <a:gd name="connsiteY23" fmla="*/ 196501 h 389477"/>
                <a:gd name="connsiteX24" fmla="*/ 311563 w 397954"/>
                <a:gd name="connsiteY24" fmla="*/ 195072 h 389477"/>
                <a:gd name="connsiteX25" fmla="*/ 303181 w 397954"/>
                <a:gd name="connsiteY25" fmla="*/ 148400 h 389477"/>
                <a:gd name="connsiteX26" fmla="*/ 279654 w 397954"/>
                <a:gd name="connsiteY26" fmla="*/ 110204 h 389477"/>
                <a:gd name="connsiteX27" fmla="*/ 243840 w 397954"/>
                <a:gd name="connsiteY27" fmla="*/ 84392 h 389477"/>
                <a:gd name="connsiteX28" fmla="*/ 197834 w 397954"/>
                <a:gd name="connsiteY28" fmla="*/ 74867 h 389477"/>
                <a:gd name="connsiteX29" fmla="*/ 151829 w 397954"/>
                <a:gd name="connsiteY29" fmla="*/ 84392 h 389477"/>
                <a:gd name="connsiteX30" fmla="*/ 116396 w 397954"/>
                <a:gd name="connsiteY30" fmla="*/ 109823 h 389477"/>
                <a:gd name="connsiteX31" fmla="*/ 93916 w 397954"/>
                <a:gd name="connsiteY31" fmla="*/ 147638 h 389477"/>
                <a:gd name="connsiteX32" fmla="*/ 86201 w 397954"/>
                <a:gd name="connsiteY32" fmla="*/ 193548 h 389477"/>
                <a:gd name="connsiteX33" fmla="*/ 86201 w 397954"/>
                <a:gd name="connsiteY33" fmla="*/ 194977 h 389477"/>
                <a:gd name="connsiteX34" fmla="*/ 94583 w 397954"/>
                <a:gd name="connsiteY34" fmla="*/ 241268 h 389477"/>
                <a:gd name="connsiteX35" fmla="*/ 118110 w 397954"/>
                <a:gd name="connsiteY35" fmla="*/ 279463 h 389477"/>
                <a:gd name="connsiteX36" fmla="*/ 153924 w 397954"/>
                <a:gd name="connsiteY36" fmla="*/ 305562 h 389477"/>
                <a:gd name="connsiteX37" fmla="*/ 199263 w 397954"/>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954" h="389477">
                  <a:moveTo>
                    <a:pt x="197834" y="389477"/>
                  </a:moveTo>
                  <a:cubicBezTo>
                    <a:pt x="169545" y="389477"/>
                    <a:pt x="143351" y="384429"/>
                    <a:pt x="119063" y="374237"/>
                  </a:cubicBezTo>
                  <a:cubicBezTo>
                    <a:pt x="94774" y="364141"/>
                    <a:pt x="73819" y="350330"/>
                    <a:pt x="56198" y="332899"/>
                  </a:cubicBezTo>
                  <a:cubicBezTo>
                    <a:pt x="38576" y="315468"/>
                    <a:pt x="24765" y="294989"/>
                    <a:pt x="14859" y="271463"/>
                  </a:cubicBezTo>
                  <a:cubicBezTo>
                    <a:pt x="4953" y="247936"/>
                    <a:pt x="0" y="222980"/>
                    <a:pt x="0" y="196501"/>
                  </a:cubicBezTo>
                  <a:lnTo>
                    <a:pt x="0" y="195072"/>
                  </a:lnTo>
                  <a:cubicBezTo>
                    <a:pt x="0" y="168212"/>
                    <a:pt x="5049" y="143066"/>
                    <a:pt x="15240" y="119444"/>
                  </a:cubicBezTo>
                  <a:cubicBezTo>
                    <a:pt x="25337" y="95917"/>
                    <a:pt x="39243" y="75248"/>
                    <a:pt x="56960" y="57626"/>
                  </a:cubicBezTo>
                  <a:cubicBezTo>
                    <a:pt x="74676" y="39910"/>
                    <a:pt x="95631" y="25908"/>
                    <a:pt x="119825" y="15526"/>
                  </a:cubicBezTo>
                  <a:cubicBezTo>
                    <a:pt x="144113" y="5144"/>
                    <a:pt x="170593" y="0"/>
                    <a:pt x="199358" y="0"/>
                  </a:cubicBezTo>
                  <a:cubicBezTo>
                    <a:pt x="228124" y="0"/>
                    <a:pt x="254604" y="5048"/>
                    <a:pt x="278892" y="15240"/>
                  </a:cubicBezTo>
                  <a:cubicBezTo>
                    <a:pt x="303181" y="25337"/>
                    <a:pt x="324136" y="39243"/>
                    <a:pt x="341757" y="56959"/>
                  </a:cubicBezTo>
                  <a:cubicBezTo>
                    <a:pt x="359379" y="74676"/>
                    <a:pt x="373189" y="95155"/>
                    <a:pt x="383096" y="118396"/>
                  </a:cubicBezTo>
                  <a:cubicBezTo>
                    <a:pt x="393002" y="141732"/>
                    <a:pt x="397955" y="166783"/>
                    <a:pt x="397955" y="193643"/>
                  </a:cubicBezTo>
                  <a:lnTo>
                    <a:pt x="397955" y="195072"/>
                  </a:lnTo>
                  <a:cubicBezTo>
                    <a:pt x="397955" y="221456"/>
                    <a:pt x="392906" y="246412"/>
                    <a:pt x="382714" y="270034"/>
                  </a:cubicBezTo>
                  <a:cubicBezTo>
                    <a:pt x="372618" y="293561"/>
                    <a:pt x="358712" y="314230"/>
                    <a:pt x="340995" y="331851"/>
                  </a:cubicBezTo>
                  <a:cubicBezTo>
                    <a:pt x="323279" y="349472"/>
                    <a:pt x="302229" y="363569"/>
                    <a:pt x="277749" y="373856"/>
                  </a:cubicBezTo>
                  <a:cubicBezTo>
                    <a:pt x="253270" y="384238"/>
                    <a:pt x="226600" y="389382"/>
                    <a:pt x="197834" y="389382"/>
                  </a:cubicBezTo>
                  <a:close/>
                  <a:moveTo>
                    <a:pt x="199263" y="315278"/>
                  </a:moveTo>
                  <a:cubicBezTo>
                    <a:pt x="216598" y="315278"/>
                    <a:pt x="232124" y="312039"/>
                    <a:pt x="245936" y="305753"/>
                  </a:cubicBezTo>
                  <a:cubicBezTo>
                    <a:pt x="259747" y="299371"/>
                    <a:pt x="271558" y="290798"/>
                    <a:pt x="281369" y="279940"/>
                  </a:cubicBezTo>
                  <a:cubicBezTo>
                    <a:pt x="291179" y="269081"/>
                    <a:pt x="298704" y="256508"/>
                    <a:pt x="303848" y="242125"/>
                  </a:cubicBezTo>
                  <a:cubicBezTo>
                    <a:pt x="308991" y="227743"/>
                    <a:pt x="311563" y="212598"/>
                    <a:pt x="311563" y="196501"/>
                  </a:cubicBezTo>
                  <a:lnTo>
                    <a:pt x="311563" y="195072"/>
                  </a:lnTo>
                  <a:cubicBezTo>
                    <a:pt x="311563" y="178594"/>
                    <a:pt x="308706" y="163068"/>
                    <a:pt x="303181" y="148400"/>
                  </a:cubicBezTo>
                  <a:cubicBezTo>
                    <a:pt x="297561" y="133826"/>
                    <a:pt x="289750" y="121063"/>
                    <a:pt x="279654" y="110204"/>
                  </a:cubicBezTo>
                  <a:cubicBezTo>
                    <a:pt x="269557" y="99346"/>
                    <a:pt x="257651" y="90773"/>
                    <a:pt x="243840" y="84392"/>
                  </a:cubicBezTo>
                  <a:cubicBezTo>
                    <a:pt x="230029" y="78010"/>
                    <a:pt x="214694" y="74867"/>
                    <a:pt x="197834" y="74867"/>
                  </a:cubicBezTo>
                  <a:cubicBezTo>
                    <a:pt x="180975" y="74867"/>
                    <a:pt x="165640" y="78010"/>
                    <a:pt x="151829" y="84392"/>
                  </a:cubicBezTo>
                  <a:cubicBezTo>
                    <a:pt x="138017" y="90773"/>
                    <a:pt x="126206" y="99250"/>
                    <a:pt x="116396" y="109823"/>
                  </a:cubicBezTo>
                  <a:cubicBezTo>
                    <a:pt x="106585" y="120396"/>
                    <a:pt x="99060" y="133064"/>
                    <a:pt x="93916" y="147638"/>
                  </a:cubicBezTo>
                  <a:cubicBezTo>
                    <a:pt x="88773" y="162211"/>
                    <a:pt x="86201" y="177546"/>
                    <a:pt x="86201" y="193548"/>
                  </a:cubicBezTo>
                  <a:lnTo>
                    <a:pt x="86201" y="194977"/>
                  </a:lnTo>
                  <a:cubicBezTo>
                    <a:pt x="86201" y="211455"/>
                    <a:pt x="89059" y="226886"/>
                    <a:pt x="94583" y="241268"/>
                  </a:cubicBezTo>
                  <a:cubicBezTo>
                    <a:pt x="100203" y="255651"/>
                    <a:pt x="108014" y="268319"/>
                    <a:pt x="118110" y="279463"/>
                  </a:cubicBezTo>
                  <a:cubicBezTo>
                    <a:pt x="128207" y="290608"/>
                    <a:pt x="140113" y="299275"/>
                    <a:pt x="153924" y="305562"/>
                  </a:cubicBezTo>
                  <a:cubicBezTo>
                    <a:pt x="167735" y="311944"/>
                    <a:pt x="182785"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32" name="Freeform: Shape 31">
              <a:extLst>
                <a:ext uri="{FF2B5EF4-FFF2-40B4-BE49-F238E27FC236}">
                  <a16:creationId xmlns:a16="http://schemas.microsoft.com/office/drawing/2014/main" id="{6CE9338B-F380-CFF3-2C53-C290A7982438}"/>
                </a:ext>
              </a:extLst>
            </p:cNvPr>
            <p:cNvSpPr/>
            <p:nvPr/>
          </p:nvSpPr>
          <p:spPr>
            <a:xfrm>
              <a:off x="662071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1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7 w 296894"/>
                <a:gd name="connsiteY23" fmla="*/ 42863 h 386714"/>
                <a:gd name="connsiteX24" fmla="*/ 254318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7 w 296894"/>
                <a:gd name="connsiteY30" fmla="*/ 124587 h 386714"/>
                <a:gd name="connsiteX31" fmla="*/ 122682 w 296894"/>
                <a:gd name="connsiteY31" fmla="*/ 138017 h 386714"/>
                <a:gd name="connsiteX32" fmla="*/ 149543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6" y="348901"/>
                    <a:pt x="0" y="330327"/>
                  </a:cubicBezTo>
                  <a:lnTo>
                    <a:pt x="38195" y="272224"/>
                  </a:lnTo>
                  <a:cubicBezTo>
                    <a:pt x="58484" y="287274"/>
                    <a:pt x="79057" y="298704"/>
                    <a:pt x="100013" y="306514"/>
                  </a:cubicBezTo>
                  <a:cubicBezTo>
                    <a:pt x="120968" y="314325"/>
                    <a:pt x="141161" y="318135"/>
                    <a:pt x="160401" y="318135"/>
                  </a:cubicBezTo>
                  <a:cubicBezTo>
                    <a:pt x="179641" y="318135"/>
                    <a:pt x="192977"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1" y="241078"/>
                    <a:pt x="176498" y="237553"/>
                    <a:pt x="166401"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2" y="40195"/>
                    <a:pt x="56864" y="30385"/>
                  </a:cubicBezTo>
                  <a:cubicBezTo>
                    <a:pt x="68866" y="20479"/>
                    <a:pt x="82962" y="12954"/>
                    <a:pt x="99250" y="7810"/>
                  </a:cubicBezTo>
                  <a:cubicBezTo>
                    <a:pt x="115538" y="2667"/>
                    <a:pt x="132779" y="0"/>
                    <a:pt x="151162" y="0"/>
                  </a:cubicBezTo>
                  <a:cubicBezTo>
                    <a:pt x="174688" y="0"/>
                    <a:pt x="198501" y="3810"/>
                    <a:pt x="222504" y="11430"/>
                  </a:cubicBezTo>
                  <a:cubicBezTo>
                    <a:pt x="246507" y="19050"/>
                    <a:pt x="268414" y="29527"/>
                    <a:pt x="288227" y="42863"/>
                  </a:cubicBezTo>
                  <a:lnTo>
                    <a:pt x="254318"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7" y="124587"/>
                  </a:cubicBezTo>
                  <a:cubicBezTo>
                    <a:pt x="108585" y="129540"/>
                    <a:pt x="114871" y="134017"/>
                    <a:pt x="122682" y="138017"/>
                  </a:cubicBezTo>
                  <a:cubicBezTo>
                    <a:pt x="130493" y="142018"/>
                    <a:pt x="139351" y="145732"/>
                    <a:pt x="149543"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696"/>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33" name="Freeform: Shape 32">
              <a:extLst>
                <a:ext uri="{FF2B5EF4-FFF2-40B4-BE49-F238E27FC236}">
                  <a16:creationId xmlns:a16="http://schemas.microsoft.com/office/drawing/2014/main" id="{953BDA26-A78D-1AAD-F56B-3D744FE938CC}"/>
                </a:ext>
              </a:extLst>
            </p:cNvPr>
            <p:cNvSpPr/>
            <p:nvPr/>
          </p:nvSpPr>
          <p:spPr>
            <a:xfrm>
              <a:off x="526693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4 w 202977"/>
                <a:gd name="connsiteY17" fmla="*/ 19907 h 239267"/>
                <a:gd name="connsiteX18" fmla="*/ 59246 w 202977"/>
                <a:gd name="connsiteY18" fmla="*/ 5429 h 239267"/>
                <a:gd name="connsiteX19" fmla="*/ 104299 w 202977"/>
                <a:gd name="connsiteY19" fmla="*/ 0 h 239267"/>
                <a:gd name="connsiteX20" fmla="*/ 178880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5 w 202977"/>
                <a:gd name="connsiteY27" fmla="*/ 211169 h 239267"/>
                <a:gd name="connsiteX28" fmla="*/ 122968 w 202977"/>
                <a:gd name="connsiteY28" fmla="*/ 206788 h 239267"/>
                <a:gd name="connsiteX29" fmla="*/ 147257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9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9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3" y="99155"/>
                    <a:pt x="58674" y="95917"/>
                  </a:cubicBezTo>
                  <a:cubicBezTo>
                    <a:pt x="70771" y="92678"/>
                    <a:pt x="84011" y="90964"/>
                    <a:pt x="98584" y="90964"/>
                  </a:cubicBezTo>
                  <a:cubicBezTo>
                    <a:pt x="113157" y="90964"/>
                    <a:pt x="126301" y="91821"/>
                    <a:pt x="137160" y="93631"/>
                  </a:cubicBezTo>
                  <a:cubicBezTo>
                    <a:pt x="148019" y="95440"/>
                    <a:pt x="158687" y="97822"/>
                    <a:pt x="169069" y="100774"/>
                  </a:cubicBezTo>
                  <a:lnTo>
                    <a:pt x="169069" y="93726"/>
                  </a:lnTo>
                  <a:cubicBezTo>
                    <a:pt x="169069" y="73342"/>
                    <a:pt x="163068" y="57912"/>
                    <a:pt x="151162" y="47339"/>
                  </a:cubicBezTo>
                  <a:cubicBezTo>
                    <a:pt x="139256" y="36862"/>
                    <a:pt x="122492" y="31623"/>
                    <a:pt x="100679" y="31623"/>
                  </a:cubicBezTo>
                  <a:cubicBezTo>
                    <a:pt x="86963" y="31623"/>
                    <a:pt x="74581" y="33147"/>
                    <a:pt x="63437" y="36100"/>
                  </a:cubicBezTo>
                  <a:cubicBezTo>
                    <a:pt x="52292" y="39053"/>
                    <a:pt x="41339" y="43053"/>
                    <a:pt x="30671" y="48196"/>
                  </a:cubicBezTo>
                  <a:lnTo>
                    <a:pt x="20384" y="19907"/>
                  </a:lnTo>
                  <a:cubicBezTo>
                    <a:pt x="33147" y="13906"/>
                    <a:pt x="46101" y="9049"/>
                    <a:pt x="59246" y="5429"/>
                  </a:cubicBezTo>
                  <a:cubicBezTo>
                    <a:pt x="72295" y="1810"/>
                    <a:pt x="87344" y="0"/>
                    <a:pt x="104299" y="0"/>
                  </a:cubicBezTo>
                  <a:cubicBezTo>
                    <a:pt x="137065" y="0"/>
                    <a:pt x="161925" y="8477"/>
                    <a:pt x="178880"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99" y="239173"/>
                    <a:pt x="86011" y="239173"/>
                  </a:cubicBezTo>
                  <a:close/>
                  <a:moveTo>
                    <a:pt x="93155" y="211169"/>
                  </a:moveTo>
                  <a:cubicBezTo>
                    <a:pt x="103823" y="211169"/>
                    <a:pt x="113728" y="209740"/>
                    <a:pt x="122968" y="206788"/>
                  </a:cubicBezTo>
                  <a:cubicBezTo>
                    <a:pt x="132207" y="203835"/>
                    <a:pt x="140208" y="199644"/>
                    <a:pt x="147257"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9" y="121444"/>
                  </a:cubicBezTo>
                  <a:cubicBezTo>
                    <a:pt x="129445" y="119348"/>
                    <a:pt x="116776"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244" y="190500"/>
                    <a:pt x="47435" y="195358"/>
                    <a:pt x="52769" y="199263"/>
                  </a:cubicBezTo>
                  <a:cubicBezTo>
                    <a:pt x="58103" y="203073"/>
                    <a:pt x="64294" y="206026"/>
                    <a:pt x="71247" y="208121"/>
                  </a:cubicBezTo>
                  <a:cubicBezTo>
                    <a:pt x="78200" y="210217"/>
                    <a:pt x="85535"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34" name="Freeform: Shape 33">
              <a:extLst>
                <a:ext uri="{FF2B5EF4-FFF2-40B4-BE49-F238E27FC236}">
                  <a16:creationId xmlns:a16="http://schemas.microsoft.com/office/drawing/2014/main" id="{30731604-2009-B28A-FE88-BD35509F6999}"/>
                </a:ext>
              </a:extLst>
            </p:cNvPr>
            <p:cNvSpPr/>
            <p:nvPr/>
          </p:nvSpPr>
          <p:spPr>
            <a:xfrm>
              <a:off x="5331227"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9" y="303276"/>
                    <a:pt x="71438" y="300895"/>
                  </a:cubicBezTo>
                  <a:cubicBezTo>
                    <a:pt x="63437"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2"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5" name="Freeform: Shape 34">
              <a:extLst>
                <a:ext uri="{FF2B5EF4-FFF2-40B4-BE49-F238E27FC236}">
                  <a16:creationId xmlns:a16="http://schemas.microsoft.com/office/drawing/2014/main" id="{162290E6-5884-F5CE-E5CD-0E7EFEF1A2CA}"/>
                </a:ext>
              </a:extLst>
            </p:cNvPr>
            <p:cNvSpPr/>
            <p:nvPr/>
          </p:nvSpPr>
          <p:spPr>
            <a:xfrm>
              <a:off x="5381845"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191 w 39242"/>
                <a:gd name="connsiteY5" fmla="*/ 88392 h 319182"/>
                <a:gd name="connsiteX6" fmla="*/ 36576 w 39242"/>
                <a:gd name="connsiteY6" fmla="*/ 88392 h 319182"/>
                <a:gd name="connsiteX7" fmla="*/ 36576 w 39242"/>
                <a:gd name="connsiteY7" fmla="*/ 319183 h 319182"/>
                <a:gd name="connsiteX8" fmla="*/ 2191 w 39242"/>
                <a:gd name="connsiteY8" fmla="*/ 319183 h 319182"/>
                <a:gd name="connsiteX9" fmla="*/ 2191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191" y="88392"/>
                  </a:moveTo>
                  <a:lnTo>
                    <a:pt x="36576" y="88392"/>
                  </a:lnTo>
                  <a:lnTo>
                    <a:pt x="36576" y="319183"/>
                  </a:lnTo>
                  <a:lnTo>
                    <a:pt x="2191" y="319183"/>
                  </a:lnTo>
                  <a:lnTo>
                    <a:pt x="2191" y="88392"/>
                  </a:lnTo>
                  <a:close/>
                </a:path>
              </a:pathLst>
            </a:custGeom>
            <a:solidFill>
              <a:srgbClr val="44505E"/>
            </a:solidFill>
            <a:ln w="9525" cap="flat">
              <a:noFill/>
              <a:prstDash val="solid"/>
              <a:miter/>
            </a:ln>
          </p:spPr>
          <p:txBody>
            <a:bodyPr rtlCol="0" anchor="ctr"/>
            <a:lstStyle/>
            <a:p>
              <a:endParaRPr lang="pt-BR" noProof="0"/>
            </a:p>
          </p:txBody>
        </p:sp>
        <p:sp>
          <p:nvSpPr>
            <p:cNvPr id="36" name="Freeform: Shape 35">
              <a:extLst>
                <a:ext uri="{FF2B5EF4-FFF2-40B4-BE49-F238E27FC236}">
                  <a16:creationId xmlns:a16="http://schemas.microsoft.com/office/drawing/2014/main" id="{CEC7ADBE-6731-9A5B-8F41-EEDC83DF53F2}"/>
                </a:ext>
              </a:extLst>
            </p:cNvPr>
            <p:cNvSpPr/>
            <p:nvPr/>
          </p:nvSpPr>
          <p:spPr>
            <a:xfrm>
              <a:off x="5406076"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8" y="303276"/>
                    <a:pt x="71438" y="300895"/>
                  </a:cubicBezTo>
                  <a:cubicBezTo>
                    <a:pt x="63436"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1"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7" name="Freeform: Shape 36">
              <a:extLst>
                <a:ext uri="{FF2B5EF4-FFF2-40B4-BE49-F238E27FC236}">
                  <a16:creationId xmlns:a16="http://schemas.microsoft.com/office/drawing/2014/main" id="{EDFA25DD-2E4A-57AE-EF8A-E66D8C578A41}"/>
                </a:ext>
              </a:extLst>
            </p:cNvPr>
            <p:cNvSpPr/>
            <p:nvPr/>
          </p:nvSpPr>
          <p:spPr>
            <a:xfrm>
              <a:off x="5455545" y="925297"/>
              <a:ext cx="50594" cy="59238"/>
            </a:xfrm>
            <a:custGeom>
              <a:avLst/>
              <a:gdLst>
                <a:gd name="connsiteX0" fmla="*/ 88392 w 201263"/>
                <a:gd name="connsiteY0" fmla="*/ 235648 h 235648"/>
                <a:gd name="connsiteX1" fmla="*/ 51149 w 201263"/>
                <a:gd name="connsiteY1" fmla="*/ 228981 h 235648"/>
                <a:gd name="connsiteX2" fmla="*/ 23431 w 201263"/>
                <a:gd name="connsiteY2" fmla="*/ 210026 h 235648"/>
                <a:gd name="connsiteX3" fmla="*/ 6001 w 201263"/>
                <a:gd name="connsiteY3" fmla="*/ 180784 h 235648"/>
                <a:gd name="connsiteX4" fmla="*/ 0 w 201263"/>
                <a:gd name="connsiteY4" fmla="*/ 143256 h 235648"/>
                <a:gd name="connsiteX5" fmla="*/ 0 w 201263"/>
                <a:gd name="connsiteY5" fmla="*/ 0 h 235648"/>
                <a:gd name="connsiteX6" fmla="*/ 34385 w 201263"/>
                <a:gd name="connsiteY6" fmla="*/ 0 h 235648"/>
                <a:gd name="connsiteX7" fmla="*/ 34385 w 201263"/>
                <a:gd name="connsiteY7" fmla="*/ 134493 h 235648"/>
                <a:gd name="connsiteX8" fmla="*/ 50864 w 201263"/>
                <a:gd name="connsiteY8" fmla="*/ 185261 h 235648"/>
                <a:gd name="connsiteX9" fmla="*/ 98203 w 201263"/>
                <a:gd name="connsiteY9" fmla="*/ 203930 h 235648"/>
                <a:gd name="connsiteX10" fmla="*/ 125635 w 201263"/>
                <a:gd name="connsiteY10" fmla="*/ 198787 h 235648"/>
                <a:gd name="connsiteX11" fmla="*/ 147542 w 201263"/>
                <a:gd name="connsiteY11" fmla="*/ 184118 h 235648"/>
                <a:gd name="connsiteX12" fmla="*/ 162020 w 201263"/>
                <a:gd name="connsiteY12" fmla="*/ 161163 h 235648"/>
                <a:gd name="connsiteX13" fmla="*/ 167354 w 201263"/>
                <a:gd name="connsiteY13" fmla="*/ 131826 h 235648"/>
                <a:gd name="connsiteX14" fmla="*/ 167354 w 201263"/>
                <a:gd name="connsiteY14" fmla="*/ 0 h 235648"/>
                <a:gd name="connsiteX15" fmla="*/ 201263 w 201263"/>
                <a:gd name="connsiteY15" fmla="*/ 0 h 235648"/>
                <a:gd name="connsiteX16" fmla="*/ 201263 w 201263"/>
                <a:gd name="connsiteY16" fmla="*/ 230791 h 235648"/>
                <a:gd name="connsiteX17" fmla="*/ 167354 w 201263"/>
                <a:gd name="connsiteY17" fmla="*/ 230791 h 235648"/>
                <a:gd name="connsiteX18" fmla="*/ 167354 w 201263"/>
                <a:gd name="connsiteY18" fmla="*/ 190595 h 235648"/>
                <a:gd name="connsiteX19" fmla="*/ 136969 w 201263"/>
                <a:gd name="connsiteY19" fmla="*/ 222504 h 235648"/>
                <a:gd name="connsiteX20" fmla="*/ 88297 w 201263"/>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263" h="235648">
                  <a:moveTo>
                    <a:pt x="88392" y="235648"/>
                  </a:moveTo>
                  <a:cubicBezTo>
                    <a:pt x="74390" y="235648"/>
                    <a:pt x="62008" y="233363"/>
                    <a:pt x="51149" y="228981"/>
                  </a:cubicBezTo>
                  <a:cubicBezTo>
                    <a:pt x="40291" y="224504"/>
                    <a:pt x="31052" y="218218"/>
                    <a:pt x="23431"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864" y="185261"/>
                  </a:cubicBezTo>
                  <a:cubicBezTo>
                    <a:pt x="61913" y="197739"/>
                    <a:pt x="77629" y="203930"/>
                    <a:pt x="98203" y="203930"/>
                  </a:cubicBezTo>
                  <a:cubicBezTo>
                    <a:pt x="108014" y="203930"/>
                    <a:pt x="117158" y="202216"/>
                    <a:pt x="125635" y="198787"/>
                  </a:cubicBezTo>
                  <a:cubicBezTo>
                    <a:pt x="134112" y="195358"/>
                    <a:pt x="141351" y="190500"/>
                    <a:pt x="147542" y="184118"/>
                  </a:cubicBezTo>
                  <a:cubicBezTo>
                    <a:pt x="153638" y="177736"/>
                    <a:pt x="158496" y="170116"/>
                    <a:pt x="162020" y="161163"/>
                  </a:cubicBezTo>
                  <a:cubicBezTo>
                    <a:pt x="165640" y="152305"/>
                    <a:pt x="167354" y="142494"/>
                    <a:pt x="167354" y="131826"/>
                  </a:cubicBezTo>
                  <a:lnTo>
                    <a:pt x="167354" y="0"/>
                  </a:lnTo>
                  <a:lnTo>
                    <a:pt x="201263" y="0"/>
                  </a:lnTo>
                  <a:lnTo>
                    <a:pt x="201263" y="230791"/>
                  </a:lnTo>
                  <a:lnTo>
                    <a:pt x="167354" y="230791"/>
                  </a:lnTo>
                  <a:lnTo>
                    <a:pt x="167354" y="190595"/>
                  </a:lnTo>
                  <a:cubicBezTo>
                    <a:pt x="159639" y="203073"/>
                    <a:pt x="149447" y="213741"/>
                    <a:pt x="136969" y="222504"/>
                  </a:cubicBezTo>
                  <a:cubicBezTo>
                    <a:pt x="124492" y="231267"/>
                    <a:pt x="108299" y="235648"/>
                    <a:pt x="88297" y="235648"/>
                  </a:cubicBezTo>
                  <a:close/>
                </a:path>
              </a:pathLst>
            </a:custGeom>
            <a:solidFill>
              <a:srgbClr val="44505E"/>
            </a:solidFill>
            <a:ln w="9525" cap="flat">
              <a:noFill/>
              <a:prstDash val="solid"/>
              <a:miter/>
            </a:ln>
          </p:spPr>
          <p:txBody>
            <a:bodyPr rtlCol="0" anchor="ctr"/>
            <a:lstStyle/>
            <a:p>
              <a:endParaRPr lang="pt-BR" noProof="0"/>
            </a:p>
          </p:txBody>
        </p:sp>
        <p:sp>
          <p:nvSpPr>
            <p:cNvPr id="38" name="Freeform: Shape 37">
              <a:extLst>
                <a:ext uri="{FF2B5EF4-FFF2-40B4-BE49-F238E27FC236}">
                  <a16:creationId xmlns:a16="http://schemas.microsoft.com/office/drawing/2014/main" id="{67EBC025-90A5-2B9A-4A3E-74B8879D8F27}"/>
                </a:ext>
              </a:extLst>
            </p:cNvPr>
            <p:cNvSpPr/>
            <p:nvPr/>
          </p:nvSpPr>
          <p:spPr>
            <a:xfrm>
              <a:off x="5522205" y="901353"/>
              <a:ext cx="58567" cy="83182"/>
            </a:xfrm>
            <a:custGeom>
              <a:avLst/>
              <a:gdLst>
                <a:gd name="connsiteX0" fmla="*/ 110204 w 232981"/>
                <a:gd name="connsiteY0" fmla="*/ 330898 h 330898"/>
                <a:gd name="connsiteX1" fmla="*/ 69628 w 232981"/>
                <a:gd name="connsiteY1" fmla="*/ 322897 h 330898"/>
                <a:gd name="connsiteX2" fmla="*/ 34385 w 232981"/>
                <a:gd name="connsiteY2" fmla="*/ 299466 h 330898"/>
                <a:gd name="connsiteX3" fmla="*/ 9334 w 232981"/>
                <a:gd name="connsiteY3" fmla="*/ 261938 h 330898"/>
                <a:gd name="connsiteX4" fmla="*/ 0 w 232981"/>
                <a:gd name="connsiteY4" fmla="*/ 211264 h 330898"/>
                <a:gd name="connsiteX5" fmla="*/ 0 w 232981"/>
                <a:gd name="connsiteY5" fmla="*/ 210407 h 330898"/>
                <a:gd name="connsiteX6" fmla="*/ 9334 w 232981"/>
                <a:gd name="connsiteY6" fmla="*/ 159925 h 330898"/>
                <a:gd name="connsiteX7" fmla="*/ 34385 w 232981"/>
                <a:gd name="connsiteY7" fmla="*/ 122206 h 330898"/>
                <a:gd name="connsiteX8" fmla="*/ 69628 w 232981"/>
                <a:gd name="connsiteY8" fmla="*/ 98488 h 330898"/>
                <a:gd name="connsiteX9" fmla="*/ 110204 w 232981"/>
                <a:gd name="connsiteY9" fmla="*/ 90202 h 330898"/>
                <a:gd name="connsiteX10" fmla="*/ 139636 w 232981"/>
                <a:gd name="connsiteY10" fmla="*/ 94202 h 330898"/>
                <a:gd name="connsiteX11" fmla="*/ 163735 w 232981"/>
                <a:gd name="connsiteY11" fmla="*/ 104870 h 330898"/>
                <a:gd name="connsiteX12" fmla="*/ 183166 w 232981"/>
                <a:gd name="connsiteY12" fmla="*/ 120491 h 330898"/>
                <a:gd name="connsiteX13" fmla="*/ 198596 w 232981"/>
                <a:gd name="connsiteY13" fmla="*/ 139255 h 330898"/>
                <a:gd name="connsiteX14" fmla="*/ 198596 w 232981"/>
                <a:gd name="connsiteY14" fmla="*/ 0 h 330898"/>
                <a:gd name="connsiteX15" fmla="*/ 232981 w 232981"/>
                <a:gd name="connsiteY15" fmla="*/ 0 h 330898"/>
                <a:gd name="connsiteX16" fmla="*/ 232981 w 232981"/>
                <a:gd name="connsiteY16" fmla="*/ 325850 h 330898"/>
                <a:gd name="connsiteX17" fmla="*/ 198596 w 232981"/>
                <a:gd name="connsiteY17" fmla="*/ 325850 h 330898"/>
                <a:gd name="connsiteX18" fmla="*/ 198596 w 232981"/>
                <a:gd name="connsiteY18" fmla="*/ 279463 h 330898"/>
                <a:gd name="connsiteX19" fmla="*/ 182785 w 232981"/>
                <a:gd name="connsiteY19" fmla="*/ 299085 h 330898"/>
                <a:gd name="connsiteX20" fmla="*/ 163354 w 232981"/>
                <a:gd name="connsiteY20" fmla="*/ 315658 h 330898"/>
                <a:gd name="connsiteX21" fmla="*/ 139446 w 232981"/>
                <a:gd name="connsiteY21" fmla="*/ 326803 h 330898"/>
                <a:gd name="connsiteX22" fmla="*/ 110204 w 232981"/>
                <a:gd name="connsiteY22" fmla="*/ 330803 h 330898"/>
                <a:gd name="connsiteX23" fmla="*/ 116491 w 232981"/>
                <a:gd name="connsiteY23" fmla="*/ 300133 h 330898"/>
                <a:gd name="connsiteX24" fmla="*/ 147542 w 232981"/>
                <a:gd name="connsiteY24" fmla="*/ 293656 h 330898"/>
                <a:gd name="connsiteX25" fmla="*/ 174307 w 232981"/>
                <a:gd name="connsiteY25" fmla="*/ 275368 h 330898"/>
                <a:gd name="connsiteX26" fmla="*/ 193072 w 232981"/>
                <a:gd name="connsiteY26" fmla="*/ 247269 h 330898"/>
                <a:gd name="connsiteX27" fmla="*/ 200025 w 232981"/>
                <a:gd name="connsiteY27" fmla="*/ 210883 h 330898"/>
                <a:gd name="connsiteX28" fmla="*/ 200025 w 232981"/>
                <a:gd name="connsiteY28" fmla="*/ 210026 h 330898"/>
                <a:gd name="connsiteX29" fmla="*/ 193072 w 232981"/>
                <a:gd name="connsiteY29" fmla="*/ 173641 h 330898"/>
                <a:gd name="connsiteX30" fmla="*/ 174307 w 232981"/>
                <a:gd name="connsiteY30" fmla="*/ 145732 h 330898"/>
                <a:gd name="connsiteX31" fmla="*/ 147542 w 232981"/>
                <a:gd name="connsiteY31" fmla="*/ 127635 h 330898"/>
                <a:gd name="connsiteX32" fmla="*/ 116491 w 232981"/>
                <a:gd name="connsiteY32" fmla="*/ 121158 h 330898"/>
                <a:gd name="connsiteX33" fmla="*/ 84772 w 232981"/>
                <a:gd name="connsiteY33" fmla="*/ 127159 h 330898"/>
                <a:gd name="connsiteX34" fmla="*/ 59150 w 232981"/>
                <a:gd name="connsiteY34" fmla="*/ 144589 h 330898"/>
                <a:gd name="connsiteX35" fmla="*/ 41719 w 232981"/>
                <a:gd name="connsiteY35" fmla="*/ 172498 h 330898"/>
                <a:gd name="connsiteX36" fmla="*/ 35242 w 232981"/>
                <a:gd name="connsiteY36" fmla="*/ 210026 h 330898"/>
                <a:gd name="connsiteX37" fmla="*/ 35242 w 232981"/>
                <a:gd name="connsiteY37" fmla="*/ 210883 h 330898"/>
                <a:gd name="connsiteX38" fmla="*/ 41719 w 232981"/>
                <a:gd name="connsiteY38" fmla="*/ 247936 h 330898"/>
                <a:gd name="connsiteX39" fmla="*/ 59341 w 232981"/>
                <a:gd name="connsiteY39" fmla="*/ 276034 h 330898"/>
                <a:gd name="connsiteX40" fmla="*/ 85249 w 232981"/>
                <a:gd name="connsiteY40" fmla="*/ 293941 h 330898"/>
                <a:gd name="connsiteX41" fmla="*/ 116491 w 23298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30898">
                  <a:moveTo>
                    <a:pt x="110204" y="330898"/>
                  </a:moveTo>
                  <a:cubicBezTo>
                    <a:pt x="96202" y="330898"/>
                    <a:pt x="82677" y="328231"/>
                    <a:pt x="69628" y="322897"/>
                  </a:cubicBezTo>
                  <a:cubicBezTo>
                    <a:pt x="56578" y="317563"/>
                    <a:pt x="44767" y="309753"/>
                    <a:pt x="34385" y="299466"/>
                  </a:cubicBezTo>
                  <a:cubicBezTo>
                    <a:pt x="24003" y="289179"/>
                    <a:pt x="15621" y="276701"/>
                    <a:pt x="9334" y="261938"/>
                  </a:cubicBezTo>
                  <a:cubicBezTo>
                    <a:pt x="3048" y="247174"/>
                    <a:pt x="0" y="230314"/>
                    <a:pt x="0" y="211264"/>
                  </a:cubicBezTo>
                  <a:lnTo>
                    <a:pt x="0" y="210407"/>
                  </a:lnTo>
                  <a:cubicBezTo>
                    <a:pt x="0" y="191643"/>
                    <a:pt x="3143" y="174879"/>
                    <a:pt x="9334" y="159925"/>
                  </a:cubicBezTo>
                  <a:cubicBezTo>
                    <a:pt x="15621" y="145066"/>
                    <a:pt x="23908" y="132493"/>
                    <a:pt x="34385" y="122206"/>
                  </a:cubicBezTo>
                  <a:cubicBezTo>
                    <a:pt x="44767" y="111919"/>
                    <a:pt x="56578" y="104013"/>
                    <a:pt x="69628" y="98488"/>
                  </a:cubicBezTo>
                  <a:cubicBezTo>
                    <a:pt x="82677" y="92964"/>
                    <a:pt x="96298" y="90202"/>
                    <a:pt x="110204" y="90202"/>
                  </a:cubicBezTo>
                  <a:cubicBezTo>
                    <a:pt x="120967" y="90202"/>
                    <a:pt x="130778" y="91535"/>
                    <a:pt x="139636" y="94202"/>
                  </a:cubicBezTo>
                  <a:cubicBezTo>
                    <a:pt x="148590" y="96869"/>
                    <a:pt x="156591" y="100489"/>
                    <a:pt x="163735" y="104870"/>
                  </a:cubicBezTo>
                  <a:cubicBezTo>
                    <a:pt x="170878" y="109347"/>
                    <a:pt x="177356" y="114586"/>
                    <a:pt x="183166" y="120491"/>
                  </a:cubicBezTo>
                  <a:cubicBezTo>
                    <a:pt x="188976" y="126492"/>
                    <a:pt x="194119" y="132683"/>
                    <a:pt x="198596" y="139255"/>
                  </a:cubicBezTo>
                  <a:lnTo>
                    <a:pt x="198596" y="0"/>
                  </a:lnTo>
                  <a:lnTo>
                    <a:pt x="232981" y="0"/>
                  </a:lnTo>
                  <a:lnTo>
                    <a:pt x="232981" y="325850"/>
                  </a:lnTo>
                  <a:lnTo>
                    <a:pt x="198596" y="325850"/>
                  </a:lnTo>
                  <a:lnTo>
                    <a:pt x="198596" y="279463"/>
                  </a:lnTo>
                  <a:cubicBezTo>
                    <a:pt x="193834" y="286321"/>
                    <a:pt x="188595" y="292894"/>
                    <a:pt x="182785" y="299085"/>
                  </a:cubicBezTo>
                  <a:cubicBezTo>
                    <a:pt x="176974" y="305371"/>
                    <a:pt x="170498" y="310896"/>
                    <a:pt x="163354" y="315658"/>
                  </a:cubicBezTo>
                  <a:cubicBezTo>
                    <a:pt x="156210" y="320421"/>
                    <a:pt x="148209" y="324136"/>
                    <a:pt x="139446" y="326803"/>
                  </a:cubicBezTo>
                  <a:cubicBezTo>
                    <a:pt x="130683" y="329470"/>
                    <a:pt x="120967" y="330803"/>
                    <a:pt x="110204" y="330803"/>
                  </a:cubicBezTo>
                  <a:close/>
                  <a:moveTo>
                    <a:pt x="116491" y="300133"/>
                  </a:moveTo>
                  <a:cubicBezTo>
                    <a:pt x="127159" y="300133"/>
                    <a:pt x="137541" y="297942"/>
                    <a:pt x="147542" y="293656"/>
                  </a:cubicBezTo>
                  <a:cubicBezTo>
                    <a:pt x="157544" y="289369"/>
                    <a:pt x="166402" y="283273"/>
                    <a:pt x="174307" y="275368"/>
                  </a:cubicBezTo>
                  <a:cubicBezTo>
                    <a:pt x="182213" y="267462"/>
                    <a:pt x="188404" y="258127"/>
                    <a:pt x="193072" y="247269"/>
                  </a:cubicBezTo>
                  <a:cubicBezTo>
                    <a:pt x="197644" y="236410"/>
                    <a:pt x="200025" y="224314"/>
                    <a:pt x="200025" y="210883"/>
                  </a:cubicBezTo>
                  <a:lnTo>
                    <a:pt x="200025" y="210026"/>
                  </a:lnTo>
                  <a:cubicBezTo>
                    <a:pt x="200025" y="196596"/>
                    <a:pt x="197739" y="184499"/>
                    <a:pt x="193072" y="173641"/>
                  </a:cubicBezTo>
                  <a:cubicBezTo>
                    <a:pt x="188500" y="162782"/>
                    <a:pt x="182213" y="153448"/>
                    <a:pt x="174307" y="145732"/>
                  </a:cubicBezTo>
                  <a:cubicBezTo>
                    <a:pt x="166402" y="138017"/>
                    <a:pt x="157448" y="132016"/>
                    <a:pt x="147542" y="127635"/>
                  </a:cubicBezTo>
                  <a:cubicBezTo>
                    <a:pt x="137541" y="123349"/>
                    <a:pt x="127254" y="121158"/>
                    <a:pt x="116491" y="121158"/>
                  </a:cubicBezTo>
                  <a:cubicBezTo>
                    <a:pt x="105156" y="121158"/>
                    <a:pt x="94583" y="123158"/>
                    <a:pt x="84772" y="127159"/>
                  </a:cubicBezTo>
                  <a:cubicBezTo>
                    <a:pt x="74962" y="131159"/>
                    <a:pt x="66389" y="136969"/>
                    <a:pt x="59150" y="144589"/>
                  </a:cubicBezTo>
                  <a:cubicBezTo>
                    <a:pt x="51816" y="152114"/>
                    <a:pt x="46101" y="161449"/>
                    <a:pt x="41719" y="172498"/>
                  </a:cubicBezTo>
                  <a:cubicBezTo>
                    <a:pt x="37433" y="183451"/>
                    <a:pt x="35242" y="196024"/>
                    <a:pt x="35242" y="210026"/>
                  </a:cubicBezTo>
                  <a:lnTo>
                    <a:pt x="35242" y="210883"/>
                  </a:lnTo>
                  <a:cubicBezTo>
                    <a:pt x="35242" y="224599"/>
                    <a:pt x="37433" y="236982"/>
                    <a:pt x="41719" y="247936"/>
                  </a:cubicBezTo>
                  <a:cubicBezTo>
                    <a:pt x="46006" y="258984"/>
                    <a:pt x="51911" y="268319"/>
                    <a:pt x="59341" y="276034"/>
                  </a:cubicBezTo>
                  <a:cubicBezTo>
                    <a:pt x="66770" y="283750"/>
                    <a:pt x="75438" y="289750"/>
                    <a:pt x="85249" y="293941"/>
                  </a:cubicBezTo>
                  <a:cubicBezTo>
                    <a:pt x="95059" y="298132"/>
                    <a:pt x="105442" y="300228"/>
                    <a:pt x="116491" y="300228"/>
                  </a:cubicBezTo>
                  <a:close/>
                </a:path>
              </a:pathLst>
            </a:custGeom>
            <a:solidFill>
              <a:srgbClr val="44505E"/>
            </a:solidFill>
            <a:ln w="9525" cap="flat">
              <a:noFill/>
              <a:prstDash val="solid"/>
              <a:miter/>
            </a:ln>
          </p:spPr>
          <p:txBody>
            <a:bodyPr rtlCol="0" anchor="ctr"/>
            <a:lstStyle/>
            <a:p>
              <a:endParaRPr lang="pt-BR" noProof="0"/>
            </a:p>
          </p:txBody>
        </p:sp>
        <p:sp>
          <p:nvSpPr>
            <p:cNvPr id="39" name="Freeform: Shape 38">
              <a:extLst>
                <a:ext uri="{FF2B5EF4-FFF2-40B4-BE49-F238E27FC236}">
                  <a16:creationId xmlns:a16="http://schemas.microsoft.com/office/drawing/2014/main" id="{7C93BC15-BE57-B277-D95B-C8050D70768F}"/>
                </a:ext>
              </a:extLst>
            </p:cNvPr>
            <p:cNvSpPr/>
            <p:nvPr/>
          </p:nvSpPr>
          <p:spPr>
            <a:xfrm>
              <a:off x="5596504"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6963 w 218217"/>
                <a:gd name="connsiteY3" fmla="*/ 206026 h 241077"/>
                <a:gd name="connsiteX4" fmla="*/ 116015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8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1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452 w 218217"/>
                <a:gd name="connsiteY25" fmla="*/ 106299 h 241077"/>
                <a:gd name="connsiteX26" fmla="*/ 176784 w 218217"/>
                <a:gd name="connsiteY26" fmla="*/ 76771 h 241077"/>
                <a:gd name="connsiteX27" fmla="*/ 162306 w 218217"/>
                <a:gd name="connsiteY27" fmla="*/ 52101 h 241077"/>
                <a:gd name="connsiteX28" fmla="*/ 140018 w 218217"/>
                <a:gd name="connsiteY28" fmla="*/ 35242 h 241077"/>
                <a:gd name="connsiteX29" fmla="*/ 109919 w 218217"/>
                <a:gd name="connsiteY29" fmla="*/ 29051 h 241077"/>
                <a:gd name="connsiteX30" fmla="*/ 82201 w 218217"/>
                <a:gd name="connsiteY30" fmla="*/ 34766 h 241077"/>
                <a:gd name="connsiteX31" fmla="*/ 59436 w 218217"/>
                <a:gd name="connsiteY31" fmla="*/ 50959 h 241077"/>
                <a:gd name="connsiteX32" fmla="*/ 43148 w 218217"/>
                <a:gd name="connsiteY32" fmla="*/ 75628 h 241077"/>
                <a:gd name="connsiteX33" fmla="*/ 34862 w 218217"/>
                <a:gd name="connsiteY33" fmla="*/ 106204 h 241077"/>
                <a:gd name="connsiteX34" fmla="*/ 183547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724" y="202597"/>
                    <a:pt x="86963" y="206026"/>
                  </a:cubicBezTo>
                  <a:cubicBezTo>
                    <a:pt x="96203" y="209455"/>
                    <a:pt x="105823" y="211169"/>
                    <a:pt x="116015" y="211169"/>
                  </a:cubicBezTo>
                  <a:cubicBezTo>
                    <a:pt x="132112" y="211169"/>
                    <a:pt x="145828" y="208216"/>
                    <a:pt x="157353" y="202216"/>
                  </a:cubicBezTo>
                  <a:cubicBezTo>
                    <a:pt x="168783" y="196310"/>
                    <a:pt x="179261" y="188404"/>
                    <a:pt x="188786" y="178594"/>
                  </a:cubicBezTo>
                  <a:lnTo>
                    <a:pt x="210217" y="197834"/>
                  </a:lnTo>
                  <a:cubicBezTo>
                    <a:pt x="198596" y="210979"/>
                    <a:pt x="185357" y="221361"/>
                    <a:pt x="170498" y="229267"/>
                  </a:cubicBezTo>
                  <a:cubicBezTo>
                    <a:pt x="155639"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679" y="0"/>
                    <a:pt x="110681"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452" y="106299"/>
                  </a:moveTo>
                  <a:cubicBezTo>
                    <a:pt x="182594" y="95917"/>
                    <a:pt x="180308" y="86106"/>
                    <a:pt x="176784" y="76771"/>
                  </a:cubicBezTo>
                  <a:cubicBezTo>
                    <a:pt x="173165" y="67437"/>
                    <a:pt x="168402" y="59245"/>
                    <a:pt x="162306" y="52101"/>
                  </a:cubicBezTo>
                  <a:cubicBezTo>
                    <a:pt x="156210" y="44958"/>
                    <a:pt x="148781" y="39338"/>
                    <a:pt x="140018" y="35242"/>
                  </a:cubicBezTo>
                  <a:cubicBezTo>
                    <a:pt x="131254" y="31147"/>
                    <a:pt x="121158" y="29051"/>
                    <a:pt x="109919" y="29051"/>
                  </a:cubicBezTo>
                  <a:cubicBezTo>
                    <a:pt x="100108" y="29051"/>
                    <a:pt x="90869" y="30956"/>
                    <a:pt x="82201" y="34766"/>
                  </a:cubicBezTo>
                  <a:cubicBezTo>
                    <a:pt x="73533" y="38671"/>
                    <a:pt x="66008" y="44005"/>
                    <a:pt x="59436" y="50959"/>
                  </a:cubicBezTo>
                  <a:cubicBezTo>
                    <a:pt x="52864" y="57912"/>
                    <a:pt x="47435" y="66103"/>
                    <a:pt x="43148" y="75628"/>
                  </a:cubicBezTo>
                  <a:cubicBezTo>
                    <a:pt x="38862" y="85058"/>
                    <a:pt x="36100" y="95345"/>
                    <a:pt x="34862" y="106204"/>
                  </a:cubicBezTo>
                  <a:lnTo>
                    <a:pt x="183547" y="106204"/>
                  </a:lnTo>
                  <a:close/>
                </a:path>
              </a:pathLst>
            </a:custGeom>
            <a:solidFill>
              <a:srgbClr val="44505E"/>
            </a:solidFill>
            <a:ln w="9525" cap="flat">
              <a:noFill/>
              <a:prstDash val="solid"/>
              <a:miter/>
            </a:ln>
          </p:spPr>
          <p:txBody>
            <a:bodyPr rtlCol="0" anchor="ctr"/>
            <a:lstStyle/>
            <a:p>
              <a:endParaRPr lang="pt-BR" noProof="0"/>
            </a:p>
          </p:txBody>
        </p:sp>
        <p:sp>
          <p:nvSpPr>
            <p:cNvPr id="40" name="Freeform: Shape 39">
              <a:extLst>
                <a:ext uri="{FF2B5EF4-FFF2-40B4-BE49-F238E27FC236}">
                  <a16:creationId xmlns:a16="http://schemas.microsoft.com/office/drawing/2014/main" id="{4E92E97A-4ED8-C94A-16E9-C9A17D60E9C8}"/>
                </a:ext>
              </a:extLst>
            </p:cNvPr>
            <p:cNvSpPr/>
            <p:nvPr/>
          </p:nvSpPr>
          <p:spPr>
            <a:xfrm>
              <a:off x="5661680" y="924268"/>
              <a:ext cx="44656" cy="60195"/>
            </a:xfrm>
            <a:custGeom>
              <a:avLst/>
              <a:gdLst>
                <a:gd name="connsiteX0" fmla="*/ 95536 w 177641"/>
                <a:gd name="connsiteY0" fmla="*/ 239268 h 239458"/>
                <a:gd name="connsiteX1" fmla="*/ 45053 w 177641"/>
                <a:gd name="connsiteY1" fmla="*/ 230124 h 239458"/>
                <a:gd name="connsiteX2" fmla="*/ 0 w 177641"/>
                <a:gd name="connsiteY2" fmla="*/ 205359 h 239458"/>
                <a:gd name="connsiteX3" fmla="*/ 17431 w 177641"/>
                <a:gd name="connsiteY3" fmla="*/ 180785 h 239458"/>
                <a:gd name="connsiteX4" fmla="*/ 56483 w 177641"/>
                <a:gd name="connsiteY4" fmla="*/ 202692 h 239458"/>
                <a:gd name="connsiteX5" fmla="*/ 97346 w 177641"/>
                <a:gd name="connsiteY5" fmla="*/ 210217 h 239458"/>
                <a:gd name="connsiteX6" fmla="*/ 131731 w 177641"/>
                <a:gd name="connsiteY6" fmla="*/ 200406 h 239458"/>
                <a:gd name="connsiteX7" fmla="*/ 145161 w 177641"/>
                <a:gd name="connsiteY7" fmla="*/ 173641 h 239458"/>
                <a:gd name="connsiteX8" fmla="*/ 145161 w 177641"/>
                <a:gd name="connsiteY8" fmla="*/ 172784 h 239458"/>
                <a:gd name="connsiteX9" fmla="*/ 140494 w 177641"/>
                <a:gd name="connsiteY9" fmla="*/ 158020 h 239458"/>
                <a:gd name="connsiteX10" fmla="*/ 127730 w 177641"/>
                <a:gd name="connsiteY10" fmla="*/ 147066 h 239458"/>
                <a:gd name="connsiteX11" fmla="*/ 109157 w 177641"/>
                <a:gd name="connsiteY11" fmla="*/ 138779 h 239458"/>
                <a:gd name="connsiteX12" fmla="*/ 87535 w 177641"/>
                <a:gd name="connsiteY12" fmla="*/ 132112 h 239458"/>
                <a:gd name="connsiteX13" fmla="*/ 60484 w 177641"/>
                <a:gd name="connsiteY13" fmla="*/ 123444 h 239458"/>
                <a:gd name="connsiteX14" fmla="*/ 35909 w 177641"/>
                <a:gd name="connsiteY14" fmla="*/ 111633 h 239458"/>
                <a:gd name="connsiteX15" fmla="*/ 18098 w 177641"/>
                <a:gd name="connsiteY15" fmla="*/ 93726 h 239458"/>
                <a:gd name="connsiteX16" fmla="*/ 11144 w 177641"/>
                <a:gd name="connsiteY16" fmla="*/ 66961 h 239458"/>
                <a:gd name="connsiteX17" fmla="*/ 11144 w 177641"/>
                <a:gd name="connsiteY17" fmla="*/ 66008 h 239458"/>
                <a:gd name="connsiteX18" fmla="*/ 16954 w 177641"/>
                <a:gd name="connsiteY18" fmla="*/ 39053 h 239458"/>
                <a:gd name="connsiteX19" fmla="*/ 33242 w 177641"/>
                <a:gd name="connsiteY19" fmla="*/ 18098 h 239458"/>
                <a:gd name="connsiteX20" fmla="*/ 58293 w 177641"/>
                <a:gd name="connsiteY20" fmla="*/ 4667 h 239458"/>
                <a:gd name="connsiteX21" fmla="*/ 89725 w 177641"/>
                <a:gd name="connsiteY21" fmla="*/ 0 h 239458"/>
                <a:gd name="connsiteX22" fmla="*/ 133064 w 177641"/>
                <a:gd name="connsiteY22" fmla="*/ 6953 h 239458"/>
                <a:gd name="connsiteX23" fmla="*/ 172784 w 177641"/>
                <a:gd name="connsiteY23" fmla="*/ 25527 h 239458"/>
                <a:gd name="connsiteX24" fmla="*/ 157163 w 177641"/>
                <a:gd name="connsiteY24" fmla="*/ 51435 h 239458"/>
                <a:gd name="connsiteX25" fmla="*/ 123444 w 177641"/>
                <a:gd name="connsiteY25" fmla="*/ 35147 h 239458"/>
                <a:gd name="connsiteX26" fmla="*/ 88868 w 177641"/>
                <a:gd name="connsiteY26" fmla="*/ 29146 h 239458"/>
                <a:gd name="connsiteX27" fmla="*/ 56293 w 177641"/>
                <a:gd name="connsiteY27" fmla="*/ 38767 h 239458"/>
                <a:gd name="connsiteX28" fmla="*/ 44196 w 177641"/>
                <a:gd name="connsiteY28" fmla="*/ 62675 h 239458"/>
                <a:gd name="connsiteX29" fmla="*/ 44196 w 177641"/>
                <a:gd name="connsiteY29" fmla="*/ 63627 h 239458"/>
                <a:gd name="connsiteX30" fmla="*/ 49149 w 177641"/>
                <a:gd name="connsiteY30" fmla="*/ 77724 h 239458"/>
                <a:gd name="connsiteX31" fmla="*/ 62294 w 177641"/>
                <a:gd name="connsiteY31" fmla="*/ 88202 h 239458"/>
                <a:gd name="connsiteX32" fmla="*/ 81248 w 177641"/>
                <a:gd name="connsiteY32" fmla="*/ 96203 h 239458"/>
                <a:gd name="connsiteX33" fmla="*/ 103537 w 177641"/>
                <a:gd name="connsiteY33" fmla="*/ 103346 h 239458"/>
                <a:gd name="connsiteX34" fmla="*/ 130112 w 177641"/>
                <a:gd name="connsiteY34" fmla="*/ 112300 h 239458"/>
                <a:gd name="connsiteX35" fmla="*/ 154019 w 177641"/>
                <a:gd name="connsiteY35" fmla="*/ 124778 h 239458"/>
                <a:gd name="connsiteX36" fmla="*/ 171164 w 177641"/>
                <a:gd name="connsiteY36" fmla="*/ 143066 h 239458"/>
                <a:gd name="connsiteX37" fmla="*/ 177641 w 177641"/>
                <a:gd name="connsiteY37" fmla="*/ 169450 h 239458"/>
                <a:gd name="connsiteX38" fmla="*/ 177641 w 177641"/>
                <a:gd name="connsiteY38" fmla="*/ 170307 h 239458"/>
                <a:gd name="connsiteX39" fmla="*/ 171164 w 177641"/>
                <a:gd name="connsiteY39" fmla="*/ 199549 h 239458"/>
                <a:gd name="connsiteX40" fmla="*/ 153734 w 177641"/>
                <a:gd name="connsiteY40" fmla="*/ 221171 h 239458"/>
                <a:gd name="connsiteX41" fmla="*/ 127825 w 177641"/>
                <a:gd name="connsiteY41" fmla="*/ 234791 h 239458"/>
                <a:gd name="connsiteX42" fmla="*/ 95441 w 177641"/>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641" h="239458">
                  <a:moveTo>
                    <a:pt x="95536" y="239268"/>
                  </a:moveTo>
                  <a:cubicBezTo>
                    <a:pt x="78867" y="239268"/>
                    <a:pt x="62008" y="236220"/>
                    <a:pt x="45053" y="230124"/>
                  </a:cubicBezTo>
                  <a:cubicBezTo>
                    <a:pt x="28099" y="224028"/>
                    <a:pt x="13049" y="215741"/>
                    <a:pt x="0" y="205359"/>
                  </a:cubicBezTo>
                  <a:lnTo>
                    <a:pt x="17431" y="180785"/>
                  </a:lnTo>
                  <a:cubicBezTo>
                    <a:pt x="29908"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542" y="162211"/>
                    <a:pt x="140494" y="158020"/>
                  </a:cubicBezTo>
                  <a:cubicBezTo>
                    <a:pt x="137350" y="153829"/>
                    <a:pt x="133160" y="150209"/>
                    <a:pt x="127730" y="147066"/>
                  </a:cubicBezTo>
                  <a:cubicBezTo>
                    <a:pt x="122396" y="143923"/>
                    <a:pt x="116205" y="141161"/>
                    <a:pt x="109157" y="138779"/>
                  </a:cubicBezTo>
                  <a:cubicBezTo>
                    <a:pt x="102203" y="136398"/>
                    <a:pt x="94964" y="134207"/>
                    <a:pt x="87535" y="132112"/>
                  </a:cubicBezTo>
                  <a:cubicBezTo>
                    <a:pt x="78581" y="129445"/>
                    <a:pt x="69628" y="126492"/>
                    <a:pt x="60484" y="123444"/>
                  </a:cubicBezTo>
                  <a:cubicBezTo>
                    <a:pt x="51435" y="120301"/>
                    <a:pt x="43244" y="116396"/>
                    <a:pt x="35909" y="111633"/>
                  </a:cubicBezTo>
                  <a:cubicBezTo>
                    <a:pt x="28575" y="106871"/>
                    <a:pt x="22670" y="100870"/>
                    <a:pt x="18098" y="93726"/>
                  </a:cubicBezTo>
                  <a:cubicBezTo>
                    <a:pt x="13525" y="86582"/>
                    <a:pt x="11144" y="77629"/>
                    <a:pt x="11144" y="66961"/>
                  </a:cubicBezTo>
                  <a:lnTo>
                    <a:pt x="11144" y="66008"/>
                  </a:lnTo>
                  <a:cubicBezTo>
                    <a:pt x="11144" y="56198"/>
                    <a:pt x="13049" y="47149"/>
                    <a:pt x="16954" y="39053"/>
                  </a:cubicBezTo>
                  <a:cubicBezTo>
                    <a:pt x="20860" y="30861"/>
                    <a:pt x="26289" y="23908"/>
                    <a:pt x="33242" y="18098"/>
                  </a:cubicBezTo>
                  <a:cubicBezTo>
                    <a:pt x="40196" y="12287"/>
                    <a:pt x="48578" y="7811"/>
                    <a:pt x="58293" y="4667"/>
                  </a:cubicBezTo>
                  <a:cubicBezTo>
                    <a:pt x="67913" y="1524"/>
                    <a:pt x="78486" y="0"/>
                    <a:pt x="89725" y="0"/>
                  </a:cubicBezTo>
                  <a:cubicBezTo>
                    <a:pt x="104013" y="0"/>
                    <a:pt x="118396" y="2286"/>
                    <a:pt x="133064" y="6953"/>
                  </a:cubicBezTo>
                  <a:cubicBezTo>
                    <a:pt x="147638" y="11621"/>
                    <a:pt x="160877" y="17717"/>
                    <a:pt x="172784" y="25527"/>
                  </a:cubicBezTo>
                  <a:lnTo>
                    <a:pt x="157163" y="51435"/>
                  </a:lnTo>
                  <a:cubicBezTo>
                    <a:pt x="146399" y="44577"/>
                    <a:pt x="135255" y="39148"/>
                    <a:pt x="123444" y="35147"/>
                  </a:cubicBezTo>
                  <a:cubicBezTo>
                    <a:pt x="111728" y="31147"/>
                    <a:pt x="100203" y="29146"/>
                    <a:pt x="88868" y="29146"/>
                  </a:cubicBezTo>
                  <a:cubicBezTo>
                    <a:pt x="75152" y="29146"/>
                    <a:pt x="64294" y="32385"/>
                    <a:pt x="56293" y="38767"/>
                  </a:cubicBezTo>
                  <a:cubicBezTo>
                    <a:pt x="48292" y="45149"/>
                    <a:pt x="44196" y="53150"/>
                    <a:pt x="44196" y="62675"/>
                  </a:cubicBezTo>
                  <a:lnTo>
                    <a:pt x="44196" y="63627"/>
                  </a:lnTo>
                  <a:cubicBezTo>
                    <a:pt x="44196" y="68961"/>
                    <a:pt x="45815" y="73628"/>
                    <a:pt x="49149" y="77724"/>
                  </a:cubicBezTo>
                  <a:cubicBezTo>
                    <a:pt x="52388" y="81725"/>
                    <a:pt x="56769" y="85249"/>
                    <a:pt x="62294" y="88202"/>
                  </a:cubicBezTo>
                  <a:cubicBezTo>
                    <a:pt x="67818" y="91154"/>
                    <a:pt x="74104" y="93821"/>
                    <a:pt x="81248" y="96203"/>
                  </a:cubicBezTo>
                  <a:cubicBezTo>
                    <a:pt x="88392" y="98584"/>
                    <a:pt x="95821" y="100965"/>
                    <a:pt x="103537" y="103346"/>
                  </a:cubicBezTo>
                  <a:cubicBezTo>
                    <a:pt x="112490" y="106013"/>
                    <a:pt x="121349" y="108966"/>
                    <a:pt x="130112" y="112300"/>
                  </a:cubicBezTo>
                  <a:cubicBezTo>
                    <a:pt x="138875" y="115538"/>
                    <a:pt x="146875" y="119729"/>
                    <a:pt x="154019" y="124778"/>
                  </a:cubicBezTo>
                  <a:cubicBezTo>
                    <a:pt x="161163" y="129826"/>
                    <a:pt x="166878" y="135922"/>
                    <a:pt x="171164" y="143066"/>
                  </a:cubicBezTo>
                  <a:cubicBezTo>
                    <a:pt x="175450" y="150209"/>
                    <a:pt x="177641" y="158972"/>
                    <a:pt x="177641" y="169450"/>
                  </a:cubicBezTo>
                  <a:lnTo>
                    <a:pt x="177641" y="170307"/>
                  </a:lnTo>
                  <a:cubicBezTo>
                    <a:pt x="177641" y="181356"/>
                    <a:pt x="175450" y="191071"/>
                    <a:pt x="171164" y="199549"/>
                  </a:cubicBezTo>
                  <a:cubicBezTo>
                    <a:pt x="166878" y="208026"/>
                    <a:pt x="161068" y="215265"/>
                    <a:pt x="153734" y="221171"/>
                  </a:cubicBezTo>
                  <a:cubicBezTo>
                    <a:pt x="146495" y="227171"/>
                    <a:pt x="137827" y="231648"/>
                    <a:pt x="127825" y="234791"/>
                  </a:cubicBezTo>
                  <a:cubicBezTo>
                    <a:pt x="117824" y="237935"/>
                    <a:pt x="107061" y="239459"/>
                    <a:pt x="95441" y="239459"/>
                  </a:cubicBezTo>
                  <a:close/>
                </a:path>
              </a:pathLst>
            </a:custGeom>
            <a:solidFill>
              <a:srgbClr val="44505E"/>
            </a:solidFill>
            <a:ln w="9525" cap="flat">
              <a:noFill/>
              <a:prstDash val="solid"/>
              <a:miter/>
            </a:ln>
          </p:spPr>
          <p:txBody>
            <a:bodyPr rtlCol="0" anchor="ctr"/>
            <a:lstStyle/>
            <a:p>
              <a:endParaRPr lang="pt-BR" noProof="0"/>
            </a:p>
          </p:txBody>
        </p:sp>
        <p:sp>
          <p:nvSpPr>
            <p:cNvPr id="41" name="Freeform: Shape 40">
              <a:extLst>
                <a:ext uri="{FF2B5EF4-FFF2-40B4-BE49-F238E27FC236}">
                  <a16:creationId xmlns:a16="http://schemas.microsoft.com/office/drawing/2014/main" id="{DD221319-BA15-1B3A-3853-D38D10B9A3C5}"/>
                </a:ext>
              </a:extLst>
            </p:cNvPr>
            <p:cNvSpPr/>
            <p:nvPr/>
          </p:nvSpPr>
          <p:spPr>
            <a:xfrm>
              <a:off x="5752668" y="924028"/>
              <a:ext cx="58567" cy="77196"/>
            </a:xfrm>
            <a:custGeom>
              <a:avLst/>
              <a:gdLst>
                <a:gd name="connsiteX0" fmla="*/ 198596 w 232981"/>
                <a:gd name="connsiteY0" fmla="*/ 189357 h 307085"/>
                <a:gd name="connsiteX1" fmla="*/ 182785 w 232981"/>
                <a:gd name="connsiteY1" fmla="*/ 208978 h 307085"/>
                <a:gd name="connsiteX2" fmla="*/ 163354 w 232981"/>
                <a:gd name="connsiteY2" fmla="*/ 225552 h 307085"/>
                <a:gd name="connsiteX3" fmla="*/ 139446 w 232981"/>
                <a:gd name="connsiteY3" fmla="*/ 236696 h 307085"/>
                <a:gd name="connsiteX4" fmla="*/ 110204 w 232981"/>
                <a:gd name="connsiteY4" fmla="*/ 240697 h 307085"/>
                <a:gd name="connsiteX5" fmla="*/ 69628 w 232981"/>
                <a:gd name="connsiteY5" fmla="*/ 232696 h 307085"/>
                <a:gd name="connsiteX6" fmla="*/ 34385 w 232981"/>
                <a:gd name="connsiteY6" fmla="*/ 209264 h 307085"/>
                <a:gd name="connsiteX7" fmla="*/ 9335 w 232981"/>
                <a:gd name="connsiteY7" fmla="*/ 171736 h 307085"/>
                <a:gd name="connsiteX8" fmla="*/ 0 w 232981"/>
                <a:gd name="connsiteY8" fmla="*/ 121063 h 307085"/>
                <a:gd name="connsiteX9" fmla="*/ 0 w 232981"/>
                <a:gd name="connsiteY9" fmla="*/ 120205 h 307085"/>
                <a:gd name="connsiteX10" fmla="*/ 9335 w 232981"/>
                <a:gd name="connsiteY10" fmla="*/ 69723 h 307085"/>
                <a:gd name="connsiteX11" fmla="*/ 34385 w 232981"/>
                <a:gd name="connsiteY11" fmla="*/ 32004 h 307085"/>
                <a:gd name="connsiteX12" fmla="*/ 69628 w 232981"/>
                <a:gd name="connsiteY12" fmla="*/ 8287 h 307085"/>
                <a:gd name="connsiteX13" fmla="*/ 110204 w 232981"/>
                <a:gd name="connsiteY13" fmla="*/ 0 h 307085"/>
                <a:gd name="connsiteX14" fmla="*/ 139637 w 232981"/>
                <a:gd name="connsiteY14" fmla="*/ 4000 h 307085"/>
                <a:gd name="connsiteX15" fmla="*/ 163735 w 232981"/>
                <a:gd name="connsiteY15" fmla="*/ 14668 h 307085"/>
                <a:gd name="connsiteX16" fmla="*/ 183166 w 232981"/>
                <a:gd name="connsiteY16" fmla="*/ 30289 h 307085"/>
                <a:gd name="connsiteX17" fmla="*/ 198596 w 232981"/>
                <a:gd name="connsiteY17" fmla="*/ 49054 h 307085"/>
                <a:gd name="connsiteX18" fmla="*/ 198596 w 232981"/>
                <a:gd name="connsiteY18" fmla="*/ 4858 h 307085"/>
                <a:gd name="connsiteX19" fmla="*/ 232982 w 232981"/>
                <a:gd name="connsiteY19" fmla="*/ 4858 h 307085"/>
                <a:gd name="connsiteX20" fmla="*/ 232982 w 232981"/>
                <a:gd name="connsiteY20" fmla="*/ 307086 h 307085"/>
                <a:gd name="connsiteX21" fmla="*/ 198596 w 232981"/>
                <a:gd name="connsiteY21" fmla="*/ 307086 h 307085"/>
                <a:gd name="connsiteX22" fmla="*/ 198596 w 232981"/>
                <a:gd name="connsiteY22" fmla="*/ 189262 h 307085"/>
                <a:gd name="connsiteX23" fmla="*/ 116491 w 232981"/>
                <a:gd name="connsiteY23" fmla="*/ 209931 h 307085"/>
                <a:gd name="connsiteX24" fmla="*/ 147542 w 232981"/>
                <a:gd name="connsiteY24" fmla="*/ 203454 h 307085"/>
                <a:gd name="connsiteX25" fmla="*/ 174308 w 232981"/>
                <a:gd name="connsiteY25" fmla="*/ 185166 h 307085"/>
                <a:gd name="connsiteX26" fmla="*/ 193072 w 232981"/>
                <a:gd name="connsiteY26" fmla="*/ 157067 h 307085"/>
                <a:gd name="connsiteX27" fmla="*/ 200025 w 232981"/>
                <a:gd name="connsiteY27" fmla="*/ 120682 h 307085"/>
                <a:gd name="connsiteX28" fmla="*/ 200025 w 232981"/>
                <a:gd name="connsiteY28" fmla="*/ 119824 h 307085"/>
                <a:gd name="connsiteX29" fmla="*/ 193072 w 232981"/>
                <a:gd name="connsiteY29" fmla="*/ 83439 h 307085"/>
                <a:gd name="connsiteX30" fmla="*/ 174308 w 232981"/>
                <a:gd name="connsiteY30" fmla="*/ 55531 h 307085"/>
                <a:gd name="connsiteX31" fmla="*/ 147542 w 232981"/>
                <a:gd name="connsiteY31" fmla="*/ 37433 h 307085"/>
                <a:gd name="connsiteX32" fmla="*/ 116491 w 232981"/>
                <a:gd name="connsiteY32" fmla="*/ 30956 h 307085"/>
                <a:gd name="connsiteX33" fmla="*/ 84773 w 232981"/>
                <a:gd name="connsiteY33" fmla="*/ 36957 h 307085"/>
                <a:gd name="connsiteX34" fmla="*/ 59150 w 232981"/>
                <a:gd name="connsiteY34" fmla="*/ 54388 h 307085"/>
                <a:gd name="connsiteX35" fmla="*/ 41720 w 232981"/>
                <a:gd name="connsiteY35" fmla="*/ 82296 h 307085"/>
                <a:gd name="connsiteX36" fmla="*/ 35242 w 232981"/>
                <a:gd name="connsiteY36" fmla="*/ 119824 h 307085"/>
                <a:gd name="connsiteX37" fmla="*/ 35242 w 232981"/>
                <a:gd name="connsiteY37" fmla="*/ 120682 h 307085"/>
                <a:gd name="connsiteX38" fmla="*/ 41720 w 232981"/>
                <a:gd name="connsiteY38" fmla="*/ 157734 h 307085"/>
                <a:gd name="connsiteX39" fmla="*/ 59341 w 232981"/>
                <a:gd name="connsiteY39" fmla="*/ 185833 h 307085"/>
                <a:gd name="connsiteX40" fmla="*/ 85249 w 232981"/>
                <a:gd name="connsiteY40" fmla="*/ 203740 h 307085"/>
                <a:gd name="connsiteX41" fmla="*/ 116491 w 232981"/>
                <a:gd name="connsiteY41" fmla="*/ 210026 h 30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07085">
                  <a:moveTo>
                    <a:pt x="198596" y="189357"/>
                  </a:moveTo>
                  <a:cubicBezTo>
                    <a:pt x="193834" y="196215"/>
                    <a:pt x="188595" y="202787"/>
                    <a:pt x="182785" y="208978"/>
                  </a:cubicBezTo>
                  <a:cubicBezTo>
                    <a:pt x="176975" y="215265"/>
                    <a:pt x="170498" y="220789"/>
                    <a:pt x="163354" y="225552"/>
                  </a:cubicBezTo>
                  <a:cubicBezTo>
                    <a:pt x="156210" y="230314"/>
                    <a:pt x="148209" y="234029"/>
                    <a:pt x="139446" y="236696"/>
                  </a:cubicBezTo>
                  <a:cubicBezTo>
                    <a:pt x="130683" y="239363"/>
                    <a:pt x="120967" y="240697"/>
                    <a:pt x="110204" y="240697"/>
                  </a:cubicBezTo>
                  <a:cubicBezTo>
                    <a:pt x="96203" y="240697"/>
                    <a:pt x="82677" y="238030"/>
                    <a:pt x="69628" y="232696"/>
                  </a:cubicBezTo>
                  <a:cubicBezTo>
                    <a:pt x="56579" y="227362"/>
                    <a:pt x="44767" y="219551"/>
                    <a:pt x="34385" y="209264"/>
                  </a:cubicBezTo>
                  <a:cubicBezTo>
                    <a:pt x="24003" y="198977"/>
                    <a:pt x="15621" y="186499"/>
                    <a:pt x="9335" y="171736"/>
                  </a:cubicBezTo>
                  <a:cubicBezTo>
                    <a:pt x="3048" y="156972"/>
                    <a:pt x="0" y="140113"/>
                    <a:pt x="0" y="121063"/>
                  </a:cubicBezTo>
                  <a:lnTo>
                    <a:pt x="0" y="120205"/>
                  </a:lnTo>
                  <a:cubicBezTo>
                    <a:pt x="0" y="101441"/>
                    <a:pt x="3143" y="84677"/>
                    <a:pt x="9335" y="69723"/>
                  </a:cubicBezTo>
                  <a:cubicBezTo>
                    <a:pt x="15621" y="54864"/>
                    <a:pt x="23908" y="42291"/>
                    <a:pt x="34385" y="32004"/>
                  </a:cubicBezTo>
                  <a:cubicBezTo>
                    <a:pt x="44767" y="21717"/>
                    <a:pt x="56579" y="13811"/>
                    <a:pt x="69628" y="8287"/>
                  </a:cubicBezTo>
                  <a:cubicBezTo>
                    <a:pt x="82677" y="2762"/>
                    <a:pt x="96298" y="0"/>
                    <a:pt x="110204" y="0"/>
                  </a:cubicBezTo>
                  <a:cubicBezTo>
                    <a:pt x="120967" y="0"/>
                    <a:pt x="130778" y="1333"/>
                    <a:pt x="139637" y="4000"/>
                  </a:cubicBezTo>
                  <a:cubicBezTo>
                    <a:pt x="148590" y="6667"/>
                    <a:pt x="156591" y="10287"/>
                    <a:pt x="163735" y="14668"/>
                  </a:cubicBezTo>
                  <a:cubicBezTo>
                    <a:pt x="170879" y="19145"/>
                    <a:pt x="177356" y="24384"/>
                    <a:pt x="183166" y="30289"/>
                  </a:cubicBezTo>
                  <a:cubicBezTo>
                    <a:pt x="188976" y="36290"/>
                    <a:pt x="194120" y="42481"/>
                    <a:pt x="198596" y="49054"/>
                  </a:cubicBezTo>
                  <a:lnTo>
                    <a:pt x="198596" y="4858"/>
                  </a:lnTo>
                  <a:lnTo>
                    <a:pt x="232982" y="4858"/>
                  </a:lnTo>
                  <a:lnTo>
                    <a:pt x="232982" y="307086"/>
                  </a:lnTo>
                  <a:lnTo>
                    <a:pt x="198596" y="307086"/>
                  </a:lnTo>
                  <a:lnTo>
                    <a:pt x="198596" y="189262"/>
                  </a:lnTo>
                  <a:close/>
                  <a:moveTo>
                    <a:pt x="116491" y="209931"/>
                  </a:moveTo>
                  <a:cubicBezTo>
                    <a:pt x="127159" y="209931"/>
                    <a:pt x="137541" y="207740"/>
                    <a:pt x="147542" y="203454"/>
                  </a:cubicBezTo>
                  <a:cubicBezTo>
                    <a:pt x="157544" y="199168"/>
                    <a:pt x="166402" y="193072"/>
                    <a:pt x="174308" y="185166"/>
                  </a:cubicBezTo>
                  <a:cubicBezTo>
                    <a:pt x="182213" y="177260"/>
                    <a:pt x="188404" y="167926"/>
                    <a:pt x="193072" y="157067"/>
                  </a:cubicBezTo>
                  <a:cubicBezTo>
                    <a:pt x="197739" y="146209"/>
                    <a:pt x="200025" y="134112"/>
                    <a:pt x="200025" y="120682"/>
                  </a:cubicBezTo>
                  <a:lnTo>
                    <a:pt x="200025" y="119824"/>
                  </a:lnTo>
                  <a:cubicBezTo>
                    <a:pt x="200025" y="106394"/>
                    <a:pt x="197739" y="94297"/>
                    <a:pt x="193072" y="83439"/>
                  </a:cubicBezTo>
                  <a:cubicBezTo>
                    <a:pt x="188500" y="72580"/>
                    <a:pt x="182213" y="63246"/>
                    <a:pt x="174308" y="55531"/>
                  </a:cubicBezTo>
                  <a:cubicBezTo>
                    <a:pt x="166402" y="47815"/>
                    <a:pt x="157544" y="41815"/>
                    <a:pt x="147542" y="37433"/>
                  </a:cubicBezTo>
                  <a:cubicBezTo>
                    <a:pt x="137541" y="33147"/>
                    <a:pt x="127254" y="30956"/>
                    <a:pt x="116491" y="30956"/>
                  </a:cubicBezTo>
                  <a:cubicBezTo>
                    <a:pt x="105156" y="30956"/>
                    <a:pt x="94583" y="32956"/>
                    <a:pt x="84773" y="36957"/>
                  </a:cubicBezTo>
                  <a:cubicBezTo>
                    <a:pt x="74962" y="40957"/>
                    <a:pt x="66389" y="46767"/>
                    <a:pt x="59150" y="54388"/>
                  </a:cubicBezTo>
                  <a:cubicBezTo>
                    <a:pt x="51816" y="61913"/>
                    <a:pt x="46101" y="71247"/>
                    <a:pt x="41720" y="82296"/>
                  </a:cubicBezTo>
                  <a:cubicBezTo>
                    <a:pt x="37433" y="93250"/>
                    <a:pt x="35242" y="105823"/>
                    <a:pt x="35242" y="119824"/>
                  </a:cubicBezTo>
                  <a:lnTo>
                    <a:pt x="35242" y="120682"/>
                  </a:lnTo>
                  <a:cubicBezTo>
                    <a:pt x="35242" y="134398"/>
                    <a:pt x="37433" y="146780"/>
                    <a:pt x="41720" y="157734"/>
                  </a:cubicBezTo>
                  <a:cubicBezTo>
                    <a:pt x="46006" y="168783"/>
                    <a:pt x="51911" y="178117"/>
                    <a:pt x="59341" y="185833"/>
                  </a:cubicBezTo>
                  <a:cubicBezTo>
                    <a:pt x="66770" y="193548"/>
                    <a:pt x="75438" y="199549"/>
                    <a:pt x="85249" y="203740"/>
                  </a:cubicBezTo>
                  <a:cubicBezTo>
                    <a:pt x="95060" y="207931"/>
                    <a:pt x="105442" y="210026"/>
                    <a:pt x="116491" y="210026"/>
                  </a:cubicBezTo>
                  <a:close/>
                </a:path>
              </a:pathLst>
            </a:custGeom>
            <a:solidFill>
              <a:srgbClr val="44505E"/>
            </a:solidFill>
            <a:ln w="9525" cap="flat">
              <a:noFill/>
              <a:prstDash val="solid"/>
              <a:miter/>
            </a:ln>
          </p:spPr>
          <p:txBody>
            <a:bodyPr rtlCol="0" anchor="ctr"/>
            <a:lstStyle/>
            <a:p>
              <a:endParaRPr lang="pt-BR" noProof="0"/>
            </a:p>
          </p:txBody>
        </p:sp>
        <p:sp>
          <p:nvSpPr>
            <p:cNvPr id="42" name="Freeform: Shape 41">
              <a:extLst>
                <a:ext uri="{FF2B5EF4-FFF2-40B4-BE49-F238E27FC236}">
                  <a16:creationId xmlns:a16="http://schemas.microsoft.com/office/drawing/2014/main" id="{953719CE-52AD-0CC1-C359-EC4BACF5382F}"/>
                </a:ext>
              </a:extLst>
            </p:cNvPr>
            <p:cNvSpPr/>
            <p:nvPr/>
          </p:nvSpPr>
          <p:spPr>
            <a:xfrm>
              <a:off x="5829624" y="925297"/>
              <a:ext cx="50618" cy="59238"/>
            </a:xfrm>
            <a:custGeom>
              <a:avLst/>
              <a:gdLst>
                <a:gd name="connsiteX0" fmla="*/ 88392 w 201358"/>
                <a:gd name="connsiteY0" fmla="*/ 235648 h 235648"/>
                <a:gd name="connsiteX1" fmla="*/ 51149 w 201358"/>
                <a:gd name="connsiteY1" fmla="*/ 228981 h 235648"/>
                <a:gd name="connsiteX2" fmla="*/ 23432 w 201358"/>
                <a:gd name="connsiteY2" fmla="*/ 210026 h 235648"/>
                <a:gd name="connsiteX3" fmla="*/ 6001 w 201358"/>
                <a:gd name="connsiteY3" fmla="*/ 180784 h 235648"/>
                <a:gd name="connsiteX4" fmla="*/ 0 w 201358"/>
                <a:gd name="connsiteY4" fmla="*/ 143256 h 235648"/>
                <a:gd name="connsiteX5" fmla="*/ 0 w 201358"/>
                <a:gd name="connsiteY5" fmla="*/ 0 h 235648"/>
                <a:gd name="connsiteX6" fmla="*/ 34385 w 201358"/>
                <a:gd name="connsiteY6" fmla="*/ 0 h 235648"/>
                <a:gd name="connsiteX7" fmla="*/ 34385 w 201358"/>
                <a:gd name="connsiteY7" fmla="*/ 134493 h 235648"/>
                <a:gd name="connsiteX8" fmla="*/ 50959 w 201358"/>
                <a:gd name="connsiteY8" fmla="*/ 185261 h 235648"/>
                <a:gd name="connsiteX9" fmla="*/ 98298 w 201358"/>
                <a:gd name="connsiteY9" fmla="*/ 203930 h 235648"/>
                <a:gd name="connsiteX10" fmla="*/ 125730 w 201358"/>
                <a:gd name="connsiteY10" fmla="*/ 198787 h 235648"/>
                <a:gd name="connsiteX11" fmla="*/ 147638 w 201358"/>
                <a:gd name="connsiteY11" fmla="*/ 184118 h 235648"/>
                <a:gd name="connsiteX12" fmla="*/ 162116 w 201358"/>
                <a:gd name="connsiteY12" fmla="*/ 161163 h 235648"/>
                <a:gd name="connsiteX13" fmla="*/ 167450 w 201358"/>
                <a:gd name="connsiteY13" fmla="*/ 131826 h 235648"/>
                <a:gd name="connsiteX14" fmla="*/ 167450 w 201358"/>
                <a:gd name="connsiteY14" fmla="*/ 0 h 235648"/>
                <a:gd name="connsiteX15" fmla="*/ 201359 w 201358"/>
                <a:gd name="connsiteY15" fmla="*/ 0 h 235648"/>
                <a:gd name="connsiteX16" fmla="*/ 201359 w 201358"/>
                <a:gd name="connsiteY16" fmla="*/ 230791 h 235648"/>
                <a:gd name="connsiteX17" fmla="*/ 167450 w 201358"/>
                <a:gd name="connsiteY17" fmla="*/ 230791 h 235648"/>
                <a:gd name="connsiteX18" fmla="*/ 167450 w 201358"/>
                <a:gd name="connsiteY18" fmla="*/ 190595 h 235648"/>
                <a:gd name="connsiteX19" fmla="*/ 137065 w 201358"/>
                <a:gd name="connsiteY19" fmla="*/ 222504 h 235648"/>
                <a:gd name="connsiteX20" fmla="*/ 88392 w 201358"/>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358" h="235648">
                  <a:moveTo>
                    <a:pt x="88392" y="235648"/>
                  </a:moveTo>
                  <a:cubicBezTo>
                    <a:pt x="74390" y="235648"/>
                    <a:pt x="62008" y="233363"/>
                    <a:pt x="51149" y="228981"/>
                  </a:cubicBezTo>
                  <a:cubicBezTo>
                    <a:pt x="40291" y="224504"/>
                    <a:pt x="31052" y="218218"/>
                    <a:pt x="23432"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959" y="185261"/>
                  </a:cubicBezTo>
                  <a:cubicBezTo>
                    <a:pt x="61913" y="197739"/>
                    <a:pt x="77724" y="203930"/>
                    <a:pt x="98298" y="203930"/>
                  </a:cubicBezTo>
                  <a:cubicBezTo>
                    <a:pt x="108109" y="203930"/>
                    <a:pt x="117253" y="202216"/>
                    <a:pt x="125730" y="198787"/>
                  </a:cubicBezTo>
                  <a:cubicBezTo>
                    <a:pt x="134207" y="195358"/>
                    <a:pt x="141446" y="190500"/>
                    <a:pt x="147638" y="184118"/>
                  </a:cubicBezTo>
                  <a:cubicBezTo>
                    <a:pt x="153734" y="177736"/>
                    <a:pt x="158591" y="170116"/>
                    <a:pt x="162116" y="161163"/>
                  </a:cubicBezTo>
                  <a:cubicBezTo>
                    <a:pt x="165735" y="152305"/>
                    <a:pt x="167450" y="142494"/>
                    <a:pt x="167450" y="131826"/>
                  </a:cubicBezTo>
                  <a:lnTo>
                    <a:pt x="167450" y="0"/>
                  </a:lnTo>
                  <a:lnTo>
                    <a:pt x="201359" y="0"/>
                  </a:lnTo>
                  <a:lnTo>
                    <a:pt x="201359" y="230791"/>
                  </a:lnTo>
                  <a:lnTo>
                    <a:pt x="167450" y="230791"/>
                  </a:lnTo>
                  <a:lnTo>
                    <a:pt x="167450" y="190595"/>
                  </a:lnTo>
                  <a:cubicBezTo>
                    <a:pt x="159734" y="203073"/>
                    <a:pt x="149543" y="213741"/>
                    <a:pt x="137065" y="222504"/>
                  </a:cubicBezTo>
                  <a:cubicBezTo>
                    <a:pt x="124587" y="231267"/>
                    <a:pt x="108395" y="235648"/>
                    <a:pt x="88392" y="235648"/>
                  </a:cubicBezTo>
                  <a:close/>
                </a:path>
              </a:pathLst>
            </a:custGeom>
            <a:solidFill>
              <a:srgbClr val="44505E"/>
            </a:solidFill>
            <a:ln w="9525" cap="flat">
              <a:noFill/>
              <a:prstDash val="solid"/>
              <a:miter/>
            </a:ln>
          </p:spPr>
          <p:txBody>
            <a:bodyPr rtlCol="0" anchor="ctr"/>
            <a:lstStyle/>
            <a:p>
              <a:endParaRPr lang="pt-BR" noProof="0"/>
            </a:p>
          </p:txBody>
        </p:sp>
        <p:sp>
          <p:nvSpPr>
            <p:cNvPr id="43" name="Freeform: Shape 42">
              <a:extLst>
                <a:ext uri="{FF2B5EF4-FFF2-40B4-BE49-F238E27FC236}">
                  <a16:creationId xmlns:a16="http://schemas.microsoft.com/office/drawing/2014/main" id="{E76209BF-38B9-C2CC-C855-5B0EFDCA79C5}"/>
                </a:ext>
              </a:extLst>
            </p:cNvPr>
            <p:cNvSpPr/>
            <p:nvPr/>
          </p:nvSpPr>
          <p:spPr>
            <a:xfrm>
              <a:off x="5896069"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7059 w 218217"/>
                <a:gd name="connsiteY3" fmla="*/ 206026 h 241077"/>
                <a:gd name="connsiteX4" fmla="*/ 116110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7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0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356 w 218217"/>
                <a:gd name="connsiteY25" fmla="*/ 106299 h 241077"/>
                <a:gd name="connsiteX26" fmla="*/ 176689 w 218217"/>
                <a:gd name="connsiteY26" fmla="*/ 76771 h 241077"/>
                <a:gd name="connsiteX27" fmla="*/ 162211 w 218217"/>
                <a:gd name="connsiteY27" fmla="*/ 52101 h 241077"/>
                <a:gd name="connsiteX28" fmla="*/ 139922 w 218217"/>
                <a:gd name="connsiteY28" fmla="*/ 35242 h 241077"/>
                <a:gd name="connsiteX29" fmla="*/ 109823 w 218217"/>
                <a:gd name="connsiteY29" fmla="*/ 29051 h 241077"/>
                <a:gd name="connsiteX30" fmla="*/ 82105 w 218217"/>
                <a:gd name="connsiteY30" fmla="*/ 34766 h 241077"/>
                <a:gd name="connsiteX31" fmla="*/ 59341 w 218217"/>
                <a:gd name="connsiteY31" fmla="*/ 50959 h 241077"/>
                <a:gd name="connsiteX32" fmla="*/ 43053 w 218217"/>
                <a:gd name="connsiteY32" fmla="*/ 75628 h 241077"/>
                <a:gd name="connsiteX33" fmla="*/ 34766 w 218217"/>
                <a:gd name="connsiteY33" fmla="*/ 106204 h 241077"/>
                <a:gd name="connsiteX34" fmla="*/ 183356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819" y="202597"/>
                    <a:pt x="87059" y="206026"/>
                  </a:cubicBezTo>
                  <a:cubicBezTo>
                    <a:pt x="96298" y="209455"/>
                    <a:pt x="105918" y="211169"/>
                    <a:pt x="116110" y="211169"/>
                  </a:cubicBezTo>
                  <a:cubicBezTo>
                    <a:pt x="132207" y="211169"/>
                    <a:pt x="145923" y="208216"/>
                    <a:pt x="157353" y="202216"/>
                  </a:cubicBezTo>
                  <a:cubicBezTo>
                    <a:pt x="168783" y="196310"/>
                    <a:pt x="179261" y="188404"/>
                    <a:pt x="188786" y="178594"/>
                  </a:cubicBezTo>
                  <a:lnTo>
                    <a:pt x="210217" y="197834"/>
                  </a:lnTo>
                  <a:cubicBezTo>
                    <a:pt x="198596" y="210979"/>
                    <a:pt x="185356" y="221361"/>
                    <a:pt x="170497" y="229267"/>
                  </a:cubicBezTo>
                  <a:cubicBezTo>
                    <a:pt x="155638"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583" y="0"/>
                    <a:pt x="110680"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356" y="106299"/>
                  </a:moveTo>
                  <a:cubicBezTo>
                    <a:pt x="182499" y="95917"/>
                    <a:pt x="180213" y="86106"/>
                    <a:pt x="176689" y="76771"/>
                  </a:cubicBezTo>
                  <a:cubicBezTo>
                    <a:pt x="173069" y="67437"/>
                    <a:pt x="168307" y="59245"/>
                    <a:pt x="162211" y="52101"/>
                  </a:cubicBezTo>
                  <a:cubicBezTo>
                    <a:pt x="156115" y="44958"/>
                    <a:pt x="148685" y="39338"/>
                    <a:pt x="139922" y="35242"/>
                  </a:cubicBezTo>
                  <a:cubicBezTo>
                    <a:pt x="131159" y="31147"/>
                    <a:pt x="121063" y="29051"/>
                    <a:pt x="109823" y="29051"/>
                  </a:cubicBezTo>
                  <a:cubicBezTo>
                    <a:pt x="100013" y="29051"/>
                    <a:pt x="90773" y="30956"/>
                    <a:pt x="82105" y="34766"/>
                  </a:cubicBezTo>
                  <a:cubicBezTo>
                    <a:pt x="73438" y="38671"/>
                    <a:pt x="65913" y="44005"/>
                    <a:pt x="59341" y="50959"/>
                  </a:cubicBezTo>
                  <a:cubicBezTo>
                    <a:pt x="52769" y="57912"/>
                    <a:pt x="47339" y="66103"/>
                    <a:pt x="43053" y="75628"/>
                  </a:cubicBezTo>
                  <a:cubicBezTo>
                    <a:pt x="38767" y="85058"/>
                    <a:pt x="36004" y="95345"/>
                    <a:pt x="34766" y="106204"/>
                  </a:cubicBezTo>
                  <a:lnTo>
                    <a:pt x="183356" y="106204"/>
                  </a:lnTo>
                  <a:close/>
                </a:path>
              </a:pathLst>
            </a:custGeom>
            <a:solidFill>
              <a:srgbClr val="44505E"/>
            </a:solidFill>
            <a:ln w="9525" cap="flat">
              <a:noFill/>
              <a:prstDash val="solid"/>
              <a:miter/>
            </a:ln>
          </p:spPr>
          <p:txBody>
            <a:bodyPr rtlCol="0" anchor="ctr"/>
            <a:lstStyle/>
            <a:p>
              <a:endParaRPr lang="pt-BR" noProof="0"/>
            </a:p>
          </p:txBody>
        </p:sp>
        <p:sp>
          <p:nvSpPr>
            <p:cNvPr id="44" name="Freeform: Shape 43">
              <a:extLst>
                <a:ext uri="{FF2B5EF4-FFF2-40B4-BE49-F238E27FC236}">
                  <a16:creationId xmlns:a16="http://schemas.microsoft.com/office/drawing/2014/main" id="{0047F5EA-A3C2-ED06-0F56-A2EBC67400C6}"/>
                </a:ext>
              </a:extLst>
            </p:cNvPr>
            <p:cNvSpPr/>
            <p:nvPr/>
          </p:nvSpPr>
          <p:spPr>
            <a:xfrm>
              <a:off x="5994910" y="924268"/>
              <a:ext cx="44680" cy="60195"/>
            </a:xfrm>
            <a:custGeom>
              <a:avLst/>
              <a:gdLst>
                <a:gd name="connsiteX0" fmla="*/ 95536 w 177736"/>
                <a:gd name="connsiteY0" fmla="*/ 239268 h 239458"/>
                <a:gd name="connsiteX1" fmla="*/ 45053 w 177736"/>
                <a:gd name="connsiteY1" fmla="*/ 230124 h 239458"/>
                <a:gd name="connsiteX2" fmla="*/ 0 w 177736"/>
                <a:gd name="connsiteY2" fmla="*/ 205359 h 239458"/>
                <a:gd name="connsiteX3" fmla="*/ 17431 w 177736"/>
                <a:gd name="connsiteY3" fmla="*/ 180785 h 239458"/>
                <a:gd name="connsiteX4" fmla="*/ 56483 w 177736"/>
                <a:gd name="connsiteY4" fmla="*/ 202692 h 239458"/>
                <a:gd name="connsiteX5" fmla="*/ 97346 w 177736"/>
                <a:gd name="connsiteY5" fmla="*/ 210217 h 239458"/>
                <a:gd name="connsiteX6" fmla="*/ 131731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730 w 177736"/>
                <a:gd name="connsiteY10" fmla="*/ 147066 h 239458"/>
                <a:gd name="connsiteX11" fmla="*/ 109252 w 177736"/>
                <a:gd name="connsiteY11" fmla="*/ 138779 h 239458"/>
                <a:gd name="connsiteX12" fmla="*/ 87630 w 177736"/>
                <a:gd name="connsiteY12" fmla="*/ 132112 h 239458"/>
                <a:gd name="connsiteX13" fmla="*/ 60674 w 177736"/>
                <a:gd name="connsiteY13" fmla="*/ 123444 h 239458"/>
                <a:gd name="connsiteX14" fmla="*/ 36100 w 177736"/>
                <a:gd name="connsiteY14" fmla="*/ 111633 h 239458"/>
                <a:gd name="connsiteX15" fmla="*/ 18193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60 w 177736"/>
                <a:gd name="connsiteY22" fmla="*/ 6953 h 239458"/>
                <a:gd name="connsiteX23" fmla="*/ 172879 w 177736"/>
                <a:gd name="connsiteY23" fmla="*/ 25527 h 239458"/>
                <a:gd name="connsiteX24" fmla="*/ 157258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4 w 177736"/>
                <a:gd name="connsiteY32" fmla="*/ 96203 h 239458"/>
                <a:gd name="connsiteX33" fmla="*/ 103632 w 177736"/>
                <a:gd name="connsiteY33" fmla="*/ 103346 h 239458"/>
                <a:gd name="connsiteX34" fmla="*/ 130207 w 177736"/>
                <a:gd name="connsiteY34" fmla="*/ 112300 h 239458"/>
                <a:gd name="connsiteX35" fmla="*/ 154114 w 177736"/>
                <a:gd name="connsiteY35" fmla="*/ 124778 h 239458"/>
                <a:gd name="connsiteX36" fmla="*/ 171260 w 177736"/>
                <a:gd name="connsiteY36" fmla="*/ 143066 h 239458"/>
                <a:gd name="connsiteX37" fmla="*/ 177737 w 177736"/>
                <a:gd name="connsiteY37" fmla="*/ 169450 h 239458"/>
                <a:gd name="connsiteX38" fmla="*/ 177737 w 177736"/>
                <a:gd name="connsiteY38" fmla="*/ 170307 h 239458"/>
                <a:gd name="connsiteX39" fmla="*/ 171260 w 177736"/>
                <a:gd name="connsiteY39" fmla="*/ 199549 h 239458"/>
                <a:gd name="connsiteX40" fmla="*/ 153829 w 177736"/>
                <a:gd name="connsiteY40" fmla="*/ 221171 h 239458"/>
                <a:gd name="connsiteX41" fmla="*/ 127921 w 177736"/>
                <a:gd name="connsiteY41" fmla="*/ 234791 h 239458"/>
                <a:gd name="connsiteX42" fmla="*/ 95536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6" y="239268"/>
                  </a:moveTo>
                  <a:cubicBezTo>
                    <a:pt x="78867" y="239268"/>
                    <a:pt x="62008" y="236220"/>
                    <a:pt x="45053" y="230124"/>
                  </a:cubicBezTo>
                  <a:cubicBezTo>
                    <a:pt x="28099" y="224028"/>
                    <a:pt x="13049" y="215741"/>
                    <a:pt x="0" y="205359"/>
                  </a:cubicBezTo>
                  <a:lnTo>
                    <a:pt x="17431" y="180785"/>
                  </a:lnTo>
                  <a:cubicBezTo>
                    <a:pt x="29909"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637" y="162211"/>
                    <a:pt x="140494" y="158020"/>
                  </a:cubicBezTo>
                  <a:cubicBezTo>
                    <a:pt x="137351" y="153829"/>
                    <a:pt x="133160" y="150209"/>
                    <a:pt x="127730" y="147066"/>
                  </a:cubicBezTo>
                  <a:cubicBezTo>
                    <a:pt x="122396" y="143923"/>
                    <a:pt x="116205" y="141161"/>
                    <a:pt x="109252" y="138779"/>
                  </a:cubicBezTo>
                  <a:cubicBezTo>
                    <a:pt x="102299" y="136398"/>
                    <a:pt x="95060" y="134207"/>
                    <a:pt x="87630" y="132112"/>
                  </a:cubicBezTo>
                  <a:cubicBezTo>
                    <a:pt x="78677" y="129445"/>
                    <a:pt x="69723" y="126492"/>
                    <a:pt x="60674" y="123444"/>
                  </a:cubicBezTo>
                  <a:cubicBezTo>
                    <a:pt x="51626" y="120301"/>
                    <a:pt x="43434" y="116396"/>
                    <a:pt x="36100" y="111633"/>
                  </a:cubicBezTo>
                  <a:cubicBezTo>
                    <a:pt x="28766" y="106871"/>
                    <a:pt x="22860" y="100870"/>
                    <a:pt x="18193" y="93726"/>
                  </a:cubicBezTo>
                  <a:cubicBezTo>
                    <a:pt x="13621" y="86582"/>
                    <a:pt x="11239" y="77629"/>
                    <a:pt x="11239" y="66961"/>
                  </a:cubicBezTo>
                  <a:lnTo>
                    <a:pt x="11239" y="66008"/>
                  </a:lnTo>
                  <a:cubicBezTo>
                    <a:pt x="11239" y="56198"/>
                    <a:pt x="13145" y="47149"/>
                    <a:pt x="17050" y="39053"/>
                  </a:cubicBezTo>
                  <a:cubicBezTo>
                    <a:pt x="20860" y="30861"/>
                    <a:pt x="26289" y="23908"/>
                    <a:pt x="33338" y="18098"/>
                  </a:cubicBezTo>
                  <a:cubicBezTo>
                    <a:pt x="40291" y="12287"/>
                    <a:pt x="48673" y="7811"/>
                    <a:pt x="58388" y="4667"/>
                  </a:cubicBezTo>
                  <a:cubicBezTo>
                    <a:pt x="68009" y="1524"/>
                    <a:pt x="78581" y="0"/>
                    <a:pt x="89821" y="0"/>
                  </a:cubicBezTo>
                  <a:cubicBezTo>
                    <a:pt x="104108" y="0"/>
                    <a:pt x="118491" y="2286"/>
                    <a:pt x="133160" y="6953"/>
                  </a:cubicBezTo>
                  <a:cubicBezTo>
                    <a:pt x="147733" y="11621"/>
                    <a:pt x="160972" y="17717"/>
                    <a:pt x="172879" y="25527"/>
                  </a:cubicBezTo>
                  <a:lnTo>
                    <a:pt x="157258" y="51435"/>
                  </a:lnTo>
                  <a:cubicBezTo>
                    <a:pt x="146495" y="44577"/>
                    <a:pt x="135350" y="39148"/>
                    <a:pt x="123539" y="35147"/>
                  </a:cubicBezTo>
                  <a:cubicBezTo>
                    <a:pt x="111824" y="31147"/>
                    <a:pt x="100298" y="29146"/>
                    <a:pt x="88963" y="29146"/>
                  </a:cubicBezTo>
                  <a:cubicBezTo>
                    <a:pt x="75247" y="29146"/>
                    <a:pt x="64389" y="32385"/>
                    <a:pt x="56388" y="38767"/>
                  </a:cubicBezTo>
                  <a:cubicBezTo>
                    <a:pt x="48387" y="45149"/>
                    <a:pt x="44291" y="53150"/>
                    <a:pt x="44291" y="62675"/>
                  </a:cubicBezTo>
                  <a:lnTo>
                    <a:pt x="44291" y="63627"/>
                  </a:lnTo>
                  <a:cubicBezTo>
                    <a:pt x="44291" y="68961"/>
                    <a:pt x="45911" y="73628"/>
                    <a:pt x="49244" y="77724"/>
                  </a:cubicBezTo>
                  <a:cubicBezTo>
                    <a:pt x="52483" y="81725"/>
                    <a:pt x="56960" y="85249"/>
                    <a:pt x="62389" y="88202"/>
                  </a:cubicBezTo>
                  <a:cubicBezTo>
                    <a:pt x="67913" y="91154"/>
                    <a:pt x="74200" y="93821"/>
                    <a:pt x="81344" y="96203"/>
                  </a:cubicBezTo>
                  <a:cubicBezTo>
                    <a:pt x="88487" y="98584"/>
                    <a:pt x="95917" y="100965"/>
                    <a:pt x="103632" y="103346"/>
                  </a:cubicBezTo>
                  <a:cubicBezTo>
                    <a:pt x="112586" y="106013"/>
                    <a:pt x="121444" y="108966"/>
                    <a:pt x="130207" y="112300"/>
                  </a:cubicBezTo>
                  <a:cubicBezTo>
                    <a:pt x="138970" y="115538"/>
                    <a:pt x="146971" y="119729"/>
                    <a:pt x="154114" y="124778"/>
                  </a:cubicBezTo>
                  <a:cubicBezTo>
                    <a:pt x="161258" y="129826"/>
                    <a:pt x="166973" y="135922"/>
                    <a:pt x="171260" y="143066"/>
                  </a:cubicBezTo>
                  <a:cubicBezTo>
                    <a:pt x="175546" y="150209"/>
                    <a:pt x="177737" y="158972"/>
                    <a:pt x="177737" y="169450"/>
                  </a:cubicBezTo>
                  <a:lnTo>
                    <a:pt x="177737" y="170307"/>
                  </a:lnTo>
                  <a:cubicBezTo>
                    <a:pt x="177737" y="181356"/>
                    <a:pt x="175546" y="191071"/>
                    <a:pt x="171260" y="199549"/>
                  </a:cubicBezTo>
                  <a:cubicBezTo>
                    <a:pt x="166973" y="208026"/>
                    <a:pt x="161163" y="215265"/>
                    <a:pt x="153829" y="221171"/>
                  </a:cubicBezTo>
                  <a:cubicBezTo>
                    <a:pt x="146495" y="227171"/>
                    <a:pt x="137922" y="231648"/>
                    <a:pt x="127921" y="234791"/>
                  </a:cubicBezTo>
                  <a:cubicBezTo>
                    <a:pt x="117920" y="237935"/>
                    <a:pt x="107156" y="239459"/>
                    <a:pt x="95536" y="239459"/>
                  </a:cubicBezTo>
                  <a:close/>
                </a:path>
              </a:pathLst>
            </a:custGeom>
            <a:solidFill>
              <a:srgbClr val="44505E"/>
            </a:solidFill>
            <a:ln w="9525" cap="flat">
              <a:noFill/>
              <a:prstDash val="solid"/>
              <a:miter/>
            </a:ln>
          </p:spPr>
          <p:txBody>
            <a:bodyPr rtlCol="0" anchor="ctr"/>
            <a:lstStyle/>
            <a:p>
              <a:endParaRPr lang="pt-BR" noProof="0"/>
            </a:p>
          </p:txBody>
        </p:sp>
        <p:sp>
          <p:nvSpPr>
            <p:cNvPr id="45" name="Freeform: Shape 44">
              <a:extLst>
                <a:ext uri="{FF2B5EF4-FFF2-40B4-BE49-F238E27FC236}">
                  <a16:creationId xmlns:a16="http://schemas.microsoft.com/office/drawing/2014/main" id="{2CD17BAC-2522-91A1-5987-9B580F1E9240}"/>
                </a:ext>
              </a:extLst>
            </p:cNvPr>
            <p:cNvSpPr/>
            <p:nvPr/>
          </p:nvSpPr>
          <p:spPr>
            <a:xfrm>
              <a:off x="605122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4 w 202977"/>
                <a:gd name="connsiteY30" fmla="*/ 174593 h 239267"/>
                <a:gd name="connsiteX31" fmla="*/ 169735 w 202977"/>
                <a:gd name="connsiteY31" fmla="*/ 149447 h 239267"/>
                <a:gd name="connsiteX32" fmla="*/ 169735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0" y="90964"/>
                    <a:pt x="98584" y="90964"/>
                  </a:cubicBezTo>
                  <a:cubicBezTo>
                    <a:pt x="113157" y="90964"/>
                    <a:pt x="126301"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1" y="33147"/>
                    <a:pt x="63436" y="36100"/>
                  </a:cubicBezTo>
                  <a:cubicBezTo>
                    <a:pt x="52292" y="39053"/>
                    <a:pt x="41338" y="43053"/>
                    <a:pt x="30671" y="48196"/>
                  </a:cubicBezTo>
                  <a:lnTo>
                    <a:pt x="20383" y="19907"/>
                  </a:lnTo>
                  <a:cubicBezTo>
                    <a:pt x="33147" y="13906"/>
                    <a:pt x="46101" y="9049"/>
                    <a:pt x="59246" y="5429"/>
                  </a:cubicBezTo>
                  <a:cubicBezTo>
                    <a:pt x="72295"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1" y="239173"/>
                  </a:cubicBezTo>
                  <a:close/>
                  <a:moveTo>
                    <a:pt x="93154" y="211169"/>
                  </a:moveTo>
                  <a:cubicBezTo>
                    <a:pt x="103822" y="211169"/>
                    <a:pt x="113728" y="209740"/>
                    <a:pt x="122967" y="206788"/>
                  </a:cubicBezTo>
                  <a:cubicBezTo>
                    <a:pt x="132207" y="203835"/>
                    <a:pt x="140208" y="199644"/>
                    <a:pt x="147256" y="194120"/>
                  </a:cubicBezTo>
                  <a:cubicBezTo>
                    <a:pt x="154209" y="188595"/>
                    <a:pt x="159734" y="182118"/>
                    <a:pt x="163734" y="174593"/>
                  </a:cubicBezTo>
                  <a:cubicBezTo>
                    <a:pt x="167735" y="167068"/>
                    <a:pt x="169735" y="158687"/>
                    <a:pt x="169735" y="149447"/>
                  </a:cubicBezTo>
                  <a:lnTo>
                    <a:pt x="169735" y="128111"/>
                  </a:lnTo>
                  <a:cubicBezTo>
                    <a:pt x="161163" y="125730"/>
                    <a:pt x="151352" y="123539"/>
                    <a:pt x="140398" y="121444"/>
                  </a:cubicBezTo>
                  <a:cubicBezTo>
                    <a:pt x="129445" y="119348"/>
                    <a:pt x="116872"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46" name="Freeform: Shape 45">
              <a:extLst>
                <a:ext uri="{FF2B5EF4-FFF2-40B4-BE49-F238E27FC236}">
                  <a16:creationId xmlns:a16="http://schemas.microsoft.com/office/drawing/2014/main" id="{42092D44-9910-CC6E-3BCE-15BDB6F97AF4}"/>
                </a:ext>
              </a:extLst>
            </p:cNvPr>
            <p:cNvSpPr/>
            <p:nvPr/>
          </p:nvSpPr>
          <p:spPr>
            <a:xfrm>
              <a:off x="6121359" y="901377"/>
              <a:ext cx="8644" cy="81913"/>
            </a:xfrm>
            <a:custGeom>
              <a:avLst/>
              <a:gdLst>
                <a:gd name="connsiteX0" fmla="*/ 0 w 34385"/>
                <a:gd name="connsiteY0" fmla="*/ 0 h 325850"/>
                <a:gd name="connsiteX1" fmla="*/ 34385 w 34385"/>
                <a:gd name="connsiteY1" fmla="*/ 0 h 325850"/>
                <a:gd name="connsiteX2" fmla="*/ 34385 w 34385"/>
                <a:gd name="connsiteY2" fmla="*/ 325850 h 325850"/>
                <a:gd name="connsiteX3" fmla="*/ 0 w 34385"/>
                <a:gd name="connsiteY3" fmla="*/ 325850 h 325850"/>
                <a:gd name="connsiteX4" fmla="*/ 0 w 34385"/>
                <a:gd name="connsiteY4" fmla="*/ 0 h 32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 h="325850">
                  <a:moveTo>
                    <a:pt x="0" y="0"/>
                  </a:moveTo>
                  <a:lnTo>
                    <a:pt x="34385" y="0"/>
                  </a:lnTo>
                  <a:lnTo>
                    <a:pt x="34385" y="325850"/>
                  </a:lnTo>
                  <a:lnTo>
                    <a:pt x="0" y="325850"/>
                  </a:lnTo>
                  <a:lnTo>
                    <a:pt x="0" y="0"/>
                  </a:lnTo>
                  <a:close/>
                </a:path>
              </a:pathLst>
            </a:custGeom>
            <a:solidFill>
              <a:srgbClr val="44505E"/>
            </a:solidFill>
            <a:ln w="9525" cap="flat">
              <a:noFill/>
              <a:prstDash val="solid"/>
              <a:miter/>
            </a:ln>
          </p:spPr>
          <p:txBody>
            <a:bodyPr rtlCol="0" anchor="ctr"/>
            <a:lstStyle/>
            <a:p>
              <a:endParaRPr lang="pt-BR" noProof="0"/>
            </a:p>
          </p:txBody>
        </p:sp>
        <p:sp>
          <p:nvSpPr>
            <p:cNvPr id="47" name="Freeform: Shape 46">
              <a:extLst>
                <a:ext uri="{FF2B5EF4-FFF2-40B4-BE49-F238E27FC236}">
                  <a16:creationId xmlns:a16="http://schemas.microsoft.com/office/drawing/2014/main" id="{04BB61AB-DEE7-29DB-D654-C0481BC8019C}"/>
                </a:ext>
              </a:extLst>
            </p:cNvPr>
            <p:cNvSpPr/>
            <p:nvPr/>
          </p:nvSpPr>
          <p:spPr>
            <a:xfrm>
              <a:off x="6144346" y="925273"/>
              <a:ext cx="58016" cy="58448"/>
            </a:xfrm>
            <a:custGeom>
              <a:avLst/>
              <a:gdLst>
                <a:gd name="connsiteX0" fmla="*/ 95 w 230790"/>
                <a:gd name="connsiteY0" fmla="*/ 0 h 232505"/>
                <a:gd name="connsiteX1" fmla="*/ 38005 w 230790"/>
                <a:gd name="connsiteY1" fmla="*/ 0 h 232505"/>
                <a:gd name="connsiteX2" fmla="*/ 115634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4"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48" name="Freeform: Shape 47">
              <a:extLst>
                <a:ext uri="{FF2B5EF4-FFF2-40B4-BE49-F238E27FC236}">
                  <a16:creationId xmlns:a16="http://schemas.microsoft.com/office/drawing/2014/main" id="{98EF5A7B-CCDA-217D-D0F3-9449FD8C42A6}"/>
                </a:ext>
              </a:extLst>
            </p:cNvPr>
            <p:cNvSpPr/>
            <p:nvPr/>
          </p:nvSpPr>
          <p:spPr>
            <a:xfrm>
              <a:off x="621155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8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338 w 202977"/>
                <a:gd name="connsiteY36" fmla="*/ 164497 h 239267"/>
                <a:gd name="connsiteX37" fmla="*/ 35338 w 202977"/>
                <a:gd name="connsiteY37" fmla="*/ 165449 h 239267"/>
                <a:gd name="connsiteX38" fmla="*/ 40005 w 202977"/>
                <a:gd name="connsiteY38" fmla="*/ 184785 h 239267"/>
                <a:gd name="connsiteX39" fmla="*/ 52673 w 202977"/>
                <a:gd name="connsiteY39" fmla="*/ 199263 h 239267"/>
                <a:gd name="connsiteX40" fmla="*/ 71152 w 202977"/>
                <a:gd name="connsiteY40" fmla="*/ 208121 h 239267"/>
                <a:gd name="connsiteX41" fmla="*/ 93154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438" y="239268"/>
                    <a:pt x="64961"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1" y="90964"/>
                    <a:pt x="98584" y="90964"/>
                  </a:cubicBezTo>
                  <a:cubicBezTo>
                    <a:pt x="113157" y="90964"/>
                    <a:pt x="126302" y="91821"/>
                    <a:pt x="137160" y="93631"/>
                  </a:cubicBezTo>
                  <a:cubicBezTo>
                    <a:pt x="148019" y="95440"/>
                    <a:pt x="158687" y="97822"/>
                    <a:pt x="169069" y="100774"/>
                  </a:cubicBezTo>
                  <a:lnTo>
                    <a:pt x="169069" y="93726"/>
                  </a:lnTo>
                  <a:cubicBezTo>
                    <a:pt x="169069" y="73342"/>
                    <a:pt x="163068" y="57912"/>
                    <a:pt x="151162" y="47339"/>
                  </a:cubicBezTo>
                  <a:cubicBezTo>
                    <a:pt x="139255" y="36862"/>
                    <a:pt x="122491" y="31623"/>
                    <a:pt x="100679" y="31623"/>
                  </a:cubicBezTo>
                  <a:cubicBezTo>
                    <a:pt x="86963" y="31623"/>
                    <a:pt x="74581" y="33147"/>
                    <a:pt x="63437" y="36100"/>
                  </a:cubicBezTo>
                  <a:cubicBezTo>
                    <a:pt x="52292" y="39053"/>
                    <a:pt x="41338" y="43053"/>
                    <a:pt x="30671" y="48196"/>
                  </a:cubicBezTo>
                  <a:lnTo>
                    <a:pt x="20383" y="19907"/>
                  </a:lnTo>
                  <a:cubicBezTo>
                    <a:pt x="33147" y="13906"/>
                    <a:pt x="46101" y="9049"/>
                    <a:pt x="59246" y="5429"/>
                  </a:cubicBezTo>
                  <a:cubicBezTo>
                    <a:pt x="72390"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04" y="239173"/>
                    <a:pt x="86011" y="239173"/>
                  </a:cubicBezTo>
                  <a:close/>
                  <a:moveTo>
                    <a:pt x="93154" y="211169"/>
                  </a:moveTo>
                  <a:cubicBezTo>
                    <a:pt x="103822" y="211169"/>
                    <a:pt x="113824" y="209740"/>
                    <a:pt x="122968" y="206788"/>
                  </a:cubicBezTo>
                  <a:cubicBezTo>
                    <a:pt x="132112"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5" y="119348"/>
                    <a:pt x="116777" y="118300"/>
                    <a:pt x="102584" y="118300"/>
                  </a:cubicBezTo>
                  <a:cubicBezTo>
                    <a:pt x="81248" y="118300"/>
                    <a:pt x="64675" y="122491"/>
                    <a:pt x="52959" y="130969"/>
                  </a:cubicBezTo>
                  <a:cubicBezTo>
                    <a:pt x="41243" y="139446"/>
                    <a:pt x="35338" y="150590"/>
                    <a:pt x="35338" y="164497"/>
                  </a:cubicBezTo>
                  <a:lnTo>
                    <a:pt x="35338" y="165449"/>
                  </a:lnTo>
                  <a:cubicBezTo>
                    <a:pt x="35338" y="172498"/>
                    <a:pt x="36862" y="178975"/>
                    <a:pt x="40005" y="184785"/>
                  </a:cubicBezTo>
                  <a:cubicBezTo>
                    <a:pt x="43148" y="190500"/>
                    <a:pt x="47339" y="195358"/>
                    <a:pt x="52673" y="199263"/>
                  </a:cubicBezTo>
                  <a:cubicBezTo>
                    <a:pt x="58007" y="203073"/>
                    <a:pt x="64198" y="206026"/>
                    <a:pt x="71152" y="208121"/>
                  </a:cubicBezTo>
                  <a:cubicBezTo>
                    <a:pt x="78105" y="210217"/>
                    <a:pt x="85439" y="211169"/>
                    <a:pt x="93154" y="211169"/>
                  </a:cubicBezTo>
                  <a:close/>
                </a:path>
              </a:pathLst>
            </a:custGeom>
            <a:solidFill>
              <a:srgbClr val="44505E"/>
            </a:solidFill>
            <a:ln w="9525" cap="flat">
              <a:noFill/>
              <a:prstDash val="solid"/>
              <a:miter/>
            </a:ln>
          </p:spPr>
          <p:txBody>
            <a:bodyPr rtlCol="0" anchor="ctr"/>
            <a:lstStyle/>
            <a:p>
              <a:endParaRPr lang="pt-BR" noProof="0"/>
            </a:p>
          </p:txBody>
        </p:sp>
        <p:sp>
          <p:nvSpPr>
            <p:cNvPr id="49" name="Freeform: Shape 48">
              <a:extLst>
                <a:ext uri="{FF2B5EF4-FFF2-40B4-BE49-F238E27FC236}">
                  <a16:creationId xmlns:a16="http://schemas.microsoft.com/office/drawing/2014/main" id="{A5CDE966-C79C-93BC-B07A-F74C00DB9831}"/>
                </a:ext>
              </a:extLst>
            </p:cNvPr>
            <p:cNvSpPr/>
            <p:nvPr/>
          </p:nvSpPr>
          <p:spPr>
            <a:xfrm>
              <a:off x="6280899" y="923980"/>
              <a:ext cx="87995" cy="59238"/>
            </a:xfrm>
            <a:custGeom>
              <a:avLst/>
              <a:gdLst>
                <a:gd name="connsiteX0" fmla="*/ 0 w 350043"/>
                <a:gd name="connsiteY0" fmla="*/ 5144 h 235648"/>
                <a:gd name="connsiteX1" fmla="*/ 34385 w 350043"/>
                <a:gd name="connsiteY1" fmla="*/ 5144 h 235648"/>
                <a:gd name="connsiteX2" fmla="*/ 34385 w 350043"/>
                <a:gd name="connsiteY2" fmla="*/ 44005 h 235648"/>
                <a:gd name="connsiteX3" fmla="*/ 47149 w 350043"/>
                <a:gd name="connsiteY3" fmla="*/ 27432 h 235648"/>
                <a:gd name="connsiteX4" fmla="*/ 62960 w 350043"/>
                <a:gd name="connsiteY4" fmla="*/ 13335 h 235648"/>
                <a:gd name="connsiteX5" fmla="*/ 83058 w 350043"/>
                <a:gd name="connsiteY5" fmla="*/ 3715 h 235648"/>
                <a:gd name="connsiteX6" fmla="*/ 108966 w 350043"/>
                <a:gd name="connsiteY6" fmla="*/ 95 h 235648"/>
                <a:gd name="connsiteX7" fmla="*/ 155448 w 350043"/>
                <a:gd name="connsiteY7" fmla="*/ 13240 h 235648"/>
                <a:gd name="connsiteX8" fmla="*/ 183166 w 350043"/>
                <a:gd name="connsiteY8" fmla="*/ 46006 h 235648"/>
                <a:gd name="connsiteX9" fmla="*/ 197168 w 350043"/>
                <a:gd name="connsiteY9" fmla="*/ 28194 h 235648"/>
                <a:gd name="connsiteX10" fmla="*/ 214789 w 350043"/>
                <a:gd name="connsiteY10" fmla="*/ 13430 h 235648"/>
                <a:gd name="connsiteX11" fmla="*/ 236887 w 350043"/>
                <a:gd name="connsiteY11" fmla="*/ 3620 h 235648"/>
                <a:gd name="connsiteX12" fmla="*/ 264319 w 350043"/>
                <a:gd name="connsiteY12" fmla="*/ 0 h 235648"/>
                <a:gd name="connsiteX13" fmla="*/ 327279 w 350043"/>
                <a:gd name="connsiteY13" fmla="*/ 24765 h 235648"/>
                <a:gd name="connsiteX14" fmla="*/ 350044 w 350043"/>
                <a:gd name="connsiteY14" fmla="*/ 92773 h 235648"/>
                <a:gd name="connsiteX15" fmla="*/ 350044 w 350043"/>
                <a:gd name="connsiteY15" fmla="*/ 235648 h 235648"/>
                <a:gd name="connsiteX16" fmla="*/ 315659 w 350043"/>
                <a:gd name="connsiteY16" fmla="*/ 235648 h 235648"/>
                <a:gd name="connsiteX17" fmla="*/ 315659 w 350043"/>
                <a:gd name="connsiteY17" fmla="*/ 101155 h 235648"/>
                <a:gd name="connsiteX18" fmla="*/ 299847 w 350043"/>
                <a:gd name="connsiteY18" fmla="*/ 49721 h 235648"/>
                <a:gd name="connsiteX19" fmla="*/ 255937 w 350043"/>
                <a:gd name="connsiteY19" fmla="*/ 31718 h 235648"/>
                <a:gd name="connsiteX20" fmla="*/ 231362 w 350043"/>
                <a:gd name="connsiteY20" fmla="*/ 36386 h 235648"/>
                <a:gd name="connsiteX21" fmla="*/ 211074 w 350043"/>
                <a:gd name="connsiteY21" fmla="*/ 50197 h 235648"/>
                <a:gd name="connsiteX22" fmla="*/ 197263 w 350043"/>
                <a:gd name="connsiteY22" fmla="*/ 72676 h 235648"/>
                <a:gd name="connsiteX23" fmla="*/ 192119 w 350043"/>
                <a:gd name="connsiteY23" fmla="*/ 102965 h 235648"/>
                <a:gd name="connsiteX24" fmla="*/ 192119 w 350043"/>
                <a:gd name="connsiteY24" fmla="*/ 235648 h 235648"/>
                <a:gd name="connsiteX25" fmla="*/ 158210 w 350043"/>
                <a:gd name="connsiteY25" fmla="*/ 235648 h 235648"/>
                <a:gd name="connsiteX26" fmla="*/ 158210 w 350043"/>
                <a:gd name="connsiteY26" fmla="*/ 100298 h 235648"/>
                <a:gd name="connsiteX27" fmla="*/ 142399 w 350043"/>
                <a:gd name="connsiteY27" fmla="*/ 49721 h 235648"/>
                <a:gd name="connsiteX28" fmla="*/ 98870 w 350043"/>
                <a:gd name="connsiteY28" fmla="*/ 31718 h 235648"/>
                <a:gd name="connsiteX29" fmla="*/ 73438 w 350043"/>
                <a:gd name="connsiteY29" fmla="*/ 37052 h 235648"/>
                <a:gd name="connsiteX30" fmla="*/ 53150 w 350043"/>
                <a:gd name="connsiteY30" fmla="*/ 52197 h 235648"/>
                <a:gd name="connsiteX31" fmla="*/ 39529 w 350043"/>
                <a:gd name="connsiteY31" fmla="*/ 75152 h 235648"/>
                <a:gd name="connsiteX32" fmla="*/ 34576 w 350043"/>
                <a:gd name="connsiteY32" fmla="*/ 104299 h 235648"/>
                <a:gd name="connsiteX33" fmla="*/ 34576 w 350043"/>
                <a:gd name="connsiteY33" fmla="*/ 235648 h 235648"/>
                <a:gd name="connsiteX34" fmla="*/ 190 w 350043"/>
                <a:gd name="connsiteY34" fmla="*/ 235648 h 235648"/>
                <a:gd name="connsiteX35" fmla="*/ 190 w 350043"/>
                <a:gd name="connsiteY35" fmla="*/ 485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0043" h="235648">
                  <a:moveTo>
                    <a:pt x="0" y="5144"/>
                  </a:moveTo>
                  <a:lnTo>
                    <a:pt x="34385" y="5144"/>
                  </a:lnTo>
                  <a:lnTo>
                    <a:pt x="34385" y="44005"/>
                  </a:lnTo>
                  <a:cubicBezTo>
                    <a:pt x="38290" y="38386"/>
                    <a:pt x="42481" y="32861"/>
                    <a:pt x="47149" y="27432"/>
                  </a:cubicBezTo>
                  <a:cubicBezTo>
                    <a:pt x="51721" y="22098"/>
                    <a:pt x="57055" y="17431"/>
                    <a:pt x="62960" y="13335"/>
                  </a:cubicBezTo>
                  <a:cubicBezTo>
                    <a:pt x="68866" y="9335"/>
                    <a:pt x="75629" y="6096"/>
                    <a:pt x="83058" y="3715"/>
                  </a:cubicBezTo>
                  <a:cubicBezTo>
                    <a:pt x="90488" y="1334"/>
                    <a:pt x="99155" y="95"/>
                    <a:pt x="108966" y="95"/>
                  </a:cubicBezTo>
                  <a:cubicBezTo>
                    <a:pt x="127730" y="95"/>
                    <a:pt x="143161" y="4477"/>
                    <a:pt x="155448" y="13240"/>
                  </a:cubicBezTo>
                  <a:cubicBezTo>
                    <a:pt x="167640" y="22003"/>
                    <a:pt x="176879" y="32956"/>
                    <a:pt x="183166" y="46006"/>
                  </a:cubicBezTo>
                  <a:cubicBezTo>
                    <a:pt x="187357" y="39719"/>
                    <a:pt x="192024" y="33814"/>
                    <a:pt x="197168" y="28194"/>
                  </a:cubicBezTo>
                  <a:cubicBezTo>
                    <a:pt x="202406" y="22574"/>
                    <a:pt x="208217" y="17621"/>
                    <a:pt x="214789" y="13430"/>
                  </a:cubicBezTo>
                  <a:cubicBezTo>
                    <a:pt x="221361" y="9239"/>
                    <a:pt x="228695" y="6001"/>
                    <a:pt x="236887" y="3620"/>
                  </a:cubicBezTo>
                  <a:cubicBezTo>
                    <a:pt x="245078" y="1238"/>
                    <a:pt x="254222" y="0"/>
                    <a:pt x="264319" y="0"/>
                  </a:cubicBezTo>
                  <a:cubicBezTo>
                    <a:pt x="291084" y="0"/>
                    <a:pt x="312039" y="8287"/>
                    <a:pt x="327279" y="24765"/>
                  </a:cubicBezTo>
                  <a:cubicBezTo>
                    <a:pt x="342519" y="41243"/>
                    <a:pt x="350044" y="63913"/>
                    <a:pt x="350044" y="92773"/>
                  </a:cubicBezTo>
                  <a:lnTo>
                    <a:pt x="350044" y="235648"/>
                  </a:lnTo>
                  <a:lnTo>
                    <a:pt x="315659" y="235648"/>
                  </a:lnTo>
                  <a:lnTo>
                    <a:pt x="315659" y="101155"/>
                  </a:lnTo>
                  <a:cubicBezTo>
                    <a:pt x="315659" y="78867"/>
                    <a:pt x="310420" y="61722"/>
                    <a:pt x="299847" y="49721"/>
                  </a:cubicBezTo>
                  <a:cubicBezTo>
                    <a:pt x="289274" y="37719"/>
                    <a:pt x="274606" y="31718"/>
                    <a:pt x="255937" y="31718"/>
                  </a:cubicBezTo>
                  <a:cubicBezTo>
                    <a:pt x="247269" y="31718"/>
                    <a:pt x="239078" y="33242"/>
                    <a:pt x="231362" y="36386"/>
                  </a:cubicBezTo>
                  <a:cubicBezTo>
                    <a:pt x="223647" y="39529"/>
                    <a:pt x="216884" y="44101"/>
                    <a:pt x="211074" y="50197"/>
                  </a:cubicBezTo>
                  <a:cubicBezTo>
                    <a:pt x="205264" y="56293"/>
                    <a:pt x="200692" y="63818"/>
                    <a:pt x="197263" y="72676"/>
                  </a:cubicBezTo>
                  <a:cubicBezTo>
                    <a:pt x="193834" y="81629"/>
                    <a:pt x="192119" y="91726"/>
                    <a:pt x="192119" y="102965"/>
                  </a:cubicBezTo>
                  <a:lnTo>
                    <a:pt x="192119" y="235648"/>
                  </a:lnTo>
                  <a:lnTo>
                    <a:pt x="158210" y="235648"/>
                  </a:lnTo>
                  <a:lnTo>
                    <a:pt x="158210" y="100298"/>
                  </a:lnTo>
                  <a:cubicBezTo>
                    <a:pt x="158210" y="78677"/>
                    <a:pt x="152971" y="61817"/>
                    <a:pt x="142399" y="49721"/>
                  </a:cubicBezTo>
                  <a:cubicBezTo>
                    <a:pt x="131826" y="37719"/>
                    <a:pt x="117348" y="31718"/>
                    <a:pt x="98870" y="31718"/>
                  </a:cubicBezTo>
                  <a:cubicBezTo>
                    <a:pt x="89630" y="31718"/>
                    <a:pt x="81153" y="33528"/>
                    <a:pt x="73438" y="37052"/>
                  </a:cubicBezTo>
                  <a:cubicBezTo>
                    <a:pt x="65722" y="40672"/>
                    <a:pt x="58960" y="45720"/>
                    <a:pt x="53150" y="52197"/>
                  </a:cubicBezTo>
                  <a:cubicBezTo>
                    <a:pt x="47339" y="58769"/>
                    <a:pt x="42767" y="66389"/>
                    <a:pt x="39529" y="75152"/>
                  </a:cubicBezTo>
                  <a:cubicBezTo>
                    <a:pt x="36290" y="83915"/>
                    <a:pt x="34576" y="93631"/>
                    <a:pt x="34576" y="104299"/>
                  </a:cubicBezTo>
                  <a:lnTo>
                    <a:pt x="34576" y="235648"/>
                  </a:lnTo>
                  <a:lnTo>
                    <a:pt x="190" y="235648"/>
                  </a:lnTo>
                  <a:lnTo>
                    <a:pt x="190" y="4858"/>
                  </a:lnTo>
                  <a:close/>
                </a:path>
              </a:pathLst>
            </a:custGeom>
            <a:solidFill>
              <a:srgbClr val="44505E"/>
            </a:solidFill>
            <a:ln w="9525" cap="flat">
              <a:noFill/>
              <a:prstDash val="solid"/>
              <a:miter/>
            </a:ln>
          </p:spPr>
          <p:txBody>
            <a:bodyPr rtlCol="0" anchor="ctr"/>
            <a:lstStyle/>
            <a:p>
              <a:endParaRPr lang="pt-BR" noProof="0"/>
            </a:p>
          </p:txBody>
        </p:sp>
        <p:sp>
          <p:nvSpPr>
            <p:cNvPr id="50" name="Freeform: Shape 49">
              <a:extLst>
                <a:ext uri="{FF2B5EF4-FFF2-40B4-BE49-F238E27FC236}">
                  <a16:creationId xmlns:a16="http://schemas.microsoft.com/office/drawing/2014/main" id="{94C31C37-CC3C-73A1-82A6-8E7E4D521DAB}"/>
                </a:ext>
              </a:extLst>
            </p:cNvPr>
            <p:cNvSpPr/>
            <p:nvPr/>
          </p:nvSpPr>
          <p:spPr>
            <a:xfrm>
              <a:off x="6415537" y="925273"/>
              <a:ext cx="58016" cy="58448"/>
            </a:xfrm>
            <a:custGeom>
              <a:avLst/>
              <a:gdLst>
                <a:gd name="connsiteX0" fmla="*/ 95 w 230790"/>
                <a:gd name="connsiteY0" fmla="*/ 0 h 232505"/>
                <a:gd name="connsiteX1" fmla="*/ 38005 w 230790"/>
                <a:gd name="connsiteY1" fmla="*/ 0 h 232505"/>
                <a:gd name="connsiteX2" fmla="*/ 115633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3"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51" name="Freeform: Shape 50">
              <a:extLst>
                <a:ext uri="{FF2B5EF4-FFF2-40B4-BE49-F238E27FC236}">
                  <a16:creationId xmlns:a16="http://schemas.microsoft.com/office/drawing/2014/main" id="{B162C053-EA97-6803-C7CE-1361AC2D85E8}"/>
                </a:ext>
              </a:extLst>
            </p:cNvPr>
            <p:cNvSpPr/>
            <p:nvPr/>
          </p:nvSpPr>
          <p:spPr>
            <a:xfrm>
              <a:off x="6487369"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286 w 39242"/>
                <a:gd name="connsiteY5" fmla="*/ 88392 h 319182"/>
                <a:gd name="connsiteX6" fmla="*/ 36671 w 39242"/>
                <a:gd name="connsiteY6" fmla="*/ 88392 h 319182"/>
                <a:gd name="connsiteX7" fmla="*/ 36671 w 39242"/>
                <a:gd name="connsiteY7" fmla="*/ 319183 h 319182"/>
                <a:gd name="connsiteX8" fmla="*/ 2286 w 39242"/>
                <a:gd name="connsiteY8" fmla="*/ 319183 h 319182"/>
                <a:gd name="connsiteX9" fmla="*/ 2286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286" y="88392"/>
                  </a:moveTo>
                  <a:lnTo>
                    <a:pt x="36671" y="88392"/>
                  </a:lnTo>
                  <a:lnTo>
                    <a:pt x="36671" y="319183"/>
                  </a:lnTo>
                  <a:lnTo>
                    <a:pt x="2286" y="319183"/>
                  </a:lnTo>
                  <a:lnTo>
                    <a:pt x="2286" y="88392"/>
                  </a:lnTo>
                  <a:close/>
                </a:path>
              </a:pathLst>
            </a:custGeom>
            <a:solidFill>
              <a:srgbClr val="44505E"/>
            </a:solidFill>
            <a:ln w="9525" cap="flat">
              <a:noFill/>
              <a:prstDash val="solid"/>
              <a:miter/>
            </a:ln>
          </p:spPr>
          <p:txBody>
            <a:bodyPr rtlCol="0" anchor="ctr"/>
            <a:lstStyle/>
            <a:p>
              <a:endParaRPr lang="pt-BR" noProof="0"/>
            </a:p>
          </p:txBody>
        </p:sp>
        <p:sp>
          <p:nvSpPr>
            <p:cNvPr id="52" name="Freeform: Shape 51">
              <a:extLst>
                <a:ext uri="{FF2B5EF4-FFF2-40B4-BE49-F238E27FC236}">
                  <a16:creationId xmlns:a16="http://schemas.microsoft.com/office/drawing/2014/main" id="{9B046298-E1F2-DC7C-4475-A1B529D4959C}"/>
                </a:ext>
              </a:extLst>
            </p:cNvPr>
            <p:cNvSpPr/>
            <p:nvPr/>
          </p:nvSpPr>
          <p:spPr>
            <a:xfrm>
              <a:off x="6513253" y="901353"/>
              <a:ext cx="58615" cy="83182"/>
            </a:xfrm>
            <a:custGeom>
              <a:avLst/>
              <a:gdLst>
                <a:gd name="connsiteX0" fmla="*/ 110394 w 233171"/>
                <a:gd name="connsiteY0" fmla="*/ 330898 h 330898"/>
                <a:gd name="connsiteX1" fmla="*/ 69723 w 233171"/>
                <a:gd name="connsiteY1" fmla="*/ 322897 h 330898"/>
                <a:gd name="connsiteX2" fmla="*/ 34480 w 233171"/>
                <a:gd name="connsiteY2" fmla="*/ 299466 h 330898"/>
                <a:gd name="connsiteX3" fmla="*/ 9430 w 233171"/>
                <a:gd name="connsiteY3" fmla="*/ 261938 h 330898"/>
                <a:gd name="connsiteX4" fmla="*/ 0 w 233171"/>
                <a:gd name="connsiteY4" fmla="*/ 211264 h 330898"/>
                <a:gd name="connsiteX5" fmla="*/ 0 w 233171"/>
                <a:gd name="connsiteY5" fmla="*/ 210407 h 330898"/>
                <a:gd name="connsiteX6" fmla="*/ 9430 w 233171"/>
                <a:gd name="connsiteY6" fmla="*/ 159925 h 330898"/>
                <a:gd name="connsiteX7" fmla="*/ 34480 w 233171"/>
                <a:gd name="connsiteY7" fmla="*/ 122206 h 330898"/>
                <a:gd name="connsiteX8" fmla="*/ 69723 w 233171"/>
                <a:gd name="connsiteY8" fmla="*/ 98488 h 330898"/>
                <a:gd name="connsiteX9" fmla="*/ 110394 w 233171"/>
                <a:gd name="connsiteY9" fmla="*/ 90202 h 330898"/>
                <a:gd name="connsiteX10" fmla="*/ 139827 w 233171"/>
                <a:gd name="connsiteY10" fmla="*/ 94202 h 330898"/>
                <a:gd name="connsiteX11" fmla="*/ 163925 w 233171"/>
                <a:gd name="connsiteY11" fmla="*/ 104870 h 330898"/>
                <a:gd name="connsiteX12" fmla="*/ 183356 w 233171"/>
                <a:gd name="connsiteY12" fmla="*/ 120491 h 330898"/>
                <a:gd name="connsiteX13" fmla="*/ 198787 w 233171"/>
                <a:gd name="connsiteY13" fmla="*/ 139255 h 330898"/>
                <a:gd name="connsiteX14" fmla="*/ 198787 w 233171"/>
                <a:gd name="connsiteY14" fmla="*/ 0 h 330898"/>
                <a:gd name="connsiteX15" fmla="*/ 233172 w 233171"/>
                <a:gd name="connsiteY15" fmla="*/ 0 h 330898"/>
                <a:gd name="connsiteX16" fmla="*/ 233172 w 233171"/>
                <a:gd name="connsiteY16" fmla="*/ 325850 h 330898"/>
                <a:gd name="connsiteX17" fmla="*/ 198787 w 233171"/>
                <a:gd name="connsiteY17" fmla="*/ 325850 h 330898"/>
                <a:gd name="connsiteX18" fmla="*/ 198787 w 233171"/>
                <a:gd name="connsiteY18" fmla="*/ 279463 h 330898"/>
                <a:gd name="connsiteX19" fmla="*/ 182975 w 233171"/>
                <a:gd name="connsiteY19" fmla="*/ 299085 h 330898"/>
                <a:gd name="connsiteX20" fmla="*/ 163544 w 233171"/>
                <a:gd name="connsiteY20" fmla="*/ 315658 h 330898"/>
                <a:gd name="connsiteX21" fmla="*/ 139636 w 233171"/>
                <a:gd name="connsiteY21" fmla="*/ 326803 h 330898"/>
                <a:gd name="connsiteX22" fmla="*/ 110394 w 233171"/>
                <a:gd name="connsiteY22" fmla="*/ 330803 h 330898"/>
                <a:gd name="connsiteX23" fmla="*/ 116681 w 233171"/>
                <a:gd name="connsiteY23" fmla="*/ 300133 h 330898"/>
                <a:gd name="connsiteX24" fmla="*/ 147733 w 233171"/>
                <a:gd name="connsiteY24" fmla="*/ 293656 h 330898"/>
                <a:gd name="connsiteX25" fmla="*/ 174498 w 233171"/>
                <a:gd name="connsiteY25" fmla="*/ 275368 h 330898"/>
                <a:gd name="connsiteX26" fmla="*/ 193262 w 233171"/>
                <a:gd name="connsiteY26" fmla="*/ 247269 h 330898"/>
                <a:gd name="connsiteX27" fmla="*/ 200216 w 233171"/>
                <a:gd name="connsiteY27" fmla="*/ 210883 h 330898"/>
                <a:gd name="connsiteX28" fmla="*/ 200216 w 233171"/>
                <a:gd name="connsiteY28" fmla="*/ 210026 h 330898"/>
                <a:gd name="connsiteX29" fmla="*/ 193262 w 233171"/>
                <a:gd name="connsiteY29" fmla="*/ 173641 h 330898"/>
                <a:gd name="connsiteX30" fmla="*/ 174498 w 233171"/>
                <a:gd name="connsiteY30" fmla="*/ 145732 h 330898"/>
                <a:gd name="connsiteX31" fmla="*/ 147733 w 233171"/>
                <a:gd name="connsiteY31" fmla="*/ 127635 h 330898"/>
                <a:gd name="connsiteX32" fmla="*/ 116681 w 233171"/>
                <a:gd name="connsiteY32" fmla="*/ 121158 h 330898"/>
                <a:gd name="connsiteX33" fmla="*/ 84963 w 233171"/>
                <a:gd name="connsiteY33" fmla="*/ 127159 h 330898"/>
                <a:gd name="connsiteX34" fmla="*/ 59341 w 233171"/>
                <a:gd name="connsiteY34" fmla="*/ 144589 h 330898"/>
                <a:gd name="connsiteX35" fmla="*/ 41910 w 233171"/>
                <a:gd name="connsiteY35" fmla="*/ 172498 h 330898"/>
                <a:gd name="connsiteX36" fmla="*/ 35433 w 233171"/>
                <a:gd name="connsiteY36" fmla="*/ 210026 h 330898"/>
                <a:gd name="connsiteX37" fmla="*/ 35433 w 233171"/>
                <a:gd name="connsiteY37" fmla="*/ 210883 h 330898"/>
                <a:gd name="connsiteX38" fmla="*/ 41910 w 233171"/>
                <a:gd name="connsiteY38" fmla="*/ 247936 h 330898"/>
                <a:gd name="connsiteX39" fmla="*/ 59531 w 233171"/>
                <a:gd name="connsiteY39" fmla="*/ 276034 h 330898"/>
                <a:gd name="connsiteX40" fmla="*/ 85439 w 233171"/>
                <a:gd name="connsiteY40" fmla="*/ 293941 h 330898"/>
                <a:gd name="connsiteX41" fmla="*/ 116681 w 23317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3171" h="330898">
                  <a:moveTo>
                    <a:pt x="110394" y="330898"/>
                  </a:moveTo>
                  <a:cubicBezTo>
                    <a:pt x="96393" y="330898"/>
                    <a:pt x="82868" y="328231"/>
                    <a:pt x="69723" y="322897"/>
                  </a:cubicBezTo>
                  <a:cubicBezTo>
                    <a:pt x="56674" y="317563"/>
                    <a:pt x="44863" y="309753"/>
                    <a:pt x="34480" y="299466"/>
                  </a:cubicBezTo>
                  <a:cubicBezTo>
                    <a:pt x="24003" y="289179"/>
                    <a:pt x="15716" y="276701"/>
                    <a:pt x="9430" y="261938"/>
                  </a:cubicBezTo>
                  <a:cubicBezTo>
                    <a:pt x="3143" y="247174"/>
                    <a:pt x="0" y="230314"/>
                    <a:pt x="0" y="211264"/>
                  </a:cubicBezTo>
                  <a:lnTo>
                    <a:pt x="0" y="210407"/>
                  </a:lnTo>
                  <a:cubicBezTo>
                    <a:pt x="0" y="191643"/>
                    <a:pt x="3143" y="174879"/>
                    <a:pt x="9430" y="159925"/>
                  </a:cubicBezTo>
                  <a:cubicBezTo>
                    <a:pt x="15716" y="145066"/>
                    <a:pt x="24003" y="132493"/>
                    <a:pt x="34480" y="122206"/>
                  </a:cubicBezTo>
                  <a:cubicBezTo>
                    <a:pt x="44863" y="111919"/>
                    <a:pt x="56674" y="104013"/>
                    <a:pt x="69723" y="98488"/>
                  </a:cubicBezTo>
                  <a:cubicBezTo>
                    <a:pt x="82868" y="92964"/>
                    <a:pt x="96393" y="90202"/>
                    <a:pt x="110394" y="90202"/>
                  </a:cubicBezTo>
                  <a:cubicBezTo>
                    <a:pt x="121158" y="90202"/>
                    <a:pt x="130969" y="91535"/>
                    <a:pt x="139827" y="94202"/>
                  </a:cubicBezTo>
                  <a:cubicBezTo>
                    <a:pt x="148780" y="96869"/>
                    <a:pt x="156782" y="100489"/>
                    <a:pt x="163925" y="104870"/>
                  </a:cubicBezTo>
                  <a:cubicBezTo>
                    <a:pt x="171069" y="109347"/>
                    <a:pt x="177546" y="114586"/>
                    <a:pt x="183356" y="120491"/>
                  </a:cubicBezTo>
                  <a:cubicBezTo>
                    <a:pt x="189166" y="126492"/>
                    <a:pt x="194310" y="132683"/>
                    <a:pt x="198787" y="139255"/>
                  </a:cubicBezTo>
                  <a:lnTo>
                    <a:pt x="198787" y="0"/>
                  </a:lnTo>
                  <a:lnTo>
                    <a:pt x="233172" y="0"/>
                  </a:lnTo>
                  <a:lnTo>
                    <a:pt x="233172" y="325850"/>
                  </a:lnTo>
                  <a:lnTo>
                    <a:pt x="198787" y="325850"/>
                  </a:lnTo>
                  <a:lnTo>
                    <a:pt x="198787" y="279463"/>
                  </a:lnTo>
                  <a:cubicBezTo>
                    <a:pt x="194024" y="286321"/>
                    <a:pt x="188786" y="292894"/>
                    <a:pt x="182975" y="299085"/>
                  </a:cubicBezTo>
                  <a:cubicBezTo>
                    <a:pt x="177165" y="305371"/>
                    <a:pt x="170688" y="310896"/>
                    <a:pt x="163544" y="315658"/>
                  </a:cubicBezTo>
                  <a:cubicBezTo>
                    <a:pt x="156400" y="320421"/>
                    <a:pt x="148494" y="324136"/>
                    <a:pt x="139636" y="326803"/>
                  </a:cubicBezTo>
                  <a:cubicBezTo>
                    <a:pt x="130873" y="329470"/>
                    <a:pt x="121158" y="330803"/>
                    <a:pt x="110394" y="330803"/>
                  </a:cubicBezTo>
                  <a:close/>
                  <a:moveTo>
                    <a:pt x="116681" y="300133"/>
                  </a:moveTo>
                  <a:cubicBezTo>
                    <a:pt x="127445" y="300133"/>
                    <a:pt x="137732" y="297942"/>
                    <a:pt x="147733" y="293656"/>
                  </a:cubicBezTo>
                  <a:cubicBezTo>
                    <a:pt x="157734" y="289369"/>
                    <a:pt x="166592" y="283273"/>
                    <a:pt x="174498" y="275368"/>
                  </a:cubicBezTo>
                  <a:cubicBezTo>
                    <a:pt x="182404" y="267462"/>
                    <a:pt x="188595" y="258127"/>
                    <a:pt x="193262" y="247269"/>
                  </a:cubicBezTo>
                  <a:cubicBezTo>
                    <a:pt x="197834" y="236410"/>
                    <a:pt x="200216" y="224314"/>
                    <a:pt x="200216" y="210883"/>
                  </a:cubicBezTo>
                  <a:lnTo>
                    <a:pt x="200216" y="210026"/>
                  </a:lnTo>
                  <a:cubicBezTo>
                    <a:pt x="200216" y="196596"/>
                    <a:pt x="197929" y="184499"/>
                    <a:pt x="193262" y="173641"/>
                  </a:cubicBezTo>
                  <a:cubicBezTo>
                    <a:pt x="188595" y="162782"/>
                    <a:pt x="182404" y="153448"/>
                    <a:pt x="174498" y="145732"/>
                  </a:cubicBezTo>
                  <a:cubicBezTo>
                    <a:pt x="166592" y="138017"/>
                    <a:pt x="157639" y="132016"/>
                    <a:pt x="147733" y="127635"/>
                  </a:cubicBezTo>
                  <a:cubicBezTo>
                    <a:pt x="137732" y="123349"/>
                    <a:pt x="127445" y="121158"/>
                    <a:pt x="116681" y="121158"/>
                  </a:cubicBezTo>
                  <a:cubicBezTo>
                    <a:pt x="105346" y="121158"/>
                    <a:pt x="94774" y="123158"/>
                    <a:pt x="84963" y="127159"/>
                  </a:cubicBezTo>
                  <a:cubicBezTo>
                    <a:pt x="75152" y="131159"/>
                    <a:pt x="66580" y="136969"/>
                    <a:pt x="59341" y="144589"/>
                  </a:cubicBezTo>
                  <a:cubicBezTo>
                    <a:pt x="52007" y="152114"/>
                    <a:pt x="46291" y="161449"/>
                    <a:pt x="41910" y="172498"/>
                  </a:cubicBezTo>
                  <a:cubicBezTo>
                    <a:pt x="37624" y="183451"/>
                    <a:pt x="35433" y="196024"/>
                    <a:pt x="35433" y="210026"/>
                  </a:cubicBezTo>
                  <a:lnTo>
                    <a:pt x="35433" y="210883"/>
                  </a:lnTo>
                  <a:cubicBezTo>
                    <a:pt x="35433" y="224599"/>
                    <a:pt x="37624" y="236982"/>
                    <a:pt x="41910" y="247936"/>
                  </a:cubicBezTo>
                  <a:cubicBezTo>
                    <a:pt x="46196" y="258984"/>
                    <a:pt x="52101" y="268319"/>
                    <a:pt x="59531" y="276034"/>
                  </a:cubicBezTo>
                  <a:cubicBezTo>
                    <a:pt x="66960" y="283750"/>
                    <a:pt x="75629" y="289750"/>
                    <a:pt x="85439" y="293941"/>
                  </a:cubicBezTo>
                  <a:cubicBezTo>
                    <a:pt x="95250" y="298132"/>
                    <a:pt x="105632" y="300228"/>
                    <a:pt x="116681" y="300228"/>
                  </a:cubicBezTo>
                  <a:close/>
                </a:path>
              </a:pathLst>
            </a:custGeom>
            <a:solidFill>
              <a:srgbClr val="44505E"/>
            </a:solidFill>
            <a:ln w="9525" cap="flat">
              <a:noFill/>
              <a:prstDash val="solid"/>
              <a:miter/>
            </a:ln>
          </p:spPr>
          <p:txBody>
            <a:bodyPr rtlCol="0" anchor="ctr"/>
            <a:lstStyle/>
            <a:p>
              <a:endParaRPr lang="pt-BR" noProof="0"/>
            </a:p>
          </p:txBody>
        </p:sp>
        <p:sp>
          <p:nvSpPr>
            <p:cNvPr id="53" name="Freeform: Shape 52">
              <a:extLst>
                <a:ext uri="{FF2B5EF4-FFF2-40B4-BE49-F238E27FC236}">
                  <a16:creationId xmlns:a16="http://schemas.microsoft.com/office/drawing/2014/main" id="{33C60698-A1AF-A275-0672-E59131440888}"/>
                </a:ext>
              </a:extLst>
            </p:cNvPr>
            <p:cNvSpPr/>
            <p:nvPr/>
          </p:nvSpPr>
          <p:spPr>
            <a:xfrm>
              <a:off x="6586762"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0 w 202977"/>
                <a:gd name="connsiteY16" fmla="*/ 48196 h 239267"/>
                <a:gd name="connsiteX17" fmla="*/ 20383 w 202977"/>
                <a:gd name="connsiteY17" fmla="*/ 19907 h 239267"/>
                <a:gd name="connsiteX18" fmla="*/ 59245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0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1"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675" y="92678"/>
                    <a:pt x="84011" y="90964"/>
                    <a:pt x="98584" y="90964"/>
                  </a:cubicBezTo>
                  <a:cubicBezTo>
                    <a:pt x="113157" y="90964"/>
                    <a:pt x="126302"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0" y="33147"/>
                    <a:pt x="63436" y="36100"/>
                  </a:cubicBezTo>
                  <a:cubicBezTo>
                    <a:pt x="52292" y="39053"/>
                    <a:pt x="41338" y="43053"/>
                    <a:pt x="30670" y="48196"/>
                  </a:cubicBezTo>
                  <a:lnTo>
                    <a:pt x="20383" y="19907"/>
                  </a:lnTo>
                  <a:cubicBezTo>
                    <a:pt x="33147" y="13906"/>
                    <a:pt x="46101" y="9049"/>
                    <a:pt x="59245" y="5429"/>
                  </a:cubicBezTo>
                  <a:cubicBezTo>
                    <a:pt x="72294" y="1810"/>
                    <a:pt x="87344" y="0"/>
                    <a:pt x="104299" y="0"/>
                  </a:cubicBezTo>
                  <a:cubicBezTo>
                    <a:pt x="137064" y="0"/>
                    <a:pt x="161925" y="8477"/>
                    <a:pt x="178879" y="25432"/>
                  </a:cubicBezTo>
                  <a:cubicBezTo>
                    <a:pt x="194976"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0" y="239173"/>
                  </a:cubicBezTo>
                  <a:close/>
                  <a:moveTo>
                    <a:pt x="93154" y="211169"/>
                  </a:moveTo>
                  <a:cubicBezTo>
                    <a:pt x="103822" y="211169"/>
                    <a:pt x="113729" y="209740"/>
                    <a:pt x="122967" y="206788"/>
                  </a:cubicBezTo>
                  <a:cubicBezTo>
                    <a:pt x="132207"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4" y="119348"/>
                    <a:pt x="116871"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54" name="Freeform: Shape 53">
              <a:extLst>
                <a:ext uri="{FF2B5EF4-FFF2-40B4-BE49-F238E27FC236}">
                  <a16:creationId xmlns:a16="http://schemas.microsoft.com/office/drawing/2014/main" id="{A869E1D6-45DA-E358-8B78-AF75FA570D51}"/>
                </a:ext>
              </a:extLst>
            </p:cNvPr>
            <p:cNvSpPr/>
            <p:nvPr/>
          </p:nvSpPr>
          <p:spPr>
            <a:xfrm>
              <a:off x="6651291" y="924268"/>
              <a:ext cx="44680" cy="60195"/>
            </a:xfrm>
            <a:custGeom>
              <a:avLst/>
              <a:gdLst>
                <a:gd name="connsiteX0" fmla="*/ 95535 w 177736"/>
                <a:gd name="connsiteY0" fmla="*/ 239268 h 239458"/>
                <a:gd name="connsiteX1" fmla="*/ 45053 w 177736"/>
                <a:gd name="connsiteY1" fmla="*/ 230124 h 239458"/>
                <a:gd name="connsiteX2" fmla="*/ 0 w 177736"/>
                <a:gd name="connsiteY2" fmla="*/ 205359 h 239458"/>
                <a:gd name="connsiteX3" fmla="*/ 17430 w 177736"/>
                <a:gd name="connsiteY3" fmla="*/ 180785 h 239458"/>
                <a:gd name="connsiteX4" fmla="*/ 56483 w 177736"/>
                <a:gd name="connsiteY4" fmla="*/ 202692 h 239458"/>
                <a:gd name="connsiteX5" fmla="*/ 97345 w 177736"/>
                <a:gd name="connsiteY5" fmla="*/ 210217 h 239458"/>
                <a:gd name="connsiteX6" fmla="*/ 131730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825 w 177736"/>
                <a:gd name="connsiteY10" fmla="*/ 147066 h 239458"/>
                <a:gd name="connsiteX11" fmla="*/ 109251 w 177736"/>
                <a:gd name="connsiteY11" fmla="*/ 138779 h 239458"/>
                <a:gd name="connsiteX12" fmla="*/ 87630 w 177736"/>
                <a:gd name="connsiteY12" fmla="*/ 132112 h 239458"/>
                <a:gd name="connsiteX13" fmla="*/ 60579 w 177736"/>
                <a:gd name="connsiteY13" fmla="*/ 123444 h 239458"/>
                <a:gd name="connsiteX14" fmla="*/ 36004 w 177736"/>
                <a:gd name="connsiteY14" fmla="*/ 111633 h 239458"/>
                <a:gd name="connsiteX15" fmla="*/ 18192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59 w 177736"/>
                <a:gd name="connsiteY22" fmla="*/ 6953 h 239458"/>
                <a:gd name="connsiteX23" fmla="*/ 172878 w 177736"/>
                <a:gd name="connsiteY23" fmla="*/ 25527 h 239458"/>
                <a:gd name="connsiteX24" fmla="*/ 157257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3 w 177736"/>
                <a:gd name="connsiteY32" fmla="*/ 96203 h 239458"/>
                <a:gd name="connsiteX33" fmla="*/ 103631 w 177736"/>
                <a:gd name="connsiteY33" fmla="*/ 103346 h 239458"/>
                <a:gd name="connsiteX34" fmla="*/ 130207 w 177736"/>
                <a:gd name="connsiteY34" fmla="*/ 112300 h 239458"/>
                <a:gd name="connsiteX35" fmla="*/ 154114 w 177736"/>
                <a:gd name="connsiteY35" fmla="*/ 124778 h 239458"/>
                <a:gd name="connsiteX36" fmla="*/ 171259 w 177736"/>
                <a:gd name="connsiteY36" fmla="*/ 143066 h 239458"/>
                <a:gd name="connsiteX37" fmla="*/ 177736 w 177736"/>
                <a:gd name="connsiteY37" fmla="*/ 169450 h 239458"/>
                <a:gd name="connsiteX38" fmla="*/ 177736 w 177736"/>
                <a:gd name="connsiteY38" fmla="*/ 170307 h 239458"/>
                <a:gd name="connsiteX39" fmla="*/ 171259 w 177736"/>
                <a:gd name="connsiteY39" fmla="*/ 199549 h 239458"/>
                <a:gd name="connsiteX40" fmla="*/ 153828 w 177736"/>
                <a:gd name="connsiteY40" fmla="*/ 221171 h 239458"/>
                <a:gd name="connsiteX41" fmla="*/ 127921 w 177736"/>
                <a:gd name="connsiteY41" fmla="*/ 234791 h 239458"/>
                <a:gd name="connsiteX42" fmla="*/ 95535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5" y="239268"/>
                  </a:moveTo>
                  <a:cubicBezTo>
                    <a:pt x="78867" y="239268"/>
                    <a:pt x="62007" y="236220"/>
                    <a:pt x="45053" y="230124"/>
                  </a:cubicBezTo>
                  <a:cubicBezTo>
                    <a:pt x="28098" y="224028"/>
                    <a:pt x="13049" y="215741"/>
                    <a:pt x="0" y="205359"/>
                  </a:cubicBezTo>
                  <a:lnTo>
                    <a:pt x="17430" y="180785"/>
                  </a:lnTo>
                  <a:cubicBezTo>
                    <a:pt x="29908" y="190310"/>
                    <a:pt x="42957" y="197644"/>
                    <a:pt x="56483" y="202692"/>
                  </a:cubicBezTo>
                  <a:cubicBezTo>
                    <a:pt x="70009" y="207740"/>
                    <a:pt x="83629" y="210217"/>
                    <a:pt x="97345" y="210217"/>
                  </a:cubicBezTo>
                  <a:cubicBezTo>
                    <a:pt x="111061" y="210217"/>
                    <a:pt x="122777" y="206978"/>
                    <a:pt x="131730" y="200406"/>
                  </a:cubicBezTo>
                  <a:cubicBezTo>
                    <a:pt x="140684" y="193834"/>
                    <a:pt x="145161" y="184976"/>
                    <a:pt x="145161" y="173641"/>
                  </a:cubicBezTo>
                  <a:lnTo>
                    <a:pt x="145161" y="172784"/>
                  </a:lnTo>
                  <a:cubicBezTo>
                    <a:pt x="145161" y="167164"/>
                    <a:pt x="143541" y="162211"/>
                    <a:pt x="140494" y="158020"/>
                  </a:cubicBezTo>
                  <a:cubicBezTo>
                    <a:pt x="137350" y="153829"/>
                    <a:pt x="133159" y="150209"/>
                    <a:pt x="127825" y="147066"/>
                  </a:cubicBezTo>
                  <a:cubicBezTo>
                    <a:pt x="122491" y="143923"/>
                    <a:pt x="116300" y="141161"/>
                    <a:pt x="109251" y="138779"/>
                  </a:cubicBezTo>
                  <a:cubicBezTo>
                    <a:pt x="102298" y="136398"/>
                    <a:pt x="95059" y="134207"/>
                    <a:pt x="87630" y="132112"/>
                  </a:cubicBezTo>
                  <a:cubicBezTo>
                    <a:pt x="78676" y="129445"/>
                    <a:pt x="69722" y="126492"/>
                    <a:pt x="60579" y="123444"/>
                  </a:cubicBezTo>
                  <a:cubicBezTo>
                    <a:pt x="51530" y="120301"/>
                    <a:pt x="43339" y="116396"/>
                    <a:pt x="36004" y="111633"/>
                  </a:cubicBezTo>
                  <a:cubicBezTo>
                    <a:pt x="28670" y="106871"/>
                    <a:pt x="22764" y="100870"/>
                    <a:pt x="18192" y="93726"/>
                  </a:cubicBezTo>
                  <a:cubicBezTo>
                    <a:pt x="13525" y="86582"/>
                    <a:pt x="11239" y="77629"/>
                    <a:pt x="11239" y="66961"/>
                  </a:cubicBezTo>
                  <a:lnTo>
                    <a:pt x="11239" y="66008"/>
                  </a:lnTo>
                  <a:cubicBezTo>
                    <a:pt x="11239" y="56198"/>
                    <a:pt x="13144" y="47149"/>
                    <a:pt x="17050" y="39053"/>
                  </a:cubicBezTo>
                  <a:cubicBezTo>
                    <a:pt x="20955" y="30861"/>
                    <a:pt x="26384" y="23908"/>
                    <a:pt x="33338" y="18098"/>
                  </a:cubicBezTo>
                  <a:cubicBezTo>
                    <a:pt x="40291" y="12287"/>
                    <a:pt x="48673" y="7811"/>
                    <a:pt x="58388" y="4667"/>
                  </a:cubicBezTo>
                  <a:cubicBezTo>
                    <a:pt x="68008" y="1524"/>
                    <a:pt x="78581" y="0"/>
                    <a:pt x="89821" y="0"/>
                  </a:cubicBezTo>
                  <a:cubicBezTo>
                    <a:pt x="104108" y="0"/>
                    <a:pt x="118586" y="2286"/>
                    <a:pt x="133159" y="6953"/>
                  </a:cubicBezTo>
                  <a:cubicBezTo>
                    <a:pt x="147732" y="11621"/>
                    <a:pt x="160972" y="17717"/>
                    <a:pt x="172878" y="25527"/>
                  </a:cubicBezTo>
                  <a:lnTo>
                    <a:pt x="157257" y="51435"/>
                  </a:lnTo>
                  <a:cubicBezTo>
                    <a:pt x="146494" y="44577"/>
                    <a:pt x="135255" y="39148"/>
                    <a:pt x="123539" y="35147"/>
                  </a:cubicBezTo>
                  <a:cubicBezTo>
                    <a:pt x="111823" y="31147"/>
                    <a:pt x="100203" y="29146"/>
                    <a:pt x="88963" y="29146"/>
                  </a:cubicBezTo>
                  <a:cubicBezTo>
                    <a:pt x="75247" y="29146"/>
                    <a:pt x="64389" y="32385"/>
                    <a:pt x="56388" y="38767"/>
                  </a:cubicBezTo>
                  <a:cubicBezTo>
                    <a:pt x="48291" y="45149"/>
                    <a:pt x="44291" y="53150"/>
                    <a:pt x="44291" y="62675"/>
                  </a:cubicBezTo>
                  <a:lnTo>
                    <a:pt x="44291" y="63627"/>
                  </a:lnTo>
                  <a:cubicBezTo>
                    <a:pt x="44291" y="68961"/>
                    <a:pt x="45910" y="73628"/>
                    <a:pt x="49244" y="77724"/>
                  </a:cubicBezTo>
                  <a:cubicBezTo>
                    <a:pt x="52482" y="81725"/>
                    <a:pt x="56864" y="85249"/>
                    <a:pt x="62389" y="88202"/>
                  </a:cubicBezTo>
                  <a:cubicBezTo>
                    <a:pt x="67913" y="91154"/>
                    <a:pt x="74200" y="93821"/>
                    <a:pt x="81343" y="96203"/>
                  </a:cubicBezTo>
                  <a:cubicBezTo>
                    <a:pt x="88487" y="98584"/>
                    <a:pt x="95916" y="100965"/>
                    <a:pt x="103631" y="103346"/>
                  </a:cubicBezTo>
                  <a:cubicBezTo>
                    <a:pt x="112585" y="106013"/>
                    <a:pt x="121444" y="108966"/>
                    <a:pt x="130207" y="112300"/>
                  </a:cubicBezTo>
                  <a:cubicBezTo>
                    <a:pt x="138969" y="115538"/>
                    <a:pt x="146971" y="119729"/>
                    <a:pt x="154114" y="124778"/>
                  </a:cubicBezTo>
                  <a:cubicBezTo>
                    <a:pt x="161258" y="129826"/>
                    <a:pt x="166973" y="135922"/>
                    <a:pt x="171259" y="143066"/>
                  </a:cubicBezTo>
                  <a:cubicBezTo>
                    <a:pt x="175546" y="150209"/>
                    <a:pt x="177736" y="158972"/>
                    <a:pt x="177736" y="169450"/>
                  </a:cubicBezTo>
                  <a:lnTo>
                    <a:pt x="177736" y="170307"/>
                  </a:lnTo>
                  <a:cubicBezTo>
                    <a:pt x="177736" y="181356"/>
                    <a:pt x="175546" y="191071"/>
                    <a:pt x="171259" y="199549"/>
                  </a:cubicBezTo>
                  <a:cubicBezTo>
                    <a:pt x="166973" y="208026"/>
                    <a:pt x="161163" y="215265"/>
                    <a:pt x="153828" y="221171"/>
                  </a:cubicBezTo>
                  <a:cubicBezTo>
                    <a:pt x="146589" y="227171"/>
                    <a:pt x="137922" y="231648"/>
                    <a:pt x="127921" y="234791"/>
                  </a:cubicBezTo>
                  <a:cubicBezTo>
                    <a:pt x="117919" y="237935"/>
                    <a:pt x="107156" y="239459"/>
                    <a:pt x="95535" y="239459"/>
                  </a:cubicBezTo>
                  <a:close/>
                </a:path>
              </a:pathLst>
            </a:custGeom>
            <a:solidFill>
              <a:srgbClr val="44505E"/>
            </a:solidFill>
            <a:ln w="9525" cap="flat">
              <a:noFill/>
              <a:prstDash val="solid"/>
              <a:miter/>
            </a:ln>
          </p:spPr>
          <p:txBody>
            <a:bodyPr rtlCol="0" anchor="ctr"/>
            <a:lstStyle/>
            <a:p>
              <a:endParaRPr lang="pt-BR" noProof="0"/>
            </a:p>
          </p:txBody>
        </p:sp>
        <p:sp>
          <p:nvSpPr>
            <p:cNvPr id="55" name="Freeform: Shape 54">
              <a:extLst>
                <a:ext uri="{FF2B5EF4-FFF2-40B4-BE49-F238E27FC236}">
                  <a16:creationId xmlns:a16="http://schemas.microsoft.com/office/drawing/2014/main" id="{ED20BA71-ECF1-D7B5-5E4C-38F9D8DDFB34}"/>
                </a:ext>
              </a:extLst>
            </p:cNvPr>
            <p:cNvSpPr/>
            <p:nvPr/>
          </p:nvSpPr>
          <p:spPr>
            <a:xfrm>
              <a:off x="5250320" y="846952"/>
              <a:ext cx="1459036" cy="16186"/>
            </a:xfrm>
            <a:custGeom>
              <a:avLst/>
              <a:gdLst>
                <a:gd name="connsiteX0" fmla="*/ 0 w 5804058"/>
                <a:gd name="connsiteY0" fmla="*/ 0 h 64388"/>
                <a:gd name="connsiteX1" fmla="*/ 5804059 w 5804058"/>
                <a:gd name="connsiteY1" fmla="*/ 0 h 64388"/>
                <a:gd name="connsiteX2" fmla="*/ 5804059 w 5804058"/>
                <a:gd name="connsiteY2" fmla="*/ 64389 h 64388"/>
                <a:gd name="connsiteX3" fmla="*/ 0 w 5804058"/>
                <a:gd name="connsiteY3" fmla="*/ 64389 h 64388"/>
              </a:gdLst>
              <a:ahLst/>
              <a:cxnLst>
                <a:cxn ang="0">
                  <a:pos x="connsiteX0" y="connsiteY0"/>
                </a:cxn>
                <a:cxn ang="0">
                  <a:pos x="connsiteX1" y="connsiteY1"/>
                </a:cxn>
                <a:cxn ang="0">
                  <a:pos x="connsiteX2" y="connsiteY2"/>
                </a:cxn>
                <a:cxn ang="0">
                  <a:pos x="connsiteX3" y="connsiteY3"/>
                </a:cxn>
              </a:cxnLst>
              <a:rect l="l" t="t" r="r" b="b"/>
              <a:pathLst>
                <a:path w="5804058" h="64388">
                  <a:moveTo>
                    <a:pt x="0" y="0"/>
                  </a:moveTo>
                  <a:lnTo>
                    <a:pt x="5804059" y="0"/>
                  </a:lnTo>
                  <a:lnTo>
                    <a:pt x="5804059" y="64389"/>
                  </a:lnTo>
                  <a:lnTo>
                    <a:pt x="0" y="64389"/>
                  </a:lnTo>
                  <a:close/>
                </a:path>
              </a:pathLst>
            </a:custGeom>
            <a:solidFill>
              <a:srgbClr val="44505E"/>
            </a:solidFill>
            <a:ln w="9525" cap="flat">
              <a:noFill/>
              <a:prstDash val="solid"/>
              <a:miter/>
            </a:ln>
          </p:spPr>
          <p:txBody>
            <a:bodyPr rtlCol="0" anchor="ctr"/>
            <a:lstStyle/>
            <a:p>
              <a:endParaRPr lang="pt-BR" noProof="0"/>
            </a:p>
          </p:txBody>
        </p:sp>
        <p:sp>
          <p:nvSpPr>
            <p:cNvPr id="56" name="Freeform: Shape 55">
              <a:extLst>
                <a:ext uri="{FF2B5EF4-FFF2-40B4-BE49-F238E27FC236}">
                  <a16:creationId xmlns:a16="http://schemas.microsoft.com/office/drawing/2014/main" id="{EF39BC9E-BE2D-06E2-128B-C0AF036E6E33}"/>
                </a:ext>
              </a:extLst>
            </p:cNvPr>
            <p:cNvSpPr/>
            <p:nvPr/>
          </p:nvSpPr>
          <p:spPr>
            <a:xfrm>
              <a:off x="6902633" y="268821"/>
              <a:ext cx="273418" cy="601046"/>
            </a:xfrm>
            <a:custGeom>
              <a:avLst/>
              <a:gdLst>
                <a:gd name="connsiteX0" fmla="*/ 0 w 1087659"/>
                <a:gd name="connsiteY0" fmla="*/ 210979 h 2390965"/>
                <a:gd name="connsiteX1" fmla="*/ 125063 w 1087659"/>
                <a:gd name="connsiteY1" fmla="*/ 103442 h 2390965"/>
                <a:gd name="connsiteX2" fmla="*/ 250031 w 1087659"/>
                <a:gd name="connsiteY2" fmla="*/ 210979 h 2390965"/>
                <a:gd name="connsiteX3" fmla="*/ 250031 w 1087659"/>
                <a:gd name="connsiteY3" fmla="*/ 1922717 h 2390965"/>
                <a:gd name="connsiteX4" fmla="*/ 249841 w 1087659"/>
                <a:gd name="connsiteY4" fmla="*/ 1922717 h 2390965"/>
                <a:gd name="connsiteX5" fmla="*/ 249841 w 1087659"/>
                <a:gd name="connsiteY5" fmla="*/ 1925955 h 2390965"/>
                <a:gd name="connsiteX6" fmla="*/ 333756 w 1087659"/>
                <a:gd name="connsiteY6" fmla="*/ 2100263 h 2390965"/>
                <a:gd name="connsiteX7" fmla="*/ 335566 w 1087659"/>
                <a:gd name="connsiteY7" fmla="*/ 2101787 h 2390965"/>
                <a:gd name="connsiteX8" fmla="*/ 336042 w 1087659"/>
                <a:gd name="connsiteY8" fmla="*/ 2102168 h 2390965"/>
                <a:gd name="connsiteX9" fmla="*/ 543877 w 1087659"/>
                <a:gd name="connsiteY9" fmla="*/ 2175891 h 2390965"/>
                <a:gd name="connsiteX10" fmla="*/ 749998 w 1087659"/>
                <a:gd name="connsiteY10" fmla="*/ 2103692 h 2390965"/>
                <a:gd name="connsiteX11" fmla="*/ 751713 w 1087659"/>
                <a:gd name="connsiteY11" fmla="*/ 2102168 h 2390965"/>
                <a:gd name="connsiteX12" fmla="*/ 752189 w 1087659"/>
                <a:gd name="connsiteY12" fmla="*/ 2101787 h 2390965"/>
                <a:gd name="connsiteX13" fmla="*/ 837819 w 1087659"/>
                <a:gd name="connsiteY13" fmla="*/ 1922812 h 2390965"/>
                <a:gd name="connsiteX14" fmla="*/ 837819 w 1087659"/>
                <a:gd name="connsiteY14" fmla="*/ 107537 h 2390965"/>
                <a:gd name="connsiteX15" fmla="*/ 962787 w 1087659"/>
                <a:gd name="connsiteY15" fmla="*/ 0 h 2390965"/>
                <a:gd name="connsiteX16" fmla="*/ 1087660 w 1087659"/>
                <a:gd name="connsiteY16" fmla="*/ 107537 h 2390965"/>
                <a:gd name="connsiteX17" fmla="*/ 1087660 w 1087659"/>
                <a:gd name="connsiteY17" fmla="*/ 1922621 h 2390965"/>
                <a:gd name="connsiteX18" fmla="*/ 928307 w 1087659"/>
                <a:gd name="connsiteY18" fmla="*/ 2253234 h 2390965"/>
                <a:gd name="connsiteX19" fmla="*/ 928116 w 1087659"/>
                <a:gd name="connsiteY19" fmla="*/ 2253424 h 2390965"/>
                <a:gd name="connsiteX20" fmla="*/ 927830 w 1087659"/>
                <a:gd name="connsiteY20" fmla="*/ 2253710 h 2390965"/>
                <a:gd name="connsiteX21" fmla="*/ 927354 w 1087659"/>
                <a:gd name="connsiteY21" fmla="*/ 2254187 h 2390965"/>
                <a:gd name="connsiteX22" fmla="*/ 543783 w 1087659"/>
                <a:gd name="connsiteY22" fmla="*/ 2390966 h 2390965"/>
                <a:gd name="connsiteX23" fmla="*/ 159734 w 1087659"/>
                <a:gd name="connsiteY23" fmla="*/ 2253710 h 2390965"/>
                <a:gd name="connsiteX24" fmla="*/ 159734 w 1087659"/>
                <a:gd name="connsiteY24" fmla="*/ 2253424 h 2390965"/>
                <a:gd name="connsiteX25" fmla="*/ 159353 w 1087659"/>
                <a:gd name="connsiteY25" fmla="*/ 2253234 h 2390965"/>
                <a:gd name="connsiteX26" fmla="*/ 158877 w 1087659"/>
                <a:gd name="connsiteY26" fmla="*/ 2252948 h 2390965"/>
                <a:gd name="connsiteX27" fmla="*/ 0 w 1087659"/>
                <a:gd name="connsiteY27" fmla="*/ 1922621 h 2390965"/>
                <a:gd name="connsiteX28" fmla="*/ 0 w 1087659"/>
                <a:gd name="connsiteY28" fmla="*/ 1922621 h 2390965"/>
                <a:gd name="connsiteX29" fmla="*/ 0 w 1087659"/>
                <a:gd name="connsiteY29" fmla="*/ 210979 h 239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87659" h="2390965">
                  <a:moveTo>
                    <a:pt x="0" y="210979"/>
                  </a:moveTo>
                  <a:cubicBezTo>
                    <a:pt x="0" y="151638"/>
                    <a:pt x="56007" y="103442"/>
                    <a:pt x="125063" y="103442"/>
                  </a:cubicBezTo>
                  <a:cubicBezTo>
                    <a:pt x="194120" y="103442"/>
                    <a:pt x="250031" y="151638"/>
                    <a:pt x="250031" y="210979"/>
                  </a:cubicBezTo>
                  <a:lnTo>
                    <a:pt x="250031" y="1922717"/>
                  </a:lnTo>
                  <a:lnTo>
                    <a:pt x="249841" y="1922717"/>
                  </a:lnTo>
                  <a:lnTo>
                    <a:pt x="249841" y="1925955"/>
                  </a:lnTo>
                  <a:cubicBezTo>
                    <a:pt x="250793" y="1994059"/>
                    <a:pt x="282797" y="2055495"/>
                    <a:pt x="333756" y="2100263"/>
                  </a:cubicBezTo>
                  <a:lnTo>
                    <a:pt x="335566" y="2101787"/>
                  </a:lnTo>
                  <a:lnTo>
                    <a:pt x="336042" y="2102168"/>
                  </a:lnTo>
                  <a:cubicBezTo>
                    <a:pt x="388906" y="2147697"/>
                    <a:pt x="462343" y="2175891"/>
                    <a:pt x="543877" y="2175891"/>
                  </a:cubicBezTo>
                  <a:cubicBezTo>
                    <a:pt x="625411" y="2175891"/>
                    <a:pt x="697420" y="2148364"/>
                    <a:pt x="749998" y="2103692"/>
                  </a:cubicBezTo>
                  <a:lnTo>
                    <a:pt x="751713" y="2102168"/>
                  </a:lnTo>
                  <a:lnTo>
                    <a:pt x="752189" y="2101787"/>
                  </a:lnTo>
                  <a:cubicBezTo>
                    <a:pt x="805053" y="2056352"/>
                    <a:pt x="837819" y="1993011"/>
                    <a:pt x="837819" y="1922812"/>
                  </a:cubicBezTo>
                  <a:lnTo>
                    <a:pt x="837819" y="107537"/>
                  </a:lnTo>
                  <a:cubicBezTo>
                    <a:pt x="837819" y="48196"/>
                    <a:pt x="893731" y="0"/>
                    <a:pt x="962787" y="0"/>
                  </a:cubicBezTo>
                  <a:cubicBezTo>
                    <a:pt x="1031843" y="0"/>
                    <a:pt x="1087660" y="48196"/>
                    <a:pt x="1087660" y="107537"/>
                  </a:cubicBezTo>
                  <a:lnTo>
                    <a:pt x="1087660" y="1922621"/>
                  </a:lnTo>
                  <a:cubicBezTo>
                    <a:pt x="1087660" y="2051399"/>
                    <a:pt x="1026795" y="2168366"/>
                    <a:pt x="928307" y="2253234"/>
                  </a:cubicBezTo>
                  <a:lnTo>
                    <a:pt x="928116" y="2253424"/>
                  </a:lnTo>
                  <a:lnTo>
                    <a:pt x="927830" y="2253710"/>
                  </a:lnTo>
                  <a:lnTo>
                    <a:pt x="927354" y="2254187"/>
                  </a:lnTo>
                  <a:cubicBezTo>
                    <a:pt x="828770" y="2338673"/>
                    <a:pt x="693134" y="2390966"/>
                    <a:pt x="543783" y="2390966"/>
                  </a:cubicBezTo>
                  <a:cubicBezTo>
                    <a:pt x="394430" y="2390966"/>
                    <a:pt x="258413" y="2338483"/>
                    <a:pt x="159734" y="2253710"/>
                  </a:cubicBezTo>
                  <a:lnTo>
                    <a:pt x="159734" y="2253424"/>
                  </a:lnTo>
                  <a:cubicBezTo>
                    <a:pt x="159734" y="2253424"/>
                    <a:pt x="159353" y="2253234"/>
                    <a:pt x="159353" y="2253234"/>
                  </a:cubicBezTo>
                  <a:lnTo>
                    <a:pt x="158877" y="2252948"/>
                  </a:lnTo>
                  <a:cubicBezTo>
                    <a:pt x="60770" y="2167985"/>
                    <a:pt x="0" y="2051304"/>
                    <a:pt x="0" y="1922621"/>
                  </a:cubicBezTo>
                  <a:lnTo>
                    <a:pt x="0" y="1922621"/>
                  </a:lnTo>
                  <a:lnTo>
                    <a:pt x="0" y="210979"/>
                  </a:lnTo>
                  <a:close/>
                </a:path>
              </a:pathLst>
            </a:custGeom>
            <a:solidFill>
              <a:srgbClr val="8FC640"/>
            </a:solidFill>
            <a:ln w="9525" cap="flat">
              <a:noFill/>
              <a:prstDash val="solid"/>
              <a:miter/>
            </a:ln>
          </p:spPr>
          <p:txBody>
            <a:bodyPr rtlCol="0" anchor="ctr"/>
            <a:lstStyle/>
            <a:p>
              <a:endParaRPr lang="pt-BR" noProof="0"/>
            </a:p>
          </p:txBody>
        </p:sp>
        <p:sp>
          <p:nvSpPr>
            <p:cNvPr id="57" name="Freeform: Shape 56">
              <a:extLst>
                <a:ext uri="{FF2B5EF4-FFF2-40B4-BE49-F238E27FC236}">
                  <a16:creationId xmlns:a16="http://schemas.microsoft.com/office/drawing/2014/main" id="{DFB24F75-C0BD-15A2-B62A-503B6AB25AF3}"/>
                </a:ext>
              </a:extLst>
            </p:cNvPr>
            <p:cNvSpPr/>
            <p:nvPr/>
          </p:nvSpPr>
          <p:spPr>
            <a:xfrm>
              <a:off x="7013590" y="213965"/>
              <a:ext cx="54018" cy="562280"/>
            </a:xfrm>
            <a:custGeom>
              <a:avLst/>
              <a:gdLst>
                <a:gd name="connsiteX0" fmla="*/ 0 w 214883"/>
                <a:gd name="connsiteY0" fmla="*/ 107537 h 2236755"/>
                <a:gd name="connsiteX1" fmla="*/ 107537 w 214883"/>
                <a:gd name="connsiteY1" fmla="*/ 0 h 2236755"/>
                <a:gd name="connsiteX2" fmla="*/ 214884 w 214883"/>
                <a:gd name="connsiteY2" fmla="*/ 107537 h 2236755"/>
                <a:gd name="connsiteX3" fmla="*/ 214884 w 214883"/>
                <a:gd name="connsiteY3" fmla="*/ 2129219 h 2236755"/>
                <a:gd name="connsiteX4" fmla="*/ 107537 w 214883"/>
                <a:gd name="connsiteY4" fmla="*/ 2236756 h 2236755"/>
                <a:gd name="connsiteX5" fmla="*/ 0 w 214883"/>
                <a:gd name="connsiteY5" fmla="*/ 2129219 h 2236755"/>
                <a:gd name="connsiteX6" fmla="*/ 0 w 214883"/>
                <a:gd name="connsiteY6" fmla="*/ 107537 h 223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 h="2236755">
                  <a:moveTo>
                    <a:pt x="0" y="107537"/>
                  </a:moveTo>
                  <a:cubicBezTo>
                    <a:pt x="0" y="48197"/>
                    <a:pt x="48101" y="0"/>
                    <a:pt x="107537" y="0"/>
                  </a:cubicBezTo>
                  <a:cubicBezTo>
                    <a:pt x="166973" y="0"/>
                    <a:pt x="214884" y="48197"/>
                    <a:pt x="214884" y="107537"/>
                  </a:cubicBezTo>
                  <a:lnTo>
                    <a:pt x="214884" y="2129219"/>
                  </a:lnTo>
                  <a:cubicBezTo>
                    <a:pt x="214884" y="2188559"/>
                    <a:pt x="166782" y="2236756"/>
                    <a:pt x="107537" y="2236756"/>
                  </a:cubicBezTo>
                  <a:cubicBezTo>
                    <a:pt x="48291" y="2236756"/>
                    <a:pt x="0" y="2188559"/>
                    <a:pt x="0" y="2129219"/>
                  </a:cubicBezTo>
                  <a:lnTo>
                    <a:pt x="0" y="107537"/>
                  </a:lnTo>
                  <a:close/>
                </a:path>
              </a:pathLst>
            </a:custGeom>
            <a:solidFill>
              <a:srgbClr val="3698B0"/>
            </a:solidFill>
            <a:ln w="9525" cap="flat">
              <a:noFill/>
              <a:prstDash val="solid"/>
              <a:miter/>
            </a:ln>
          </p:spPr>
          <p:txBody>
            <a:bodyPr rtlCol="0" anchor="ctr"/>
            <a:lstStyle/>
            <a:p>
              <a:endParaRPr lang="pt-BR" noProof="0"/>
            </a:p>
          </p:txBody>
        </p:sp>
        <p:sp>
          <p:nvSpPr>
            <p:cNvPr id="58" name="Freeform: Shape 57">
              <a:extLst>
                <a:ext uri="{FF2B5EF4-FFF2-40B4-BE49-F238E27FC236}">
                  <a16:creationId xmlns:a16="http://schemas.microsoft.com/office/drawing/2014/main" id="{6D490200-1EE4-C9BB-F504-755BC568C606}"/>
                </a:ext>
              </a:extLst>
            </p:cNvPr>
            <p:cNvSpPr/>
            <p:nvPr/>
          </p:nvSpPr>
          <p:spPr>
            <a:xfrm>
              <a:off x="6795770" y="332991"/>
              <a:ext cx="485994" cy="649437"/>
            </a:xfrm>
            <a:custGeom>
              <a:avLst/>
              <a:gdLst>
                <a:gd name="connsiteX0" fmla="*/ 1933290 w 1933289"/>
                <a:gd name="connsiteY0" fmla="*/ 138017 h 2583465"/>
                <a:gd name="connsiteX1" fmla="*/ 1933290 w 1933289"/>
                <a:gd name="connsiteY1" fmla="*/ 1734122 h 2583465"/>
                <a:gd name="connsiteX2" fmla="*/ 1796606 w 1933289"/>
                <a:gd name="connsiteY2" fmla="*/ 2229136 h 2583465"/>
                <a:gd name="connsiteX3" fmla="*/ 977742 w 1933289"/>
                <a:gd name="connsiteY3" fmla="*/ 2583466 h 2583465"/>
                <a:gd name="connsiteX4" fmla="*/ 955357 w 1933289"/>
                <a:gd name="connsiteY4" fmla="*/ 2583466 h 2583465"/>
                <a:gd name="connsiteX5" fmla="*/ 136589 w 1933289"/>
                <a:gd name="connsiteY5" fmla="*/ 2229136 h 2583465"/>
                <a:gd name="connsiteX6" fmla="*/ 0 w 1933289"/>
                <a:gd name="connsiteY6" fmla="*/ 1734122 h 2583465"/>
                <a:gd name="connsiteX7" fmla="*/ 0 w 1933289"/>
                <a:gd name="connsiteY7" fmla="*/ 794194 h 2583465"/>
                <a:gd name="connsiteX8" fmla="*/ 137827 w 1933289"/>
                <a:gd name="connsiteY8" fmla="*/ 656273 h 2583465"/>
                <a:gd name="connsiteX9" fmla="*/ 275463 w 1933289"/>
                <a:gd name="connsiteY9" fmla="*/ 794194 h 2583465"/>
                <a:gd name="connsiteX10" fmla="*/ 275463 w 1933289"/>
                <a:gd name="connsiteY10" fmla="*/ 1734122 h 2583465"/>
                <a:gd name="connsiteX11" fmla="*/ 354235 w 1933289"/>
                <a:gd name="connsiteY11" fmla="*/ 2059686 h 2583465"/>
                <a:gd name="connsiteX12" fmla="*/ 958215 w 1933289"/>
                <a:gd name="connsiteY12" fmla="*/ 2307527 h 2583465"/>
                <a:gd name="connsiteX13" fmla="*/ 974789 w 1933289"/>
                <a:gd name="connsiteY13" fmla="*/ 2307527 h 2583465"/>
                <a:gd name="connsiteX14" fmla="*/ 1578959 w 1933289"/>
                <a:gd name="connsiteY14" fmla="*/ 2059686 h 2583465"/>
                <a:gd name="connsiteX15" fmla="*/ 1657636 w 1933289"/>
                <a:gd name="connsiteY15" fmla="*/ 1734122 h 2583465"/>
                <a:gd name="connsiteX16" fmla="*/ 1657636 w 1933289"/>
                <a:gd name="connsiteY16" fmla="*/ 138017 h 2583465"/>
                <a:gd name="connsiteX17" fmla="*/ 1795463 w 1933289"/>
                <a:gd name="connsiteY17" fmla="*/ 0 h 2583465"/>
                <a:gd name="connsiteX18" fmla="*/ 1933290 w 1933289"/>
                <a:gd name="connsiteY18" fmla="*/ 138017 h 25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3289" h="2583465">
                  <a:moveTo>
                    <a:pt x="1933290" y="138017"/>
                  </a:moveTo>
                  <a:lnTo>
                    <a:pt x="1933290" y="1734122"/>
                  </a:lnTo>
                  <a:cubicBezTo>
                    <a:pt x="1933290" y="1870996"/>
                    <a:pt x="1919002" y="2071211"/>
                    <a:pt x="1796606" y="2229136"/>
                  </a:cubicBezTo>
                  <a:cubicBezTo>
                    <a:pt x="1634395" y="2438305"/>
                    <a:pt x="1432084" y="2578703"/>
                    <a:pt x="977742" y="2583466"/>
                  </a:cubicBezTo>
                  <a:lnTo>
                    <a:pt x="955357" y="2583466"/>
                  </a:lnTo>
                  <a:cubicBezTo>
                    <a:pt x="501015" y="2578703"/>
                    <a:pt x="298704" y="2438400"/>
                    <a:pt x="136589" y="2229136"/>
                  </a:cubicBezTo>
                  <a:cubicBezTo>
                    <a:pt x="14192" y="2071211"/>
                    <a:pt x="0" y="1870996"/>
                    <a:pt x="0" y="1734122"/>
                  </a:cubicBezTo>
                  <a:lnTo>
                    <a:pt x="0" y="794194"/>
                  </a:lnTo>
                  <a:cubicBezTo>
                    <a:pt x="0" y="718185"/>
                    <a:pt x="61436" y="656273"/>
                    <a:pt x="137827" y="656273"/>
                  </a:cubicBezTo>
                  <a:cubicBezTo>
                    <a:pt x="214217" y="656273"/>
                    <a:pt x="275463" y="718185"/>
                    <a:pt x="275463" y="794194"/>
                  </a:cubicBezTo>
                  <a:lnTo>
                    <a:pt x="275463" y="1734122"/>
                  </a:lnTo>
                  <a:cubicBezTo>
                    <a:pt x="275463" y="1887188"/>
                    <a:pt x="300324" y="1990630"/>
                    <a:pt x="354235" y="2059686"/>
                  </a:cubicBezTo>
                  <a:cubicBezTo>
                    <a:pt x="476250" y="2217611"/>
                    <a:pt x="609791" y="2304479"/>
                    <a:pt x="958215" y="2307527"/>
                  </a:cubicBezTo>
                  <a:lnTo>
                    <a:pt x="974789" y="2307527"/>
                  </a:lnTo>
                  <a:cubicBezTo>
                    <a:pt x="1323499" y="2304479"/>
                    <a:pt x="1456563" y="2217611"/>
                    <a:pt x="1578959" y="2059686"/>
                  </a:cubicBezTo>
                  <a:cubicBezTo>
                    <a:pt x="1632490" y="1990630"/>
                    <a:pt x="1657636" y="1887093"/>
                    <a:pt x="1657636" y="1734122"/>
                  </a:cubicBezTo>
                  <a:lnTo>
                    <a:pt x="1657636" y="138017"/>
                  </a:lnTo>
                  <a:cubicBezTo>
                    <a:pt x="1657636" y="61531"/>
                    <a:pt x="1719453" y="0"/>
                    <a:pt x="1795463" y="0"/>
                  </a:cubicBezTo>
                  <a:cubicBezTo>
                    <a:pt x="1871472" y="0"/>
                    <a:pt x="1933290" y="61531"/>
                    <a:pt x="1933290" y="138017"/>
                  </a:cubicBezTo>
                </a:path>
              </a:pathLst>
            </a:custGeom>
            <a:solidFill>
              <a:srgbClr val="49306E"/>
            </a:solidFill>
            <a:ln w="9525" cap="flat">
              <a:noFill/>
              <a:prstDash val="solid"/>
              <a:miter/>
            </a:ln>
          </p:spPr>
          <p:txBody>
            <a:bodyPr rtlCol="0" anchor="ctr"/>
            <a:lstStyle/>
            <a:p>
              <a:endParaRPr lang="pt-BR" noProof="0"/>
            </a:p>
          </p:txBody>
        </p:sp>
      </p:grpSp>
      <p:sp>
        <p:nvSpPr>
          <p:cNvPr id="5" name="Rectangle 3">
            <a:extLst>
              <a:ext uri="{FF2B5EF4-FFF2-40B4-BE49-F238E27FC236}">
                <a16:creationId xmlns:a16="http://schemas.microsoft.com/office/drawing/2014/main" id="{BC32ED71-96E9-A0CD-F190-3BE23B885E58}"/>
              </a:ext>
            </a:extLst>
          </p:cNvPr>
          <p:cNvSpPr>
            <a:spLocks noChangeArrowheads="1"/>
          </p:cNvSpPr>
          <p:nvPr/>
        </p:nvSpPr>
        <p:spPr bwMode="auto">
          <a:xfrm>
            <a:off x="428153" y="692497"/>
            <a:ext cx="264816" cy="2862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p:txBody>
      </p:sp>
      <p:sp>
        <p:nvSpPr>
          <p:cNvPr id="8" name="CaixaDeTexto 7">
            <a:extLst>
              <a:ext uri="{FF2B5EF4-FFF2-40B4-BE49-F238E27FC236}">
                <a16:creationId xmlns:a16="http://schemas.microsoft.com/office/drawing/2014/main" id="{AFDD9CC5-0DFB-6437-7929-9A793F618DE7}"/>
              </a:ext>
            </a:extLst>
          </p:cNvPr>
          <p:cNvSpPr txBox="1"/>
          <p:nvPr/>
        </p:nvSpPr>
        <p:spPr>
          <a:xfrm>
            <a:off x="5375715" y="1953667"/>
            <a:ext cx="4049138" cy="523220"/>
          </a:xfrm>
          <a:prstGeom prst="rect">
            <a:avLst/>
          </a:prstGeom>
          <a:noFill/>
        </p:spPr>
        <p:txBody>
          <a:bodyPr wrap="square" rtlCol="0">
            <a:spAutoFit/>
          </a:bodyPr>
          <a:lstStyle/>
          <a:p>
            <a:r>
              <a:rPr lang="pt-BR" sz="2800" b="1" noProof="0">
                <a:solidFill>
                  <a:schemeClr val="bg1"/>
                </a:solidFill>
              </a:rPr>
              <a:t>Envelope 3</a:t>
            </a:r>
          </a:p>
        </p:txBody>
      </p:sp>
    </p:spTree>
    <p:extLst>
      <p:ext uri="{BB962C8B-B14F-4D97-AF65-F5344CB8AC3E}">
        <p14:creationId xmlns:p14="http://schemas.microsoft.com/office/powerpoint/2010/main" val="351890838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B1C0A2-1E1B-1532-9E69-F41AE0EAAA11}"/>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63CF4E0C-0B00-65DD-6D72-5096ABCE46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8" progId="TCLayout.ActiveDocument.1">
                  <p:embed/>
                </p:oleObj>
              </mc:Choice>
              <mc:Fallback>
                <p:oleObj name="think-cell Slide" r:id="rId4" imgW="306" imgH="308" progId="TCLayout.ActiveDocument.1">
                  <p:embed/>
                  <p:pic>
                    <p:nvPicPr>
                      <p:cNvPr id="12" name="think-cell data - do not delete" hidden="1">
                        <a:extLst>
                          <a:ext uri="{FF2B5EF4-FFF2-40B4-BE49-F238E27FC236}">
                            <a16:creationId xmlns:a16="http://schemas.microsoft.com/office/drawing/2014/main" id="{63CF4E0C-0B00-65DD-6D72-5096ABCE46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3" name="Group 12">
            <a:extLst>
              <a:ext uri="{FF2B5EF4-FFF2-40B4-BE49-F238E27FC236}">
                <a16:creationId xmlns:a16="http://schemas.microsoft.com/office/drawing/2014/main" id="{EFCE059F-BE53-FFE6-B8E4-3F1DDDC9E6C4}"/>
              </a:ext>
            </a:extLst>
          </p:cNvPr>
          <p:cNvGrpSpPr/>
          <p:nvPr/>
        </p:nvGrpSpPr>
        <p:grpSpPr>
          <a:xfrm>
            <a:off x="304800" y="249455"/>
            <a:ext cx="1193800" cy="462985"/>
            <a:chOff x="5245100" y="211355"/>
            <a:chExt cx="2036664" cy="789869"/>
          </a:xfrm>
        </p:grpSpPr>
        <p:sp>
          <p:nvSpPr>
            <p:cNvPr id="14" name="Freeform: Shape 13">
              <a:extLst>
                <a:ext uri="{FF2B5EF4-FFF2-40B4-BE49-F238E27FC236}">
                  <a16:creationId xmlns:a16="http://schemas.microsoft.com/office/drawing/2014/main" id="{D690BCDC-60EC-4FB9-762E-3F8F81BF69AD}"/>
                </a:ext>
              </a:extLst>
            </p:cNvPr>
            <p:cNvSpPr/>
            <p:nvPr/>
          </p:nvSpPr>
          <p:spPr>
            <a:xfrm>
              <a:off x="5245100" y="308520"/>
              <a:ext cx="247894" cy="322815"/>
            </a:xfrm>
            <a:custGeom>
              <a:avLst/>
              <a:gdLst>
                <a:gd name="connsiteX0" fmla="*/ 529590 w 986123"/>
                <a:gd name="connsiteY0" fmla="*/ 1284160 h 1284160"/>
                <a:gd name="connsiteX1" fmla="*/ 249650 w 986123"/>
                <a:gd name="connsiteY1" fmla="*/ 1235107 h 1284160"/>
                <a:gd name="connsiteX2" fmla="*/ 0 w 986123"/>
                <a:gd name="connsiteY2" fmla="*/ 1084421 h 1284160"/>
                <a:gd name="connsiteX3" fmla="*/ 162306 w 986123"/>
                <a:gd name="connsiteY3" fmla="*/ 890016 h 1284160"/>
                <a:gd name="connsiteX4" fmla="*/ 337947 w 986123"/>
                <a:gd name="connsiteY4" fmla="*/ 1000601 h 1284160"/>
                <a:gd name="connsiteX5" fmla="*/ 535019 w 986123"/>
                <a:gd name="connsiteY5" fmla="*/ 1041654 h 1284160"/>
                <a:gd name="connsiteX6" fmla="*/ 667893 w 986123"/>
                <a:gd name="connsiteY6" fmla="*/ 1010412 h 1284160"/>
                <a:gd name="connsiteX7" fmla="*/ 715137 w 986123"/>
                <a:gd name="connsiteY7" fmla="*/ 923925 h 1284160"/>
                <a:gd name="connsiteX8" fmla="*/ 715137 w 986123"/>
                <a:gd name="connsiteY8" fmla="*/ 920305 h 1284160"/>
                <a:gd name="connsiteX9" fmla="*/ 705326 w 986123"/>
                <a:gd name="connsiteY9" fmla="*/ 873062 h 1284160"/>
                <a:gd name="connsiteX10" fmla="*/ 667798 w 986123"/>
                <a:gd name="connsiteY10" fmla="*/ 834676 h 1284160"/>
                <a:gd name="connsiteX11" fmla="*/ 590931 w 986123"/>
                <a:gd name="connsiteY11" fmla="*/ 798957 h 1284160"/>
                <a:gd name="connsiteX12" fmla="*/ 463106 w 986123"/>
                <a:gd name="connsiteY12" fmla="*/ 761524 h 1284160"/>
                <a:gd name="connsiteX13" fmla="*/ 291465 w 986123"/>
                <a:gd name="connsiteY13" fmla="*/ 709803 h 1284160"/>
                <a:gd name="connsiteX14" fmla="*/ 160973 w 986123"/>
                <a:gd name="connsiteY14" fmla="*/ 639318 h 1284160"/>
                <a:gd name="connsiteX15" fmla="*/ 77819 w 986123"/>
                <a:gd name="connsiteY15" fmla="*/ 535019 h 1284160"/>
                <a:gd name="connsiteX16" fmla="*/ 48292 w 986123"/>
                <a:gd name="connsiteY16" fmla="*/ 379857 h 1284160"/>
                <a:gd name="connsiteX17" fmla="*/ 48292 w 986123"/>
                <a:gd name="connsiteY17" fmla="*/ 376238 h 1284160"/>
                <a:gd name="connsiteX18" fmla="*/ 80201 w 986123"/>
                <a:gd name="connsiteY18" fmla="*/ 222028 h 1284160"/>
                <a:gd name="connsiteX19" fmla="*/ 169640 w 986123"/>
                <a:gd name="connsiteY19" fmla="*/ 103441 h 1284160"/>
                <a:gd name="connsiteX20" fmla="*/ 307181 w 986123"/>
                <a:gd name="connsiteY20" fmla="*/ 26765 h 1284160"/>
                <a:gd name="connsiteX21" fmla="*/ 483394 w 986123"/>
                <a:gd name="connsiteY21" fmla="*/ 0 h 1284160"/>
                <a:gd name="connsiteX22" fmla="*/ 735711 w 986123"/>
                <a:gd name="connsiteY22" fmla="*/ 41053 h 1284160"/>
                <a:gd name="connsiteX23" fmla="*/ 946976 w 986123"/>
                <a:gd name="connsiteY23" fmla="*/ 158687 h 1284160"/>
                <a:gd name="connsiteX24" fmla="*/ 804291 w 986123"/>
                <a:gd name="connsiteY24" fmla="*/ 365569 h 1284160"/>
                <a:gd name="connsiteX25" fmla="*/ 640271 w 986123"/>
                <a:gd name="connsiteY25" fmla="*/ 275558 h 1284160"/>
                <a:gd name="connsiteX26" fmla="*/ 479774 w 986123"/>
                <a:gd name="connsiteY26" fmla="*/ 242602 h 1284160"/>
                <a:gd name="connsiteX27" fmla="*/ 359378 w 986123"/>
                <a:gd name="connsiteY27" fmla="*/ 273844 h 1284160"/>
                <a:gd name="connsiteX28" fmla="*/ 319278 w 986123"/>
                <a:gd name="connsiteY28" fmla="*/ 351377 h 1284160"/>
                <a:gd name="connsiteX29" fmla="*/ 319278 w 986123"/>
                <a:gd name="connsiteY29" fmla="*/ 354997 h 1284160"/>
                <a:gd name="connsiteX30" fmla="*/ 330899 w 986123"/>
                <a:gd name="connsiteY30" fmla="*/ 407575 h 1284160"/>
                <a:gd name="connsiteX31" fmla="*/ 372904 w 986123"/>
                <a:gd name="connsiteY31" fmla="*/ 447675 h 1284160"/>
                <a:gd name="connsiteX32" fmla="*/ 456057 w 986123"/>
                <a:gd name="connsiteY32" fmla="*/ 481489 h 1284160"/>
                <a:gd name="connsiteX33" fmla="*/ 589217 w 986123"/>
                <a:gd name="connsiteY33" fmla="*/ 518922 h 1284160"/>
                <a:gd name="connsiteX34" fmla="*/ 758190 w 986123"/>
                <a:gd name="connsiteY34" fmla="*/ 575120 h 1284160"/>
                <a:gd name="connsiteX35" fmla="*/ 883349 w 986123"/>
                <a:gd name="connsiteY35" fmla="*/ 649986 h 1284160"/>
                <a:gd name="connsiteX36" fmla="*/ 960215 w 986123"/>
                <a:gd name="connsiteY36" fmla="*/ 752570 h 1284160"/>
                <a:gd name="connsiteX37" fmla="*/ 986123 w 986123"/>
                <a:gd name="connsiteY37" fmla="*/ 893445 h 1284160"/>
                <a:gd name="connsiteX38" fmla="*/ 986123 w 986123"/>
                <a:gd name="connsiteY38" fmla="*/ 897064 h 1284160"/>
                <a:gd name="connsiteX39" fmla="*/ 952500 w 986123"/>
                <a:gd name="connsiteY39" fmla="*/ 1062038 h 1284160"/>
                <a:gd name="connsiteX40" fmla="*/ 858584 w 986123"/>
                <a:gd name="connsiteY40" fmla="*/ 1183291 h 1284160"/>
                <a:gd name="connsiteX41" fmla="*/ 714851 w 986123"/>
                <a:gd name="connsiteY41" fmla="*/ 1258157 h 1284160"/>
                <a:gd name="connsiteX42" fmla="*/ 529685 w 986123"/>
                <a:gd name="connsiteY42" fmla="*/ 1284065 h 128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6123" h="1284160">
                  <a:moveTo>
                    <a:pt x="529590" y="1284160"/>
                  </a:moveTo>
                  <a:cubicBezTo>
                    <a:pt x="434435" y="1284160"/>
                    <a:pt x="341186" y="1267777"/>
                    <a:pt x="249650" y="1235107"/>
                  </a:cubicBezTo>
                  <a:cubicBezTo>
                    <a:pt x="158115" y="1202436"/>
                    <a:pt x="74867" y="1152239"/>
                    <a:pt x="0" y="1084421"/>
                  </a:cubicBezTo>
                  <a:lnTo>
                    <a:pt x="162306" y="890016"/>
                  </a:lnTo>
                  <a:cubicBezTo>
                    <a:pt x="219361" y="936403"/>
                    <a:pt x="277844" y="973264"/>
                    <a:pt x="337947" y="1000601"/>
                  </a:cubicBezTo>
                  <a:cubicBezTo>
                    <a:pt x="397955" y="1027938"/>
                    <a:pt x="463677" y="1041654"/>
                    <a:pt x="535019" y="1041654"/>
                  </a:cubicBezTo>
                  <a:cubicBezTo>
                    <a:pt x="592074" y="1041654"/>
                    <a:pt x="636365" y="1031272"/>
                    <a:pt x="667893" y="1010412"/>
                  </a:cubicBezTo>
                  <a:cubicBezTo>
                    <a:pt x="699421" y="989647"/>
                    <a:pt x="715137" y="960787"/>
                    <a:pt x="715137" y="923925"/>
                  </a:cubicBezTo>
                  <a:lnTo>
                    <a:pt x="715137" y="920305"/>
                  </a:lnTo>
                  <a:cubicBezTo>
                    <a:pt x="715137" y="902494"/>
                    <a:pt x="711803" y="886777"/>
                    <a:pt x="705326" y="873062"/>
                  </a:cubicBezTo>
                  <a:cubicBezTo>
                    <a:pt x="698754" y="859441"/>
                    <a:pt x="686276" y="846582"/>
                    <a:pt x="667798" y="834676"/>
                  </a:cubicBezTo>
                  <a:cubicBezTo>
                    <a:pt x="649319" y="822770"/>
                    <a:pt x="623697" y="810863"/>
                    <a:pt x="590931" y="798957"/>
                  </a:cubicBezTo>
                  <a:cubicBezTo>
                    <a:pt x="558165" y="787146"/>
                    <a:pt x="515493" y="774573"/>
                    <a:pt x="463106" y="761524"/>
                  </a:cubicBezTo>
                  <a:cubicBezTo>
                    <a:pt x="399955" y="746093"/>
                    <a:pt x="342710" y="728853"/>
                    <a:pt x="291465" y="709803"/>
                  </a:cubicBezTo>
                  <a:cubicBezTo>
                    <a:pt x="240221" y="690753"/>
                    <a:pt x="196691" y="667322"/>
                    <a:pt x="160973" y="639318"/>
                  </a:cubicBezTo>
                  <a:cubicBezTo>
                    <a:pt x="125159" y="611410"/>
                    <a:pt x="97536" y="576644"/>
                    <a:pt x="77819" y="535019"/>
                  </a:cubicBezTo>
                  <a:cubicBezTo>
                    <a:pt x="58103" y="493395"/>
                    <a:pt x="48292" y="441674"/>
                    <a:pt x="48292" y="379857"/>
                  </a:cubicBezTo>
                  <a:lnTo>
                    <a:pt x="48292" y="376238"/>
                  </a:lnTo>
                  <a:cubicBezTo>
                    <a:pt x="48292" y="319183"/>
                    <a:pt x="58865" y="267748"/>
                    <a:pt x="80201" y="222028"/>
                  </a:cubicBezTo>
                  <a:cubicBezTo>
                    <a:pt x="101441" y="176308"/>
                    <a:pt x="131255" y="136779"/>
                    <a:pt x="169640" y="103441"/>
                  </a:cubicBezTo>
                  <a:cubicBezTo>
                    <a:pt x="208026" y="70199"/>
                    <a:pt x="253841" y="44577"/>
                    <a:pt x="307181" y="26765"/>
                  </a:cubicBezTo>
                  <a:cubicBezTo>
                    <a:pt x="360426" y="8953"/>
                    <a:pt x="419195" y="0"/>
                    <a:pt x="483394" y="0"/>
                  </a:cubicBezTo>
                  <a:cubicBezTo>
                    <a:pt x="574929" y="0"/>
                    <a:pt x="659035" y="13716"/>
                    <a:pt x="735711" y="41053"/>
                  </a:cubicBezTo>
                  <a:cubicBezTo>
                    <a:pt x="812387" y="68389"/>
                    <a:pt x="882777" y="107632"/>
                    <a:pt x="946976" y="158687"/>
                  </a:cubicBezTo>
                  <a:lnTo>
                    <a:pt x="804291" y="365569"/>
                  </a:lnTo>
                  <a:cubicBezTo>
                    <a:pt x="748379" y="327565"/>
                    <a:pt x="693706" y="297561"/>
                    <a:pt x="640271" y="275558"/>
                  </a:cubicBezTo>
                  <a:cubicBezTo>
                    <a:pt x="586740" y="253555"/>
                    <a:pt x="533305" y="242602"/>
                    <a:pt x="479774" y="242602"/>
                  </a:cubicBezTo>
                  <a:cubicBezTo>
                    <a:pt x="426244" y="242602"/>
                    <a:pt x="386144" y="252984"/>
                    <a:pt x="359378" y="273844"/>
                  </a:cubicBezTo>
                  <a:cubicBezTo>
                    <a:pt x="332613" y="294608"/>
                    <a:pt x="319278" y="320516"/>
                    <a:pt x="319278" y="351377"/>
                  </a:cubicBezTo>
                  <a:lnTo>
                    <a:pt x="319278" y="354997"/>
                  </a:lnTo>
                  <a:cubicBezTo>
                    <a:pt x="319278" y="375190"/>
                    <a:pt x="323183" y="392716"/>
                    <a:pt x="330899" y="407575"/>
                  </a:cubicBezTo>
                  <a:cubicBezTo>
                    <a:pt x="338614" y="422434"/>
                    <a:pt x="352616" y="435864"/>
                    <a:pt x="372904" y="447675"/>
                  </a:cubicBezTo>
                  <a:cubicBezTo>
                    <a:pt x="393192" y="459581"/>
                    <a:pt x="420910" y="470821"/>
                    <a:pt x="456057" y="481489"/>
                  </a:cubicBezTo>
                  <a:cubicBezTo>
                    <a:pt x="491204" y="492157"/>
                    <a:pt x="535591" y="504730"/>
                    <a:pt x="589217" y="518922"/>
                  </a:cubicBezTo>
                  <a:cubicBezTo>
                    <a:pt x="652367" y="535591"/>
                    <a:pt x="708660" y="554260"/>
                    <a:pt x="758190" y="575120"/>
                  </a:cubicBezTo>
                  <a:cubicBezTo>
                    <a:pt x="807625" y="595979"/>
                    <a:pt x="849344" y="620935"/>
                    <a:pt x="883349" y="649986"/>
                  </a:cubicBezTo>
                  <a:cubicBezTo>
                    <a:pt x="917353" y="679132"/>
                    <a:pt x="942975" y="713327"/>
                    <a:pt x="960215" y="752570"/>
                  </a:cubicBezTo>
                  <a:cubicBezTo>
                    <a:pt x="977456" y="791813"/>
                    <a:pt x="986123" y="838772"/>
                    <a:pt x="986123" y="893445"/>
                  </a:cubicBezTo>
                  <a:lnTo>
                    <a:pt x="986123" y="897064"/>
                  </a:lnTo>
                  <a:cubicBezTo>
                    <a:pt x="986123" y="958882"/>
                    <a:pt x="974884" y="1013841"/>
                    <a:pt x="952500" y="1062038"/>
                  </a:cubicBezTo>
                  <a:cubicBezTo>
                    <a:pt x="930021" y="1110139"/>
                    <a:pt x="898779" y="1150620"/>
                    <a:pt x="858584" y="1183291"/>
                  </a:cubicBezTo>
                  <a:cubicBezTo>
                    <a:pt x="818388" y="1216057"/>
                    <a:pt x="770477" y="1241012"/>
                    <a:pt x="714851" y="1258157"/>
                  </a:cubicBezTo>
                  <a:cubicBezTo>
                    <a:pt x="659130" y="1275398"/>
                    <a:pt x="597503" y="1284065"/>
                    <a:pt x="529685" y="1284065"/>
                  </a:cubicBezTo>
                  <a:close/>
                </a:path>
              </a:pathLst>
            </a:custGeom>
            <a:solidFill>
              <a:srgbClr val="44505E"/>
            </a:solidFill>
            <a:ln w="9525" cap="flat">
              <a:noFill/>
              <a:prstDash val="solid"/>
              <a:miter/>
            </a:ln>
          </p:spPr>
          <p:txBody>
            <a:bodyPr rtlCol="0" anchor="ctr"/>
            <a:lstStyle/>
            <a:p>
              <a:endParaRPr lang="pt-BR" noProof="0"/>
            </a:p>
          </p:txBody>
        </p:sp>
        <p:sp>
          <p:nvSpPr>
            <p:cNvPr id="17" name="Freeform: Shape 16">
              <a:extLst>
                <a:ext uri="{FF2B5EF4-FFF2-40B4-BE49-F238E27FC236}">
                  <a16:creationId xmlns:a16="http://schemas.microsoft.com/office/drawing/2014/main" id="{07D3F2BE-D2ED-AE0B-8BAD-E325EE12DC72}"/>
                </a:ext>
              </a:extLst>
            </p:cNvPr>
            <p:cNvSpPr/>
            <p:nvPr/>
          </p:nvSpPr>
          <p:spPr>
            <a:xfrm>
              <a:off x="5492084" y="310867"/>
              <a:ext cx="332584" cy="315991"/>
            </a:xfrm>
            <a:custGeom>
              <a:avLst/>
              <a:gdLst>
                <a:gd name="connsiteX0" fmla="*/ 534924 w 1323022"/>
                <a:gd name="connsiteY0" fmla="*/ 0 h 1257014"/>
                <a:gd name="connsiteX1" fmla="*/ 788099 w 1323022"/>
                <a:gd name="connsiteY1" fmla="*/ 0 h 1257014"/>
                <a:gd name="connsiteX2" fmla="*/ 1323023 w 1323022"/>
                <a:gd name="connsiteY2" fmla="*/ 1257014 h 1257014"/>
                <a:gd name="connsiteX3" fmla="*/ 1035939 w 1323022"/>
                <a:gd name="connsiteY3" fmla="*/ 1257014 h 1257014"/>
                <a:gd name="connsiteX4" fmla="*/ 921829 w 1323022"/>
                <a:gd name="connsiteY4" fmla="*/ 977075 h 1257014"/>
                <a:gd name="connsiteX5" fmla="*/ 394049 w 1323022"/>
                <a:gd name="connsiteY5" fmla="*/ 977075 h 1257014"/>
                <a:gd name="connsiteX6" fmla="*/ 279940 w 1323022"/>
                <a:gd name="connsiteY6" fmla="*/ 1257014 h 1257014"/>
                <a:gd name="connsiteX7" fmla="*/ 0 w 1323022"/>
                <a:gd name="connsiteY7" fmla="*/ 1257014 h 1257014"/>
                <a:gd name="connsiteX8" fmla="*/ 534924 w 1323022"/>
                <a:gd name="connsiteY8" fmla="*/ 0 h 1257014"/>
                <a:gd name="connsiteX9" fmla="*/ 823817 w 1323022"/>
                <a:gd name="connsiteY9" fmla="*/ 734568 h 1257014"/>
                <a:gd name="connsiteX10" fmla="*/ 657987 w 1323022"/>
                <a:gd name="connsiteY10" fmla="*/ 329851 h 1257014"/>
                <a:gd name="connsiteX11" fmla="*/ 492157 w 1323022"/>
                <a:gd name="connsiteY11" fmla="*/ 734568 h 1257014"/>
                <a:gd name="connsiteX12" fmla="*/ 823817 w 1323022"/>
                <a:gd name="connsiteY12" fmla="*/ 734568 h 125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022" h="1257014">
                  <a:moveTo>
                    <a:pt x="534924" y="0"/>
                  </a:moveTo>
                  <a:lnTo>
                    <a:pt x="788099" y="0"/>
                  </a:lnTo>
                  <a:lnTo>
                    <a:pt x="1323023" y="1257014"/>
                  </a:lnTo>
                  <a:lnTo>
                    <a:pt x="1035939" y="1257014"/>
                  </a:lnTo>
                  <a:lnTo>
                    <a:pt x="921829" y="977075"/>
                  </a:lnTo>
                  <a:lnTo>
                    <a:pt x="394049" y="977075"/>
                  </a:lnTo>
                  <a:lnTo>
                    <a:pt x="279940" y="1257014"/>
                  </a:lnTo>
                  <a:lnTo>
                    <a:pt x="0" y="1257014"/>
                  </a:lnTo>
                  <a:lnTo>
                    <a:pt x="534924" y="0"/>
                  </a:lnTo>
                  <a:close/>
                  <a:moveTo>
                    <a:pt x="823817" y="734568"/>
                  </a:moveTo>
                  <a:lnTo>
                    <a:pt x="657987" y="329851"/>
                  </a:lnTo>
                  <a:lnTo>
                    <a:pt x="492157" y="734568"/>
                  </a:lnTo>
                  <a:lnTo>
                    <a:pt x="823817" y="734568"/>
                  </a:lnTo>
                  <a:close/>
                </a:path>
              </a:pathLst>
            </a:custGeom>
            <a:solidFill>
              <a:srgbClr val="44505E"/>
            </a:solidFill>
            <a:ln w="9525" cap="flat">
              <a:noFill/>
              <a:prstDash val="solid"/>
              <a:miter/>
            </a:ln>
          </p:spPr>
          <p:txBody>
            <a:bodyPr rtlCol="0" anchor="ctr"/>
            <a:lstStyle/>
            <a:p>
              <a:endParaRPr lang="pt-BR" noProof="0"/>
            </a:p>
          </p:txBody>
        </p:sp>
        <p:sp>
          <p:nvSpPr>
            <p:cNvPr id="18" name="Freeform: Shape 17">
              <a:extLst>
                <a:ext uri="{FF2B5EF4-FFF2-40B4-BE49-F238E27FC236}">
                  <a16:creationId xmlns:a16="http://schemas.microsoft.com/office/drawing/2014/main" id="{E1F7216A-C1F5-9ABC-053C-FF5D00C06A0C}"/>
                </a:ext>
              </a:extLst>
            </p:cNvPr>
            <p:cNvSpPr/>
            <p:nvPr/>
          </p:nvSpPr>
          <p:spPr>
            <a:xfrm>
              <a:off x="5834078" y="211355"/>
              <a:ext cx="273442" cy="420435"/>
            </a:xfrm>
            <a:custGeom>
              <a:avLst/>
              <a:gdLst>
                <a:gd name="connsiteX0" fmla="*/ 540258 w 1087754"/>
                <a:gd name="connsiteY0" fmla="*/ 1672495 h 1672494"/>
                <a:gd name="connsiteX1" fmla="*/ 144399 w 1087754"/>
                <a:gd name="connsiteY1" fmla="*/ 1533430 h 1672494"/>
                <a:gd name="connsiteX2" fmla="*/ 0 w 1087754"/>
                <a:gd name="connsiteY2" fmla="*/ 1117949 h 1672494"/>
                <a:gd name="connsiteX3" fmla="*/ 0 w 1087754"/>
                <a:gd name="connsiteY3" fmla="*/ 404717 h 1672494"/>
                <a:gd name="connsiteX4" fmla="*/ 274606 w 1087754"/>
                <a:gd name="connsiteY4" fmla="*/ 404717 h 1672494"/>
                <a:gd name="connsiteX5" fmla="*/ 274606 w 1087754"/>
                <a:gd name="connsiteY5" fmla="*/ 1110806 h 1672494"/>
                <a:gd name="connsiteX6" fmla="*/ 345948 w 1087754"/>
                <a:gd name="connsiteY6" fmla="*/ 1341692 h 1672494"/>
                <a:gd name="connsiteX7" fmla="*/ 543877 w 1087754"/>
                <a:gd name="connsiteY7" fmla="*/ 1419225 h 1672494"/>
                <a:gd name="connsiteX8" fmla="*/ 741807 w 1087754"/>
                <a:gd name="connsiteY8" fmla="*/ 1344359 h 1672494"/>
                <a:gd name="connsiteX9" fmla="*/ 813149 w 1087754"/>
                <a:gd name="connsiteY9" fmla="*/ 1119664 h 1672494"/>
                <a:gd name="connsiteX10" fmla="*/ 813149 w 1087754"/>
                <a:gd name="connsiteY10" fmla="*/ 404717 h 1672494"/>
                <a:gd name="connsiteX11" fmla="*/ 1087755 w 1087754"/>
                <a:gd name="connsiteY11" fmla="*/ 404717 h 1672494"/>
                <a:gd name="connsiteX12" fmla="*/ 1087755 w 1087754"/>
                <a:gd name="connsiteY12" fmla="*/ 1108996 h 1672494"/>
                <a:gd name="connsiteX13" fmla="*/ 1049369 w 1087754"/>
                <a:gd name="connsiteY13" fmla="*/ 1356836 h 1672494"/>
                <a:gd name="connsiteX14" fmla="*/ 939737 w 1087754"/>
                <a:gd name="connsiteY14" fmla="*/ 1532477 h 1672494"/>
                <a:gd name="connsiteX15" fmla="*/ 766763 w 1087754"/>
                <a:gd name="connsiteY15" fmla="*/ 1637729 h 1672494"/>
                <a:gd name="connsiteX16" fmla="*/ 540353 w 1087754"/>
                <a:gd name="connsiteY16" fmla="*/ 1672495 h 1672494"/>
                <a:gd name="connsiteX17" fmla="*/ 622268 w 1087754"/>
                <a:gd name="connsiteY17" fmla="*/ 0 h 1672494"/>
                <a:gd name="connsiteX18" fmla="*/ 855821 w 1087754"/>
                <a:gd name="connsiteY18" fmla="*/ 101632 h 1672494"/>
                <a:gd name="connsiteX19" fmla="*/ 627602 w 1087754"/>
                <a:gd name="connsiteY19" fmla="*/ 315563 h 1672494"/>
                <a:gd name="connsiteX20" fmla="*/ 420719 w 1087754"/>
                <a:gd name="connsiteY20" fmla="*/ 315563 h 1672494"/>
                <a:gd name="connsiteX21" fmla="*/ 622268 w 1087754"/>
                <a:gd name="connsiteY21" fmla="*/ 0 h 16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754" h="1672494">
                  <a:moveTo>
                    <a:pt x="540258" y="1672495"/>
                  </a:moveTo>
                  <a:cubicBezTo>
                    <a:pt x="372618" y="1672495"/>
                    <a:pt x="240697" y="1626108"/>
                    <a:pt x="144399" y="1533430"/>
                  </a:cubicBezTo>
                  <a:cubicBezTo>
                    <a:pt x="48101" y="1440752"/>
                    <a:pt x="0" y="1302258"/>
                    <a:pt x="0" y="1117949"/>
                  </a:cubicBezTo>
                  <a:lnTo>
                    <a:pt x="0" y="404717"/>
                  </a:lnTo>
                  <a:lnTo>
                    <a:pt x="274606" y="404717"/>
                  </a:lnTo>
                  <a:lnTo>
                    <a:pt x="274606" y="1110806"/>
                  </a:lnTo>
                  <a:cubicBezTo>
                    <a:pt x="274606" y="1213009"/>
                    <a:pt x="298418" y="1289971"/>
                    <a:pt x="345948" y="1341692"/>
                  </a:cubicBezTo>
                  <a:cubicBezTo>
                    <a:pt x="393478" y="1393412"/>
                    <a:pt x="459486" y="1419225"/>
                    <a:pt x="543877" y="1419225"/>
                  </a:cubicBezTo>
                  <a:cubicBezTo>
                    <a:pt x="628269" y="1419225"/>
                    <a:pt x="694277" y="1394270"/>
                    <a:pt x="741807" y="1344359"/>
                  </a:cubicBezTo>
                  <a:cubicBezTo>
                    <a:pt x="789337" y="1294448"/>
                    <a:pt x="813149" y="1219581"/>
                    <a:pt x="813149" y="1119664"/>
                  </a:cubicBezTo>
                  <a:lnTo>
                    <a:pt x="813149" y="404717"/>
                  </a:lnTo>
                  <a:lnTo>
                    <a:pt x="1087755" y="404717"/>
                  </a:lnTo>
                  <a:lnTo>
                    <a:pt x="1087755" y="1108996"/>
                  </a:lnTo>
                  <a:cubicBezTo>
                    <a:pt x="1087755" y="1204151"/>
                    <a:pt x="1074992" y="1286732"/>
                    <a:pt x="1049369" y="1356836"/>
                  </a:cubicBezTo>
                  <a:cubicBezTo>
                    <a:pt x="1023747" y="1426940"/>
                    <a:pt x="987266" y="1485519"/>
                    <a:pt x="939737" y="1532477"/>
                  </a:cubicBezTo>
                  <a:cubicBezTo>
                    <a:pt x="892207" y="1579436"/>
                    <a:pt x="834485" y="1614488"/>
                    <a:pt x="766763" y="1637729"/>
                  </a:cubicBezTo>
                  <a:cubicBezTo>
                    <a:pt x="699040" y="1660874"/>
                    <a:pt x="623507" y="1672495"/>
                    <a:pt x="540353" y="1672495"/>
                  </a:cubicBezTo>
                  <a:close/>
                  <a:moveTo>
                    <a:pt x="622268" y="0"/>
                  </a:moveTo>
                  <a:lnTo>
                    <a:pt x="855821" y="101632"/>
                  </a:lnTo>
                  <a:lnTo>
                    <a:pt x="627602" y="315563"/>
                  </a:lnTo>
                  <a:lnTo>
                    <a:pt x="420719" y="315563"/>
                  </a:lnTo>
                  <a:lnTo>
                    <a:pt x="622268" y="0"/>
                  </a:lnTo>
                  <a:close/>
                </a:path>
              </a:pathLst>
            </a:custGeom>
            <a:solidFill>
              <a:srgbClr val="44505E"/>
            </a:solidFill>
            <a:ln w="9525" cap="flat">
              <a:noFill/>
              <a:prstDash val="solid"/>
              <a:miter/>
            </a:ln>
          </p:spPr>
          <p:txBody>
            <a:bodyPr rtlCol="0" anchor="ctr"/>
            <a:lstStyle/>
            <a:p>
              <a:endParaRPr lang="pt-BR" noProof="0"/>
            </a:p>
          </p:txBody>
        </p:sp>
        <p:sp>
          <p:nvSpPr>
            <p:cNvPr id="19" name="Freeform: Shape 18">
              <a:extLst>
                <a:ext uri="{FF2B5EF4-FFF2-40B4-BE49-F238E27FC236}">
                  <a16:creationId xmlns:a16="http://schemas.microsoft.com/office/drawing/2014/main" id="{134351DD-870F-31B1-27EA-5350D4569448}"/>
                </a:ext>
              </a:extLst>
            </p:cNvPr>
            <p:cNvSpPr/>
            <p:nvPr/>
          </p:nvSpPr>
          <p:spPr>
            <a:xfrm>
              <a:off x="6143795" y="313094"/>
              <a:ext cx="289101" cy="313764"/>
            </a:xfrm>
            <a:custGeom>
              <a:avLst/>
              <a:gdLst>
                <a:gd name="connsiteX0" fmla="*/ 0 w 1150048"/>
                <a:gd name="connsiteY0" fmla="*/ 0 h 1248155"/>
                <a:gd name="connsiteX1" fmla="*/ 486728 w 1150048"/>
                <a:gd name="connsiteY1" fmla="*/ 0 h 1248155"/>
                <a:gd name="connsiteX2" fmla="*/ 755047 w 1150048"/>
                <a:gd name="connsiteY2" fmla="*/ 47244 h 1248155"/>
                <a:gd name="connsiteX3" fmla="*/ 965454 w 1150048"/>
                <a:gd name="connsiteY3" fmla="*/ 178308 h 1248155"/>
                <a:gd name="connsiteX4" fmla="*/ 1101852 w 1150048"/>
                <a:gd name="connsiteY4" fmla="*/ 375380 h 1248155"/>
                <a:gd name="connsiteX5" fmla="*/ 1150049 w 1150048"/>
                <a:gd name="connsiteY5" fmla="*/ 620554 h 1248155"/>
                <a:gd name="connsiteX6" fmla="*/ 1150049 w 1150048"/>
                <a:gd name="connsiteY6" fmla="*/ 624173 h 1248155"/>
                <a:gd name="connsiteX7" fmla="*/ 1101852 w 1150048"/>
                <a:gd name="connsiteY7" fmla="*/ 870204 h 1248155"/>
                <a:gd name="connsiteX8" fmla="*/ 965454 w 1150048"/>
                <a:gd name="connsiteY8" fmla="*/ 1068134 h 1248155"/>
                <a:gd name="connsiteX9" fmla="*/ 755047 w 1150048"/>
                <a:gd name="connsiteY9" fmla="*/ 1200055 h 1248155"/>
                <a:gd name="connsiteX10" fmla="*/ 486728 w 1150048"/>
                <a:gd name="connsiteY10" fmla="*/ 1248156 h 1248155"/>
                <a:gd name="connsiteX11" fmla="*/ 0 w 1150048"/>
                <a:gd name="connsiteY11" fmla="*/ 1248156 h 1248155"/>
                <a:gd name="connsiteX12" fmla="*/ 0 w 1150048"/>
                <a:gd name="connsiteY12" fmla="*/ 0 h 1248155"/>
                <a:gd name="connsiteX13" fmla="*/ 486728 w 1150048"/>
                <a:gd name="connsiteY13" fmla="*/ 1000315 h 1248155"/>
                <a:gd name="connsiteX14" fmla="*/ 640080 w 1150048"/>
                <a:gd name="connsiteY14" fmla="*/ 973550 h 1248155"/>
                <a:gd name="connsiteX15" fmla="*/ 758667 w 1150048"/>
                <a:gd name="connsiteY15" fmla="*/ 896874 h 1248155"/>
                <a:gd name="connsiteX16" fmla="*/ 835343 w 1150048"/>
                <a:gd name="connsiteY16" fmla="*/ 779240 h 1248155"/>
                <a:gd name="connsiteX17" fmla="*/ 862965 w 1150048"/>
                <a:gd name="connsiteY17" fmla="*/ 627698 h 1248155"/>
                <a:gd name="connsiteX18" fmla="*/ 862965 w 1150048"/>
                <a:gd name="connsiteY18" fmla="*/ 624078 h 1248155"/>
                <a:gd name="connsiteX19" fmla="*/ 835343 w 1150048"/>
                <a:gd name="connsiteY19" fmla="*/ 472535 h 1248155"/>
                <a:gd name="connsiteX20" fmla="*/ 758667 w 1150048"/>
                <a:gd name="connsiteY20" fmla="*/ 353092 h 1248155"/>
                <a:gd name="connsiteX21" fmla="*/ 640080 w 1150048"/>
                <a:gd name="connsiteY21" fmla="*/ 275558 h 1248155"/>
                <a:gd name="connsiteX22" fmla="*/ 486728 w 1150048"/>
                <a:gd name="connsiteY22" fmla="*/ 247936 h 1248155"/>
                <a:gd name="connsiteX23" fmla="*/ 274511 w 1150048"/>
                <a:gd name="connsiteY23" fmla="*/ 247936 h 1248155"/>
                <a:gd name="connsiteX24" fmla="*/ 274511 w 1150048"/>
                <a:gd name="connsiteY24" fmla="*/ 1000411 h 1248155"/>
                <a:gd name="connsiteX25" fmla="*/ 486728 w 1150048"/>
                <a:gd name="connsiteY25" fmla="*/ 1000411 h 124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50048" h="1248155">
                  <a:moveTo>
                    <a:pt x="0" y="0"/>
                  </a:moveTo>
                  <a:lnTo>
                    <a:pt x="486728" y="0"/>
                  </a:lnTo>
                  <a:cubicBezTo>
                    <a:pt x="584168" y="0"/>
                    <a:pt x="673608" y="15811"/>
                    <a:pt x="755047" y="47244"/>
                  </a:cubicBezTo>
                  <a:cubicBezTo>
                    <a:pt x="836486" y="78772"/>
                    <a:pt x="906590" y="122396"/>
                    <a:pt x="965454" y="178308"/>
                  </a:cubicBezTo>
                  <a:cubicBezTo>
                    <a:pt x="1024319" y="234220"/>
                    <a:pt x="1069753" y="299847"/>
                    <a:pt x="1101852" y="375380"/>
                  </a:cubicBezTo>
                  <a:cubicBezTo>
                    <a:pt x="1133951" y="450914"/>
                    <a:pt x="1150049" y="532543"/>
                    <a:pt x="1150049" y="620554"/>
                  </a:cubicBezTo>
                  <a:lnTo>
                    <a:pt x="1150049" y="624173"/>
                  </a:lnTo>
                  <a:cubicBezTo>
                    <a:pt x="1150049" y="712184"/>
                    <a:pt x="1133951" y="794195"/>
                    <a:pt x="1101852" y="870204"/>
                  </a:cubicBezTo>
                  <a:cubicBezTo>
                    <a:pt x="1069753" y="946309"/>
                    <a:pt x="1024319" y="1012222"/>
                    <a:pt x="965454" y="1068134"/>
                  </a:cubicBezTo>
                  <a:cubicBezTo>
                    <a:pt x="906590" y="1124045"/>
                    <a:pt x="836486" y="1167956"/>
                    <a:pt x="755047" y="1200055"/>
                  </a:cubicBezTo>
                  <a:cubicBezTo>
                    <a:pt x="673608" y="1232154"/>
                    <a:pt x="584168" y="1248156"/>
                    <a:pt x="486728" y="1248156"/>
                  </a:cubicBezTo>
                  <a:lnTo>
                    <a:pt x="0" y="1248156"/>
                  </a:lnTo>
                  <a:lnTo>
                    <a:pt x="0" y="0"/>
                  </a:lnTo>
                  <a:close/>
                  <a:moveTo>
                    <a:pt x="486728" y="1000315"/>
                  </a:moveTo>
                  <a:cubicBezTo>
                    <a:pt x="542639" y="1000315"/>
                    <a:pt x="593693" y="991457"/>
                    <a:pt x="640080" y="973550"/>
                  </a:cubicBezTo>
                  <a:cubicBezTo>
                    <a:pt x="686467" y="955739"/>
                    <a:pt x="725900" y="930211"/>
                    <a:pt x="758667" y="896874"/>
                  </a:cubicBezTo>
                  <a:cubicBezTo>
                    <a:pt x="791337" y="863632"/>
                    <a:pt x="816864" y="824389"/>
                    <a:pt x="835343" y="779240"/>
                  </a:cubicBezTo>
                  <a:cubicBezTo>
                    <a:pt x="853726" y="734092"/>
                    <a:pt x="862965" y="683609"/>
                    <a:pt x="862965" y="627698"/>
                  </a:cubicBezTo>
                  <a:lnTo>
                    <a:pt x="862965" y="624078"/>
                  </a:lnTo>
                  <a:cubicBezTo>
                    <a:pt x="862965" y="569404"/>
                    <a:pt x="853726" y="518827"/>
                    <a:pt x="835343" y="472535"/>
                  </a:cubicBezTo>
                  <a:cubicBezTo>
                    <a:pt x="816864" y="426149"/>
                    <a:pt x="791337" y="386334"/>
                    <a:pt x="758667" y="353092"/>
                  </a:cubicBezTo>
                  <a:cubicBezTo>
                    <a:pt x="725996" y="319849"/>
                    <a:pt x="686467" y="293941"/>
                    <a:pt x="640080" y="275558"/>
                  </a:cubicBezTo>
                  <a:cubicBezTo>
                    <a:pt x="593693" y="257175"/>
                    <a:pt x="542639" y="247936"/>
                    <a:pt x="486728" y="247936"/>
                  </a:cubicBezTo>
                  <a:lnTo>
                    <a:pt x="274511" y="247936"/>
                  </a:lnTo>
                  <a:lnTo>
                    <a:pt x="274511" y="1000411"/>
                  </a:lnTo>
                  <a:lnTo>
                    <a:pt x="486728" y="1000411"/>
                  </a:lnTo>
                  <a:close/>
                </a:path>
              </a:pathLst>
            </a:custGeom>
            <a:solidFill>
              <a:srgbClr val="44505E"/>
            </a:solidFill>
            <a:ln w="9525" cap="flat">
              <a:noFill/>
              <a:prstDash val="solid"/>
              <a:miter/>
            </a:ln>
          </p:spPr>
          <p:txBody>
            <a:bodyPr rtlCol="0" anchor="ctr"/>
            <a:lstStyle/>
            <a:p>
              <a:endParaRPr lang="pt-BR" noProof="0"/>
            </a:p>
          </p:txBody>
        </p:sp>
        <p:sp>
          <p:nvSpPr>
            <p:cNvPr id="20" name="Freeform: Shape 19">
              <a:extLst>
                <a:ext uri="{FF2B5EF4-FFF2-40B4-BE49-F238E27FC236}">
                  <a16:creationId xmlns:a16="http://schemas.microsoft.com/office/drawing/2014/main" id="{14AF4A51-CAC1-8E43-BD18-924B882EBB5B}"/>
                </a:ext>
              </a:extLst>
            </p:cNvPr>
            <p:cNvSpPr/>
            <p:nvPr/>
          </p:nvSpPr>
          <p:spPr>
            <a:xfrm>
              <a:off x="6460217" y="313094"/>
              <a:ext cx="238459" cy="313788"/>
            </a:xfrm>
            <a:custGeom>
              <a:avLst/>
              <a:gdLst>
                <a:gd name="connsiteX0" fmla="*/ 95 w 948594"/>
                <a:gd name="connsiteY0" fmla="*/ 0 h 1248251"/>
                <a:gd name="connsiteX1" fmla="*/ 939737 w 948594"/>
                <a:gd name="connsiteY1" fmla="*/ 0 h 1248251"/>
                <a:gd name="connsiteX2" fmla="*/ 939737 w 948594"/>
                <a:gd name="connsiteY2" fmla="*/ 244316 h 1248251"/>
                <a:gd name="connsiteX3" fmla="*/ 271081 w 948594"/>
                <a:gd name="connsiteY3" fmla="*/ 244316 h 1248251"/>
                <a:gd name="connsiteX4" fmla="*/ 271081 w 948594"/>
                <a:gd name="connsiteY4" fmla="*/ 497491 h 1248251"/>
                <a:gd name="connsiteX5" fmla="*/ 859441 w 948594"/>
                <a:gd name="connsiteY5" fmla="*/ 497491 h 1248251"/>
                <a:gd name="connsiteX6" fmla="*/ 859441 w 948594"/>
                <a:gd name="connsiteY6" fmla="*/ 741807 h 1248251"/>
                <a:gd name="connsiteX7" fmla="*/ 271081 w 948594"/>
                <a:gd name="connsiteY7" fmla="*/ 741807 h 1248251"/>
                <a:gd name="connsiteX8" fmla="*/ 271081 w 948594"/>
                <a:gd name="connsiteY8" fmla="*/ 1003935 h 1248251"/>
                <a:gd name="connsiteX9" fmla="*/ 948595 w 948594"/>
                <a:gd name="connsiteY9" fmla="*/ 1003935 h 1248251"/>
                <a:gd name="connsiteX10" fmla="*/ 948595 w 948594"/>
                <a:gd name="connsiteY10" fmla="*/ 1248251 h 1248251"/>
                <a:gd name="connsiteX11" fmla="*/ 0 w 948594"/>
                <a:gd name="connsiteY11" fmla="*/ 1248251 h 1248251"/>
                <a:gd name="connsiteX12" fmla="*/ 0 w 948594"/>
                <a:gd name="connsiteY12" fmla="*/ 0 h 124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594" h="1248251">
                  <a:moveTo>
                    <a:pt x="95" y="0"/>
                  </a:moveTo>
                  <a:lnTo>
                    <a:pt x="939737" y="0"/>
                  </a:lnTo>
                  <a:lnTo>
                    <a:pt x="939737" y="244316"/>
                  </a:lnTo>
                  <a:lnTo>
                    <a:pt x="271081" y="244316"/>
                  </a:lnTo>
                  <a:lnTo>
                    <a:pt x="271081" y="497491"/>
                  </a:lnTo>
                  <a:lnTo>
                    <a:pt x="859441" y="497491"/>
                  </a:lnTo>
                  <a:lnTo>
                    <a:pt x="859441" y="741807"/>
                  </a:lnTo>
                  <a:lnTo>
                    <a:pt x="271081" y="741807"/>
                  </a:lnTo>
                  <a:lnTo>
                    <a:pt x="271081" y="1003935"/>
                  </a:lnTo>
                  <a:lnTo>
                    <a:pt x="948595" y="1003935"/>
                  </a:lnTo>
                  <a:lnTo>
                    <a:pt x="948595" y="1248251"/>
                  </a:lnTo>
                  <a:lnTo>
                    <a:pt x="0" y="1248251"/>
                  </a:lnTo>
                  <a:lnTo>
                    <a:pt x="0" y="0"/>
                  </a:lnTo>
                  <a:close/>
                </a:path>
              </a:pathLst>
            </a:custGeom>
            <a:solidFill>
              <a:srgbClr val="44505E"/>
            </a:solidFill>
            <a:ln w="9525" cap="flat">
              <a:noFill/>
              <a:prstDash val="solid"/>
              <a:miter/>
            </a:ln>
          </p:spPr>
          <p:txBody>
            <a:bodyPr rtlCol="0" anchor="ctr"/>
            <a:lstStyle/>
            <a:p>
              <a:endParaRPr lang="pt-BR" noProof="0"/>
            </a:p>
          </p:txBody>
        </p:sp>
        <p:sp>
          <p:nvSpPr>
            <p:cNvPr id="21" name="Freeform: Shape 20">
              <a:extLst>
                <a:ext uri="{FF2B5EF4-FFF2-40B4-BE49-F238E27FC236}">
                  <a16:creationId xmlns:a16="http://schemas.microsoft.com/office/drawing/2014/main" id="{C867B5FD-6142-EE84-E6CF-87A3F1E59591}"/>
                </a:ext>
              </a:extLst>
            </p:cNvPr>
            <p:cNvSpPr/>
            <p:nvPr/>
          </p:nvSpPr>
          <p:spPr>
            <a:xfrm>
              <a:off x="5253193" y="699983"/>
              <a:ext cx="90796" cy="97883"/>
            </a:xfrm>
            <a:custGeom>
              <a:avLst/>
              <a:gdLst>
                <a:gd name="connsiteX0" fmla="*/ 191548 w 361187"/>
                <a:gd name="connsiteY0" fmla="*/ 389382 h 389381"/>
                <a:gd name="connsiteX1" fmla="*/ 116300 w 361187"/>
                <a:gd name="connsiteY1" fmla="*/ 375285 h 389381"/>
                <a:gd name="connsiteX2" fmla="*/ 55531 w 361187"/>
                <a:gd name="connsiteY2" fmla="*/ 335756 h 389381"/>
                <a:gd name="connsiteX3" fmla="*/ 14859 w 361187"/>
                <a:gd name="connsiteY3" fmla="*/ 274606 h 389381"/>
                <a:gd name="connsiteX4" fmla="*/ 0 w 361187"/>
                <a:gd name="connsiteY4" fmla="*/ 195834 h 389381"/>
                <a:gd name="connsiteX5" fmla="*/ 0 w 361187"/>
                <a:gd name="connsiteY5" fmla="*/ 194405 h 389381"/>
                <a:gd name="connsiteX6" fmla="*/ 13430 w 361187"/>
                <a:gd name="connsiteY6" fmla="*/ 118777 h 389381"/>
                <a:gd name="connsiteX7" fmla="*/ 51245 w 361187"/>
                <a:gd name="connsiteY7" fmla="*/ 56959 h 389381"/>
                <a:gd name="connsiteX8" fmla="*/ 108871 w 361187"/>
                <a:gd name="connsiteY8" fmla="*/ 15240 h 389381"/>
                <a:gd name="connsiteX9" fmla="*/ 182404 w 361187"/>
                <a:gd name="connsiteY9" fmla="*/ 0 h 389381"/>
                <a:gd name="connsiteX10" fmla="*/ 260509 w 361187"/>
                <a:gd name="connsiteY10" fmla="*/ 16288 h 389381"/>
                <a:gd name="connsiteX11" fmla="*/ 316325 w 361187"/>
                <a:gd name="connsiteY11" fmla="*/ 60103 h 389381"/>
                <a:gd name="connsiteX12" fmla="*/ 349853 w 361187"/>
                <a:gd name="connsiteY12" fmla="*/ 124015 h 389381"/>
                <a:gd name="connsiteX13" fmla="*/ 361188 w 361187"/>
                <a:gd name="connsiteY13" fmla="*/ 200692 h 389381"/>
                <a:gd name="connsiteX14" fmla="*/ 360807 w 361187"/>
                <a:gd name="connsiteY14" fmla="*/ 212312 h 389381"/>
                <a:gd name="connsiteX15" fmla="*/ 359759 w 361187"/>
                <a:gd name="connsiteY15" fmla="*/ 224695 h 389381"/>
                <a:gd name="connsiteX16" fmla="*/ 85534 w 361187"/>
                <a:gd name="connsiteY16" fmla="*/ 224695 h 389381"/>
                <a:gd name="connsiteX17" fmla="*/ 121920 w 361187"/>
                <a:gd name="connsiteY17" fmla="*/ 294989 h 389381"/>
                <a:gd name="connsiteX18" fmla="*/ 192977 w 361187"/>
                <a:gd name="connsiteY18" fmla="*/ 319373 h 389381"/>
                <a:gd name="connsiteX19" fmla="*/ 248126 w 361187"/>
                <a:gd name="connsiteY19" fmla="*/ 308038 h 389381"/>
                <a:gd name="connsiteX20" fmla="*/ 294037 w 361187"/>
                <a:gd name="connsiteY20" fmla="*/ 274796 h 389381"/>
                <a:gd name="connsiteX21" fmla="*/ 344234 w 361187"/>
                <a:gd name="connsiteY21" fmla="*/ 319278 h 389381"/>
                <a:gd name="connsiteX22" fmla="*/ 280226 w 361187"/>
                <a:gd name="connsiteY22" fmla="*/ 370141 h 389381"/>
                <a:gd name="connsiteX23" fmla="*/ 191548 w 361187"/>
                <a:gd name="connsiteY23" fmla="*/ 389191 h 389381"/>
                <a:gd name="connsiteX24" fmla="*/ 276320 w 361187"/>
                <a:gd name="connsiteY24" fmla="*/ 168211 h 389381"/>
                <a:gd name="connsiteX25" fmla="*/ 267176 w 361187"/>
                <a:gd name="connsiteY25" fmla="*/ 129730 h 389381"/>
                <a:gd name="connsiteX26" fmla="*/ 248126 w 361187"/>
                <a:gd name="connsiteY26" fmla="*/ 98679 h 389381"/>
                <a:gd name="connsiteX27" fmla="*/ 219551 w 361187"/>
                <a:gd name="connsiteY27" fmla="*/ 77819 h 389381"/>
                <a:gd name="connsiteX28" fmla="*/ 181737 w 361187"/>
                <a:gd name="connsiteY28" fmla="*/ 70009 h 389381"/>
                <a:gd name="connsiteX29" fmla="*/ 116396 w 361187"/>
                <a:gd name="connsiteY29" fmla="*/ 97250 h 389381"/>
                <a:gd name="connsiteX30" fmla="*/ 84963 w 361187"/>
                <a:gd name="connsiteY30" fmla="*/ 168307 h 389381"/>
                <a:gd name="connsiteX31" fmla="*/ 276511 w 361187"/>
                <a:gd name="connsiteY31" fmla="*/ 168307 h 38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187" h="389381">
                  <a:moveTo>
                    <a:pt x="191548" y="389382"/>
                  </a:moveTo>
                  <a:cubicBezTo>
                    <a:pt x="164687" y="389382"/>
                    <a:pt x="139637" y="384715"/>
                    <a:pt x="116300" y="375285"/>
                  </a:cubicBezTo>
                  <a:cubicBezTo>
                    <a:pt x="92964" y="365855"/>
                    <a:pt x="72771" y="352711"/>
                    <a:pt x="55531" y="335756"/>
                  </a:cubicBezTo>
                  <a:cubicBezTo>
                    <a:pt x="38291" y="318802"/>
                    <a:pt x="24765" y="298418"/>
                    <a:pt x="14859" y="274606"/>
                  </a:cubicBezTo>
                  <a:cubicBezTo>
                    <a:pt x="4953" y="250793"/>
                    <a:pt x="0" y="224599"/>
                    <a:pt x="0" y="195834"/>
                  </a:cubicBezTo>
                  <a:lnTo>
                    <a:pt x="0" y="194405"/>
                  </a:lnTo>
                  <a:cubicBezTo>
                    <a:pt x="0" y="167545"/>
                    <a:pt x="4477" y="142399"/>
                    <a:pt x="13430" y="118777"/>
                  </a:cubicBezTo>
                  <a:cubicBezTo>
                    <a:pt x="22384" y="95250"/>
                    <a:pt x="34957" y="74581"/>
                    <a:pt x="51245" y="56959"/>
                  </a:cubicBezTo>
                  <a:cubicBezTo>
                    <a:pt x="67532" y="39338"/>
                    <a:pt x="86677" y="25432"/>
                    <a:pt x="108871" y="15240"/>
                  </a:cubicBezTo>
                  <a:cubicBezTo>
                    <a:pt x="131064" y="5143"/>
                    <a:pt x="155543" y="0"/>
                    <a:pt x="182404" y="0"/>
                  </a:cubicBezTo>
                  <a:cubicBezTo>
                    <a:pt x="212122" y="0"/>
                    <a:pt x="238125" y="5429"/>
                    <a:pt x="260509" y="16288"/>
                  </a:cubicBezTo>
                  <a:cubicBezTo>
                    <a:pt x="282893" y="27146"/>
                    <a:pt x="301466" y="41719"/>
                    <a:pt x="316325" y="60103"/>
                  </a:cubicBezTo>
                  <a:cubicBezTo>
                    <a:pt x="331184" y="78486"/>
                    <a:pt x="342329" y="99822"/>
                    <a:pt x="349853" y="124015"/>
                  </a:cubicBezTo>
                  <a:cubicBezTo>
                    <a:pt x="357378" y="148304"/>
                    <a:pt x="361188" y="173831"/>
                    <a:pt x="361188" y="200692"/>
                  </a:cubicBezTo>
                  <a:cubicBezTo>
                    <a:pt x="361188" y="204502"/>
                    <a:pt x="361093" y="208312"/>
                    <a:pt x="360807" y="212312"/>
                  </a:cubicBezTo>
                  <a:cubicBezTo>
                    <a:pt x="360521" y="216313"/>
                    <a:pt x="360236" y="220409"/>
                    <a:pt x="359759" y="224695"/>
                  </a:cubicBezTo>
                  <a:lnTo>
                    <a:pt x="85534" y="224695"/>
                  </a:lnTo>
                  <a:cubicBezTo>
                    <a:pt x="90202" y="255365"/>
                    <a:pt x="102394" y="278797"/>
                    <a:pt x="121920" y="294989"/>
                  </a:cubicBezTo>
                  <a:cubicBezTo>
                    <a:pt x="141446" y="311277"/>
                    <a:pt x="165164" y="319373"/>
                    <a:pt x="192977" y="319373"/>
                  </a:cubicBezTo>
                  <a:cubicBezTo>
                    <a:pt x="214217" y="319373"/>
                    <a:pt x="232505" y="315563"/>
                    <a:pt x="248126" y="308038"/>
                  </a:cubicBezTo>
                  <a:cubicBezTo>
                    <a:pt x="263652" y="300514"/>
                    <a:pt x="278987" y="289465"/>
                    <a:pt x="294037" y="274796"/>
                  </a:cubicBezTo>
                  <a:lnTo>
                    <a:pt x="344234" y="319278"/>
                  </a:lnTo>
                  <a:cubicBezTo>
                    <a:pt x="326327" y="340519"/>
                    <a:pt x="304991" y="357473"/>
                    <a:pt x="280226" y="370141"/>
                  </a:cubicBezTo>
                  <a:cubicBezTo>
                    <a:pt x="255461" y="382810"/>
                    <a:pt x="225933" y="389191"/>
                    <a:pt x="191548" y="389191"/>
                  </a:cubicBezTo>
                  <a:close/>
                  <a:moveTo>
                    <a:pt x="276320" y="168211"/>
                  </a:moveTo>
                  <a:cubicBezTo>
                    <a:pt x="274892" y="154591"/>
                    <a:pt x="271844" y="141732"/>
                    <a:pt x="267176" y="129730"/>
                  </a:cubicBezTo>
                  <a:cubicBezTo>
                    <a:pt x="262414" y="117729"/>
                    <a:pt x="256127" y="107347"/>
                    <a:pt x="248126" y="98679"/>
                  </a:cubicBezTo>
                  <a:cubicBezTo>
                    <a:pt x="240125" y="89916"/>
                    <a:pt x="230600" y="82963"/>
                    <a:pt x="219551" y="77819"/>
                  </a:cubicBezTo>
                  <a:cubicBezTo>
                    <a:pt x="208502" y="72676"/>
                    <a:pt x="195834" y="70009"/>
                    <a:pt x="181737" y="70009"/>
                  </a:cubicBezTo>
                  <a:cubicBezTo>
                    <a:pt x="155353" y="70009"/>
                    <a:pt x="133541" y="79057"/>
                    <a:pt x="116396" y="97250"/>
                  </a:cubicBezTo>
                  <a:cubicBezTo>
                    <a:pt x="99155" y="115348"/>
                    <a:pt x="88678" y="139065"/>
                    <a:pt x="84963" y="168307"/>
                  </a:cubicBezTo>
                  <a:lnTo>
                    <a:pt x="276511" y="168307"/>
                  </a:lnTo>
                  <a:close/>
                </a:path>
              </a:pathLst>
            </a:custGeom>
            <a:solidFill>
              <a:srgbClr val="44505E"/>
            </a:solidFill>
            <a:ln w="9525" cap="flat">
              <a:noFill/>
              <a:prstDash val="solid"/>
              <a:miter/>
            </a:ln>
          </p:spPr>
          <p:txBody>
            <a:bodyPr rtlCol="0" anchor="ctr"/>
            <a:lstStyle/>
            <a:p>
              <a:endParaRPr lang="pt-BR" noProof="0"/>
            </a:p>
          </p:txBody>
        </p:sp>
        <p:sp>
          <p:nvSpPr>
            <p:cNvPr id="22" name="Freeform: Shape 21">
              <a:extLst>
                <a:ext uri="{FF2B5EF4-FFF2-40B4-BE49-F238E27FC236}">
                  <a16:creationId xmlns:a16="http://schemas.microsoft.com/office/drawing/2014/main" id="{128BA468-E47D-C46A-2F48-83DB7FD69264}"/>
                </a:ext>
              </a:extLst>
            </p:cNvPr>
            <p:cNvSpPr/>
            <p:nvPr/>
          </p:nvSpPr>
          <p:spPr>
            <a:xfrm>
              <a:off x="5365659"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5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8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3 w 568166"/>
                <a:gd name="connsiteY21" fmla="*/ 381000 h 381000"/>
                <a:gd name="connsiteX22" fmla="*/ 240983 w 568166"/>
                <a:gd name="connsiteY22" fmla="*/ 168783 h 381000"/>
                <a:gd name="connsiteX23" fmla="*/ 221266 w 568166"/>
                <a:gd name="connsiteY23" fmla="*/ 101822 h 381000"/>
                <a:gd name="connsiteX24" fmla="*/ 165640 w 568166"/>
                <a:gd name="connsiteY24" fmla="*/ 78581 h 381000"/>
                <a:gd name="connsiteX25" fmla="*/ 108014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70" y="48196"/>
                    <a:pt x="105918" y="40576"/>
                  </a:cubicBezTo>
                  <a:cubicBezTo>
                    <a:pt x="112967" y="32956"/>
                    <a:pt x="121063" y="26099"/>
                    <a:pt x="130207" y="19907"/>
                  </a:cubicBezTo>
                  <a:cubicBezTo>
                    <a:pt x="139351" y="13716"/>
                    <a:pt x="149733" y="8858"/>
                    <a:pt x="161163" y="5334"/>
                  </a:cubicBezTo>
                  <a:cubicBezTo>
                    <a:pt x="172688" y="1714"/>
                    <a:pt x="185452" y="0"/>
                    <a:pt x="199549" y="0"/>
                  </a:cubicBezTo>
                  <a:cubicBezTo>
                    <a:pt x="226314" y="0"/>
                    <a:pt x="248984" y="6096"/>
                    <a:pt x="267557" y="18193"/>
                  </a:cubicBezTo>
                  <a:cubicBezTo>
                    <a:pt x="286131" y="30289"/>
                    <a:pt x="300323" y="46387"/>
                    <a:pt x="310134" y="66294"/>
                  </a:cubicBezTo>
                  <a:cubicBezTo>
                    <a:pt x="325279" y="46387"/>
                    <a:pt x="343091" y="30289"/>
                    <a:pt x="363665" y="18193"/>
                  </a:cubicBezTo>
                  <a:cubicBezTo>
                    <a:pt x="384239" y="6096"/>
                    <a:pt x="408718" y="0"/>
                    <a:pt x="437007" y="0"/>
                  </a:cubicBezTo>
                  <a:cubicBezTo>
                    <a:pt x="478060"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8" y="78486"/>
                  </a:cubicBezTo>
                  <a:cubicBezTo>
                    <a:pt x="382810" y="78486"/>
                    <a:pt x="364141" y="86392"/>
                    <a:pt x="349377" y="102108"/>
                  </a:cubicBezTo>
                  <a:cubicBezTo>
                    <a:pt x="334613" y="117824"/>
                    <a:pt x="327184" y="140779"/>
                    <a:pt x="327184" y="170879"/>
                  </a:cubicBezTo>
                  <a:lnTo>
                    <a:pt x="327184" y="381000"/>
                  </a:lnTo>
                  <a:lnTo>
                    <a:pt x="240983" y="381000"/>
                  </a:lnTo>
                  <a:lnTo>
                    <a:pt x="240983" y="168783"/>
                  </a:lnTo>
                  <a:cubicBezTo>
                    <a:pt x="240983" y="139637"/>
                    <a:pt x="234410" y="117348"/>
                    <a:pt x="221266" y="101822"/>
                  </a:cubicBezTo>
                  <a:cubicBezTo>
                    <a:pt x="208121" y="86296"/>
                    <a:pt x="189643" y="78581"/>
                    <a:pt x="165640" y="78581"/>
                  </a:cubicBezTo>
                  <a:cubicBezTo>
                    <a:pt x="141637" y="78581"/>
                    <a:pt x="122492" y="86773"/>
                    <a:pt x="108014"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23" name="Freeform: Shape 22">
              <a:extLst>
                <a:ext uri="{FF2B5EF4-FFF2-40B4-BE49-F238E27FC236}">
                  <a16:creationId xmlns:a16="http://schemas.microsoft.com/office/drawing/2014/main" id="{8B5C4252-1B20-877A-29D6-EFF55402B094}"/>
                </a:ext>
              </a:extLst>
            </p:cNvPr>
            <p:cNvSpPr/>
            <p:nvPr/>
          </p:nvSpPr>
          <p:spPr>
            <a:xfrm>
              <a:off x="5587693" y="700007"/>
              <a:ext cx="84211" cy="95752"/>
            </a:xfrm>
            <a:custGeom>
              <a:avLst/>
              <a:gdLst>
                <a:gd name="connsiteX0" fmla="*/ 95 w 334994"/>
                <a:gd name="connsiteY0" fmla="*/ 7715 h 380904"/>
                <a:gd name="connsiteX1" fmla="*/ 86296 w 334994"/>
                <a:gd name="connsiteY1" fmla="*/ 7715 h 380904"/>
                <a:gd name="connsiteX2" fmla="*/ 86296 w 334994"/>
                <a:gd name="connsiteY2" fmla="*/ 66294 h 380904"/>
                <a:gd name="connsiteX3" fmla="*/ 106394 w 334994"/>
                <a:gd name="connsiteY3" fmla="*/ 40958 h 380904"/>
                <a:gd name="connsiteX4" fmla="*/ 131731 w 334994"/>
                <a:gd name="connsiteY4" fmla="*/ 19907 h 380904"/>
                <a:gd name="connsiteX5" fmla="*/ 163449 w 334994"/>
                <a:gd name="connsiteY5" fmla="*/ 5334 h 380904"/>
                <a:gd name="connsiteX6" fmla="*/ 202597 w 334994"/>
                <a:gd name="connsiteY6" fmla="*/ 0 h 380904"/>
                <a:gd name="connsiteX7" fmla="*/ 300514 w 334994"/>
                <a:gd name="connsiteY7" fmla="*/ 38862 h 380904"/>
                <a:gd name="connsiteX8" fmla="*/ 334994 w 334994"/>
                <a:gd name="connsiteY8" fmla="*/ 143446 h 380904"/>
                <a:gd name="connsiteX9" fmla="*/ 334994 w 334994"/>
                <a:gd name="connsiteY9" fmla="*/ 380905 h 380904"/>
                <a:gd name="connsiteX10" fmla="*/ 248793 w 334994"/>
                <a:gd name="connsiteY10" fmla="*/ 380905 h 380904"/>
                <a:gd name="connsiteX11" fmla="*/ 248793 w 334994"/>
                <a:gd name="connsiteY11" fmla="*/ 169450 h 380904"/>
                <a:gd name="connsiteX12" fmla="*/ 228124 w 334994"/>
                <a:gd name="connsiteY12" fmla="*/ 102108 h 380904"/>
                <a:gd name="connsiteX13" fmla="*/ 169640 w 334994"/>
                <a:gd name="connsiteY13" fmla="*/ 78486 h 380904"/>
                <a:gd name="connsiteX14" fmla="*/ 109347 w 334994"/>
                <a:gd name="connsiteY14" fmla="*/ 102775 h 380904"/>
                <a:gd name="connsiteX15" fmla="*/ 86201 w 334994"/>
                <a:gd name="connsiteY15" fmla="*/ 170783 h 380904"/>
                <a:gd name="connsiteX16" fmla="*/ 86201 w 334994"/>
                <a:gd name="connsiteY16" fmla="*/ 380905 h 380904"/>
                <a:gd name="connsiteX17" fmla="*/ 0 w 334994"/>
                <a:gd name="connsiteY17" fmla="*/ 380905 h 380904"/>
                <a:gd name="connsiteX18" fmla="*/ 0 w 334994"/>
                <a:gd name="connsiteY18" fmla="*/ 7810 h 38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94" h="380904">
                  <a:moveTo>
                    <a:pt x="95" y="7715"/>
                  </a:moveTo>
                  <a:lnTo>
                    <a:pt x="86296" y="7715"/>
                  </a:lnTo>
                  <a:lnTo>
                    <a:pt x="86296" y="66294"/>
                  </a:lnTo>
                  <a:cubicBezTo>
                    <a:pt x="92392" y="57245"/>
                    <a:pt x="99060" y="48863"/>
                    <a:pt x="106394" y="40958"/>
                  </a:cubicBezTo>
                  <a:cubicBezTo>
                    <a:pt x="113633" y="33147"/>
                    <a:pt x="122110" y="26099"/>
                    <a:pt x="131731" y="19907"/>
                  </a:cubicBezTo>
                  <a:cubicBezTo>
                    <a:pt x="141351" y="13716"/>
                    <a:pt x="151924" y="8858"/>
                    <a:pt x="163449" y="5334"/>
                  </a:cubicBezTo>
                  <a:cubicBezTo>
                    <a:pt x="174974" y="1714"/>
                    <a:pt x="188024" y="0"/>
                    <a:pt x="202597" y="0"/>
                  </a:cubicBezTo>
                  <a:cubicBezTo>
                    <a:pt x="244888" y="0"/>
                    <a:pt x="277559" y="12954"/>
                    <a:pt x="300514" y="38862"/>
                  </a:cubicBezTo>
                  <a:cubicBezTo>
                    <a:pt x="323564" y="64770"/>
                    <a:pt x="334994" y="99631"/>
                    <a:pt x="334994" y="143446"/>
                  </a:cubicBezTo>
                  <a:lnTo>
                    <a:pt x="334994" y="380905"/>
                  </a:lnTo>
                  <a:lnTo>
                    <a:pt x="248793" y="380905"/>
                  </a:lnTo>
                  <a:lnTo>
                    <a:pt x="248793" y="169450"/>
                  </a:lnTo>
                  <a:cubicBezTo>
                    <a:pt x="248793" y="140303"/>
                    <a:pt x="241935" y="117824"/>
                    <a:pt x="228124" y="102108"/>
                  </a:cubicBezTo>
                  <a:cubicBezTo>
                    <a:pt x="214313" y="86392"/>
                    <a:pt x="194881" y="78486"/>
                    <a:pt x="169640" y="78486"/>
                  </a:cubicBezTo>
                  <a:cubicBezTo>
                    <a:pt x="144399" y="78486"/>
                    <a:pt x="124777" y="86582"/>
                    <a:pt x="109347" y="102775"/>
                  </a:cubicBezTo>
                  <a:cubicBezTo>
                    <a:pt x="93917" y="118967"/>
                    <a:pt x="86201" y="141637"/>
                    <a:pt x="86201" y="170783"/>
                  </a:cubicBezTo>
                  <a:lnTo>
                    <a:pt x="86201" y="380905"/>
                  </a:lnTo>
                  <a:lnTo>
                    <a:pt x="0" y="380905"/>
                  </a:lnTo>
                  <a:lnTo>
                    <a:pt x="0" y="7810"/>
                  </a:lnTo>
                  <a:close/>
                </a:path>
              </a:pathLst>
            </a:custGeom>
            <a:solidFill>
              <a:srgbClr val="44505E"/>
            </a:solidFill>
            <a:ln w="9525" cap="flat">
              <a:noFill/>
              <a:prstDash val="solid"/>
              <a:miter/>
            </a:ln>
          </p:spPr>
          <p:txBody>
            <a:bodyPr rtlCol="0" anchor="ctr"/>
            <a:lstStyle/>
            <a:p>
              <a:endParaRPr lang="pt-BR" noProof="0"/>
            </a:p>
          </p:txBody>
        </p:sp>
        <p:sp>
          <p:nvSpPr>
            <p:cNvPr id="24" name="Freeform: Shape 23">
              <a:extLst>
                <a:ext uri="{FF2B5EF4-FFF2-40B4-BE49-F238E27FC236}">
                  <a16:creationId xmlns:a16="http://schemas.microsoft.com/office/drawing/2014/main" id="{585DD2A6-C37B-80C0-721B-28CD861F6B98}"/>
                </a:ext>
              </a:extLst>
            </p:cNvPr>
            <p:cNvSpPr/>
            <p:nvPr/>
          </p:nvSpPr>
          <p:spPr>
            <a:xfrm>
              <a:off x="5692712" y="699959"/>
              <a:ext cx="100015" cy="97908"/>
            </a:xfrm>
            <a:custGeom>
              <a:avLst/>
              <a:gdLst>
                <a:gd name="connsiteX0" fmla="*/ 197834 w 397859"/>
                <a:gd name="connsiteY0" fmla="*/ 389477 h 389477"/>
                <a:gd name="connsiteX1" fmla="*/ 119063 w 397859"/>
                <a:gd name="connsiteY1" fmla="*/ 374237 h 389477"/>
                <a:gd name="connsiteX2" fmla="*/ 56197 w 397859"/>
                <a:gd name="connsiteY2" fmla="*/ 332899 h 389477"/>
                <a:gd name="connsiteX3" fmla="*/ 14859 w 397859"/>
                <a:gd name="connsiteY3" fmla="*/ 271463 h 389477"/>
                <a:gd name="connsiteX4" fmla="*/ 0 w 397859"/>
                <a:gd name="connsiteY4" fmla="*/ 196501 h 389477"/>
                <a:gd name="connsiteX5" fmla="*/ 0 w 397859"/>
                <a:gd name="connsiteY5" fmla="*/ 195072 h 389477"/>
                <a:gd name="connsiteX6" fmla="*/ 15145 w 397859"/>
                <a:gd name="connsiteY6" fmla="*/ 119444 h 389477"/>
                <a:gd name="connsiteX7" fmla="*/ 56864 w 397859"/>
                <a:gd name="connsiteY7" fmla="*/ 57626 h 389477"/>
                <a:gd name="connsiteX8" fmla="*/ 119729 w 397859"/>
                <a:gd name="connsiteY8" fmla="*/ 15526 h 389477"/>
                <a:gd name="connsiteX9" fmla="*/ 199263 w 397859"/>
                <a:gd name="connsiteY9" fmla="*/ 0 h 389477"/>
                <a:gd name="connsiteX10" fmla="*/ 278797 w 397859"/>
                <a:gd name="connsiteY10" fmla="*/ 15240 h 389477"/>
                <a:gd name="connsiteX11" fmla="*/ 341662 w 397859"/>
                <a:gd name="connsiteY11" fmla="*/ 56959 h 389477"/>
                <a:gd name="connsiteX12" fmla="*/ 383000 w 397859"/>
                <a:gd name="connsiteY12" fmla="*/ 118396 h 389477"/>
                <a:gd name="connsiteX13" fmla="*/ 397859 w 397859"/>
                <a:gd name="connsiteY13" fmla="*/ 193643 h 389477"/>
                <a:gd name="connsiteX14" fmla="*/ 397859 w 397859"/>
                <a:gd name="connsiteY14" fmla="*/ 195072 h 389477"/>
                <a:gd name="connsiteX15" fmla="*/ 382619 w 397859"/>
                <a:gd name="connsiteY15" fmla="*/ 270034 h 389477"/>
                <a:gd name="connsiteX16" fmla="*/ 340900 w 397859"/>
                <a:gd name="connsiteY16" fmla="*/ 331851 h 389477"/>
                <a:gd name="connsiteX17" fmla="*/ 277654 w 397859"/>
                <a:gd name="connsiteY17" fmla="*/ 373856 h 389477"/>
                <a:gd name="connsiteX18" fmla="*/ 197834 w 397859"/>
                <a:gd name="connsiteY18" fmla="*/ 389382 h 389477"/>
                <a:gd name="connsiteX19" fmla="*/ 199263 w 397859"/>
                <a:gd name="connsiteY19" fmla="*/ 315278 h 389477"/>
                <a:gd name="connsiteX20" fmla="*/ 245935 w 397859"/>
                <a:gd name="connsiteY20" fmla="*/ 305753 h 389477"/>
                <a:gd name="connsiteX21" fmla="*/ 281368 w 397859"/>
                <a:gd name="connsiteY21" fmla="*/ 279940 h 389477"/>
                <a:gd name="connsiteX22" fmla="*/ 303847 w 397859"/>
                <a:gd name="connsiteY22" fmla="*/ 242125 h 389477"/>
                <a:gd name="connsiteX23" fmla="*/ 311563 w 397859"/>
                <a:gd name="connsiteY23" fmla="*/ 196501 h 389477"/>
                <a:gd name="connsiteX24" fmla="*/ 311563 w 397859"/>
                <a:gd name="connsiteY24" fmla="*/ 195072 h 389477"/>
                <a:gd name="connsiteX25" fmla="*/ 303181 w 397859"/>
                <a:gd name="connsiteY25" fmla="*/ 148400 h 389477"/>
                <a:gd name="connsiteX26" fmla="*/ 279654 w 397859"/>
                <a:gd name="connsiteY26" fmla="*/ 110204 h 389477"/>
                <a:gd name="connsiteX27" fmla="*/ 243840 w 397859"/>
                <a:gd name="connsiteY27" fmla="*/ 84392 h 389477"/>
                <a:gd name="connsiteX28" fmla="*/ 197834 w 397859"/>
                <a:gd name="connsiteY28" fmla="*/ 74867 h 389477"/>
                <a:gd name="connsiteX29" fmla="*/ 151829 w 397859"/>
                <a:gd name="connsiteY29" fmla="*/ 84392 h 389477"/>
                <a:gd name="connsiteX30" fmla="*/ 116396 w 397859"/>
                <a:gd name="connsiteY30" fmla="*/ 109823 h 389477"/>
                <a:gd name="connsiteX31" fmla="*/ 93917 w 397859"/>
                <a:gd name="connsiteY31" fmla="*/ 147638 h 389477"/>
                <a:gd name="connsiteX32" fmla="*/ 86201 w 397859"/>
                <a:gd name="connsiteY32" fmla="*/ 193548 h 389477"/>
                <a:gd name="connsiteX33" fmla="*/ 86201 w 397859"/>
                <a:gd name="connsiteY33" fmla="*/ 194977 h 389477"/>
                <a:gd name="connsiteX34" fmla="*/ 94583 w 397859"/>
                <a:gd name="connsiteY34" fmla="*/ 241268 h 389477"/>
                <a:gd name="connsiteX35" fmla="*/ 118110 w 397859"/>
                <a:gd name="connsiteY35" fmla="*/ 279463 h 389477"/>
                <a:gd name="connsiteX36" fmla="*/ 153924 w 397859"/>
                <a:gd name="connsiteY36" fmla="*/ 305562 h 389477"/>
                <a:gd name="connsiteX37" fmla="*/ 199263 w 397859"/>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859" h="389477">
                  <a:moveTo>
                    <a:pt x="197834" y="389477"/>
                  </a:moveTo>
                  <a:cubicBezTo>
                    <a:pt x="169545" y="389477"/>
                    <a:pt x="143351" y="384429"/>
                    <a:pt x="119063" y="374237"/>
                  </a:cubicBezTo>
                  <a:cubicBezTo>
                    <a:pt x="94774" y="364141"/>
                    <a:pt x="73819" y="350330"/>
                    <a:pt x="56197" y="332899"/>
                  </a:cubicBezTo>
                  <a:cubicBezTo>
                    <a:pt x="38481" y="315468"/>
                    <a:pt x="24765" y="294989"/>
                    <a:pt x="14859" y="271463"/>
                  </a:cubicBezTo>
                  <a:cubicBezTo>
                    <a:pt x="4953" y="247936"/>
                    <a:pt x="0" y="222980"/>
                    <a:pt x="0" y="196501"/>
                  </a:cubicBezTo>
                  <a:lnTo>
                    <a:pt x="0" y="195072"/>
                  </a:lnTo>
                  <a:cubicBezTo>
                    <a:pt x="0" y="168212"/>
                    <a:pt x="5048" y="143066"/>
                    <a:pt x="15145" y="119444"/>
                  </a:cubicBezTo>
                  <a:cubicBezTo>
                    <a:pt x="25241" y="95917"/>
                    <a:pt x="39148" y="75248"/>
                    <a:pt x="56864" y="57626"/>
                  </a:cubicBezTo>
                  <a:cubicBezTo>
                    <a:pt x="74581" y="39910"/>
                    <a:pt x="95536" y="25908"/>
                    <a:pt x="119729" y="15526"/>
                  </a:cubicBezTo>
                  <a:cubicBezTo>
                    <a:pt x="144018" y="5144"/>
                    <a:pt x="170497" y="0"/>
                    <a:pt x="199263" y="0"/>
                  </a:cubicBezTo>
                  <a:cubicBezTo>
                    <a:pt x="228029" y="0"/>
                    <a:pt x="254508" y="5048"/>
                    <a:pt x="278797" y="15240"/>
                  </a:cubicBezTo>
                  <a:cubicBezTo>
                    <a:pt x="303085" y="25337"/>
                    <a:pt x="324041" y="39243"/>
                    <a:pt x="341662" y="56959"/>
                  </a:cubicBezTo>
                  <a:cubicBezTo>
                    <a:pt x="359378" y="74676"/>
                    <a:pt x="373094" y="95155"/>
                    <a:pt x="383000" y="118396"/>
                  </a:cubicBezTo>
                  <a:cubicBezTo>
                    <a:pt x="392906" y="141732"/>
                    <a:pt x="397859" y="166783"/>
                    <a:pt x="397859" y="193643"/>
                  </a:cubicBezTo>
                  <a:lnTo>
                    <a:pt x="397859" y="195072"/>
                  </a:lnTo>
                  <a:cubicBezTo>
                    <a:pt x="397859" y="221456"/>
                    <a:pt x="392811" y="246412"/>
                    <a:pt x="382619" y="270034"/>
                  </a:cubicBezTo>
                  <a:cubicBezTo>
                    <a:pt x="372523" y="293561"/>
                    <a:pt x="358616" y="314230"/>
                    <a:pt x="340900" y="331851"/>
                  </a:cubicBezTo>
                  <a:cubicBezTo>
                    <a:pt x="323183" y="349472"/>
                    <a:pt x="302133" y="363569"/>
                    <a:pt x="277654" y="373856"/>
                  </a:cubicBezTo>
                  <a:cubicBezTo>
                    <a:pt x="253175" y="384238"/>
                    <a:pt x="226504" y="389382"/>
                    <a:pt x="197834" y="389382"/>
                  </a:cubicBezTo>
                  <a:close/>
                  <a:moveTo>
                    <a:pt x="199263" y="315278"/>
                  </a:moveTo>
                  <a:cubicBezTo>
                    <a:pt x="216598" y="315278"/>
                    <a:pt x="232124" y="312039"/>
                    <a:pt x="245935" y="305753"/>
                  </a:cubicBezTo>
                  <a:cubicBezTo>
                    <a:pt x="259747" y="299371"/>
                    <a:pt x="271558" y="290798"/>
                    <a:pt x="281368" y="279940"/>
                  </a:cubicBezTo>
                  <a:cubicBezTo>
                    <a:pt x="291179" y="269081"/>
                    <a:pt x="298704" y="256508"/>
                    <a:pt x="303847" y="242125"/>
                  </a:cubicBezTo>
                  <a:cubicBezTo>
                    <a:pt x="308991" y="227743"/>
                    <a:pt x="311563" y="212598"/>
                    <a:pt x="311563" y="196501"/>
                  </a:cubicBezTo>
                  <a:lnTo>
                    <a:pt x="311563" y="195072"/>
                  </a:lnTo>
                  <a:cubicBezTo>
                    <a:pt x="311563" y="178594"/>
                    <a:pt x="308800" y="163068"/>
                    <a:pt x="303181" y="148400"/>
                  </a:cubicBezTo>
                  <a:cubicBezTo>
                    <a:pt x="297561" y="133826"/>
                    <a:pt x="289750" y="121063"/>
                    <a:pt x="279654" y="110204"/>
                  </a:cubicBezTo>
                  <a:cubicBezTo>
                    <a:pt x="269558" y="99346"/>
                    <a:pt x="257651" y="90773"/>
                    <a:pt x="243840" y="84392"/>
                  </a:cubicBezTo>
                  <a:cubicBezTo>
                    <a:pt x="230029" y="78010"/>
                    <a:pt x="214693" y="74867"/>
                    <a:pt x="197834" y="74867"/>
                  </a:cubicBezTo>
                  <a:cubicBezTo>
                    <a:pt x="180975" y="74867"/>
                    <a:pt x="165640" y="78010"/>
                    <a:pt x="151829" y="84392"/>
                  </a:cubicBezTo>
                  <a:cubicBezTo>
                    <a:pt x="138017" y="90773"/>
                    <a:pt x="126206" y="99250"/>
                    <a:pt x="116396" y="109823"/>
                  </a:cubicBezTo>
                  <a:cubicBezTo>
                    <a:pt x="106585" y="120396"/>
                    <a:pt x="99060" y="133064"/>
                    <a:pt x="93917" y="147638"/>
                  </a:cubicBezTo>
                  <a:cubicBezTo>
                    <a:pt x="88773" y="162211"/>
                    <a:pt x="86201" y="177546"/>
                    <a:pt x="86201" y="193548"/>
                  </a:cubicBezTo>
                  <a:lnTo>
                    <a:pt x="86201" y="194977"/>
                  </a:lnTo>
                  <a:cubicBezTo>
                    <a:pt x="86201" y="211455"/>
                    <a:pt x="88963" y="226886"/>
                    <a:pt x="94583" y="241268"/>
                  </a:cubicBezTo>
                  <a:cubicBezTo>
                    <a:pt x="100203" y="255651"/>
                    <a:pt x="108013" y="268319"/>
                    <a:pt x="118110" y="279463"/>
                  </a:cubicBezTo>
                  <a:cubicBezTo>
                    <a:pt x="128206" y="290513"/>
                    <a:pt x="140113" y="299275"/>
                    <a:pt x="153924" y="305562"/>
                  </a:cubicBezTo>
                  <a:cubicBezTo>
                    <a:pt x="167735" y="311944"/>
                    <a:pt x="182880"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25" name="Freeform: Shape 24">
              <a:extLst>
                <a:ext uri="{FF2B5EF4-FFF2-40B4-BE49-F238E27FC236}">
                  <a16:creationId xmlns:a16="http://schemas.microsoft.com/office/drawing/2014/main" id="{D75453EE-CEE7-E0B6-CFBF-488ED3E7903E}"/>
                </a:ext>
              </a:extLst>
            </p:cNvPr>
            <p:cNvSpPr/>
            <p:nvPr/>
          </p:nvSpPr>
          <p:spPr>
            <a:xfrm>
              <a:off x="5806925"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2 w 296894"/>
                <a:gd name="connsiteY36" fmla="*/ 224980 h 386714"/>
                <a:gd name="connsiteX37" fmla="*/ 296894 w 296894"/>
                <a:gd name="connsiteY37" fmla="*/ 267938 h 386714"/>
                <a:gd name="connsiteX38" fmla="*/ 296894 w 296894"/>
                <a:gd name="connsiteY38" fmla="*/ 269367 h 386714"/>
                <a:gd name="connsiteX39" fmla="*/ 286322 w 296894"/>
                <a:gd name="connsiteY39" fmla="*/ 320897 h 386714"/>
                <a:gd name="connsiteX40" fmla="*/ 256984 w 296894"/>
                <a:gd name="connsiteY40" fmla="*/ 357188 h 386714"/>
                <a:gd name="connsiteX41" fmla="*/ 212789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8" y="298704"/>
                    <a:pt x="100013" y="306514"/>
                  </a:cubicBezTo>
                  <a:cubicBezTo>
                    <a:pt x="120967" y="314325"/>
                    <a:pt x="141161" y="318135"/>
                    <a:pt x="160401" y="318135"/>
                  </a:cubicBezTo>
                  <a:cubicBezTo>
                    <a:pt x="179642" y="318135"/>
                    <a:pt x="192976"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2" y="241078"/>
                    <a:pt x="176498" y="237553"/>
                    <a:pt x="166402" y="234220"/>
                  </a:cubicBezTo>
                  <a:cubicBezTo>
                    <a:pt x="156305" y="230886"/>
                    <a:pt x="145733" y="227647"/>
                    <a:pt x="134969" y="224314"/>
                  </a:cubicBezTo>
                  <a:cubicBezTo>
                    <a:pt x="121253" y="220599"/>
                    <a:pt x="107537" y="216122"/>
                    <a:pt x="93631" y="210884"/>
                  </a:cubicBezTo>
                  <a:cubicBezTo>
                    <a:pt x="79724" y="205740"/>
                    <a:pt x="67246" y="198977"/>
                    <a:pt x="56197" y="190786"/>
                  </a:cubicBezTo>
                  <a:cubicBezTo>
                    <a:pt x="45149" y="182594"/>
                    <a:pt x="36100" y="172307"/>
                    <a:pt x="28956" y="160115"/>
                  </a:cubicBezTo>
                  <a:cubicBezTo>
                    <a:pt x="21908"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5"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7" y="156210"/>
                    <a:pt x="180975" y="159448"/>
                  </a:cubicBezTo>
                  <a:cubicBezTo>
                    <a:pt x="194596" y="163639"/>
                    <a:pt x="208312" y="168592"/>
                    <a:pt x="222028" y="174212"/>
                  </a:cubicBezTo>
                  <a:cubicBezTo>
                    <a:pt x="235649" y="179832"/>
                    <a:pt x="248031" y="186785"/>
                    <a:pt x="259080" y="194977"/>
                  </a:cubicBezTo>
                  <a:cubicBezTo>
                    <a:pt x="270129" y="203168"/>
                    <a:pt x="279273" y="213169"/>
                    <a:pt x="286322" y="224980"/>
                  </a:cubicBezTo>
                  <a:cubicBezTo>
                    <a:pt x="293370" y="236696"/>
                    <a:pt x="296894" y="251079"/>
                    <a:pt x="296894" y="267938"/>
                  </a:cubicBezTo>
                  <a:lnTo>
                    <a:pt x="296894" y="269367"/>
                  </a:lnTo>
                  <a:cubicBezTo>
                    <a:pt x="296894" y="289084"/>
                    <a:pt x="293370" y="306229"/>
                    <a:pt x="286322" y="320897"/>
                  </a:cubicBezTo>
                  <a:cubicBezTo>
                    <a:pt x="279273" y="335470"/>
                    <a:pt x="269462" y="347567"/>
                    <a:pt x="256984" y="357188"/>
                  </a:cubicBezTo>
                  <a:cubicBezTo>
                    <a:pt x="244507" y="366808"/>
                    <a:pt x="229743" y="374142"/>
                    <a:pt x="212789"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6" name="Freeform: Shape 25">
              <a:extLst>
                <a:ext uri="{FF2B5EF4-FFF2-40B4-BE49-F238E27FC236}">
                  <a16:creationId xmlns:a16="http://schemas.microsoft.com/office/drawing/2014/main" id="{9A0C2C20-E905-7FAF-3606-FCC6A12CA284}"/>
                </a:ext>
              </a:extLst>
            </p:cNvPr>
            <p:cNvSpPr/>
            <p:nvPr/>
          </p:nvSpPr>
          <p:spPr>
            <a:xfrm>
              <a:off x="589573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6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160" y="318135"/>
                    <a:pt x="160401" y="318135"/>
                  </a:cubicBezTo>
                  <a:cubicBezTo>
                    <a:pt x="179641" y="318135"/>
                    <a:pt x="192976"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4"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792"/>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7" name="Freeform: Shape 26">
              <a:extLst>
                <a:ext uri="{FF2B5EF4-FFF2-40B4-BE49-F238E27FC236}">
                  <a16:creationId xmlns:a16="http://schemas.microsoft.com/office/drawing/2014/main" id="{22003E37-807C-56FB-E4B7-5A873237F0E2}"/>
                </a:ext>
              </a:extLst>
            </p:cNvPr>
            <p:cNvSpPr/>
            <p:nvPr/>
          </p:nvSpPr>
          <p:spPr>
            <a:xfrm>
              <a:off x="5985812" y="700558"/>
              <a:ext cx="85097" cy="97141"/>
            </a:xfrm>
            <a:custGeom>
              <a:avLst/>
              <a:gdLst>
                <a:gd name="connsiteX0" fmla="*/ 253651 w 338518"/>
                <a:gd name="connsiteY0" fmla="*/ 378619 h 386429"/>
                <a:gd name="connsiteX1" fmla="*/ 253651 w 338518"/>
                <a:gd name="connsiteY1" fmla="*/ 332708 h 386429"/>
                <a:gd name="connsiteX2" fmla="*/ 204883 w 338518"/>
                <a:gd name="connsiteY2" fmla="*/ 370904 h 386429"/>
                <a:gd name="connsiteX3" fmla="*/ 132779 w 338518"/>
                <a:gd name="connsiteY3" fmla="*/ 386429 h 386429"/>
                <a:gd name="connsiteX4" fmla="*/ 81915 w 338518"/>
                <a:gd name="connsiteY4" fmla="*/ 379000 h 386429"/>
                <a:gd name="connsiteX5" fmla="*/ 39910 w 338518"/>
                <a:gd name="connsiteY5" fmla="*/ 357092 h 386429"/>
                <a:gd name="connsiteX6" fmla="*/ 10954 w 338518"/>
                <a:gd name="connsiteY6" fmla="*/ 321088 h 386429"/>
                <a:gd name="connsiteX7" fmla="*/ 0 w 338518"/>
                <a:gd name="connsiteY7" fmla="*/ 271272 h 386429"/>
                <a:gd name="connsiteX8" fmla="*/ 0 w 338518"/>
                <a:gd name="connsiteY8" fmla="*/ 269843 h 386429"/>
                <a:gd name="connsiteX9" fmla="*/ 11335 w 338518"/>
                <a:gd name="connsiteY9" fmla="*/ 215741 h 386429"/>
                <a:gd name="connsiteX10" fmla="*/ 42767 w 338518"/>
                <a:gd name="connsiteY10" fmla="*/ 177546 h 386429"/>
                <a:gd name="connsiteX11" fmla="*/ 90773 w 338518"/>
                <a:gd name="connsiteY11" fmla="*/ 154972 h 386429"/>
                <a:gd name="connsiteX12" fmla="*/ 151162 w 338518"/>
                <a:gd name="connsiteY12" fmla="*/ 147542 h 386429"/>
                <a:gd name="connsiteX13" fmla="*/ 208788 w 338518"/>
                <a:gd name="connsiteY13" fmla="*/ 151829 h 386429"/>
                <a:gd name="connsiteX14" fmla="*/ 254413 w 338518"/>
                <a:gd name="connsiteY14" fmla="*/ 163163 h 386429"/>
                <a:gd name="connsiteX15" fmla="*/ 254413 w 338518"/>
                <a:gd name="connsiteY15" fmla="*/ 156115 h 386429"/>
                <a:gd name="connsiteX16" fmla="*/ 230696 w 338518"/>
                <a:gd name="connsiteY16" fmla="*/ 96774 h 386429"/>
                <a:gd name="connsiteX17" fmla="*/ 162496 w 338518"/>
                <a:gd name="connsiteY17" fmla="*/ 76295 h 386429"/>
                <a:gd name="connsiteX18" fmla="*/ 106013 w 338518"/>
                <a:gd name="connsiteY18" fmla="*/ 82677 h 386429"/>
                <a:gd name="connsiteX19" fmla="*/ 55816 w 338518"/>
                <a:gd name="connsiteY19" fmla="*/ 99632 h 386429"/>
                <a:gd name="connsiteX20" fmla="*/ 32480 w 338518"/>
                <a:gd name="connsiteY20" fmla="*/ 31052 h 386429"/>
                <a:gd name="connsiteX21" fmla="*/ 96107 w 338518"/>
                <a:gd name="connsiteY21" fmla="*/ 8477 h 386429"/>
                <a:gd name="connsiteX22" fmla="*/ 174593 w 338518"/>
                <a:gd name="connsiteY22" fmla="*/ 0 h 386429"/>
                <a:gd name="connsiteX23" fmla="*/ 298228 w 338518"/>
                <a:gd name="connsiteY23" fmla="*/ 41338 h 386429"/>
                <a:gd name="connsiteX24" fmla="*/ 338519 w 338518"/>
                <a:gd name="connsiteY24" fmla="*/ 157544 h 386429"/>
                <a:gd name="connsiteX25" fmla="*/ 338519 w 338518"/>
                <a:gd name="connsiteY25" fmla="*/ 378714 h 386429"/>
                <a:gd name="connsiteX26" fmla="*/ 253746 w 338518"/>
                <a:gd name="connsiteY26" fmla="*/ 378714 h 386429"/>
                <a:gd name="connsiteX27" fmla="*/ 255746 w 338518"/>
                <a:gd name="connsiteY27" fmla="*/ 222409 h 386429"/>
                <a:gd name="connsiteX28" fmla="*/ 217265 w 338518"/>
                <a:gd name="connsiteY28" fmla="*/ 211836 h 386429"/>
                <a:gd name="connsiteX29" fmla="*/ 170307 w 338518"/>
                <a:gd name="connsiteY29" fmla="*/ 207550 h 386429"/>
                <a:gd name="connsiteX30" fmla="*/ 107442 w 338518"/>
                <a:gd name="connsiteY30" fmla="*/ 223075 h 386429"/>
                <a:gd name="connsiteX31" fmla="*/ 84868 w 338518"/>
                <a:gd name="connsiteY31" fmla="*/ 265462 h 386429"/>
                <a:gd name="connsiteX32" fmla="*/ 84868 w 338518"/>
                <a:gd name="connsiteY32" fmla="*/ 266891 h 386429"/>
                <a:gd name="connsiteX33" fmla="*/ 105728 w 338518"/>
                <a:gd name="connsiteY33" fmla="*/ 307848 h 386429"/>
                <a:gd name="connsiteX34" fmla="*/ 156972 w 338518"/>
                <a:gd name="connsiteY34" fmla="*/ 321945 h 386429"/>
                <a:gd name="connsiteX35" fmla="*/ 196215 w 338518"/>
                <a:gd name="connsiteY35" fmla="*/ 316325 h 386429"/>
                <a:gd name="connsiteX36" fmla="*/ 227647 w 338518"/>
                <a:gd name="connsiteY36" fmla="*/ 300419 h 386429"/>
                <a:gd name="connsiteX37" fmla="*/ 248507 w 338518"/>
                <a:gd name="connsiteY37" fmla="*/ 275654 h 386429"/>
                <a:gd name="connsiteX38" fmla="*/ 255937 w 338518"/>
                <a:gd name="connsiteY38" fmla="*/ 243459 h 386429"/>
                <a:gd name="connsiteX39" fmla="*/ 255937 w 338518"/>
                <a:gd name="connsiteY39" fmla="*/ 222218 h 3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8518" h="386429">
                  <a:moveTo>
                    <a:pt x="253651" y="378619"/>
                  </a:moveTo>
                  <a:lnTo>
                    <a:pt x="253651" y="332708"/>
                  </a:lnTo>
                  <a:cubicBezTo>
                    <a:pt x="240887" y="347758"/>
                    <a:pt x="224695" y="360521"/>
                    <a:pt x="204883" y="370904"/>
                  </a:cubicBezTo>
                  <a:cubicBezTo>
                    <a:pt x="185071" y="381286"/>
                    <a:pt x="161068" y="386429"/>
                    <a:pt x="132779" y="386429"/>
                  </a:cubicBezTo>
                  <a:cubicBezTo>
                    <a:pt x="114871" y="386429"/>
                    <a:pt x="97917" y="383953"/>
                    <a:pt x="81915" y="379000"/>
                  </a:cubicBezTo>
                  <a:cubicBezTo>
                    <a:pt x="65913" y="374047"/>
                    <a:pt x="51911" y="366713"/>
                    <a:pt x="39910" y="357092"/>
                  </a:cubicBezTo>
                  <a:cubicBezTo>
                    <a:pt x="27908" y="347472"/>
                    <a:pt x="18193" y="335471"/>
                    <a:pt x="10954" y="321088"/>
                  </a:cubicBezTo>
                  <a:cubicBezTo>
                    <a:pt x="3620" y="306705"/>
                    <a:pt x="0" y="290132"/>
                    <a:pt x="0" y="271272"/>
                  </a:cubicBezTo>
                  <a:lnTo>
                    <a:pt x="0" y="269843"/>
                  </a:lnTo>
                  <a:cubicBezTo>
                    <a:pt x="0" y="249079"/>
                    <a:pt x="3810" y="231077"/>
                    <a:pt x="11335" y="215741"/>
                  </a:cubicBezTo>
                  <a:cubicBezTo>
                    <a:pt x="18859" y="200406"/>
                    <a:pt x="29337" y="187738"/>
                    <a:pt x="42767" y="177546"/>
                  </a:cubicBezTo>
                  <a:cubicBezTo>
                    <a:pt x="56197" y="167450"/>
                    <a:pt x="72199" y="159925"/>
                    <a:pt x="90773" y="154972"/>
                  </a:cubicBezTo>
                  <a:cubicBezTo>
                    <a:pt x="109347" y="150019"/>
                    <a:pt x="129540" y="147542"/>
                    <a:pt x="151162" y="147542"/>
                  </a:cubicBezTo>
                  <a:cubicBezTo>
                    <a:pt x="172783" y="147542"/>
                    <a:pt x="192976" y="148971"/>
                    <a:pt x="208788" y="151829"/>
                  </a:cubicBezTo>
                  <a:cubicBezTo>
                    <a:pt x="224599" y="154686"/>
                    <a:pt x="239744" y="158401"/>
                    <a:pt x="254413" y="163163"/>
                  </a:cubicBezTo>
                  <a:lnTo>
                    <a:pt x="254413" y="156115"/>
                  </a:lnTo>
                  <a:cubicBezTo>
                    <a:pt x="254413" y="130207"/>
                    <a:pt x="246507" y="110395"/>
                    <a:pt x="230696" y="96774"/>
                  </a:cubicBezTo>
                  <a:cubicBezTo>
                    <a:pt x="214884" y="83153"/>
                    <a:pt x="192214" y="76295"/>
                    <a:pt x="162496" y="76295"/>
                  </a:cubicBezTo>
                  <a:cubicBezTo>
                    <a:pt x="141351" y="76295"/>
                    <a:pt x="122491" y="78391"/>
                    <a:pt x="106013" y="82677"/>
                  </a:cubicBezTo>
                  <a:cubicBezTo>
                    <a:pt x="89535" y="86963"/>
                    <a:pt x="72771" y="92583"/>
                    <a:pt x="55816" y="99632"/>
                  </a:cubicBezTo>
                  <a:lnTo>
                    <a:pt x="32480" y="31052"/>
                  </a:lnTo>
                  <a:cubicBezTo>
                    <a:pt x="53149" y="21622"/>
                    <a:pt x="74390" y="14097"/>
                    <a:pt x="96107" y="8477"/>
                  </a:cubicBezTo>
                  <a:cubicBezTo>
                    <a:pt x="117729" y="2858"/>
                    <a:pt x="143923" y="0"/>
                    <a:pt x="174593" y="0"/>
                  </a:cubicBezTo>
                  <a:cubicBezTo>
                    <a:pt x="230124" y="0"/>
                    <a:pt x="271367" y="13811"/>
                    <a:pt x="298228" y="41338"/>
                  </a:cubicBezTo>
                  <a:cubicBezTo>
                    <a:pt x="325088" y="68866"/>
                    <a:pt x="338519" y="107633"/>
                    <a:pt x="338519" y="157544"/>
                  </a:cubicBezTo>
                  <a:lnTo>
                    <a:pt x="338519" y="378714"/>
                  </a:lnTo>
                  <a:lnTo>
                    <a:pt x="253746" y="378714"/>
                  </a:lnTo>
                  <a:close/>
                  <a:moveTo>
                    <a:pt x="255746" y="222409"/>
                  </a:moveTo>
                  <a:cubicBezTo>
                    <a:pt x="244888" y="218123"/>
                    <a:pt x="232029" y="214598"/>
                    <a:pt x="217265" y="211836"/>
                  </a:cubicBezTo>
                  <a:cubicBezTo>
                    <a:pt x="202406" y="208979"/>
                    <a:pt x="186785" y="207550"/>
                    <a:pt x="170307" y="207550"/>
                  </a:cubicBezTo>
                  <a:cubicBezTo>
                    <a:pt x="143446" y="207550"/>
                    <a:pt x="122491" y="212693"/>
                    <a:pt x="107442" y="223075"/>
                  </a:cubicBezTo>
                  <a:cubicBezTo>
                    <a:pt x="92392" y="233458"/>
                    <a:pt x="84868" y="247555"/>
                    <a:pt x="84868" y="265462"/>
                  </a:cubicBezTo>
                  <a:lnTo>
                    <a:pt x="84868" y="266891"/>
                  </a:lnTo>
                  <a:cubicBezTo>
                    <a:pt x="84868" y="284798"/>
                    <a:pt x="91821" y="298418"/>
                    <a:pt x="105728" y="307848"/>
                  </a:cubicBezTo>
                  <a:cubicBezTo>
                    <a:pt x="119634" y="317278"/>
                    <a:pt x="136684" y="321945"/>
                    <a:pt x="156972" y="321945"/>
                  </a:cubicBezTo>
                  <a:cubicBezTo>
                    <a:pt x="171069" y="321945"/>
                    <a:pt x="184213" y="320040"/>
                    <a:pt x="196215" y="316325"/>
                  </a:cubicBezTo>
                  <a:cubicBezTo>
                    <a:pt x="208216" y="312515"/>
                    <a:pt x="218694" y="307277"/>
                    <a:pt x="227647" y="300419"/>
                  </a:cubicBezTo>
                  <a:cubicBezTo>
                    <a:pt x="236601" y="293561"/>
                    <a:pt x="243554" y="285369"/>
                    <a:pt x="248507" y="275654"/>
                  </a:cubicBezTo>
                  <a:cubicBezTo>
                    <a:pt x="253460" y="266033"/>
                    <a:pt x="255937" y="255270"/>
                    <a:pt x="255937" y="243459"/>
                  </a:cubicBezTo>
                  <a:lnTo>
                    <a:pt x="255937" y="222218"/>
                  </a:lnTo>
                  <a:close/>
                </a:path>
              </a:pathLst>
            </a:custGeom>
            <a:solidFill>
              <a:srgbClr val="44505E"/>
            </a:solidFill>
            <a:ln w="9525" cap="flat">
              <a:noFill/>
              <a:prstDash val="solid"/>
              <a:miter/>
            </a:ln>
          </p:spPr>
          <p:txBody>
            <a:bodyPr rtlCol="0" anchor="ctr"/>
            <a:lstStyle/>
            <a:p>
              <a:endParaRPr lang="pt-BR" noProof="0"/>
            </a:p>
          </p:txBody>
        </p:sp>
        <p:sp>
          <p:nvSpPr>
            <p:cNvPr id="28" name="Freeform: Shape 27">
              <a:extLst>
                <a:ext uri="{FF2B5EF4-FFF2-40B4-BE49-F238E27FC236}">
                  <a16:creationId xmlns:a16="http://schemas.microsoft.com/office/drawing/2014/main" id="{0AD20EF2-9AAD-1DE7-3877-FEFF079C18F0}"/>
                </a:ext>
              </a:extLst>
            </p:cNvPr>
            <p:cNvSpPr/>
            <p:nvPr/>
          </p:nvSpPr>
          <p:spPr>
            <a:xfrm>
              <a:off x="6088843" y="700318"/>
              <a:ext cx="74610" cy="97213"/>
            </a:xfrm>
            <a:custGeom>
              <a:avLst/>
              <a:gdLst>
                <a:gd name="connsiteX0" fmla="*/ 158305 w 296799"/>
                <a:gd name="connsiteY0" fmla="*/ 386715 h 386714"/>
                <a:gd name="connsiteX1" fmla="*/ 76676 w 296799"/>
                <a:gd name="connsiteY1" fmla="*/ 372427 h 386714"/>
                <a:gd name="connsiteX2" fmla="*/ 0 w 296799"/>
                <a:gd name="connsiteY2" fmla="*/ 330327 h 386714"/>
                <a:gd name="connsiteX3" fmla="*/ 38195 w 296799"/>
                <a:gd name="connsiteY3" fmla="*/ 272224 h 386714"/>
                <a:gd name="connsiteX4" fmla="*/ 100013 w 296799"/>
                <a:gd name="connsiteY4" fmla="*/ 306514 h 386714"/>
                <a:gd name="connsiteX5" fmla="*/ 160401 w 296799"/>
                <a:gd name="connsiteY5" fmla="*/ 318135 h 386714"/>
                <a:gd name="connsiteX6" fmla="*/ 203168 w 296799"/>
                <a:gd name="connsiteY6" fmla="*/ 307181 h 386714"/>
                <a:gd name="connsiteX7" fmla="*/ 218408 w 296799"/>
                <a:gd name="connsiteY7" fmla="*/ 277939 h 386714"/>
                <a:gd name="connsiteX8" fmla="*/ 218408 w 296799"/>
                <a:gd name="connsiteY8" fmla="*/ 276511 h 386714"/>
                <a:gd name="connsiteX9" fmla="*/ 211646 w 296799"/>
                <a:gd name="connsiteY9" fmla="*/ 258223 h 386714"/>
                <a:gd name="connsiteX10" fmla="*/ 193262 w 296799"/>
                <a:gd name="connsiteY10" fmla="*/ 244792 h 386714"/>
                <a:gd name="connsiteX11" fmla="*/ 166402 w 296799"/>
                <a:gd name="connsiteY11" fmla="*/ 234220 h 386714"/>
                <a:gd name="connsiteX12" fmla="*/ 134969 w 296799"/>
                <a:gd name="connsiteY12" fmla="*/ 224314 h 386714"/>
                <a:gd name="connsiteX13" fmla="*/ 93631 w 296799"/>
                <a:gd name="connsiteY13" fmla="*/ 210884 h 386714"/>
                <a:gd name="connsiteX14" fmla="*/ 56197 w 296799"/>
                <a:gd name="connsiteY14" fmla="*/ 190786 h 386714"/>
                <a:gd name="connsiteX15" fmla="*/ 28956 w 296799"/>
                <a:gd name="connsiteY15" fmla="*/ 160115 h 386714"/>
                <a:gd name="connsiteX16" fmla="*/ 18383 w 296799"/>
                <a:gd name="connsiteY16" fmla="*/ 114967 h 386714"/>
                <a:gd name="connsiteX17" fmla="*/ 18383 w 296799"/>
                <a:gd name="connsiteY17" fmla="*/ 113538 h 386714"/>
                <a:gd name="connsiteX18" fmla="*/ 28575 w 296799"/>
                <a:gd name="connsiteY18" fmla="*/ 66294 h 386714"/>
                <a:gd name="connsiteX19" fmla="*/ 56864 w 296799"/>
                <a:gd name="connsiteY19" fmla="*/ 30385 h 386714"/>
                <a:gd name="connsiteX20" fmla="*/ 99250 w 296799"/>
                <a:gd name="connsiteY20" fmla="*/ 7810 h 386714"/>
                <a:gd name="connsiteX21" fmla="*/ 151162 w 296799"/>
                <a:gd name="connsiteY21" fmla="*/ 0 h 386714"/>
                <a:gd name="connsiteX22" fmla="*/ 222504 w 296799"/>
                <a:gd name="connsiteY22" fmla="*/ 11430 h 386714"/>
                <a:gd name="connsiteX23" fmla="*/ 288227 w 296799"/>
                <a:gd name="connsiteY23" fmla="*/ 42863 h 386714"/>
                <a:gd name="connsiteX24" fmla="*/ 254317 w 296799"/>
                <a:gd name="connsiteY24" fmla="*/ 103918 h 386714"/>
                <a:gd name="connsiteX25" fmla="*/ 199930 w 296799"/>
                <a:gd name="connsiteY25" fmla="*/ 78105 h 386714"/>
                <a:gd name="connsiteX26" fmla="*/ 149066 w 296799"/>
                <a:gd name="connsiteY26" fmla="*/ 68580 h 386714"/>
                <a:gd name="connsiteX27" fmla="*/ 110585 w 296799"/>
                <a:gd name="connsiteY27" fmla="*/ 79153 h 386714"/>
                <a:gd name="connsiteX28" fmla="*/ 96774 w 296799"/>
                <a:gd name="connsiteY28" fmla="*/ 105918 h 386714"/>
                <a:gd name="connsiteX29" fmla="*/ 96774 w 296799"/>
                <a:gd name="connsiteY29" fmla="*/ 107347 h 386714"/>
                <a:gd name="connsiteX30" fmla="*/ 103822 w 296799"/>
                <a:gd name="connsiteY30" fmla="*/ 124587 h 386714"/>
                <a:gd name="connsiteX31" fmla="*/ 122587 w 296799"/>
                <a:gd name="connsiteY31" fmla="*/ 138017 h 386714"/>
                <a:gd name="connsiteX32" fmla="*/ 149447 w 296799"/>
                <a:gd name="connsiteY32" fmla="*/ 149257 h 386714"/>
                <a:gd name="connsiteX33" fmla="*/ 180880 w 296799"/>
                <a:gd name="connsiteY33" fmla="*/ 159448 h 386714"/>
                <a:gd name="connsiteX34" fmla="*/ 221837 w 296799"/>
                <a:gd name="connsiteY34" fmla="*/ 174212 h 386714"/>
                <a:gd name="connsiteX35" fmla="*/ 258985 w 296799"/>
                <a:gd name="connsiteY35" fmla="*/ 194977 h 386714"/>
                <a:gd name="connsiteX36" fmla="*/ 286226 w 296799"/>
                <a:gd name="connsiteY36" fmla="*/ 224980 h 386714"/>
                <a:gd name="connsiteX37" fmla="*/ 296799 w 296799"/>
                <a:gd name="connsiteY37" fmla="*/ 267938 h 386714"/>
                <a:gd name="connsiteX38" fmla="*/ 296799 w 296799"/>
                <a:gd name="connsiteY38" fmla="*/ 269367 h 386714"/>
                <a:gd name="connsiteX39" fmla="*/ 286226 w 296799"/>
                <a:gd name="connsiteY39" fmla="*/ 320897 h 386714"/>
                <a:gd name="connsiteX40" fmla="*/ 256889 w 296799"/>
                <a:gd name="connsiteY40" fmla="*/ 357188 h 386714"/>
                <a:gd name="connsiteX41" fmla="*/ 212693 w 296799"/>
                <a:gd name="connsiteY41" fmla="*/ 379095 h 386714"/>
                <a:gd name="connsiteX42" fmla="*/ 158305 w 296799"/>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799"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065" y="318135"/>
                    <a:pt x="160401" y="318135"/>
                  </a:cubicBezTo>
                  <a:cubicBezTo>
                    <a:pt x="179737" y="318135"/>
                    <a:pt x="193072"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828" y="227647"/>
                    <a:pt x="134969" y="224314"/>
                  </a:cubicBezTo>
                  <a:cubicBezTo>
                    <a:pt x="121348" y="220599"/>
                    <a:pt x="107537" y="216122"/>
                    <a:pt x="93631" y="210884"/>
                  </a:cubicBezTo>
                  <a:cubicBezTo>
                    <a:pt x="79724" y="205740"/>
                    <a:pt x="67246" y="198977"/>
                    <a:pt x="56197" y="190786"/>
                  </a:cubicBezTo>
                  <a:cubicBezTo>
                    <a:pt x="45148" y="182594"/>
                    <a:pt x="36004"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874" y="0"/>
                    <a:pt x="151162" y="0"/>
                  </a:cubicBezTo>
                  <a:cubicBezTo>
                    <a:pt x="174688" y="0"/>
                    <a:pt x="198501" y="3810"/>
                    <a:pt x="222504" y="11430"/>
                  </a:cubicBezTo>
                  <a:cubicBezTo>
                    <a:pt x="246507" y="19050"/>
                    <a:pt x="268414" y="29527"/>
                    <a:pt x="288227" y="42863"/>
                  </a:cubicBezTo>
                  <a:lnTo>
                    <a:pt x="254317"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774" y="95155"/>
                    <a:pt x="96774" y="105918"/>
                  </a:cubicBezTo>
                  <a:lnTo>
                    <a:pt x="96774" y="107347"/>
                  </a:lnTo>
                  <a:cubicBezTo>
                    <a:pt x="96774" y="113919"/>
                    <a:pt x="99155" y="119634"/>
                    <a:pt x="103822" y="124587"/>
                  </a:cubicBezTo>
                  <a:cubicBezTo>
                    <a:pt x="108490" y="129540"/>
                    <a:pt x="114776" y="134017"/>
                    <a:pt x="122587" y="138017"/>
                  </a:cubicBezTo>
                  <a:cubicBezTo>
                    <a:pt x="130397" y="142018"/>
                    <a:pt x="139351" y="145732"/>
                    <a:pt x="149447" y="149257"/>
                  </a:cubicBezTo>
                  <a:cubicBezTo>
                    <a:pt x="159544" y="152781"/>
                    <a:pt x="170021" y="156210"/>
                    <a:pt x="180880" y="159448"/>
                  </a:cubicBezTo>
                  <a:cubicBezTo>
                    <a:pt x="194500" y="163639"/>
                    <a:pt x="208216" y="168592"/>
                    <a:pt x="221837" y="174212"/>
                  </a:cubicBezTo>
                  <a:cubicBezTo>
                    <a:pt x="235458" y="179832"/>
                    <a:pt x="247840" y="186785"/>
                    <a:pt x="258985" y="194977"/>
                  </a:cubicBezTo>
                  <a:cubicBezTo>
                    <a:pt x="270034" y="203168"/>
                    <a:pt x="279178" y="213169"/>
                    <a:pt x="286226" y="224980"/>
                  </a:cubicBezTo>
                  <a:cubicBezTo>
                    <a:pt x="293275" y="236696"/>
                    <a:pt x="296799" y="251079"/>
                    <a:pt x="296799" y="267938"/>
                  </a:cubicBezTo>
                  <a:lnTo>
                    <a:pt x="296799" y="269367"/>
                  </a:lnTo>
                  <a:cubicBezTo>
                    <a:pt x="296799" y="289084"/>
                    <a:pt x="293275" y="306229"/>
                    <a:pt x="286226" y="320897"/>
                  </a:cubicBezTo>
                  <a:cubicBezTo>
                    <a:pt x="279178" y="335470"/>
                    <a:pt x="269367" y="347567"/>
                    <a:pt x="256889" y="357188"/>
                  </a:cubicBezTo>
                  <a:cubicBezTo>
                    <a:pt x="244412" y="366808"/>
                    <a:pt x="229648" y="374142"/>
                    <a:pt x="212693" y="379095"/>
                  </a:cubicBezTo>
                  <a:cubicBezTo>
                    <a:pt x="195739" y="384048"/>
                    <a:pt x="177641" y="386524"/>
                    <a:pt x="158305" y="386524"/>
                  </a:cubicBezTo>
                  <a:close/>
                </a:path>
              </a:pathLst>
            </a:custGeom>
            <a:solidFill>
              <a:srgbClr val="44505E"/>
            </a:solidFill>
            <a:ln w="9525" cap="flat">
              <a:noFill/>
              <a:prstDash val="solid"/>
              <a:miter/>
            </a:ln>
          </p:spPr>
          <p:txBody>
            <a:bodyPr rtlCol="0" anchor="ctr"/>
            <a:lstStyle/>
            <a:p>
              <a:endParaRPr lang="pt-BR" noProof="0"/>
            </a:p>
          </p:txBody>
        </p:sp>
        <p:sp>
          <p:nvSpPr>
            <p:cNvPr id="29" name="Freeform: Shape 28">
              <a:extLst>
                <a:ext uri="{FF2B5EF4-FFF2-40B4-BE49-F238E27FC236}">
                  <a16:creationId xmlns:a16="http://schemas.microsoft.com/office/drawing/2014/main" id="{FE009C8E-06CD-7C3E-CC02-9CAFC7D4C225}"/>
                </a:ext>
              </a:extLst>
            </p:cNvPr>
            <p:cNvSpPr/>
            <p:nvPr/>
          </p:nvSpPr>
          <p:spPr>
            <a:xfrm>
              <a:off x="6238590"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4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7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2 w 568166"/>
                <a:gd name="connsiteY21" fmla="*/ 381000 h 381000"/>
                <a:gd name="connsiteX22" fmla="*/ 240982 w 568166"/>
                <a:gd name="connsiteY22" fmla="*/ 168783 h 381000"/>
                <a:gd name="connsiteX23" fmla="*/ 221266 w 568166"/>
                <a:gd name="connsiteY23" fmla="*/ 101822 h 381000"/>
                <a:gd name="connsiteX24" fmla="*/ 165640 w 568166"/>
                <a:gd name="connsiteY24" fmla="*/ 78581 h 381000"/>
                <a:gd name="connsiteX25" fmla="*/ 108013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69" y="48196"/>
                    <a:pt x="105918" y="40576"/>
                  </a:cubicBezTo>
                  <a:cubicBezTo>
                    <a:pt x="112966" y="32956"/>
                    <a:pt x="121063" y="26099"/>
                    <a:pt x="130207" y="19907"/>
                  </a:cubicBezTo>
                  <a:cubicBezTo>
                    <a:pt x="139351" y="13716"/>
                    <a:pt x="149638" y="8858"/>
                    <a:pt x="161163" y="5334"/>
                  </a:cubicBezTo>
                  <a:cubicBezTo>
                    <a:pt x="172688" y="1714"/>
                    <a:pt x="185452" y="0"/>
                    <a:pt x="199549" y="0"/>
                  </a:cubicBezTo>
                  <a:cubicBezTo>
                    <a:pt x="226314" y="0"/>
                    <a:pt x="248983" y="6096"/>
                    <a:pt x="267557" y="18193"/>
                  </a:cubicBezTo>
                  <a:cubicBezTo>
                    <a:pt x="286131" y="30289"/>
                    <a:pt x="300323" y="46387"/>
                    <a:pt x="310134" y="66294"/>
                  </a:cubicBezTo>
                  <a:cubicBezTo>
                    <a:pt x="325279" y="46387"/>
                    <a:pt x="343090" y="30289"/>
                    <a:pt x="363664" y="18193"/>
                  </a:cubicBezTo>
                  <a:cubicBezTo>
                    <a:pt x="384238" y="6096"/>
                    <a:pt x="408718" y="0"/>
                    <a:pt x="437007" y="0"/>
                  </a:cubicBezTo>
                  <a:cubicBezTo>
                    <a:pt x="478155"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7" y="78486"/>
                  </a:cubicBezTo>
                  <a:cubicBezTo>
                    <a:pt x="382809" y="78486"/>
                    <a:pt x="364141" y="86392"/>
                    <a:pt x="349377" y="102108"/>
                  </a:cubicBezTo>
                  <a:cubicBezTo>
                    <a:pt x="334613" y="117824"/>
                    <a:pt x="327184" y="140779"/>
                    <a:pt x="327184" y="170879"/>
                  </a:cubicBezTo>
                  <a:lnTo>
                    <a:pt x="327184" y="381000"/>
                  </a:lnTo>
                  <a:lnTo>
                    <a:pt x="240982" y="381000"/>
                  </a:lnTo>
                  <a:lnTo>
                    <a:pt x="240982" y="168783"/>
                  </a:lnTo>
                  <a:cubicBezTo>
                    <a:pt x="240982" y="139637"/>
                    <a:pt x="234410" y="117348"/>
                    <a:pt x="221266" y="101822"/>
                  </a:cubicBezTo>
                  <a:cubicBezTo>
                    <a:pt x="208121" y="86296"/>
                    <a:pt x="189547" y="78581"/>
                    <a:pt x="165640" y="78581"/>
                  </a:cubicBezTo>
                  <a:cubicBezTo>
                    <a:pt x="141732" y="78581"/>
                    <a:pt x="122491" y="86773"/>
                    <a:pt x="108013"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30" name="Freeform: Shape 29">
              <a:extLst>
                <a:ext uri="{FF2B5EF4-FFF2-40B4-BE49-F238E27FC236}">
                  <a16:creationId xmlns:a16="http://schemas.microsoft.com/office/drawing/2014/main" id="{078AB5EF-7A2F-D607-96DE-6B30745B19CD}"/>
                </a:ext>
              </a:extLst>
            </p:cNvPr>
            <p:cNvSpPr/>
            <p:nvPr/>
          </p:nvSpPr>
          <p:spPr>
            <a:xfrm>
              <a:off x="6400979" y="664258"/>
              <a:ext cx="85097" cy="133441"/>
            </a:xfrm>
            <a:custGeom>
              <a:avLst/>
              <a:gdLst>
                <a:gd name="connsiteX0" fmla="*/ 253651 w 338518"/>
                <a:gd name="connsiteY0" fmla="*/ 523018 h 530828"/>
                <a:gd name="connsiteX1" fmla="*/ 253651 w 338518"/>
                <a:gd name="connsiteY1" fmla="*/ 477107 h 530828"/>
                <a:gd name="connsiteX2" fmla="*/ 204883 w 338518"/>
                <a:gd name="connsiteY2" fmla="*/ 515303 h 530828"/>
                <a:gd name="connsiteX3" fmla="*/ 132779 w 338518"/>
                <a:gd name="connsiteY3" fmla="*/ 530828 h 530828"/>
                <a:gd name="connsiteX4" fmla="*/ 81915 w 338518"/>
                <a:gd name="connsiteY4" fmla="*/ 523399 h 530828"/>
                <a:gd name="connsiteX5" fmla="*/ 39910 w 338518"/>
                <a:gd name="connsiteY5" fmla="*/ 501491 h 530828"/>
                <a:gd name="connsiteX6" fmla="*/ 10954 w 338518"/>
                <a:gd name="connsiteY6" fmla="*/ 465487 h 530828"/>
                <a:gd name="connsiteX7" fmla="*/ 0 w 338518"/>
                <a:gd name="connsiteY7" fmla="*/ 415671 h 530828"/>
                <a:gd name="connsiteX8" fmla="*/ 0 w 338518"/>
                <a:gd name="connsiteY8" fmla="*/ 414242 h 530828"/>
                <a:gd name="connsiteX9" fmla="*/ 11335 w 338518"/>
                <a:gd name="connsiteY9" fmla="*/ 360140 h 530828"/>
                <a:gd name="connsiteX10" fmla="*/ 42767 w 338518"/>
                <a:gd name="connsiteY10" fmla="*/ 321945 h 530828"/>
                <a:gd name="connsiteX11" fmla="*/ 90773 w 338518"/>
                <a:gd name="connsiteY11" fmla="*/ 299371 h 530828"/>
                <a:gd name="connsiteX12" fmla="*/ 151162 w 338518"/>
                <a:gd name="connsiteY12" fmla="*/ 291941 h 530828"/>
                <a:gd name="connsiteX13" fmla="*/ 208788 w 338518"/>
                <a:gd name="connsiteY13" fmla="*/ 296228 h 530828"/>
                <a:gd name="connsiteX14" fmla="*/ 254413 w 338518"/>
                <a:gd name="connsiteY14" fmla="*/ 307562 h 530828"/>
                <a:gd name="connsiteX15" fmla="*/ 254413 w 338518"/>
                <a:gd name="connsiteY15" fmla="*/ 300514 h 530828"/>
                <a:gd name="connsiteX16" fmla="*/ 230696 w 338518"/>
                <a:gd name="connsiteY16" fmla="*/ 241173 h 530828"/>
                <a:gd name="connsiteX17" fmla="*/ 162496 w 338518"/>
                <a:gd name="connsiteY17" fmla="*/ 220694 h 530828"/>
                <a:gd name="connsiteX18" fmla="*/ 106013 w 338518"/>
                <a:gd name="connsiteY18" fmla="*/ 227076 h 530828"/>
                <a:gd name="connsiteX19" fmla="*/ 55817 w 338518"/>
                <a:gd name="connsiteY19" fmla="*/ 244031 h 530828"/>
                <a:gd name="connsiteX20" fmla="*/ 32480 w 338518"/>
                <a:gd name="connsiteY20" fmla="*/ 175451 h 530828"/>
                <a:gd name="connsiteX21" fmla="*/ 96107 w 338518"/>
                <a:gd name="connsiteY21" fmla="*/ 152876 h 530828"/>
                <a:gd name="connsiteX22" fmla="*/ 174593 w 338518"/>
                <a:gd name="connsiteY22" fmla="*/ 144399 h 530828"/>
                <a:gd name="connsiteX23" fmla="*/ 298228 w 338518"/>
                <a:gd name="connsiteY23" fmla="*/ 185738 h 530828"/>
                <a:gd name="connsiteX24" fmla="*/ 338519 w 338518"/>
                <a:gd name="connsiteY24" fmla="*/ 301943 h 530828"/>
                <a:gd name="connsiteX25" fmla="*/ 338519 w 338518"/>
                <a:gd name="connsiteY25" fmla="*/ 523113 h 530828"/>
                <a:gd name="connsiteX26" fmla="*/ 253746 w 338518"/>
                <a:gd name="connsiteY26" fmla="*/ 523113 h 530828"/>
                <a:gd name="connsiteX27" fmla="*/ 45911 w 338518"/>
                <a:gd name="connsiteY27" fmla="*/ 95441 h 530828"/>
                <a:gd name="connsiteX28" fmla="*/ 75248 w 338518"/>
                <a:gd name="connsiteY28" fmla="*/ 29718 h 530828"/>
                <a:gd name="connsiteX29" fmla="*/ 125063 w 338518"/>
                <a:gd name="connsiteY29" fmla="*/ 7144 h 530828"/>
                <a:gd name="connsiteX30" fmla="*/ 154019 w 338518"/>
                <a:gd name="connsiteY30" fmla="*/ 11716 h 530828"/>
                <a:gd name="connsiteX31" fmla="*/ 181261 w 338518"/>
                <a:gd name="connsiteY31" fmla="*/ 21622 h 530828"/>
                <a:gd name="connsiteX32" fmla="*/ 205645 w 338518"/>
                <a:gd name="connsiteY32" fmla="*/ 31147 h 530828"/>
                <a:gd name="connsiteX33" fmla="*/ 226790 w 338518"/>
                <a:gd name="connsiteY33" fmla="*/ 35338 h 530828"/>
                <a:gd name="connsiteX34" fmla="*/ 250127 w 338518"/>
                <a:gd name="connsiteY34" fmla="*/ 26861 h 530828"/>
                <a:gd name="connsiteX35" fmla="*/ 265652 w 338518"/>
                <a:gd name="connsiteY35" fmla="*/ 0 h 530828"/>
                <a:gd name="connsiteX36" fmla="*/ 312991 w 338518"/>
                <a:gd name="connsiteY36" fmla="*/ 14859 h 530828"/>
                <a:gd name="connsiteX37" fmla="*/ 283655 w 338518"/>
                <a:gd name="connsiteY37" fmla="*/ 79820 h 530828"/>
                <a:gd name="connsiteX38" fmla="*/ 233839 w 338518"/>
                <a:gd name="connsiteY38" fmla="*/ 102394 h 530828"/>
                <a:gd name="connsiteX39" fmla="*/ 204883 w 338518"/>
                <a:gd name="connsiteY39" fmla="*/ 98203 h 530828"/>
                <a:gd name="connsiteX40" fmla="*/ 177641 w 338518"/>
                <a:gd name="connsiteY40" fmla="*/ 88678 h 530828"/>
                <a:gd name="connsiteX41" fmla="*/ 152876 w 338518"/>
                <a:gd name="connsiteY41" fmla="*/ 78772 h 530828"/>
                <a:gd name="connsiteX42" fmla="*/ 132017 w 338518"/>
                <a:gd name="connsiteY42" fmla="*/ 74200 h 530828"/>
                <a:gd name="connsiteX43" fmla="*/ 108680 w 338518"/>
                <a:gd name="connsiteY43" fmla="*/ 82677 h 530828"/>
                <a:gd name="connsiteX44" fmla="*/ 93154 w 338518"/>
                <a:gd name="connsiteY44" fmla="*/ 109538 h 530828"/>
                <a:gd name="connsiteX45" fmla="*/ 45815 w 338518"/>
                <a:gd name="connsiteY45" fmla="*/ 95441 h 530828"/>
                <a:gd name="connsiteX46" fmla="*/ 255842 w 338518"/>
                <a:gd name="connsiteY46" fmla="*/ 366808 h 530828"/>
                <a:gd name="connsiteX47" fmla="*/ 217361 w 338518"/>
                <a:gd name="connsiteY47" fmla="*/ 356235 h 530828"/>
                <a:gd name="connsiteX48" fmla="*/ 170402 w 338518"/>
                <a:gd name="connsiteY48" fmla="*/ 351949 h 530828"/>
                <a:gd name="connsiteX49" fmla="*/ 107537 w 338518"/>
                <a:gd name="connsiteY49" fmla="*/ 367475 h 530828"/>
                <a:gd name="connsiteX50" fmla="*/ 84963 w 338518"/>
                <a:gd name="connsiteY50" fmla="*/ 409861 h 530828"/>
                <a:gd name="connsiteX51" fmla="*/ 84963 w 338518"/>
                <a:gd name="connsiteY51" fmla="*/ 411290 h 530828"/>
                <a:gd name="connsiteX52" fmla="*/ 105823 w 338518"/>
                <a:gd name="connsiteY52" fmla="*/ 452247 h 530828"/>
                <a:gd name="connsiteX53" fmla="*/ 157067 w 338518"/>
                <a:gd name="connsiteY53" fmla="*/ 466344 h 530828"/>
                <a:gd name="connsiteX54" fmla="*/ 196310 w 338518"/>
                <a:gd name="connsiteY54" fmla="*/ 460724 h 530828"/>
                <a:gd name="connsiteX55" fmla="*/ 227743 w 338518"/>
                <a:gd name="connsiteY55" fmla="*/ 444818 h 530828"/>
                <a:gd name="connsiteX56" fmla="*/ 248603 w 338518"/>
                <a:gd name="connsiteY56" fmla="*/ 420053 h 530828"/>
                <a:gd name="connsiteX57" fmla="*/ 256032 w 338518"/>
                <a:gd name="connsiteY57" fmla="*/ 387858 h 530828"/>
                <a:gd name="connsiteX58" fmla="*/ 256032 w 338518"/>
                <a:gd name="connsiteY58" fmla="*/ 366617 h 5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8518" h="530828">
                  <a:moveTo>
                    <a:pt x="253651" y="523018"/>
                  </a:moveTo>
                  <a:lnTo>
                    <a:pt x="253651" y="477107"/>
                  </a:lnTo>
                  <a:cubicBezTo>
                    <a:pt x="240887" y="492157"/>
                    <a:pt x="224695" y="504920"/>
                    <a:pt x="204883" y="515303"/>
                  </a:cubicBezTo>
                  <a:cubicBezTo>
                    <a:pt x="185071" y="525685"/>
                    <a:pt x="161068" y="530828"/>
                    <a:pt x="132779" y="530828"/>
                  </a:cubicBezTo>
                  <a:cubicBezTo>
                    <a:pt x="114871" y="530828"/>
                    <a:pt x="97917" y="528352"/>
                    <a:pt x="81915" y="523399"/>
                  </a:cubicBezTo>
                  <a:cubicBezTo>
                    <a:pt x="65913" y="518446"/>
                    <a:pt x="51911" y="511112"/>
                    <a:pt x="39910" y="501491"/>
                  </a:cubicBezTo>
                  <a:cubicBezTo>
                    <a:pt x="27908" y="491871"/>
                    <a:pt x="18193" y="479870"/>
                    <a:pt x="10954" y="465487"/>
                  </a:cubicBezTo>
                  <a:cubicBezTo>
                    <a:pt x="3620" y="451104"/>
                    <a:pt x="0" y="434531"/>
                    <a:pt x="0" y="415671"/>
                  </a:cubicBezTo>
                  <a:lnTo>
                    <a:pt x="0" y="414242"/>
                  </a:lnTo>
                  <a:cubicBezTo>
                    <a:pt x="0" y="393478"/>
                    <a:pt x="3810" y="375476"/>
                    <a:pt x="11335" y="360140"/>
                  </a:cubicBezTo>
                  <a:cubicBezTo>
                    <a:pt x="18860" y="344805"/>
                    <a:pt x="29337" y="332137"/>
                    <a:pt x="42767" y="321945"/>
                  </a:cubicBezTo>
                  <a:cubicBezTo>
                    <a:pt x="56198" y="311849"/>
                    <a:pt x="72200" y="304324"/>
                    <a:pt x="90773" y="299371"/>
                  </a:cubicBezTo>
                  <a:cubicBezTo>
                    <a:pt x="109347" y="294418"/>
                    <a:pt x="129540" y="291941"/>
                    <a:pt x="151162" y="291941"/>
                  </a:cubicBezTo>
                  <a:cubicBezTo>
                    <a:pt x="172784" y="291941"/>
                    <a:pt x="192977" y="293370"/>
                    <a:pt x="208788" y="296228"/>
                  </a:cubicBezTo>
                  <a:cubicBezTo>
                    <a:pt x="224600" y="299085"/>
                    <a:pt x="239744" y="302800"/>
                    <a:pt x="254413" y="307562"/>
                  </a:cubicBezTo>
                  <a:lnTo>
                    <a:pt x="254413" y="300514"/>
                  </a:lnTo>
                  <a:cubicBezTo>
                    <a:pt x="254413" y="274606"/>
                    <a:pt x="246507" y="254794"/>
                    <a:pt x="230696" y="241173"/>
                  </a:cubicBezTo>
                  <a:cubicBezTo>
                    <a:pt x="214884" y="227552"/>
                    <a:pt x="192215" y="220694"/>
                    <a:pt x="162496" y="220694"/>
                  </a:cubicBezTo>
                  <a:cubicBezTo>
                    <a:pt x="141351" y="220694"/>
                    <a:pt x="122492" y="222790"/>
                    <a:pt x="106013" y="227076"/>
                  </a:cubicBezTo>
                  <a:cubicBezTo>
                    <a:pt x="89535" y="231362"/>
                    <a:pt x="72771" y="236982"/>
                    <a:pt x="55817" y="244031"/>
                  </a:cubicBezTo>
                  <a:lnTo>
                    <a:pt x="32480" y="175451"/>
                  </a:lnTo>
                  <a:cubicBezTo>
                    <a:pt x="53150" y="166021"/>
                    <a:pt x="74390" y="158496"/>
                    <a:pt x="96107" y="152876"/>
                  </a:cubicBezTo>
                  <a:cubicBezTo>
                    <a:pt x="117729" y="147257"/>
                    <a:pt x="143923" y="144399"/>
                    <a:pt x="174593" y="144399"/>
                  </a:cubicBezTo>
                  <a:cubicBezTo>
                    <a:pt x="230124" y="144399"/>
                    <a:pt x="271367" y="158210"/>
                    <a:pt x="298228" y="185738"/>
                  </a:cubicBezTo>
                  <a:cubicBezTo>
                    <a:pt x="325088" y="213265"/>
                    <a:pt x="338519" y="252032"/>
                    <a:pt x="338519" y="301943"/>
                  </a:cubicBezTo>
                  <a:lnTo>
                    <a:pt x="338519" y="523113"/>
                  </a:lnTo>
                  <a:lnTo>
                    <a:pt x="253746" y="523113"/>
                  </a:lnTo>
                  <a:close/>
                  <a:moveTo>
                    <a:pt x="45911" y="95441"/>
                  </a:moveTo>
                  <a:cubicBezTo>
                    <a:pt x="53912" y="66675"/>
                    <a:pt x="63722" y="44768"/>
                    <a:pt x="75248" y="29718"/>
                  </a:cubicBezTo>
                  <a:cubicBezTo>
                    <a:pt x="86773" y="14669"/>
                    <a:pt x="103442" y="7144"/>
                    <a:pt x="125063" y="7144"/>
                  </a:cubicBezTo>
                  <a:cubicBezTo>
                    <a:pt x="134969" y="7144"/>
                    <a:pt x="144590" y="8668"/>
                    <a:pt x="154019" y="11716"/>
                  </a:cubicBezTo>
                  <a:cubicBezTo>
                    <a:pt x="163449" y="14764"/>
                    <a:pt x="172498" y="18098"/>
                    <a:pt x="181261" y="21622"/>
                  </a:cubicBezTo>
                  <a:cubicBezTo>
                    <a:pt x="189929" y="25146"/>
                    <a:pt x="198120" y="28385"/>
                    <a:pt x="205645" y="31147"/>
                  </a:cubicBezTo>
                  <a:cubicBezTo>
                    <a:pt x="213170" y="34004"/>
                    <a:pt x="220218" y="35338"/>
                    <a:pt x="226790" y="35338"/>
                  </a:cubicBezTo>
                  <a:cubicBezTo>
                    <a:pt x="237173" y="35338"/>
                    <a:pt x="244888" y="32480"/>
                    <a:pt x="250127" y="26861"/>
                  </a:cubicBezTo>
                  <a:cubicBezTo>
                    <a:pt x="255270" y="21241"/>
                    <a:pt x="260509" y="12287"/>
                    <a:pt x="265652" y="0"/>
                  </a:cubicBezTo>
                  <a:lnTo>
                    <a:pt x="312991" y="14859"/>
                  </a:lnTo>
                  <a:cubicBezTo>
                    <a:pt x="304991" y="43148"/>
                    <a:pt x="295180" y="64770"/>
                    <a:pt x="283655" y="79820"/>
                  </a:cubicBezTo>
                  <a:cubicBezTo>
                    <a:pt x="272129" y="94869"/>
                    <a:pt x="255461" y="102394"/>
                    <a:pt x="233839" y="102394"/>
                  </a:cubicBezTo>
                  <a:cubicBezTo>
                    <a:pt x="223933" y="102394"/>
                    <a:pt x="214313" y="100965"/>
                    <a:pt x="204883" y="98203"/>
                  </a:cubicBezTo>
                  <a:cubicBezTo>
                    <a:pt x="195453" y="95345"/>
                    <a:pt x="186404" y="92202"/>
                    <a:pt x="177641" y="88678"/>
                  </a:cubicBezTo>
                  <a:cubicBezTo>
                    <a:pt x="168878" y="85154"/>
                    <a:pt x="160687" y="81820"/>
                    <a:pt x="152876" y="78772"/>
                  </a:cubicBezTo>
                  <a:cubicBezTo>
                    <a:pt x="145066" y="75724"/>
                    <a:pt x="138113" y="74200"/>
                    <a:pt x="132017" y="74200"/>
                  </a:cubicBezTo>
                  <a:cubicBezTo>
                    <a:pt x="121634" y="74200"/>
                    <a:pt x="113919" y="77057"/>
                    <a:pt x="108680" y="82677"/>
                  </a:cubicBezTo>
                  <a:cubicBezTo>
                    <a:pt x="103537" y="88297"/>
                    <a:pt x="98298" y="97250"/>
                    <a:pt x="93154" y="109538"/>
                  </a:cubicBezTo>
                  <a:lnTo>
                    <a:pt x="45815" y="95441"/>
                  </a:lnTo>
                  <a:close/>
                  <a:moveTo>
                    <a:pt x="255842" y="366808"/>
                  </a:moveTo>
                  <a:cubicBezTo>
                    <a:pt x="244983" y="362522"/>
                    <a:pt x="232124" y="358997"/>
                    <a:pt x="217361" y="356235"/>
                  </a:cubicBezTo>
                  <a:cubicBezTo>
                    <a:pt x="202502" y="353378"/>
                    <a:pt x="186880" y="351949"/>
                    <a:pt x="170402" y="351949"/>
                  </a:cubicBezTo>
                  <a:cubicBezTo>
                    <a:pt x="143542" y="351949"/>
                    <a:pt x="122587" y="357092"/>
                    <a:pt x="107537" y="367475"/>
                  </a:cubicBezTo>
                  <a:cubicBezTo>
                    <a:pt x="92488" y="377857"/>
                    <a:pt x="84963" y="391954"/>
                    <a:pt x="84963" y="409861"/>
                  </a:cubicBezTo>
                  <a:lnTo>
                    <a:pt x="84963" y="411290"/>
                  </a:lnTo>
                  <a:cubicBezTo>
                    <a:pt x="84963" y="429197"/>
                    <a:pt x="91916" y="442817"/>
                    <a:pt x="105823" y="452247"/>
                  </a:cubicBezTo>
                  <a:cubicBezTo>
                    <a:pt x="119729" y="461677"/>
                    <a:pt x="136779" y="466344"/>
                    <a:pt x="157067" y="466344"/>
                  </a:cubicBezTo>
                  <a:cubicBezTo>
                    <a:pt x="171164" y="466344"/>
                    <a:pt x="184309" y="464439"/>
                    <a:pt x="196310" y="460724"/>
                  </a:cubicBezTo>
                  <a:cubicBezTo>
                    <a:pt x="208312" y="456914"/>
                    <a:pt x="218789" y="451676"/>
                    <a:pt x="227743" y="444818"/>
                  </a:cubicBezTo>
                  <a:cubicBezTo>
                    <a:pt x="236696" y="437960"/>
                    <a:pt x="243650" y="429768"/>
                    <a:pt x="248603" y="420053"/>
                  </a:cubicBezTo>
                  <a:cubicBezTo>
                    <a:pt x="253555" y="410432"/>
                    <a:pt x="256032" y="399669"/>
                    <a:pt x="256032" y="387858"/>
                  </a:cubicBezTo>
                  <a:lnTo>
                    <a:pt x="256032" y="366617"/>
                  </a:lnTo>
                  <a:close/>
                </a:path>
              </a:pathLst>
            </a:custGeom>
            <a:solidFill>
              <a:srgbClr val="44505E"/>
            </a:solidFill>
            <a:ln w="9525" cap="flat">
              <a:noFill/>
              <a:prstDash val="solid"/>
              <a:miter/>
            </a:ln>
          </p:spPr>
          <p:txBody>
            <a:bodyPr rtlCol="0" anchor="ctr"/>
            <a:lstStyle/>
            <a:p>
              <a:endParaRPr lang="pt-BR" noProof="0"/>
            </a:p>
          </p:txBody>
        </p:sp>
        <p:sp>
          <p:nvSpPr>
            <p:cNvPr id="31" name="Freeform: Shape 30">
              <a:extLst>
                <a:ext uri="{FF2B5EF4-FFF2-40B4-BE49-F238E27FC236}">
                  <a16:creationId xmlns:a16="http://schemas.microsoft.com/office/drawing/2014/main" id="{FDD184AC-9188-27FD-B7AD-DE1933858D1A}"/>
                </a:ext>
              </a:extLst>
            </p:cNvPr>
            <p:cNvSpPr/>
            <p:nvPr/>
          </p:nvSpPr>
          <p:spPr>
            <a:xfrm>
              <a:off x="6506477" y="699959"/>
              <a:ext cx="100038" cy="97908"/>
            </a:xfrm>
            <a:custGeom>
              <a:avLst/>
              <a:gdLst>
                <a:gd name="connsiteX0" fmla="*/ 197834 w 397954"/>
                <a:gd name="connsiteY0" fmla="*/ 389477 h 389477"/>
                <a:gd name="connsiteX1" fmla="*/ 119063 w 397954"/>
                <a:gd name="connsiteY1" fmla="*/ 374237 h 389477"/>
                <a:gd name="connsiteX2" fmla="*/ 56198 w 397954"/>
                <a:gd name="connsiteY2" fmla="*/ 332899 h 389477"/>
                <a:gd name="connsiteX3" fmla="*/ 14859 w 397954"/>
                <a:gd name="connsiteY3" fmla="*/ 271463 h 389477"/>
                <a:gd name="connsiteX4" fmla="*/ 0 w 397954"/>
                <a:gd name="connsiteY4" fmla="*/ 196501 h 389477"/>
                <a:gd name="connsiteX5" fmla="*/ 0 w 397954"/>
                <a:gd name="connsiteY5" fmla="*/ 195072 h 389477"/>
                <a:gd name="connsiteX6" fmla="*/ 15240 w 397954"/>
                <a:gd name="connsiteY6" fmla="*/ 119444 h 389477"/>
                <a:gd name="connsiteX7" fmla="*/ 56960 w 397954"/>
                <a:gd name="connsiteY7" fmla="*/ 57626 h 389477"/>
                <a:gd name="connsiteX8" fmla="*/ 119825 w 397954"/>
                <a:gd name="connsiteY8" fmla="*/ 15526 h 389477"/>
                <a:gd name="connsiteX9" fmla="*/ 199358 w 397954"/>
                <a:gd name="connsiteY9" fmla="*/ 0 h 389477"/>
                <a:gd name="connsiteX10" fmla="*/ 278892 w 397954"/>
                <a:gd name="connsiteY10" fmla="*/ 15240 h 389477"/>
                <a:gd name="connsiteX11" fmla="*/ 341757 w 397954"/>
                <a:gd name="connsiteY11" fmla="*/ 56959 h 389477"/>
                <a:gd name="connsiteX12" fmla="*/ 383096 w 397954"/>
                <a:gd name="connsiteY12" fmla="*/ 118396 h 389477"/>
                <a:gd name="connsiteX13" fmla="*/ 397955 w 397954"/>
                <a:gd name="connsiteY13" fmla="*/ 193643 h 389477"/>
                <a:gd name="connsiteX14" fmla="*/ 397955 w 397954"/>
                <a:gd name="connsiteY14" fmla="*/ 195072 h 389477"/>
                <a:gd name="connsiteX15" fmla="*/ 382714 w 397954"/>
                <a:gd name="connsiteY15" fmla="*/ 270034 h 389477"/>
                <a:gd name="connsiteX16" fmla="*/ 340995 w 397954"/>
                <a:gd name="connsiteY16" fmla="*/ 331851 h 389477"/>
                <a:gd name="connsiteX17" fmla="*/ 277749 w 397954"/>
                <a:gd name="connsiteY17" fmla="*/ 373856 h 389477"/>
                <a:gd name="connsiteX18" fmla="*/ 197834 w 397954"/>
                <a:gd name="connsiteY18" fmla="*/ 389382 h 389477"/>
                <a:gd name="connsiteX19" fmla="*/ 199263 w 397954"/>
                <a:gd name="connsiteY19" fmla="*/ 315278 h 389477"/>
                <a:gd name="connsiteX20" fmla="*/ 245936 w 397954"/>
                <a:gd name="connsiteY20" fmla="*/ 305753 h 389477"/>
                <a:gd name="connsiteX21" fmla="*/ 281369 w 397954"/>
                <a:gd name="connsiteY21" fmla="*/ 279940 h 389477"/>
                <a:gd name="connsiteX22" fmla="*/ 303848 w 397954"/>
                <a:gd name="connsiteY22" fmla="*/ 242125 h 389477"/>
                <a:gd name="connsiteX23" fmla="*/ 311563 w 397954"/>
                <a:gd name="connsiteY23" fmla="*/ 196501 h 389477"/>
                <a:gd name="connsiteX24" fmla="*/ 311563 w 397954"/>
                <a:gd name="connsiteY24" fmla="*/ 195072 h 389477"/>
                <a:gd name="connsiteX25" fmla="*/ 303181 w 397954"/>
                <a:gd name="connsiteY25" fmla="*/ 148400 h 389477"/>
                <a:gd name="connsiteX26" fmla="*/ 279654 w 397954"/>
                <a:gd name="connsiteY26" fmla="*/ 110204 h 389477"/>
                <a:gd name="connsiteX27" fmla="*/ 243840 w 397954"/>
                <a:gd name="connsiteY27" fmla="*/ 84392 h 389477"/>
                <a:gd name="connsiteX28" fmla="*/ 197834 w 397954"/>
                <a:gd name="connsiteY28" fmla="*/ 74867 h 389477"/>
                <a:gd name="connsiteX29" fmla="*/ 151829 w 397954"/>
                <a:gd name="connsiteY29" fmla="*/ 84392 h 389477"/>
                <a:gd name="connsiteX30" fmla="*/ 116396 w 397954"/>
                <a:gd name="connsiteY30" fmla="*/ 109823 h 389477"/>
                <a:gd name="connsiteX31" fmla="*/ 93916 w 397954"/>
                <a:gd name="connsiteY31" fmla="*/ 147638 h 389477"/>
                <a:gd name="connsiteX32" fmla="*/ 86201 w 397954"/>
                <a:gd name="connsiteY32" fmla="*/ 193548 h 389477"/>
                <a:gd name="connsiteX33" fmla="*/ 86201 w 397954"/>
                <a:gd name="connsiteY33" fmla="*/ 194977 h 389477"/>
                <a:gd name="connsiteX34" fmla="*/ 94583 w 397954"/>
                <a:gd name="connsiteY34" fmla="*/ 241268 h 389477"/>
                <a:gd name="connsiteX35" fmla="*/ 118110 w 397954"/>
                <a:gd name="connsiteY35" fmla="*/ 279463 h 389477"/>
                <a:gd name="connsiteX36" fmla="*/ 153924 w 397954"/>
                <a:gd name="connsiteY36" fmla="*/ 305562 h 389477"/>
                <a:gd name="connsiteX37" fmla="*/ 199263 w 397954"/>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954" h="389477">
                  <a:moveTo>
                    <a:pt x="197834" y="389477"/>
                  </a:moveTo>
                  <a:cubicBezTo>
                    <a:pt x="169545" y="389477"/>
                    <a:pt x="143351" y="384429"/>
                    <a:pt x="119063" y="374237"/>
                  </a:cubicBezTo>
                  <a:cubicBezTo>
                    <a:pt x="94774" y="364141"/>
                    <a:pt x="73819" y="350330"/>
                    <a:pt x="56198" y="332899"/>
                  </a:cubicBezTo>
                  <a:cubicBezTo>
                    <a:pt x="38576" y="315468"/>
                    <a:pt x="24765" y="294989"/>
                    <a:pt x="14859" y="271463"/>
                  </a:cubicBezTo>
                  <a:cubicBezTo>
                    <a:pt x="4953" y="247936"/>
                    <a:pt x="0" y="222980"/>
                    <a:pt x="0" y="196501"/>
                  </a:cubicBezTo>
                  <a:lnTo>
                    <a:pt x="0" y="195072"/>
                  </a:lnTo>
                  <a:cubicBezTo>
                    <a:pt x="0" y="168212"/>
                    <a:pt x="5049" y="143066"/>
                    <a:pt x="15240" y="119444"/>
                  </a:cubicBezTo>
                  <a:cubicBezTo>
                    <a:pt x="25337" y="95917"/>
                    <a:pt x="39243" y="75248"/>
                    <a:pt x="56960" y="57626"/>
                  </a:cubicBezTo>
                  <a:cubicBezTo>
                    <a:pt x="74676" y="39910"/>
                    <a:pt x="95631" y="25908"/>
                    <a:pt x="119825" y="15526"/>
                  </a:cubicBezTo>
                  <a:cubicBezTo>
                    <a:pt x="144113" y="5144"/>
                    <a:pt x="170593" y="0"/>
                    <a:pt x="199358" y="0"/>
                  </a:cubicBezTo>
                  <a:cubicBezTo>
                    <a:pt x="228124" y="0"/>
                    <a:pt x="254604" y="5048"/>
                    <a:pt x="278892" y="15240"/>
                  </a:cubicBezTo>
                  <a:cubicBezTo>
                    <a:pt x="303181" y="25337"/>
                    <a:pt x="324136" y="39243"/>
                    <a:pt x="341757" y="56959"/>
                  </a:cubicBezTo>
                  <a:cubicBezTo>
                    <a:pt x="359379" y="74676"/>
                    <a:pt x="373189" y="95155"/>
                    <a:pt x="383096" y="118396"/>
                  </a:cubicBezTo>
                  <a:cubicBezTo>
                    <a:pt x="393002" y="141732"/>
                    <a:pt x="397955" y="166783"/>
                    <a:pt x="397955" y="193643"/>
                  </a:cubicBezTo>
                  <a:lnTo>
                    <a:pt x="397955" y="195072"/>
                  </a:lnTo>
                  <a:cubicBezTo>
                    <a:pt x="397955" y="221456"/>
                    <a:pt x="392906" y="246412"/>
                    <a:pt x="382714" y="270034"/>
                  </a:cubicBezTo>
                  <a:cubicBezTo>
                    <a:pt x="372618" y="293561"/>
                    <a:pt x="358712" y="314230"/>
                    <a:pt x="340995" y="331851"/>
                  </a:cubicBezTo>
                  <a:cubicBezTo>
                    <a:pt x="323279" y="349472"/>
                    <a:pt x="302229" y="363569"/>
                    <a:pt x="277749" y="373856"/>
                  </a:cubicBezTo>
                  <a:cubicBezTo>
                    <a:pt x="253270" y="384238"/>
                    <a:pt x="226600" y="389382"/>
                    <a:pt x="197834" y="389382"/>
                  </a:cubicBezTo>
                  <a:close/>
                  <a:moveTo>
                    <a:pt x="199263" y="315278"/>
                  </a:moveTo>
                  <a:cubicBezTo>
                    <a:pt x="216598" y="315278"/>
                    <a:pt x="232124" y="312039"/>
                    <a:pt x="245936" y="305753"/>
                  </a:cubicBezTo>
                  <a:cubicBezTo>
                    <a:pt x="259747" y="299371"/>
                    <a:pt x="271558" y="290798"/>
                    <a:pt x="281369" y="279940"/>
                  </a:cubicBezTo>
                  <a:cubicBezTo>
                    <a:pt x="291179" y="269081"/>
                    <a:pt x="298704" y="256508"/>
                    <a:pt x="303848" y="242125"/>
                  </a:cubicBezTo>
                  <a:cubicBezTo>
                    <a:pt x="308991" y="227743"/>
                    <a:pt x="311563" y="212598"/>
                    <a:pt x="311563" y="196501"/>
                  </a:cubicBezTo>
                  <a:lnTo>
                    <a:pt x="311563" y="195072"/>
                  </a:lnTo>
                  <a:cubicBezTo>
                    <a:pt x="311563" y="178594"/>
                    <a:pt x="308706" y="163068"/>
                    <a:pt x="303181" y="148400"/>
                  </a:cubicBezTo>
                  <a:cubicBezTo>
                    <a:pt x="297561" y="133826"/>
                    <a:pt x="289750" y="121063"/>
                    <a:pt x="279654" y="110204"/>
                  </a:cubicBezTo>
                  <a:cubicBezTo>
                    <a:pt x="269557" y="99346"/>
                    <a:pt x="257651" y="90773"/>
                    <a:pt x="243840" y="84392"/>
                  </a:cubicBezTo>
                  <a:cubicBezTo>
                    <a:pt x="230029" y="78010"/>
                    <a:pt x="214694" y="74867"/>
                    <a:pt x="197834" y="74867"/>
                  </a:cubicBezTo>
                  <a:cubicBezTo>
                    <a:pt x="180975" y="74867"/>
                    <a:pt x="165640" y="78010"/>
                    <a:pt x="151829" y="84392"/>
                  </a:cubicBezTo>
                  <a:cubicBezTo>
                    <a:pt x="138017" y="90773"/>
                    <a:pt x="126206" y="99250"/>
                    <a:pt x="116396" y="109823"/>
                  </a:cubicBezTo>
                  <a:cubicBezTo>
                    <a:pt x="106585" y="120396"/>
                    <a:pt x="99060" y="133064"/>
                    <a:pt x="93916" y="147638"/>
                  </a:cubicBezTo>
                  <a:cubicBezTo>
                    <a:pt x="88773" y="162211"/>
                    <a:pt x="86201" y="177546"/>
                    <a:pt x="86201" y="193548"/>
                  </a:cubicBezTo>
                  <a:lnTo>
                    <a:pt x="86201" y="194977"/>
                  </a:lnTo>
                  <a:cubicBezTo>
                    <a:pt x="86201" y="211455"/>
                    <a:pt x="89059" y="226886"/>
                    <a:pt x="94583" y="241268"/>
                  </a:cubicBezTo>
                  <a:cubicBezTo>
                    <a:pt x="100203" y="255651"/>
                    <a:pt x="108014" y="268319"/>
                    <a:pt x="118110" y="279463"/>
                  </a:cubicBezTo>
                  <a:cubicBezTo>
                    <a:pt x="128207" y="290608"/>
                    <a:pt x="140113" y="299275"/>
                    <a:pt x="153924" y="305562"/>
                  </a:cubicBezTo>
                  <a:cubicBezTo>
                    <a:pt x="167735" y="311944"/>
                    <a:pt x="182785"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32" name="Freeform: Shape 31">
              <a:extLst>
                <a:ext uri="{FF2B5EF4-FFF2-40B4-BE49-F238E27FC236}">
                  <a16:creationId xmlns:a16="http://schemas.microsoft.com/office/drawing/2014/main" id="{6B305AF9-DEF0-0655-3D57-C1022C6ABCBE}"/>
                </a:ext>
              </a:extLst>
            </p:cNvPr>
            <p:cNvSpPr/>
            <p:nvPr/>
          </p:nvSpPr>
          <p:spPr>
            <a:xfrm>
              <a:off x="662071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1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7 w 296894"/>
                <a:gd name="connsiteY23" fmla="*/ 42863 h 386714"/>
                <a:gd name="connsiteX24" fmla="*/ 254318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7 w 296894"/>
                <a:gd name="connsiteY30" fmla="*/ 124587 h 386714"/>
                <a:gd name="connsiteX31" fmla="*/ 122682 w 296894"/>
                <a:gd name="connsiteY31" fmla="*/ 138017 h 386714"/>
                <a:gd name="connsiteX32" fmla="*/ 149543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6" y="348901"/>
                    <a:pt x="0" y="330327"/>
                  </a:cubicBezTo>
                  <a:lnTo>
                    <a:pt x="38195" y="272224"/>
                  </a:lnTo>
                  <a:cubicBezTo>
                    <a:pt x="58484" y="287274"/>
                    <a:pt x="79057" y="298704"/>
                    <a:pt x="100013" y="306514"/>
                  </a:cubicBezTo>
                  <a:cubicBezTo>
                    <a:pt x="120968" y="314325"/>
                    <a:pt x="141161" y="318135"/>
                    <a:pt x="160401" y="318135"/>
                  </a:cubicBezTo>
                  <a:cubicBezTo>
                    <a:pt x="179641" y="318135"/>
                    <a:pt x="192977"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1" y="241078"/>
                    <a:pt x="176498" y="237553"/>
                    <a:pt x="166401"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2" y="40195"/>
                    <a:pt x="56864" y="30385"/>
                  </a:cubicBezTo>
                  <a:cubicBezTo>
                    <a:pt x="68866" y="20479"/>
                    <a:pt x="82962" y="12954"/>
                    <a:pt x="99250" y="7810"/>
                  </a:cubicBezTo>
                  <a:cubicBezTo>
                    <a:pt x="115538" y="2667"/>
                    <a:pt x="132779" y="0"/>
                    <a:pt x="151162" y="0"/>
                  </a:cubicBezTo>
                  <a:cubicBezTo>
                    <a:pt x="174688" y="0"/>
                    <a:pt x="198501" y="3810"/>
                    <a:pt x="222504" y="11430"/>
                  </a:cubicBezTo>
                  <a:cubicBezTo>
                    <a:pt x="246507" y="19050"/>
                    <a:pt x="268414" y="29527"/>
                    <a:pt x="288227" y="42863"/>
                  </a:cubicBezTo>
                  <a:lnTo>
                    <a:pt x="254318"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7" y="124587"/>
                  </a:cubicBezTo>
                  <a:cubicBezTo>
                    <a:pt x="108585" y="129540"/>
                    <a:pt x="114871" y="134017"/>
                    <a:pt x="122682" y="138017"/>
                  </a:cubicBezTo>
                  <a:cubicBezTo>
                    <a:pt x="130493" y="142018"/>
                    <a:pt x="139351" y="145732"/>
                    <a:pt x="149543"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696"/>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33" name="Freeform: Shape 32">
              <a:extLst>
                <a:ext uri="{FF2B5EF4-FFF2-40B4-BE49-F238E27FC236}">
                  <a16:creationId xmlns:a16="http://schemas.microsoft.com/office/drawing/2014/main" id="{89468F7A-839E-D820-C500-DE00DC1A1D1C}"/>
                </a:ext>
              </a:extLst>
            </p:cNvPr>
            <p:cNvSpPr/>
            <p:nvPr/>
          </p:nvSpPr>
          <p:spPr>
            <a:xfrm>
              <a:off x="526693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4 w 202977"/>
                <a:gd name="connsiteY17" fmla="*/ 19907 h 239267"/>
                <a:gd name="connsiteX18" fmla="*/ 59246 w 202977"/>
                <a:gd name="connsiteY18" fmla="*/ 5429 h 239267"/>
                <a:gd name="connsiteX19" fmla="*/ 104299 w 202977"/>
                <a:gd name="connsiteY19" fmla="*/ 0 h 239267"/>
                <a:gd name="connsiteX20" fmla="*/ 178880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5 w 202977"/>
                <a:gd name="connsiteY27" fmla="*/ 211169 h 239267"/>
                <a:gd name="connsiteX28" fmla="*/ 122968 w 202977"/>
                <a:gd name="connsiteY28" fmla="*/ 206788 h 239267"/>
                <a:gd name="connsiteX29" fmla="*/ 147257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9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9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3" y="99155"/>
                    <a:pt x="58674" y="95917"/>
                  </a:cubicBezTo>
                  <a:cubicBezTo>
                    <a:pt x="70771" y="92678"/>
                    <a:pt x="84011" y="90964"/>
                    <a:pt x="98584" y="90964"/>
                  </a:cubicBezTo>
                  <a:cubicBezTo>
                    <a:pt x="113157" y="90964"/>
                    <a:pt x="126301" y="91821"/>
                    <a:pt x="137160" y="93631"/>
                  </a:cubicBezTo>
                  <a:cubicBezTo>
                    <a:pt x="148019" y="95440"/>
                    <a:pt x="158687" y="97822"/>
                    <a:pt x="169069" y="100774"/>
                  </a:cubicBezTo>
                  <a:lnTo>
                    <a:pt x="169069" y="93726"/>
                  </a:lnTo>
                  <a:cubicBezTo>
                    <a:pt x="169069" y="73342"/>
                    <a:pt x="163068" y="57912"/>
                    <a:pt x="151162" y="47339"/>
                  </a:cubicBezTo>
                  <a:cubicBezTo>
                    <a:pt x="139256" y="36862"/>
                    <a:pt x="122492" y="31623"/>
                    <a:pt x="100679" y="31623"/>
                  </a:cubicBezTo>
                  <a:cubicBezTo>
                    <a:pt x="86963" y="31623"/>
                    <a:pt x="74581" y="33147"/>
                    <a:pt x="63437" y="36100"/>
                  </a:cubicBezTo>
                  <a:cubicBezTo>
                    <a:pt x="52292" y="39053"/>
                    <a:pt x="41339" y="43053"/>
                    <a:pt x="30671" y="48196"/>
                  </a:cubicBezTo>
                  <a:lnTo>
                    <a:pt x="20384" y="19907"/>
                  </a:lnTo>
                  <a:cubicBezTo>
                    <a:pt x="33147" y="13906"/>
                    <a:pt x="46101" y="9049"/>
                    <a:pt x="59246" y="5429"/>
                  </a:cubicBezTo>
                  <a:cubicBezTo>
                    <a:pt x="72295" y="1810"/>
                    <a:pt x="87344" y="0"/>
                    <a:pt x="104299" y="0"/>
                  </a:cubicBezTo>
                  <a:cubicBezTo>
                    <a:pt x="137065" y="0"/>
                    <a:pt x="161925" y="8477"/>
                    <a:pt x="178880"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99" y="239173"/>
                    <a:pt x="86011" y="239173"/>
                  </a:cubicBezTo>
                  <a:close/>
                  <a:moveTo>
                    <a:pt x="93155" y="211169"/>
                  </a:moveTo>
                  <a:cubicBezTo>
                    <a:pt x="103823" y="211169"/>
                    <a:pt x="113728" y="209740"/>
                    <a:pt x="122968" y="206788"/>
                  </a:cubicBezTo>
                  <a:cubicBezTo>
                    <a:pt x="132207" y="203835"/>
                    <a:pt x="140208" y="199644"/>
                    <a:pt x="147257"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9" y="121444"/>
                  </a:cubicBezTo>
                  <a:cubicBezTo>
                    <a:pt x="129445" y="119348"/>
                    <a:pt x="116776"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244" y="190500"/>
                    <a:pt x="47435" y="195358"/>
                    <a:pt x="52769" y="199263"/>
                  </a:cubicBezTo>
                  <a:cubicBezTo>
                    <a:pt x="58103" y="203073"/>
                    <a:pt x="64294" y="206026"/>
                    <a:pt x="71247" y="208121"/>
                  </a:cubicBezTo>
                  <a:cubicBezTo>
                    <a:pt x="78200" y="210217"/>
                    <a:pt x="85535"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34" name="Freeform: Shape 33">
              <a:extLst>
                <a:ext uri="{FF2B5EF4-FFF2-40B4-BE49-F238E27FC236}">
                  <a16:creationId xmlns:a16="http://schemas.microsoft.com/office/drawing/2014/main" id="{E8F0E593-8DF9-439C-0EE3-6CC2C5599B4B}"/>
                </a:ext>
              </a:extLst>
            </p:cNvPr>
            <p:cNvSpPr/>
            <p:nvPr/>
          </p:nvSpPr>
          <p:spPr>
            <a:xfrm>
              <a:off x="5331227"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9" y="303276"/>
                    <a:pt x="71438" y="300895"/>
                  </a:cubicBezTo>
                  <a:cubicBezTo>
                    <a:pt x="63437"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2"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5" name="Freeform: Shape 34">
              <a:extLst>
                <a:ext uri="{FF2B5EF4-FFF2-40B4-BE49-F238E27FC236}">
                  <a16:creationId xmlns:a16="http://schemas.microsoft.com/office/drawing/2014/main" id="{B010FA93-4D16-EACB-F346-B2BC35B1E3DC}"/>
                </a:ext>
              </a:extLst>
            </p:cNvPr>
            <p:cNvSpPr/>
            <p:nvPr/>
          </p:nvSpPr>
          <p:spPr>
            <a:xfrm>
              <a:off x="5381845"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191 w 39242"/>
                <a:gd name="connsiteY5" fmla="*/ 88392 h 319182"/>
                <a:gd name="connsiteX6" fmla="*/ 36576 w 39242"/>
                <a:gd name="connsiteY6" fmla="*/ 88392 h 319182"/>
                <a:gd name="connsiteX7" fmla="*/ 36576 w 39242"/>
                <a:gd name="connsiteY7" fmla="*/ 319183 h 319182"/>
                <a:gd name="connsiteX8" fmla="*/ 2191 w 39242"/>
                <a:gd name="connsiteY8" fmla="*/ 319183 h 319182"/>
                <a:gd name="connsiteX9" fmla="*/ 2191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191" y="88392"/>
                  </a:moveTo>
                  <a:lnTo>
                    <a:pt x="36576" y="88392"/>
                  </a:lnTo>
                  <a:lnTo>
                    <a:pt x="36576" y="319183"/>
                  </a:lnTo>
                  <a:lnTo>
                    <a:pt x="2191" y="319183"/>
                  </a:lnTo>
                  <a:lnTo>
                    <a:pt x="2191" y="88392"/>
                  </a:lnTo>
                  <a:close/>
                </a:path>
              </a:pathLst>
            </a:custGeom>
            <a:solidFill>
              <a:srgbClr val="44505E"/>
            </a:solidFill>
            <a:ln w="9525" cap="flat">
              <a:noFill/>
              <a:prstDash val="solid"/>
              <a:miter/>
            </a:ln>
          </p:spPr>
          <p:txBody>
            <a:bodyPr rtlCol="0" anchor="ctr"/>
            <a:lstStyle/>
            <a:p>
              <a:endParaRPr lang="pt-BR" noProof="0"/>
            </a:p>
          </p:txBody>
        </p:sp>
        <p:sp>
          <p:nvSpPr>
            <p:cNvPr id="36" name="Freeform: Shape 35">
              <a:extLst>
                <a:ext uri="{FF2B5EF4-FFF2-40B4-BE49-F238E27FC236}">
                  <a16:creationId xmlns:a16="http://schemas.microsoft.com/office/drawing/2014/main" id="{0E1DFF9E-2E7F-07A2-4BD6-80BB417AF411}"/>
                </a:ext>
              </a:extLst>
            </p:cNvPr>
            <p:cNvSpPr/>
            <p:nvPr/>
          </p:nvSpPr>
          <p:spPr>
            <a:xfrm>
              <a:off x="5406076"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8" y="303276"/>
                    <a:pt x="71438" y="300895"/>
                  </a:cubicBezTo>
                  <a:cubicBezTo>
                    <a:pt x="63436"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1"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7" name="Freeform: Shape 36">
              <a:extLst>
                <a:ext uri="{FF2B5EF4-FFF2-40B4-BE49-F238E27FC236}">
                  <a16:creationId xmlns:a16="http://schemas.microsoft.com/office/drawing/2014/main" id="{A9DC6E3F-7AA6-8BEA-3640-A0EAEDBFD18E}"/>
                </a:ext>
              </a:extLst>
            </p:cNvPr>
            <p:cNvSpPr/>
            <p:nvPr/>
          </p:nvSpPr>
          <p:spPr>
            <a:xfrm>
              <a:off x="5455545" y="925297"/>
              <a:ext cx="50594" cy="59238"/>
            </a:xfrm>
            <a:custGeom>
              <a:avLst/>
              <a:gdLst>
                <a:gd name="connsiteX0" fmla="*/ 88392 w 201263"/>
                <a:gd name="connsiteY0" fmla="*/ 235648 h 235648"/>
                <a:gd name="connsiteX1" fmla="*/ 51149 w 201263"/>
                <a:gd name="connsiteY1" fmla="*/ 228981 h 235648"/>
                <a:gd name="connsiteX2" fmla="*/ 23431 w 201263"/>
                <a:gd name="connsiteY2" fmla="*/ 210026 h 235648"/>
                <a:gd name="connsiteX3" fmla="*/ 6001 w 201263"/>
                <a:gd name="connsiteY3" fmla="*/ 180784 h 235648"/>
                <a:gd name="connsiteX4" fmla="*/ 0 w 201263"/>
                <a:gd name="connsiteY4" fmla="*/ 143256 h 235648"/>
                <a:gd name="connsiteX5" fmla="*/ 0 w 201263"/>
                <a:gd name="connsiteY5" fmla="*/ 0 h 235648"/>
                <a:gd name="connsiteX6" fmla="*/ 34385 w 201263"/>
                <a:gd name="connsiteY6" fmla="*/ 0 h 235648"/>
                <a:gd name="connsiteX7" fmla="*/ 34385 w 201263"/>
                <a:gd name="connsiteY7" fmla="*/ 134493 h 235648"/>
                <a:gd name="connsiteX8" fmla="*/ 50864 w 201263"/>
                <a:gd name="connsiteY8" fmla="*/ 185261 h 235648"/>
                <a:gd name="connsiteX9" fmla="*/ 98203 w 201263"/>
                <a:gd name="connsiteY9" fmla="*/ 203930 h 235648"/>
                <a:gd name="connsiteX10" fmla="*/ 125635 w 201263"/>
                <a:gd name="connsiteY10" fmla="*/ 198787 h 235648"/>
                <a:gd name="connsiteX11" fmla="*/ 147542 w 201263"/>
                <a:gd name="connsiteY11" fmla="*/ 184118 h 235648"/>
                <a:gd name="connsiteX12" fmla="*/ 162020 w 201263"/>
                <a:gd name="connsiteY12" fmla="*/ 161163 h 235648"/>
                <a:gd name="connsiteX13" fmla="*/ 167354 w 201263"/>
                <a:gd name="connsiteY13" fmla="*/ 131826 h 235648"/>
                <a:gd name="connsiteX14" fmla="*/ 167354 w 201263"/>
                <a:gd name="connsiteY14" fmla="*/ 0 h 235648"/>
                <a:gd name="connsiteX15" fmla="*/ 201263 w 201263"/>
                <a:gd name="connsiteY15" fmla="*/ 0 h 235648"/>
                <a:gd name="connsiteX16" fmla="*/ 201263 w 201263"/>
                <a:gd name="connsiteY16" fmla="*/ 230791 h 235648"/>
                <a:gd name="connsiteX17" fmla="*/ 167354 w 201263"/>
                <a:gd name="connsiteY17" fmla="*/ 230791 h 235648"/>
                <a:gd name="connsiteX18" fmla="*/ 167354 w 201263"/>
                <a:gd name="connsiteY18" fmla="*/ 190595 h 235648"/>
                <a:gd name="connsiteX19" fmla="*/ 136969 w 201263"/>
                <a:gd name="connsiteY19" fmla="*/ 222504 h 235648"/>
                <a:gd name="connsiteX20" fmla="*/ 88297 w 201263"/>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263" h="235648">
                  <a:moveTo>
                    <a:pt x="88392" y="235648"/>
                  </a:moveTo>
                  <a:cubicBezTo>
                    <a:pt x="74390" y="235648"/>
                    <a:pt x="62008" y="233363"/>
                    <a:pt x="51149" y="228981"/>
                  </a:cubicBezTo>
                  <a:cubicBezTo>
                    <a:pt x="40291" y="224504"/>
                    <a:pt x="31052" y="218218"/>
                    <a:pt x="23431"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864" y="185261"/>
                  </a:cubicBezTo>
                  <a:cubicBezTo>
                    <a:pt x="61913" y="197739"/>
                    <a:pt x="77629" y="203930"/>
                    <a:pt x="98203" y="203930"/>
                  </a:cubicBezTo>
                  <a:cubicBezTo>
                    <a:pt x="108014" y="203930"/>
                    <a:pt x="117158" y="202216"/>
                    <a:pt x="125635" y="198787"/>
                  </a:cubicBezTo>
                  <a:cubicBezTo>
                    <a:pt x="134112" y="195358"/>
                    <a:pt x="141351" y="190500"/>
                    <a:pt x="147542" y="184118"/>
                  </a:cubicBezTo>
                  <a:cubicBezTo>
                    <a:pt x="153638" y="177736"/>
                    <a:pt x="158496" y="170116"/>
                    <a:pt x="162020" y="161163"/>
                  </a:cubicBezTo>
                  <a:cubicBezTo>
                    <a:pt x="165640" y="152305"/>
                    <a:pt x="167354" y="142494"/>
                    <a:pt x="167354" y="131826"/>
                  </a:cubicBezTo>
                  <a:lnTo>
                    <a:pt x="167354" y="0"/>
                  </a:lnTo>
                  <a:lnTo>
                    <a:pt x="201263" y="0"/>
                  </a:lnTo>
                  <a:lnTo>
                    <a:pt x="201263" y="230791"/>
                  </a:lnTo>
                  <a:lnTo>
                    <a:pt x="167354" y="230791"/>
                  </a:lnTo>
                  <a:lnTo>
                    <a:pt x="167354" y="190595"/>
                  </a:lnTo>
                  <a:cubicBezTo>
                    <a:pt x="159639" y="203073"/>
                    <a:pt x="149447" y="213741"/>
                    <a:pt x="136969" y="222504"/>
                  </a:cubicBezTo>
                  <a:cubicBezTo>
                    <a:pt x="124492" y="231267"/>
                    <a:pt x="108299" y="235648"/>
                    <a:pt x="88297" y="235648"/>
                  </a:cubicBezTo>
                  <a:close/>
                </a:path>
              </a:pathLst>
            </a:custGeom>
            <a:solidFill>
              <a:srgbClr val="44505E"/>
            </a:solidFill>
            <a:ln w="9525" cap="flat">
              <a:noFill/>
              <a:prstDash val="solid"/>
              <a:miter/>
            </a:ln>
          </p:spPr>
          <p:txBody>
            <a:bodyPr rtlCol="0" anchor="ctr"/>
            <a:lstStyle/>
            <a:p>
              <a:endParaRPr lang="pt-BR" noProof="0"/>
            </a:p>
          </p:txBody>
        </p:sp>
        <p:sp>
          <p:nvSpPr>
            <p:cNvPr id="38" name="Freeform: Shape 37">
              <a:extLst>
                <a:ext uri="{FF2B5EF4-FFF2-40B4-BE49-F238E27FC236}">
                  <a16:creationId xmlns:a16="http://schemas.microsoft.com/office/drawing/2014/main" id="{7AF3DAE5-4F03-84BB-6E2C-AA3FBFEF0237}"/>
                </a:ext>
              </a:extLst>
            </p:cNvPr>
            <p:cNvSpPr/>
            <p:nvPr/>
          </p:nvSpPr>
          <p:spPr>
            <a:xfrm>
              <a:off x="5522205" y="901353"/>
              <a:ext cx="58567" cy="83182"/>
            </a:xfrm>
            <a:custGeom>
              <a:avLst/>
              <a:gdLst>
                <a:gd name="connsiteX0" fmla="*/ 110204 w 232981"/>
                <a:gd name="connsiteY0" fmla="*/ 330898 h 330898"/>
                <a:gd name="connsiteX1" fmla="*/ 69628 w 232981"/>
                <a:gd name="connsiteY1" fmla="*/ 322897 h 330898"/>
                <a:gd name="connsiteX2" fmla="*/ 34385 w 232981"/>
                <a:gd name="connsiteY2" fmla="*/ 299466 h 330898"/>
                <a:gd name="connsiteX3" fmla="*/ 9334 w 232981"/>
                <a:gd name="connsiteY3" fmla="*/ 261938 h 330898"/>
                <a:gd name="connsiteX4" fmla="*/ 0 w 232981"/>
                <a:gd name="connsiteY4" fmla="*/ 211264 h 330898"/>
                <a:gd name="connsiteX5" fmla="*/ 0 w 232981"/>
                <a:gd name="connsiteY5" fmla="*/ 210407 h 330898"/>
                <a:gd name="connsiteX6" fmla="*/ 9334 w 232981"/>
                <a:gd name="connsiteY6" fmla="*/ 159925 h 330898"/>
                <a:gd name="connsiteX7" fmla="*/ 34385 w 232981"/>
                <a:gd name="connsiteY7" fmla="*/ 122206 h 330898"/>
                <a:gd name="connsiteX8" fmla="*/ 69628 w 232981"/>
                <a:gd name="connsiteY8" fmla="*/ 98488 h 330898"/>
                <a:gd name="connsiteX9" fmla="*/ 110204 w 232981"/>
                <a:gd name="connsiteY9" fmla="*/ 90202 h 330898"/>
                <a:gd name="connsiteX10" fmla="*/ 139636 w 232981"/>
                <a:gd name="connsiteY10" fmla="*/ 94202 h 330898"/>
                <a:gd name="connsiteX11" fmla="*/ 163735 w 232981"/>
                <a:gd name="connsiteY11" fmla="*/ 104870 h 330898"/>
                <a:gd name="connsiteX12" fmla="*/ 183166 w 232981"/>
                <a:gd name="connsiteY12" fmla="*/ 120491 h 330898"/>
                <a:gd name="connsiteX13" fmla="*/ 198596 w 232981"/>
                <a:gd name="connsiteY13" fmla="*/ 139255 h 330898"/>
                <a:gd name="connsiteX14" fmla="*/ 198596 w 232981"/>
                <a:gd name="connsiteY14" fmla="*/ 0 h 330898"/>
                <a:gd name="connsiteX15" fmla="*/ 232981 w 232981"/>
                <a:gd name="connsiteY15" fmla="*/ 0 h 330898"/>
                <a:gd name="connsiteX16" fmla="*/ 232981 w 232981"/>
                <a:gd name="connsiteY16" fmla="*/ 325850 h 330898"/>
                <a:gd name="connsiteX17" fmla="*/ 198596 w 232981"/>
                <a:gd name="connsiteY17" fmla="*/ 325850 h 330898"/>
                <a:gd name="connsiteX18" fmla="*/ 198596 w 232981"/>
                <a:gd name="connsiteY18" fmla="*/ 279463 h 330898"/>
                <a:gd name="connsiteX19" fmla="*/ 182785 w 232981"/>
                <a:gd name="connsiteY19" fmla="*/ 299085 h 330898"/>
                <a:gd name="connsiteX20" fmla="*/ 163354 w 232981"/>
                <a:gd name="connsiteY20" fmla="*/ 315658 h 330898"/>
                <a:gd name="connsiteX21" fmla="*/ 139446 w 232981"/>
                <a:gd name="connsiteY21" fmla="*/ 326803 h 330898"/>
                <a:gd name="connsiteX22" fmla="*/ 110204 w 232981"/>
                <a:gd name="connsiteY22" fmla="*/ 330803 h 330898"/>
                <a:gd name="connsiteX23" fmla="*/ 116491 w 232981"/>
                <a:gd name="connsiteY23" fmla="*/ 300133 h 330898"/>
                <a:gd name="connsiteX24" fmla="*/ 147542 w 232981"/>
                <a:gd name="connsiteY24" fmla="*/ 293656 h 330898"/>
                <a:gd name="connsiteX25" fmla="*/ 174307 w 232981"/>
                <a:gd name="connsiteY25" fmla="*/ 275368 h 330898"/>
                <a:gd name="connsiteX26" fmla="*/ 193072 w 232981"/>
                <a:gd name="connsiteY26" fmla="*/ 247269 h 330898"/>
                <a:gd name="connsiteX27" fmla="*/ 200025 w 232981"/>
                <a:gd name="connsiteY27" fmla="*/ 210883 h 330898"/>
                <a:gd name="connsiteX28" fmla="*/ 200025 w 232981"/>
                <a:gd name="connsiteY28" fmla="*/ 210026 h 330898"/>
                <a:gd name="connsiteX29" fmla="*/ 193072 w 232981"/>
                <a:gd name="connsiteY29" fmla="*/ 173641 h 330898"/>
                <a:gd name="connsiteX30" fmla="*/ 174307 w 232981"/>
                <a:gd name="connsiteY30" fmla="*/ 145732 h 330898"/>
                <a:gd name="connsiteX31" fmla="*/ 147542 w 232981"/>
                <a:gd name="connsiteY31" fmla="*/ 127635 h 330898"/>
                <a:gd name="connsiteX32" fmla="*/ 116491 w 232981"/>
                <a:gd name="connsiteY32" fmla="*/ 121158 h 330898"/>
                <a:gd name="connsiteX33" fmla="*/ 84772 w 232981"/>
                <a:gd name="connsiteY33" fmla="*/ 127159 h 330898"/>
                <a:gd name="connsiteX34" fmla="*/ 59150 w 232981"/>
                <a:gd name="connsiteY34" fmla="*/ 144589 h 330898"/>
                <a:gd name="connsiteX35" fmla="*/ 41719 w 232981"/>
                <a:gd name="connsiteY35" fmla="*/ 172498 h 330898"/>
                <a:gd name="connsiteX36" fmla="*/ 35242 w 232981"/>
                <a:gd name="connsiteY36" fmla="*/ 210026 h 330898"/>
                <a:gd name="connsiteX37" fmla="*/ 35242 w 232981"/>
                <a:gd name="connsiteY37" fmla="*/ 210883 h 330898"/>
                <a:gd name="connsiteX38" fmla="*/ 41719 w 232981"/>
                <a:gd name="connsiteY38" fmla="*/ 247936 h 330898"/>
                <a:gd name="connsiteX39" fmla="*/ 59341 w 232981"/>
                <a:gd name="connsiteY39" fmla="*/ 276034 h 330898"/>
                <a:gd name="connsiteX40" fmla="*/ 85249 w 232981"/>
                <a:gd name="connsiteY40" fmla="*/ 293941 h 330898"/>
                <a:gd name="connsiteX41" fmla="*/ 116491 w 23298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30898">
                  <a:moveTo>
                    <a:pt x="110204" y="330898"/>
                  </a:moveTo>
                  <a:cubicBezTo>
                    <a:pt x="96202" y="330898"/>
                    <a:pt x="82677" y="328231"/>
                    <a:pt x="69628" y="322897"/>
                  </a:cubicBezTo>
                  <a:cubicBezTo>
                    <a:pt x="56578" y="317563"/>
                    <a:pt x="44767" y="309753"/>
                    <a:pt x="34385" y="299466"/>
                  </a:cubicBezTo>
                  <a:cubicBezTo>
                    <a:pt x="24003" y="289179"/>
                    <a:pt x="15621" y="276701"/>
                    <a:pt x="9334" y="261938"/>
                  </a:cubicBezTo>
                  <a:cubicBezTo>
                    <a:pt x="3048" y="247174"/>
                    <a:pt x="0" y="230314"/>
                    <a:pt x="0" y="211264"/>
                  </a:cubicBezTo>
                  <a:lnTo>
                    <a:pt x="0" y="210407"/>
                  </a:lnTo>
                  <a:cubicBezTo>
                    <a:pt x="0" y="191643"/>
                    <a:pt x="3143" y="174879"/>
                    <a:pt x="9334" y="159925"/>
                  </a:cubicBezTo>
                  <a:cubicBezTo>
                    <a:pt x="15621" y="145066"/>
                    <a:pt x="23908" y="132493"/>
                    <a:pt x="34385" y="122206"/>
                  </a:cubicBezTo>
                  <a:cubicBezTo>
                    <a:pt x="44767" y="111919"/>
                    <a:pt x="56578" y="104013"/>
                    <a:pt x="69628" y="98488"/>
                  </a:cubicBezTo>
                  <a:cubicBezTo>
                    <a:pt x="82677" y="92964"/>
                    <a:pt x="96298" y="90202"/>
                    <a:pt x="110204" y="90202"/>
                  </a:cubicBezTo>
                  <a:cubicBezTo>
                    <a:pt x="120967" y="90202"/>
                    <a:pt x="130778" y="91535"/>
                    <a:pt x="139636" y="94202"/>
                  </a:cubicBezTo>
                  <a:cubicBezTo>
                    <a:pt x="148590" y="96869"/>
                    <a:pt x="156591" y="100489"/>
                    <a:pt x="163735" y="104870"/>
                  </a:cubicBezTo>
                  <a:cubicBezTo>
                    <a:pt x="170878" y="109347"/>
                    <a:pt x="177356" y="114586"/>
                    <a:pt x="183166" y="120491"/>
                  </a:cubicBezTo>
                  <a:cubicBezTo>
                    <a:pt x="188976" y="126492"/>
                    <a:pt x="194119" y="132683"/>
                    <a:pt x="198596" y="139255"/>
                  </a:cubicBezTo>
                  <a:lnTo>
                    <a:pt x="198596" y="0"/>
                  </a:lnTo>
                  <a:lnTo>
                    <a:pt x="232981" y="0"/>
                  </a:lnTo>
                  <a:lnTo>
                    <a:pt x="232981" y="325850"/>
                  </a:lnTo>
                  <a:lnTo>
                    <a:pt x="198596" y="325850"/>
                  </a:lnTo>
                  <a:lnTo>
                    <a:pt x="198596" y="279463"/>
                  </a:lnTo>
                  <a:cubicBezTo>
                    <a:pt x="193834" y="286321"/>
                    <a:pt x="188595" y="292894"/>
                    <a:pt x="182785" y="299085"/>
                  </a:cubicBezTo>
                  <a:cubicBezTo>
                    <a:pt x="176974" y="305371"/>
                    <a:pt x="170498" y="310896"/>
                    <a:pt x="163354" y="315658"/>
                  </a:cubicBezTo>
                  <a:cubicBezTo>
                    <a:pt x="156210" y="320421"/>
                    <a:pt x="148209" y="324136"/>
                    <a:pt x="139446" y="326803"/>
                  </a:cubicBezTo>
                  <a:cubicBezTo>
                    <a:pt x="130683" y="329470"/>
                    <a:pt x="120967" y="330803"/>
                    <a:pt x="110204" y="330803"/>
                  </a:cubicBezTo>
                  <a:close/>
                  <a:moveTo>
                    <a:pt x="116491" y="300133"/>
                  </a:moveTo>
                  <a:cubicBezTo>
                    <a:pt x="127159" y="300133"/>
                    <a:pt x="137541" y="297942"/>
                    <a:pt x="147542" y="293656"/>
                  </a:cubicBezTo>
                  <a:cubicBezTo>
                    <a:pt x="157544" y="289369"/>
                    <a:pt x="166402" y="283273"/>
                    <a:pt x="174307" y="275368"/>
                  </a:cubicBezTo>
                  <a:cubicBezTo>
                    <a:pt x="182213" y="267462"/>
                    <a:pt x="188404" y="258127"/>
                    <a:pt x="193072" y="247269"/>
                  </a:cubicBezTo>
                  <a:cubicBezTo>
                    <a:pt x="197644" y="236410"/>
                    <a:pt x="200025" y="224314"/>
                    <a:pt x="200025" y="210883"/>
                  </a:cubicBezTo>
                  <a:lnTo>
                    <a:pt x="200025" y="210026"/>
                  </a:lnTo>
                  <a:cubicBezTo>
                    <a:pt x="200025" y="196596"/>
                    <a:pt x="197739" y="184499"/>
                    <a:pt x="193072" y="173641"/>
                  </a:cubicBezTo>
                  <a:cubicBezTo>
                    <a:pt x="188500" y="162782"/>
                    <a:pt x="182213" y="153448"/>
                    <a:pt x="174307" y="145732"/>
                  </a:cubicBezTo>
                  <a:cubicBezTo>
                    <a:pt x="166402" y="138017"/>
                    <a:pt x="157448" y="132016"/>
                    <a:pt x="147542" y="127635"/>
                  </a:cubicBezTo>
                  <a:cubicBezTo>
                    <a:pt x="137541" y="123349"/>
                    <a:pt x="127254" y="121158"/>
                    <a:pt x="116491" y="121158"/>
                  </a:cubicBezTo>
                  <a:cubicBezTo>
                    <a:pt x="105156" y="121158"/>
                    <a:pt x="94583" y="123158"/>
                    <a:pt x="84772" y="127159"/>
                  </a:cubicBezTo>
                  <a:cubicBezTo>
                    <a:pt x="74962" y="131159"/>
                    <a:pt x="66389" y="136969"/>
                    <a:pt x="59150" y="144589"/>
                  </a:cubicBezTo>
                  <a:cubicBezTo>
                    <a:pt x="51816" y="152114"/>
                    <a:pt x="46101" y="161449"/>
                    <a:pt x="41719" y="172498"/>
                  </a:cubicBezTo>
                  <a:cubicBezTo>
                    <a:pt x="37433" y="183451"/>
                    <a:pt x="35242" y="196024"/>
                    <a:pt x="35242" y="210026"/>
                  </a:cubicBezTo>
                  <a:lnTo>
                    <a:pt x="35242" y="210883"/>
                  </a:lnTo>
                  <a:cubicBezTo>
                    <a:pt x="35242" y="224599"/>
                    <a:pt x="37433" y="236982"/>
                    <a:pt x="41719" y="247936"/>
                  </a:cubicBezTo>
                  <a:cubicBezTo>
                    <a:pt x="46006" y="258984"/>
                    <a:pt x="51911" y="268319"/>
                    <a:pt x="59341" y="276034"/>
                  </a:cubicBezTo>
                  <a:cubicBezTo>
                    <a:pt x="66770" y="283750"/>
                    <a:pt x="75438" y="289750"/>
                    <a:pt x="85249" y="293941"/>
                  </a:cubicBezTo>
                  <a:cubicBezTo>
                    <a:pt x="95059" y="298132"/>
                    <a:pt x="105442" y="300228"/>
                    <a:pt x="116491" y="300228"/>
                  </a:cubicBezTo>
                  <a:close/>
                </a:path>
              </a:pathLst>
            </a:custGeom>
            <a:solidFill>
              <a:srgbClr val="44505E"/>
            </a:solidFill>
            <a:ln w="9525" cap="flat">
              <a:noFill/>
              <a:prstDash val="solid"/>
              <a:miter/>
            </a:ln>
          </p:spPr>
          <p:txBody>
            <a:bodyPr rtlCol="0" anchor="ctr"/>
            <a:lstStyle/>
            <a:p>
              <a:endParaRPr lang="pt-BR" noProof="0"/>
            </a:p>
          </p:txBody>
        </p:sp>
        <p:sp>
          <p:nvSpPr>
            <p:cNvPr id="39" name="Freeform: Shape 38">
              <a:extLst>
                <a:ext uri="{FF2B5EF4-FFF2-40B4-BE49-F238E27FC236}">
                  <a16:creationId xmlns:a16="http://schemas.microsoft.com/office/drawing/2014/main" id="{9D964F92-3F71-2D63-9005-B9CF0F99D288}"/>
                </a:ext>
              </a:extLst>
            </p:cNvPr>
            <p:cNvSpPr/>
            <p:nvPr/>
          </p:nvSpPr>
          <p:spPr>
            <a:xfrm>
              <a:off x="5596504"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6963 w 218217"/>
                <a:gd name="connsiteY3" fmla="*/ 206026 h 241077"/>
                <a:gd name="connsiteX4" fmla="*/ 116015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8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1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452 w 218217"/>
                <a:gd name="connsiteY25" fmla="*/ 106299 h 241077"/>
                <a:gd name="connsiteX26" fmla="*/ 176784 w 218217"/>
                <a:gd name="connsiteY26" fmla="*/ 76771 h 241077"/>
                <a:gd name="connsiteX27" fmla="*/ 162306 w 218217"/>
                <a:gd name="connsiteY27" fmla="*/ 52101 h 241077"/>
                <a:gd name="connsiteX28" fmla="*/ 140018 w 218217"/>
                <a:gd name="connsiteY28" fmla="*/ 35242 h 241077"/>
                <a:gd name="connsiteX29" fmla="*/ 109919 w 218217"/>
                <a:gd name="connsiteY29" fmla="*/ 29051 h 241077"/>
                <a:gd name="connsiteX30" fmla="*/ 82201 w 218217"/>
                <a:gd name="connsiteY30" fmla="*/ 34766 h 241077"/>
                <a:gd name="connsiteX31" fmla="*/ 59436 w 218217"/>
                <a:gd name="connsiteY31" fmla="*/ 50959 h 241077"/>
                <a:gd name="connsiteX32" fmla="*/ 43148 w 218217"/>
                <a:gd name="connsiteY32" fmla="*/ 75628 h 241077"/>
                <a:gd name="connsiteX33" fmla="*/ 34862 w 218217"/>
                <a:gd name="connsiteY33" fmla="*/ 106204 h 241077"/>
                <a:gd name="connsiteX34" fmla="*/ 183547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724" y="202597"/>
                    <a:pt x="86963" y="206026"/>
                  </a:cubicBezTo>
                  <a:cubicBezTo>
                    <a:pt x="96203" y="209455"/>
                    <a:pt x="105823" y="211169"/>
                    <a:pt x="116015" y="211169"/>
                  </a:cubicBezTo>
                  <a:cubicBezTo>
                    <a:pt x="132112" y="211169"/>
                    <a:pt x="145828" y="208216"/>
                    <a:pt x="157353" y="202216"/>
                  </a:cubicBezTo>
                  <a:cubicBezTo>
                    <a:pt x="168783" y="196310"/>
                    <a:pt x="179261" y="188404"/>
                    <a:pt x="188786" y="178594"/>
                  </a:cubicBezTo>
                  <a:lnTo>
                    <a:pt x="210217" y="197834"/>
                  </a:lnTo>
                  <a:cubicBezTo>
                    <a:pt x="198596" y="210979"/>
                    <a:pt x="185357" y="221361"/>
                    <a:pt x="170498" y="229267"/>
                  </a:cubicBezTo>
                  <a:cubicBezTo>
                    <a:pt x="155639"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679" y="0"/>
                    <a:pt x="110681"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452" y="106299"/>
                  </a:moveTo>
                  <a:cubicBezTo>
                    <a:pt x="182594" y="95917"/>
                    <a:pt x="180308" y="86106"/>
                    <a:pt x="176784" y="76771"/>
                  </a:cubicBezTo>
                  <a:cubicBezTo>
                    <a:pt x="173165" y="67437"/>
                    <a:pt x="168402" y="59245"/>
                    <a:pt x="162306" y="52101"/>
                  </a:cubicBezTo>
                  <a:cubicBezTo>
                    <a:pt x="156210" y="44958"/>
                    <a:pt x="148781" y="39338"/>
                    <a:pt x="140018" y="35242"/>
                  </a:cubicBezTo>
                  <a:cubicBezTo>
                    <a:pt x="131254" y="31147"/>
                    <a:pt x="121158" y="29051"/>
                    <a:pt x="109919" y="29051"/>
                  </a:cubicBezTo>
                  <a:cubicBezTo>
                    <a:pt x="100108" y="29051"/>
                    <a:pt x="90869" y="30956"/>
                    <a:pt x="82201" y="34766"/>
                  </a:cubicBezTo>
                  <a:cubicBezTo>
                    <a:pt x="73533" y="38671"/>
                    <a:pt x="66008" y="44005"/>
                    <a:pt x="59436" y="50959"/>
                  </a:cubicBezTo>
                  <a:cubicBezTo>
                    <a:pt x="52864" y="57912"/>
                    <a:pt x="47435" y="66103"/>
                    <a:pt x="43148" y="75628"/>
                  </a:cubicBezTo>
                  <a:cubicBezTo>
                    <a:pt x="38862" y="85058"/>
                    <a:pt x="36100" y="95345"/>
                    <a:pt x="34862" y="106204"/>
                  </a:cubicBezTo>
                  <a:lnTo>
                    <a:pt x="183547" y="106204"/>
                  </a:lnTo>
                  <a:close/>
                </a:path>
              </a:pathLst>
            </a:custGeom>
            <a:solidFill>
              <a:srgbClr val="44505E"/>
            </a:solidFill>
            <a:ln w="9525" cap="flat">
              <a:noFill/>
              <a:prstDash val="solid"/>
              <a:miter/>
            </a:ln>
          </p:spPr>
          <p:txBody>
            <a:bodyPr rtlCol="0" anchor="ctr"/>
            <a:lstStyle/>
            <a:p>
              <a:endParaRPr lang="pt-BR" noProof="0"/>
            </a:p>
          </p:txBody>
        </p:sp>
        <p:sp>
          <p:nvSpPr>
            <p:cNvPr id="40" name="Freeform: Shape 39">
              <a:extLst>
                <a:ext uri="{FF2B5EF4-FFF2-40B4-BE49-F238E27FC236}">
                  <a16:creationId xmlns:a16="http://schemas.microsoft.com/office/drawing/2014/main" id="{9E2E38C9-4875-0C0A-F989-2A10F80E1DFE}"/>
                </a:ext>
              </a:extLst>
            </p:cNvPr>
            <p:cNvSpPr/>
            <p:nvPr/>
          </p:nvSpPr>
          <p:spPr>
            <a:xfrm>
              <a:off x="5661680" y="924268"/>
              <a:ext cx="44656" cy="60195"/>
            </a:xfrm>
            <a:custGeom>
              <a:avLst/>
              <a:gdLst>
                <a:gd name="connsiteX0" fmla="*/ 95536 w 177641"/>
                <a:gd name="connsiteY0" fmla="*/ 239268 h 239458"/>
                <a:gd name="connsiteX1" fmla="*/ 45053 w 177641"/>
                <a:gd name="connsiteY1" fmla="*/ 230124 h 239458"/>
                <a:gd name="connsiteX2" fmla="*/ 0 w 177641"/>
                <a:gd name="connsiteY2" fmla="*/ 205359 h 239458"/>
                <a:gd name="connsiteX3" fmla="*/ 17431 w 177641"/>
                <a:gd name="connsiteY3" fmla="*/ 180785 h 239458"/>
                <a:gd name="connsiteX4" fmla="*/ 56483 w 177641"/>
                <a:gd name="connsiteY4" fmla="*/ 202692 h 239458"/>
                <a:gd name="connsiteX5" fmla="*/ 97346 w 177641"/>
                <a:gd name="connsiteY5" fmla="*/ 210217 h 239458"/>
                <a:gd name="connsiteX6" fmla="*/ 131731 w 177641"/>
                <a:gd name="connsiteY6" fmla="*/ 200406 h 239458"/>
                <a:gd name="connsiteX7" fmla="*/ 145161 w 177641"/>
                <a:gd name="connsiteY7" fmla="*/ 173641 h 239458"/>
                <a:gd name="connsiteX8" fmla="*/ 145161 w 177641"/>
                <a:gd name="connsiteY8" fmla="*/ 172784 h 239458"/>
                <a:gd name="connsiteX9" fmla="*/ 140494 w 177641"/>
                <a:gd name="connsiteY9" fmla="*/ 158020 h 239458"/>
                <a:gd name="connsiteX10" fmla="*/ 127730 w 177641"/>
                <a:gd name="connsiteY10" fmla="*/ 147066 h 239458"/>
                <a:gd name="connsiteX11" fmla="*/ 109157 w 177641"/>
                <a:gd name="connsiteY11" fmla="*/ 138779 h 239458"/>
                <a:gd name="connsiteX12" fmla="*/ 87535 w 177641"/>
                <a:gd name="connsiteY12" fmla="*/ 132112 h 239458"/>
                <a:gd name="connsiteX13" fmla="*/ 60484 w 177641"/>
                <a:gd name="connsiteY13" fmla="*/ 123444 h 239458"/>
                <a:gd name="connsiteX14" fmla="*/ 35909 w 177641"/>
                <a:gd name="connsiteY14" fmla="*/ 111633 h 239458"/>
                <a:gd name="connsiteX15" fmla="*/ 18098 w 177641"/>
                <a:gd name="connsiteY15" fmla="*/ 93726 h 239458"/>
                <a:gd name="connsiteX16" fmla="*/ 11144 w 177641"/>
                <a:gd name="connsiteY16" fmla="*/ 66961 h 239458"/>
                <a:gd name="connsiteX17" fmla="*/ 11144 w 177641"/>
                <a:gd name="connsiteY17" fmla="*/ 66008 h 239458"/>
                <a:gd name="connsiteX18" fmla="*/ 16954 w 177641"/>
                <a:gd name="connsiteY18" fmla="*/ 39053 h 239458"/>
                <a:gd name="connsiteX19" fmla="*/ 33242 w 177641"/>
                <a:gd name="connsiteY19" fmla="*/ 18098 h 239458"/>
                <a:gd name="connsiteX20" fmla="*/ 58293 w 177641"/>
                <a:gd name="connsiteY20" fmla="*/ 4667 h 239458"/>
                <a:gd name="connsiteX21" fmla="*/ 89725 w 177641"/>
                <a:gd name="connsiteY21" fmla="*/ 0 h 239458"/>
                <a:gd name="connsiteX22" fmla="*/ 133064 w 177641"/>
                <a:gd name="connsiteY22" fmla="*/ 6953 h 239458"/>
                <a:gd name="connsiteX23" fmla="*/ 172784 w 177641"/>
                <a:gd name="connsiteY23" fmla="*/ 25527 h 239458"/>
                <a:gd name="connsiteX24" fmla="*/ 157163 w 177641"/>
                <a:gd name="connsiteY24" fmla="*/ 51435 h 239458"/>
                <a:gd name="connsiteX25" fmla="*/ 123444 w 177641"/>
                <a:gd name="connsiteY25" fmla="*/ 35147 h 239458"/>
                <a:gd name="connsiteX26" fmla="*/ 88868 w 177641"/>
                <a:gd name="connsiteY26" fmla="*/ 29146 h 239458"/>
                <a:gd name="connsiteX27" fmla="*/ 56293 w 177641"/>
                <a:gd name="connsiteY27" fmla="*/ 38767 h 239458"/>
                <a:gd name="connsiteX28" fmla="*/ 44196 w 177641"/>
                <a:gd name="connsiteY28" fmla="*/ 62675 h 239458"/>
                <a:gd name="connsiteX29" fmla="*/ 44196 w 177641"/>
                <a:gd name="connsiteY29" fmla="*/ 63627 h 239458"/>
                <a:gd name="connsiteX30" fmla="*/ 49149 w 177641"/>
                <a:gd name="connsiteY30" fmla="*/ 77724 h 239458"/>
                <a:gd name="connsiteX31" fmla="*/ 62294 w 177641"/>
                <a:gd name="connsiteY31" fmla="*/ 88202 h 239458"/>
                <a:gd name="connsiteX32" fmla="*/ 81248 w 177641"/>
                <a:gd name="connsiteY32" fmla="*/ 96203 h 239458"/>
                <a:gd name="connsiteX33" fmla="*/ 103537 w 177641"/>
                <a:gd name="connsiteY33" fmla="*/ 103346 h 239458"/>
                <a:gd name="connsiteX34" fmla="*/ 130112 w 177641"/>
                <a:gd name="connsiteY34" fmla="*/ 112300 h 239458"/>
                <a:gd name="connsiteX35" fmla="*/ 154019 w 177641"/>
                <a:gd name="connsiteY35" fmla="*/ 124778 h 239458"/>
                <a:gd name="connsiteX36" fmla="*/ 171164 w 177641"/>
                <a:gd name="connsiteY36" fmla="*/ 143066 h 239458"/>
                <a:gd name="connsiteX37" fmla="*/ 177641 w 177641"/>
                <a:gd name="connsiteY37" fmla="*/ 169450 h 239458"/>
                <a:gd name="connsiteX38" fmla="*/ 177641 w 177641"/>
                <a:gd name="connsiteY38" fmla="*/ 170307 h 239458"/>
                <a:gd name="connsiteX39" fmla="*/ 171164 w 177641"/>
                <a:gd name="connsiteY39" fmla="*/ 199549 h 239458"/>
                <a:gd name="connsiteX40" fmla="*/ 153734 w 177641"/>
                <a:gd name="connsiteY40" fmla="*/ 221171 h 239458"/>
                <a:gd name="connsiteX41" fmla="*/ 127825 w 177641"/>
                <a:gd name="connsiteY41" fmla="*/ 234791 h 239458"/>
                <a:gd name="connsiteX42" fmla="*/ 95441 w 177641"/>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641" h="239458">
                  <a:moveTo>
                    <a:pt x="95536" y="239268"/>
                  </a:moveTo>
                  <a:cubicBezTo>
                    <a:pt x="78867" y="239268"/>
                    <a:pt x="62008" y="236220"/>
                    <a:pt x="45053" y="230124"/>
                  </a:cubicBezTo>
                  <a:cubicBezTo>
                    <a:pt x="28099" y="224028"/>
                    <a:pt x="13049" y="215741"/>
                    <a:pt x="0" y="205359"/>
                  </a:cubicBezTo>
                  <a:lnTo>
                    <a:pt x="17431" y="180785"/>
                  </a:lnTo>
                  <a:cubicBezTo>
                    <a:pt x="29908"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542" y="162211"/>
                    <a:pt x="140494" y="158020"/>
                  </a:cubicBezTo>
                  <a:cubicBezTo>
                    <a:pt x="137350" y="153829"/>
                    <a:pt x="133160" y="150209"/>
                    <a:pt x="127730" y="147066"/>
                  </a:cubicBezTo>
                  <a:cubicBezTo>
                    <a:pt x="122396" y="143923"/>
                    <a:pt x="116205" y="141161"/>
                    <a:pt x="109157" y="138779"/>
                  </a:cubicBezTo>
                  <a:cubicBezTo>
                    <a:pt x="102203" y="136398"/>
                    <a:pt x="94964" y="134207"/>
                    <a:pt x="87535" y="132112"/>
                  </a:cubicBezTo>
                  <a:cubicBezTo>
                    <a:pt x="78581" y="129445"/>
                    <a:pt x="69628" y="126492"/>
                    <a:pt x="60484" y="123444"/>
                  </a:cubicBezTo>
                  <a:cubicBezTo>
                    <a:pt x="51435" y="120301"/>
                    <a:pt x="43244" y="116396"/>
                    <a:pt x="35909" y="111633"/>
                  </a:cubicBezTo>
                  <a:cubicBezTo>
                    <a:pt x="28575" y="106871"/>
                    <a:pt x="22670" y="100870"/>
                    <a:pt x="18098" y="93726"/>
                  </a:cubicBezTo>
                  <a:cubicBezTo>
                    <a:pt x="13525" y="86582"/>
                    <a:pt x="11144" y="77629"/>
                    <a:pt x="11144" y="66961"/>
                  </a:cubicBezTo>
                  <a:lnTo>
                    <a:pt x="11144" y="66008"/>
                  </a:lnTo>
                  <a:cubicBezTo>
                    <a:pt x="11144" y="56198"/>
                    <a:pt x="13049" y="47149"/>
                    <a:pt x="16954" y="39053"/>
                  </a:cubicBezTo>
                  <a:cubicBezTo>
                    <a:pt x="20860" y="30861"/>
                    <a:pt x="26289" y="23908"/>
                    <a:pt x="33242" y="18098"/>
                  </a:cubicBezTo>
                  <a:cubicBezTo>
                    <a:pt x="40196" y="12287"/>
                    <a:pt x="48578" y="7811"/>
                    <a:pt x="58293" y="4667"/>
                  </a:cubicBezTo>
                  <a:cubicBezTo>
                    <a:pt x="67913" y="1524"/>
                    <a:pt x="78486" y="0"/>
                    <a:pt x="89725" y="0"/>
                  </a:cubicBezTo>
                  <a:cubicBezTo>
                    <a:pt x="104013" y="0"/>
                    <a:pt x="118396" y="2286"/>
                    <a:pt x="133064" y="6953"/>
                  </a:cubicBezTo>
                  <a:cubicBezTo>
                    <a:pt x="147638" y="11621"/>
                    <a:pt x="160877" y="17717"/>
                    <a:pt x="172784" y="25527"/>
                  </a:cubicBezTo>
                  <a:lnTo>
                    <a:pt x="157163" y="51435"/>
                  </a:lnTo>
                  <a:cubicBezTo>
                    <a:pt x="146399" y="44577"/>
                    <a:pt x="135255" y="39148"/>
                    <a:pt x="123444" y="35147"/>
                  </a:cubicBezTo>
                  <a:cubicBezTo>
                    <a:pt x="111728" y="31147"/>
                    <a:pt x="100203" y="29146"/>
                    <a:pt x="88868" y="29146"/>
                  </a:cubicBezTo>
                  <a:cubicBezTo>
                    <a:pt x="75152" y="29146"/>
                    <a:pt x="64294" y="32385"/>
                    <a:pt x="56293" y="38767"/>
                  </a:cubicBezTo>
                  <a:cubicBezTo>
                    <a:pt x="48292" y="45149"/>
                    <a:pt x="44196" y="53150"/>
                    <a:pt x="44196" y="62675"/>
                  </a:cubicBezTo>
                  <a:lnTo>
                    <a:pt x="44196" y="63627"/>
                  </a:lnTo>
                  <a:cubicBezTo>
                    <a:pt x="44196" y="68961"/>
                    <a:pt x="45815" y="73628"/>
                    <a:pt x="49149" y="77724"/>
                  </a:cubicBezTo>
                  <a:cubicBezTo>
                    <a:pt x="52388" y="81725"/>
                    <a:pt x="56769" y="85249"/>
                    <a:pt x="62294" y="88202"/>
                  </a:cubicBezTo>
                  <a:cubicBezTo>
                    <a:pt x="67818" y="91154"/>
                    <a:pt x="74104" y="93821"/>
                    <a:pt x="81248" y="96203"/>
                  </a:cubicBezTo>
                  <a:cubicBezTo>
                    <a:pt x="88392" y="98584"/>
                    <a:pt x="95821" y="100965"/>
                    <a:pt x="103537" y="103346"/>
                  </a:cubicBezTo>
                  <a:cubicBezTo>
                    <a:pt x="112490" y="106013"/>
                    <a:pt x="121349" y="108966"/>
                    <a:pt x="130112" y="112300"/>
                  </a:cubicBezTo>
                  <a:cubicBezTo>
                    <a:pt x="138875" y="115538"/>
                    <a:pt x="146875" y="119729"/>
                    <a:pt x="154019" y="124778"/>
                  </a:cubicBezTo>
                  <a:cubicBezTo>
                    <a:pt x="161163" y="129826"/>
                    <a:pt x="166878" y="135922"/>
                    <a:pt x="171164" y="143066"/>
                  </a:cubicBezTo>
                  <a:cubicBezTo>
                    <a:pt x="175450" y="150209"/>
                    <a:pt x="177641" y="158972"/>
                    <a:pt x="177641" y="169450"/>
                  </a:cubicBezTo>
                  <a:lnTo>
                    <a:pt x="177641" y="170307"/>
                  </a:lnTo>
                  <a:cubicBezTo>
                    <a:pt x="177641" y="181356"/>
                    <a:pt x="175450" y="191071"/>
                    <a:pt x="171164" y="199549"/>
                  </a:cubicBezTo>
                  <a:cubicBezTo>
                    <a:pt x="166878" y="208026"/>
                    <a:pt x="161068" y="215265"/>
                    <a:pt x="153734" y="221171"/>
                  </a:cubicBezTo>
                  <a:cubicBezTo>
                    <a:pt x="146495" y="227171"/>
                    <a:pt x="137827" y="231648"/>
                    <a:pt x="127825" y="234791"/>
                  </a:cubicBezTo>
                  <a:cubicBezTo>
                    <a:pt x="117824" y="237935"/>
                    <a:pt x="107061" y="239459"/>
                    <a:pt x="95441" y="239459"/>
                  </a:cubicBezTo>
                  <a:close/>
                </a:path>
              </a:pathLst>
            </a:custGeom>
            <a:solidFill>
              <a:srgbClr val="44505E"/>
            </a:solidFill>
            <a:ln w="9525" cap="flat">
              <a:noFill/>
              <a:prstDash val="solid"/>
              <a:miter/>
            </a:ln>
          </p:spPr>
          <p:txBody>
            <a:bodyPr rtlCol="0" anchor="ctr"/>
            <a:lstStyle/>
            <a:p>
              <a:endParaRPr lang="pt-BR" noProof="0"/>
            </a:p>
          </p:txBody>
        </p:sp>
        <p:sp>
          <p:nvSpPr>
            <p:cNvPr id="41" name="Freeform: Shape 40">
              <a:extLst>
                <a:ext uri="{FF2B5EF4-FFF2-40B4-BE49-F238E27FC236}">
                  <a16:creationId xmlns:a16="http://schemas.microsoft.com/office/drawing/2014/main" id="{8B3A6339-5C4A-492A-F104-F2D2FB44F779}"/>
                </a:ext>
              </a:extLst>
            </p:cNvPr>
            <p:cNvSpPr/>
            <p:nvPr/>
          </p:nvSpPr>
          <p:spPr>
            <a:xfrm>
              <a:off x="5752668" y="924028"/>
              <a:ext cx="58567" cy="77196"/>
            </a:xfrm>
            <a:custGeom>
              <a:avLst/>
              <a:gdLst>
                <a:gd name="connsiteX0" fmla="*/ 198596 w 232981"/>
                <a:gd name="connsiteY0" fmla="*/ 189357 h 307085"/>
                <a:gd name="connsiteX1" fmla="*/ 182785 w 232981"/>
                <a:gd name="connsiteY1" fmla="*/ 208978 h 307085"/>
                <a:gd name="connsiteX2" fmla="*/ 163354 w 232981"/>
                <a:gd name="connsiteY2" fmla="*/ 225552 h 307085"/>
                <a:gd name="connsiteX3" fmla="*/ 139446 w 232981"/>
                <a:gd name="connsiteY3" fmla="*/ 236696 h 307085"/>
                <a:gd name="connsiteX4" fmla="*/ 110204 w 232981"/>
                <a:gd name="connsiteY4" fmla="*/ 240697 h 307085"/>
                <a:gd name="connsiteX5" fmla="*/ 69628 w 232981"/>
                <a:gd name="connsiteY5" fmla="*/ 232696 h 307085"/>
                <a:gd name="connsiteX6" fmla="*/ 34385 w 232981"/>
                <a:gd name="connsiteY6" fmla="*/ 209264 h 307085"/>
                <a:gd name="connsiteX7" fmla="*/ 9335 w 232981"/>
                <a:gd name="connsiteY7" fmla="*/ 171736 h 307085"/>
                <a:gd name="connsiteX8" fmla="*/ 0 w 232981"/>
                <a:gd name="connsiteY8" fmla="*/ 121063 h 307085"/>
                <a:gd name="connsiteX9" fmla="*/ 0 w 232981"/>
                <a:gd name="connsiteY9" fmla="*/ 120205 h 307085"/>
                <a:gd name="connsiteX10" fmla="*/ 9335 w 232981"/>
                <a:gd name="connsiteY10" fmla="*/ 69723 h 307085"/>
                <a:gd name="connsiteX11" fmla="*/ 34385 w 232981"/>
                <a:gd name="connsiteY11" fmla="*/ 32004 h 307085"/>
                <a:gd name="connsiteX12" fmla="*/ 69628 w 232981"/>
                <a:gd name="connsiteY12" fmla="*/ 8287 h 307085"/>
                <a:gd name="connsiteX13" fmla="*/ 110204 w 232981"/>
                <a:gd name="connsiteY13" fmla="*/ 0 h 307085"/>
                <a:gd name="connsiteX14" fmla="*/ 139637 w 232981"/>
                <a:gd name="connsiteY14" fmla="*/ 4000 h 307085"/>
                <a:gd name="connsiteX15" fmla="*/ 163735 w 232981"/>
                <a:gd name="connsiteY15" fmla="*/ 14668 h 307085"/>
                <a:gd name="connsiteX16" fmla="*/ 183166 w 232981"/>
                <a:gd name="connsiteY16" fmla="*/ 30289 h 307085"/>
                <a:gd name="connsiteX17" fmla="*/ 198596 w 232981"/>
                <a:gd name="connsiteY17" fmla="*/ 49054 h 307085"/>
                <a:gd name="connsiteX18" fmla="*/ 198596 w 232981"/>
                <a:gd name="connsiteY18" fmla="*/ 4858 h 307085"/>
                <a:gd name="connsiteX19" fmla="*/ 232982 w 232981"/>
                <a:gd name="connsiteY19" fmla="*/ 4858 h 307085"/>
                <a:gd name="connsiteX20" fmla="*/ 232982 w 232981"/>
                <a:gd name="connsiteY20" fmla="*/ 307086 h 307085"/>
                <a:gd name="connsiteX21" fmla="*/ 198596 w 232981"/>
                <a:gd name="connsiteY21" fmla="*/ 307086 h 307085"/>
                <a:gd name="connsiteX22" fmla="*/ 198596 w 232981"/>
                <a:gd name="connsiteY22" fmla="*/ 189262 h 307085"/>
                <a:gd name="connsiteX23" fmla="*/ 116491 w 232981"/>
                <a:gd name="connsiteY23" fmla="*/ 209931 h 307085"/>
                <a:gd name="connsiteX24" fmla="*/ 147542 w 232981"/>
                <a:gd name="connsiteY24" fmla="*/ 203454 h 307085"/>
                <a:gd name="connsiteX25" fmla="*/ 174308 w 232981"/>
                <a:gd name="connsiteY25" fmla="*/ 185166 h 307085"/>
                <a:gd name="connsiteX26" fmla="*/ 193072 w 232981"/>
                <a:gd name="connsiteY26" fmla="*/ 157067 h 307085"/>
                <a:gd name="connsiteX27" fmla="*/ 200025 w 232981"/>
                <a:gd name="connsiteY27" fmla="*/ 120682 h 307085"/>
                <a:gd name="connsiteX28" fmla="*/ 200025 w 232981"/>
                <a:gd name="connsiteY28" fmla="*/ 119824 h 307085"/>
                <a:gd name="connsiteX29" fmla="*/ 193072 w 232981"/>
                <a:gd name="connsiteY29" fmla="*/ 83439 h 307085"/>
                <a:gd name="connsiteX30" fmla="*/ 174308 w 232981"/>
                <a:gd name="connsiteY30" fmla="*/ 55531 h 307085"/>
                <a:gd name="connsiteX31" fmla="*/ 147542 w 232981"/>
                <a:gd name="connsiteY31" fmla="*/ 37433 h 307085"/>
                <a:gd name="connsiteX32" fmla="*/ 116491 w 232981"/>
                <a:gd name="connsiteY32" fmla="*/ 30956 h 307085"/>
                <a:gd name="connsiteX33" fmla="*/ 84773 w 232981"/>
                <a:gd name="connsiteY33" fmla="*/ 36957 h 307085"/>
                <a:gd name="connsiteX34" fmla="*/ 59150 w 232981"/>
                <a:gd name="connsiteY34" fmla="*/ 54388 h 307085"/>
                <a:gd name="connsiteX35" fmla="*/ 41720 w 232981"/>
                <a:gd name="connsiteY35" fmla="*/ 82296 h 307085"/>
                <a:gd name="connsiteX36" fmla="*/ 35242 w 232981"/>
                <a:gd name="connsiteY36" fmla="*/ 119824 h 307085"/>
                <a:gd name="connsiteX37" fmla="*/ 35242 w 232981"/>
                <a:gd name="connsiteY37" fmla="*/ 120682 h 307085"/>
                <a:gd name="connsiteX38" fmla="*/ 41720 w 232981"/>
                <a:gd name="connsiteY38" fmla="*/ 157734 h 307085"/>
                <a:gd name="connsiteX39" fmla="*/ 59341 w 232981"/>
                <a:gd name="connsiteY39" fmla="*/ 185833 h 307085"/>
                <a:gd name="connsiteX40" fmla="*/ 85249 w 232981"/>
                <a:gd name="connsiteY40" fmla="*/ 203740 h 307085"/>
                <a:gd name="connsiteX41" fmla="*/ 116491 w 232981"/>
                <a:gd name="connsiteY41" fmla="*/ 210026 h 30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07085">
                  <a:moveTo>
                    <a:pt x="198596" y="189357"/>
                  </a:moveTo>
                  <a:cubicBezTo>
                    <a:pt x="193834" y="196215"/>
                    <a:pt x="188595" y="202787"/>
                    <a:pt x="182785" y="208978"/>
                  </a:cubicBezTo>
                  <a:cubicBezTo>
                    <a:pt x="176975" y="215265"/>
                    <a:pt x="170498" y="220789"/>
                    <a:pt x="163354" y="225552"/>
                  </a:cubicBezTo>
                  <a:cubicBezTo>
                    <a:pt x="156210" y="230314"/>
                    <a:pt x="148209" y="234029"/>
                    <a:pt x="139446" y="236696"/>
                  </a:cubicBezTo>
                  <a:cubicBezTo>
                    <a:pt x="130683" y="239363"/>
                    <a:pt x="120967" y="240697"/>
                    <a:pt x="110204" y="240697"/>
                  </a:cubicBezTo>
                  <a:cubicBezTo>
                    <a:pt x="96203" y="240697"/>
                    <a:pt x="82677" y="238030"/>
                    <a:pt x="69628" y="232696"/>
                  </a:cubicBezTo>
                  <a:cubicBezTo>
                    <a:pt x="56579" y="227362"/>
                    <a:pt x="44767" y="219551"/>
                    <a:pt x="34385" y="209264"/>
                  </a:cubicBezTo>
                  <a:cubicBezTo>
                    <a:pt x="24003" y="198977"/>
                    <a:pt x="15621" y="186499"/>
                    <a:pt x="9335" y="171736"/>
                  </a:cubicBezTo>
                  <a:cubicBezTo>
                    <a:pt x="3048" y="156972"/>
                    <a:pt x="0" y="140113"/>
                    <a:pt x="0" y="121063"/>
                  </a:cubicBezTo>
                  <a:lnTo>
                    <a:pt x="0" y="120205"/>
                  </a:lnTo>
                  <a:cubicBezTo>
                    <a:pt x="0" y="101441"/>
                    <a:pt x="3143" y="84677"/>
                    <a:pt x="9335" y="69723"/>
                  </a:cubicBezTo>
                  <a:cubicBezTo>
                    <a:pt x="15621" y="54864"/>
                    <a:pt x="23908" y="42291"/>
                    <a:pt x="34385" y="32004"/>
                  </a:cubicBezTo>
                  <a:cubicBezTo>
                    <a:pt x="44767" y="21717"/>
                    <a:pt x="56579" y="13811"/>
                    <a:pt x="69628" y="8287"/>
                  </a:cubicBezTo>
                  <a:cubicBezTo>
                    <a:pt x="82677" y="2762"/>
                    <a:pt x="96298" y="0"/>
                    <a:pt x="110204" y="0"/>
                  </a:cubicBezTo>
                  <a:cubicBezTo>
                    <a:pt x="120967" y="0"/>
                    <a:pt x="130778" y="1333"/>
                    <a:pt x="139637" y="4000"/>
                  </a:cubicBezTo>
                  <a:cubicBezTo>
                    <a:pt x="148590" y="6667"/>
                    <a:pt x="156591" y="10287"/>
                    <a:pt x="163735" y="14668"/>
                  </a:cubicBezTo>
                  <a:cubicBezTo>
                    <a:pt x="170879" y="19145"/>
                    <a:pt x="177356" y="24384"/>
                    <a:pt x="183166" y="30289"/>
                  </a:cubicBezTo>
                  <a:cubicBezTo>
                    <a:pt x="188976" y="36290"/>
                    <a:pt x="194120" y="42481"/>
                    <a:pt x="198596" y="49054"/>
                  </a:cubicBezTo>
                  <a:lnTo>
                    <a:pt x="198596" y="4858"/>
                  </a:lnTo>
                  <a:lnTo>
                    <a:pt x="232982" y="4858"/>
                  </a:lnTo>
                  <a:lnTo>
                    <a:pt x="232982" y="307086"/>
                  </a:lnTo>
                  <a:lnTo>
                    <a:pt x="198596" y="307086"/>
                  </a:lnTo>
                  <a:lnTo>
                    <a:pt x="198596" y="189262"/>
                  </a:lnTo>
                  <a:close/>
                  <a:moveTo>
                    <a:pt x="116491" y="209931"/>
                  </a:moveTo>
                  <a:cubicBezTo>
                    <a:pt x="127159" y="209931"/>
                    <a:pt x="137541" y="207740"/>
                    <a:pt x="147542" y="203454"/>
                  </a:cubicBezTo>
                  <a:cubicBezTo>
                    <a:pt x="157544" y="199168"/>
                    <a:pt x="166402" y="193072"/>
                    <a:pt x="174308" y="185166"/>
                  </a:cubicBezTo>
                  <a:cubicBezTo>
                    <a:pt x="182213" y="177260"/>
                    <a:pt x="188404" y="167926"/>
                    <a:pt x="193072" y="157067"/>
                  </a:cubicBezTo>
                  <a:cubicBezTo>
                    <a:pt x="197739" y="146209"/>
                    <a:pt x="200025" y="134112"/>
                    <a:pt x="200025" y="120682"/>
                  </a:cubicBezTo>
                  <a:lnTo>
                    <a:pt x="200025" y="119824"/>
                  </a:lnTo>
                  <a:cubicBezTo>
                    <a:pt x="200025" y="106394"/>
                    <a:pt x="197739" y="94297"/>
                    <a:pt x="193072" y="83439"/>
                  </a:cubicBezTo>
                  <a:cubicBezTo>
                    <a:pt x="188500" y="72580"/>
                    <a:pt x="182213" y="63246"/>
                    <a:pt x="174308" y="55531"/>
                  </a:cubicBezTo>
                  <a:cubicBezTo>
                    <a:pt x="166402" y="47815"/>
                    <a:pt x="157544" y="41815"/>
                    <a:pt x="147542" y="37433"/>
                  </a:cubicBezTo>
                  <a:cubicBezTo>
                    <a:pt x="137541" y="33147"/>
                    <a:pt x="127254" y="30956"/>
                    <a:pt x="116491" y="30956"/>
                  </a:cubicBezTo>
                  <a:cubicBezTo>
                    <a:pt x="105156" y="30956"/>
                    <a:pt x="94583" y="32956"/>
                    <a:pt x="84773" y="36957"/>
                  </a:cubicBezTo>
                  <a:cubicBezTo>
                    <a:pt x="74962" y="40957"/>
                    <a:pt x="66389" y="46767"/>
                    <a:pt x="59150" y="54388"/>
                  </a:cubicBezTo>
                  <a:cubicBezTo>
                    <a:pt x="51816" y="61913"/>
                    <a:pt x="46101" y="71247"/>
                    <a:pt x="41720" y="82296"/>
                  </a:cubicBezTo>
                  <a:cubicBezTo>
                    <a:pt x="37433" y="93250"/>
                    <a:pt x="35242" y="105823"/>
                    <a:pt x="35242" y="119824"/>
                  </a:cubicBezTo>
                  <a:lnTo>
                    <a:pt x="35242" y="120682"/>
                  </a:lnTo>
                  <a:cubicBezTo>
                    <a:pt x="35242" y="134398"/>
                    <a:pt x="37433" y="146780"/>
                    <a:pt x="41720" y="157734"/>
                  </a:cubicBezTo>
                  <a:cubicBezTo>
                    <a:pt x="46006" y="168783"/>
                    <a:pt x="51911" y="178117"/>
                    <a:pt x="59341" y="185833"/>
                  </a:cubicBezTo>
                  <a:cubicBezTo>
                    <a:pt x="66770" y="193548"/>
                    <a:pt x="75438" y="199549"/>
                    <a:pt x="85249" y="203740"/>
                  </a:cubicBezTo>
                  <a:cubicBezTo>
                    <a:pt x="95060" y="207931"/>
                    <a:pt x="105442" y="210026"/>
                    <a:pt x="116491" y="210026"/>
                  </a:cubicBezTo>
                  <a:close/>
                </a:path>
              </a:pathLst>
            </a:custGeom>
            <a:solidFill>
              <a:srgbClr val="44505E"/>
            </a:solidFill>
            <a:ln w="9525" cap="flat">
              <a:noFill/>
              <a:prstDash val="solid"/>
              <a:miter/>
            </a:ln>
          </p:spPr>
          <p:txBody>
            <a:bodyPr rtlCol="0" anchor="ctr"/>
            <a:lstStyle/>
            <a:p>
              <a:endParaRPr lang="pt-BR" noProof="0"/>
            </a:p>
          </p:txBody>
        </p:sp>
        <p:sp>
          <p:nvSpPr>
            <p:cNvPr id="42" name="Freeform: Shape 41">
              <a:extLst>
                <a:ext uri="{FF2B5EF4-FFF2-40B4-BE49-F238E27FC236}">
                  <a16:creationId xmlns:a16="http://schemas.microsoft.com/office/drawing/2014/main" id="{E1729C75-5CB1-B2B6-DFE5-08E155C111AA}"/>
                </a:ext>
              </a:extLst>
            </p:cNvPr>
            <p:cNvSpPr/>
            <p:nvPr/>
          </p:nvSpPr>
          <p:spPr>
            <a:xfrm>
              <a:off x="5829624" y="925297"/>
              <a:ext cx="50618" cy="59238"/>
            </a:xfrm>
            <a:custGeom>
              <a:avLst/>
              <a:gdLst>
                <a:gd name="connsiteX0" fmla="*/ 88392 w 201358"/>
                <a:gd name="connsiteY0" fmla="*/ 235648 h 235648"/>
                <a:gd name="connsiteX1" fmla="*/ 51149 w 201358"/>
                <a:gd name="connsiteY1" fmla="*/ 228981 h 235648"/>
                <a:gd name="connsiteX2" fmla="*/ 23432 w 201358"/>
                <a:gd name="connsiteY2" fmla="*/ 210026 h 235648"/>
                <a:gd name="connsiteX3" fmla="*/ 6001 w 201358"/>
                <a:gd name="connsiteY3" fmla="*/ 180784 h 235648"/>
                <a:gd name="connsiteX4" fmla="*/ 0 w 201358"/>
                <a:gd name="connsiteY4" fmla="*/ 143256 h 235648"/>
                <a:gd name="connsiteX5" fmla="*/ 0 w 201358"/>
                <a:gd name="connsiteY5" fmla="*/ 0 h 235648"/>
                <a:gd name="connsiteX6" fmla="*/ 34385 w 201358"/>
                <a:gd name="connsiteY6" fmla="*/ 0 h 235648"/>
                <a:gd name="connsiteX7" fmla="*/ 34385 w 201358"/>
                <a:gd name="connsiteY7" fmla="*/ 134493 h 235648"/>
                <a:gd name="connsiteX8" fmla="*/ 50959 w 201358"/>
                <a:gd name="connsiteY8" fmla="*/ 185261 h 235648"/>
                <a:gd name="connsiteX9" fmla="*/ 98298 w 201358"/>
                <a:gd name="connsiteY9" fmla="*/ 203930 h 235648"/>
                <a:gd name="connsiteX10" fmla="*/ 125730 w 201358"/>
                <a:gd name="connsiteY10" fmla="*/ 198787 h 235648"/>
                <a:gd name="connsiteX11" fmla="*/ 147638 w 201358"/>
                <a:gd name="connsiteY11" fmla="*/ 184118 h 235648"/>
                <a:gd name="connsiteX12" fmla="*/ 162116 w 201358"/>
                <a:gd name="connsiteY12" fmla="*/ 161163 h 235648"/>
                <a:gd name="connsiteX13" fmla="*/ 167450 w 201358"/>
                <a:gd name="connsiteY13" fmla="*/ 131826 h 235648"/>
                <a:gd name="connsiteX14" fmla="*/ 167450 w 201358"/>
                <a:gd name="connsiteY14" fmla="*/ 0 h 235648"/>
                <a:gd name="connsiteX15" fmla="*/ 201359 w 201358"/>
                <a:gd name="connsiteY15" fmla="*/ 0 h 235648"/>
                <a:gd name="connsiteX16" fmla="*/ 201359 w 201358"/>
                <a:gd name="connsiteY16" fmla="*/ 230791 h 235648"/>
                <a:gd name="connsiteX17" fmla="*/ 167450 w 201358"/>
                <a:gd name="connsiteY17" fmla="*/ 230791 h 235648"/>
                <a:gd name="connsiteX18" fmla="*/ 167450 w 201358"/>
                <a:gd name="connsiteY18" fmla="*/ 190595 h 235648"/>
                <a:gd name="connsiteX19" fmla="*/ 137065 w 201358"/>
                <a:gd name="connsiteY19" fmla="*/ 222504 h 235648"/>
                <a:gd name="connsiteX20" fmla="*/ 88392 w 201358"/>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358" h="235648">
                  <a:moveTo>
                    <a:pt x="88392" y="235648"/>
                  </a:moveTo>
                  <a:cubicBezTo>
                    <a:pt x="74390" y="235648"/>
                    <a:pt x="62008" y="233363"/>
                    <a:pt x="51149" y="228981"/>
                  </a:cubicBezTo>
                  <a:cubicBezTo>
                    <a:pt x="40291" y="224504"/>
                    <a:pt x="31052" y="218218"/>
                    <a:pt x="23432"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959" y="185261"/>
                  </a:cubicBezTo>
                  <a:cubicBezTo>
                    <a:pt x="61913" y="197739"/>
                    <a:pt x="77724" y="203930"/>
                    <a:pt x="98298" y="203930"/>
                  </a:cubicBezTo>
                  <a:cubicBezTo>
                    <a:pt x="108109" y="203930"/>
                    <a:pt x="117253" y="202216"/>
                    <a:pt x="125730" y="198787"/>
                  </a:cubicBezTo>
                  <a:cubicBezTo>
                    <a:pt x="134207" y="195358"/>
                    <a:pt x="141446" y="190500"/>
                    <a:pt x="147638" y="184118"/>
                  </a:cubicBezTo>
                  <a:cubicBezTo>
                    <a:pt x="153734" y="177736"/>
                    <a:pt x="158591" y="170116"/>
                    <a:pt x="162116" y="161163"/>
                  </a:cubicBezTo>
                  <a:cubicBezTo>
                    <a:pt x="165735" y="152305"/>
                    <a:pt x="167450" y="142494"/>
                    <a:pt x="167450" y="131826"/>
                  </a:cubicBezTo>
                  <a:lnTo>
                    <a:pt x="167450" y="0"/>
                  </a:lnTo>
                  <a:lnTo>
                    <a:pt x="201359" y="0"/>
                  </a:lnTo>
                  <a:lnTo>
                    <a:pt x="201359" y="230791"/>
                  </a:lnTo>
                  <a:lnTo>
                    <a:pt x="167450" y="230791"/>
                  </a:lnTo>
                  <a:lnTo>
                    <a:pt x="167450" y="190595"/>
                  </a:lnTo>
                  <a:cubicBezTo>
                    <a:pt x="159734" y="203073"/>
                    <a:pt x="149543" y="213741"/>
                    <a:pt x="137065" y="222504"/>
                  </a:cubicBezTo>
                  <a:cubicBezTo>
                    <a:pt x="124587" y="231267"/>
                    <a:pt x="108395" y="235648"/>
                    <a:pt x="88392" y="235648"/>
                  </a:cubicBezTo>
                  <a:close/>
                </a:path>
              </a:pathLst>
            </a:custGeom>
            <a:solidFill>
              <a:srgbClr val="44505E"/>
            </a:solidFill>
            <a:ln w="9525" cap="flat">
              <a:noFill/>
              <a:prstDash val="solid"/>
              <a:miter/>
            </a:ln>
          </p:spPr>
          <p:txBody>
            <a:bodyPr rtlCol="0" anchor="ctr"/>
            <a:lstStyle/>
            <a:p>
              <a:endParaRPr lang="pt-BR" noProof="0"/>
            </a:p>
          </p:txBody>
        </p:sp>
        <p:sp>
          <p:nvSpPr>
            <p:cNvPr id="43" name="Freeform: Shape 42">
              <a:extLst>
                <a:ext uri="{FF2B5EF4-FFF2-40B4-BE49-F238E27FC236}">
                  <a16:creationId xmlns:a16="http://schemas.microsoft.com/office/drawing/2014/main" id="{05D2C19C-EDFF-2A0D-439E-A60216F3A6F4}"/>
                </a:ext>
              </a:extLst>
            </p:cNvPr>
            <p:cNvSpPr/>
            <p:nvPr/>
          </p:nvSpPr>
          <p:spPr>
            <a:xfrm>
              <a:off x="5896069"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7059 w 218217"/>
                <a:gd name="connsiteY3" fmla="*/ 206026 h 241077"/>
                <a:gd name="connsiteX4" fmla="*/ 116110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7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0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356 w 218217"/>
                <a:gd name="connsiteY25" fmla="*/ 106299 h 241077"/>
                <a:gd name="connsiteX26" fmla="*/ 176689 w 218217"/>
                <a:gd name="connsiteY26" fmla="*/ 76771 h 241077"/>
                <a:gd name="connsiteX27" fmla="*/ 162211 w 218217"/>
                <a:gd name="connsiteY27" fmla="*/ 52101 h 241077"/>
                <a:gd name="connsiteX28" fmla="*/ 139922 w 218217"/>
                <a:gd name="connsiteY28" fmla="*/ 35242 h 241077"/>
                <a:gd name="connsiteX29" fmla="*/ 109823 w 218217"/>
                <a:gd name="connsiteY29" fmla="*/ 29051 h 241077"/>
                <a:gd name="connsiteX30" fmla="*/ 82105 w 218217"/>
                <a:gd name="connsiteY30" fmla="*/ 34766 h 241077"/>
                <a:gd name="connsiteX31" fmla="*/ 59341 w 218217"/>
                <a:gd name="connsiteY31" fmla="*/ 50959 h 241077"/>
                <a:gd name="connsiteX32" fmla="*/ 43053 w 218217"/>
                <a:gd name="connsiteY32" fmla="*/ 75628 h 241077"/>
                <a:gd name="connsiteX33" fmla="*/ 34766 w 218217"/>
                <a:gd name="connsiteY33" fmla="*/ 106204 h 241077"/>
                <a:gd name="connsiteX34" fmla="*/ 183356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819" y="202597"/>
                    <a:pt x="87059" y="206026"/>
                  </a:cubicBezTo>
                  <a:cubicBezTo>
                    <a:pt x="96298" y="209455"/>
                    <a:pt x="105918" y="211169"/>
                    <a:pt x="116110" y="211169"/>
                  </a:cubicBezTo>
                  <a:cubicBezTo>
                    <a:pt x="132207" y="211169"/>
                    <a:pt x="145923" y="208216"/>
                    <a:pt x="157353" y="202216"/>
                  </a:cubicBezTo>
                  <a:cubicBezTo>
                    <a:pt x="168783" y="196310"/>
                    <a:pt x="179261" y="188404"/>
                    <a:pt x="188786" y="178594"/>
                  </a:cubicBezTo>
                  <a:lnTo>
                    <a:pt x="210217" y="197834"/>
                  </a:lnTo>
                  <a:cubicBezTo>
                    <a:pt x="198596" y="210979"/>
                    <a:pt x="185356" y="221361"/>
                    <a:pt x="170497" y="229267"/>
                  </a:cubicBezTo>
                  <a:cubicBezTo>
                    <a:pt x="155638"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583" y="0"/>
                    <a:pt x="110680"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356" y="106299"/>
                  </a:moveTo>
                  <a:cubicBezTo>
                    <a:pt x="182499" y="95917"/>
                    <a:pt x="180213" y="86106"/>
                    <a:pt x="176689" y="76771"/>
                  </a:cubicBezTo>
                  <a:cubicBezTo>
                    <a:pt x="173069" y="67437"/>
                    <a:pt x="168307" y="59245"/>
                    <a:pt x="162211" y="52101"/>
                  </a:cubicBezTo>
                  <a:cubicBezTo>
                    <a:pt x="156115" y="44958"/>
                    <a:pt x="148685" y="39338"/>
                    <a:pt x="139922" y="35242"/>
                  </a:cubicBezTo>
                  <a:cubicBezTo>
                    <a:pt x="131159" y="31147"/>
                    <a:pt x="121063" y="29051"/>
                    <a:pt x="109823" y="29051"/>
                  </a:cubicBezTo>
                  <a:cubicBezTo>
                    <a:pt x="100013" y="29051"/>
                    <a:pt x="90773" y="30956"/>
                    <a:pt x="82105" y="34766"/>
                  </a:cubicBezTo>
                  <a:cubicBezTo>
                    <a:pt x="73438" y="38671"/>
                    <a:pt x="65913" y="44005"/>
                    <a:pt x="59341" y="50959"/>
                  </a:cubicBezTo>
                  <a:cubicBezTo>
                    <a:pt x="52769" y="57912"/>
                    <a:pt x="47339" y="66103"/>
                    <a:pt x="43053" y="75628"/>
                  </a:cubicBezTo>
                  <a:cubicBezTo>
                    <a:pt x="38767" y="85058"/>
                    <a:pt x="36004" y="95345"/>
                    <a:pt x="34766" y="106204"/>
                  </a:cubicBezTo>
                  <a:lnTo>
                    <a:pt x="183356" y="106204"/>
                  </a:lnTo>
                  <a:close/>
                </a:path>
              </a:pathLst>
            </a:custGeom>
            <a:solidFill>
              <a:srgbClr val="44505E"/>
            </a:solidFill>
            <a:ln w="9525" cap="flat">
              <a:noFill/>
              <a:prstDash val="solid"/>
              <a:miter/>
            </a:ln>
          </p:spPr>
          <p:txBody>
            <a:bodyPr rtlCol="0" anchor="ctr"/>
            <a:lstStyle/>
            <a:p>
              <a:endParaRPr lang="pt-BR" noProof="0"/>
            </a:p>
          </p:txBody>
        </p:sp>
        <p:sp>
          <p:nvSpPr>
            <p:cNvPr id="44" name="Freeform: Shape 43">
              <a:extLst>
                <a:ext uri="{FF2B5EF4-FFF2-40B4-BE49-F238E27FC236}">
                  <a16:creationId xmlns:a16="http://schemas.microsoft.com/office/drawing/2014/main" id="{7B78F79A-2AE8-E3CD-52B9-FAB2433E7DE7}"/>
                </a:ext>
              </a:extLst>
            </p:cNvPr>
            <p:cNvSpPr/>
            <p:nvPr/>
          </p:nvSpPr>
          <p:spPr>
            <a:xfrm>
              <a:off x="5994910" y="924268"/>
              <a:ext cx="44680" cy="60195"/>
            </a:xfrm>
            <a:custGeom>
              <a:avLst/>
              <a:gdLst>
                <a:gd name="connsiteX0" fmla="*/ 95536 w 177736"/>
                <a:gd name="connsiteY0" fmla="*/ 239268 h 239458"/>
                <a:gd name="connsiteX1" fmla="*/ 45053 w 177736"/>
                <a:gd name="connsiteY1" fmla="*/ 230124 h 239458"/>
                <a:gd name="connsiteX2" fmla="*/ 0 w 177736"/>
                <a:gd name="connsiteY2" fmla="*/ 205359 h 239458"/>
                <a:gd name="connsiteX3" fmla="*/ 17431 w 177736"/>
                <a:gd name="connsiteY3" fmla="*/ 180785 h 239458"/>
                <a:gd name="connsiteX4" fmla="*/ 56483 w 177736"/>
                <a:gd name="connsiteY4" fmla="*/ 202692 h 239458"/>
                <a:gd name="connsiteX5" fmla="*/ 97346 w 177736"/>
                <a:gd name="connsiteY5" fmla="*/ 210217 h 239458"/>
                <a:gd name="connsiteX6" fmla="*/ 131731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730 w 177736"/>
                <a:gd name="connsiteY10" fmla="*/ 147066 h 239458"/>
                <a:gd name="connsiteX11" fmla="*/ 109252 w 177736"/>
                <a:gd name="connsiteY11" fmla="*/ 138779 h 239458"/>
                <a:gd name="connsiteX12" fmla="*/ 87630 w 177736"/>
                <a:gd name="connsiteY12" fmla="*/ 132112 h 239458"/>
                <a:gd name="connsiteX13" fmla="*/ 60674 w 177736"/>
                <a:gd name="connsiteY13" fmla="*/ 123444 h 239458"/>
                <a:gd name="connsiteX14" fmla="*/ 36100 w 177736"/>
                <a:gd name="connsiteY14" fmla="*/ 111633 h 239458"/>
                <a:gd name="connsiteX15" fmla="*/ 18193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60 w 177736"/>
                <a:gd name="connsiteY22" fmla="*/ 6953 h 239458"/>
                <a:gd name="connsiteX23" fmla="*/ 172879 w 177736"/>
                <a:gd name="connsiteY23" fmla="*/ 25527 h 239458"/>
                <a:gd name="connsiteX24" fmla="*/ 157258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4 w 177736"/>
                <a:gd name="connsiteY32" fmla="*/ 96203 h 239458"/>
                <a:gd name="connsiteX33" fmla="*/ 103632 w 177736"/>
                <a:gd name="connsiteY33" fmla="*/ 103346 h 239458"/>
                <a:gd name="connsiteX34" fmla="*/ 130207 w 177736"/>
                <a:gd name="connsiteY34" fmla="*/ 112300 h 239458"/>
                <a:gd name="connsiteX35" fmla="*/ 154114 w 177736"/>
                <a:gd name="connsiteY35" fmla="*/ 124778 h 239458"/>
                <a:gd name="connsiteX36" fmla="*/ 171260 w 177736"/>
                <a:gd name="connsiteY36" fmla="*/ 143066 h 239458"/>
                <a:gd name="connsiteX37" fmla="*/ 177737 w 177736"/>
                <a:gd name="connsiteY37" fmla="*/ 169450 h 239458"/>
                <a:gd name="connsiteX38" fmla="*/ 177737 w 177736"/>
                <a:gd name="connsiteY38" fmla="*/ 170307 h 239458"/>
                <a:gd name="connsiteX39" fmla="*/ 171260 w 177736"/>
                <a:gd name="connsiteY39" fmla="*/ 199549 h 239458"/>
                <a:gd name="connsiteX40" fmla="*/ 153829 w 177736"/>
                <a:gd name="connsiteY40" fmla="*/ 221171 h 239458"/>
                <a:gd name="connsiteX41" fmla="*/ 127921 w 177736"/>
                <a:gd name="connsiteY41" fmla="*/ 234791 h 239458"/>
                <a:gd name="connsiteX42" fmla="*/ 95536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6" y="239268"/>
                  </a:moveTo>
                  <a:cubicBezTo>
                    <a:pt x="78867" y="239268"/>
                    <a:pt x="62008" y="236220"/>
                    <a:pt x="45053" y="230124"/>
                  </a:cubicBezTo>
                  <a:cubicBezTo>
                    <a:pt x="28099" y="224028"/>
                    <a:pt x="13049" y="215741"/>
                    <a:pt x="0" y="205359"/>
                  </a:cubicBezTo>
                  <a:lnTo>
                    <a:pt x="17431" y="180785"/>
                  </a:lnTo>
                  <a:cubicBezTo>
                    <a:pt x="29909"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637" y="162211"/>
                    <a:pt x="140494" y="158020"/>
                  </a:cubicBezTo>
                  <a:cubicBezTo>
                    <a:pt x="137351" y="153829"/>
                    <a:pt x="133160" y="150209"/>
                    <a:pt x="127730" y="147066"/>
                  </a:cubicBezTo>
                  <a:cubicBezTo>
                    <a:pt x="122396" y="143923"/>
                    <a:pt x="116205" y="141161"/>
                    <a:pt x="109252" y="138779"/>
                  </a:cubicBezTo>
                  <a:cubicBezTo>
                    <a:pt x="102299" y="136398"/>
                    <a:pt x="95060" y="134207"/>
                    <a:pt x="87630" y="132112"/>
                  </a:cubicBezTo>
                  <a:cubicBezTo>
                    <a:pt x="78677" y="129445"/>
                    <a:pt x="69723" y="126492"/>
                    <a:pt x="60674" y="123444"/>
                  </a:cubicBezTo>
                  <a:cubicBezTo>
                    <a:pt x="51626" y="120301"/>
                    <a:pt x="43434" y="116396"/>
                    <a:pt x="36100" y="111633"/>
                  </a:cubicBezTo>
                  <a:cubicBezTo>
                    <a:pt x="28766" y="106871"/>
                    <a:pt x="22860" y="100870"/>
                    <a:pt x="18193" y="93726"/>
                  </a:cubicBezTo>
                  <a:cubicBezTo>
                    <a:pt x="13621" y="86582"/>
                    <a:pt x="11239" y="77629"/>
                    <a:pt x="11239" y="66961"/>
                  </a:cubicBezTo>
                  <a:lnTo>
                    <a:pt x="11239" y="66008"/>
                  </a:lnTo>
                  <a:cubicBezTo>
                    <a:pt x="11239" y="56198"/>
                    <a:pt x="13145" y="47149"/>
                    <a:pt x="17050" y="39053"/>
                  </a:cubicBezTo>
                  <a:cubicBezTo>
                    <a:pt x="20860" y="30861"/>
                    <a:pt x="26289" y="23908"/>
                    <a:pt x="33338" y="18098"/>
                  </a:cubicBezTo>
                  <a:cubicBezTo>
                    <a:pt x="40291" y="12287"/>
                    <a:pt x="48673" y="7811"/>
                    <a:pt x="58388" y="4667"/>
                  </a:cubicBezTo>
                  <a:cubicBezTo>
                    <a:pt x="68009" y="1524"/>
                    <a:pt x="78581" y="0"/>
                    <a:pt x="89821" y="0"/>
                  </a:cubicBezTo>
                  <a:cubicBezTo>
                    <a:pt x="104108" y="0"/>
                    <a:pt x="118491" y="2286"/>
                    <a:pt x="133160" y="6953"/>
                  </a:cubicBezTo>
                  <a:cubicBezTo>
                    <a:pt x="147733" y="11621"/>
                    <a:pt x="160972" y="17717"/>
                    <a:pt x="172879" y="25527"/>
                  </a:cubicBezTo>
                  <a:lnTo>
                    <a:pt x="157258" y="51435"/>
                  </a:lnTo>
                  <a:cubicBezTo>
                    <a:pt x="146495" y="44577"/>
                    <a:pt x="135350" y="39148"/>
                    <a:pt x="123539" y="35147"/>
                  </a:cubicBezTo>
                  <a:cubicBezTo>
                    <a:pt x="111824" y="31147"/>
                    <a:pt x="100298" y="29146"/>
                    <a:pt x="88963" y="29146"/>
                  </a:cubicBezTo>
                  <a:cubicBezTo>
                    <a:pt x="75247" y="29146"/>
                    <a:pt x="64389" y="32385"/>
                    <a:pt x="56388" y="38767"/>
                  </a:cubicBezTo>
                  <a:cubicBezTo>
                    <a:pt x="48387" y="45149"/>
                    <a:pt x="44291" y="53150"/>
                    <a:pt x="44291" y="62675"/>
                  </a:cubicBezTo>
                  <a:lnTo>
                    <a:pt x="44291" y="63627"/>
                  </a:lnTo>
                  <a:cubicBezTo>
                    <a:pt x="44291" y="68961"/>
                    <a:pt x="45911" y="73628"/>
                    <a:pt x="49244" y="77724"/>
                  </a:cubicBezTo>
                  <a:cubicBezTo>
                    <a:pt x="52483" y="81725"/>
                    <a:pt x="56960" y="85249"/>
                    <a:pt x="62389" y="88202"/>
                  </a:cubicBezTo>
                  <a:cubicBezTo>
                    <a:pt x="67913" y="91154"/>
                    <a:pt x="74200" y="93821"/>
                    <a:pt x="81344" y="96203"/>
                  </a:cubicBezTo>
                  <a:cubicBezTo>
                    <a:pt x="88487" y="98584"/>
                    <a:pt x="95917" y="100965"/>
                    <a:pt x="103632" y="103346"/>
                  </a:cubicBezTo>
                  <a:cubicBezTo>
                    <a:pt x="112586" y="106013"/>
                    <a:pt x="121444" y="108966"/>
                    <a:pt x="130207" y="112300"/>
                  </a:cubicBezTo>
                  <a:cubicBezTo>
                    <a:pt x="138970" y="115538"/>
                    <a:pt x="146971" y="119729"/>
                    <a:pt x="154114" y="124778"/>
                  </a:cubicBezTo>
                  <a:cubicBezTo>
                    <a:pt x="161258" y="129826"/>
                    <a:pt x="166973" y="135922"/>
                    <a:pt x="171260" y="143066"/>
                  </a:cubicBezTo>
                  <a:cubicBezTo>
                    <a:pt x="175546" y="150209"/>
                    <a:pt x="177737" y="158972"/>
                    <a:pt x="177737" y="169450"/>
                  </a:cubicBezTo>
                  <a:lnTo>
                    <a:pt x="177737" y="170307"/>
                  </a:lnTo>
                  <a:cubicBezTo>
                    <a:pt x="177737" y="181356"/>
                    <a:pt x="175546" y="191071"/>
                    <a:pt x="171260" y="199549"/>
                  </a:cubicBezTo>
                  <a:cubicBezTo>
                    <a:pt x="166973" y="208026"/>
                    <a:pt x="161163" y="215265"/>
                    <a:pt x="153829" y="221171"/>
                  </a:cubicBezTo>
                  <a:cubicBezTo>
                    <a:pt x="146495" y="227171"/>
                    <a:pt x="137922" y="231648"/>
                    <a:pt x="127921" y="234791"/>
                  </a:cubicBezTo>
                  <a:cubicBezTo>
                    <a:pt x="117920" y="237935"/>
                    <a:pt x="107156" y="239459"/>
                    <a:pt x="95536" y="239459"/>
                  </a:cubicBezTo>
                  <a:close/>
                </a:path>
              </a:pathLst>
            </a:custGeom>
            <a:solidFill>
              <a:srgbClr val="44505E"/>
            </a:solidFill>
            <a:ln w="9525" cap="flat">
              <a:noFill/>
              <a:prstDash val="solid"/>
              <a:miter/>
            </a:ln>
          </p:spPr>
          <p:txBody>
            <a:bodyPr rtlCol="0" anchor="ctr"/>
            <a:lstStyle/>
            <a:p>
              <a:endParaRPr lang="pt-BR" noProof="0"/>
            </a:p>
          </p:txBody>
        </p:sp>
        <p:sp>
          <p:nvSpPr>
            <p:cNvPr id="45" name="Freeform: Shape 44">
              <a:extLst>
                <a:ext uri="{FF2B5EF4-FFF2-40B4-BE49-F238E27FC236}">
                  <a16:creationId xmlns:a16="http://schemas.microsoft.com/office/drawing/2014/main" id="{6F6CD8D3-F7D4-B022-C4B1-347FCC59D9E9}"/>
                </a:ext>
              </a:extLst>
            </p:cNvPr>
            <p:cNvSpPr/>
            <p:nvPr/>
          </p:nvSpPr>
          <p:spPr>
            <a:xfrm>
              <a:off x="605122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4 w 202977"/>
                <a:gd name="connsiteY30" fmla="*/ 174593 h 239267"/>
                <a:gd name="connsiteX31" fmla="*/ 169735 w 202977"/>
                <a:gd name="connsiteY31" fmla="*/ 149447 h 239267"/>
                <a:gd name="connsiteX32" fmla="*/ 169735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0" y="90964"/>
                    <a:pt x="98584" y="90964"/>
                  </a:cubicBezTo>
                  <a:cubicBezTo>
                    <a:pt x="113157" y="90964"/>
                    <a:pt x="126301"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1" y="33147"/>
                    <a:pt x="63436" y="36100"/>
                  </a:cubicBezTo>
                  <a:cubicBezTo>
                    <a:pt x="52292" y="39053"/>
                    <a:pt x="41338" y="43053"/>
                    <a:pt x="30671" y="48196"/>
                  </a:cubicBezTo>
                  <a:lnTo>
                    <a:pt x="20383" y="19907"/>
                  </a:lnTo>
                  <a:cubicBezTo>
                    <a:pt x="33147" y="13906"/>
                    <a:pt x="46101" y="9049"/>
                    <a:pt x="59246" y="5429"/>
                  </a:cubicBezTo>
                  <a:cubicBezTo>
                    <a:pt x="72295"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1" y="239173"/>
                  </a:cubicBezTo>
                  <a:close/>
                  <a:moveTo>
                    <a:pt x="93154" y="211169"/>
                  </a:moveTo>
                  <a:cubicBezTo>
                    <a:pt x="103822" y="211169"/>
                    <a:pt x="113728" y="209740"/>
                    <a:pt x="122967" y="206788"/>
                  </a:cubicBezTo>
                  <a:cubicBezTo>
                    <a:pt x="132207" y="203835"/>
                    <a:pt x="140208" y="199644"/>
                    <a:pt x="147256" y="194120"/>
                  </a:cubicBezTo>
                  <a:cubicBezTo>
                    <a:pt x="154209" y="188595"/>
                    <a:pt x="159734" y="182118"/>
                    <a:pt x="163734" y="174593"/>
                  </a:cubicBezTo>
                  <a:cubicBezTo>
                    <a:pt x="167735" y="167068"/>
                    <a:pt x="169735" y="158687"/>
                    <a:pt x="169735" y="149447"/>
                  </a:cubicBezTo>
                  <a:lnTo>
                    <a:pt x="169735" y="128111"/>
                  </a:lnTo>
                  <a:cubicBezTo>
                    <a:pt x="161163" y="125730"/>
                    <a:pt x="151352" y="123539"/>
                    <a:pt x="140398" y="121444"/>
                  </a:cubicBezTo>
                  <a:cubicBezTo>
                    <a:pt x="129445" y="119348"/>
                    <a:pt x="116872"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46" name="Freeform: Shape 45">
              <a:extLst>
                <a:ext uri="{FF2B5EF4-FFF2-40B4-BE49-F238E27FC236}">
                  <a16:creationId xmlns:a16="http://schemas.microsoft.com/office/drawing/2014/main" id="{552E7FAB-AEB9-4775-6CF9-B71E0EAA084E}"/>
                </a:ext>
              </a:extLst>
            </p:cNvPr>
            <p:cNvSpPr/>
            <p:nvPr/>
          </p:nvSpPr>
          <p:spPr>
            <a:xfrm>
              <a:off x="6121359" y="901377"/>
              <a:ext cx="8644" cy="81913"/>
            </a:xfrm>
            <a:custGeom>
              <a:avLst/>
              <a:gdLst>
                <a:gd name="connsiteX0" fmla="*/ 0 w 34385"/>
                <a:gd name="connsiteY0" fmla="*/ 0 h 325850"/>
                <a:gd name="connsiteX1" fmla="*/ 34385 w 34385"/>
                <a:gd name="connsiteY1" fmla="*/ 0 h 325850"/>
                <a:gd name="connsiteX2" fmla="*/ 34385 w 34385"/>
                <a:gd name="connsiteY2" fmla="*/ 325850 h 325850"/>
                <a:gd name="connsiteX3" fmla="*/ 0 w 34385"/>
                <a:gd name="connsiteY3" fmla="*/ 325850 h 325850"/>
                <a:gd name="connsiteX4" fmla="*/ 0 w 34385"/>
                <a:gd name="connsiteY4" fmla="*/ 0 h 32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 h="325850">
                  <a:moveTo>
                    <a:pt x="0" y="0"/>
                  </a:moveTo>
                  <a:lnTo>
                    <a:pt x="34385" y="0"/>
                  </a:lnTo>
                  <a:lnTo>
                    <a:pt x="34385" y="325850"/>
                  </a:lnTo>
                  <a:lnTo>
                    <a:pt x="0" y="325850"/>
                  </a:lnTo>
                  <a:lnTo>
                    <a:pt x="0" y="0"/>
                  </a:lnTo>
                  <a:close/>
                </a:path>
              </a:pathLst>
            </a:custGeom>
            <a:solidFill>
              <a:srgbClr val="44505E"/>
            </a:solidFill>
            <a:ln w="9525" cap="flat">
              <a:noFill/>
              <a:prstDash val="solid"/>
              <a:miter/>
            </a:ln>
          </p:spPr>
          <p:txBody>
            <a:bodyPr rtlCol="0" anchor="ctr"/>
            <a:lstStyle/>
            <a:p>
              <a:endParaRPr lang="pt-BR" noProof="0"/>
            </a:p>
          </p:txBody>
        </p:sp>
        <p:sp>
          <p:nvSpPr>
            <p:cNvPr id="47" name="Freeform: Shape 46">
              <a:extLst>
                <a:ext uri="{FF2B5EF4-FFF2-40B4-BE49-F238E27FC236}">
                  <a16:creationId xmlns:a16="http://schemas.microsoft.com/office/drawing/2014/main" id="{73200BCF-E66E-8708-006F-89DA328FAB57}"/>
                </a:ext>
              </a:extLst>
            </p:cNvPr>
            <p:cNvSpPr/>
            <p:nvPr/>
          </p:nvSpPr>
          <p:spPr>
            <a:xfrm>
              <a:off x="6144346" y="925273"/>
              <a:ext cx="58016" cy="58448"/>
            </a:xfrm>
            <a:custGeom>
              <a:avLst/>
              <a:gdLst>
                <a:gd name="connsiteX0" fmla="*/ 95 w 230790"/>
                <a:gd name="connsiteY0" fmla="*/ 0 h 232505"/>
                <a:gd name="connsiteX1" fmla="*/ 38005 w 230790"/>
                <a:gd name="connsiteY1" fmla="*/ 0 h 232505"/>
                <a:gd name="connsiteX2" fmla="*/ 115634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4"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48" name="Freeform: Shape 47">
              <a:extLst>
                <a:ext uri="{FF2B5EF4-FFF2-40B4-BE49-F238E27FC236}">
                  <a16:creationId xmlns:a16="http://schemas.microsoft.com/office/drawing/2014/main" id="{A6ADCEBE-E8BB-341E-8280-C1B6168FC69A}"/>
                </a:ext>
              </a:extLst>
            </p:cNvPr>
            <p:cNvSpPr/>
            <p:nvPr/>
          </p:nvSpPr>
          <p:spPr>
            <a:xfrm>
              <a:off x="621155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8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338 w 202977"/>
                <a:gd name="connsiteY36" fmla="*/ 164497 h 239267"/>
                <a:gd name="connsiteX37" fmla="*/ 35338 w 202977"/>
                <a:gd name="connsiteY37" fmla="*/ 165449 h 239267"/>
                <a:gd name="connsiteX38" fmla="*/ 40005 w 202977"/>
                <a:gd name="connsiteY38" fmla="*/ 184785 h 239267"/>
                <a:gd name="connsiteX39" fmla="*/ 52673 w 202977"/>
                <a:gd name="connsiteY39" fmla="*/ 199263 h 239267"/>
                <a:gd name="connsiteX40" fmla="*/ 71152 w 202977"/>
                <a:gd name="connsiteY40" fmla="*/ 208121 h 239267"/>
                <a:gd name="connsiteX41" fmla="*/ 93154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438" y="239268"/>
                    <a:pt x="64961"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1" y="90964"/>
                    <a:pt x="98584" y="90964"/>
                  </a:cubicBezTo>
                  <a:cubicBezTo>
                    <a:pt x="113157" y="90964"/>
                    <a:pt x="126302" y="91821"/>
                    <a:pt x="137160" y="93631"/>
                  </a:cubicBezTo>
                  <a:cubicBezTo>
                    <a:pt x="148019" y="95440"/>
                    <a:pt x="158687" y="97822"/>
                    <a:pt x="169069" y="100774"/>
                  </a:cubicBezTo>
                  <a:lnTo>
                    <a:pt x="169069" y="93726"/>
                  </a:lnTo>
                  <a:cubicBezTo>
                    <a:pt x="169069" y="73342"/>
                    <a:pt x="163068" y="57912"/>
                    <a:pt x="151162" y="47339"/>
                  </a:cubicBezTo>
                  <a:cubicBezTo>
                    <a:pt x="139255" y="36862"/>
                    <a:pt x="122491" y="31623"/>
                    <a:pt x="100679" y="31623"/>
                  </a:cubicBezTo>
                  <a:cubicBezTo>
                    <a:pt x="86963" y="31623"/>
                    <a:pt x="74581" y="33147"/>
                    <a:pt x="63437" y="36100"/>
                  </a:cubicBezTo>
                  <a:cubicBezTo>
                    <a:pt x="52292" y="39053"/>
                    <a:pt x="41338" y="43053"/>
                    <a:pt x="30671" y="48196"/>
                  </a:cubicBezTo>
                  <a:lnTo>
                    <a:pt x="20383" y="19907"/>
                  </a:lnTo>
                  <a:cubicBezTo>
                    <a:pt x="33147" y="13906"/>
                    <a:pt x="46101" y="9049"/>
                    <a:pt x="59246" y="5429"/>
                  </a:cubicBezTo>
                  <a:cubicBezTo>
                    <a:pt x="72390"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04" y="239173"/>
                    <a:pt x="86011" y="239173"/>
                  </a:cubicBezTo>
                  <a:close/>
                  <a:moveTo>
                    <a:pt x="93154" y="211169"/>
                  </a:moveTo>
                  <a:cubicBezTo>
                    <a:pt x="103822" y="211169"/>
                    <a:pt x="113824" y="209740"/>
                    <a:pt x="122968" y="206788"/>
                  </a:cubicBezTo>
                  <a:cubicBezTo>
                    <a:pt x="132112"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5" y="119348"/>
                    <a:pt x="116777" y="118300"/>
                    <a:pt x="102584" y="118300"/>
                  </a:cubicBezTo>
                  <a:cubicBezTo>
                    <a:pt x="81248" y="118300"/>
                    <a:pt x="64675" y="122491"/>
                    <a:pt x="52959" y="130969"/>
                  </a:cubicBezTo>
                  <a:cubicBezTo>
                    <a:pt x="41243" y="139446"/>
                    <a:pt x="35338" y="150590"/>
                    <a:pt x="35338" y="164497"/>
                  </a:cubicBezTo>
                  <a:lnTo>
                    <a:pt x="35338" y="165449"/>
                  </a:lnTo>
                  <a:cubicBezTo>
                    <a:pt x="35338" y="172498"/>
                    <a:pt x="36862" y="178975"/>
                    <a:pt x="40005" y="184785"/>
                  </a:cubicBezTo>
                  <a:cubicBezTo>
                    <a:pt x="43148" y="190500"/>
                    <a:pt x="47339" y="195358"/>
                    <a:pt x="52673" y="199263"/>
                  </a:cubicBezTo>
                  <a:cubicBezTo>
                    <a:pt x="58007" y="203073"/>
                    <a:pt x="64198" y="206026"/>
                    <a:pt x="71152" y="208121"/>
                  </a:cubicBezTo>
                  <a:cubicBezTo>
                    <a:pt x="78105" y="210217"/>
                    <a:pt x="85439" y="211169"/>
                    <a:pt x="93154" y="211169"/>
                  </a:cubicBezTo>
                  <a:close/>
                </a:path>
              </a:pathLst>
            </a:custGeom>
            <a:solidFill>
              <a:srgbClr val="44505E"/>
            </a:solidFill>
            <a:ln w="9525" cap="flat">
              <a:noFill/>
              <a:prstDash val="solid"/>
              <a:miter/>
            </a:ln>
          </p:spPr>
          <p:txBody>
            <a:bodyPr rtlCol="0" anchor="ctr"/>
            <a:lstStyle/>
            <a:p>
              <a:endParaRPr lang="pt-BR" noProof="0"/>
            </a:p>
          </p:txBody>
        </p:sp>
        <p:sp>
          <p:nvSpPr>
            <p:cNvPr id="49" name="Freeform: Shape 48">
              <a:extLst>
                <a:ext uri="{FF2B5EF4-FFF2-40B4-BE49-F238E27FC236}">
                  <a16:creationId xmlns:a16="http://schemas.microsoft.com/office/drawing/2014/main" id="{E3271548-4849-904C-1DB4-4A4DE95B5D25}"/>
                </a:ext>
              </a:extLst>
            </p:cNvPr>
            <p:cNvSpPr/>
            <p:nvPr/>
          </p:nvSpPr>
          <p:spPr>
            <a:xfrm>
              <a:off x="6280899" y="923980"/>
              <a:ext cx="87995" cy="59238"/>
            </a:xfrm>
            <a:custGeom>
              <a:avLst/>
              <a:gdLst>
                <a:gd name="connsiteX0" fmla="*/ 0 w 350043"/>
                <a:gd name="connsiteY0" fmla="*/ 5144 h 235648"/>
                <a:gd name="connsiteX1" fmla="*/ 34385 w 350043"/>
                <a:gd name="connsiteY1" fmla="*/ 5144 h 235648"/>
                <a:gd name="connsiteX2" fmla="*/ 34385 w 350043"/>
                <a:gd name="connsiteY2" fmla="*/ 44005 h 235648"/>
                <a:gd name="connsiteX3" fmla="*/ 47149 w 350043"/>
                <a:gd name="connsiteY3" fmla="*/ 27432 h 235648"/>
                <a:gd name="connsiteX4" fmla="*/ 62960 w 350043"/>
                <a:gd name="connsiteY4" fmla="*/ 13335 h 235648"/>
                <a:gd name="connsiteX5" fmla="*/ 83058 w 350043"/>
                <a:gd name="connsiteY5" fmla="*/ 3715 h 235648"/>
                <a:gd name="connsiteX6" fmla="*/ 108966 w 350043"/>
                <a:gd name="connsiteY6" fmla="*/ 95 h 235648"/>
                <a:gd name="connsiteX7" fmla="*/ 155448 w 350043"/>
                <a:gd name="connsiteY7" fmla="*/ 13240 h 235648"/>
                <a:gd name="connsiteX8" fmla="*/ 183166 w 350043"/>
                <a:gd name="connsiteY8" fmla="*/ 46006 h 235648"/>
                <a:gd name="connsiteX9" fmla="*/ 197168 w 350043"/>
                <a:gd name="connsiteY9" fmla="*/ 28194 h 235648"/>
                <a:gd name="connsiteX10" fmla="*/ 214789 w 350043"/>
                <a:gd name="connsiteY10" fmla="*/ 13430 h 235648"/>
                <a:gd name="connsiteX11" fmla="*/ 236887 w 350043"/>
                <a:gd name="connsiteY11" fmla="*/ 3620 h 235648"/>
                <a:gd name="connsiteX12" fmla="*/ 264319 w 350043"/>
                <a:gd name="connsiteY12" fmla="*/ 0 h 235648"/>
                <a:gd name="connsiteX13" fmla="*/ 327279 w 350043"/>
                <a:gd name="connsiteY13" fmla="*/ 24765 h 235648"/>
                <a:gd name="connsiteX14" fmla="*/ 350044 w 350043"/>
                <a:gd name="connsiteY14" fmla="*/ 92773 h 235648"/>
                <a:gd name="connsiteX15" fmla="*/ 350044 w 350043"/>
                <a:gd name="connsiteY15" fmla="*/ 235648 h 235648"/>
                <a:gd name="connsiteX16" fmla="*/ 315659 w 350043"/>
                <a:gd name="connsiteY16" fmla="*/ 235648 h 235648"/>
                <a:gd name="connsiteX17" fmla="*/ 315659 w 350043"/>
                <a:gd name="connsiteY17" fmla="*/ 101155 h 235648"/>
                <a:gd name="connsiteX18" fmla="*/ 299847 w 350043"/>
                <a:gd name="connsiteY18" fmla="*/ 49721 h 235648"/>
                <a:gd name="connsiteX19" fmla="*/ 255937 w 350043"/>
                <a:gd name="connsiteY19" fmla="*/ 31718 h 235648"/>
                <a:gd name="connsiteX20" fmla="*/ 231362 w 350043"/>
                <a:gd name="connsiteY20" fmla="*/ 36386 h 235648"/>
                <a:gd name="connsiteX21" fmla="*/ 211074 w 350043"/>
                <a:gd name="connsiteY21" fmla="*/ 50197 h 235648"/>
                <a:gd name="connsiteX22" fmla="*/ 197263 w 350043"/>
                <a:gd name="connsiteY22" fmla="*/ 72676 h 235648"/>
                <a:gd name="connsiteX23" fmla="*/ 192119 w 350043"/>
                <a:gd name="connsiteY23" fmla="*/ 102965 h 235648"/>
                <a:gd name="connsiteX24" fmla="*/ 192119 w 350043"/>
                <a:gd name="connsiteY24" fmla="*/ 235648 h 235648"/>
                <a:gd name="connsiteX25" fmla="*/ 158210 w 350043"/>
                <a:gd name="connsiteY25" fmla="*/ 235648 h 235648"/>
                <a:gd name="connsiteX26" fmla="*/ 158210 w 350043"/>
                <a:gd name="connsiteY26" fmla="*/ 100298 h 235648"/>
                <a:gd name="connsiteX27" fmla="*/ 142399 w 350043"/>
                <a:gd name="connsiteY27" fmla="*/ 49721 h 235648"/>
                <a:gd name="connsiteX28" fmla="*/ 98870 w 350043"/>
                <a:gd name="connsiteY28" fmla="*/ 31718 h 235648"/>
                <a:gd name="connsiteX29" fmla="*/ 73438 w 350043"/>
                <a:gd name="connsiteY29" fmla="*/ 37052 h 235648"/>
                <a:gd name="connsiteX30" fmla="*/ 53150 w 350043"/>
                <a:gd name="connsiteY30" fmla="*/ 52197 h 235648"/>
                <a:gd name="connsiteX31" fmla="*/ 39529 w 350043"/>
                <a:gd name="connsiteY31" fmla="*/ 75152 h 235648"/>
                <a:gd name="connsiteX32" fmla="*/ 34576 w 350043"/>
                <a:gd name="connsiteY32" fmla="*/ 104299 h 235648"/>
                <a:gd name="connsiteX33" fmla="*/ 34576 w 350043"/>
                <a:gd name="connsiteY33" fmla="*/ 235648 h 235648"/>
                <a:gd name="connsiteX34" fmla="*/ 190 w 350043"/>
                <a:gd name="connsiteY34" fmla="*/ 235648 h 235648"/>
                <a:gd name="connsiteX35" fmla="*/ 190 w 350043"/>
                <a:gd name="connsiteY35" fmla="*/ 485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0043" h="235648">
                  <a:moveTo>
                    <a:pt x="0" y="5144"/>
                  </a:moveTo>
                  <a:lnTo>
                    <a:pt x="34385" y="5144"/>
                  </a:lnTo>
                  <a:lnTo>
                    <a:pt x="34385" y="44005"/>
                  </a:lnTo>
                  <a:cubicBezTo>
                    <a:pt x="38290" y="38386"/>
                    <a:pt x="42481" y="32861"/>
                    <a:pt x="47149" y="27432"/>
                  </a:cubicBezTo>
                  <a:cubicBezTo>
                    <a:pt x="51721" y="22098"/>
                    <a:pt x="57055" y="17431"/>
                    <a:pt x="62960" y="13335"/>
                  </a:cubicBezTo>
                  <a:cubicBezTo>
                    <a:pt x="68866" y="9335"/>
                    <a:pt x="75629" y="6096"/>
                    <a:pt x="83058" y="3715"/>
                  </a:cubicBezTo>
                  <a:cubicBezTo>
                    <a:pt x="90488" y="1334"/>
                    <a:pt x="99155" y="95"/>
                    <a:pt x="108966" y="95"/>
                  </a:cubicBezTo>
                  <a:cubicBezTo>
                    <a:pt x="127730" y="95"/>
                    <a:pt x="143161" y="4477"/>
                    <a:pt x="155448" y="13240"/>
                  </a:cubicBezTo>
                  <a:cubicBezTo>
                    <a:pt x="167640" y="22003"/>
                    <a:pt x="176879" y="32956"/>
                    <a:pt x="183166" y="46006"/>
                  </a:cubicBezTo>
                  <a:cubicBezTo>
                    <a:pt x="187357" y="39719"/>
                    <a:pt x="192024" y="33814"/>
                    <a:pt x="197168" y="28194"/>
                  </a:cubicBezTo>
                  <a:cubicBezTo>
                    <a:pt x="202406" y="22574"/>
                    <a:pt x="208217" y="17621"/>
                    <a:pt x="214789" y="13430"/>
                  </a:cubicBezTo>
                  <a:cubicBezTo>
                    <a:pt x="221361" y="9239"/>
                    <a:pt x="228695" y="6001"/>
                    <a:pt x="236887" y="3620"/>
                  </a:cubicBezTo>
                  <a:cubicBezTo>
                    <a:pt x="245078" y="1238"/>
                    <a:pt x="254222" y="0"/>
                    <a:pt x="264319" y="0"/>
                  </a:cubicBezTo>
                  <a:cubicBezTo>
                    <a:pt x="291084" y="0"/>
                    <a:pt x="312039" y="8287"/>
                    <a:pt x="327279" y="24765"/>
                  </a:cubicBezTo>
                  <a:cubicBezTo>
                    <a:pt x="342519" y="41243"/>
                    <a:pt x="350044" y="63913"/>
                    <a:pt x="350044" y="92773"/>
                  </a:cubicBezTo>
                  <a:lnTo>
                    <a:pt x="350044" y="235648"/>
                  </a:lnTo>
                  <a:lnTo>
                    <a:pt x="315659" y="235648"/>
                  </a:lnTo>
                  <a:lnTo>
                    <a:pt x="315659" y="101155"/>
                  </a:lnTo>
                  <a:cubicBezTo>
                    <a:pt x="315659" y="78867"/>
                    <a:pt x="310420" y="61722"/>
                    <a:pt x="299847" y="49721"/>
                  </a:cubicBezTo>
                  <a:cubicBezTo>
                    <a:pt x="289274" y="37719"/>
                    <a:pt x="274606" y="31718"/>
                    <a:pt x="255937" y="31718"/>
                  </a:cubicBezTo>
                  <a:cubicBezTo>
                    <a:pt x="247269" y="31718"/>
                    <a:pt x="239078" y="33242"/>
                    <a:pt x="231362" y="36386"/>
                  </a:cubicBezTo>
                  <a:cubicBezTo>
                    <a:pt x="223647" y="39529"/>
                    <a:pt x="216884" y="44101"/>
                    <a:pt x="211074" y="50197"/>
                  </a:cubicBezTo>
                  <a:cubicBezTo>
                    <a:pt x="205264" y="56293"/>
                    <a:pt x="200692" y="63818"/>
                    <a:pt x="197263" y="72676"/>
                  </a:cubicBezTo>
                  <a:cubicBezTo>
                    <a:pt x="193834" y="81629"/>
                    <a:pt x="192119" y="91726"/>
                    <a:pt x="192119" y="102965"/>
                  </a:cubicBezTo>
                  <a:lnTo>
                    <a:pt x="192119" y="235648"/>
                  </a:lnTo>
                  <a:lnTo>
                    <a:pt x="158210" y="235648"/>
                  </a:lnTo>
                  <a:lnTo>
                    <a:pt x="158210" y="100298"/>
                  </a:lnTo>
                  <a:cubicBezTo>
                    <a:pt x="158210" y="78677"/>
                    <a:pt x="152971" y="61817"/>
                    <a:pt x="142399" y="49721"/>
                  </a:cubicBezTo>
                  <a:cubicBezTo>
                    <a:pt x="131826" y="37719"/>
                    <a:pt x="117348" y="31718"/>
                    <a:pt x="98870" y="31718"/>
                  </a:cubicBezTo>
                  <a:cubicBezTo>
                    <a:pt x="89630" y="31718"/>
                    <a:pt x="81153" y="33528"/>
                    <a:pt x="73438" y="37052"/>
                  </a:cubicBezTo>
                  <a:cubicBezTo>
                    <a:pt x="65722" y="40672"/>
                    <a:pt x="58960" y="45720"/>
                    <a:pt x="53150" y="52197"/>
                  </a:cubicBezTo>
                  <a:cubicBezTo>
                    <a:pt x="47339" y="58769"/>
                    <a:pt x="42767" y="66389"/>
                    <a:pt x="39529" y="75152"/>
                  </a:cubicBezTo>
                  <a:cubicBezTo>
                    <a:pt x="36290" y="83915"/>
                    <a:pt x="34576" y="93631"/>
                    <a:pt x="34576" y="104299"/>
                  </a:cubicBezTo>
                  <a:lnTo>
                    <a:pt x="34576" y="235648"/>
                  </a:lnTo>
                  <a:lnTo>
                    <a:pt x="190" y="235648"/>
                  </a:lnTo>
                  <a:lnTo>
                    <a:pt x="190" y="4858"/>
                  </a:lnTo>
                  <a:close/>
                </a:path>
              </a:pathLst>
            </a:custGeom>
            <a:solidFill>
              <a:srgbClr val="44505E"/>
            </a:solidFill>
            <a:ln w="9525" cap="flat">
              <a:noFill/>
              <a:prstDash val="solid"/>
              <a:miter/>
            </a:ln>
          </p:spPr>
          <p:txBody>
            <a:bodyPr rtlCol="0" anchor="ctr"/>
            <a:lstStyle/>
            <a:p>
              <a:endParaRPr lang="pt-BR" noProof="0"/>
            </a:p>
          </p:txBody>
        </p:sp>
        <p:sp>
          <p:nvSpPr>
            <p:cNvPr id="50" name="Freeform: Shape 49">
              <a:extLst>
                <a:ext uri="{FF2B5EF4-FFF2-40B4-BE49-F238E27FC236}">
                  <a16:creationId xmlns:a16="http://schemas.microsoft.com/office/drawing/2014/main" id="{87D056FB-0BC5-EA7F-81B6-49F9582083E3}"/>
                </a:ext>
              </a:extLst>
            </p:cNvPr>
            <p:cNvSpPr/>
            <p:nvPr/>
          </p:nvSpPr>
          <p:spPr>
            <a:xfrm>
              <a:off x="6415537" y="925273"/>
              <a:ext cx="58016" cy="58448"/>
            </a:xfrm>
            <a:custGeom>
              <a:avLst/>
              <a:gdLst>
                <a:gd name="connsiteX0" fmla="*/ 95 w 230790"/>
                <a:gd name="connsiteY0" fmla="*/ 0 h 232505"/>
                <a:gd name="connsiteX1" fmla="*/ 38005 w 230790"/>
                <a:gd name="connsiteY1" fmla="*/ 0 h 232505"/>
                <a:gd name="connsiteX2" fmla="*/ 115633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3"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51" name="Freeform: Shape 50">
              <a:extLst>
                <a:ext uri="{FF2B5EF4-FFF2-40B4-BE49-F238E27FC236}">
                  <a16:creationId xmlns:a16="http://schemas.microsoft.com/office/drawing/2014/main" id="{7511F7AA-1C63-C87F-0329-7C77D58CC372}"/>
                </a:ext>
              </a:extLst>
            </p:cNvPr>
            <p:cNvSpPr/>
            <p:nvPr/>
          </p:nvSpPr>
          <p:spPr>
            <a:xfrm>
              <a:off x="6487369"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286 w 39242"/>
                <a:gd name="connsiteY5" fmla="*/ 88392 h 319182"/>
                <a:gd name="connsiteX6" fmla="*/ 36671 w 39242"/>
                <a:gd name="connsiteY6" fmla="*/ 88392 h 319182"/>
                <a:gd name="connsiteX7" fmla="*/ 36671 w 39242"/>
                <a:gd name="connsiteY7" fmla="*/ 319183 h 319182"/>
                <a:gd name="connsiteX8" fmla="*/ 2286 w 39242"/>
                <a:gd name="connsiteY8" fmla="*/ 319183 h 319182"/>
                <a:gd name="connsiteX9" fmla="*/ 2286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286" y="88392"/>
                  </a:moveTo>
                  <a:lnTo>
                    <a:pt x="36671" y="88392"/>
                  </a:lnTo>
                  <a:lnTo>
                    <a:pt x="36671" y="319183"/>
                  </a:lnTo>
                  <a:lnTo>
                    <a:pt x="2286" y="319183"/>
                  </a:lnTo>
                  <a:lnTo>
                    <a:pt x="2286" y="88392"/>
                  </a:lnTo>
                  <a:close/>
                </a:path>
              </a:pathLst>
            </a:custGeom>
            <a:solidFill>
              <a:srgbClr val="44505E"/>
            </a:solidFill>
            <a:ln w="9525" cap="flat">
              <a:noFill/>
              <a:prstDash val="solid"/>
              <a:miter/>
            </a:ln>
          </p:spPr>
          <p:txBody>
            <a:bodyPr rtlCol="0" anchor="ctr"/>
            <a:lstStyle/>
            <a:p>
              <a:endParaRPr lang="pt-BR" noProof="0"/>
            </a:p>
          </p:txBody>
        </p:sp>
        <p:sp>
          <p:nvSpPr>
            <p:cNvPr id="52" name="Freeform: Shape 51">
              <a:extLst>
                <a:ext uri="{FF2B5EF4-FFF2-40B4-BE49-F238E27FC236}">
                  <a16:creationId xmlns:a16="http://schemas.microsoft.com/office/drawing/2014/main" id="{B6C4B586-FA45-F407-4B8B-0D2891B580CA}"/>
                </a:ext>
              </a:extLst>
            </p:cNvPr>
            <p:cNvSpPr/>
            <p:nvPr/>
          </p:nvSpPr>
          <p:spPr>
            <a:xfrm>
              <a:off x="6513253" y="901353"/>
              <a:ext cx="58615" cy="83182"/>
            </a:xfrm>
            <a:custGeom>
              <a:avLst/>
              <a:gdLst>
                <a:gd name="connsiteX0" fmla="*/ 110394 w 233171"/>
                <a:gd name="connsiteY0" fmla="*/ 330898 h 330898"/>
                <a:gd name="connsiteX1" fmla="*/ 69723 w 233171"/>
                <a:gd name="connsiteY1" fmla="*/ 322897 h 330898"/>
                <a:gd name="connsiteX2" fmla="*/ 34480 w 233171"/>
                <a:gd name="connsiteY2" fmla="*/ 299466 h 330898"/>
                <a:gd name="connsiteX3" fmla="*/ 9430 w 233171"/>
                <a:gd name="connsiteY3" fmla="*/ 261938 h 330898"/>
                <a:gd name="connsiteX4" fmla="*/ 0 w 233171"/>
                <a:gd name="connsiteY4" fmla="*/ 211264 h 330898"/>
                <a:gd name="connsiteX5" fmla="*/ 0 w 233171"/>
                <a:gd name="connsiteY5" fmla="*/ 210407 h 330898"/>
                <a:gd name="connsiteX6" fmla="*/ 9430 w 233171"/>
                <a:gd name="connsiteY6" fmla="*/ 159925 h 330898"/>
                <a:gd name="connsiteX7" fmla="*/ 34480 w 233171"/>
                <a:gd name="connsiteY7" fmla="*/ 122206 h 330898"/>
                <a:gd name="connsiteX8" fmla="*/ 69723 w 233171"/>
                <a:gd name="connsiteY8" fmla="*/ 98488 h 330898"/>
                <a:gd name="connsiteX9" fmla="*/ 110394 w 233171"/>
                <a:gd name="connsiteY9" fmla="*/ 90202 h 330898"/>
                <a:gd name="connsiteX10" fmla="*/ 139827 w 233171"/>
                <a:gd name="connsiteY10" fmla="*/ 94202 h 330898"/>
                <a:gd name="connsiteX11" fmla="*/ 163925 w 233171"/>
                <a:gd name="connsiteY11" fmla="*/ 104870 h 330898"/>
                <a:gd name="connsiteX12" fmla="*/ 183356 w 233171"/>
                <a:gd name="connsiteY12" fmla="*/ 120491 h 330898"/>
                <a:gd name="connsiteX13" fmla="*/ 198787 w 233171"/>
                <a:gd name="connsiteY13" fmla="*/ 139255 h 330898"/>
                <a:gd name="connsiteX14" fmla="*/ 198787 w 233171"/>
                <a:gd name="connsiteY14" fmla="*/ 0 h 330898"/>
                <a:gd name="connsiteX15" fmla="*/ 233172 w 233171"/>
                <a:gd name="connsiteY15" fmla="*/ 0 h 330898"/>
                <a:gd name="connsiteX16" fmla="*/ 233172 w 233171"/>
                <a:gd name="connsiteY16" fmla="*/ 325850 h 330898"/>
                <a:gd name="connsiteX17" fmla="*/ 198787 w 233171"/>
                <a:gd name="connsiteY17" fmla="*/ 325850 h 330898"/>
                <a:gd name="connsiteX18" fmla="*/ 198787 w 233171"/>
                <a:gd name="connsiteY18" fmla="*/ 279463 h 330898"/>
                <a:gd name="connsiteX19" fmla="*/ 182975 w 233171"/>
                <a:gd name="connsiteY19" fmla="*/ 299085 h 330898"/>
                <a:gd name="connsiteX20" fmla="*/ 163544 w 233171"/>
                <a:gd name="connsiteY20" fmla="*/ 315658 h 330898"/>
                <a:gd name="connsiteX21" fmla="*/ 139636 w 233171"/>
                <a:gd name="connsiteY21" fmla="*/ 326803 h 330898"/>
                <a:gd name="connsiteX22" fmla="*/ 110394 w 233171"/>
                <a:gd name="connsiteY22" fmla="*/ 330803 h 330898"/>
                <a:gd name="connsiteX23" fmla="*/ 116681 w 233171"/>
                <a:gd name="connsiteY23" fmla="*/ 300133 h 330898"/>
                <a:gd name="connsiteX24" fmla="*/ 147733 w 233171"/>
                <a:gd name="connsiteY24" fmla="*/ 293656 h 330898"/>
                <a:gd name="connsiteX25" fmla="*/ 174498 w 233171"/>
                <a:gd name="connsiteY25" fmla="*/ 275368 h 330898"/>
                <a:gd name="connsiteX26" fmla="*/ 193262 w 233171"/>
                <a:gd name="connsiteY26" fmla="*/ 247269 h 330898"/>
                <a:gd name="connsiteX27" fmla="*/ 200216 w 233171"/>
                <a:gd name="connsiteY27" fmla="*/ 210883 h 330898"/>
                <a:gd name="connsiteX28" fmla="*/ 200216 w 233171"/>
                <a:gd name="connsiteY28" fmla="*/ 210026 h 330898"/>
                <a:gd name="connsiteX29" fmla="*/ 193262 w 233171"/>
                <a:gd name="connsiteY29" fmla="*/ 173641 h 330898"/>
                <a:gd name="connsiteX30" fmla="*/ 174498 w 233171"/>
                <a:gd name="connsiteY30" fmla="*/ 145732 h 330898"/>
                <a:gd name="connsiteX31" fmla="*/ 147733 w 233171"/>
                <a:gd name="connsiteY31" fmla="*/ 127635 h 330898"/>
                <a:gd name="connsiteX32" fmla="*/ 116681 w 233171"/>
                <a:gd name="connsiteY32" fmla="*/ 121158 h 330898"/>
                <a:gd name="connsiteX33" fmla="*/ 84963 w 233171"/>
                <a:gd name="connsiteY33" fmla="*/ 127159 h 330898"/>
                <a:gd name="connsiteX34" fmla="*/ 59341 w 233171"/>
                <a:gd name="connsiteY34" fmla="*/ 144589 h 330898"/>
                <a:gd name="connsiteX35" fmla="*/ 41910 w 233171"/>
                <a:gd name="connsiteY35" fmla="*/ 172498 h 330898"/>
                <a:gd name="connsiteX36" fmla="*/ 35433 w 233171"/>
                <a:gd name="connsiteY36" fmla="*/ 210026 h 330898"/>
                <a:gd name="connsiteX37" fmla="*/ 35433 w 233171"/>
                <a:gd name="connsiteY37" fmla="*/ 210883 h 330898"/>
                <a:gd name="connsiteX38" fmla="*/ 41910 w 233171"/>
                <a:gd name="connsiteY38" fmla="*/ 247936 h 330898"/>
                <a:gd name="connsiteX39" fmla="*/ 59531 w 233171"/>
                <a:gd name="connsiteY39" fmla="*/ 276034 h 330898"/>
                <a:gd name="connsiteX40" fmla="*/ 85439 w 233171"/>
                <a:gd name="connsiteY40" fmla="*/ 293941 h 330898"/>
                <a:gd name="connsiteX41" fmla="*/ 116681 w 23317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3171" h="330898">
                  <a:moveTo>
                    <a:pt x="110394" y="330898"/>
                  </a:moveTo>
                  <a:cubicBezTo>
                    <a:pt x="96393" y="330898"/>
                    <a:pt x="82868" y="328231"/>
                    <a:pt x="69723" y="322897"/>
                  </a:cubicBezTo>
                  <a:cubicBezTo>
                    <a:pt x="56674" y="317563"/>
                    <a:pt x="44863" y="309753"/>
                    <a:pt x="34480" y="299466"/>
                  </a:cubicBezTo>
                  <a:cubicBezTo>
                    <a:pt x="24003" y="289179"/>
                    <a:pt x="15716" y="276701"/>
                    <a:pt x="9430" y="261938"/>
                  </a:cubicBezTo>
                  <a:cubicBezTo>
                    <a:pt x="3143" y="247174"/>
                    <a:pt x="0" y="230314"/>
                    <a:pt x="0" y="211264"/>
                  </a:cubicBezTo>
                  <a:lnTo>
                    <a:pt x="0" y="210407"/>
                  </a:lnTo>
                  <a:cubicBezTo>
                    <a:pt x="0" y="191643"/>
                    <a:pt x="3143" y="174879"/>
                    <a:pt x="9430" y="159925"/>
                  </a:cubicBezTo>
                  <a:cubicBezTo>
                    <a:pt x="15716" y="145066"/>
                    <a:pt x="24003" y="132493"/>
                    <a:pt x="34480" y="122206"/>
                  </a:cubicBezTo>
                  <a:cubicBezTo>
                    <a:pt x="44863" y="111919"/>
                    <a:pt x="56674" y="104013"/>
                    <a:pt x="69723" y="98488"/>
                  </a:cubicBezTo>
                  <a:cubicBezTo>
                    <a:pt x="82868" y="92964"/>
                    <a:pt x="96393" y="90202"/>
                    <a:pt x="110394" y="90202"/>
                  </a:cubicBezTo>
                  <a:cubicBezTo>
                    <a:pt x="121158" y="90202"/>
                    <a:pt x="130969" y="91535"/>
                    <a:pt x="139827" y="94202"/>
                  </a:cubicBezTo>
                  <a:cubicBezTo>
                    <a:pt x="148780" y="96869"/>
                    <a:pt x="156782" y="100489"/>
                    <a:pt x="163925" y="104870"/>
                  </a:cubicBezTo>
                  <a:cubicBezTo>
                    <a:pt x="171069" y="109347"/>
                    <a:pt x="177546" y="114586"/>
                    <a:pt x="183356" y="120491"/>
                  </a:cubicBezTo>
                  <a:cubicBezTo>
                    <a:pt x="189166" y="126492"/>
                    <a:pt x="194310" y="132683"/>
                    <a:pt x="198787" y="139255"/>
                  </a:cubicBezTo>
                  <a:lnTo>
                    <a:pt x="198787" y="0"/>
                  </a:lnTo>
                  <a:lnTo>
                    <a:pt x="233172" y="0"/>
                  </a:lnTo>
                  <a:lnTo>
                    <a:pt x="233172" y="325850"/>
                  </a:lnTo>
                  <a:lnTo>
                    <a:pt x="198787" y="325850"/>
                  </a:lnTo>
                  <a:lnTo>
                    <a:pt x="198787" y="279463"/>
                  </a:lnTo>
                  <a:cubicBezTo>
                    <a:pt x="194024" y="286321"/>
                    <a:pt x="188786" y="292894"/>
                    <a:pt x="182975" y="299085"/>
                  </a:cubicBezTo>
                  <a:cubicBezTo>
                    <a:pt x="177165" y="305371"/>
                    <a:pt x="170688" y="310896"/>
                    <a:pt x="163544" y="315658"/>
                  </a:cubicBezTo>
                  <a:cubicBezTo>
                    <a:pt x="156400" y="320421"/>
                    <a:pt x="148494" y="324136"/>
                    <a:pt x="139636" y="326803"/>
                  </a:cubicBezTo>
                  <a:cubicBezTo>
                    <a:pt x="130873" y="329470"/>
                    <a:pt x="121158" y="330803"/>
                    <a:pt x="110394" y="330803"/>
                  </a:cubicBezTo>
                  <a:close/>
                  <a:moveTo>
                    <a:pt x="116681" y="300133"/>
                  </a:moveTo>
                  <a:cubicBezTo>
                    <a:pt x="127445" y="300133"/>
                    <a:pt x="137732" y="297942"/>
                    <a:pt x="147733" y="293656"/>
                  </a:cubicBezTo>
                  <a:cubicBezTo>
                    <a:pt x="157734" y="289369"/>
                    <a:pt x="166592" y="283273"/>
                    <a:pt x="174498" y="275368"/>
                  </a:cubicBezTo>
                  <a:cubicBezTo>
                    <a:pt x="182404" y="267462"/>
                    <a:pt x="188595" y="258127"/>
                    <a:pt x="193262" y="247269"/>
                  </a:cubicBezTo>
                  <a:cubicBezTo>
                    <a:pt x="197834" y="236410"/>
                    <a:pt x="200216" y="224314"/>
                    <a:pt x="200216" y="210883"/>
                  </a:cubicBezTo>
                  <a:lnTo>
                    <a:pt x="200216" y="210026"/>
                  </a:lnTo>
                  <a:cubicBezTo>
                    <a:pt x="200216" y="196596"/>
                    <a:pt x="197929" y="184499"/>
                    <a:pt x="193262" y="173641"/>
                  </a:cubicBezTo>
                  <a:cubicBezTo>
                    <a:pt x="188595" y="162782"/>
                    <a:pt x="182404" y="153448"/>
                    <a:pt x="174498" y="145732"/>
                  </a:cubicBezTo>
                  <a:cubicBezTo>
                    <a:pt x="166592" y="138017"/>
                    <a:pt x="157639" y="132016"/>
                    <a:pt x="147733" y="127635"/>
                  </a:cubicBezTo>
                  <a:cubicBezTo>
                    <a:pt x="137732" y="123349"/>
                    <a:pt x="127445" y="121158"/>
                    <a:pt x="116681" y="121158"/>
                  </a:cubicBezTo>
                  <a:cubicBezTo>
                    <a:pt x="105346" y="121158"/>
                    <a:pt x="94774" y="123158"/>
                    <a:pt x="84963" y="127159"/>
                  </a:cubicBezTo>
                  <a:cubicBezTo>
                    <a:pt x="75152" y="131159"/>
                    <a:pt x="66580" y="136969"/>
                    <a:pt x="59341" y="144589"/>
                  </a:cubicBezTo>
                  <a:cubicBezTo>
                    <a:pt x="52007" y="152114"/>
                    <a:pt x="46291" y="161449"/>
                    <a:pt x="41910" y="172498"/>
                  </a:cubicBezTo>
                  <a:cubicBezTo>
                    <a:pt x="37624" y="183451"/>
                    <a:pt x="35433" y="196024"/>
                    <a:pt x="35433" y="210026"/>
                  </a:cubicBezTo>
                  <a:lnTo>
                    <a:pt x="35433" y="210883"/>
                  </a:lnTo>
                  <a:cubicBezTo>
                    <a:pt x="35433" y="224599"/>
                    <a:pt x="37624" y="236982"/>
                    <a:pt x="41910" y="247936"/>
                  </a:cubicBezTo>
                  <a:cubicBezTo>
                    <a:pt x="46196" y="258984"/>
                    <a:pt x="52101" y="268319"/>
                    <a:pt x="59531" y="276034"/>
                  </a:cubicBezTo>
                  <a:cubicBezTo>
                    <a:pt x="66960" y="283750"/>
                    <a:pt x="75629" y="289750"/>
                    <a:pt x="85439" y="293941"/>
                  </a:cubicBezTo>
                  <a:cubicBezTo>
                    <a:pt x="95250" y="298132"/>
                    <a:pt x="105632" y="300228"/>
                    <a:pt x="116681" y="300228"/>
                  </a:cubicBezTo>
                  <a:close/>
                </a:path>
              </a:pathLst>
            </a:custGeom>
            <a:solidFill>
              <a:srgbClr val="44505E"/>
            </a:solidFill>
            <a:ln w="9525" cap="flat">
              <a:noFill/>
              <a:prstDash val="solid"/>
              <a:miter/>
            </a:ln>
          </p:spPr>
          <p:txBody>
            <a:bodyPr rtlCol="0" anchor="ctr"/>
            <a:lstStyle/>
            <a:p>
              <a:endParaRPr lang="pt-BR" noProof="0"/>
            </a:p>
          </p:txBody>
        </p:sp>
        <p:sp>
          <p:nvSpPr>
            <p:cNvPr id="53" name="Freeform: Shape 52">
              <a:extLst>
                <a:ext uri="{FF2B5EF4-FFF2-40B4-BE49-F238E27FC236}">
                  <a16:creationId xmlns:a16="http://schemas.microsoft.com/office/drawing/2014/main" id="{E2C78067-2644-2B5B-B738-3C555A210F9B}"/>
                </a:ext>
              </a:extLst>
            </p:cNvPr>
            <p:cNvSpPr/>
            <p:nvPr/>
          </p:nvSpPr>
          <p:spPr>
            <a:xfrm>
              <a:off x="6586762"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0 w 202977"/>
                <a:gd name="connsiteY16" fmla="*/ 48196 h 239267"/>
                <a:gd name="connsiteX17" fmla="*/ 20383 w 202977"/>
                <a:gd name="connsiteY17" fmla="*/ 19907 h 239267"/>
                <a:gd name="connsiteX18" fmla="*/ 59245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0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1"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675" y="92678"/>
                    <a:pt x="84011" y="90964"/>
                    <a:pt x="98584" y="90964"/>
                  </a:cubicBezTo>
                  <a:cubicBezTo>
                    <a:pt x="113157" y="90964"/>
                    <a:pt x="126302"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0" y="33147"/>
                    <a:pt x="63436" y="36100"/>
                  </a:cubicBezTo>
                  <a:cubicBezTo>
                    <a:pt x="52292" y="39053"/>
                    <a:pt x="41338" y="43053"/>
                    <a:pt x="30670" y="48196"/>
                  </a:cubicBezTo>
                  <a:lnTo>
                    <a:pt x="20383" y="19907"/>
                  </a:lnTo>
                  <a:cubicBezTo>
                    <a:pt x="33147" y="13906"/>
                    <a:pt x="46101" y="9049"/>
                    <a:pt x="59245" y="5429"/>
                  </a:cubicBezTo>
                  <a:cubicBezTo>
                    <a:pt x="72294" y="1810"/>
                    <a:pt x="87344" y="0"/>
                    <a:pt x="104299" y="0"/>
                  </a:cubicBezTo>
                  <a:cubicBezTo>
                    <a:pt x="137064" y="0"/>
                    <a:pt x="161925" y="8477"/>
                    <a:pt x="178879" y="25432"/>
                  </a:cubicBezTo>
                  <a:cubicBezTo>
                    <a:pt x="194976"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0" y="239173"/>
                  </a:cubicBezTo>
                  <a:close/>
                  <a:moveTo>
                    <a:pt x="93154" y="211169"/>
                  </a:moveTo>
                  <a:cubicBezTo>
                    <a:pt x="103822" y="211169"/>
                    <a:pt x="113729" y="209740"/>
                    <a:pt x="122967" y="206788"/>
                  </a:cubicBezTo>
                  <a:cubicBezTo>
                    <a:pt x="132207"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4" y="119348"/>
                    <a:pt x="116871"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54" name="Freeform: Shape 53">
              <a:extLst>
                <a:ext uri="{FF2B5EF4-FFF2-40B4-BE49-F238E27FC236}">
                  <a16:creationId xmlns:a16="http://schemas.microsoft.com/office/drawing/2014/main" id="{A380A83B-3D38-2CBC-130B-81EE73572D47}"/>
                </a:ext>
              </a:extLst>
            </p:cNvPr>
            <p:cNvSpPr/>
            <p:nvPr/>
          </p:nvSpPr>
          <p:spPr>
            <a:xfrm>
              <a:off x="6651291" y="924268"/>
              <a:ext cx="44680" cy="60195"/>
            </a:xfrm>
            <a:custGeom>
              <a:avLst/>
              <a:gdLst>
                <a:gd name="connsiteX0" fmla="*/ 95535 w 177736"/>
                <a:gd name="connsiteY0" fmla="*/ 239268 h 239458"/>
                <a:gd name="connsiteX1" fmla="*/ 45053 w 177736"/>
                <a:gd name="connsiteY1" fmla="*/ 230124 h 239458"/>
                <a:gd name="connsiteX2" fmla="*/ 0 w 177736"/>
                <a:gd name="connsiteY2" fmla="*/ 205359 h 239458"/>
                <a:gd name="connsiteX3" fmla="*/ 17430 w 177736"/>
                <a:gd name="connsiteY3" fmla="*/ 180785 h 239458"/>
                <a:gd name="connsiteX4" fmla="*/ 56483 w 177736"/>
                <a:gd name="connsiteY4" fmla="*/ 202692 h 239458"/>
                <a:gd name="connsiteX5" fmla="*/ 97345 w 177736"/>
                <a:gd name="connsiteY5" fmla="*/ 210217 h 239458"/>
                <a:gd name="connsiteX6" fmla="*/ 131730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825 w 177736"/>
                <a:gd name="connsiteY10" fmla="*/ 147066 h 239458"/>
                <a:gd name="connsiteX11" fmla="*/ 109251 w 177736"/>
                <a:gd name="connsiteY11" fmla="*/ 138779 h 239458"/>
                <a:gd name="connsiteX12" fmla="*/ 87630 w 177736"/>
                <a:gd name="connsiteY12" fmla="*/ 132112 h 239458"/>
                <a:gd name="connsiteX13" fmla="*/ 60579 w 177736"/>
                <a:gd name="connsiteY13" fmla="*/ 123444 h 239458"/>
                <a:gd name="connsiteX14" fmla="*/ 36004 w 177736"/>
                <a:gd name="connsiteY14" fmla="*/ 111633 h 239458"/>
                <a:gd name="connsiteX15" fmla="*/ 18192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59 w 177736"/>
                <a:gd name="connsiteY22" fmla="*/ 6953 h 239458"/>
                <a:gd name="connsiteX23" fmla="*/ 172878 w 177736"/>
                <a:gd name="connsiteY23" fmla="*/ 25527 h 239458"/>
                <a:gd name="connsiteX24" fmla="*/ 157257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3 w 177736"/>
                <a:gd name="connsiteY32" fmla="*/ 96203 h 239458"/>
                <a:gd name="connsiteX33" fmla="*/ 103631 w 177736"/>
                <a:gd name="connsiteY33" fmla="*/ 103346 h 239458"/>
                <a:gd name="connsiteX34" fmla="*/ 130207 w 177736"/>
                <a:gd name="connsiteY34" fmla="*/ 112300 h 239458"/>
                <a:gd name="connsiteX35" fmla="*/ 154114 w 177736"/>
                <a:gd name="connsiteY35" fmla="*/ 124778 h 239458"/>
                <a:gd name="connsiteX36" fmla="*/ 171259 w 177736"/>
                <a:gd name="connsiteY36" fmla="*/ 143066 h 239458"/>
                <a:gd name="connsiteX37" fmla="*/ 177736 w 177736"/>
                <a:gd name="connsiteY37" fmla="*/ 169450 h 239458"/>
                <a:gd name="connsiteX38" fmla="*/ 177736 w 177736"/>
                <a:gd name="connsiteY38" fmla="*/ 170307 h 239458"/>
                <a:gd name="connsiteX39" fmla="*/ 171259 w 177736"/>
                <a:gd name="connsiteY39" fmla="*/ 199549 h 239458"/>
                <a:gd name="connsiteX40" fmla="*/ 153828 w 177736"/>
                <a:gd name="connsiteY40" fmla="*/ 221171 h 239458"/>
                <a:gd name="connsiteX41" fmla="*/ 127921 w 177736"/>
                <a:gd name="connsiteY41" fmla="*/ 234791 h 239458"/>
                <a:gd name="connsiteX42" fmla="*/ 95535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5" y="239268"/>
                  </a:moveTo>
                  <a:cubicBezTo>
                    <a:pt x="78867" y="239268"/>
                    <a:pt x="62007" y="236220"/>
                    <a:pt x="45053" y="230124"/>
                  </a:cubicBezTo>
                  <a:cubicBezTo>
                    <a:pt x="28098" y="224028"/>
                    <a:pt x="13049" y="215741"/>
                    <a:pt x="0" y="205359"/>
                  </a:cubicBezTo>
                  <a:lnTo>
                    <a:pt x="17430" y="180785"/>
                  </a:lnTo>
                  <a:cubicBezTo>
                    <a:pt x="29908" y="190310"/>
                    <a:pt x="42957" y="197644"/>
                    <a:pt x="56483" y="202692"/>
                  </a:cubicBezTo>
                  <a:cubicBezTo>
                    <a:pt x="70009" y="207740"/>
                    <a:pt x="83629" y="210217"/>
                    <a:pt x="97345" y="210217"/>
                  </a:cubicBezTo>
                  <a:cubicBezTo>
                    <a:pt x="111061" y="210217"/>
                    <a:pt x="122777" y="206978"/>
                    <a:pt x="131730" y="200406"/>
                  </a:cubicBezTo>
                  <a:cubicBezTo>
                    <a:pt x="140684" y="193834"/>
                    <a:pt x="145161" y="184976"/>
                    <a:pt x="145161" y="173641"/>
                  </a:cubicBezTo>
                  <a:lnTo>
                    <a:pt x="145161" y="172784"/>
                  </a:lnTo>
                  <a:cubicBezTo>
                    <a:pt x="145161" y="167164"/>
                    <a:pt x="143541" y="162211"/>
                    <a:pt x="140494" y="158020"/>
                  </a:cubicBezTo>
                  <a:cubicBezTo>
                    <a:pt x="137350" y="153829"/>
                    <a:pt x="133159" y="150209"/>
                    <a:pt x="127825" y="147066"/>
                  </a:cubicBezTo>
                  <a:cubicBezTo>
                    <a:pt x="122491" y="143923"/>
                    <a:pt x="116300" y="141161"/>
                    <a:pt x="109251" y="138779"/>
                  </a:cubicBezTo>
                  <a:cubicBezTo>
                    <a:pt x="102298" y="136398"/>
                    <a:pt x="95059" y="134207"/>
                    <a:pt x="87630" y="132112"/>
                  </a:cubicBezTo>
                  <a:cubicBezTo>
                    <a:pt x="78676" y="129445"/>
                    <a:pt x="69722" y="126492"/>
                    <a:pt x="60579" y="123444"/>
                  </a:cubicBezTo>
                  <a:cubicBezTo>
                    <a:pt x="51530" y="120301"/>
                    <a:pt x="43339" y="116396"/>
                    <a:pt x="36004" y="111633"/>
                  </a:cubicBezTo>
                  <a:cubicBezTo>
                    <a:pt x="28670" y="106871"/>
                    <a:pt x="22764" y="100870"/>
                    <a:pt x="18192" y="93726"/>
                  </a:cubicBezTo>
                  <a:cubicBezTo>
                    <a:pt x="13525" y="86582"/>
                    <a:pt x="11239" y="77629"/>
                    <a:pt x="11239" y="66961"/>
                  </a:cubicBezTo>
                  <a:lnTo>
                    <a:pt x="11239" y="66008"/>
                  </a:lnTo>
                  <a:cubicBezTo>
                    <a:pt x="11239" y="56198"/>
                    <a:pt x="13144" y="47149"/>
                    <a:pt x="17050" y="39053"/>
                  </a:cubicBezTo>
                  <a:cubicBezTo>
                    <a:pt x="20955" y="30861"/>
                    <a:pt x="26384" y="23908"/>
                    <a:pt x="33338" y="18098"/>
                  </a:cubicBezTo>
                  <a:cubicBezTo>
                    <a:pt x="40291" y="12287"/>
                    <a:pt x="48673" y="7811"/>
                    <a:pt x="58388" y="4667"/>
                  </a:cubicBezTo>
                  <a:cubicBezTo>
                    <a:pt x="68008" y="1524"/>
                    <a:pt x="78581" y="0"/>
                    <a:pt x="89821" y="0"/>
                  </a:cubicBezTo>
                  <a:cubicBezTo>
                    <a:pt x="104108" y="0"/>
                    <a:pt x="118586" y="2286"/>
                    <a:pt x="133159" y="6953"/>
                  </a:cubicBezTo>
                  <a:cubicBezTo>
                    <a:pt x="147732" y="11621"/>
                    <a:pt x="160972" y="17717"/>
                    <a:pt x="172878" y="25527"/>
                  </a:cubicBezTo>
                  <a:lnTo>
                    <a:pt x="157257" y="51435"/>
                  </a:lnTo>
                  <a:cubicBezTo>
                    <a:pt x="146494" y="44577"/>
                    <a:pt x="135255" y="39148"/>
                    <a:pt x="123539" y="35147"/>
                  </a:cubicBezTo>
                  <a:cubicBezTo>
                    <a:pt x="111823" y="31147"/>
                    <a:pt x="100203" y="29146"/>
                    <a:pt x="88963" y="29146"/>
                  </a:cubicBezTo>
                  <a:cubicBezTo>
                    <a:pt x="75247" y="29146"/>
                    <a:pt x="64389" y="32385"/>
                    <a:pt x="56388" y="38767"/>
                  </a:cubicBezTo>
                  <a:cubicBezTo>
                    <a:pt x="48291" y="45149"/>
                    <a:pt x="44291" y="53150"/>
                    <a:pt x="44291" y="62675"/>
                  </a:cubicBezTo>
                  <a:lnTo>
                    <a:pt x="44291" y="63627"/>
                  </a:lnTo>
                  <a:cubicBezTo>
                    <a:pt x="44291" y="68961"/>
                    <a:pt x="45910" y="73628"/>
                    <a:pt x="49244" y="77724"/>
                  </a:cubicBezTo>
                  <a:cubicBezTo>
                    <a:pt x="52482" y="81725"/>
                    <a:pt x="56864" y="85249"/>
                    <a:pt x="62389" y="88202"/>
                  </a:cubicBezTo>
                  <a:cubicBezTo>
                    <a:pt x="67913" y="91154"/>
                    <a:pt x="74200" y="93821"/>
                    <a:pt x="81343" y="96203"/>
                  </a:cubicBezTo>
                  <a:cubicBezTo>
                    <a:pt x="88487" y="98584"/>
                    <a:pt x="95916" y="100965"/>
                    <a:pt x="103631" y="103346"/>
                  </a:cubicBezTo>
                  <a:cubicBezTo>
                    <a:pt x="112585" y="106013"/>
                    <a:pt x="121444" y="108966"/>
                    <a:pt x="130207" y="112300"/>
                  </a:cubicBezTo>
                  <a:cubicBezTo>
                    <a:pt x="138969" y="115538"/>
                    <a:pt x="146971" y="119729"/>
                    <a:pt x="154114" y="124778"/>
                  </a:cubicBezTo>
                  <a:cubicBezTo>
                    <a:pt x="161258" y="129826"/>
                    <a:pt x="166973" y="135922"/>
                    <a:pt x="171259" y="143066"/>
                  </a:cubicBezTo>
                  <a:cubicBezTo>
                    <a:pt x="175546" y="150209"/>
                    <a:pt x="177736" y="158972"/>
                    <a:pt x="177736" y="169450"/>
                  </a:cubicBezTo>
                  <a:lnTo>
                    <a:pt x="177736" y="170307"/>
                  </a:lnTo>
                  <a:cubicBezTo>
                    <a:pt x="177736" y="181356"/>
                    <a:pt x="175546" y="191071"/>
                    <a:pt x="171259" y="199549"/>
                  </a:cubicBezTo>
                  <a:cubicBezTo>
                    <a:pt x="166973" y="208026"/>
                    <a:pt x="161163" y="215265"/>
                    <a:pt x="153828" y="221171"/>
                  </a:cubicBezTo>
                  <a:cubicBezTo>
                    <a:pt x="146589" y="227171"/>
                    <a:pt x="137922" y="231648"/>
                    <a:pt x="127921" y="234791"/>
                  </a:cubicBezTo>
                  <a:cubicBezTo>
                    <a:pt x="117919" y="237935"/>
                    <a:pt x="107156" y="239459"/>
                    <a:pt x="95535" y="239459"/>
                  </a:cubicBezTo>
                  <a:close/>
                </a:path>
              </a:pathLst>
            </a:custGeom>
            <a:solidFill>
              <a:srgbClr val="44505E"/>
            </a:solidFill>
            <a:ln w="9525" cap="flat">
              <a:noFill/>
              <a:prstDash val="solid"/>
              <a:miter/>
            </a:ln>
          </p:spPr>
          <p:txBody>
            <a:bodyPr rtlCol="0" anchor="ctr"/>
            <a:lstStyle/>
            <a:p>
              <a:endParaRPr lang="pt-BR" noProof="0"/>
            </a:p>
          </p:txBody>
        </p:sp>
        <p:sp>
          <p:nvSpPr>
            <p:cNvPr id="55" name="Freeform: Shape 54">
              <a:extLst>
                <a:ext uri="{FF2B5EF4-FFF2-40B4-BE49-F238E27FC236}">
                  <a16:creationId xmlns:a16="http://schemas.microsoft.com/office/drawing/2014/main" id="{D353EF25-8A2D-B42A-F47E-20607068B19D}"/>
                </a:ext>
              </a:extLst>
            </p:cNvPr>
            <p:cNvSpPr/>
            <p:nvPr/>
          </p:nvSpPr>
          <p:spPr>
            <a:xfrm>
              <a:off x="5250320" y="846952"/>
              <a:ext cx="1459036" cy="16186"/>
            </a:xfrm>
            <a:custGeom>
              <a:avLst/>
              <a:gdLst>
                <a:gd name="connsiteX0" fmla="*/ 0 w 5804058"/>
                <a:gd name="connsiteY0" fmla="*/ 0 h 64388"/>
                <a:gd name="connsiteX1" fmla="*/ 5804059 w 5804058"/>
                <a:gd name="connsiteY1" fmla="*/ 0 h 64388"/>
                <a:gd name="connsiteX2" fmla="*/ 5804059 w 5804058"/>
                <a:gd name="connsiteY2" fmla="*/ 64389 h 64388"/>
                <a:gd name="connsiteX3" fmla="*/ 0 w 5804058"/>
                <a:gd name="connsiteY3" fmla="*/ 64389 h 64388"/>
              </a:gdLst>
              <a:ahLst/>
              <a:cxnLst>
                <a:cxn ang="0">
                  <a:pos x="connsiteX0" y="connsiteY0"/>
                </a:cxn>
                <a:cxn ang="0">
                  <a:pos x="connsiteX1" y="connsiteY1"/>
                </a:cxn>
                <a:cxn ang="0">
                  <a:pos x="connsiteX2" y="connsiteY2"/>
                </a:cxn>
                <a:cxn ang="0">
                  <a:pos x="connsiteX3" y="connsiteY3"/>
                </a:cxn>
              </a:cxnLst>
              <a:rect l="l" t="t" r="r" b="b"/>
              <a:pathLst>
                <a:path w="5804058" h="64388">
                  <a:moveTo>
                    <a:pt x="0" y="0"/>
                  </a:moveTo>
                  <a:lnTo>
                    <a:pt x="5804059" y="0"/>
                  </a:lnTo>
                  <a:lnTo>
                    <a:pt x="5804059" y="64389"/>
                  </a:lnTo>
                  <a:lnTo>
                    <a:pt x="0" y="64389"/>
                  </a:lnTo>
                  <a:close/>
                </a:path>
              </a:pathLst>
            </a:custGeom>
            <a:solidFill>
              <a:srgbClr val="44505E"/>
            </a:solidFill>
            <a:ln w="9525" cap="flat">
              <a:noFill/>
              <a:prstDash val="solid"/>
              <a:miter/>
            </a:ln>
          </p:spPr>
          <p:txBody>
            <a:bodyPr rtlCol="0" anchor="ctr"/>
            <a:lstStyle/>
            <a:p>
              <a:endParaRPr lang="pt-BR" noProof="0"/>
            </a:p>
          </p:txBody>
        </p:sp>
        <p:sp>
          <p:nvSpPr>
            <p:cNvPr id="56" name="Freeform: Shape 55">
              <a:extLst>
                <a:ext uri="{FF2B5EF4-FFF2-40B4-BE49-F238E27FC236}">
                  <a16:creationId xmlns:a16="http://schemas.microsoft.com/office/drawing/2014/main" id="{C0BA96CB-2211-EBAB-78F1-6FE1AB6CFBC3}"/>
                </a:ext>
              </a:extLst>
            </p:cNvPr>
            <p:cNvSpPr/>
            <p:nvPr/>
          </p:nvSpPr>
          <p:spPr>
            <a:xfrm>
              <a:off x="6902633" y="268821"/>
              <a:ext cx="273418" cy="601046"/>
            </a:xfrm>
            <a:custGeom>
              <a:avLst/>
              <a:gdLst>
                <a:gd name="connsiteX0" fmla="*/ 0 w 1087659"/>
                <a:gd name="connsiteY0" fmla="*/ 210979 h 2390965"/>
                <a:gd name="connsiteX1" fmla="*/ 125063 w 1087659"/>
                <a:gd name="connsiteY1" fmla="*/ 103442 h 2390965"/>
                <a:gd name="connsiteX2" fmla="*/ 250031 w 1087659"/>
                <a:gd name="connsiteY2" fmla="*/ 210979 h 2390965"/>
                <a:gd name="connsiteX3" fmla="*/ 250031 w 1087659"/>
                <a:gd name="connsiteY3" fmla="*/ 1922717 h 2390965"/>
                <a:gd name="connsiteX4" fmla="*/ 249841 w 1087659"/>
                <a:gd name="connsiteY4" fmla="*/ 1922717 h 2390965"/>
                <a:gd name="connsiteX5" fmla="*/ 249841 w 1087659"/>
                <a:gd name="connsiteY5" fmla="*/ 1925955 h 2390965"/>
                <a:gd name="connsiteX6" fmla="*/ 333756 w 1087659"/>
                <a:gd name="connsiteY6" fmla="*/ 2100263 h 2390965"/>
                <a:gd name="connsiteX7" fmla="*/ 335566 w 1087659"/>
                <a:gd name="connsiteY7" fmla="*/ 2101787 h 2390965"/>
                <a:gd name="connsiteX8" fmla="*/ 336042 w 1087659"/>
                <a:gd name="connsiteY8" fmla="*/ 2102168 h 2390965"/>
                <a:gd name="connsiteX9" fmla="*/ 543877 w 1087659"/>
                <a:gd name="connsiteY9" fmla="*/ 2175891 h 2390965"/>
                <a:gd name="connsiteX10" fmla="*/ 749998 w 1087659"/>
                <a:gd name="connsiteY10" fmla="*/ 2103692 h 2390965"/>
                <a:gd name="connsiteX11" fmla="*/ 751713 w 1087659"/>
                <a:gd name="connsiteY11" fmla="*/ 2102168 h 2390965"/>
                <a:gd name="connsiteX12" fmla="*/ 752189 w 1087659"/>
                <a:gd name="connsiteY12" fmla="*/ 2101787 h 2390965"/>
                <a:gd name="connsiteX13" fmla="*/ 837819 w 1087659"/>
                <a:gd name="connsiteY13" fmla="*/ 1922812 h 2390965"/>
                <a:gd name="connsiteX14" fmla="*/ 837819 w 1087659"/>
                <a:gd name="connsiteY14" fmla="*/ 107537 h 2390965"/>
                <a:gd name="connsiteX15" fmla="*/ 962787 w 1087659"/>
                <a:gd name="connsiteY15" fmla="*/ 0 h 2390965"/>
                <a:gd name="connsiteX16" fmla="*/ 1087660 w 1087659"/>
                <a:gd name="connsiteY16" fmla="*/ 107537 h 2390965"/>
                <a:gd name="connsiteX17" fmla="*/ 1087660 w 1087659"/>
                <a:gd name="connsiteY17" fmla="*/ 1922621 h 2390965"/>
                <a:gd name="connsiteX18" fmla="*/ 928307 w 1087659"/>
                <a:gd name="connsiteY18" fmla="*/ 2253234 h 2390965"/>
                <a:gd name="connsiteX19" fmla="*/ 928116 w 1087659"/>
                <a:gd name="connsiteY19" fmla="*/ 2253424 h 2390965"/>
                <a:gd name="connsiteX20" fmla="*/ 927830 w 1087659"/>
                <a:gd name="connsiteY20" fmla="*/ 2253710 h 2390965"/>
                <a:gd name="connsiteX21" fmla="*/ 927354 w 1087659"/>
                <a:gd name="connsiteY21" fmla="*/ 2254187 h 2390965"/>
                <a:gd name="connsiteX22" fmla="*/ 543783 w 1087659"/>
                <a:gd name="connsiteY22" fmla="*/ 2390966 h 2390965"/>
                <a:gd name="connsiteX23" fmla="*/ 159734 w 1087659"/>
                <a:gd name="connsiteY23" fmla="*/ 2253710 h 2390965"/>
                <a:gd name="connsiteX24" fmla="*/ 159734 w 1087659"/>
                <a:gd name="connsiteY24" fmla="*/ 2253424 h 2390965"/>
                <a:gd name="connsiteX25" fmla="*/ 159353 w 1087659"/>
                <a:gd name="connsiteY25" fmla="*/ 2253234 h 2390965"/>
                <a:gd name="connsiteX26" fmla="*/ 158877 w 1087659"/>
                <a:gd name="connsiteY26" fmla="*/ 2252948 h 2390965"/>
                <a:gd name="connsiteX27" fmla="*/ 0 w 1087659"/>
                <a:gd name="connsiteY27" fmla="*/ 1922621 h 2390965"/>
                <a:gd name="connsiteX28" fmla="*/ 0 w 1087659"/>
                <a:gd name="connsiteY28" fmla="*/ 1922621 h 2390965"/>
                <a:gd name="connsiteX29" fmla="*/ 0 w 1087659"/>
                <a:gd name="connsiteY29" fmla="*/ 210979 h 239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87659" h="2390965">
                  <a:moveTo>
                    <a:pt x="0" y="210979"/>
                  </a:moveTo>
                  <a:cubicBezTo>
                    <a:pt x="0" y="151638"/>
                    <a:pt x="56007" y="103442"/>
                    <a:pt x="125063" y="103442"/>
                  </a:cubicBezTo>
                  <a:cubicBezTo>
                    <a:pt x="194120" y="103442"/>
                    <a:pt x="250031" y="151638"/>
                    <a:pt x="250031" y="210979"/>
                  </a:cubicBezTo>
                  <a:lnTo>
                    <a:pt x="250031" y="1922717"/>
                  </a:lnTo>
                  <a:lnTo>
                    <a:pt x="249841" y="1922717"/>
                  </a:lnTo>
                  <a:lnTo>
                    <a:pt x="249841" y="1925955"/>
                  </a:lnTo>
                  <a:cubicBezTo>
                    <a:pt x="250793" y="1994059"/>
                    <a:pt x="282797" y="2055495"/>
                    <a:pt x="333756" y="2100263"/>
                  </a:cubicBezTo>
                  <a:lnTo>
                    <a:pt x="335566" y="2101787"/>
                  </a:lnTo>
                  <a:lnTo>
                    <a:pt x="336042" y="2102168"/>
                  </a:lnTo>
                  <a:cubicBezTo>
                    <a:pt x="388906" y="2147697"/>
                    <a:pt x="462343" y="2175891"/>
                    <a:pt x="543877" y="2175891"/>
                  </a:cubicBezTo>
                  <a:cubicBezTo>
                    <a:pt x="625411" y="2175891"/>
                    <a:pt x="697420" y="2148364"/>
                    <a:pt x="749998" y="2103692"/>
                  </a:cubicBezTo>
                  <a:lnTo>
                    <a:pt x="751713" y="2102168"/>
                  </a:lnTo>
                  <a:lnTo>
                    <a:pt x="752189" y="2101787"/>
                  </a:lnTo>
                  <a:cubicBezTo>
                    <a:pt x="805053" y="2056352"/>
                    <a:pt x="837819" y="1993011"/>
                    <a:pt x="837819" y="1922812"/>
                  </a:cubicBezTo>
                  <a:lnTo>
                    <a:pt x="837819" y="107537"/>
                  </a:lnTo>
                  <a:cubicBezTo>
                    <a:pt x="837819" y="48196"/>
                    <a:pt x="893731" y="0"/>
                    <a:pt x="962787" y="0"/>
                  </a:cubicBezTo>
                  <a:cubicBezTo>
                    <a:pt x="1031843" y="0"/>
                    <a:pt x="1087660" y="48196"/>
                    <a:pt x="1087660" y="107537"/>
                  </a:cubicBezTo>
                  <a:lnTo>
                    <a:pt x="1087660" y="1922621"/>
                  </a:lnTo>
                  <a:cubicBezTo>
                    <a:pt x="1087660" y="2051399"/>
                    <a:pt x="1026795" y="2168366"/>
                    <a:pt x="928307" y="2253234"/>
                  </a:cubicBezTo>
                  <a:lnTo>
                    <a:pt x="928116" y="2253424"/>
                  </a:lnTo>
                  <a:lnTo>
                    <a:pt x="927830" y="2253710"/>
                  </a:lnTo>
                  <a:lnTo>
                    <a:pt x="927354" y="2254187"/>
                  </a:lnTo>
                  <a:cubicBezTo>
                    <a:pt x="828770" y="2338673"/>
                    <a:pt x="693134" y="2390966"/>
                    <a:pt x="543783" y="2390966"/>
                  </a:cubicBezTo>
                  <a:cubicBezTo>
                    <a:pt x="394430" y="2390966"/>
                    <a:pt x="258413" y="2338483"/>
                    <a:pt x="159734" y="2253710"/>
                  </a:cubicBezTo>
                  <a:lnTo>
                    <a:pt x="159734" y="2253424"/>
                  </a:lnTo>
                  <a:cubicBezTo>
                    <a:pt x="159734" y="2253424"/>
                    <a:pt x="159353" y="2253234"/>
                    <a:pt x="159353" y="2253234"/>
                  </a:cubicBezTo>
                  <a:lnTo>
                    <a:pt x="158877" y="2252948"/>
                  </a:lnTo>
                  <a:cubicBezTo>
                    <a:pt x="60770" y="2167985"/>
                    <a:pt x="0" y="2051304"/>
                    <a:pt x="0" y="1922621"/>
                  </a:cubicBezTo>
                  <a:lnTo>
                    <a:pt x="0" y="1922621"/>
                  </a:lnTo>
                  <a:lnTo>
                    <a:pt x="0" y="210979"/>
                  </a:lnTo>
                  <a:close/>
                </a:path>
              </a:pathLst>
            </a:custGeom>
            <a:solidFill>
              <a:srgbClr val="8FC640"/>
            </a:solidFill>
            <a:ln w="9525" cap="flat">
              <a:noFill/>
              <a:prstDash val="solid"/>
              <a:miter/>
            </a:ln>
          </p:spPr>
          <p:txBody>
            <a:bodyPr rtlCol="0" anchor="ctr"/>
            <a:lstStyle/>
            <a:p>
              <a:endParaRPr lang="pt-BR" noProof="0"/>
            </a:p>
          </p:txBody>
        </p:sp>
        <p:sp>
          <p:nvSpPr>
            <p:cNvPr id="57" name="Freeform: Shape 56">
              <a:extLst>
                <a:ext uri="{FF2B5EF4-FFF2-40B4-BE49-F238E27FC236}">
                  <a16:creationId xmlns:a16="http://schemas.microsoft.com/office/drawing/2014/main" id="{9092EB9D-F4B8-530E-0DAD-7E739607A0FE}"/>
                </a:ext>
              </a:extLst>
            </p:cNvPr>
            <p:cNvSpPr/>
            <p:nvPr/>
          </p:nvSpPr>
          <p:spPr>
            <a:xfrm>
              <a:off x="7013590" y="213965"/>
              <a:ext cx="54018" cy="562280"/>
            </a:xfrm>
            <a:custGeom>
              <a:avLst/>
              <a:gdLst>
                <a:gd name="connsiteX0" fmla="*/ 0 w 214883"/>
                <a:gd name="connsiteY0" fmla="*/ 107537 h 2236755"/>
                <a:gd name="connsiteX1" fmla="*/ 107537 w 214883"/>
                <a:gd name="connsiteY1" fmla="*/ 0 h 2236755"/>
                <a:gd name="connsiteX2" fmla="*/ 214884 w 214883"/>
                <a:gd name="connsiteY2" fmla="*/ 107537 h 2236755"/>
                <a:gd name="connsiteX3" fmla="*/ 214884 w 214883"/>
                <a:gd name="connsiteY3" fmla="*/ 2129219 h 2236755"/>
                <a:gd name="connsiteX4" fmla="*/ 107537 w 214883"/>
                <a:gd name="connsiteY4" fmla="*/ 2236756 h 2236755"/>
                <a:gd name="connsiteX5" fmla="*/ 0 w 214883"/>
                <a:gd name="connsiteY5" fmla="*/ 2129219 h 2236755"/>
                <a:gd name="connsiteX6" fmla="*/ 0 w 214883"/>
                <a:gd name="connsiteY6" fmla="*/ 107537 h 223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 h="2236755">
                  <a:moveTo>
                    <a:pt x="0" y="107537"/>
                  </a:moveTo>
                  <a:cubicBezTo>
                    <a:pt x="0" y="48197"/>
                    <a:pt x="48101" y="0"/>
                    <a:pt x="107537" y="0"/>
                  </a:cubicBezTo>
                  <a:cubicBezTo>
                    <a:pt x="166973" y="0"/>
                    <a:pt x="214884" y="48197"/>
                    <a:pt x="214884" y="107537"/>
                  </a:cubicBezTo>
                  <a:lnTo>
                    <a:pt x="214884" y="2129219"/>
                  </a:lnTo>
                  <a:cubicBezTo>
                    <a:pt x="214884" y="2188559"/>
                    <a:pt x="166782" y="2236756"/>
                    <a:pt x="107537" y="2236756"/>
                  </a:cubicBezTo>
                  <a:cubicBezTo>
                    <a:pt x="48291" y="2236756"/>
                    <a:pt x="0" y="2188559"/>
                    <a:pt x="0" y="2129219"/>
                  </a:cubicBezTo>
                  <a:lnTo>
                    <a:pt x="0" y="107537"/>
                  </a:lnTo>
                  <a:close/>
                </a:path>
              </a:pathLst>
            </a:custGeom>
            <a:solidFill>
              <a:srgbClr val="3698B0"/>
            </a:solidFill>
            <a:ln w="9525" cap="flat">
              <a:noFill/>
              <a:prstDash val="solid"/>
              <a:miter/>
            </a:ln>
          </p:spPr>
          <p:txBody>
            <a:bodyPr rtlCol="0" anchor="ctr"/>
            <a:lstStyle/>
            <a:p>
              <a:endParaRPr lang="pt-BR" noProof="0"/>
            </a:p>
          </p:txBody>
        </p:sp>
        <p:sp>
          <p:nvSpPr>
            <p:cNvPr id="58" name="Freeform: Shape 57">
              <a:extLst>
                <a:ext uri="{FF2B5EF4-FFF2-40B4-BE49-F238E27FC236}">
                  <a16:creationId xmlns:a16="http://schemas.microsoft.com/office/drawing/2014/main" id="{AAF484B9-C2CA-98F1-E246-E5E79F99E9DE}"/>
                </a:ext>
              </a:extLst>
            </p:cNvPr>
            <p:cNvSpPr/>
            <p:nvPr/>
          </p:nvSpPr>
          <p:spPr>
            <a:xfrm>
              <a:off x="6795770" y="332991"/>
              <a:ext cx="485994" cy="649437"/>
            </a:xfrm>
            <a:custGeom>
              <a:avLst/>
              <a:gdLst>
                <a:gd name="connsiteX0" fmla="*/ 1933290 w 1933289"/>
                <a:gd name="connsiteY0" fmla="*/ 138017 h 2583465"/>
                <a:gd name="connsiteX1" fmla="*/ 1933290 w 1933289"/>
                <a:gd name="connsiteY1" fmla="*/ 1734122 h 2583465"/>
                <a:gd name="connsiteX2" fmla="*/ 1796606 w 1933289"/>
                <a:gd name="connsiteY2" fmla="*/ 2229136 h 2583465"/>
                <a:gd name="connsiteX3" fmla="*/ 977742 w 1933289"/>
                <a:gd name="connsiteY3" fmla="*/ 2583466 h 2583465"/>
                <a:gd name="connsiteX4" fmla="*/ 955357 w 1933289"/>
                <a:gd name="connsiteY4" fmla="*/ 2583466 h 2583465"/>
                <a:gd name="connsiteX5" fmla="*/ 136589 w 1933289"/>
                <a:gd name="connsiteY5" fmla="*/ 2229136 h 2583465"/>
                <a:gd name="connsiteX6" fmla="*/ 0 w 1933289"/>
                <a:gd name="connsiteY6" fmla="*/ 1734122 h 2583465"/>
                <a:gd name="connsiteX7" fmla="*/ 0 w 1933289"/>
                <a:gd name="connsiteY7" fmla="*/ 794194 h 2583465"/>
                <a:gd name="connsiteX8" fmla="*/ 137827 w 1933289"/>
                <a:gd name="connsiteY8" fmla="*/ 656273 h 2583465"/>
                <a:gd name="connsiteX9" fmla="*/ 275463 w 1933289"/>
                <a:gd name="connsiteY9" fmla="*/ 794194 h 2583465"/>
                <a:gd name="connsiteX10" fmla="*/ 275463 w 1933289"/>
                <a:gd name="connsiteY10" fmla="*/ 1734122 h 2583465"/>
                <a:gd name="connsiteX11" fmla="*/ 354235 w 1933289"/>
                <a:gd name="connsiteY11" fmla="*/ 2059686 h 2583465"/>
                <a:gd name="connsiteX12" fmla="*/ 958215 w 1933289"/>
                <a:gd name="connsiteY12" fmla="*/ 2307527 h 2583465"/>
                <a:gd name="connsiteX13" fmla="*/ 974789 w 1933289"/>
                <a:gd name="connsiteY13" fmla="*/ 2307527 h 2583465"/>
                <a:gd name="connsiteX14" fmla="*/ 1578959 w 1933289"/>
                <a:gd name="connsiteY14" fmla="*/ 2059686 h 2583465"/>
                <a:gd name="connsiteX15" fmla="*/ 1657636 w 1933289"/>
                <a:gd name="connsiteY15" fmla="*/ 1734122 h 2583465"/>
                <a:gd name="connsiteX16" fmla="*/ 1657636 w 1933289"/>
                <a:gd name="connsiteY16" fmla="*/ 138017 h 2583465"/>
                <a:gd name="connsiteX17" fmla="*/ 1795463 w 1933289"/>
                <a:gd name="connsiteY17" fmla="*/ 0 h 2583465"/>
                <a:gd name="connsiteX18" fmla="*/ 1933290 w 1933289"/>
                <a:gd name="connsiteY18" fmla="*/ 138017 h 25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3289" h="2583465">
                  <a:moveTo>
                    <a:pt x="1933290" y="138017"/>
                  </a:moveTo>
                  <a:lnTo>
                    <a:pt x="1933290" y="1734122"/>
                  </a:lnTo>
                  <a:cubicBezTo>
                    <a:pt x="1933290" y="1870996"/>
                    <a:pt x="1919002" y="2071211"/>
                    <a:pt x="1796606" y="2229136"/>
                  </a:cubicBezTo>
                  <a:cubicBezTo>
                    <a:pt x="1634395" y="2438305"/>
                    <a:pt x="1432084" y="2578703"/>
                    <a:pt x="977742" y="2583466"/>
                  </a:cubicBezTo>
                  <a:lnTo>
                    <a:pt x="955357" y="2583466"/>
                  </a:lnTo>
                  <a:cubicBezTo>
                    <a:pt x="501015" y="2578703"/>
                    <a:pt x="298704" y="2438400"/>
                    <a:pt x="136589" y="2229136"/>
                  </a:cubicBezTo>
                  <a:cubicBezTo>
                    <a:pt x="14192" y="2071211"/>
                    <a:pt x="0" y="1870996"/>
                    <a:pt x="0" y="1734122"/>
                  </a:cubicBezTo>
                  <a:lnTo>
                    <a:pt x="0" y="794194"/>
                  </a:lnTo>
                  <a:cubicBezTo>
                    <a:pt x="0" y="718185"/>
                    <a:pt x="61436" y="656273"/>
                    <a:pt x="137827" y="656273"/>
                  </a:cubicBezTo>
                  <a:cubicBezTo>
                    <a:pt x="214217" y="656273"/>
                    <a:pt x="275463" y="718185"/>
                    <a:pt x="275463" y="794194"/>
                  </a:cubicBezTo>
                  <a:lnTo>
                    <a:pt x="275463" y="1734122"/>
                  </a:lnTo>
                  <a:cubicBezTo>
                    <a:pt x="275463" y="1887188"/>
                    <a:pt x="300324" y="1990630"/>
                    <a:pt x="354235" y="2059686"/>
                  </a:cubicBezTo>
                  <a:cubicBezTo>
                    <a:pt x="476250" y="2217611"/>
                    <a:pt x="609791" y="2304479"/>
                    <a:pt x="958215" y="2307527"/>
                  </a:cubicBezTo>
                  <a:lnTo>
                    <a:pt x="974789" y="2307527"/>
                  </a:lnTo>
                  <a:cubicBezTo>
                    <a:pt x="1323499" y="2304479"/>
                    <a:pt x="1456563" y="2217611"/>
                    <a:pt x="1578959" y="2059686"/>
                  </a:cubicBezTo>
                  <a:cubicBezTo>
                    <a:pt x="1632490" y="1990630"/>
                    <a:pt x="1657636" y="1887093"/>
                    <a:pt x="1657636" y="1734122"/>
                  </a:cubicBezTo>
                  <a:lnTo>
                    <a:pt x="1657636" y="138017"/>
                  </a:lnTo>
                  <a:cubicBezTo>
                    <a:pt x="1657636" y="61531"/>
                    <a:pt x="1719453" y="0"/>
                    <a:pt x="1795463" y="0"/>
                  </a:cubicBezTo>
                  <a:cubicBezTo>
                    <a:pt x="1871472" y="0"/>
                    <a:pt x="1933290" y="61531"/>
                    <a:pt x="1933290" y="138017"/>
                  </a:cubicBezTo>
                </a:path>
              </a:pathLst>
            </a:custGeom>
            <a:solidFill>
              <a:srgbClr val="49306E"/>
            </a:solidFill>
            <a:ln w="9525" cap="flat">
              <a:noFill/>
              <a:prstDash val="solid"/>
              <a:miter/>
            </a:ln>
          </p:spPr>
          <p:txBody>
            <a:bodyPr rtlCol="0" anchor="ctr"/>
            <a:lstStyle/>
            <a:p>
              <a:endParaRPr lang="pt-BR" noProof="0"/>
            </a:p>
          </p:txBody>
        </p:sp>
      </p:grpSp>
      <p:sp>
        <p:nvSpPr>
          <p:cNvPr id="5" name="Rectangle 3">
            <a:extLst>
              <a:ext uri="{FF2B5EF4-FFF2-40B4-BE49-F238E27FC236}">
                <a16:creationId xmlns:a16="http://schemas.microsoft.com/office/drawing/2014/main" id="{09244179-7F8C-EAE1-7B9B-B033D99E6822}"/>
              </a:ext>
            </a:extLst>
          </p:cNvPr>
          <p:cNvSpPr>
            <a:spLocks noChangeArrowheads="1"/>
          </p:cNvSpPr>
          <p:nvPr/>
        </p:nvSpPr>
        <p:spPr bwMode="auto">
          <a:xfrm>
            <a:off x="428153" y="692497"/>
            <a:ext cx="264816" cy="2862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p:txBody>
      </p:sp>
      <p:sp>
        <p:nvSpPr>
          <p:cNvPr id="3" name="Seta: para Baixo 2">
            <a:extLst>
              <a:ext uri="{FF2B5EF4-FFF2-40B4-BE49-F238E27FC236}">
                <a16:creationId xmlns:a16="http://schemas.microsoft.com/office/drawing/2014/main" id="{C1077D61-47CE-7046-976F-D613FC98B8ED}"/>
              </a:ext>
            </a:extLst>
          </p:cNvPr>
          <p:cNvSpPr/>
          <p:nvPr/>
        </p:nvSpPr>
        <p:spPr>
          <a:xfrm rot="16200000">
            <a:off x="5159159" y="1911456"/>
            <a:ext cx="457200" cy="542417"/>
          </a:xfrm>
          <a:prstGeom prst="downArrow">
            <a:avLst/>
          </a:prstGeom>
          <a:solidFill>
            <a:srgbClr val="D9D9D9"/>
          </a:solidFill>
          <a:ln w="19050">
            <a:solidFill>
              <a:srgbClr val="7F3D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lgn="just">
              <a:buFont typeface="Arial" panose="020B0604020202020204" pitchFamily="34" charset="0"/>
              <a:buChar char="•"/>
            </a:pPr>
            <a:endParaRPr lang="pt-BR"/>
          </a:p>
        </p:txBody>
      </p:sp>
      <p:sp>
        <p:nvSpPr>
          <p:cNvPr id="4" name="Seta: para Baixo 3">
            <a:extLst>
              <a:ext uri="{FF2B5EF4-FFF2-40B4-BE49-F238E27FC236}">
                <a16:creationId xmlns:a16="http://schemas.microsoft.com/office/drawing/2014/main" id="{8DC23956-ED99-885E-700D-D942CABF29E6}"/>
              </a:ext>
            </a:extLst>
          </p:cNvPr>
          <p:cNvSpPr/>
          <p:nvPr/>
        </p:nvSpPr>
        <p:spPr>
          <a:xfrm rot="16200000">
            <a:off x="11059783" y="6044763"/>
            <a:ext cx="457200" cy="542417"/>
          </a:xfrm>
          <a:prstGeom prst="downArrow">
            <a:avLst/>
          </a:prstGeom>
          <a:solidFill>
            <a:srgbClr val="D9D9D9"/>
          </a:solidFill>
          <a:ln w="19050">
            <a:solidFill>
              <a:srgbClr val="7F3D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lgn="just">
              <a:buFont typeface="Arial" panose="020B0604020202020204" pitchFamily="34" charset="0"/>
              <a:buChar char="•"/>
            </a:pPr>
            <a:endParaRPr lang="pt-BR"/>
          </a:p>
        </p:txBody>
      </p:sp>
      <p:pic>
        <p:nvPicPr>
          <p:cNvPr id="6" name="Picture 2" descr="Vetores de Ilustração Em Vetor De Uma Pessoa Abrindo Um ...">
            <a:extLst>
              <a:ext uri="{FF2B5EF4-FFF2-40B4-BE49-F238E27FC236}">
                <a16:creationId xmlns:a16="http://schemas.microsoft.com/office/drawing/2014/main" id="{314F4ACA-721D-9F32-660B-07400322BA4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2931" y="1895513"/>
            <a:ext cx="3891100" cy="3367736"/>
          </a:xfrm>
          <a:prstGeom prst="rect">
            <a:avLst/>
          </a:prstGeom>
          <a:noFill/>
          <a:extLst>
            <a:ext uri="{909E8E84-426E-40DD-AFC4-6F175D3DCCD1}">
              <a14:hiddenFill xmlns:a14="http://schemas.microsoft.com/office/drawing/2010/main">
                <a:solidFill>
                  <a:srgbClr val="FFFFFF"/>
                </a:solidFill>
              </a14:hiddenFill>
            </a:ext>
          </a:extLst>
        </p:spPr>
      </p:pic>
      <p:sp>
        <p:nvSpPr>
          <p:cNvPr id="9" name="CaixaDeTexto 8">
            <a:extLst>
              <a:ext uri="{FF2B5EF4-FFF2-40B4-BE49-F238E27FC236}">
                <a16:creationId xmlns:a16="http://schemas.microsoft.com/office/drawing/2014/main" id="{5824D84D-D42C-C823-0839-88F34EA9B796}"/>
              </a:ext>
            </a:extLst>
          </p:cNvPr>
          <p:cNvSpPr txBox="1"/>
          <p:nvPr/>
        </p:nvSpPr>
        <p:spPr>
          <a:xfrm>
            <a:off x="1642373" y="3117252"/>
            <a:ext cx="1741715" cy="461665"/>
          </a:xfrm>
          <a:prstGeom prst="rect">
            <a:avLst/>
          </a:prstGeom>
          <a:noFill/>
        </p:spPr>
        <p:txBody>
          <a:bodyPr wrap="square" rtlCol="0">
            <a:spAutoFit/>
          </a:bodyPr>
          <a:lstStyle/>
          <a:p>
            <a:r>
              <a:rPr lang="pt-BR" sz="2400" b="1" noProof="0"/>
              <a:t>Envelope </a:t>
            </a:r>
            <a:r>
              <a:rPr lang="pt-BR" sz="2400" b="1"/>
              <a:t>3</a:t>
            </a:r>
            <a:endParaRPr lang="pt-BR" sz="2400" b="1" noProof="0"/>
          </a:p>
        </p:txBody>
      </p:sp>
      <p:sp>
        <p:nvSpPr>
          <p:cNvPr id="11" name="CaixaDeTexto 10">
            <a:extLst>
              <a:ext uri="{FF2B5EF4-FFF2-40B4-BE49-F238E27FC236}">
                <a16:creationId xmlns:a16="http://schemas.microsoft.com/office/drawing/2014/main" id="{4F326F9B-4E80-B18B-0AA6-1693FE8FD3C9}"/>
              </a:ext>
            </a:extLst>
          </p:cNvPr>
          <p:cNvSpPr txBox="1"/>
          <p:nvPr/>
        </p:nvSpPr>
        <p:spPr>
          <a:xfrm>
            <a:off x="5992484" y="1714229"/>
            <a:ext cx="6032740" cy="1200329"/>
          </a:xfrm>
          <a:prstGeom prst="rect">
            <a:avLst/>
          </a:prstGeom>
          <a:noFill/>
        </p:spPr>
        <p:txBody>
          <a:bodyPr wrap="square" lIns="91440" tIns="45720" rIns="91440" bIns="45720" anchor="t">
            <a:spAutoFit/>
          </a:bodyPr>
          <a:lstStyle/>
          <a:p>
            <a:r>
              <a:rPr lang="pt-BR" sz="2400" b="1" dirty="0"/>
              <a:t>Urocultura positiva: </a:t>
            </a:r>
          </a:p>
          <a:p>
            <a:endParaRPr lang="pt-BR" sz="2400" i="1" dirty="0"/>
          </a:p>
          <a:p>
            <a:r>
              <a:rPr lang="pt-BR" sz="2400" i="1" dirty="0"/>
              <a:t>Enterobacter </a:t>
            </a:r>
            <a:r>
              <a:rPr lang="pt-BR" sz="2400" i="1" dirty="0" err="1"/>
              <a:t>cloacae</a:t>
            </a:r>
            <a:r>
              <a:rPr lang="pt-BR" sz="2400" dirty="0"/>
              <a:t> com &gt; 10</a:t>
            </a:r>
            <a:r>
              <a:rPr lang="pt-BR" sz="2400" baseline="30000" dirty="0"/>
              <a:t>5</a:t>
            </a:r>
            <a:r>
              <a:rPr lang="pt-BR" sz="2400" dirty="0"/>
              <a:t> UFC/mL</a:t>
            </a:r>
          </a:p>
        </p:txBody>
      </p:sp>
    </p:spTree>
    <p:extLst>
      <p:ext uri="{BB962C8B-B14F-4D97-AF65-F5344CB8AC3E}">
        <p14:creationId xmlns:p14="http://schemas.microsoft.com/office/powerpoint/2010/main" val="228596090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4EB4DE-54E5-19C8-BE99-01C5E909A5BD}"/>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04AB520B-B79F-A8E5-5919-51419AF2FE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8" progId="TCLayout.ActiveDocument.1">
                  <p:embed/>
                </p:oleObj>
              </mc:Choice>
              <mc:Fallback>
                <p:oleObj name="think-cell Slide" r:id="rId4" imgW="306" imgH="308" progId="TCLayout.ActiveDocument.1">
                  <p:embed/>
                  <p:pic>
                    <p:nvPicPr>
                      <p:cNvPr id="12" name="think-cell data - do not delete" hidden="1">
                        <a:extLst>
                          <a:ext uri="{FF2B5EF4-FFF2-40B4-BE49-F238E27FC236}">
                            <a16:creationId xmlns:a16="http://schemas.microsoft.com/office/drawing/2014/main" id="{04AB520B-B79F-A8E5-5919-51419AF2FE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3" name="Group 12">
            <a:extLst>
              <a:ext uri="{FF2B5EF4-FFF2-40B4-BE49-F238E27FC236}">
                <a16:creationId xmlns:a16="http://schemas.microsoft.com/office/drawing/2014/main" id="{A6383451-A5F0-BE47-05F6-21B79B52C294}"/>
              </a:ext>
            </a:extLst>
          </p:cNvPr>
          <p:cNvGrpSpPr/>
          <p:nvPr/>
        </p:nvGrpSpPr>
        <p:grpSpPr>
          <a:xfrm>
            <a:off x="304800" y="249455"/>
            <a:ext cx="1193800" cy="462985"/>
            <a:chOff x="5245100" y="211355"/>
            <a:chExt cx="2036664" cy="789869"/>
          </a:xfrm>
        </p:grpSpPr>
        <p:sp>
          <p:nvSpPr>
            <p:cNvPr id="14" name="Freeform: Shape 13">
              <a:extLst>
                <a:ext uri="{FF2B5EF4-FFF2-40B4-BE49-F238E27FC236}">
                  <a16:creationId xmlns:a16="http://schemas.microsoft.com/office/drawing/2014/main" id="{51041EAB-E474-71EB-B4C3-DE9E9796BB51}"/>
                </a:ext>
              </a:extLst>
            </p:cNvPr>
            <p:cNvSpPr/>
            <p:nvPr/>
          </p:nvSpPr>
          <p:spPr>
            <a:xfrm>
              <a:off x="5245100" y="308520"/>
              <a:ext cx="247894" cy="322815"/>
            </a:xfrm>
            <a:custGeom>
              <a:avLst/>
              <a:gdLst>
                <a:gd name="connsiteX0" fmla="*/ 529590 w 986123"/>
                <a:gd name="connsiteY0" fmla="*/ 1284160 h 1284160"/>
                <a:gd name="connsiteX1" fmla="*/ 249650 w 986123"/>
                <a:gd name="connsiteY1" fmla="*/ 1235107 h 1284160"/>
                <a:gd name="connsiteX2" fmla="*/ 0 w 986123"/>
                <a:gd name="connsiteY2" fmla="*/ 1084421 h 1284160"/>
                <a:gd name="connsiteX3" fmla="*/ 162306 w 986123"/>
                <a:gd name="connsiteY3" fmla="*/ 890016 h 1284160"/>
                <a:gd name="connsiteX4" fmla="*/ 337947 w 986123"/>
                <a:gd name="connsiteY4" fmla="*/ 1000601 h 1284160"/>
                <a:gd name="connsiteX5" fmla="*/ 535019 w 986123"/>
                <a:gd name="connsiteY5" fmla="*/ 1041654 h 1284160"/>
                <a:gd name="connsiteX6" fmla="*/ 667893 w 986123"/>
                <a:gd name="connsiteY6" fmla="*/ 1010412 h 1284160"/>
                <a:gd name="connsiteX7" fmla="*/ 715137 w 986123"/>
                <a:gd name="connsiteY7" fmla="*/ 923925 h 1284160"/>
                <a:gd name="connsiteX8" fmla="*/ 715137 w 986123"/>
                <a:gd name="connsiteY8" fmla="*/ 920305 h 1284160"/>
                <a:gd name="connsiteX9" fmla="*/ 705326 w 986123"/>
                <a:gd name="connsiteY9" fmla="*/ 873062 h 1284160"/>
                <a:gd name="connsiteX10" fmla="*/ 667798 w 986123"/>
                <a:gd name="connsiteY10" fmla="*/ 834676 h 1284160"/>
                <a:gd name="connsiteX11" fmla="*/ 590931 w 986123"/>
                <a:gd name="connsiteY11" fmla="*/ 798957 h 1284160"/>
                <a:gd name="connsiteX12" fmla="*/ 463106 w 986123"/>
                <a:gd name="connsiteY12" fmla="*/ 761524 h 1284160"/>
                <a:gd name="connsiteX13" fmla="*/ 291465 w 986123"/>
                <a:gd name="connsiteY13" fmla="*/ 709803 h 1284160"/>
                <a:gd name="connsiteX14" fmla="*/ 160973 w 986123"/>
                <a:gd name="connsiteY14" fmla="*/ 639318 h 1284160"/>
                <a:gd name="connsiteX15" fmla="*/ 77819 w 986123"/>
                <a:gd name="connsiteY15" fmla="*/ 535019 h 1284160"/>
                <a:gd name="connsiteX16" fmla="*/ 48292 w 986123"/>
                <a:gd name="connsiteY16" fmla="*/ 379857 h 1284160"/>
                <a:gd name="connsiteX17" fmla="*/ 48292 w 986123"/>
                <a:gd name="connsiteY17" fmla="*/ 376238 h 1284160"/>
                <a:gd name="connsiteX18" fmla="*/ 80201 w 986123"/>
                <a:gd name="connsiteY18" fmla="*/ 222028 h 1284160"/>
                <a:gd name="connsiteX19" fmla="*/ 169640 w 986123"/>
                <a:gd name="connsiteY19" fmla="*/ 103441 h 1284160"/>
                <a:gd name="connsiteX20" fmla="*/ 307181 w 986123"/>
                <a:gd name="connsiteY20" fmla="*/ 26765 h 1284160"/>
                <a:gd name="connsiteX21" fmla="*/ 483394 w 986123"/>
                <a:gd name="connsiteY21" fmla="*/ 0 h 1284160"/>
                <a:gd name="connsiteX22" fmla="*/ 735711 w 986123"/>
                <a:gd name="connsiteY22" fmla="*/ 41053 h 1284160"/>
                <a:gd name="connsiteX23" fmla="*/ 946976 w 986123"/>
                <a:gd name="connsiteY23" fmla="*/ 158687 h 1284160"/>
                <a:gd name="connsiteX24" fmla="*/ 804291 w 986123"/>
                <a:gd name="connsiteY24" fmla="*/ 365569 h 1284160"/>
                <a:gd name="connsiteX25" fmla="*/ 640271 w 986123"/>
                <a:gd name="connsiteY25" fmla="*/ 275558 h 1284160"/>
                <a:gd name="connsiteX26" fmla="*/ 479774 w 986123"/>
                <a:gd name="connsiteY26" fmla="*/ 242602 h 1284160"/>
                <a:gd name="connsiteX27" fmla="*/ 359378 w 986123"/>
                <a:gd name="connsiteY27" fmla="*/ 273844 h 1284160"/>
                <a:gd name="connsiteX28" fmla="*/ 319278 w 986123"/>
                <a:gd name="connsiteY28" fmla="*/ 351377 h 1284160"/>
                <a:gd name="connsiteX29" fmla="*/ 319278 w 986123"/>
                <a:gd name="connsiteY29" fmla="*/ 354997 h 1284160"/>
                <a:gd name="connsiteX30" fmla="*/ 330899 w 986123"/>
                <a:gd name="connsiteY30" fmla="*/ 407575 h 1284160"/>
                <a:gd name="connsiteX31" fmla="*/ 372904 w 986123"/>
                <a:gd name="connsiteY31" fmla="*/ 447675 h 1284160"/>
                <a:gd name="connsiteX32" fmla="*/ 456057 w 986123"/>
                <a:gd name="connsiteY32" fmla="*/ 481489 h 1284160"/>
                <a:gd name="connsiteX33" fmla="*/ 589217 w 986123"/>
                <a:gd name="connsiteY33" fmla="*/ 518922 h 1284160"/>
                <a:gd name="connsiteX34" fmla="*/ 758190 w 986123"/>
                <a:gd name="connsiteY34" fmla="*/ 575120 h 1284160"/>
                <a:gd name="connsiteX35" fmla="*/ 883349 w 986123"/>
                <a:gd name="connsiteY35" fmla="*/ 649986 h 1284160"/>
                <a:gd name="connsiteX36" fmla="*/ 960215 w 986123"/>
                <a:gd name="connsiteY36" fmla="*/ 752570 h 1284160"/>
                <a:gd name="connsiteX37" fmla="*/ 986123 w 986123"/>
                <a:gd name="connsiteY37" fmla="*/ 893445 h 1284160"/>
                <a:gd name="connsiteX38" fmla="*/ 986123 w 986123"/>
                <a:gd name="connsiteY38" fmla="*/ 897064 h 1284160"/>
                <a:gd name="connsiteX39" fmla="*/ 952500 w 986123"/>
                <a:gd name="connsiteY39" fmla="*/ 1062038 h 1284160"/>
                <a:gd name="connsiteX40" fmla="*/ 858584 w 986123"/>
                <a:gd name="connsiteY40" fmla="*/ 1183291 h 1284160"/>
                <a:gd name="connsiteX41" fmla="*/ 714851 w 986123"/>
                <a:gd name="connsiteY41" fmla="*/ 1258157 h 1284160"/>
                <a:gd name="connsiteX42" fmla="*/ 529685 w 986123"/>
                <a:gd name="connsiteY42" fmla="*/ 1284065 h 128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6123" h="1284160">
                  <a:moveTo>
                    <a:pt x="529590" y="1284160"/>
                  </a:moveTo>
                  <a:cubicBezTo>
                    <a:pt x="434435" y="1284160"/>
                    <a:pt x="341186" y="1267777"/>
                    <a:pt x="249650" y="1235107"/>
                  </a:cubicBezTo>
                  <a:cubicBezTo>
                    <a:pt x="158115" y="1202436"/>
                    <a:pt x="74867" y="1152239"/>
                    <a:pt x="0" y="1084421"/>
                  </a:cubicBezTo>
                  <a:lnTo>
                    <a:pt x="162306" y="890016"/>
                  </a:lnTo>
                  <a:cubicBezTo>
                    <a:pt x="219361" y="936403"/>
                    <a:pt x="277844" y="973264"/>
                    <a:pt x="337947" y="1000601"/>
                  </a:cubicBezTo>
                  <a:cubicBezTo>
                    <a:pt x="397955" y="1027938"/>
                    <a:pt x="463677" y="1041654"/>
                    <a:pt x="535019" y="1041654"/>
                  </a:cubicBezTo>
                  <a:cubicBezTo>
                    <a:pt x="592074" y="1041654"/>
                    <a:pt x="636365" y="1031272"/>
                    <a:pt x="667893" y="1010412"/>
                  </a:cubicBezTo>
                  <a:cubicBezTo>
                    <a:pt x="699421" y="989647"/>
                    <a:pt x="715137" y="960787"/>
                    <a:pt x="715137" y="923925"/>
                  </a:cubicBezTo>
                  <a:lnTo>
                    <a:pt x="715137" y="920305"/>
                  </a:lnTo>
                  <a:cubicBezTo>
                    <a:pt x="715137" y="902494"/>
                    <a:pt x="711803" y="886777"/>
                    <a:pt x="705326" y="873062"/>
                  </a:cubicBezTo>
                  <a:cubicBezTo>
                    <a:pt x="698754" y="859441"/>
                    <a:pt x="686276" y="846582"/>
                    <a:pt x="667798" y="834676"/>
                  </a:cubicBezTo>
                  <a:cubicBezTo>
                    <a:pt x="649319" y="822770"/>
                    <a:pt x="623697" y="810863"/>
                    <a:pt x="590931" y="798957"/>
                  </a:cubicBezTo>
                  <a:cubicBezTo>
                    <a:pt x="558165" y="787146"/>
                    <a:pt x="515493" y="774573"/>
                    <a:pt x="463106" y="761524"/>
                  </a:cubicBezTo>
                  <a:cubicBezTo>
                    <a:pt x="399955" y="746093"/>
                    <a:pt x="342710" y="728853"/>
                    <a:pt x="291465" y="709803"/>
                  </a:cubicBezTo>
                  <a:cubicBezTo>
                    <a:pt x="240221" y="690753"/>
                    <a:pt x="196691" y="667322"/>
                    <a:pt x="160973" y="639318"/>
                  </a:cubicBezTo>
                  <a:cubicBezTo>
                    <a:pt x="125159" y="611410"/>
                    <a:pt x="97536" y="576644"/>
                    <a:pt x="77819" y="535019"/>
                  </a:cubicBezTo>
                  <a:cubicBezTo>
                    <a:pt x="58103" y="493395"/>
                    <a:pt x="48292" y="441674"/>
                    <a:pt x="48292" y="379857"/>
                  </a:cubicBezTo>
                  <a:lnTo>
                    <a:pt x="48292" y="376238"/>
                  </a:lnTo>
                  <a:cubicBezTo>
                    <a:pt x="48292" y="319183"/>
                    <a:pt x="58865" y="267748"/>
                    <a:pt x="80201" y="222028"/>
                  </a:cubicBezTo>
                  <a:cubicBezTo>
                    <a:pt x="101441" y="176308"/>
                    <a:pt x="131255" y="136779"/>
                    <a:pt x="169640" y="103441"/>
                  </a:cubicBezTo>
                  <a:cubicBezTo>
                    <a:pt x="208026" y="70199"/>
                    <a:pt x="253841" y="44577"/>
                    <a:pt x="307181" y="26765"/>
                  </a:cubicBezTo>
                  <a:cubicBezTo>
                    <a:pt x="360426" y="8953"/>
                    <a:pt x="419195" y="0"/>
                    <a:pt x="483394" y="0"/>
                  </a:cubicBezTo>
                  <a:cubicBezTo>
                    <a:pt x="574929" y="0"/>
                    <a:pt x="659035" y="13716"/>
                    <a:pt x="735711" y="41053"/>
                  </a:cubicBezTo>
                  <a:cubicBezTo>
                    <a:pt x="812387" y="68389"/>
                    <a:pt x="882777" y="107632"/>
                    <a:pt x="946976" y="158687"/>
                  </a:cubicBezTo>
                  <a:lnTo>
                    <a:pt x="804291" y="365569"/>
                  </a:lnTo>
                  <a:cubicBezTo>
                    <a:pt x="748379" y="327565"/>
                    <a:pt x="693706" y="297561"/>
                    <a:pt x="640271" y="275558"/>
                  </a:cubicBezTo>
                  <a:cubicBezTo>
                    <a:pt x="586740" y="253555"/>
                    <a:pt x="533305" y="242602"/>
                    <a:pt x="479774" y="242602"/>
                  </a:cubicBezTo>
                  <a:cubicBezTo>
                    <a:pt x="426244" y="242602"/>
                    <a:pt x="386144" y="252984"/>
                    <a:pt x="359378" y="273844"/>
                  </a:cubicBezTo>
                  <a:cubicBezTo>
                    <a:pt x="332613" y="294608"/>
                    <a:pt x="319278" y="320516"/>
                    <a:pt x="319278" y="351377"/>
                  </a:cubicBezTo>
                  <a:lnTo>
                    <a:pt x="319278" y="354997"/>
                  </a:lnTo>
                  <a:cubicBezTo>
                    <a:pt x="319278" y="375190"/>
                    <a:pt x="323183" y="392716"/>
                    <a:pt x="330899" y="407575"/>
                  </a:cubicBezTo>
                  <a:cubicBezTo>
                    <a:pt x="338614" y="422434"/>
                    <a:pt x="352616" y="435864"/>
                    <a:pt x="372904" y="447675"/>
                  </a:cubicBezTo>
                  <a:cubicBezTo>
                    <a:pt x="393192" y="459581"/>
                    <a:pt x="420910" y="470821"/>
                    <a:pt x="456057" y="481489"/>
                  </a:cubicBezTo>
                  <a:cubicBezTo>
                    <a:pt x="491204" y="492157"/>
                    <a:pt x="535591" y="504730"/>
                    <a:pt x="589217" y="518922"/>
                  </a:cubicBezTo>
                  <a:cubicBezTo>
                    <a:pt x="652367" y="535591"/>
                    <a:pt x="708660" y="554260"/>
                    <a:pt x="758190" y="575120"/>
                  </a:cubicBezTo>
                  <a:cubicBezTo>
                    <a:pt x="807625" y="595979"/>
                    <a:pt x="849344" y="620935"/>
                    <a:pt x="883349" y="649986"/>
                  </a:cubicBezTo>
                  <a:cubicBezTo>
                    <a:pt x="917353" y="679132"/>
                    <a:pt x="942975" y="713327"/>
                    <a:pt x="960215" y="752570"/>
                  </a:cubicBezTo>
                  <a:cubicBezTo>
                    <a:pt x="977456" y="791813"/>
                    <a:pt x="986123" y="838772"/>
                    <a:pt x="986123" y="893445"/>
                  </a:cubicBezTo>
                  <a:lnTo>
                    <a:pt x="986123" y="897064"/>
                  </a:lnTo>
                  <a:cubicBezTo>
                    <a:pt x="986123" y="958882"/>
                    <a:pt x="974884" y="1013841"/>
                    <a:pt x="952500" y="1062038"/>
                  </a:cubicBezTo>
                  <a:cubicBezTo>
                    <a:pt x="930021" y="1110139"/>
                    <a:pt x="898779" y="1150620"/>
                    <a:pt x="858584" y="1183291"/>
                  </a:cubicBezTo>
                  <a:cubicBezTo>
                    <a:pt x="818388" y="1216057"/>
                    <a:pt x="770477" y="1241012"/>
                    <a:pt x="714851" y="1258157"/>
                  </a:cubicBezTo>
                  <a:cubicBezTo>
                    <a:pt x="659130" y="1275398"/>
                    <a:pt x="597503" y="1284065"/>
                    <a:pt x="529685" y="1284065"/>
                  </a:cubicBezTo>
                  <a:close/>
                </a:path>
              </a:pathLst>
            </a:custGeom>
            <a:solidFill>
              <a:srgbClr val="44505E"/>
            </a:solidFill>
            <a:ln w="9525" cap="flat">
              <a:noFill/>
              <a:prstDash val="solid"/>
              <a:miter/>
            </a:ln>
          </p:spPr>
          <p:txBody>
            <a:bodyPr rtlCol="0" anchor="ctr"/>
            <a:lstStyle/>
            <a:p>
              <a:endParaRPr lang="pt-BR" noProof="0"/>
            </a:p>
          </p:txBody>
        </p:sp>
        <p:sp>
          <p:nvSpPr>
            <p:cNvPr id="17" name="Freeform: Shape 16">
              <a:extLst>
                <a:ext uri="{FF2B5EF4-FFF2-40B4-BE49-F238E27FC236}">
                  <a16:creationId xmlns:a16="http://schemas.microsoft.com/office/drawing/2014/main" id="{9555D73F-8350-8DD9-93E6-8BA903CDBB0A}"/>
                </a:ext>
              </a:extLst>
            </p:cNvPr>
            <p:cNvSpPr/>
            <p:nvPr/>
          </p:nvSpPr>
          <p:spPr>
            <a:xfrm>
              <a:off x="5492084" y="310867"/>
              <a:ext cx="332584" cy="315991"/>
            </a:xfrm>
            <a:custGeom>
              <a:avLst/>
              <a:gdLst>
                <a:gd name="connsiteX0" fmla="*/ 534924 w 1323022"/>
                <a:gd name="connsiteY0" fmla="*/ 0 h 1257014"/>
                <a:gd name="connsiteX1" fmla="*/ 788099 w 1323022"/>
                <a:gd name="connsiteY1" fmla="*/ 0 h 1257014"/>
                <a:gd name="connsiteX2" fmla="*/ 1323023 w 1323022"/>
                <a:gd name="connsiteY2" fmla="*/ 1257014 h 1257014"/>
                <a:gd name="connsiteX3" fmla="*/ 1035939 w 1323022"/>
                <a:gd name="connsiteY3" fmla="*/ 1257014 h 1257014"/>
                <a:gd name="connsiteX4" fmla="*/ 921829 w 1323022"/>
                <a:gd name="connsiteY4" fmla="*/ 977075 h 1257014"/>
                <a:gd name="connsiteX5" fmla="*/ 394049 w 1323022"/>
                <a:gd name="connsiteY5" fmla="*/ 977075 h 1257014"/>
                <a:gd name="connsiteX6" fmla="*/ 279940 w 1323022"/>
                <a:gd name="connsiteY6" fmla="*/ 1257014 h 1257014"/>
                <a:gd name="connsiteX7" fmla="*/ 0 w 1323022"/>
                <a:gd name="connsiteY7" fmla="*/ 1257014 h 1257014"/>
                <a:gd name="connsiteX8" fmla="*/ 534924 w 1323022"/>
                <a:gd name="connsiteY8" fmla="*/ 0 h 1257014"/>
                <a:gd name="connsiteX9" fmla="*/ 823817 w 1323022"/>
                <a:gd name="connsiteY9" fmla="*/ 734568 h 1257014"/>
                <a:gd name="connsiteX10" fmla="*/ 657987 w 1323022"/>
                <a:gd name="connsiteY10" fmla="*/ 329851 h 1257014"/>
                <a:gd name="connsiteX11" fmla="*/ 492157 w 1323022"/>
                <a:gd name="connsiteY11" fmla="*/ 734568 h 1257014"/>
                <a:gd name="connsiteX12" fmla="*/ 823817 w 1323022"/>
                <a:gd name="connsiteY12" fmla="*/ 734568 h 125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022" h="1257014">
                  <a:moveTo>
                    <a:pt x="534924" y="0"/>
                  </a:moveTo>
                  <a:lnTo>
                    <a:pt x="788099" y="0"/>
                  </a:lnTo>
                  <a:lnTo>
                    <a:pt x="1323023" y="1257014"/>
                  </a:lnTo>
                  <a:lnTo>
                    <a:pt x="1035939" y="1257014"/>
                  </a:lnTo>
                  <a:lnTo>
                    <a:pt x="921829" y="977075"/>
                  </a:lnTo>
                  <a:lnTo>
                    <a:pt x="394049" y="977075"/>
                  </a:lnTo>
                  <a:lnTo>
                    <a:pt x="279940" y="1257014"/>
                  </a:lnTo>
                  <a:lnTo>
                    <a:pt x="0" y="1257014"/>
                  </a:lnTo>
                  <a:lnTo>
                    <a:pt x="534924" y="0"/>
                  </a:lnTo>
                  <a:close/>
                  <a:moveTo>
                    <a:pt x="823817" y="734568"/>
                  </a:moveTo>
                  <a:lnTo>
                    <a:pt x="657987" y="329851"/>
                  </a:lnTo>
                  <a:lnTo>
                    <a:pt x="492157" y="734568"/>
                  </a:lnTo>
                  <a:lnTo>
                    <a:pt x="823817" y="734568"/>
                  </a:lnTo>
                  <a:close/>
                </a:path>
              </a:pathLst>
            </a:custGeom>
            <a:solidFill>
              <a:srgbClr val="44505E"/>
            </a:solidFill>
            <a:ln w="9525" cap="flat">
              <a:noFill/>
              <a:prstDash val="solid"/>
              <a:miter/>
            </a:ln>
          </p:spPr>
          <p:txBody>
            <a:bodyPr rtlCol="0" anchor="ctr"/>
            <a:lstStyle/>
            <a:p>
              <a:endParaRPr lang="pt-BR" noProof="0"/>
            </a:p>
          </p:txBody>
        </p:sp>
        <p:sp>
          <p:nvSpPr>
            <p:cNvPr id="18" name="Freeform: Shape 17">
              <a:extLst>
                <a:ext uri="{FF2B5EF4-FFF2-40B4-BE49-F238E27FC236}">
                  <a16:creationId xmlns:a16="http://schemas.microsoft.com/office/drawing/2014/main" id="{AA344983-50AC-6F45-0953-F8C82942790F}"/>
                </a:ext>
              </a:extLst>
            </p:cNvPr>
            <p:cNvSpPr/>
            <p:nvPr/>
          </p:nvSpPr>
          <p:spPr>
            <a:xfrm>
              <a:off x="5834078" y="211355"/>
              <a:ext cx="273442" cy="420435"/>
            </a:xfrm>
            <a:custGeom>
              <a:avLst/>
              <a:gdLst>
                <a:gd name="connsiteX0" fmla="*/ 540258 w 1087754"/>
                <a:gd name="connsiteY0" fmla="*/ 1672495 h 1672494"/>
                <a:gd name="connsiteX1" fmla="*/ 144399 w 1087754"/>
                <a:gd name="connsiteY1" fmla="*/ 1533430 h 1672494"/>
                <a:gd name="connsiteX2" fmla="*/ 0 w 1087754"/>
                <a:gd name="connsiteY2" fmla="*/ 1117949 h 1672494"/>
                <a:gd name="connsiteX3" fmla="*/ 0 w 1087754"/>
                <a:gd name="connsiteY3" fmla="*/ 404717 h 1672494"/>
                <a:gd name="connsiteX4" fmla="*/ 274606 w 1087754"/>
                <a:gd name="connsiteY4" fmla="*/ 404717 h 1672494"/>
                <a:gd name="connsiteX5" fmla="*/ 274606 w 1087754"/>
                <a:gd name="connsiteY5" fmla="*/ 1110806 h 1672494"/>
                <a:gd name="connsiteX6" fmla="*/ 345948 w 1087754"/>
                <a:gd name="connsiteY6" fmla="*/ 1341692 h 1672494"/>
                <a:gd name="connsiteX7" fmla="*/ 543877 w 1087754"/>
                <a:gd name="connsiteY7" fmla="*/ 1419225 h 1672494"/>
                <a:gd name="connsiteX8" fmla="*/ 741807 w 1087754"/>
                <a:gd name="connsiteY8" fmla="*/ 1344359 h 1672494"/>
                <a:gd name="connsiteX9" fmla="*/ 813149 w 1087754"/>
                <a:gd name="connsiteY9" fmla="*/ 1119664 h 1672494"/>
                <a:gd name="connsiteX10" fmla="*/ 813149 w 1087754"/>
                <a:gd name="connsiteY10" fmla="*/ 404717 h 1672494"/>
                <a:gd name="connsiteX11" fmla="*/ 1087755 w 1087754"/>
                <a:gd name="connsiteY11" fmla="*/ 404717 h 1672494"/>
                <a:gd name="connsiteX12" fmla="*/ 1087755 w 1087754"/>
                <a:gd name="connsiteY12" fmla="*/ 1108996 h 1672494"/>
                <a:gd name="connsiteX13" fmla="*/ 1049369 w 1087754"/>
                <a:gd name="connsiteY13" fmla="*/ 1356836 h 1672494"/>
                <a:gd name="connsiteX14" fmla="*/ 939737 w 1087754"/>
                <a:gd name="connsiteY14" fmla="*/ 1532477 h 1672494"/>
                <a:gd name="connsiteX15" fmla="*/ 766763 w 1087754"/>
                <a:gd name="connsiteY15" fmla="*/ 1637729 h 1672494"/>
                <a:gd name="connsiteX16" fmla="*/ 540353 w 1087754"/>
                <a:gd name="connsiteY16" fmla="*/ 1672495 h 1672494"/>
                <a:gd name="connsiteX17" fmla="*/ 622268 w 1087754"/>
                <a:gd name="connsiteY17" fmla="*/ 0 h 1672494"/>
                <a:gd name="connsiteX18" fmla="*/ 855821 w 1087754"/>
                <a:gd name="connsiteY18" fmla="*/ 101632 h 1672494"/>
                <a:gd name="connsiteX19" fmla="*/ 627602 w 1087754"/>
                <a:gd name="connsiteY19" fmla="*/ 315563 h 1672494"/>
                <a:gd name="connsiteX20" fmla="*/ 420719 w 1087754"/>
                <a:gd name="connsiteY20" fmla="*/ 315563 h 1672494"/>
                <a:gd name="connsiteX21" fmla="*/ 622268 w 1087754"/>
                <a:gd name="connsiteY21" fmla="*/ 0 h 16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754" h="1672494">
                  <a:moveTo>
                    <a:pt x="540258" y="1672495"/>
                  </a:moveTo>
                  <a:cubicBezTo>
                    <a:pt x="372618" y="1672495"/>
                    <a:pt x="240697" y="1626108"/>
                    <a:pt x="144399" y="1533430"/>
                  </a:cubicBezTo>
                  <a:cubicBezTo>
                    <a:pt x="48101" y="1440752"/>
                    <a:pt x="0" y="1302258"/>
                    <a:pt x="0" y="1117949"/>
                  </a:cubicBezTo>
                  <a:lnTo>
                    <a:pt x="0" y="404717"/>
                  </a:lnTo>
                  <a:lnTo>
                    <a:pt x="274606" y="404717"/>
                  </a:lnTo>
                  <a:lnTo>
                    <a:pt x="274606" y="1110806"/>
                  </a:lnTo>
                  <a:cubicBezTo>
                    <a:pt x="274606" y="1213009"/>
                    <a:pt x="298418" y="1289971"/>
                    <a:pt x="345948" y="1341692"/>
                  </a:cubicBezTo>
                  <a:cubicBezTo>
                    <a:pt x="393478" y="1393412"/>
                    <a:pt x="459486" y="1419225"/>
                    <a:pt x="543877" y="1419225"/>
                  </a:cubicBezTo>
                  <a:cubicBezTo>
                    <a:pt x="628269" y="1419225"/>
                    <a:pt x="694277" y="1394270"/>
                    <a:pt x="741807" y="1344359"/>
                  </a:cubicBezTo>
                  <a:cubicBezTo>
                    <a:pt x="789337" y="1294448"/>
                    <a:pt x="813149" y="1219581"/>
                    <a:pt x="813149" y="1119664"/>
                  </a:cubicBezTo>
                  <a:lnTo>
                    <a:pt x="813149" y="404717"/>
                  </a:lnTo>
                  <a:lnTo>
                    <a:pt x="1087755" y="404717"/>
                  </a:lnTo>
                  <a:lnTo>
                    <a:pt x="1087755" y="1108996"/>
                  </a:lnTo>
                  <a:cubicBezTo>
                    <a:pt x="1087755" y="1204151"/>
                    <a:pt x="1074992" y="1286732"/>
                    <a:pt x="1049369" y="1356836"/>
                  </a:cubicBezTo>
                  <a:cubicBezTo>
                    <a:pt x="1023747" y="1426940"/>
                    <a:pt x="987266" y="1485519"/>
                    <a:pt x="939737" y="1532477"/>
                  </a:cubicBezTo>
                  <a:cubicBezTo>
                    <a:pt x="892207" y="1579436"/>
                    <a:pt x="834485" y="1614488"/>
                    <a:pt x="766763" y="1637729"/>
                  </a:cubicBezTo>
                  <a:cubicBezTo>
                    <a:pt x="699040" y="1660874"/>
                    <a:pt x="623507" y="1672495"/>
                    <a:pt x="540353" y="1672495"/>
                  </a:cubicBezTo>
                  <a:close/>
                  <a:moveTo>
                    <a:pt x="622268" y="0"/>
                  </a:moveTo>
                  <a:lnTo>
                    <a:pt x="855821" y="101632"/>
                  </a:lnTo>
                  <a:lnTo>
                    <a:pt x="627602" y="315563"/>
                  </a:lnTo>
                  <a:lnTo>
                    <a:pt x="420719" y="315563"/>
                  </a:lnTo>
                  <a:lnTo>
                    <a:pt x="622268" y="0"/>
                  </a:lnTo>
                  <a:close/>
                </a:path>
              </a:pathLst>
            </a:custGeom>
            <a:solidFill>
              <a:srgbClr val="44505E"/>
            </a:solidFill>
            <a:ln w="9525" cap="flat">
              <a:noFill/>
              <a:prstDash val="solid"/>
              <a:miter/>
            </a:ln>
          </p:spPr>
          <p:txBody>
            <a:bodyPr rtlCol="0" anchor="ctr"/>
            <a:lstStyle/>
            <a:p>
              <a:endParaRPr lang="pt-BR" noProof="0"/>
            </a:p>
          </p:txBody>
        </p:sp>
        <p:sp>
          <p:nvSpPr>
            <p:cNvPr id="19" name="Freeform: Shape 18">
              <a:extLst>
                <a:ext uri="{FF2B5EF4-FFF2-40B4-BE49-F238E27FC236}">
                  <a16:creationId xmlns:a16="http://schemas.microsoft.com/office/drawing/2014/main" id="{723EEEA2-BFCD-9213-7FC3-8DC806E18439}"/>
                </a:ext>
              </a:extLst>
            </p:cNvPr>
            <p:cNvSpPr/>
            <p:nvPr/>
          </p:nvSpPr>
          <p:spPr>
            <a:xfrm>
              <a:off x="6143795" y="313094"/>
              <a:ext cx="289101" cy="313764"/>
            </a:xfrm>
            <a:custGeom>
              <a:avLst/>
              <a:gdLst>
                <a:gd name="connsiteX0" fmla="*/ 0 w 1150048"/>
                <a:gd name="connsiteY0" fmla="*/ 0 h 1248155"/>
                <a:gd name="connsiteX1" fmla="*/ 486728 w 1150048"/>
                <a:gd name="connsiteY1" fmla="*/ 0 h 1248155"/>
                <a:gd name="connsiteX2" fmla="*/ 755047 w 1150048"/>
                <a:gd name="connsiteY2" fmla="*/ 47244 h 1248155"/>
                <a:gd name="connsiteX3" fmla="*/ 965454 w 1150048"/>
                <a:gd name="connsiteY3" fmla="*/ 178308 h 1248155"/>
                <a:gd name="connsiteX4" fmla="*/ 1101852 w 1150048"/>
                <a:gd name="connsiteY4" fmla="*/ 375380 h 1248155"/>
                <a:gd name="connsiteX5" fmla="*/ 1150049 w 1150048"/>
                <a:gd name="connsiteY5" fmla="*/ 620554 h 1248155"/>
                <a:gd name="connsiteX6" fmla="*/ 1150049 w 1150048"/>
                <a:gd name="connsiteY6" fmla="*/ 624173 h 1248155"/>
                <a:gd name="connsiteX7" fmla="*/ 1101852 w 1150048"/>
                <a:gd name="connsiteY7" fmla="*/ 870204 h 1248155"/>
                <a:gd name="connsiteX8" fmla="*/ 965454 w 1150048"/>
                <a:gd name="connsiteY8" fmla="*/ 1068134 h 1248155"/>
                <a:gd name="connsiteX9" fmla="*/ 755047 w 1150048"/>
                <a:gd name="connsiteY9" fmla="*/ 1200055 h 1248155"/>
                <a:gd name="connsiteX10" fmla="*/ 486728 w 1150048"/>
                <a:gd name="connsiteY10" fmla="*/ 1248156 h 1248155"/>
                <a:gd name="connsiteX11" fmla="*/ 0 w 1150048"/>
                <a:gd name="connsiteY11" fmla="*/ 1248156 h 1248155"/>
                <a:gd name="connsiteX12" fmla="*/ 0 w 1150048"/>
                <a:gd name="connsiteY12" fmla="*/ 0 h 1248155"/>
                <a:gd name="connsiteX13" fmla="*/ 486728 w 1150048"/>
                <a:gd name="connsiteY13" fmla="*/ 1000315 h 1248155"/>
                <a:gd name="connsiteX14" fmla="*/ 640080 w 1150048"/>
                <a:gd name="connsiteY14" fmla="*/ 973550 h 1248155"/>
                <a:gd name="connsiteX15" fmla="*/ 758667 w 1150048"/>
                <a:gd name="connsiteY15" fmla="*/ 896874 h 1248155"/>
                <a:gd name="connsiteX16" fmla="*/ 835343 w 1150048"/>
                <a:gd name="connsiteY16" fmla="*/ 779240 h 1248155"/>
                <a:gd name="connsiteX17" fmla="*/ 862965 w 1150048"/>
                <a:gd name="connsiteY17" fmla="*/ 627698 h 1248155"/>
                <a:gd name="connsiteX18" fmla="*/ 862965 w 1150048"/>
                <a:gd name="connsiteY18" fmla="*/ 624078 h 1248155"/>
                <a:gd name="connsiteX19" fmla="*/ 835343 w 1150048"/>
                <a:gd name="connsiteY19" fmla="*/ 472535 h 1248155"/>
                <a:gd name="connsiteX20" fmla="*/ 758667 w 1150048"/>
                <a:gd name="connsiteY20" fmla="*/ 353092 h 1248155"/>
                <a:gd name="connsiteX21" fmla="*/ 640080 w 1150048"/>
                <a:gd name="connsiteY21" fmla="*/ 275558 h 1248155"/>
                <a:gd name="connsiteX22" fmla="*/ 486728 w 1150048"/>
                <a:gd name="connsiteY22" fmla="*/ 247936 h 1248155"/>
                <a:gd name="connsiteX23" fmla="*/ 274511 w 1150048"/>
                <a:gd name="connsiteY23" fmla="*/ 247936 h 1248155"/>
                <a:gd name="connsiteX24" fmla="*/ 274511 w 1150048"/>
                <a:gd name="connsiteY24" fmla="*/ 1000411 h 1248155"/>
                <a:gd name="connsiteX25" fmla="*/ 486728 w 1150048"/>
                <a:gd name="connsiteY25" fmla="*/ 1000411 h 124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50048" h="1248155">
                  <a:moveTo>
                    <a:pt x="0" y="0"/>
                  </a:moveTo>
                  <a:lnTo>
                    <a:pt x="486728" y="0"/>
                  </a:lnTo>
                  <a:cubicBezTo>
                    <a:pt x="584168" y="0"/>
                    <a:pt x="673608" y="15811"/>
                    <a:pt x="755047" y="47244"/>
                  </a:cubicBezTo>
                  <a:cubicBezTo>
                    <a:pt x="836486" y="78772"/>
                    <a:pt x="906590" y="122396"/>
                    <a:pt x="965454" y="178308"/>
                  </a:cubicBezTo>
                  <a:cubicBezTo>
                    <a:pt x="1024319" y="234220"/>
                    <a:pt x="1069753" y="299847"/>
                    <a:pt x="1101852" y="375380"/>
                  </a:cubicBezTo>
                  <a:cubicBezTo>
                    <a:pt x="1133951" y="450914"/>
                    <a:pt x="1150049" y="532543"/>
                    <a:pt x="1150049" y="620554"/>
                  </a:cubicBezTo>
                  <a:lnTo>
                    <a:pt x="1150049" y="624173"/>
                  </a:lnTo>
                  <a:cubicBezTo>
                    <a:pt x="1150049" y="712184"/>
                    <a:pt x="1133951" y="794195"/>
                    <a:pt x="1101852" y="870204"/>
                  </a:cubicBezTo>
                  <a:cubicBezTo>
                    <a:pt x="1069753" y="946309"/>
                    <a:pt x="1024319" y="1012222"/>
                    <a:pt x="965454" y="1068134"/>
                  </a:cubicBezTo>
                  <a:cubicBezTo>
                    <a:pt x="906590" y="1124045"/>
                    <a:pt x="836486" y="1167956"/>
                    <a:pt x="755047" y="1200055"/>
                  </a:cubicBezTo>
                  <a:cubicBezTo>
                    <a:pt x="673608" y="1232154"/>
                    <a:pt x="584168" y="1248156"/>
                    <a:pt x="486728" y="1248156"/>
                  </a:cubicBezTo>
                  <a:lnTo>
                    <a:pt x="0" y="1248156"/>
                  </a:lnTo>
                  <a:lnTo>
                    <a:pt x="0" y="0"/>
                  </a:lnTo>
                  <a:close/>
                  <a:moveTo>
                    <a:pt x="486728" y="1000315"/>
                  </a:moveTo>
                  <a:cubicBezTo>
                    <a:pt x="542639" y="1000315"/>
                    <a:pt x="593693" y="991457"/>
                    <a:pt x="640080" y="973550"/>
                  </a:cubicBezTo>
                  <a:cubicBezTo>
                    <a:pt x="686467" y="955739"/>
                    <a:pt x="725900" y="930211"/>
                    <a:pt x="758667" y="896874"/>
                  </a:cubicBezTo>
                  <a:cubicBezTo>
                    <a:pt x="791337" y="863632"/>
                    <a:pt x="816864" y="824389"/>
                    <a:pt x="835343" y="779240"/>
                  </a:cubicBezTo>
                  <a:cubicBezTo>
                    <a:pt x="853726" y="734092"/>
                    <a:pt x="862965" y="683609"/>
                    <a:pt x="862965" y="627698"/>
                  </a:cubicBezTo>
                  <a:lnTo>
                    <a:pt x="862965" y="624078"/>
                  </a:lnTo>
                  <a:cubicBezTo>
                    <a:pt x="862965" y="569404"/>
                    <a:pt x="853726" y="518827"/>
                    <a:pt x="835343" y="472535"/>
                  </a:cubicBezTo>
                  <a:cubicBezTo>
                    <a:pt x="816864" y="426149"/>
                    <a:pt x="791337" y="386334"/>
                    <a:pt x="758667" y="353092"/>
                  </a:cubicBezTo>
                  <a:cubicBezTo>
                    <a:pt x="725996" y="319849"/>
                    <a:pt x="686467" y="293941"/>
                    <a:pt x="640080" y="275558"/>
                  </a:cubicBezTo>
                  <a:cubicBezTo>
                    <a:pt x="593693" y="257175"/>
                    <a:pt x="542639" y="247936"/>
                    <a:pt x="486728" y="247936"/>
                  </a:cubicBezTo>
                  <a:lnTo>
                    <a:pt x="274511" y="247936"/>
                  </a:lnTo>
                  <a:lnTo>
                    <a:pt x="274511" y="1000411"/>
                  </a:lnTo>
                  <a:lnTo>
                    <a:pt x="486728" y="1000411"/>
                  </a:lnTo>
                  <a:close/>
                </a:path>
              </a:pathLst>
            </a:custGeom>
            <a:solidFill>
              <a:srgbClr val="44505E"/>
            </a:solidFill>
            <a:ln w="9525" cap="flat">
              <a:noFill/>
              <a:prstDash val="solid"/>
              <a:miter/>
            </a:ln>
          </p:spPr>
          <p:txBody>
            <a:bodyPr rtlCol="0" anchor="ctr"/>
            <a:lstStyle/>
            <a:p>
              <a:endParaRPr lang="pt-BR" noProof="0"/>
            </a:p>
          </p:txBody>
        </p:sp>
        <p:sp>
          <p:nvSpPr>
            <p:cNvPr id="20" name="Freeform: Shape 19">
              <a:extLst>
                <a:ext uri="{FF2B5EF4-FFF2-40B4-BE49-F238E27FC236}">
                  <a16:creationId xmlns:a16="http://schemas.microsoft.com/office/drawing/2014/main" id="{D73F46A7-9304-DC17-6480-BFE1C33292C1}"/>
                </a:ext>
              </a:extLst>
            </p:cNvPr>
            <p:cNvSpPr/>
            <p:nvPr/>
          </p:nvSpPr>
          <p:spPr>
            <a:xfrm>
              <a:off x="6460217" y="313094"/>
              <a:ext cx="238459" cy="313788"/>
            </a:xfrm>
            <a:custGeom>
              <a:avLst/>
              <a:gdLst>
                <a:gd name="connsiteX0" fmla="*/ 95 w 948594"/>
                <a:gd name="connsiteY0" fmla="*/ 0 h 1248251"/>
                <a:gd name="connsiteX1" fmla="*/ 939737 w 948594"/>
                <a:gd name="connsiteY1" fmla="*/ 0 h 1248251"/>
                <a:gd name="connsiteX2" fmla="*/ 939737 w 948594"/>
                <a:gd name="connsiteY2" fmla="*/ 244316 h 1248251"/>
                <a:gd name="connsiteX3" fmla="*/ 271081 w 948594"/>
                <a:gd name="connsiteY3" fmla="*/ 244316 h 1248251"/>
                <a:gd name="connsiteX4" fmla="*/ 271081 w 948594"/>
                <a:gd name="connsiteY4" fmla="*/ 497491 h 1248251"/>
                <a:gd name="connsiteX5" fmla="*/ 859441 w 948594"/>
                <a:gd name="connsiteY5" fmla="*/ 497491 h 1248251"/>
                <a:gd name="connsiteX6" fmla="*/ 859441 w 948594"/>
                <a:gd name="connsiteY6" fmla="*/ 741807 h 1248251"/>
                <a:gd name="connsiteX7" fmla="*/ 271081 w 948594"/>
                <a:gd name="connsiteY7" fmla="*/ 741807 h 1248251"/>
                <a:gd name="connsiteX8" fmla="*/ 271081 w 948594"/>
                <a:gd name="connsiteY8" fmla="*/ 1003935 h 1248251"/>
                <a:gd name="connsiteX9" fmla="*/ 948595 w 948594"/>
                <a:gd name="connsiteY9" fmla="*/ 1003935 h 1248251"/>
                <a:gd name="connsiteX10" fmla="*/ 948595 w 948594"/>
                <a:gd name="connsiteY10" fmla="*/ 1248251 h 1248251"/>
                <a:gd name="connsiteX11" fmla="*/ 0 w 948594"/>
                <a:gd name="connsiteY11" fmla="*/ 1248251 h 1248251"/>
                <a:gd name="connsiteX12" fmla="*/ 0 w 948594"/>
                <a:gd name="connsiteY12" fmla="*/ 0 h 124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594" h="1248251">
                  <a:moveTo>
                    <a:pt x="95" y="0"/>
                  </a:moveTo>
                  <a:lnTo>
                    <a:pt x="939737" y="0"/>
                  </a:lnTo>
                  <a:lnTo>
                    <a:pt x="939737" y="244316"/>
                  </a:lnTo>
                  <a:lnTo>
                    <a:pt x="271081" y="244316"/>
                  </a:lnTo>
                  <a:lnTo>
                    <a:pt x="271081" y="497491"/>
                  </a:lnTo>
                  <a:lnTo>
                    <a:pt x="859441" y="497491"/>
                  </a:lnTo>
                  <a:lnTo>
                    <a:pt x="859441" y="741807"/>
                  </a:lnTo>
                  <a:lnTo>
                    <a:pt x="271081" y="741807"/>
                  </a:lnTo>
                  <a:lnTo>
                    <a:pt x="271081" y="1003935"/>
                  </a:lnTo>
                  <a:lnTo>
                    <a:pt x="948595" y="1003935"/>
                  </a:lnTo>
                  <a:lnTo>
                    <a:pt x="948595" y="1248251"/>
                  </a:lnTo>
                  <a:lnTo>
                    <a:pt x="0" y="1248251"/>
                  </a:lnTo>
                  <a:lnTo>
                    <a:pt x="0" y="0"/>
                  </a:lnTo>
                  <a:close/>
                </a:path>
              </a:pathLst>
            </a:custGeom>
            <a:solidFill>
              <a:srgbClr val="44505E"/>
            </a:solidFill>
            <a:ln w="9525" cap="flat">
              <a:noFill/>
              <a:prstDash val="solid"/>
              <a:miter/>
            </a:ln>
          </p:spPr>
          <p:txBody>
            <a:bodyPr rtlCol="0" anchor="ctr"/>
            <a:lstStyle/>
            <a:p>
              <a:endParaRPr lang="pt-BR" noProof="0"/>
            </a:p>
          </p:txBody>
        </p:sp>
        <p:sp>
          <p:nvSpPr>
            <p:cNvPr id="21" name="Freeform: Shape 20">
              <a:extLst>
                <a:ext uri="{FF2B5EF4-FFF2-40B4-BE49-F238E27FC236}">
                  <a16:creationId xmlns:a16="http://schemas.microsoft.com/office/drawing/2014/main" id="{6946F625-1B5F-A385-E870-BB7AEEEDF5A5}"/>
                </a:ext>
              </a:extLst>
            </p:cNvPr>
            <p:cNvSpPr/>
            <p:nvPr/>
          </p:nvSpPr>
          <p:spPr>
            <a:xfrm>
              <a:off x="5253193" y="699983"/>
              <a:ext cx="90796" cy="97883"/>
            </a:xfrm>
            <a:custGeom>
              <a:avLst/>
              <a:gdLst>
                <a:gd name="connsiteX0" fmla="*/ 191548 w 361187"/>
                <a:gd name="connsiteY0" fmla="*/ 389382 h 389381"/>
                <a:gd name="connsiteX1" fmla="*/ 116300 w 361187"/>
                <a:gd name="connsiteY1" fmla="*/ 375285 h 389381"/>
                <a:gd name="connsiteX2" fmla="*/ 55531 w 361187"/>
                <a:gd name="connsiteY2" fmla="*/ 335756 h 389381"/>
                <a:gd name="connsiteX3" fmla="*/ 14859 w 361187"/>
                <a:gd name="connsiteY3" fmla="*/ 274606 h 389381"/>
                <a:gd name="connsiteX4" fmla="*/ 0 w 361187"/>
                <a:gd name="connsiteY4" fmla="*/ 195834 h 389381"/>
                <a:gd name="connsiteX5" fmla="*/ 0 w 361187"/>
                <a:gd name="connsiteY5" fmla="*/ 194405 h 389381"/>
                <a:gd name="connsiteX6" fmla="*/ 13430 w 361187"/>
                <a:gd name="connsiteY6" fmla="*/ 118777 h 389381"/>
                <a:gd name="connsiteX7" fmla="*/ 51245 w 361187"/>
                <a:gd name="connsiteY7" fmla="*/ 56959 h 389381"/>
                <a:gd name="connsiteX8" fmla="*/ 108871 w 361187"/>
                <a:gd name="connsiteY8" fmla="*/ 15240 h 389381"/>
                <a:gd name="connsiteX9" fmla="*/ 182404 w 361187"/>
                <a:gd name="connsiteY9" fmla="*/ 0 h 389381"/>
                <a:gd name="connsiteX10" fmla="*/ 260509 w 361187"/>
                <a:gd name="connsiteY10" fmla="*/ 16288 h 389381"/>
                <a:gd name="connsiteX11" fmla="*/ 316325 w 361187"/>
                <a:gd name="connsiteY11" fmla="*/ 60103 h 389381"/>
                <a:gd name="connsiteX12" fmla="*/ 349853 w 361187"/>
                <a:gd name="connsiteY12" fmla="*/ 124015 h 389381"/>
                <a:gd name="connsiteX13" fmla="*/ 361188 w 361187"/>
                <a:gd name="connsiteY13" fmla="*/ 200692 h 389381"/>
                <a:gd name="connsiteX14" fmla="*/ 360807 w 361187"/>
                <a:gd name="connsiteY14" fmla="*/ 212312 h 389381"/>
                <a:gd name="connsiteX15" fmla="*/ 359759 w 361187"/>
                <a:gd name="connsiteY15" fmla="*/ 224695 h 389381"/>
                <a:gd name="connsiteX16" fmla="*/ 85534 w 361187"/>
                <a:gd name="connsiteY16" fmla="*/ 224695 h 389381"/>
                <a:gd name="connsiteX17" fmla="*/ 121920 w 361187"/>
                <a:gd name="connsiteY17" fmla="*/ 294989 h 389381"/>
                <a:gd name="connsiteX18" fmla="*/ 192977 w 361187"/>
                <a:gd name="connsiteY18" fmla="*/ 319373 h 389381"/>
                <a:gd name="connsiteX19" fmla="*/ 248126 w 361187"/>
                <a:gd name="connsiteY19" fmla="*/ 308038 h 389381"/>
                <a:gd name="connsiteX20" fmla="*/ 294037 w 361187"/>
                <a:gd name="connsiteY20" fmla="*/ 274796 h 389381"/>
                <a:gd name="connsiteX21" fmla="*/ 344234 w 361187"/>
                <a:gd name="connsiteY21" fmla="*/ 319278 h 389381"/>
                <a:gd name="connsiteX22" fmla="*/ 280226 w 361187"/>
                <a:gd name="connsiteY22" fmla="*/ 370141 h 389381"/>
                <a:gd name="connsiteX23" fmla="*/ 191548 w 361187"/>
                <a:gd name="connsiteY23" fmla="*/ 389191 h 389381"/>
                <a:gd name="connsiteX24" fmla="*/ 276320 w 361187"/>
                <a:gd name="connsiteY24" fmla="*/ 168211 h 389381"/>
                <a:gd name="connsiteX25" fmla="*/ 267176 w 361187"/>
                <a:gd name="connsiteY25" fmla="*/ 129730 h 389381"/>
                <a:gd name="connsiteX26" fmla="*/ 248126 w 361187"/>
                <a:gd name="connsiteY26" fmla="*/ 98679 h 389381"/>
                <a:gd name="connsiteX27" fmla="*/ 219551 w 361187"/>
                <a:gd name="connsiteY27" fmla="*/ 77819 h 389381"/>
                <a:gd name="connsiteX28" fmla="*/ 181737 w 361187"/>
                <a:gd name="connsiteY28" fmla="*/ 70009 h 389381"/>
                <a:gd name="connsiteX29" fmla="*/ 116396 w 361187"/>
                <a:gd name="connsiteY29" fmla="*/ 97250 h 389381"/>
                <a:gd name="connsiteX30" fmla="*/ 84963 w 361187"/>
                <a:gd name="connsiteY30" fmla="*/ 168307 h 389381"/>
                <a:gd name="connsiteX31" fmla="*/ 276511 w 361187"/>
                <a:gd name="connsiteY31" fmla="*/ 168307 h 38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187" h="389381">
                  <a:moveTo>
                    <a:pt x="191548" y="389382"/>
                  </a:moveTo>
                  <a:cubicBezTo>
                    <a:pt x="164687" y="389382"/>
                    <a:pt x="139637" y="384715"/>
                    <a:pt x="116300" y="375285"/>
                  </a:cubicBezTo>
                  <a:cubicBezTo>
                    <a:pt x="92964" y="365855"/>
                    <a:pt x="72771" y="352711"/>
                    <a:pt x="55531" y="335756"/>
                  </a:cubicBezTo>
                  <a:cubicBezTo>
                    <a:pt x="38291" y="318802"/>
                    <a:pt x="24765" y="298418"/>
                    <a:pt x="14859" y="274606"/>
                  </a:cubicBezTo>
                  <a:cubicBezTo>
                    <a:pt x="4953" y="250793"/>
                    <a:pt x="0" y="224599"/>
                    <a:pt x="0" y="195834"/>
                  </a:cubicBezTo>
                  <a:lnTo>
                    <a:pt x="0" y="194405"/>
                  </a:lnTo>
                  <a:cubicBezTo>
                    <a:pt x="0" y="167545"/>
                    <a:pt x="4477" y="142399"/>
                    <a:pt x="13430" y="118777"/>
                  </a:cubicBezTo>
                  <a:cubicBezTo>
                    <a:pt x="22384" y="95250"/>
                    <a:pt x="34957" y="74581"/>
                    <a:pt x="51245" y="56959"/>
                  </a:cubicBezTo>
                  <a:cubicBezTo>
                    <a:pt x="67532" y="39338"/>
                    <a:pt x="86677" y="25432"/>
                    <a:pt x="108871" y="15240"/>
                  </a:cubicBezTo>
                  <a:cubicBezTo>
                    <a:pt x="131064" y="5143"/>
                    <a:pt x="155543" y="0"/>
                    <a:pt x="182404" y="0"/>
                  </a:cubicBezTo>
                  <a:cubicBezTo>
                    <a:pt x="212122" y="0"/>
                    <a:pt x="238125" y="5429"/>
                    <a:pt x="260509" y="16288"/>
                  </a:cubicBezTo>
                  <a:cubicBezTo>
                    <a:pt x="282893" y="27146"/>
                    <a:pt x="301466" y="41719"/>
                    <a:pt x="316325" y="60103"/>
                  </a:cubicBezTo>
                  <a:cubicBezTo>
                    <a:pt x="331184" y="78486"/>
                    <a:pt x="342329" y="99822"/>
                    <a:pt x="349853" y="124015"/>
                  </a:cubicBezTo>
                  <a:cubicBezTo>
                    <a:pt x="357378" y="148304"/>
                    <a:pt x="361188" y="173831"/>
                    <a:pt x="361188" y="200692"/>
                  </a:cubicBezTo>
                  <a:cubicBezTo>
                    <a:pt x="361188" y="204502"/>
                    <a:pt x="361093" y="208312"/>
                    <a:pt x="360807" y="212312"/>
                  </a:cubicBezTo>
                  <a:cubicBezTo>
                    <a:pt x="360521" y="216313"/>
                    <a:pt x="360236" y="220409"/>
                    <a:pt x="359759" y="224695"/>
                  </a:cubicBezTo>
                  <a:lnTo>
                    <a:pt x="85534" y="224695"/>
                  </a:lnTo>
                  <a:cubicBezTo>
                    <a:pt x="90202" y="255365"/>
                    <a:pt x="102394" y="278797"/>
                    <a:pt x="121920" y="294989"/>
                  </a:cubicBezTo>
                  <a:cubicBezTo>
                    <a:pt x="141446" y="311277"/>
                    <a:pt x="165164" y="319373"/>
                    <a:pt x="192977" y="319373"/>
                  </a:cubicBezTo>
                  <a:cubicBezTo>
                    <a:pt x="214217" y="319373"/>
                    <a:pt x="232505" y="315563"/>
                    <a:pt x="248126" y="308038"/>
                  </a:cubicBezTo>
                  <a:cubicBezTo>
                    <a:pt x="263652" y="300514"/>
                    <a:pt x="278987" y="289465"/>
                    <a:pt x="294037" y="274796"/>
                  </a:cubicBezTo>
                  <a:lnTo>
                    <a:pt x="344234" y="319278"/>
                  </a:lnTo>
                  <a:cubicBezTo>
                    <a:pt x="326327" y="340519"/>
                    <a:pt x="304991" y="357473"/>
                    <a:pt x="280226" y="370141"/>
                  </a:cubicBezTo>
                  <a:cubicBezTo>
                    <a:pt x="255461" y="382810"/>
                    <a:pt x="225933" y="389191"/>
                    <a:pt x="191548" y="389191"/>
                  </a:cubicBezTo>
                  <a:close/>
                  <a:moveTo>
                    <a:pt x="276320" y="168211"/>
                  </a:moveTo>
                  <a:cubicBezTo>
                    <a:pt x="274892" y="154591"/>
                    <a:pt x="271844" y="141732"/>
                    <a:pt x="267176" y="129730"/>
                  </a:cubicBezTo>
                  <a:cubicBezTo>
                    <a:pt x="262414" y="117729"/>
                    <a:pt x="256127" y="107347"/>
                    <a:pt x="248126" y="98679"/>
                  </a:cubicBezTo>
                  <a:cubicBezTo>
                    <a:pt x="240125" y="89916"/>
                    <a:pt x="230600" y="82963"/>
                    <a:pt x="219551" y="77819"/>
                  </a:cubicBezTo>
                  <a:cubicBezTo>
                    <a:pt x="208502" y="72676"/>
                    <a:pt x="195834" y="70009"/>
                    <a:pt x="181737" y="70009"/>
                  </a:cubicBezTo>
                  <a:cubicBezTo>
                    <a:pt x="155353" y="70009"/>
                    <a:pt x="133541" y="79057"/>
                    <a:pt x="116396" y="97250"/>
                  </a:cubicBezTo>
                  <a:cubicBezTo>
                    <a:pt x="99155" y="115348"/>
                    <a:pt x="88678" y="139065"/>
                    <a:pt x="84963" y="168307"/>
                  </a:cubicBezTo>
                  <a:lnTo>
                    <a:pt x="276511" y="168307"/>
                  </a:lnTo>
                  <a:close/>
                </a:path>
              </a:pathLst>
            </a:custGeom>
            <a:solidFill>
              <a:srgbClr val="44505E"/>
            </a:solidFill>
            <a:ln w="9525" cap="flat">
              <a:noFill/>
              <a:prstDash val="solid"/>
              <a:miter/>
            </a:ln>
          </p:spPr>
          <p:txBody>
            <a:bodyPr rtlCol="0" anchor="ctr"/>
            <a:lstStyle/>
            <a:p>
              <a:endParaRPr lang="pt-BR" noProof="0"/>
            </a:p>
          </p:txBody>
        </p:sp>
        <p:sp>
          <p:nvSpPr>
            <p:cNvPr id="22" name="Freeform: Shape 21">
              <a:extLst>
                <a:ext uri="{FF2B5EF4-FFF2-40B4-BE49-F238E27FC236}">
                  <a16:creationId xmlns:a16="http://schemas.microsoft.com/office/drawing/2014/main" id="{82D32145-3D76-AB1C-6E44-64AE885BB2F4}"/>
                </a:ext>
              </a:extLst>
            </p:cNvPr>
            <p:cNvSpPr/>
            <p:nvPr/>
          </p:nvSpPr>
          <p:spPr>
            <a:xfrm>
              <a:off x="5365659"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5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8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3 w 568166"/>
                <a:gd name="connsiteY21" fmla="*/ 381000 h 381000"/>
                <a:gd name="connsiteX22" fmla="*/ 240983 w 568166"/>
                <a:gd name="connsiteY22" fmla="*/ 168783 h 381000"/>
                <a:gd name="connsiteX23" fmla="*/ 221266 w 568166"/>
                <a:gd name="connsiteY23" fmla="*/ 101822 h 381000"/>
                <a:gd name="connsiteX24" fmla="*/ 165640 w 568166"/>
                <a:gd name="connsiteY24" fmla="*/ 78581 h 381000"/>
                <a:gd name="connsiteX25" fmla="*/ 108014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70" y="48196"/>
                    <a:pt x="105918" y="40576"/>
                  </a:cubicBezTo>
                  <a:cubicBezTo>
                    <a:pt x="112967" y="32956"/>
                    <a:pt x="121063" y="26099"/>
                    <a:pt x="130207" y="19907"/>
                  </a:cubicBezTo>
                  <a:cubicBezTo>
                    <a:pt x="139351" y="13716"/>
                    <a:pt x="149733" y="8858"/>
                    <a:pt x="161163" y="5334"/>
                  </a:cubicBezTo>
                  <a:cubicBezTo>
                    <a:pt x="172688" y="1714"/>
                    <a:pt x="185452" y="0"/>
                    <a:pt x="199549" y="0"/>
                  </a:cubicBezTo>
                  <a:cubicBezTo>
                    <a:pt x="226314" y="0"/>
                    <a:pt x="248984" y="6096"/>
                    <a:pt x="267557" y="18193"/>
                  </a:cubicBezTo>
                  <a:cubicBezTo>
                    <a:pt x="286131" y="30289"/>
                    <a:pt x="300323" y="46387"/>
                    <a:pt x="310134" y="66294"/>
                  </a:cubicBezTo>
                  <a:cubicBezTo>
                    <a:pt x="325279" y="46387"/>
                    <a:pt x="343091" y="30289"/>
                    <a:pt x="363665" y="18193"/>
                  </a:cubicBezTo>
                  <a:cubicBezTo>
                    <a:pt x="384239" y="6096"/>
                    <a:pt x="408718" y="0"/>
                    <a:pt x="437007" y="0"/>
                  </a:cubicBezTo>
                  <a:cubicBezTo>
                    <a:pt x="478060"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8" y="78486"/>
                  </a:cubicBezTo>
                  <a:cubicBezTo>
                    <a:pt x="382810" y="78486"/>
                    <a:pt x="364141" y="86392"/>
                    <a:pt x="349377" y="102108"/>
                  </a:cubicBezTo>
                  <a:cubicBezTo>
                    <a:pt x="334613" y="117824"/>
                    <a:pt x="327184" y="140779"/>
                    <a:pt x="327184" y="170879"/>
                  </a:cubicBezTo>
                  <a:lnTo>
                    <a:pt x="327184" y="381000"/>
                  </a:lnTo>
                  <a:lnTo>
                    <a:pt x="240983" y="381000"/>
                  </a:lnTo>
                  <a:lnTo>
                    <a:pt x="240983" y="168783"/>
                  </a:lnTo>
                  <a:cubicBezTo>
                    <a:pt x="240983" y="139637"/>
                    <a:pt x="234410" y="117348"/>
                    <a:pt x="221266" y="101822"/>
                  </a:cubicBezTo>
                  <a:cubicBezTo>
                    <a:pt x="208121" y="86296"/>
                    <a:pt x="189643" y="78581"/>
                    <a:pt x="165640" y="78581"/>
                  </a:cubicBezTo>
                  <a:cubicBezTo>
                    <a:pt x="141637" y="78581"/>
                    <a:pt x="122492" y="86773"/>
                    <a:pt x="108014"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23" name="Freeform: Shape 22">
              <a:extLst>
                <a:ext uri="{FF2B5EF4-FFF2-40B4-BE49-F238E27FC236}">
                  <a16:creationId xmlns:a16="http://schemas.microsoft.com/office/drawing/2014/main" id="{1C5AA2CB-A072-6530-EE42-01EB951697B9}"/>
                </a:ext>
              </a:extLst>
            </p:cNvPr>
            <p:cNvSpPr/>
            <p:nvPr/>
          </p:nvSpPr>
          <p:spPr>
            <a:xfrm>
              <a:off x="5587693" y="700007"/>
              <a:ext cx="84211" cy="95752"/>
            </a:xfrm>
            <a:custGeom>
              <a:avLst/>
              <a:gdLst>
                <a:gd name="connsiteX0" fmla="*/ 95 w 334994"/>
                <a:gd name="connsiteY0" fmla="*/ 7715 h 380904"/>
                <a:gd name="connsiteX1" fmla="*/ 86296 w 334994"/>
                <a:gd name="connsiteY1" fmla="*/ 7715 h 380904"/>
                <a:gd name="connsiteX2" fmla="*/ 86296 w 334994"/>
                <a:gd name="connsiteY2" fmla="*/ 66294 h 380904"/>
                <a:gd name="connsiteX3" fmla="*/ 106394 w 334994"/>
                <a:gd name="connsiteY3" fmla="*/ 40958 h 380904"/>
                <a:gd name="connsiteX4" fmla="*/ 131731 w 334994"/>
                <a:gd name="connsiteY4" fmla="*/ 19907 h 380904"/>
                <a:gd name="connsiteX5" fmla="*/ 163449 w 334994"/>
                <a:gd name="connsiteY5" fmla="*/ 5334 h 380904"/>
                <a:gd name="connsiteX6" fmla="*/ 202597 w 334994"/>
                <a:gd name="connsiteY6" fmla="*/ 0 h 380904"/>
                <a:gd name="connsiteX7" fmla="*/ 300514 w 334994"/>
                <a:gd name="connsiteY7" fmla="*/ 38862 h 380904"/>
                <a:gd name="connsiteX8" fmla="*/ 334994 w 334994"/>
                <a:gd name="connsiteY8" fmla="*/ 143446 h 380904"/>
                <a:gd name="connsiteX9" fmla="*/ 334994 w 334994"/>
                <a:gd name="connsiteY9" fmla="*/ 380905 h 380904"/>
                <a:gd name="connsiteX10" fmla="*/ 248793 w 334994"/>
                <a:gd name="connsiteY10" fmla="*/ 380905 h 380904"/>
                <a:gd name="connsiteX11" fmla="*/ 248793 w 334994"/>
                <a:gd name="connsiteY11" fmla="*/ 169450 h 380904"/>
                <a:gd name="connsiteX12" fmla="*/ 228124 w 334994"/>
                <a:gd name="connsiteY12" fmla="*/ 102108 h 380904"/>
                <a:gd name="connsiteX13" fmla="*/ 169640 w 334994"/>
                <a:gd name="connsiteY13" fmla="*/ 78486 h 380904"/>
                <a:gd name="connsiteX14" fmla="*/ 109347 w 334994"/>
                <a:gd name="connsiteY14" fmla="*/ 102775 h 380904"/>
                <a:gd name="connsiteX15" fmla="*/ 86201 w 334994"/>
                <a:gd name="connsiteY15" fmla="*/ 170783 h 380904"/>
                <a:gd name="connsiteX16" fmla="*/ 86201 w 334994"/>
                <a:gd name="connsiteY16" fmla="*/ 380905 h 380904"/>
                <a:gd name="connsiteX17" fmla="*/ 0 w 334994"/>
                <a:gd name="connsiteY17" fmla="*/ 380905 h 380904"/>
                <a:gd name="connsiteX18" fmla="*/ 0 w 334994"/>
                <a:gd name="connsiteY18" fmla="*/ 7810 h 38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94" h="380904">
                  <a:moveTo>
                    <a:pt x="95" y="7715"/>
                  </a:moveTo>
                  <a:lnTo>
                    <a:pt x="86296" y="7715"/>
                  </a:lnTo>
                  <a:lnTo>
                    <a:pt x="86296" y="66294"/>
                  </a:lnTo>
                  <a:cubicBezTo>
                    <a:pt x="92392" y="57245"/>
                    <a:pt x="99060" y="48863"/>
                    <a:pt x="106394" y="40958"/>
                  </a:cubicBezTo>
                  <a:cubicBezTo>
                    <a:pt x="113633" y="33147"/>
                    <a:pt x="122110" y="26099"/>
                    <a:pt x="131731" y="19907"/>
                  </a:cubicBezTo>
                  <a:cubicBezTo>
                    <a:pt x="141351" y="13716"/>
                    <a:pt x="151924" y="8858"/>
                    <a:pt x="163449" y="5334"/>
                  </a:cubicBezTo>
                  <a:cubicBezTo>
                    <a:pt x="174974" y="1714"/>
                    <a:pt x="188024" y="0"/>
                    <a:pt x="202597" y="0"/>
                  </a:cubicBezTo>
                  <a:cubicBezTo>
                    <a:pt x="244888" y="0"/>
                    <a:pt x="277559" y="12954"/>
                    <a:pt x="300514" y="38862"/>
                  </a:cubicBezTo>
                  <a:cubicBezTo>
                    <a:pt x="323564" y="64770"/>
                    <a:pt x="334994" y="99631"/>
                    <a:pt x="334994" y="143446"/>
                  </a:cubicBezTo>
                  <a:lnTo>
                    <a:pt x="334994" y="380905"/>
                  </a:lnTo>
                  <a:lnTo>
                    <a:pt x="248793" y="380905"/>
                  </a:lnTo>
                  <a:lnTo>
                    <a:pt x="248793" y="169450"/>
                  </a:lnTo>
                  <a:cubicBezTo>
                    <a:pt x="248793" y="140303"/>
                    <a:pt x="241935" y="117824"/>
                    <a:pt x="228124" y="102108"/>
                  </a:cubicBezTo>
                  <a:cubicBezTo>
                    <a:pt x="214313" y="86392"/>
                    <a:pt x="194881" y="78486"/>
                    <a:pt x="169640" y="78486"/>
                  </a:cubicBezTo>
                  <a:cubicBezTo>
                    <a:pt x="144399" y="78486"/>
                    <a:pt x="124777" y="86582"/>
                    <a:pt x="109347" y="102775"/>
                  </a:cubicBezTo>
                  <a:cubicBezTo>
                    <a:pt x="93917" y="118967"/>
                    <a:pt x="86201" y="141637"/>
                    <a:pt x="86201" y="170783"/>
                  </a:cubicBezTo>
                  <a:lnTo>
                    <a:pt x="86201" y="380905"/>
                  </a:lnTo>
                  <a:lnTo>
                    <a:pt x="0" y="380905"/>
                  </a:lnTo>
                  <a:lnTo>
                    <a:pt x="0" y="7810"/>
                  </a:lnTo>
                  <a:close/>
                </a:path>
              </a:pathLst>
            </a:custGeom>
            <a:solidFill>
              <a:srgbClr val="44505E"/>
            </a:solidFill>
            <a:ln w="9525" cap="flat">
              <a:noFill/>
              <a:prstDash val="solid"/>
              <a:miter/>
            </a:ln>
          </p:spPr>
          <p:txBody>
            <a:bodyPr rtlCol="0" anchor="ctr"/>
            <a:lstStyle/>
            <a:p>
              <a:endParaRPr lang="pt-BR" noProof="0"/>
            </a:p>
          </p:txBody>
        </p:sp>
        <p:sp>
          <p:nvSpPr>
            <p:cNvPr id="24" name="Freeform: Shape 23">
              <a:extLst>
                <a:ext uri="{FF2B5EF4-FFF2-40B4-BE49-F238E27FC236}">
                  <a16:creationId xmlns:a16="http://schemas.microsoft.com/office/drawing/2014/main" id="{75DF0F6D-DF62-76C4-C5C6-061E03C1AE86}"/>
                </a:ext>
              </a:extLst>
            </p:cNvPr>
            <p:cNvSpPr/>
            <p:nvPr/>
          </p:nvSpPr>
          <p:spPr>
            <a:xfrm>
              <a:off x="5692712" y="699959"/>
              <a:ext cx="100015" cy="97908"/>
            </a:xfrm>
            <a:custGeom>
              <a:avLst/>
              <a:gdLst>
                <a:gd name="connsiteX0" fmla="*/ 197834 w 397859"/>
                <a:gd name="connsiteY0" fmla="*/ 389477 h 389477"/>
                <a:gd name="connsiteX1" fmla="*/ 119063 w 397859"/>
                <a:gd name="connsiteY1" fmla="*/ 374237 h 389477"/>
                <a:gd name="connsiteX2" fmla="*/ 56197 w 397859"/>
                <a:gd name="connsiteY2" fmla="*/ 332899 h 389477"/>
                <a:gd name="connsiteX3" fmla="*/ 14859 w 397859"/>
                <a:gd name="connsiteY3" fmla="*/ 271463 h 389477"/>
                <a:gd name="connsiteX4" fmla="*/ 0 w 397859"/>
                <a:gd name="connsiteY4" fmla="*/ 196501 h 389477"/>
                <a:gd name="connsiteX5" fmla="*/ 0 w 397859"/>
                <a:gd name="connsiteY5" fmla="*/ 195072 h 389477"/>
                <a:gd name="connsiteX6" fmla="*/ 15145 w 397859"/>
                <a:gd name="connsiteY6" fmla="*/ 119444 h 389477"/>
                <a:gd name="connsiteX7" fmla="*/ 56864 w 397859"/>
                <a:gd name="connsiteY7" fmla="*/ 57626 h 389477"/>
                <a:gd name="connsiteX8" fmla="*/ 119729 w 397859"/>
                <a:gd name="connsiteY8" fmla="*/ 15526 h 389477"/>
                <a:gd name="connsiteX9" fmla="*/ 199263 w 397859"/>
                <a:gd name="connsiteY9" fmla="*/ 0 h 389477"/>
                <a:gd name="connsiteX10" fmla="*/ 278797 w 397859"/>
                <a:gd name="connsiteY10" fmla="*/ 15240 h 389477"/>
                <a:gd name="connsiteX11" fmla="*/ 341662 w 397859"/>
                <a:gd name="connsiteY11" fmla="*/ 56959 h 389477"/>
                <a:gd name="connsiteX12" fmla="*/ 383000 w 397859"/>
                <a:gd name="connsiteY12" fmla="*/ 118396 h 389477"/>
                <a:gd name="connsiteX13" fmla="*/ 397859 w 397859"/>
                <a:gd name="connsiteY13" fmla="*/ 193643 h 389477"/>
                <a:gd name="connsiteX14" fmla="*/ 397859 w 397859"/>
                <a:gd name="connsiteY14" fmla="*/ 195072 h 389477"/>
                <a:gd name="connsiteX15" fmla="*/ 382619 w 397859"/>
                <a:gd name="connsiteY15" fmla="*/ 270034 h 389477"/>
                <a:gd name="connsiteX16" fmla="*/ 340900 w 397859"/>
                <a:gd name="connsiteY16" fmla="*/ 331851 h 389477"/>
                <a:gd name="connsiteX17" fmla="*/ 277654 w 397859"/>
                <a:gd name="connsiteY17" fmla="*/ 373856 h 389477"/>
                <a:gd name="connsiteX18" fmla="*/ 197834 w 397859"/>
                <a:gd name="connsiteY18" fmla="*/ 389382 h 389477"/>
                <a:gd name="connsiteX19" fmla="*/ 199263 w 397859"/>
                <a:gd name="connsiteY19" fmla="*/ 315278 h 389477"/>
                <a:gd name="connsiteX20" fmla="*/ 245935 w 397859"/>
                <a:gd name="connsiteY20" fmla="*/ 305753 h 389477"/>
                <a:gd name="connsiteX21" fmla="*/ 281368 w 397859"/>
                <a:gd name="connsiteY21" fmla="*/ 279940 h 389477"/>
                <a:gd name="connsiteX22" fmla="*/ 303847 w 397859"/>
                <a:gd name="connsiteY22" fmla="*/ 242125 h 389477"/>
                <a:gd name="connsiteX23" fmla="*/ 311563 w 397859"/>
                <a:gd name="connsiteY23" fmla="*/ 196501 h 389477"/>
                <a:gd name="connsiteX24" fmla="*/ 311563 w 397859"/>
                <a:gd name="connsiteY24" fmla="*/ 195072 h 389477"/>
                <a:gd name="connsiteX25" fmla="*/ 303181 w 397859"/>
                <a:gd name="connsiteY25" fmla="*/ 148400 h 389477"/>
                <a:gd name="connsiteX26" fmla="*/ 279654 w 397859"/>
                <a:gd name="connsiteY26" fmla="*/ 110204 h 389477"/>
                <a:gd name="connsiteX27" fmla="*/ 243840 w 397859"/>
                <a:gd name="connsiteY27" fmla="*/ 84392 h 389477"/>
                <a:gd name="connsiteX28" fmla="*/ 197834 w 397859"/>
                <a:gd name="connsiteY28" fmla="*/ 74867 h 389477"/>
                <a:gd name="connsiteX29" fmla="*/ 151829 w 397859"/>
                <a:gd name="connsiteY29" fmla="*/ 84392 h 389477"/>
                <a:gd name="connsiteX30" fmla="*/ 116396 w 397859"/>
                <a:gd name="connsiteY30" fmla="*/ 109823 h 389477"/>
                <a:gd name="connsiteX31" fmla="*/ 93917 w 397859"/>
                <a:gd name="connsiteY31" fmla="*/ 147638 h 389477"/>
                <a:gd name="connsiteX32" fmla="*/ 86201 w 397859"/>
                <a:gd name="connsiteY32" fmla="*/ 193548 h 389477"/>
                <a:gd name="connsiteX33" fmla="*/ 86201 w 397859"/>
                <a:gd name="connsiteY33" fmla="*/ 194977 h 389477"/>
                <a:gd name="connsiteX34" fmla="*/ 94583 w 397859"/>
                <a:gd name="connsiteY34" fmla="*/ 241268 h 389477"/>
                <a:gd name="connsiteX35" fmla="*/ 118110 w 397859"/>
                <a:gd name="connsiteY35" fmla="*/ 279463 h 389477"/>
                <a:gd name="connsiteX36" fmla="*/ 153924 w 397859"/>
                <a:gd name="connsiteY36" fmla="*/ 305562 h 389477"/>
                <a:gd name="connsiteX37" fmla="*/ 199263 w 397859"/>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859" h="389477">
                  <a:moveTo>
                    <a:pt x="197834" y="389477"/>
                  </a:moveTo>
                  <a:cubicBezTo>
                    <a:pt x="169545" y="389477"/>
                    <a:pt x="143351" y="384429"/>
                    <a:pt x="119063" y="374237"/>
                  </a:cubicBezTo>
                  <a:cubicBezTo>
                    <a:pt x="94774" y="364141"/>
                    <a:pt x="73819" y="350330"/>
                    <a:pt x="56197" y="332899"/>
                  </a:cubicBezTo>
                  <a:cubicBezTo>
                    <a:pt x="38481" y="315468"/>
                    <a:pt x="24765" y="294989"/>
                    <a:pt x="14859" y="271463"/>
                  </a:cubicBezTo>
                  <a:cubicBezTo>
                    <a:pt x="4953" y="247936"/>
                    <a:pt x="0" y="222980"/>
                    <a:pt x="0" y="196501"/>
                  </a:cubicBezTo>
                  <a:lnTo>
                    <a:pt x="0" y="195072"/>
                  </a:lnTo>
                  <a:cubicBezTo>
                    <a:pt x="0" y="168212"/>
                    <a:pt x="5048" y="143066"/>
                    <a:pt x="15145" y="119444"/>
                  </a:cubicBezTo>
                  <a:cubicBezTo>
                    <a:pt x="25241" y="95917"/>
                    <a:pt x="39148" y="75248"/>
                    <a:pt x="56864" y="57626"/>
                  </a:cubicBezTo>
                  <a:cubicBezTo>
                    <a:pt x="74581" y="39910"/>
                    <a:pt x="95536" y="25908"/>
                    <a:pt x="119729" y="15526"/>
                  </a:cubicBezTo>
                  <a:cubicBezTo>
                    <a:pt x="144018" y="5144"/>
                    <a:pt x="170497" y="0"/>
                    <a:pt x="199263" y="0"/>
                  </a:cubicBezTo>
                  <a:cubicBezTo>
                    <a:pt x="228029" y="0"/>
                    <a:pt x="254508" y="5048"/>
                    <a:pt x="278797" y="15240"/>
                  </a:cubicBezTo>
                  <a:cubicBezTo>
                    <a:pt x="303085" y="25337"/>
                    <a:pt x="324041" y="39243"/>
                    <a:pt x="341662" y="56959"/>
                  </a:cubicBezTo>
                  <a:cubicBezTo>
                    <a:pt x="359378" y="74676"/>
                    <a:pt x="373094" y="95155"/>
                    <a:pt x="383000" y="118396"/>
                  </a:cubicBezTo>
                  <a:cubicBezTo>
                    <a:pt x="392906" y="141732"/>
                    <a:pt x="397859" y="166783"/>
                    <a:pt x="397859" y="193643"/>
                  </a:cubicBezTo>
                  <a:lnTo>
                    <a:pt x="397859" y="195072"/>
                  </a:lnTo>
                  <a:cubicBezTo>
                    <a:pt x="397859" y="221456"/>
                    <a:pt x="392811" y="246412"/>
                    <a:pt x="382619" y="270034"/>
                  </a:cubicBezTo>
                  <a:cubicBezTo>
                    <a:pt x="372523" y="293561"/>
                    <a:pt x="358616" y="314230"/>
                    <a:pt x="340900" y="331851"/>
                  </a:cubicBezTo>
                  <a:cubicBezTo>
                    <a:pt x="323183" y="349472"/>
                    <a:pt x="302133" y="363569"/>
                    <a:pt x="277654" y="373856"/>
                  </a:cubicBezTo>
                  <a:cubicBezTo>
                    <a:pt x="253175" y="384238"/>
                    <a:pt x="226504" y="389382"/>
                    <a:pt x="197834" y="389382"/>
                  </a:cubicBezTo>
                  <a:close/>
                  <a:moveTo>
                    <a:pt x="199263" y="315278"/>
                  </a:moveTo>
                  <a:cubicBezTo>
                    <a:pt x="216598" y="315278"/>
                    <a:pt x="232124" y="312039"/>
                    <a:pt x="245935" y="305753"/>
                  </a:cubicBezTo>
                  <a:cubicBezTo>
                    <a:pt x="259747" y="299371"/>
                    <a:pt x="271558" y="290798"/>
                    <a:pt x="281368" y="279940"/>
                  </a:cubicBezTo>
                  <a:cubicBezTo>
                    <a:pt x="291179" y="269081"/>
                    <a:pt x="298704" y="256508"/>
                    <a:pt x="303847" y="242125"/>
                  </a:cubicBezTo>
                  <a:cubicBezTo>
                    <a:pt x="308991" y="227743"/>
                    <a:pt x="311563" y="212598"/>
                    <a:pt x="311563" y="196501"/>
                  </a:cubicBezTo>
                  <a:lnTo>
                    <a:pt x="311563" y="195072"/>
                  </a:lnTo>
                  <a:cubicBezTo>
                    <a:pt x="311563" y="178594"/>
                    <a:pt x="308800" y="163068"/>
                    <a:pt x="303181" y="148400"/>
                  </a:cubicBezTo>
                  <a:cubicBezTo>
                    <a:pt x="297561" y="133826"/>
                    <a:pt x="289750" y="121063"/>
                    <a:pt x="279654" y="110204"/>
                  </a:cubicBezTo>
                  <a:cubicBezTo>
                    <a:pt x="269558" y="99346"/>
                    <a:pt x="257651" y="90773"/>
                    <a:pt x="243840" y="84392"/>
                  </a:cubicBezTo>
                  <a:cubicBezTo>
                    <a:pt x="230029" y="78010"/>
                    <a:pt x="214693" y="74867"/>
                    <a:pt x="197834" y="74867"/>
                  </a:cubicBezTo>
                  <a:cubicBezTo>
                    <a:pt x="180975" y="74867"/>
                    <a:pt x="165640" y="78010"/>
                    <a:pt x="151829" y="84392"/>
                  </a:cubicBezTo>
                  <a:cubicBezTo>
                    <a:pt x="138017" y="90773"/>
                    <a:pt x="126206" y="99250"/>
                    <a:pt x="116396" y="109823"/>
                  </a:cubicBezTo>
                  <a:cubicBezTo>
                    <a:pt x="106585" y="120396"/>
                    <a:pt x="99060" y="133064"/>
                    <a:pt x="93917" y="147638"/>
                  </a:cubicBezTo>
                  <a:cubicBezTo>
                    <a:pt x="88773" y="162211"/>
                    <a:pt x="86201" y="177546"/>
                    <a:pt x="86201" y="193548"/>
                  </a:cubicBezTo>
                  <a:lnTo>
                    <a:pt x="86201" y="194977"/>
                  </a:lnTo>
                  <a:cubicBezTo>
                    <a:pt x="86201" y="211455"/>
                    <a:pt x="88963" y="226886"/>
                    <a:pt x="94583" y="241268"/>
                  </a:cubicBezTo>
                  <a:cubicBezTo>
                    <a:pt x="100203" y="255651"/>
                    <a:pt x="108013" y="268319"/>
                    <a:pt x="118110" y="279463"/>
                  </a:cubicBezTo>
                  <a:cubicBezTo>
                    <a:pt x="128206" y="290513"/>
                    <a:pt x="140113" y="299275"/>
                    <a:pt x="153924" y="305562"/>
                  </a:cubicBezTo>
                  <a:cubicBezTo>
                    <a:pt x="167735" y="311944"/>
                    <a:pt x="182880"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25" name="Freeform: Shape 24">
              <a:extLst>
                <a:ext uri="{FF2B5EF4-FFF2-40B4-BE49-F238E27FC236}">
                  <a16:creationId xmlns:a16="http://schemas.microsoft.com/office/drawing/2014/main" id="{5ABECB0E-867B-23EE-611F-D47BC967FBDC}"/>
                </a:ext>
              </a:extLst>
            </p:cNvPr>
            <p:cNvSpPr/>
            <p:nvPr/>
          </p:nvSpPr>
          <p:spPr>
            <a:xfrm>
              <a:off x="5806925"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2 w 296894"/>
                <a:gd name="connsiteY36" fmla="*/ 224980 h 386714"/>
                <a:gd name="connsiteX37" fmla="*/ 296894 w 296894"/>
                <a:gd name="connsiteY37" fmla="*/ 267938 h 386714"/>
                <a:gd name="connsiteX38" fmla="*/ 296894 w 296894"/>
                <a:gd name="connsiteY38" fmla="*/ 269367 h 386714"/>
                <a:gd name="connsiteX39" fmla="*/ 286322 w 296894"/>
                <a:gd name="connsiteY39" fmla="*/ 320897 h 386714"/>
                <a:gd name="connsiteX40" fmla="*/ 256984 w 296894"/>
                <a:gd name="connsiteY40" fmla="*/ 357188 h 386714"/>
                <a:gd name="connsiteX41" fmla="*/ 212789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8" y="298704"/>
                    <a:pt x="100013" y="306514"/>
                  </a:cubicBezTo>
                  <a:cubicBezTo>
                    <a:pt x="120967" y="314325"/>
                    <a:pt x="141161" y="318135"/>
                    <a:pt x="160401" y="318135"/>
                  </a:cubicBezTo>
                  <a:cubicBezTo>
                    <a:pt x="179642" y="318135"/>
                    <a:pt x="192976"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2" y="241078"/>
                    <a:pt x="176498" y="237553"/>
                    <a:pt x="166402" y="234220"/>
                  </a:cubicBezTo>
                  <a:cubicBezTo>
                    <a:pt x="156305" y="230886"/>
                    <a:pt x="145733" y="227647"/>
                    <a:pt x="134969" y="224314"/>
                  </a:cubicBezTo>
                  <a:cubicBezTo>
                    <a:pt x="121253" y="220599"/>
                    <a:pt x="107537" y="216122"/>
                    <a:pt x="93631" y="210884"/>
                  </a:cubicBezTo>
                  <a:cubicBezTo>
                    <a:pt x="79724" y="205740"/>
                    <a:pt x="67246" y="198977"/>
                    <a:pt x="56197" y="190786"/>
                  </a:cubicBezTo>
                  <a:cubicBezTo>
                    <a:pt x="45149" y="182594"/>
                    <a:pt x="36100" y="172307"/>
                    <a:pt x="28956" y="160115"/>
                  </a:cubicBezTo>
                  <a:cubicBezTo>
                    <a:pt x="21908"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5"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7" y="156210"/>
                    <a:pt x="180975" y="159448"/>
                  </a:cubicBezTo>
                  <a:cubicBezTo>
                    <a:pt x="194596" y="163639"/>
                    <a:pt x="208312" y="168592"/>
                    <a:pt x="222028" y="174212"/>
                  </a:cubicBezTo>
                  <a:cubicBezTo>
                    <a:pt x="235649" y="179832"/>
                    <a:pt x="248031" y="186785"/>
                    <a:pt x="259080" y="194977"/>
                  </a:cubicBezTo>
                  <a:cubicBezTo>
                    <a:pt x="270129" y="203168"/>
                    <a:pt x="279273" y="213169"/>
                    <a:pt x="286322" y="224980"/>
                  </a:cubicBezTo>
                  <a:cubicBezTo>
                    <a:pt x="293370" y="236696"/>
                    <a:pt x="296894" y="251079"/>
                    <a:pt x="296894" y="267938"/>
                  </a:cubicBezTo>
                  <a:lnTo>
                    <a:pt x="296894" y="269367"/>
                  </a:lnTo>
                  <a:cubicBezTo>
                    <a:pt x="296894" y="289084"/>
                    <a:pt x="293370" y="306229"/>
                    <a:pt x="286322" y="320897"/>
                  </a:cubicBezTo>
                  <a:cubicBezTo>
                    <a:pt x="279273" y="335470"/>
                    <a:pt x="269462" y="347567"/>
                    <a:pt x="256984" y="357188"/>
                  </a:cubicBezTo>
                  <a:cubicBezTo>
                    <a:pt x="244507" y="366808"/>
                    <a:pt x="229743" y="374142"/>
                    <a:pt x="212789"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6" name="Freeform: Shape 25">
              <a:extLst>
                <a:ext uri="{FF2B5EF4-FFF2-40B4-BE49-F238E27FC236}">
                  <a16:creationId xmlns:a16="http://schemas.microsoft.com/office/drawing/2014/main" id="{13E3A888-8134-8F26-024E-56658FAE3B76}"/>
                </a:ext>
              </a:extLst>
            </p:cNvPr>
            <p:cNvSpPr/>
            <p:nvPr/>
          </p:nvSpPr>
          <p:spPr>
            <a:xfrm>
              <a:off x="589573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6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160" y="318135"/>
                    <a:pt x="160401" y="318135"/>
                  </a:cubicBezTo>
                  <a:cubicBezTo>
                    <a:pt x="179641" y="318135"/>
                    <a:pt x="192976"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4"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792"/>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7" name="Freeform: Shape 26">
              <a:extLst>
                <a:ext uri="{FF2B5EF4-FFF2-40B4-BE49-F238E27FC236}">
                  <a16:creationId xmlns:a16="http://schemas.microsoft.com/office/drawing/2014/main" id="{B6382948-55A6-1769-E497-B00C520C10C6}"/>
                </a:ext>
              </a:extLst>
            </p:cNvPr>
            <p:cNvSpPr/>
            <p:nvPr/>
          </p:nvSpPr>
          <p:spPr>
            <a:xfrm>
              <a:off x="5985812" y="700558"/>
              <a:ext cx="85097" cy="97141"/>
            </a:xfrm>
            <a:custGeom>
              <a:avLst/>
              <a:gdLst>
                <a:gd name="connsiteX0" fmla="*/ 253651 w 338518"/>
                <a:gd name="connsiteY0" fmla="*/ 378619 h 386429"/>
                <a:gd name="connsiteX1" fmla="*/ 253651 w 338518"/>
                <a:gd name="connsiteY1" fmla="*/ 332708 h 386429"/>
                <a:gd name="connsiteX2" fmla="*/ 204883 w 338518"/>
                <a:gd name="connsiteY2" fmla="*/ 370904 h 386429"/>
                <a:gd name="connsiteX3" fmla="*/ 132779 w 338518"/>
                <a:gd name="connsiteY3" fmla="*/ 386429 h 386429"/>
                <a:gd name="connsiteX4" fmla="*/ 81915 w 338518"/>
                <a:gd name="connsiteY4" fmla="*/ 379000 h 386429"/>
                <a:gd name="connsiteX5" fmla="*/ 39910 w 338518"/>
                <a:gd name="connsiteY5" fmla="*/ 357092 h 386429"/>
                <a:gd name="connsiteX6" fmla="*/ 10954 w 338518"/>
                <a:gd name="connsiteY6" fmla="*/ 321088 h 386429"/>
                <a:gd name="connsiteX7" fmla="*/ 0 w 338518"/>
                <a:gd name="connsiteY7" fmla="*/ 271272 h 386429"/>
                <a:gd name="connsiteX8" fmla="*/ 0 w 338518"/>
                <a:gd name="connsiteY8" fmla="*/ 269843 h 386429"/>
                <a:gd name="connsiteX9" fmla="*/ 11335 w 338518"/>
                <a:gd name="connsiteY9" fmla="*/ 215741 h 386429"/>
                <a:gd name="connsiteX10" fmla="*/ 42767 w 338518"/>
                <a:gd name="connsiteY10" fmla="*/ 177546 h 386429"/>
                <a:gd name="connsiteX11" fmla="*/ 90773 w 338518"/>
                <a:gd name="connsiteY11" fmla="*/ 154972 h 386429"/>
                <a:gd name="connsiteX12" fmla="*/ 151162 w 338518"/>
                <a:gd name="connsiteY12" fmla="*/ 147542 h 386429"/>
                <a:gd name="connsiteX13" fmla="*/ 208788 w 338518"/>
                <a:gd name="connsiteY13" fmla="*/ 151829 h 386429"/>
                <a:gd name="connsiteX14" fmla="*/ 254413 w 338518"/>
                <a:gd name="connsiteY14" fmla="*/ 163163 h 386429"/>
                <a:gd name="connsiteX15" fmla="*/ 254413 w 338518"/>
                <a:gd name="connsiteY15" fmla="*/ 156115 h 386429"/>
                <a:gd name="connsiteX16" fmla="*/ 230696 w 338518"/>
                <a:gd name="connsiteY16" fmla="*/ 96774 h 386429"/>
                <a:gd name="connsiteX17" fmla="*/ 162496 w 338518"/>
                <a:gd name="connsiteY17" fmla="*/ 76295 h 386429"/>
                <a:gd name="connsiteX18" fmla="*/ 106013 w 338518"/>
                <a:gd name="connsiteY18" fmla="*/ 82677 h 386429"/>
                <a:gd name="connsiteX19" fmla="*/ 55816 w 338518"/>
                <a:gd name="connsiteY19" fmla="*/ 99632 h 386429"/>
                <a:gd name="connsiteX20" fmla="*/ 32480 w 338518"/>
                <a:gd name="connsiteY20" fmla="*/ 31052 h 386429"/>
                <a:gd name="connsiteX21" fmla="*/ 96107 w 338518"/>
                <a:gd name="connsiteY21" fmla="*/ 8477 h 386429"/>
                <a:gd name="connsiteX22" fmla="*/ 174593 w 338518"/>
                <a:gd name="connsiteY22" fmla="*/ 0 h 386429"/>
                <a:gd name="connsiteX23" fmla="*/ 298228 w 338518"/>
                <a:gd name="connsiteY23" fmla="*/ 41338 h 386429"/>
                <a:gd name="connsiteX24" fmla="*/ 338519 w 338518"/>
                <a:gd name="connsiteY24" fmla="*/ 157544 h 386429"/>
                <a:gd name="connsiteX25" fmla="*/ 338519 w 338518"/>
                <a:gd name="connsiteY25" fmla="*/ 378714 h 386429"/>
                <a:gd name="connsiteX26" fmla="*/ 253746 w 338518"/>
                <a:gd name="connsiteY26" fmla="*/ 378714 h 386429"/>
                <a:gd name="connsiteX27" fmla="*/ 255746 w 338518"/>
                <a:gd name="connsiteY27" fmla="*/ 222409 h 386429"/>
                <a:gd name="connsiteX28" fmla="*/ 217265 w 338518"/>
                <a:gd name="connsiteY28" fmla="*/ 211836 h 386429"/>
                <a:gd name="connsiteX29" fmla="*/ 170307 w 338518"/>
                <a:gd name="connsiteY29" fmla="*/ 207550 h 386429"/>
                <a:gd name="connsiteX30" fmla="*/ 107442 w 338518"/>
                <a:gd name="connsiteY30" fmla="*/ 223075 h 386429"/>
                <a:gd name="connsiteX31" fmla="*/ 84868 w 338518"/>
                <a:gd name="connsiteY31" fmla="*/ 265462 h 386429"/>
                <a:gd name="connsiteX32" fmla="*/ 84868 w 338518"/>
                <a:gd name="connsiteY32" fmla="*/ 266891 h 386429"/>
                <a:gd name="connsiteX33" fmla="*/ 105728 w 338518"/>
                <a:gd name="connsiteY33" fmla="*/ 307848 h 386429"/>
                <a:gd name="connsiteX34" fmla="*/ 156972 w 338518"/>
                <a:gd name="connsiteY34" fmla="*/ 321945 h 386429"/>
                <a:gd name="connsiteX35" fmla="*/ 196215 w 338518"/>
                <a:gd name="connsiteY35" fmla="*/ 316325 h 386429"/>
                <a:gd name="connsiteX36" fmla="*/ 227647 w 338518"/>
                <a:gd name="connsiteY36" fmla="*/ 300419 h 386429"/>
                <a:gd name="connsiteX37" fmla="*/ 248507 w 338518"/>
                <a:gd name="connsiteY37" fmla="*/ 275654 h 386429"/>
                <a:gd name="connsiteX38" fmla="*/ 255937 w 338518"/>
                <a:gd name="connsiteY38" fmla="*/ 243459 h 386429"/>
                <a:gd name="connsiteX39" fmla="*/ 255937 w 338518"/>
                <a:gd name="connsiteY39" fmla="*/ 222218 h 3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8518" h="386429">
                  <a:moveTo>
                    <a:pt x="253651" y="378619"/>
                  </a:moveTo>
                  <a:lnTo>
                    <a:pt x="253651" y="332708"/>
                  </a:lnTo>
                  <a:cubicBezTo>
                    <a:pt x="240887" y="347758"/>
                    <a:pt x="224695" y="360521"/>
                    <a:pt x="204883" y="370904"/>
                  </a:cubicBezTo>
                  <a:cubicBezTo>
                    <a:pt x="185071" y="381286"/>
                    <a:pt x="161068" y="386429"/>
                    <a:pt x="132779" y="386429"/>
                  </a:cubicBezTo>
                  <a:cubicBezTo>
                    <a:pt x="114871" y="386429"/>
                    <a:pt x="97917" y="383953"/>
                    <a:pt x="81915" y="379000"/>
                  </a:cubicBezTo>
                  <a:cubicBezTo>
                    <a:pt x="65913" y="374047"/>
                    <a:pt x="51911" y="366713"/>
                    <a:pt x="39910" y="357092"/>
                  </a:cubicBezTo>
                  <a:cubicBezTo>
                    <a:pt x="27908" y="347472"/>
                    <a:pt x="18193" y="335471"/>
                    <a:pt x="10954" y="321088"/>
                  </a:cubicBezTo>
                  <a:cubicBezTo>
                    <a:pt x="3620" y="306705"/>
                    <a:pt x="0" y="290132"/>
                    <a:pt x="0" y="271272"/>
                  </a:cubicBezTo>
                  <a:lnTo>
                    <a:pt x="0" y="269843"/>
                  </a:lnTo>
                  <a:cubicBezTo>
                    <a:pt x="0" y="249079"/>
                    <a:pt x="3810" y="231077"/>
                    <a:pt x="11335" y="215741"/>
                  </a:cubicBezTo>
                  <a:cubicBezTo>
                    <a:pt x="18859" y="200406"/>
                    <a:pt x="29337" y="187738"/>
                    <a:pt x="42767" y="177546"/>
                  </a:cubicBezTo>
                  <a:cubicBezTo>
                    <a:pt x="56197" y="167450"/>
                    <a:pt x="72199" y="159925"/>
                    <a:pt x="90773" y="154972"/>
                  </a:cubicBezTo>
                  <a:cubicBezTo>
                    <a:pt x="109347" y="150019"/>
                    <a:pt x="129540" y="147542"/>
                    <a:pt x="151162" y="147542"/>
                  </a:cubicBezTo>
                  <a:cubicBezTo>
                    <a:pt x="172783" y="147542"/>
                    <a:pt x="192976" y="148971"/>
                    <a:pt x="208788" y="151829"/>
                  </a:cubicBezTo>
                  <a:cubicBezTo>
                    <a:pt x="224599" y="154686"/>
                    <a:pt x="239744" y="158401"/>
                    <a:pt x="254413" y="163163"/>
                  </a:cubicBezTo>
                  <a:lnTo>
                    <a:pt x="254413" y="156115"/>
                  </a:lnTo>
                  <a:cubicBezTo>
                    <a:pt x="254413" y="130207"/>
                    <a:pt x="246507" y="110395"/>
                    <a:pt x="230696" y="96774"/>
                  </a:cubicBezTo>
                  <a:cubicBezTo>
                    <a:pt x="214884" y="83153"/>
                    <a:pt x="192214" y="76295"/>
                    <a:pt x="162496" y="76295"/>
                  </a:cubicBezTo>
                  <a:cubicBezTo>
                    <a:pt x="141351" y="76295"/>
                    <a:pt x="122491" y="78391"/>
                    <a:pt x="106013" y="82677"/>
                  </a:cubicBezTo>
                  <a:cubicBezTo>
                    <a:pt x="89535" y="86963"/>
                    <a:pt x="72771" y="92583"/>
                    <a:pt x="55816" y="99632"/>
                  </a:cubicBezTo>
                  <a:lnTo>
                    <a:pt x="32480" y="31052"/>
                  </a:lnTo>
                  <a:cubicBezTo>
                    <a:pt x="53149" y="21622"/>
                    <a:pt x="74390" y="14097"/>
                    <a:pt x="96107" y="8477"/>
                  </a:cubicBezTo>
                  <a:cubicBezTo>
                    <a:pt x="117729" y="2858"/>
                    <a:pt x="143923" y="0"/>
                    <a:pt x="174593" y="0"/>
                  </a:cubicBezTo>
                  <a:cubicBezTo>
                    <a:pt x="230124" y="0"/>
                    <a:pt x="271367" y="13811"/>
                    <a:pt x="298228" y="41338"/>
                  </a:cubicBezTo>
                  <a:cubicBezTo>
                    <a:pt x="325088" y="68866"/>
                    <a:pt x="338519" y="107633"/>
                    <a:pt x="338519" y="157544"/>
                  </a:cubicBezTo>
                  <a:lnTo>
                    <a:pt x="338519" y="378714"/>
                  </a:lnTo>
                  <a:lnTo>
                    <a:pt x="253746" y="378714"/>
                  </a:lnTo>
                  <a:close/>
                  <a:moveTo>
                    <a:pt x="255746" y="222409"/>
                  </a:moveTo>
                  <a:cubicBezTo>
                    <a:pt x="244888" y="218123"/>
                    <a:pt x="232029" y="214598"/>
                    <a:pt x="217265" y="211836"/>
                  </a:cubicBezTo>
                  <a:cubicBezTo>
                    <a:pt x="202406" y="208979"/>
                    <a:pt x="186785" y="207550"/>
                    <a:pt x="170307" y="207550"/>
                  </a:cubicBezTo>
                  <a:cubicBezTo>
                    <a:pt x="143446" y="207550"/>
                    <a:pt x="122491" y="212693"/>
                    <a:pt x="107442" y="223075"/>
                  </a:cubicBezTo>
                  <a:cubicBezTo>
                    <a:pt x="92392" y="233458"/>
                    <a:pt x="84868" y="247555"/>
                    <a:pt x="84868" y="265462"/>
                  </a:cubicBezTo>
                  <a:lnTo>
                    <a:pt x="84868" y="266891"/>
                  </a:lnTo>
                  <a:cubicBezTo>
                    <a:pt x="84868" y="284798"/>
                    <a:pt x="91821" y="298418"/>
                    <a:pt x="105728" y="307848"/>
                  </a:cubicBezTo>
                  <a:cubicBezTo>
                    <a:pt x="119634" y="317278"/>
                    <a:pt x="136684" y="321945"/>
                    <a:pt x="156972" y="321945"/>
                  </a:cubicBezTo>
                  <a:cubicBezTo>
                    <a:pt x="171069" y="321945"/>
                    <a:pt x="184213" y="320040"/>
                    <a:pt x="196215" y="316325"/>
                  </a:cubicBezTo>
                  <a:cubicBezTo>
                    <a:pt x="208216" y="312515"/>
                    <a:pt x="218694" y="307277"/>
                    <a:pt x="227647" y="300419"/>
                  </a:cubicBezTo>
                  <a:cubicBezTo>
                    <a:pt x="236601" y="293561"/>
                    <a:pt x="243554" y="285369"/>
                    <a:pt x="248507" y="275654"/>
                  </a:cubicBezTo>
                  <a:cubicBezTo>
                    <a:pt x="253460" y="266033"/>
                    <a:pt x="255937" y="255270"/>
                    <a:pt x="255937" y="243459"/>
                  </a:cubicBezTo>
                  <a:lnTo>
                    <a:pt x="255937" y="222218"/>
                  </a:lnTo>
                  <a:close/>
                </a:path>
              </a:pathLst>
            </a:custGeom>
            <a:solidFill>
              <a:srgbClr val="44505E"/>
            </a:solidFill>
            <a:ln w="9525" cap="flat">
              <a:noFill/>
              <a:prstDash val="solid"/>
              <a:miter/>
            </a:ln>
          </p:spPr>
          <p:txBody>
            <a:bodyPr rtlCol="0" anchor="ctr"/>
            <a:lstStyle/>
            <a:p>
              <a:endParaRPr lang="pt-BR" noProof="0"/>
            </a:p>
          </p:txBody>
        </p:sp>
        <p:sp>
          <p:nvSpPr>
            <p:cNvPr id="28" name="Freeform: Shape 27">
              <a:extLst>
                <a:ext uri="{FF2B5EF4-FFF2-40B4-BE49-F238E27FC236}">
                  <a16:creationId xmlns:a16="http://schemas.microsoft.com/office/drawing/2014/main" id="{1B65CE3F-FD2B-811E-EF86-8C45658F22CB}"/>
                </a:ext>
              </a:extLst>
            </p:cNvPr>
            <p:cNvSpPr/>
            <p:nvPr/>
          </p:nvSpPr>
          <p:spPr>
            <a:xfrm>
              <a:off x="6088843" y="700318"/>
              <a:ext cx="74610" cy="97213"/>
            </a:xfrm>
            <a:custGeom>
              <a:avLst/>
              <a:gdLst>
                <a:gd name="connsiteX0" fmla="*/ 158305 w 296799"/>
                <a:gd name="connsiteY0" fmla="*/ 386715 h 386714"/>
                <a:gd name="connsiteX1" fmla="*/ 76676 w 296799"/>
                <a:gd name="connsiteY1" fmla="*/ 372427 h 386714"/>
                <a:gd name="connsiteX2" fmla="*/ 0 w 296799"/>
                <a:gd name="connsiteY2" fmla="*/ 330327 h 386714"/>
                <a:gd name="connsiteX3" fmla="*/ 38195 w 296799"/>
                <a:gd name="connsiteY3" fmla="*/ 272224 h 386714"/>
                <a:gd name="connsiteX4" fmla="*/ 100013 w 296799"/>
                <a:gd name="connsiteY4" fmla="*/ 306514 h 386714"/>
                <a:gd name="connsiteX5" fmla="*/ 160401 w 296799"/>
                <a:gd name="connsiteY5" fmla="*/ 318135 h 386714"/>
                <a:gd name="connsiteX6" fmla="*/ 203168 w 296799"/>
                <a:gd name="connsiteY6" fmla="*/ 307181 h 386714"/>
                <a:gd name="connsiteX7" fmla="*/ 218408 w 296799"/>
                <a:gd name="connsiteY7" fmla="*/ 277939 h 386714"/>
                <a:gd name="connsiteX8" fmla="*/ 218408 w 296799"/>
                <a:gd name="connsiteY8" fmla="*/ 276511 h 386714"/>
                <a:gd name="connsiteX9" fmla="*/ 211646 w 296799"/>
                <a:gd name="connsiteY9" fmla="*/ 258223 h 386714"/>
                <a:gd name="connsiteX10" fmla="*/ 193262 w 296799"/>
                <a:gd name="connsiteY10" fmla="*/ 244792 h 386714"/>
                <a:gd name="connsiteX11" fmla="*/ 166402 w 296799"/>
                <a:gd name="connsiteY11" fmla="*/ 234220 h 386714"/>
                <a:gd name="connsiteX12" fmla="*/ 134969 w 296799"/>
                <a:gd name="connsiteY12" fmla="*/ 224314 h 386714"/>
                <a:gd name="connsiteX13" fmla="*/ 93631 w 296799"/>
                <a:gd name="connsiteY13" fmla="*/ 210884 h 386714"/>
                <a:gd name="connsiteX14" fmla="*/ 56197 w 296799"/>
                <a:gd name="connsiteY14" fmla="*/ 190786 h 386714"/>
                <a:gd name="connsiteX15" fmla="*/ 28956 w 296799"/>
                <a:gd name="connsiteY15" fmla="*/ 160115 h 386714"/>
                <a:gd name="connsiteX16" fmla="*/ 18383 w 296799"/>
                <a:gd name="connsiteY16" fmla="*/ 114967 h 386714"/>
                <a:gd name="connsiteX17" fmla="*/ 18383 w 296799"/>
                <a:gd name="connsiteY17" fmla="*/ 113538 h 386714"/>
                <a:gd name="connsiteX18" fmla="*/ 28575 w 296799"/>
                <a:gd name="connsiteY18" fmla="*/ 66294 h 386714"/>
                <a:gd name="connsiteX19" fmla="*/ 56864 w 296799"/>
                <a:gd name="connsiteY19" fmla="*/ 30385 h 386714"/>
                <a:gd name="connsiteX20" fmla="*/ 99250 w 296799"/>
                <a:gd name="connsiteY20" fmla="*/ 7810 h 386714"/>
                <a:gd name="connsiteX21" fmla="*/ 151162 w 296799"/>
                <a:gd name="connsiteY21" fmla="*/ 0 h 386714"/>
                <a:gd name="connsiteX22" fmla="*/ 222504 w 296799"/>
                <a:gd name="connsiteY22" fmla="*/ 11430 h 386714"/>
                <a:gd name="connsiteX23" fmla="*/ 288227 w 296799"/>
                <a:gd name="connsiteY23" fmla="*/ 42863 h 386714"/>
                <a:gd name="connsiteX24" fmla="*/ 254317 w 296799"/>
                <a:gd name="connsiteY24" fmla="*/ 103918 h 386714"/>
                <a:gd name="connsiteX25" fmla="*/ 199930 w 296799"/>
                <a:gd name="connsiteY25" fmla="*/ 78105 h 386714"/>
                <a:gd name="connsiteX26" fmla="*/ 149066 w 296799"/>
                <a:gd name="connsiteY26" fmla="*/ 68580 h 386714"/>
                <a:gd name="connsiteX27" fmla="*/ 110585 w 296799"/>
                <a:gd name="connsiteY27" fmla="*/ 79153 h 386714"/>
                <a:gd name="connsiteX28" fmla="*/ 96774 w 296799"/>
                <a:gd name="connsiteY28" fmla="*/ 105918 h 386714"/>
                <a:gd name="connsiteX29" fmla="*/ 96774 w 296799"/>
                <a:gd name="connsiteY29" fmla="*/ 107347 h 386714"/>
                <a:gd name="connsiteX30" fmla="*/ 103822 w 296799"/>
                <a:gd name="connsiteY30" fmla="*/ 124587 h 386714"/>
                <a:gd name="connsiteX31" fmla="*/ 122587 w 296799"/>
                <a:gd name="connsiteY31" fmla="*/ 138017 h 386714"/>
                <a:gd name="connsiteX32" fmla="*/ 149447 w 296799"/>
                <a:gd name="connsiteY32" fmla="*/ 149257 h 386714"/>
                <a:gd name="connsiteX33" fmla="*/ 180880 w 296799"/>
                <a:gd name="connsiteY33" fmla="*/ 159448 h 386714"/>
                <a:gd name="connsiteX34" fmla="*/ 221837 w 296799"/>
                <a:gd name="connsiteY34" fmla="*/ 174212 h 386714"/>
                <a:gd name="connsiteX35" fmla="*/ 258985 w 296799"/>
                <a:gd name="connsiteY35" fmla="*/ 194977 h 386714"/>
                <a:gd name="connsiteX36" fmla="*/ 286226 w 296799"/>
                <a:gd name="connsiteY36" fmla="*/ 224980 h 386714"/>
                <a:gd name="connsiteX37" fmla="*/ 296799 w 296799"/>
                <a:gd name="connsiteY37" fmla="*/ 267938 h 386714"/>
                <a:gd name="connsiteX38" fmla="*/ 296799 w 296799"/>
                <a:gd name="connsiteY38" fmla="*/ 269367 h 386714"/>
                <a:gd name="connsiteX39" fmla="*/ 286226 w 296799"/>
                <a:gd name="connsiteY39" fmla="*/ 320897 h 386714"/>
                <a:gd name="connsiteX40" fmla="*/ 256889 w 296799"/>
                <a:gd name="connsiteY40" fmla="*/ 357188 h 386714"/>
                <a:gd name="connsiteX41" fmla="*/ 212693 w 296799"/>
                <a:gd name="connsiteY41" fmla="*/ 379095 h 386714"/>
                <a:gd name="connsiteX42" fmla="*/ 158305 w 296799"/>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799"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065" y="318135"/>
                    <a:pt x="160401" y="318135"/>
                  </a:cubicBezTo>
                  <a:cubicBezTo>
                    <a:pt x="179737" y="318135"/>
                    <a:pt x="193072"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828" y="227647"/>
                    <a:pt x="134969" y="224314"/>
                  </a:cubicBezTo>
                  <a:cubicBezTo>
                    <a:pt x="121348" y="220599"/>
                    <a:pt x="107537" y="216122"/>
                    <a:pt x="93631" y="210884"/>
                  </a:cubicBezTo>
                  <a:cubicBezTo>
                    <a:pt x="79724" y="205740"/>
                    <a:pt x="67246" y="198977"/>
                    <a:pt x="56197" y="190786"/>
                  </a:cubicBezTo>
                  <a:cubicBezTo>
                    <a:pt x="45148" y="182594"/>
                    <a:pt x="36004"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874" y="0"/>
                    <a:pt x="151162" y="0"/>
                  </a:cubicBezTo>
                  <a:cubicBezTo>
                    <a:pt x="174688" y="0"/>
                    <a:pt x="198501" y="3810"/>
                    <a:pt x="222504" y="11430"/>
                  </a:cubicBezTo>
                  <a:cubicBezTo>
                    <a:pt x="246507" y="19050"/>
                    <a:pt x="268414" y="29527"/>
                    <a:pt x="288227" y="42863"/>
                  </a:cubicBezTo>
                  <a:lnTo>
                    <a:pt x="254317"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774" y="95155"/>
                    <a:pt x="96774" y="105918"/>
                  </a:cubicBezTo>
                  <a:lnTo>
                    <a:pt x="96774" y="107347"/>
                  </a:lnTo>
                  <a:cubicBezTo>
                    <a:pt x="96774" y="113919"/>
                    <a:pt x="99155" y="119634"/>
                    <a:pt x="103822" y="124587"/>
                  </a:cubicBezTo>
                  <a:cubicBezTo>
                    <a:pt x="108490" y="129540"/>
                    <a:pt x="114776" y="134017"/>
                    <a:pt x="122587" y="138017"/>
                  </a:cubicBezTo>
                  <a:cubicBezTo>
                    <a:pt x="130397" y="142018"/>
                    <a:pt x="139351" y="145732"/>
                    <a:pt x="149447" y="149257"/>
                  </a:cubicBezTo>
                  <a:cubicBezTo>
                    <a:pt x="159544" y="152781"/>
                    <a:pt x="170021" y="156210"/>
                    <a:pt x="180880" y="159448"/>
                  </a:cubicBezTo>
                  <a:cubicBezTo>
                    <a:pt x="194500" y="163639"/>
                    <a:pt x="208216" y="168592"/>
                    <a:pt x="221837" y="174212"/>
                  </a:cubicBezTo>
                  <a:cubicBezTo>
                    <a:pt x="235458" y="179832"/>
                    <a:pt x="247840" y="186785"/>
                    <a:pt x="258985" y="194977"/>
                  </a:cubicBezTo>
                  <a:cubicBezTo>
                    <a:pt x="270034" y="203168"/>
                    <a:pt x="279178" y="213169"/>
                    <a:pt x="286226" y="224980"/>
                  </a:cubicBezTo>
                  <a:cubicBezTo>
                    <a:pt x="293275" y="236696"/>
                    <a:pt x="296799" y="251079"/>
                    <a:pt x="296799" y="267938"/>
                  </a:cubicBezTo>
                  <a:lnTo>
                    <a:pt x="296799" y="269367"/>
                  </a:lnTo>
                  <a:cubicBezTo>
                    <a:pt x="296799" y="289084"/>
                    <a:pt x="293275" y="306229"/>
                    <a:pt x="286226" y="320897"/>
                  </a:cubicBezTo>
                  <a:cubicBezTo>
                    <a:pt x="279178" y="335470"/>
                    <a:pt x="269367" y="347567"/>
                    <a:pt x="256889" y="357188"/>
                  </a:cubicBezTo>
                  <a:cubicBezTo>
                    <a:pt x="244412" y="366808"/>
                    <a:pt x="229648" y="374142"/>
                    <a:pt x="212693" y="379095"/>
                  </a:cubicBezTo>
                  <a:cubicBezTo>
                    <a:pt x="195739" y="384048"/>
                    <a:pt x="177641" y="386524"/>
                    <a:pt x="158305" y="386524"/>
                  </a:cubicBezTo>
                  <a:close/>
                </a:path>
              </a:pathLst>
            </a:custGeom>
            <a:solidFill>
              <a:srgbClr val="44505E"/>
            </a:solidFill>
            <a:ln w="9525" cap="flat">
              <a:noFill/>
              <a:prstDash val="solid"/>
              <a:miter/>
            </a:ln>
          </p:spPr>
          <p:txBody>
            <a:bodyPr rtlCol="0" anchor="ctr"/>
            <a:lstStyle/>
            <a:p>
              <a:endParaRPr lang="pt-BR" noProof="0"/>
            </a:p>
          </p:txBody>
        </p:sp>
        <p:sp>
          <p:nvSpPr>
            <p:cNvPr id="29" name="Freeform: Shape 28">
              <a:extLst>
                <a:ext uri="{FF2B5EF4-FFF2-40B4-BE49-F238E27FC236}">
                  <a16:creationId xmlns:a16="http://schemas.microsoft.com/office/drawing/2014/main" id="{0B9973D3-E513-6588-D278-F3607FD320BD}"/>
                </a:ext>
              </a:extLst>
            </p:cNvPr>
            <p:cNvSpPr/>
            <p:nvPr/>
          </p:nvSpPr>
          <p:spPr>
            <a:xfrm>
              <a:off x="6238590"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4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7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2 w 568166"/>
                <a:gd name="connsiteY21" fmla="*/ 381000 h 381000"/>
                <a:gd name="connsiteX22" fmla="*/ 240982 w 568166"/>
                <a:gd name="connsiteY22" fmla="*/ 168783 h 381000"/>
                <a:gd name="connsiteX23" fmla="*/ 221266 w 568166"/>
                <a:gd name="connsiteY23" fmla="*/ 101822 h 381000"/>
                <a:gd name="connsiteX24" fmla="*/ 165640 w 568166"/>
                <a:gd name="connsiteY24" fmla="*/ 78581 h 381000"/>
                <a:gd name="connsiteX25" fmla="*/ 108013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69" y="48196"/>
                    <a:pt x="105918" y="40576"/>
                  </a:cubicBezTo>
                  <a:cubicBezTo>
                    <a:pt x="112966" y="32956"/>
                    <a:pt x="121063" y="26099"/>
                    <a:pt x="130207" y="19907"/>
                  </a:cubicBezTo>
                  <a:cubicBezTo>
                    <a:pt x="139351" y="13716"/>
                    <a:pt x="149638" y="8858"/>
                    <a:pt x="161163" y="5334"/>
                  </a:cubicBezTo>
                  <a:cubicBezTo>
                    <a:pt x="172688" y="1714"/>
                    <a:pt x="185452" y="0"/>
                    <a:pt x="199549" y="0"/>
                  </a:cubicBezTo>
                  <a:cubicBezTo>
                    <a:pt x="226314" y="0"/>
                    <a:pt x="248983" y="6096"/>
                    <a:pt x="267557" y="18193"/>
                  </a:cubicBezTo>
                  <a:cubicBezTo>
                    <a:pt x="286131" y="30289"/>
                    <a:pt x="300323" y="46387"/>
                    <a:pt x="310134" y="66294"/>
                  </a:cubicBezTo>
                  <a:cubicBezTo>
                    <a:pt x="325279" y="46387"/>
                    <a:pt x="343090" y="30289"/>
                    <a:pt x="363664" y="18193"/>
                  </a:cubicBezTo>
                  <a:cubicBezTo>
                    <a:pt x="384238" y="6096"/>
                    <a:pt x="408718" y="0"/>
                    <a:pt x="437007" y="0"/>
                  </a:cubicBezTo>
                  <a:cubicBezTo>
                    <a:pt x="478155"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7" y="78486"/>
                  </a:cubicBezTo>
                  <a:cubicBezTo>
                    <a:pt x="382809" y="78486"/>
                    <a:pt x="364141" y="86392"/>
                    <a:pt x="349377" y="102108"/>
                  </a:cubicBezTo>
                  <a:cubicBezTo>
                    <a:pt x="334613" y="117824"/>
                    <a:pt x="327184" y="140779"/>
                    <a:pt x="327184" y="170879"/>
                  </a:cubicBezTo>
                  <a:lnTo>
                    <a:pt x="327184" y="381000"/>
                  </a:lnTo>
                  <a:lnTo>
                    <a:pt x="240982" y="381000"/>
                  </a:lnTo>
                  <a:lnTo>
                    <a:pt x="240982" y="168783"/>
                  </a:lnTo>
                  <a:cubicBezTo>
                    <a:pt x="240982" y="139637"/>
                    <a:pt x="234410" y="117348"/>
                    <a:pt x="221266" y="101822"/>
                  </a:cubicBezTo>
                  <a:cubicBezTo>
                    <a:pt x="208121" y="86296"/>
                    <a:pt x="189547" y="78581"/>
                    <a:pt x="165640" y="78581"/>
                  </a:cubicBezTo>
                  <a:cubicBezTo>
                    <a:pt x="141732" y="78581"/>
                    <a:pt x="122491" y="86773"/>
                    <a:pt x="108013"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30" name="Freeform: Shape 29">
              <a:extLst>
                <a:ext uri="{FF2B5EF4-FFF2-40B4-BE49-F238E27FC236}">
                  <a16:creationId xmlns:a16="http://schemas.microsoft.com/office/drawing/2014/main" id="{982CDE6E-FAEE-6D12-F0E7-EC160640A37F}"/>
                </a:ext>
              </a:extLst>
            </p:cNvPr>
            <p:cNvSpPr/>
            <p:nvPr/>
          </p:nvSpPr>
          <p:spPr>
            <a:xfrm>
              <a:off x="6400979" y="664258"/>
              <a:ext cx="85097" cy="133441"/>
            </a:xfrm>
            <a:custGeom>
              <a:avLst/>
              <a:gdLst>
                <a:gd name="connsiteX0" fmla="*/ 253651 w 338518"/>
                <a:gd name="connsiteY0" fmla="*/ 523018 h 530828"/>
                <a:gd name="connsiteX1" fmla="*/ 253651 w 338518"/>
                <a:gd name="connsiteY1" fmla="*/ 477107 h 530828"/>
                <a:gd name="connsiteX2" fmla="*/ 204883 w 338518"/>
                <a:gd name="connsiteY2" fmla="*/ 515303 h 530828"/>
                <a:gd name="connsiteX3" fmla="*/ 132779 w 338518"/>
                <a:gd name="connsiteY3" fmla="*/ 530828 h 530828"/>
                <a:gd name="connsiteX4" fmla="*/ 81915 w 338518"/>
                <a:gd name="connsiteY4" fmla="*/ 523399 h 530828"/>
                <a:gd name="connsiteX5" fmla="*/ 39910 w 338518"/>
                <a:gd name="connsiteY5" fmla="*/ 501491 h 530828"/>
                <a:gd name="connsiteX6" fmla="*/ 10954 w 338518"/>
                <a:gd name="connsiteY6" fmla="*/ 465487 h 530828"/>
                <a:gd name="connsiteX7" fmla="*/ 0 w 338518"/>
                <a:gd name="connsiteY7" fmla="*/ 415671 h 530828"/>
                <a:gd name="connsiteX8" fmla="*/ 0 w 338518"/>
                <a:gd name="connsiteY8" fmla="*/ 414242 h 530828"/>
                <a:gd name="connsiteX9" fmla="*/ 11335 w 338518"/>
                <a:gd name="connsiteY9" fmla="*/ 360140 h 530828"/>
                <a:gd name="connsiteX10" fmla="*/ 42767 w 338518"/>
                <a:gd name="connsiteY10" fmla="*/ 321945 h 530828"/>
                <a:gd name="connsiteX11" fmla="*/ 90773 w 338518"/>
                <a:gd name="connsiteY11" fmla="*/ 299371 h 530828"/>
                <a:gd name="connsiteX12" fmla="*/ 151162 w 338518"/>
                <a:gd name="connsiteY12" fmla="*/ 291941 h 530828"/>
                <a:gd name="connsiteX13" fmla="*/ 208788 w 338518"/>
                <a:gd name="connsiteY13" fmla="*/ 296228 h 530828"/>
                <a:gd name="connsiteX14" fmla="*/ 254413 w 338518"/>
                <a:gd name="connsiteY14" fmla="*/ 307562 h 530828"/>
                <a:gd name="connsiteX15" fmla="*/ 254413 w 338518"/>
                <a:gd name="connsiteY15" fmla="*/ 300514 h 530828"/>
                <a:gd name="connsiteX16" fmla="*/ 230696 w 338518"/>
                <a:gd name="connsiteY16" fmla="*/ 241173 h 530828"/>
                <a:gd name="connsiteX17" fmla="*/ 162496 w 338518"/>
                <a:gd name="connsiteY17" fmla="*/ 220694 h 530828"/>
                <a:gd name="connsiteX18" fmla="*/ 106013 w 338518"/>
                <a:gd name="connsiteY18" fmla="*/ 227076 h 530828"/>
                <a:gd name="connsiteX19" fmla="*/ 55817 w 338518"/>
                <a:gd name="connsiteY19" fmla="*/ 244031 h 530828"/>
                <a:gd name="connsiteX20" fmla="*/ 32480 w 338518"/>
                <a:gd name="connsiteY20" fmla="*/ 175451 h 530828"/>
                <a:gd name="connsiteX21" fmla="*/ 96107 w 338518"/>
                <a:gd name="connsiteY21" fmla="*/ 152876 h 530828"/>
                <a:gd name="connsiteX22" fmla="*/ 174593 w 338518"/>
                <a:gd name="connsiteY22" fmla="*/ 144399 h 530828"/>
                <a:gd name="connsiteX23" fmla="*/ 298228 w 338518"/>
                <a:gd name="connsiteY23" fmla="*/ 185738 h 530828"/>
                <a:gd name="connsiteX24" fmla="*/ 338519 w 338518"/>
                <a:gd name="connsiteY24" fmla="*/ 301943 h 530828"/>
                <a:gd name="connsiteX25" fmla="*/ 338519 w 338518"/>
                <a:gd name="connsiteY25" fmla="*/ 523113 h 530828"/>
                <a:gd name="connsiteX26" fmla="*/ 253746 w 338518"/>
                <a:gd name="connsiteY26" fmla="*/ 523113 h 530828"/>
                <a:gd name="connsiteX27" fmla="*/ 45911 w 338518"/>
                <a:gd name="connsiteY27" fmla="*/ 95441 h 530828"/>
                <a:gd name="connsiteX28" fmla="*/ 75248 w 338518"/>
                <a:gd name="connsiteY28" fmla="*/ 29718 h 530828"/>
                <a:gd name="connsiteX29" fmla="*/ 125063 w 338518"/>
                <a:gd name="connsiteY29" fmla="*/ 7144 h 530828"/>
                <a:gd name="connsiteX30" fmla="*/ 154019 w 338518"/>
                <a:gd name="connsiteY30" fmla="*/ 11716 h 530828"/>
                <a:gd name="connsiteX31" fmla="*/ 181261 w 338518"/>
                <a:gd name="connsiteY31" fmla="*/ 21622 h 530828"/>
                <a:gd name="connsiteX32" fmla="*/ 205645 w 338518"/>
                <a:gd name="connsiteY32" fmla="*/ 31147 h 530828"/>
                <a:gd name="connsiteX33" fmla="*/ 226790 w 338518"/>
                <a:gd name="connsiteY33" fmla="*/ 35338 h 530828"/>
                <a:gd name="connsiteX34" fmla="*/ 250127 w 338518"/>
                <a:gd name="connsiteY34" fmla="*/ 26861 h 530828"/>
                <a:gd name="connsiteX35" fmla="*/ 265652 w 338518"/>
                <a:gd name="connsiteY35" fmla="*/ 0 h 530828"/>
                <a:gd name="connsiteX36" fmla="*/ 312991 w 338518"/>
                <a:gd name="connsiteY36" fmla="*/ 14859 h 530828"/>
                <a:gd name="connsiteX37" fmla="*/ 283655 w 338518"/>
                <a:gd name="connsiteY37" fmla="*/ 79820 h 530828"/>
                <a:gd name="connsiteX38" fmla="*/ 233839 w 338518"/>
                <a:gd name="connsiteY38" fmla="*/ 102394 h 530828"/>
                <a:gd name="connsiteX39" fmla="*/ 204883 w 338518"/>
                <a:gd name="connsiteY39" fmla="*/ 98203 h 530828"/>
                <a:gd name="connsiteX40" fmla="*/ 177641 w 338518"/>
                <a:gd name="connsiteY40" fmla="*/ 88678 h 530828"/>
                <a:gd name="connsiteX41" fmla="*/ 152876 w 338518"/>
                <a:gd name="connsiteY41" fmla="*/ 78772 h 530828"/>
                <a:gd name="connsiteX42" fmla="*/ 132017 w 338518"/>
                <a:gd name="connsiteY42" fmla="*/ 74200 h 530828"/>
                <a:gd name="connsiteX43" fmla="*/ 108680 w 338518"/>
                <a:gd name="connsiteY43" fmla="*/ 82677 h 530828"/>
                <a:gd name="connsiteX44" fmla="*/ 93154 w 338518"/>
                <a:gd name="connsiteY44" fmla="*/ 109538 h 530828"/>
                <a:gd name="connsiteX45" fmla="*/ 45815 w 338518"/>
                <a:gd name="connsiteY45" fmla="*/ 95441 h 530828"/>
                <a:gd name="connsiteX46" fmla="*/ 255842 w 338518"/>
                <a:gd name="connsiteY46" fmla="*/ 366808 h 530828"/>
                <a:gd name="connsiteX47" fmla="*/ 217361 w 338518"/>
                <a:gd name="connsiteY47" fmla="*/ 356235 h 530828"/>
                <a:gd name="connsiteX48" fmla="*/ 170402 w 338518"/>
                <a:gd name="connsiteY48" fmla="*/ 351949 h 530828"/>
                <a:gd name="connsiteX49" fmla="*/ 107537 w 338518"/>
                <a:gd name="connsiteY49" fmla="*/ 367475 h 530828"/>
                <a:gd name="connsiteX50" fmla="*/ 84963 w 338518"/>
                <a:gd name="connsiteY50" fmla="*/ 409861 h 530828"/>
                <a:gd name="connsiteX51" fmla="*/ 84963 w 338518"/>
                <a:gd name="connsiteY51" fmla="*/ 411290 h 530828"/>
                <a:gd name="connsiteX52" fmla="*/ 105823 w 338518"/>
                <a:gd name="connsiteY52" fmla="*/ 452247 h 530828"/>
                <a:gd name="connsiteX53" fmla="*/ 157067 w 338518"/>
                <a:gd name="connsiteY53" fmla="*/ 466344 h 530828"/>
                <a:gd name="connsiteX54" fmla="*/ 196310 w 338518"/>
                <a:gd name="connsiteY54" fmla="*/ 460724 h 530828"/>
                <a:gd name="connsiteX55" fmla="*/ 227743 w 338518"/>
                <a:gd name="connsiteY55" fmla="*/ 444818 h 530828"/>
                <a:gd name="connsiteX56" fmla="*/ 248603 w 338518"/>
                <a:gd name="connsiteY56" fmla="*/ 420053 h 530828"/>
                <a:gd name="connsiteX57" fmla="*/ 256032 w 338518"/>
                <a:gd name="connsiteY57" fmla="*/ 387858 h 530828"/>
                <a:gd name="connsiteX58" fmla="*/ 256032 w 338518"/>
                <a:gd name="connsiteY58" fmla="*/ 366617 h 5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8518" h="530828">
                  <a:moveTo>
                    <a:pt x="253651" y="523018"/>
                  </a:moveTo>
                  <a:lnTo>
                    <a:pt x="253651" y="477107"/>
                  </a:lnTo>
                  <a:cubicBezTo>
                    <a:pt x="240887" y="492157"/>
                    <a:pt x="224695" y="504920"/>
                    <a:pt x="204883" y="515303"/>
                  </a:cubicBezTo>
                  <a:cubicBezTo>
                    <a:pt x="185071" y="525685"/>
                    <a:pt x="161068" y="530828"/>
                    <a:pt x="132779" y="530828"/>
                  </a:cubicBezTo>
                  <a:cubicBezTo>
                    <a:pt x="114871" y="530828"/>
                    <a:pt x="97917" y="528352"/>
                    <a:pt x="81915" y="523399"/>
                  </a:cubicBezTo>
                  <a:cubicBezTo>
                    <a:pt x="65913" y="518446"/>
                    <a:pt x="51911" y="511112"/>
                    <a:pt x="39910" y="501491"/>
                  </a:cubicBezTo>
                  <a:cubicBezTo>
                    <a:pt x="27908" y="491871"/>
                    <a:pt x="18193" y="479870"/>
                    <a:pt x="10954" y="465487"/>
                  </a:cubicBezTo>
                  <a:cubicBezTo>
                    <a:pt x="3620" y="451104"/>
                    <a:pt x="0" y="434531"/>
                    <a:pt x="0" y="415671"/>
                  </a:cubicBezTo>
                  <a:lnTo>
                    <a:pt x="0" y="414242"/>
                  </a:lnTo>
                  <a:cubicBezTo>
                    <a:pt x="0" y="393478"/>
                    <a:pt x="3810" y="375476"/>
                    <a:pt x="11335" y="360140"/>
                  </a:cubicBezTo>
                  <a:cubicBezTo>
                    <a:pt x="18860" y="344805"/>
                    <a:pt x="29337" y="332137"/>
                    <a:pt x="42767" y="321945"/>
                  </a:cubicBezTo>
                  <a:cubicBezTo>
                    <a:pt x="56198" y="311849"/>
                    <a:pt x="72200" y="304324"/>
                    <a:pt x="90773" y="299371"/>
                  </a:cubicBezTo>
                  <a:cubicBezTo>
                    <a:pt x="109347" y="294418"/>
                    <a:pt x="129540" y="291941"/>
                    <a:pt x="151162" y="291941"/>
                  </a:cubicBezTo>
                  <a:cubicBezTo>
                    <a:pt x="172784" y="291941"/>
                    <a:pt x="192977" y="293370"/>
                    <a:pt x="208788" y="296228"/>
                  </a:cubicBezTo>
                  <a:cubicBezTo>
                    <a:pt x="224600" y="299085"/>
                    <a:pt x="239744" y="302800"/>
                    <a:pt x="254413" y="307562"/>
                  </a:cubicBezTo>
                  <a:lnTo>
                    <a:pt x="254413" y="300514"/>
                  </a:lnTo>
                  <a:cubicBezTo>
                    <a:pt x="254413" y="274606"/>
                    <a:pt x="246507" y="254794"/>
                    <a:pt x="230696" y="241173"/>
                  </a:cubicBezTo>
                  <a:cubicBezTo>
                    <a:pt x="214884" y="227552"/>
                    <a:pt x="192215" y="220694"/>
                    <a:pt x="162496" y="220694"/>
                  </a:cubicBezTo>
                  <a:cubicBezTo>
                    <a:pt x="141351" y="220694"/>
                    <a:pt x="122492" y="222790"/>
                    <a:pt x="106013" y="227076"/>
                  </a:cubicBezTo>
                  <a:cubicBezTo>
                    <a:pt x="89535" y="231362"/>
                    <a:pt x="72771" y="236982"/>
                    <a:pt x="55817" y="244031"/>
                  </a:cubicBezTo>
                  <a:lnTo>
                    <a:pt x="32480" y="175451"/>
                  </a:lnTo>
                  <a:cubicBezTo>
                    <a:pt x="53150" y="166021"/>
                    <a:pt x="74390" y="158496"/>
                    <a:pt x="96107" y="152876"/>
                  </a:cubicBezTo>
                  <a:cubicBezTo>
                    <a:pt x="117729" y="147257"/>
                    <a:pt x="143923" y="144399"/>
                    <a:pt x="174593" y="144399"/>
                  </a:cubicBezTo>
                  <a:cubicBezTo>
                    <a:pt x="230124" y="144399"/>
                    <a:pt x="271367" y="158210"/>
                    <a:pt x="298228" y="185738"/>
                  </a:cubicBezTo>
                  <a:cubicBezTo>
                    <a:pt x="325088" y="213265"/>
                    <a:pt x="338519" y="252032"/>
                    <a:pt x="338519" y="301943"/>
                  </a:cubicBezTo>
                  <a:lnTo>
                    <a:pt x="338519" y="523113"/>
                  </a:lnTo>
                  <a:lnTo>
                    <a:pt x="253746" y="523113"/>
                  </a:lnTo>
                  <a:close/>
                  <a:moveTo>
                    <a:pt x="45911" y="95441"/>
                  </a:moveTo>
                  <a:cubicBezTo>
                    <a:pt x="53912" y="66675"/>
                    <a:pt x="63722" y="44768"/>
                    <a:pt x="75248" y="29718"/>
                  </a:cubicBezTo>
                  <a:cubicBezTo>
                    <a:pt x="86773" y="14669"/>
                    <a:pt x="103442" y="7144"/>
                    <a:pt x="125063" y="7144"/>
                  </a:cubicBezTo>
                  <a:cubicBezTo>
                    <a:pt x="134969" y="7144"/>
                    <a:pt x="144590" y="8668"/>
                    <a:pt x="154019" y="11716"/>
                  </a:cubicBezTo>
                  <a:cubicBezTo>
                    <a:pt x="163449" y="14764"/>
                    <a:pt x="172498" y="18098"/>
                    <a:pt x="181261" y="21622"/>
                  </a:cubicBezTo>
                  <a:cubicBezTo>
                    <a:pt x="189929" y="25146"/>
                    <a:pt x="198120" y="28385"/>
                    <a:pt x="205645" y="31147"/>
                  </a:cubicBezTo>
                  <a:cubicBezTo>
                    <a:pt x="213170" y="34004"/>
                    <a:pt x="220218" y="35338"/>
                    <a:pt x="226790" y="35338"/>
                  </a:cubicBezTo>
                  <a:cubicBezTo>
                    <a:pt x="237173" y="35338"/>
                    <a:pt x="244888" y="32480"/>
                    <a:pt x="250127" y="26861"/>
                  </a:cubicBezTo>
                  <a:cubicBezTo>
                    <a:pt x="255270" y="21241"/>
                    <a:pt x="260509" y="12287"/>
                    <a:pt x="265652" y="0"/>
                  </a:cubicBezTo>
                  <a:lnTo>
                    <a:pt x="312991" y="14859"/>
                  </a:lnTo>
                  <a:cubicBezTo>
                    <a:pt x="304991" y="43148"/>
                    <a:pt x="295180" y="64770"/>
                    <a:pt x="283655" y="79820"/>
                  </a:cubicBezTo>
                  <a:cubicBezTo>
                    <a:pt x="272129" y="94869"/>
                    <a:pt x="255461" y="102394"/>
                    <a:pt x="233839" y="102394"/>
                  </a:cubicBezTo>
                  <a:cubicBezTo>
                    <a:pt x="223933" y="102394"/>
                    <a:pt x="214313" y="100965"/>
                    <a:pt x="204883" y="98203"/>
                  </a:cubicBezTo>
                  <a:cubicBezTo>
                    <a:pt x="195453" y="95345"/>
                    <a:pt x="186404" y="92202"/>
                    <a:pt x="177641" y="88678"/>
                  </a:cubicBezTo>
                  <a:cubicBezTo>
                    <a:pt x="168878" y="85154"/>
                    <a:pt x="160687" y="81820"/>
                    <a:pt x="152876" y="78772"/>
                  </a:cubicBezTo>
                  <a:cubicBezTo>
                    <a:pt x="145066" y="75724"/>
                    <a:pt x="138113" y="74200"/>
                    <a:pt x="132017" y="74200"/>
                  </a:cubicBezTo>
                  <a:cubicBezTo>
                    <a:pt x="121634" y="74200"/>
                    <a:pt x="113919" y="77057"/>
                    <a:pt x="108680" y="82677"/>
                  </a:cubicBezTo>
                  <a:cubicBezTo>
                    <a:pt x="103537" y="88297"/>
                    <a:pt x="98298" y="97250"/>
                    <a:pt x="93154" y="109538"/>
                  </a:cubicBezTo>
                  <a:lnTo>
                    <a:pt x="45815" y="95441"/>
                  </a:lnTo>
                  <a:close/>
                  <a:moveTo>
                    <a:pt x="255842" y="366808"/>
                  </a:moveTo>
                  <a:cubicBezTo>
                    <a:pt x="244983" y="362522"/>
                    <a:pt x="232124" y="358997"/>
                    <a:pt x="217361" y="356235"/>
                  </a:cubicBezTo>
                  <a:cubicBezTo>
                    <a:pt x="202502" y="353378"/>
                    <a:pt x="186880" y="351949"/>
                    <a:pt x="170402" y="351949"/>
                  </a:cubicBezTo>
                  <a:cubicBezTo>
                    <a:pt x="143542" y="351949"/>
                    <a:pt x="122587" y="357092"/>
                    <a:pt x="107537" y="367475"/>
                  </a:cubicBezTo>
                  <a:cubicBezTo>
                    <a:pt x="92488" y="377857"/>
                    <a:pt x="84963" y="391954"/>
                    <a:pt x="84963" y="409861"/>
                  </a:cubicBezTo>
                  <a:lnTo>
                    <a:pt x="84963" y="411290"/>
                  </a:lnTo>
                  <a:cubicBezTo>
                    <a:pt x="84963" y="429197"/>
                    <a:pt x="91916" y="442817"/>
                    <a:pt x="105823" y="452247"/>
                  </a:cubicBezTo>
                  <a:cubicBezTo>
                    <a:pt x="119729" y="461677"/>
                    <a:pt x="136779" y="466344"/>
                    <a:pt x="157067" y="466344"/>
                  </a:cubicBezTo>
                  <a:cubicBezTo>
                    <a:pt x="171164" y="466344"/>
                    <a:pt x="184309" y="464439"/>
                    <a:pt x="196310" y="460724"/>
                  </a:cubicBezTo>
                  <a:cubicBezTo>
                    <a:pt x="208312" y="456914"/>
                    <a:pt x="218789" y="451676"/>
                    <a:pt x="227743" y="444818"/>
                  </a:cubicBezTo>
                  <a:cubicBezTo>
                    <a:pt x="236696" y="437960"/>
                    <a:pt x="243650" y="429768"/>
                    <a:pt x="248603" y="420053"/>
                  </a:cubicBezTo>
                  <a:cubicBezTo>
                    <a:pt x="253555" y="410432"/>
                    <a:pt x="256032" y="399669"/>
                    <a:pt x="256032" y="387858"/>
                  </a:cubicBezTo>
                  <a:lnTo>
                    <a:pt x="256032" y="366617"/>
                  </a:lnTo>
                  <a:close/>
                </a:path>
              </a:pathLst>
            </a:custGeom>
            <a:solidFill>
              <a:srgbClr val="44505E"/>
            </a:solidFill>
            <a:ln w="9525" cap="flat">
              <a:noFill/>
              <a:prstDash val="solid"/>
              <a:miter/>
            </a:ln>
          </p:spPr>
          <p:txBody>
            <a:bodyPr rtlCol="0" anchor="ctr"/>
            <a:lstStyle/>
            <a:p>
              <a:endParaRPr lang="pt-BR" noProof="0"/>
            </a:p>
          </p:txBody>
        </p:sp>
        <p:sp>
          <p:nvSpPr>
            <p:cNvPr id="31" name="Freeform: Shape 30">
              <a:extLst>
                <a:ext uri="{FF2B5EF4-FFF2-40B4-BE49-F238E27FC236}">
                  <a16:creationId xmlns:a16="http://schemas.microsoft.com/office/drawing/2014/main" id="{D26C4898-0419-F456-61D5-D0C7DF92200F}"/>
                </a:ext>
              </a:extLst>
            </p:cNvPr>
            <p:cNvSpPr/>
            <p:nvPr/>
          </p:nvSpPr>
          <p:spPr>
            <a:xfrm>
              <a:off x="6506477" y="699959"/>
              <a:ext cx="100038" cy="97908"/>
            </a:xfrm>
            <a:custGeom>
              <a:avLst/>
              <a:gdLst>
                <a:gd name="connsiteX0" fmla="*/ 197834 w 397954"/>
                <a:gd name="connsiteY0" fmla="*/ 389477 h 389477"/>
                <a:gd name="connsiteX1" fmla="*/ 119063 w 397954"/>
                <a:gd name="connsiteY1" fmla="*/ 374237 h 389477"/>
                <a:gd name="connsiteX2" fmla="*/ 56198 w 397954"/>
                <a:gd name="connsiteY2" fmla="*/ 332899 h 389477"/>
                <a:gd name="connsiteX3" fmla="*/ 14859 w 397954"/>
                <a:gd name="connsiteY3" fmla="*/ 271463 h 389477"/>
                <a:gd name="connsiteX4" fmla="*/ 0 w 397954"/>
                <a:gd name="connsiteY4" fmla="*/ 196501 h 389477"/>
                <a:gd name="connsiteX5" fmla="*/ 0 w 397954"/>
                <a:gd name="connsiteY5" fmla="*/ 195072 h 389477"/>
                <a:gd name="connsiteX6" fmla="*/ 15240 w 397954"/>
                <a:gd name="connsiteY6" fmla="*/ 119444 h 389477"/>
                <a:gd name="connsiteX7" fmla="*/ 56960 w 397954"/>
                <a:gd name="connsiteY7" fmla="*/ 57626 h 389477"/>
                <a:gd name="connsiteX8" fmla="*/ 119825 w 397954"/>
                <a:gd name="connsiteY8" fmla="*/ 15526 h 389477"/>
                <a:gd name="connsiteX9" fmla="*/ 199358 w 397954"/>
                <a:gd name="connsiteY9" fmla="*/ 0 h 389477"/>
                <a:gd name="connsiteX10" fmla="*/ 278892 w 397954"/>
                <a:gd name="connsiteY10" fmla="*/ 15240 h 389477"/>
                <a:gd name="connsiteX11" fmla="*/ 341757 w 397954"/>
                <a:gd name="connsiteY11" fmla="*/ 56959 h 389477"/>
                <a:gd name="connsiteX12" fmla="*/ 383096 w 397954"/>
                <a:gd name="connsiteY12" fmla="*/ 118396 h 389477"/>
                <a:gd name="connsiteX13" fmla="*/ 397955 w 397954"/>
                <a:gd name="connsiteY13" fmla="*/ 193643 h 389477"/>
                <a:gd name="connsiteX14" fmla="*/ 397955 w 397954"/>
                <a:gd name="connsiteY14" fmla="*/ 195072 h 389477"/>
                <a:gd name="connsiteX15" fmla="*/ 382714 w 397954"/>
                <a:gd name="connsiteY15" fmla="*/ 270034 h 389477"/>
                <a:gd name="connsiteX16" fmla="*/ 340995 w 397954"/>
                <a:gd name="connsiteY16" fmla="*/ 331851 h 389477"/>
                <a:gd name="connsiteX17" fmla="*/ 277749 w 397954"/>
                <a:gd name="connsiteY17" fmla="*/ 373856 h 389477"/>
                <a:gd name="connsiteX18" fmla="*/ 197834 w 397954"/>
                <a:gd name="connsiteY18" fmla="*/ 389382 h 389477"/>
                <a:gd name="connsiteX19" fmla="*/ 199263 w 397954"/>
                <a:gd name="connsiteY19" fmla="*/ 315278 h 389477"/>
                <a:gd name="connsiteX20" fmla="*/ 245936 w 397954"/>
                <a:gd name="connsiteY20" fmla="*/ 305753 h 389477"/>
                <a:gd name="connsiteX21" fmla="*/ 281369 w 397954"/>
                <a:gd name="connsiteY21" fmla="*/ 279940 h 389477"/>
                <a:gd name="connsiteX22" fmla="*/ 303848 w 397954"/>
                <a:gd name="connsiteY22" fmla="*/ 242125 h 389477"/>
                <a:gd name="connsiteX23" fmla="*/ 311563 w 397954"/>
                <a:gd name="connsiteY23" fmla="*/ 196501 h 389477"/>
                <a:gd name="connsiteX24" fmla="*/ 311563 w 397954"/>
                <a:gd name="connsiteY24" fmla="*/ 195072 h 389477"/>
                <a:gd name="connsiteX25" fmla="*/ 303181 w 397954"/>
                <a:gd name="connsiteY25" fmla="*/ 148400 h 389477"/>
                <a:gd name="connsiteX26" fmla="*/ 279654 w 397954"/>
                <a:gd name="connsiteY26" fmla="*/ 110204 h 389477"/>
                <a:gd name="connsiteX27" fmla="*/ 243840 w 397954"/>
                <a:gd name="connsiteY27" fmla="*/ 84392 h 389477"/>
                <a:gd name="connsiteX28" fmla="*/ 197834 w 397954"/>
                <a:gd name="connsiteY28" fmla="*/ 74867 h 389477"/>
                <a:gd name="connsiteX29" fmla="*/ 151829 w 397954"/>
                <a:gd name="connsiteY29" fmla="*/ 84392 h 389477"/>
                <a:gd name="connsiteX30" fmla="*/ 116396 w 397954"/>
                <a:gd name="connsiteY30" fmla="*/ 109823 h 389477"/>
                <a:gd name="connsiteX31" fmla="*/ 93916 w 397954"/>
                <a:gd name="connsiteY31" fmla="*/ 147638 h 389477"/>
                <a:gd name="connsiteX32" fmla="*/ 86201 w 397954"/>
                <a:gd name="connsiteY32" fmla="*/ 193548 h 389477"/>
                <a:gd name="connsiteX33" fmla="*/ 86201 w 397954"/>
                <a:gd name="connsiteY33" fmla="*/ 194977 h 389477"/>
                <a:gd name="connsiteX34" fmla="*/ 94583 w 397954"/>
                <a:gd name="connsiteY34" fmla="*/ 241268 h 389477"/>
                <a:gd name="connsiteX35" fmla="*/ 118110 w 397954"/>
                <a:gd name="connsiteY35" fmla="*/ 279463 h 389477"/>
                <a:gd name="connsiteX36" fmla="*/ 153924 w 397954"/>
                <a:gd name="connsiteY36" fmla="*/ 305562 h 389477"/>
                <a:gd name="connsiteX37" fmla="*/ 199263 w 397954"/>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954" h="389477">
                  <a:moveTo>
                    <a:pt x="197834" y="389477"/>
                  </a:moveTo>
                  <a:cubicBezTo>
                    <a:pt x="169545" y="389477"/>
                    <a:pt x="143351" y="384429"/>
                    <a:pt x="119063" y="374237"/>
                  </a:cubicBezTo>
                  <a:cubicBezTo>
                    <a:pt x="94774" y="364141"/>
                    <a:pt x="73819" y="350330"/>
                    <a:pt x="56198" y="332899"/>
                  </a:cubicBezTo>
                  <a:cubicBezTo>
                    <a:pt x="38576" y="315468"/>
                    <a:pt x="24765" y="294989"/>
                    <a:pt x="14859" y="271463"/>
                  </a:cubicBezTo>
                  <a:cubicBezTo>
                    <a:pt x="4953" y="247936"/>
                    <a:pt x="0" y="222980"/>
                    <a:pt x="0" y="196501"/>
                  </a:cubicBezTo>
                  <a:lnTo>
                    <a:pt x="0" y="195072"/>
                  </a:lnTo>
                  <a:cubicBezTo>
                    <a:pt x="0" y="168212"/>
                    <a:pt x="5049" y="143066"/>
                    <a:pt x="15240" y="119444"/>
                  </a:cubicBezTo>
                  <a:cubicBezTo>
                    <a:pt x="25337" y="95917"/>
                    <a:pt x="39243" y="75248"/>
                    <a:pt x="56960" y="57626"/>
                  </a:cubicBezTo>
                  <a:cubicBezTo>
                    <a:pt x="74676" y="39910"/>
                    <a:pt x="95631" y="25908"/>
                    <a:pt x="119825" y="15526"/>
                  </a:cubicBezTo>
                  <a:cubicBezTo>
                    <a:pt x="144113" y="5144"/>
                    <a:pt x="170593" y="0"/>
                    <a:pt x="199358" y="0"/>
                  </a:cubicBezTo>
                  <a:cubicBezTo>
                    <a:pt x="228124" y="0"/>
                    <a:pt x="254604" y="5048"/>
                    <a:pt x="278892" y="15240"/>
                  </a:cubicBezTo>
                  <a:cubicBezTo>
                    <a:pt x="303181" y="25337"/>
                    <a:pt x="324136" y="39243"/>
                    <a:pt x="341757" y="56959"/>
                  </a:cubicBezTo>
                  <a:cubicBezTo>
                    <a:pt x="359379" y="74676"/>
                    <a:pt x="373189" y="95155"/>
                    <a:pt x="383096" y="118396"/>
                  </a:cubicBezTo>
                  <a:cubicBezTo>
                    <a:pt x="393002" y="141732"/>
                    <a:pt x="397955" y="166783"/>
                    <a:pt x="397955" y="193643"/>
                  </a:cubicBezTo>
                  <a:lnTo>
                    <a:pt x="397955" y="195072"/>
                  </a:lnTo>
                  <a:cubicBezTo>
                    <a:pt x="397955" y="221456"/>
                    <a:pt x="392906" y="246412"/>
                    <a:pt x="382714" y="270034"/>
                  </a:cubicBezTo>
                  <a:cubicBezTo>
                    <a:pt x="372618" y="293561"/>
                    <a:pt x="358712" y="314230"/>
                    <a:pt x="340995" y="331851"/>
                  </a:cubicBezTo>
                  <a:cubicBezTo>
                    <a:pt x="323279" y="349472"/>
                    <a:pt x="302229" y="363569"/>
                    <a:pt x="277749" y="373856"/>
                  </a:cubicBezTo>
                  <a:cubicBezTo>
                    <a:pt x="253270" y="384238"/>
                    <a:pt x="226600" y="389382"/>
                    <a:pt x="197834" y="389382"/>
                  </a:cubicBezTo>
                  <a:close/>
                  <a:moveTo>
                    <a:pt x="199263" y="315278"/>
                  </a:moveTo>
                  <a:cubicBezTo>
                    <a:pt x="216598" y="315278"/>
                    <a:pt x="232124" y="312039"/>
                    <a:pt x="245936" y="305753"/>
                  </a:cubicBezTo>
                  <a:cubicBezTo>
                    <a:pt x="259747" y="299371"/>
                    <a:pt x="271558" y="290798"/>
                    <a:pt x="281369" y="279940"/>
                  </a:cubicBezTo>
                  <a:cubicBezTo>
                    <a:pt x="291179" y="269081"/>
                    <a:pt x="298704" y="256508"/>
                    <a:pt x="303848" y="242125"/>
                  </a:cubicBezTo>
                  <a:cubicBezTo>
                    <a:pt x="308991" y="227743"/>
                    <a:pt x="311563" y="212598"/>
                    <a:pt x="311563" y="196501"/>
                  </a:cubicBezTo>
                  <a:lnTo>
                    <a:pt x="311563" y="195072"/>
                  </a:lnTo>
                  <a:cubicBezTo>
                    <a:pt x="311563" y="178594"/>
                    <a:pt x="308706" y="163068"/>
                    <a:pt x="303181" y="148400"/>
                  </a:cubicBezTo>
                  <a:cubicBezTo>
                    <a:pt x="297561" y="133826"/>
                    <a:pt x="289750" y="121063"/>
                    <a:pt x="279654" y="110204"/>
                  </a:cubicBezTo>
                  <a:cubicBezTo>
                    <a:pt x="269557" y="99346"/>
                    <a:pt x="257651" y="90773"/>
                    <a:pt x="243840" y="84392"/>
                  </a:cubicBezTo>
                  <a:cubicBezTo>
                    <a:pt x="230029" y="78010"/>
                    <a:pt x="214694" y="74867"/>
                    <a:pt x="197834" y="74867"/>
                  </a:cubicBezTo>
                  <a:cubicBezTo>
                    <a:pt x="180975" y="74867"/>
                    <a:pt x="165640" y="78010"/>
                    <a:pt x="151829" y="84392"/>
                  </a:cubicBezTo>
                  <a:cubicBezTo>
                    <a:pt x="138017" y="90773"/>
                    <a:pt x="126206" y="99250"/>
                    <a:pt x="116396" y="109823"/>
                  </a:cubicBezTo>
                  <a:cubicBezTo>
                    <a:pt x="106585" y="120396"/>
                    <a:pt x="99060" y="133064"/>
                    <a:pt x="93916" y="147638"/>
                  </a:cubicBezTo>
                  <a:cubicBezTo>
                    <a:pt x="88773" y="162211"/>
                    <a:pt x="86201" y="177546"/>
                    <a:pt x="86201" y="193548"/>
                  </a:cubicBezTo>
                  <a:lnTo>
                    <a:pt x="86201" y="194977"/>
                  </a:lnTo>
                  <a:cubicBezTo>
                    <a:pt x="86201" y="211455"/>
                    <a:pt x="89059" y="226886"/>
                    <a:pt x="94583" y="241268"/>
                  </a:cubicBezTo>
                  <a:cubicBezTo>
                    <a:pt x="100203" y="255651"/>
                    <a:pt x="108014" y="268319"/>
                    <a:pt x="118110" y="279463"/>
                  </a:cubicBezTo>
                  <a:cubicBezTo>
                    <a:pt x="128207" y="290608"/>
                    <a:pt x="140113" y="299275"/>
                    <a:pt x="153924" y="305562"/>
                  </a:cubicBezTo>
                  <a:cubicBezTo>
                    <a:pt x="167735" y="311944"/>
                    <a:pt x="182785"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32" name="Freeform: Shape 31">
              <a:extLst>
                <a:ext uri="{FF2B5EF4-FFF2-40B4-BE49-F238E27FC236}">
                  <a16:creationId xmlns:a16="http://schemas.microsoft.com/office/drawing/2014/main" id="{3E9845B7-F4E0-6E0F-19F9-1353ECF8CCAA}"/>
                </a:ext>
              </a:extLst>
            </p:cNvPr>
            <p:cNvSpPr/>
            <p:nvPr/>
          </p:nvSpPr>
          <p:spPr>
            <a:xfrm>
              <a:off x="662071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1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7 w 296894"/>
                <a:gd name="connsiteY23" fmla="*/ 42863 h 386714"/>
                <a:gd name="connsiteX24" fmla="*/ 254318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7 w 296894"/>
                <a:gd name="connsiteY30" fmla="*/ 124587 h 386714"/>
                <a:gd name="connsiteX31" fmla="*/ 122682 w 296894"/>
                <a:gd name="connsiteY31" fmla="*/ 138017 h 386714"/>
                <a:gd name="connsiteX32" fmla="*/ 149543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6" y="348901"/>
                    <a:pt x="0" y="330327"/>
                  </a:cubicBezTo>
                  <a:lnTo>
                    <a:pt x="38195" y="272224"/>
                  </a:lnTo>
                  <a:cubicBezTo>
                    <a:pt x="58484" y="287274"/>
                    <a:pt x="79057" y="298704"/>
                    <a:pt x="100013" y="306514"/>
                  </a:cubicBezTo>
                  <a:cubicBezTo>
                    <a:pt x="120968" y="314325"/>
                    <a:pt x="141161" y="318135"/>
                    <a:pt x="160401" y="318135"/>
                  </a:cubicBezTo>
                  <a:cubicBezTo>
                    <a:pt x="179641" y="318135"/>
                    <a:pt x="192977"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1" y="241078"/>
                    <a:pt x="176498" y="237553"/>
                    <a:pt x="166401"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2" y="40195"/>
                    <a:pt x="56864" y="30385"/>
                  </a:cubicBezTo>
                  <a:cubicBezTo>
                    <a:pt x="68866" y="20479"/>
                    <a:pt x="82962" y="12954"/>
                    <a:pt x="99250" y="7810"/>
                  </a:cubicBezTo>
                  <a:cubicBezTo>
                    <a:pt x="115538" y="2667"/>
                    <a:pt x="132779" y="0"/>
                    <a:pt x="151162" y="0"/>
                  </a:cubicBezTo>
                  <a:cubicBezTo>
                    <a:pt x="174688" y="0"/>
                    <a:pt x="198501" y="3810"/>
                    <a:pt x="222504" y="11430"/>
                  </a:cubicBezTo>
                  <a:cubicBezTo>
                    <a:pt x="246507" y="19050"/>
                    <a:pt x="268414" y="29527"/>
                    <a:pt x="288227" y="42863"/>
                  </a:cubicBezTo>
                  <a:lnTo>
                    <a:pt x="254318"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7" y="124587"/>
                  </a:cubicBezTo>
                  <a:cubicBezTo>
                    <a:pt x="108585" y="129540"/>
                    <a:pt x="114871" y="134017"/>
                    <a:pt x="122682" y="138017"/>
                  </a:cubicBezTo>
                  <a:cubicBezTo>
                    <a:pt x="130493" y="142018"/>
                    <a:pt x="139351" y="145732"/>
                    <a:pt x="149543"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696"/>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33" name="Freeform: Shape 32">
              <a:extLst>
                <a:ext uri="{FF2B5EF4-FFF2-40B4-BE49-F238E27FC236}">
                  <a16:creationId xmlns:a16="http://schemas.microsoft.com/office/drawing/2014/main" id="{37A7EC33-63F4-2147-A760-DE3D338DCD2D}"/>
                </a:ext>
              </a:extLst>
            </p:cNvPr>
            <p:cNvSpPr/>
            <p:nvPr/>
          </p:nvSpPr>
          <p:spPr>
            <a:xfrm>
              <a:off x="526693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4 w 202977"/>
                <a:gd name="connsiteY17" fmla="*/ 19907 h 239267"/>
                <a:gd name="connsiteX18" fmla="*/ 59246 w 202977"/>
                <a:gd name="connsiteY18" fmla="*/ 5429 h 239267"/>
                <a:gd name="connsiteX19" fmla="*/ 104299 w 202977"/>
                <a:gd name="connsiteY19" fmla="*/ 0 h 239267"/>
                <a:gd name="connsiteX20" fmla="*/ 178880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5 w 202977"/>
                <a:gd name="connsiteY27" fmla="*/ 211169 h 239267"/>
                <a:gd name="connsiteX28" fmla="*/ 122968 w 202977"/>
                <a:gd name="connsiteY28" fmla="*/ 206788 h 239267"/>
                <a:gd name="connsiteX29" fmla="*/ 147257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9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9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3" y="99155"/>
                    <a:pt x="58674" y="95917"/>
                  </a:cubicBezTo>
                  <a:cubicBezTo>
                    <a:pt x="70771" y="92678"/>
                    <a:pt x="84011" y="90964"/>
                    <a:pt x="98584" y="90964"/>
                  </a:cubicBezTo>
                  <a:cubicBezTo>
                    <a:pt x="113157" y="90964"/>
                    <a:pt x="126301" y="91821"/>
                    <a:pt x="137160" y="93631"/>
                  </a:cubicBezTo>
                  <a:cubicBezTo>
                    <a:pt x="148019" y="95440"/>
                    <a:pt x="158687" y="97822"/>
                    <a:pt x="169069" y="100774"/>
                  </a:cubicBezTo>
                  <a:lnTo>
                    <a:pt x="169069" y="93726"/>
                  </a:lnTo>
                  <a:cubicBezTo>
                    <a:pt x="169069" y="73342"/>
                    <a:pt x="163068" y="57912"/>
                    <a:pt x="151162" y="47339"/>
                  </a:cubicBezTo>
                  <a:cubicBezTo>
                    <a:pt x="139256" y="36862"/>
                    <a:pt x="122492" y="31623"/>
                    <a:pt x="100679" y="31623"/>
                  </a:cubicBezTo>
                  <a:cubicBezTo>
                    <a:pt x="86963" y="31623"/>
                    <a:pt x="74581" y="33147"/>
                    <a:pt x="63437" y="36100"/>
                  </a:cubicBezTo>
                  <a:cubicBezTo>
                    <a:pt x="52292" y="39053"/>
                    <a:pt x="41339" y="43053"/>
                    <a:pt x="30671" y="48196"/>
                  </a:cubicBezTo>
                  <a:lnTo>
                    <a:pt x="20384" y="19907"/>
                  </a:lnTo>
                  <a:cubicBezTo>
                    <a:pt x="33147" y="13906"/>
                    <a:pt x="46101" y="9049"/>
                    <a:pt x="59246" y="5429"/>
                  </a:cubicBezTo>
                  <a:cubicBezTo>
                    <a:pt x="72295" y="1810"/>
                    <a:pt x="87344" y="0"/>
                    <a:pt x="104299" y="0"/>
                  </a:cubicBezTo>
                  <a:cubicBezTo>
                    <a:pt x="137065" y="0"/>
                    <a:pt x="161925" y="8477"/>
                    <a:pt x="178880"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99" y="239173"/>
                    <a:pt x="86011" y="239173"/>
                  </a:cubicBezTo>
                  <a:close/>
                  <a:moveTo>
                    <a:pt x="93155" y="211169"/>
                  </a:moveTo>
                  <a:cubicBezTo>
                    <a:pt x="103823" y="211169"/>
                    <a:pt x="113728" y="209740"/>
                    <a:pt x="122968" y="206788"/>
                  </a:cubicBezTo>
                  <a:cubicBezTo>
                    <a:pt x="132207" y="203835"/>
                    <a:pt x="140208" y="199644"/>
                    <a:pt x="147257"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9" y="121444"/>
                  </a:cubicBezTo>
                  <a:cubicBezTo>
                    <a:pt x="129445" y="119348"/>
                    <a:pt x="116776"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244" y="190500"/>
                    <a:pt x="47435" y="195358"/>
                    <a:pt x="52769" y="199263"/>
                  </a:cubicBezTo>
                  <a:cubicBezTo>
                    <a:pt x="58103" y="203073"/>
                    <a:pt x="64294" y="206026"/>
                    <a:pt x="71247" y="208121"/>
                  </a:cubicBezTo>
                  <a:cubicBezTo>
                    <a:pt x="78200" y="210217"/>
                    <a:pt x="85535"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34" name="Freeform: Shape 33">
              <a:extLst>
                <a:ext uri="{FF2B5EF4-FFF2-40B4-BE49-F238E27FC236}">
                  <a16:creationId xmlns:a16="http://schemas.microsoft.com/office/drawing/2014/main" id="{7C8C2520-5A36-D5A5-FC53-2E76BC4F3186}"/>
                </a:ext>
              </a:extLst>
            </p:cNvPr>
            <p:cNvSpPr/>
            <p:nvPr/>
          </p:nvSpPr>
          <p:spPr>
            <a:xfrm>
              <a:off x="5331227"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9" y="303276"/>
                    <a:pt x="71438" y="300895"/>
                  </a:cubicBezTo>
                  <a:cubicBezTo>
                    <a:pt x="63437"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2"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5" name="Freeform: Shape 34">
              <a:extLst>
                <a:ext uri="{FF2B5EF4-FFF2-40B4-BE49-F238E27FC236}">
                  <a16:creationId xmlns:a16="http://schemas.microsoft.com/office/drawing/2014/main" id="{15014C07-58A7-0C7F-2F16-38782D0FD281}"/>
                </a:ext>
              </a:extLst>
            </p:cNvPr>
            <p:cNvSpPr/>
            <p:nvPr/>
          </p:nvSpPr>
          <p:spPr>
            <a:xfrm>
              <a:off x="5381845"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191 w 39242"/>
                <a:gd name="connsiteY5" fmla="*/ 88392 h 319182"/>
                <a:gd name="connsiteX6" fmla="*/ 36576 w 39242"/>
                <a:gd name="connsiteY6" fmla="*/ 88392 h 319182"/>
                <a:gd name="connsiteX7" fmla="*/ 36576 w 39242"/>
                <a:gd name="connsiteY7" fmla="*/ 319183 h 319182"/>
                <a:gd name="connsiteX8" fmla="*/ 2191 w 39242"/>
                <a:gd name="connsiteY8" fmla="*/ 319183 h 319182"/>
                <a:gd name="connsiteX9" fmla="*/ 2191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191" y="88392"/>
                  </a:moveTo>
                  <a:lnTo>
                    <a:pt x="36576" y="88392"/>
                  </a:lnTo>
                  <a:lnTo>
                    <a:pt x="36576" y="319183"/>
                  </a:lnTo>
                  <a:lnTo>
                    <a:pt x="2191" y="319183"/>
                  </a:lnTo>
                  <a:lnTo>
                    <a:pt x="2191" y="88392"/>
                  </a:lnTo>
                  <a:close/>
                </a:path>
              </a:pathLst>
            </a:custGeom>
            <a:solidFill>
              <a:srgbClr val="44505E"/>
            </a:solidFill>
            <a:ln w="9525" cap="flat">
              <a:noFill/>
              <a:prstDash val="solid"/>
              <a:miter/>
            </a:ln>
          </p:spPr>
          <p:txBody>
            <a:bodyPr rtlCol="0" anchor="ctr"/>
            <a:lstStyle/>
            <a:p>
              <a:endParaRPr lang="pt-BR" noProof="0"/>
            </a:p>
          </p:txBody>
        </p:sp>
        <p:sp>
          <p:nvSpPr>
            <p:cNvPr id="36" name="Freeform: Shape 35">
              <a:extLst>
                <a:ext uri="{FF2B5EF4-FFF2-40B4-BE49-F238E27FC236}">
                  <a16:creationId xmlns:a16="http://schemas.microsoft.com/office/drawing/2014/main" id="{F564632B-F55C-531B-4BA9-B6F4A67A1565}"/>
                </a:ext>
              </a:extLst>
            </p:cNvPr>
            <p:cNvSpPr/>
            <p:nvPr/>
          </p:nvSpPr>
          <p:spPr>
            <a:xfrm>
              <a:off x="5406076"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8" y="303276"/>
                    <a:pt x="71438" y="300895"/>
                  </a:cubicBezTo>
                  <a:cubicBezTo>
                    <a:pt x="63436"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1"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7" name="Freeform: Shape 36">
              <a:extLst>
                <a:ext uri="{FF2B5EF4-FFF2-40B4-BE49-F238E27FC236}">
                  <a16:creationId xmlns:a16="http://schemas.microsoft.com/office/drawing/2014/main" id="{690613A3-990F-BEEA-7D00-A5D3E33D5951}"/>
                </a:ext>
              </a:extLst>
            </p:cNvPr>
            <p:cNvSpPr/>
            <p:nvPr/>
          </p:nvSpPr>
          <p:spPr>
            <a:xfrm>
              <a:off x="5455545" y="925297"/>
              <a:ext cx="50594" cy="59238"/>
            </a:xfrm>
            <a:custGeom>
              <a:avLst/>
              <a:gdLst>
                <a:gd name="connsiteX0" fmla="*/ 88392 w 201263"/>
                <a:gd name="connsiteY0" fmla="*/ 235648 h 235648"/>
                <a:gd name="connsiteX1" fmla="*/ 51149 w 201263"/>
                <a:gd name="connsiteY1" fmla="*/ 228981 h 235648"/>
                <a:gd name="connsiteX2" fmla="*/ 23431 w 201263"/>
                <a:gd name="connsiteY2" fmla="*/ 210026 h 235648"/>
                <a:gd name="connsiteX3" fmla="*/ 6001 w 201263"/>
                <a:gd name="connsiteY3" fmla="*/ 180784 h 235648"/>
                <a:gd name="connsiteX4" fmla="*/ 0 w 201263"/>
                <a:gd name="connsiteY4" fmla="*/ 143256 h 235648"/>
                <a:gd name="connsiteX5" fmla="*/ 0 w 201263"/>
                <a:gd name="connsiteY5" fmla="*/ 0 h 235648"/>
                <a:gd name="connsiteX6" fmla="*/ 34385 w 201263"/>
                <a:gd name="connsiteY6" fmla="*/ 0 h 235648"/>
                <a:gd name="connsiteX7" fmla="*/ 34385 w 201263"/>
                <a:gd name="connsiteY7" fmla="*/ 134493 h 235648"/>
                <a:gd name="connsiteX8" fmla="*/ 50864 w 201263"/>
                <a:gd name="connsiteY8" fmla="*/ 185261 h 235648"/>
                <a:gd name="connsiteX9" fmla="*/ 98203 w 201263"/>
                <a:gd name="connsiteY9" fmla="*/ 203930 h 235648"/>
                <a:gd name="connsiteX10" fmla="*/ 125635 w 201263"/>
                <a:gd name="connsiteY10" fmla="*/ 198787 h 235648"/>
                <a:gd name="connsiteX11" fmla="*/ 147542 w 201263"/>
                <a:gd name="connsiteY11" fmla="*/ 184118 h 235648"/>
                <a:gd name="connsiteX12" fmla="*/ 162020 w 201263"/>
                <a:gd name="connsiteY12" fmla="*/ 161163 h 235648"/>
                <a:gd name="connsiteX13" fmla="*/ 167354 w 201263"/>
                <a:gd name="connsiteY13" fmla="*/ 131826 h 235648"/>
                <a:gd name="connsiteX14" fmla="*/ 167354 w 201263"/>
                <a:gd name="connsiteY14" fmla="*/ 0 h 235648"/>
                <a:gd name="connsiteX15" fmla="*/ 201263 w 201263"/>
                <a:gd name="connsiteY15" fmla="*/ 0 h 235648"/>
                <a:gd name="connsiteX16" fmla="*/ 201263 w 201263"/>
                <a:gd name="connsiteY16" fmla="*/ 230791 h 235648"/>
                <a:gd name="connsiteX17" fmla="*/ 167354 w 201263"/>
                <a:gd name="connsiteY17" fmla="*/ 230791 h 235648"/>
                <a:gd name="connsiteX18" fmla="*/ 167354 w 201263"/>
                <a:gd name="connsiteY18" fmla="*/ 190595 h 235648"/>
                <a:gd name="connsiteX19" fmla="*/ 136969 w 201263"/>
                <a:gd name="connsiteY19" fmla="*/ 222504 h 235648"/>
                <a:gd name="connsiteX20" fmla="*/ 88297 w 201263"/>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263" h="235648">
                  <a:moveTo>
                    <a:pt x="88392" y="235648"/>
                  </a:moveTo>
                  <a:cubicBezTo>
                    <a:pt x="74390" y="235648"/>
                    <a:pt x="62008" y="233363"/>
                    <a:pt x="51149" y="228981"/>
                  </a:cubicBezTo>
                  <a:cubicBezTo>
                    <a:pt x="40291" y="224504"/>
                    <a:pt x="31052" y="218218"/>
                    <a:pt x="23431"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864" y="185261"/>
                  </a:cubicBezTo>
                  <a:cubicBezTo>
                    <a:pt x="61913" y="197739"/>
                    <a:pt x="77629" y="203930"/>
                    <a:pt x="98203" y="203930"/>
                  </a:cubicBezTo>
                  <a:cubicBezTo>
                    <a:pt x="108014" y="203930"/>
                    <a:pt x="117158" y="202216"/>
                    <a:pt x="125635" y="198787"/>
                  </a:cubicBezTo>
                  <a:cubicBezTo>
                    <a:pt x="134112" y="195358"/>
                    <a:pt x="141351" y="190500"/>
                    <a:pt x="147542" y="184118"/>
                  </a:cubicBezTo>
                  <a:cubicBezTo>
                    <a:pt x="153638" y="177736"/>
                    <a:pt x="158496" y="170116"/>
                    <a:pt x="162020" y="161163"/>
                  </a:cubicBezTo>
                  <a:cubicBezTo>
                    <a:pt x="165640" y="152305"/>
                    <a:pt x="167354" y="142494"/>
                    <a:pt x="167354" y="131826"/>
                  </a:cubicBezTo>
                  <a:lnTo>
                    <a:pt x="167354" y="0"/>
                  </a:lnTo>
                  <a:lnTo>
                    <a:pt x="201263" y="0"/>
                  </a:lnTo>
                  <a:lnTo>
                    <a:pt x="201263" y="230791"/>
                  </a:lnTo>
                  <a:lnTo>
                    <a:pt x="167354" y="230791"/>
                  </a:lnTo>
                  <a:lnTo>
                    <a:pt x="167354" y="190595"/>
                  </a:lnTo>
                  <a:cubicBezTo>
                    <a:pt x="159639" y="203073"/>
                    <a:pt x="149447" y="213741"/>
                    <a:pt x="136969" y="222504"/>
                  </a:cubicBezTo>
                  <a:cubicBezTo>
                    <a:pt x="124492" y="231267"/>
                    <a:pt x="108299" y="235648"/>
                    <a:pt x="88297" y="235648"/>
                  </a:cubicBezTo>
                  <a:close/>
                </a:path>
              </a:pathLst>
            </a:custGeom>
            <a:solidFill>
              <a:srgbClr val="44505E"/>
            </a:solidFill>
            <a:ln w="9525" cap="flat">
              <a:noFill/>
              <a:prstDash val="solid"/>
              <a:miter/>
            </a:ln>
          </p:spPr>
          <p:txBody>
            <a:bodyPr rtlCol="0" anchor="ctr"/>
            <a:lstStyle/>
            <a:p>
              <a:endParaRPr lang="pt-BR" noProof="0"/>
            </a:p>
          </p:txBody>
        </p:sp>
        <p:sp>
          <p:nvSpPr>
            <p:cNvPr id="38" name="Freeform: Shape 37">
              <a:extLst>
                <a:ext uri="{FF2B5EF4-FFF2-40B4-BE49-F238E27FC236}">
                  <a16:creationId xmlns:a16="http://schemas.microsoft.com/office/drawing/2014/main" id="{21046FFC-809A-A965-1F9E-F860DEA72F3E}"/>
                </a:ext>
              </a:extLst>
            </p:cNvPr>
            <p:cNvSpPr/>
            <p:nvPr/>
          </p:nvSpPr>
          <p:spPr>
            <a:xfrm>
              <a:off x="5522205" y="901353"/>
              <a:ext cx="58567" cy="83182"/>
            </a:xfrm>
            <a:custGeom>
              <a:avLst/>
              <a:gdLst>
                <a:gd name="connsiteX0" fmla="*/ 110204 w 232981"/>
                <a:gd name="connsiteY0" fmla="*/ 330898 h 330898"/>
                <a:gd name="connsiteX1" fmla="*/ 69628 w 232981"/>
                <a:gd name="connsiteY1" fmla="*/ 322897 h 330898"/>
                <a:gd name="connsiteX2" fmla="*/ 34385 w 232981"/>
                <a:gd name="connsiteY2" fmla="*/ 299466 h 330898"/>
                <a:gd name="connsiteX3" fmla="*/ 9334 w 232981"/>
                <a:gd name="connsiteY3" fmla="*/ 261938 h 330898"/>
                <a:gd name="connsiteX4" fmla="*/ 0 w 232981"/>
                <a:gd name="connsiteY4" fmla="*/ 211264 h 330898"/>
                <a:gd name="connsiteX5" fmla="*/ 0 w 232981"/>
                <a:gd name="connsiteY5" fmla="*/ 210407 h 330898"/>
                <a:gd name="connsiteX6" fmla="*/ 9334 w 232981"/>
                <a:gd name="connsiteY6" fmla="*/ 159925 h 330898"/>
                <a:gd name="connsiteX7" fmla="*/ 34385 w 232981"/>
                <a:gd name="connsiteY7" fmla="*/ 122206 h 330898"/>
                <a:gd name="connsiteX8" fmla="*/ 69628 w 232981"/>
                <a:gd name="connsiteY8" fmla="*/ 98488 h 330898"/>
                <a:gd name="connsiteX9" fmla="*/ 110204 w 232981"/>
                <a:gd name="connsiteY9" fmla="*/ 90202 h 330898"/>
                <a:gd name="connsiteX10" fmla="*/ 139636 w 232981"/>
                <a:gd name="connsiteY10" fmla="*/ 94202 h 330898"/>
                <a:gd name="connsiteX11" fmla="*/ 163735 w 232981"/>
                <a:gd name="connsiteY11" fmla="*/ 104870 h 330898"/>
                <a:gd name="connsiteX12" fmla="*/ 183166 w 232981"/>
                <a:gd name="connsiteY12" fmla="*/ 120491 h 330898"/>
                <a:gd name="connsiteX13" fmla="*/ 198596 w 232981"/>
                <a:gd name="connsiteY13" fmla="*/ 139255 h 330898"/>
                <a:gd name="connsiteX14" fmla="*/ 198596 w 232981"/>
                <a:gd name="connsiteY14" fmla="*/ 0 h 330898"/>
                <a:gd name="connsiteX15" fmla="*/ 232981 w 232981"/>
                <a:gd name="connsiteY15" fmla="*/ 0 h 330898"/>
                <a:gd name="connsiteX16" fmla="*/ 232981 w 232981"/>
                <a:gd name="connsiteY16" fmla="*/ 325850 h 330898"/>
                <a:gd name="connsiteX17" fmla="*/ 198596 w 232981"/>
                <a:gd name="connsiteY17" fmla="*/ 325850 h 330898"/>
                <a:gd name="connsiteX18" fmla="*/ 198596 w 232981"/>
                <a:gd name="connsiteY18" fmla="*/ 279463 h 330898"/>
                <a:gd name="connsiteX19" fmla="*/ 182785 w 232981"/>
                <a:gd name="connsiteY19" fmla="*/ 299085 h 330898"/>
                <a:gd name="connsiteX20" fmla="*/ 163354 w 232981"/>
                <a:gd name="connsiteY20" fmla="*/ 315658 h 330898"/>
                <a:gd name="connsiteX21" fmla="*/ 139446 w 232981"/>
                <a:gd name="connsiteY21" fmla="*/ 326803 h 330898"/>
                <a:gd name="connsiteX22" fmla="*/ 110204 w 232981"/>
                <a:gd name="connsiteY22" fmla="*/ 330803 h 330898"/>
                <a:gd name="connsiteX23" fmla="*/ 116491 w 232981"/>
                <a:gd name="connsiteY23" fmla="*/ 300133 h 330898"/>
                <a:gd name="connsiteX24" fmla="*/ 147542 w 232981"/>
                <a:gd name="connsiteY24" fmla="*/ 293656 h 330898"/>
                <a:gd name="connsiteX25" fmla="*/ 174307 w 232981"/>
                <a:gd name="connsiteY25" fmla="*/ 275368 h 330898"/>
                <a:gd name="connsiteX26" fmla="*/ 193072 w 232981"/>
                <a:gd name="connsiteY26" fmla="*/ 247269 h 330898"/>
                <a:gd name="connsiteX27" fmla="*/ 200025 w 232981"/>
                <a:gd name="connsiteY27" fmla="*/ 210883 h 330898"/>
                <a:gd name="connsiteX28" fmla="*/ 200025 w 232981"/>
                <a:gd name="connsiteY28" fmla="*/ 210026 h 330898"/>
                <a:gd name="connsiteX29" fmla="*/ 193072 w 232981"/>
                <a:gd name="connsiteY29" fmla="*/ 173641 h 330898"/>
                <a:gd name="connsiteX30" fmla="*/ 174307 w 232981"/>
                <a:gd name="connsiteY30" fmla="*/ 145732 h 330898"/>
                <a:gd name="connsiteX31" fmla="*/ 147542 w 232981"/>
                <a:gd name="connsiteY31" fmla="*/ 127635 h 330898"/>
                <a:gd name="connsiteX32" fmla="*/ 116491 w 232981"/>
                <a:gd name="connsiteY32" fmla="*/ 121158 h 330898"/>
                <a:gd name="connsiteX33" fmla="*/ 84772 w 232981"/>
                <a:gd name="connsiteY33" fmla="*/ 127159 h 330898"/>
                <a:gd name="connsiteX34" fmla="*/ 59150 w 232981"/>
                <a:gd name="connsiteY34" fmla="*/ 144589 h 330898"/>
                <a:gd name="connsiteX35" fmla="*/ 41719 w 232981"/>
                <a:gd name="connsiteY35" fmla="*/ 172498 h 330898"/>
                <a:gd name="connsiteX36" fmla="*/ 35242 w 232981"/>
                <a:gd name="connsiteY36" fmla="*/ 210026 h 330898"/>
                <a:gd name="connsiteX37" fmla="*/ 35242 w 232981"/>
                <a:gd name="connsiteY37" fmla="*/ 210883 h 330898"/>
                <a:gd name="connsiteX38" fmla="*/ 41719 w 232981"/>
                <a:gd name="connsiteY38" fmla="*/ 247936 h 330898"/>
                <a:gd name="connsiteX39" fmla="*/ 59341 w 232981"/>
                <a:gd name="connsiteY39" fmla="*/ 276034 h 330898"/>
                <a:gd name="connsiteX40" fmla="*/ 85249 w 232981"/>
                <a:gd name="connsiteY40" fmla="*/ 293941 h 330898"/>
                <a:gd name="connsiteX41" fmla="*/ 116491 w 23298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30898">
                  <a:moveTo>
                    <a:pt x="110204" y="330898"/>
                  </a:moveTo>
                  <a:cubicBezTo>
                    <a:pt x="96202" y="330898"/>
                    <a:pt x="82677" y="328231"/>
                    <a:pt x="69628" y="322897"/>
                  </a:cubicBezTo>
                  <a:cubicBezTo>
                    <a:pt x="56578" y="317563"/>
                    <a:pt x="44767" y="309753"/>
                    <a:pt x="34385" y="299466"/>
                  </a:cubicBezTo>
                  <a:cubicBezTo>
                    <a:pt x="24003" y="289179"/>
                    <a:pt x="15621" y="276701"/>
                    <a:pt x="9334" y="261938"/>
                  </a:cubicBezTo>
                  <a:cubicBezTo>
                    <a:pt x="3048" y="247174"/>
                    <a:pt x="0" y="230314"/>
                    <a:pt x="0" y="211264"/>
                  </a:cubicBezTo>
                  <a:lnTo>
                    <a:pt x="0" y="210407"/>
                  </a:lnTo>
                  <a:cubicBezTo>
                    <a:pt x="0" y="191643"/>
                    <a:pt x="3143" y="174879"/>
                    <a:pt x="9334" y="159925"/>
                  </a:cubicBezTo>
                  <a:cubicBezTo>
                    <a:pt x="15621" y="145066"/>
                    <a:pt x="23908" y="132493"/>
                    <a:pt x="34385" y="122206"/>
                  </a:cubicBezTo>
                  <a:cubicBezTo>
                    <a:pt x="44767" y="111919"/>
                    <a:pt x="56578" y="104013"/>
                    <a:pt x="69628" y="98488"/>
                  </a:cubicBezTo>
                  <a:cubicBezTo>
                    <a:pt x="82677" y="92964"/>
                    <a:pt x="96298" y="90202"/>
                    <a:pt x="110204" y="90202"/>
                  </a:cubicBezTo>
                  <a:cubicBezTo>
                    <a:pt x="120967" y="90202"/>
                    <a:pt x="130778" y="91535"/>
                    <a:pt x="139636" y="94202"/>
                  </a:cubicBezTo>
                  <a:cubicBezTo>
                    <a:pt x="148590" y="96869"/>
                    <a:pt x="156591" y="100489"/>
                    <a:pt x="163735" y="104870"/>
                  </a:cubicBezTo>
                  <a:cubicBezTo>
                    <a:pt x="170878" y="109347"/>
                    <a:pt x="177356" y="114586"/>
                    <a:pt x="183166" y="120491"/>
                  </a:cubicBezTo>
                  <a:cubicBezTo>
                    <a:pt x="188976" y="126492"/>
                    <a:pt x="194119" y="132683"/>
                    <a:pt x="198596" y="139255"/>
                  </a:cubicBezTo>
                  <a:lnTo>
                    <a:pt x="198596" y="0"/>
                  </a:lnTo>
                  <a:lnTo>
                    <a:pt x="232981" y="0"/>
                  </a:lnTo>
                  <a:lnTo>
                    <a:pt x="232981" y="325850"/>
                  </a:lnTo>
                  <a:lnTo>
                    <a:pt x="198596" y="325850"/>
                  </a:lnTo>
                  <a:lnTo>
                    <a:pt x="198596" y="279463"/>
                  </a:lnTo>
                  <a:cubicBezTo>
                    <a:pt x="193834" y="286321"/>
                    <a:pt x="188595" y="292894"/>
                    <a:pt x="182785" y="299085"/>
                  </a:cubicBezTo>
                  <a:cubicBezTo>
                    <a:pt x="176974" y="305371"/>
                    <a:pt x="170498" y="310896"/>
                    <a:pt x="163354" y="315658"/>
                  </a:cubicBezTo>
                  <a:cubicBezTo>
                    <a:pt x="156210" y="320421"/>
                    <a:pt x="148209" y="324136"/>
                    <a:pt x="139446" y="326803"/>
                  </a:cubicBezTo>
                  <a:cubicBezTo>
                    <a:pt x="130683" y="329470"/>
                    <a:pt x="120967" y="330803"/>
                    <a:pt x="110204" y="330803"/>
                  </a:cubicBezTo>
                  <a:close/>
                  <a:moveTo>
                    <a:pt x="116491" y="300133"/>
                  </a:moveTo>
                  <a:cubicBezTo>
                    <a:pt x="127159" y="300133"/>
                    <a:pt x="137541" y="297942"/>
                    <a:pt x="147542" y="293656"/>
                  </a:cubicBezTo>
                  <a:cubicBezTo>
                    <a:pt x="157544" y="289369"/>
                    <a:pt x="166402" y="283273"/>
                    <a:pt x="174307" y="275368"/>
                  </a:cubicBezTo>
                  <a:cubicBezTo>
                    <a:pt x="182213" y="267462"/>
                    <a:pt x="188404" y="258127"/>
                    <a:pt x="193072" y="247269"/>
                  </a:cubicBezTo>
                  <a:cubicBezTo>
                    <a:pt x="197644" y="236410"/>
                    <a:pt x="200025" y="224314"/>
                    <a:pt x="200025" y="210883"/>
                  </a:cubicBezTo>
                  <a:lnTo>
                    <a:pt x="200025" y="210026"/>
                  </a:lnTo>
                  <a:cubicBezTo>
                    <a:pt x="200025" y="196596"/>
                    <a:pt x="197739" y="184499"/>
                    <a:pt x="193072" y="173641"/>
                  </a:cubicBezTo>
                  <a:cubicBezTo>
                    <a:pt x="188500" y="162782"/>
                    <a:pt x="182213" y="153448"/>
                    <a:pt x="174307" y="145732"/>
                  </a:cubicBezTo>
                  <a:cubicBezTo>
                    <a:pt x="166402" y="138017"/>
                    <a:pt x="157448" y="132016"/>
                    <a:pt x="147542" y="127635"/>
                  </a:cubicBezTo>
                  <a:cubicBezTo>
                    <a:pt x="137541" y="123349"/>
                    <a:pt x="127254" y="121158"/>
                    <a:pt x="116491" y="121158"/>
                  </a:cubicBezTo>
                  <a:cubicBezTo>
                    <a:pt x="105156" y="121158"/>
                    <a:pt x="94583" y="123158"/>
                    <a:pt x="84772" y="127159"/>
                  </a:cubicBezTo>
                  <a:cubicBezTo>
                    <a:pt x="74962" y="131159"/>
                    <a:pt x="66389" y="136969"/>
                    <a:pt x="59150" y="144589"/>
                  </a:cubicBezTo>
                  <a:cubicBezTo>
                    <a:pt x="51816" y="152114"/>
                    <a:pt x="46101" y="161449"/>
                    <a:pt x="41719" y="172498"/>
                  </a:cubicBezTo>
                  <a:cubicBezTo>
                    <a:pt x="37433" y="183451"/>
                    <a:pt x="35242" y="196024"/>
                    <a:pt x="35242" y="210026"/>
                  </a:cubicBezTo>
                  <a:lnTo>
                    <a:pt x="35242" y="210883"/>
                  </a:lnTo>
                  <a:cubicBezTo>
                    <a:pt x="35242" y="224599"/>
                    <a:pt x="37433" y="236982"/>
                    <a:pt x="41719" y="247936"/>
                  </a:cubicBezTo>
                  <a:cubicBezTo>
                    <a:pt x="46006" y="258984"/>
                    <a:pt x="51911" y="268319"/>
                    <a:pt x="59341" y="276034"/>
                  </a:cubicBezTo>
                  <a:cubicBezTo>
                    <a:pt x="66770" y="283750"/>
                    <a:pt x="75438" y="289750"/>
                    <a:pt x="85249" y="293941"/>
                  </a:cubicBezTo>
                  <a:cubicBezTo>
                    <a:pt x="95059" y="298132"/>
                    <a:pt x="105442" y="300228"/>
                    <a:pt x="116491" y="300228"/>
                  </a:cubicBezTo>
                  <a:close/>
                </a:path>
              </a:pathLst>
            </a:custGeom>
            <a:solidFill>
              <a:srgbClr val="44505E"/>
            </a:solidFill>
            <a:ln w="9525" cap="flat">
              <a:noFill/>
              <a:prstDash val="solid"/>
              <a:miter/>
            </a:ln>
          </p:spPr>
          <p:txBody>
            <a:bodyPr rtlCol="0" anchor="ctr"/>
            <a:lstStyle/>
            <a:p>
              <a:endParaRPr lang="pt-BR" noProof="0"/>
            </a:p>
          </p:txBody>
        </p:sp>
        <p:sp>
          <p:nvSpPr>
            <p:cNvPr id="39" name="Freeform: Shape 38">
              <a:extLst>
                <a:ext uri="{FF2B5EF4-FFF2-40B4-BE49-F238E27FC236}">
                  <a16:creationId xmlns:a16="http://schemas.microsoft.com/office/drawing/2014/main" id="{DE2D373D-04BF-5E3A-1710-A915CF711404}"/>
                </a:ext>
              </a:extLst>
            </p:cNvPr>
            <p:cNvSpPr/>
            <p:nvPr/>
          </p:nvSpPr>
          <p:spPr>
            <a:xfrm>
              <a:off x="5596504"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6963 w 218217"/>
                <a:gd name="connsiteY3" fmla="*/ 206026 h 241077"/>
                <a:gd name="connsiteX4" fmla="*/ 116015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8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1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452 w 218217"/>
                <a:gd name="connsiteY25" fmla="*/ 106299 h 241077"/>
                <a:gd name="connsiteX26" fmla="*/ 176784 w 218217"/>
                <a:gd name="connsiteY26" fmla="*/ 76771 h 241077"/>
                <a:gd name="connsiteX27" fmla="*/ 162306 w 218217"/>
                <a:gd name="connsiteY27" fmla="*/ 52101 h 241077"/>
                <a:gd name="connsiteX28" fmla="*/ 140018 w 218217"/>
                <a:gd name="connsiteY28" fmla="*/ 35242 h 241077"/>
                <a:gd name="connsiteX29" fmla="*/ 109919 w 218217"/>
                <a:gd name="connsiteY29" fmla="*/ 29051 h 241077"/>
                <a:gd name="connsiteX30" fmla="*/ 82201 w 218217"/>
                <a:gd name="connsiteY30" fmla="*/ 34766 h 241077"/>
                <a:gd name="connsiteX31" fmla="*/ 59436 w 218217"/>
                <a:gd name="connsiteY31" fmla="*/ 50959 h 241077"/>
                <a:gd name="connsiteX32" fmla="*/ 43148 w 218217"/>
                <a:gd name="connsiteY32" fmla="*/ 75628 h 241077"/>
                <a:gd name="connsiteX33" fmla="*/ 34862 w 218217"/>
                <a:gd name="connsiteY33" fmla="*/ 106204 h 241077"/>
                <a:gd name="connsiteX34" fmla="*/ 183547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724" y="202597"/>
                    <a:pt x="86963" y="206026"/>
                  </a:cubicBezTo>
                  <a:cubicBezTo>
                    <a:pt x="96203" y="209455"/>
                    <a:pt x="105823" y="211169"/>
                    <a:pt x="116015" y="211169"/>
                  </a:cubicBezTo>
                  <a:cubicBezTo>
                    <a:pt x="132112" y="211169"/>
                    <a:pt x="145828" y="208216"/>
                    <a:pt x="157353" y="202216"/>
                  </a:cubicBezTo>
                  <a:cubicBezTo>
                    <a:pt x="168783" y="196310"/>
                    <a:pt x="179261" y="188404"/>
                    <a:pt x="188786" y="178594"/>
                  </a:cubicBezTo>
                  <a:lnTo>
                    <a:pt x="210217" y="197834"/>
                  </a:lnTo>
                  <a:cubicBezTo>
                    <a:pt x="198596" y="210979"/>
                    <a:pt x="185357" y="221361"/>
                    <a:pt x="170498" y="229267"/>
                  </a:cubicBezTo>
                  <a:cubicBezTo>
                    <a:pt x="155639"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679" y="0"/>
                    <a:pt x="110681"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452" y="106299"/>
                  </a:moveTo>
                  <a:cubicBezTo>
                    <a:pt x="182594" y="95917"/>
                    <a:pt x="180308" y="86106"/>
                    <a:pt x="176784" y="76771"/>
                  </a:cubicBezTo>
                  <a:cubicBezTo>
                    <a:pt x="173165" y="67437"/>
                    <a:pt x="168402" y="59245"/>
                    <a:pt x="162306" y="52101"/>
                  </a:cubicBezTo>
                  <a:cubicBezTo>
                    <a:pt x="156210" y="44958"/>
                    <a:pt x="148781" y="39338"/>
                    <a:pt x="140018" y="35242"/>
                  </a:cubicBezTo>
                  <a:cubicBezTo>
                    <a:pt x="131254" y="31147"/>
                    <a:pt x="121158" y="29051"/>
                    <a:pt x="109919" y="29051"/>
                  </a:cubicBezTo>
                  <a:cubicBezTo>
                    <a:pt x="100108" y="29051"/>
                    <a:pt x="90869" y="30956"/>
                    <a:pt x="82201" y="34766"/>
                  </a:cubicBezTo>
                  <a:cubicBezTo>
                    <a:pt x="73533" y="38671"/>
                    <a:pt x="66008" y="44005"/>
                    <a:pt x="59436" y="50959"/>
                  </a:cubicBezTo>
                  <a:cubicBezTo>
                    <a:pt x="52864" y="57912"/>
                    <a:pt x="47435" y="66103"/>
                    <a:pt x="43148" y="75628"/>
                  </a:cubicBezTo>
                  <a:cubicBezTo>
                    <a:pt x="38862" y="85058"/>
                    <a:pt x="36100" y="95345"/>
                    <a:pt x="34862" y="106204"/>
                  </a:cubicBezTo>
                  <a:lnTo>
                    <a:pt x="183547" y="106204"/>
                  </a:lnTo>
                  <a:close/>
                </a:path>
              </a:pathLst>
            </a:custGeom>
            <a:solidFill>
              <a:srgbClr val="44505E"/>
            </a:solidFill>
            <a:ln w="9525" cap="flat">
              <a:noFill/>
              <a:prstDash val="solid"/>
              <a:miter/>
            </a:ln>
          </p:spPr>
          <p:txBody>
            <a:bodyPr rtlCol="0" anchor="ctr"/>
            <a:lstStyle/>
            <a:p>
              <a:endParaRPr lang="pt-BR" noProof="0"/>
            </a:p>
          </p:txBody>
        </p:sp>
        <p:sp>
          <p:nvSpPr>
            <p:cNvPr id="40" name="Freeform: Shape 39">
              <a:extLst>
                <a:ext uri="{FF2B5EF4-FFF2-40B4-BE49-F238E27FC236}">
                  <a16:creationId xmlns:a16="http://schemas.microsoft.com/office/drawing/2014/main" id="{3039943F-1D34-C621-DFBC-19103841D9A0}"/>
                </a:ext>
              </a:extLst>
            </p:cNvPr>
            <p:cNvSpPr/>
            <p:nvPr/>
          </p:nvSpPr>
          <p:spPr>
            <a:xfrm>
              <a:off x="5661680" y="924268"/>
              <a:ext cx="44656" cy="60195"/>
            </a:xfrm>
            <a:custGeom>
              <a:avLst/>
              <a:gdLst>
                <a:gd name="connsiteX0" fmla="*/ 95536 w 177641"/>
                <a:gd name="connsiteY0" fmla="*/ 239268 h 239458"/>
                <a:gd name="connsiteX1" fmla="*/ 45053 w 177641"/>
                <a:gd name="connsiteY1" fmla="*/ 230124 h 239458"/>
                <a:gd name="connsiteX2" fmla="*/ 0 w 177641"/>
                <a:gd name="connsiteY2" fmla="*/ 205359 h 239458"/>
                <a:gd name="connsiteX3" fmla="*/ 17431 w 177641"/>
                <a:gd name="connsiteY3" fmla="*/ 180785 h 239458"/>
                <a:gd name="connsiteX4" fmla="*/ 56483 w 177641"/>
                <a:gd name="connsiteY4" fmla="*/ 202692 h 239458"/>
                <a:gd name="connsiteX5" fmla="*/ 97346 w 177641"/>
                <a:gd name="connsiteY5" fmla="*/ 210217 h 239458"/>
                <a:gd name="connsiteX6" fmla="*/ 131731 w 177641"/>
                <a:gd name="connsiteY6" fmla="*/ 200406 h 239458"/>
                <a:gd name="connsiteX7" fmla="*/ 145161 w 177641"/>
                <a:gd name="connsiteY7" fmla="*/ 173641 h 239458"/>
                <a:gd name="connsiteX8" fmla="*/ 145161 w 177641"/>
                <a:gd name="connsiteY8" fmla="*/ 172784 h 239458"/>
                <a:gd name="connsiteX9" fmla="*/ 140494 w 177641"/>
                <a:gd name="connsiteY9" fmla="*/ 158020 h 239458"/>
                <a:gd name="connsiteX10" fmla="*/ 127730 w 177641"/>
                <a:gd name="connsiteY10" fmla="*/ 147066 h 239458"/>
                <a:gd name="connsiteX11" fmla="*/ 109157 w 177641"/>
                <a:gd name="connsiteY11" fmla="*/ 138779 h 239458"/>
                <a:gd name="connsiteX12" fmla="*/ 87535 w 177641"/>
                <a:gd name="connsiteY12" fmla="*/ 132112 h 239458"/>
                <a:gd name="connsiteX13" fmla="*/ 60484 w 177641"/>
                <a:gd name="connsiteY13" fmla="*/ 123444 h 239458"/>
                <a:gd name="connsiteX14" fmla="*/ 35909 w 177641"/>
                <a:gd name="connsiteY14" fmla="*/ 111633 h 239458"/>
                <a:gd name="connsiteX15" fmla="*/ 18098 w 177641"/>
                <a:gd name="connsiteY15" fmla="*/ 93726 h 239458"/>
                <a:gd name="connsiteX16" fmla="*/ 11144 w 177641"/>
                <a:gd name="connsiteY16" fmla="*/ 66961 h 239458"/>
                <a:gd name="connsiteX17" fmla="*/ 11144 w 177641"/>
                <a:gd name="connsiteY17" fmla="*/ 66008 h 239458"/>
                <a:gd name="connsiteX18" fmla="*/ 16954 w 177641"/>
                <a:gd name="connsiteY18" fmla="*/ 39053 h 239458"/>
                <a:gd name="connsiteX19" fmla="*/ 33242 w 177641"/>
                <a:gd name="connsiteY19" fmla="*/ 18098 h 239458"/>
                <a:gd name="connsiteX20" fmla="*/ 58293 w 177641"/>
                <a:gd name="connsiteY20" fmla="*/ 4667 h 239458"/>
                <a:gd name="connsiteX21" fmla="*/ 89725 w 177641"/>
                <a:gd name="connsiteY21" fmla="*/ 0 h 239458"/>
                <a:gd name="connsiteX22" fmla="*/ 133064 w 177641"/>
                <a:gd name="connsiteY22" fmla="*/ 6953 h 239458"/>
                <a:gd name="connsiteX23" fmla="*/ 172784 w 177641"/>
                <a:gd name="connsiteY23" fmla="*/ 25527 h 239458"/>
                <a:gd name="connsiteX24" fmla="*/ 157163 w 177641"/>
                <a:gd name="connsiteY24" fmla="*/ 51435 h 239458"/>
                <a:gd name="connsiteX25" fmla="*/ 123444 w 177641"/>
                <a:gd name="connsiteY25" fmla="*/ 35147 h 239458"/>
                <a:gd name="connsiteX26" fmla="*/ 88868 w 177641"/>
                <a:gd name="connsiteY26" fmla="*/ 29146 h 239458"/>
                <a:gd name="connsiteX27" fmla="*/ 56293 w 177641"/>
                <a:gd name="connsiteY27" fmla="*/ 38767 h 239458"/>
                <a:gd name="connsiteX28" fmla="*/ 44196 w 177641"/>
                <a:gd name="connsiteY28" fmla="*/ 62675 h 239458"/>
                <a:gd name="connsiteX29" fmla="*/ 44196 w 177641"/>
                <a:gd name="connsiteY29" fmla="*/ 63627 h 239458"/>
                <a:gd name="connsiteX30" fmla="*/ 49149 w 177641"/>
                <a:gd name="connsiteY30" fmla="*/ 77724 h 239458"/>
                <a:gd name="connsiteX31" fmla="*/ 62294 w 177641"/>
                <a:gd name="connsiteY31" fmla="*/ 88202 h 239458"/>
                <a:gd name="connsiteX32" fmla="*/ 81248 w 177641"/>
                <a:gd name="connsiteY32" fmla="*/ 96203 h 239458"/>
                <a:gd name="connsiteX33" fmla="*/ 103537 w 177641"/>
                <a:gd name="connsiteY33" fmla="*/ 103346 h 239458"/>
                <a:gd name="connsiteX34" fmla="*/ 130112 w 177641"/>
                <a:gd name="connsiteY34" fmla="*/ 112300 h 239458"/>
                <a:gd name="connsiteX35" fmla="*/ 154019 w 177641"/>
                <a:gd name="connsiteY35" fmla="*/ 124778 h 239458"/>
                <a:gd name="connsiteX36" fmla="*/ 171164 w 177641"/>
                <a:gd name="connsiteY36" fmla="*/ 143066 h 239458"/>
                <a:gd name="connsiteX37" fmla="*/ 177641 w 177641"/>
                <a:gd name="connsiteY37" fmla="*/ 169450 h 239458"/>
                <a:gd name="connsiteX38" fmla="*/ 177641 w 177641"/>
                <a:gd name="connsiteY38" fmla="*/ 170307 h 239458"/>
                <a:gd name="connsiteX39" fmla="*/ 171164 w 177641"/>
                <a:gd name="connsiteY39" fmla="*/ 199549 h 239458"/>
                <a:gd name="connsiteX40" fmla="*/ 153734 w 177641"/>
                <a:gd name="connsiteY40" fmla="*/ 221171 h 239458"/>
                <a:gd name="connsiteX41" fmla="*/ 127825 w 177641"/>
                <a:gd name="connsiteY41" fmla="*/ 234791 h 239458"/>
                <a:gd name="connsiteX42" fmla="*/ 95441 w 177641"/>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641" h="239458">
                  <a:moveTo>
                    <a:pt x="95536" y="239268"/>
                  </a:moveTo>
                  <a:cubicBezTo>
                    <a:pt x="78867" y="239268"/>
                    <a:pt x="62008" y="236220"/>
                    <a:pt x="45053" y="230124"/>
                  </a:cubicBezTo>
                  <a:cubicBezTo>
                    <a:pt x="28099" y="224028"/>
                    <a:pt x="13049" y="215741"/>
                    <a:pt x="0" y="205359"/>
                  </a:cubicBezTo>
                  <a:lnTo>
                    <a:pt x="17431" y="180785"/>
                  </a:lnTo>
                  <a:cubicBezTo>
                    <a:pt x="29908"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542" y="162211"/>
                    <a:pt x="140494" y="158020"/>
                  </a:cubicBezTo>
                  <a:cubicBezTo>
                    <a:pt x="137350" y="153829"/>
                    <a:pt x="133160" y="150209"/>
                    <a:pt x="127730" y="147066"/>
                  </a:cubicBezTo>
                  <a:cubicBezTo>
                    <a:pt x="122396" y="143923"/>
                    <a:pt x="116205" y="141161"/>
                    <a:pt x="109157" y="138779"/>
                  </a:cubicBezTo>
                  <a:cubicBezTo>
                    <a:pt x="102203" y="136398"/>
                    <a:pt x="94964" y="134207"/>
                    <a:pt x="87535" y="132112"/>
                  </a:cubicBezTo>
                  <a:cubicBezTo>
                    <a:pt x="78581" y="129445"/>
                    <a:pt x="69628" y="126492"/>
                    <a:pt x="60484" y="123444"/>
                  </a:cubicBezTo>
                  <a:cubicBezTo>
                    <a:pt x="51435" y="120301"/>
                    <a:pt x="43244" y="116396"/>
                    <a:pt x="35909" y="111633"/>
                  </a:cubicBezTo>
                  <a:cubicBezTo>
                    <a:pt x="28575" y="106871"/>
                    <a:pt x="22670" y="100870"/>
                    <a:pt x="18098" y="93726"/>
                  </a:cubicBezTo>
                  <a:cubicBezTo>
                    <a:pt x="13525" y="86582"/>
                    <a:pt x="11144" y="77629"/>
                    <a:pt x="11144" y="66961"/>
                  </a:cubicBezTo>
                  <a:lnTo>
                    <a:pt x="11144" y="66008"/>
                  </a:lnTo>
                  <a:cubicBezTo>
                    <a:pt x="11144" y="56198"/>
                    <a:pt x="13049" y="47149"/>
                    <a:pt x="16954" y="39053"/>
                  </a:cubicBezTo>
                  <a:cubicBezTo>
                    <a:pt x="20860" y="30861"/>
                    <a:pt x="26289" y="23908"/>
                    <a:pt x="33242" y="18098"/>
                  </a:cubicBezTo>
                  <a:cubicBezTo>
                    <a:pt x="40196" y="12287"/>
                    <a:pt x="48578" y="7811"/>
                    <a:pt x="58293" y="4667"/>
                  </a:cubicBezTo>
                  <a:cubicBezTo>
                    <a:pt x="67913" y="1524"/>
                    <a:pt x="78486" y="0"/>
                    <a:pt x="89725" y="0"/>
                  </a:cubicBezTo>
                  <a:cubicBezTo>
                    <a:pt x="104013" y="0"/>
                    <a:pt x="118396" y="2286"/>
                    <a:pt x="133064" y="6953"/>
                  </a:cubicBezTo>
                  <a:cubicBezTo>
                    <a:pt x="147638" y="11621"/>
                    <a:pt x="160877" y="17717"/>
                    <a:pt x="172784" y="25527"/>
                  </a:cubicBezTo>
                  <a:lnTo>
                    <a:pt x="157163" y="51435"/>
                  </a:lnTo>
                  <a:cubicBezTo>
                    <a:pt x="146399" y="44577"/>
                    <a:pt x="135255" y="39148"/>
                    <a:pt x="123444" y="35147"/>
                  </a:cubicBezTo>
                  <a:cubicBezTo>
                    <a:pt x="111728" y="31147"/>
                    <a:pt x="100203" y="29146"/>
                    <a:pt x="88868" y="29146"/>
                  </a:cubicBezTo>
                  <a:cubicBezTo>
                    <a:pt x="75152" y="29146"/>
                    <a:pt x="64294" y="32385"/>
                    <a:pt x="56293" y="38767"/>
                  </a:cubicBezTo>
                  <a:cubicBezTo>
                    <a:pt x="48292" y="45149"/>
                    <a:pt x="44196" y="53150"/>
                    <a:pt x="44196" y="62675"/>
                  </a:cubicBezTo>
                  <a:lnTo>
                    <a:pt x="44196" y="63627"/>
                  </a:lnTo>
                  <a:cubicBezTo>
                    <a:pt x="44196" y="68961"/>
                    <a:pt x="45815" y="73628"/>
                    <a:pt x="49149" y="77724"/>
                  </a:cubicBezTo>
                  <a:cubicBezTo>
                    <a:pt x="52388" y="81725"/>
                    <a:pt x="56769" y="85249"/>
                    <a:pt x="62294" y="88202"/>
                  </a:cubicBezTo>
                  <a:cubicBezTo>
                    <a:pt x="67818" y="91154"/>
                    <a:pt x="74104" y="93821"/>
                    <a:pt x="81248" y="96203"/>
                  </a:cubicBezTo>
                  <a:cubicBezTo>
                    <a:pt x="88392" y="98584"/>
                    <a:pt x="95821" y="100965"/>
                    <a:pt x="103537" y="103346"/>
                  </a:cubicBezTo>
                  <a:cubicBezTo>
                    <a:pt x="112490" y="106013"/>
                    <a:pt x="121349" y="108966"/>
                    <a:pt x="130112" y="112300"/>
                  </a:cubicBezTo>
                  <a:cubicBezTo>
                    <a:pt x="138875" y="115538"/>
                    <a:pt x="146875" y="119729"/>
                    <a:pt x="154019" y="124778"/>
                  </a:cubicBezTo>
                  <a:cubicBezTo>
                    <a:pt x="161163" y="129826"/>
                    <a:pt x="166878" y="135922"/>
                    <a:pt x="171164" y="143066"/>
                  </a:cubicBezTo>
                  <a:cubicBezTo>
                    <a:pt x="175450" y="150209"/>
                    <a:pt x="177641" y="158972"/>
                    <a:pt x="177641" y="169450"/>
                  </a:cubicBezTo>
                  <a:lnTo>
                    <a:pt x="177641" y="170307"/>
                  </a:lnTo>
                  <a:cubicBezTo>
                    <a:pt x="177641" y="181356"/>
                    <a:pt x="175450" y="191071"/>
                    <a:pt x="171164" y="199549"/>
                  </a:cubicBezTo>
                  <a:cubicBezTo>
                    <a:pt x="166878" y="208026"/>
                    <a:pt x="161068" y="215265"/>
                    <a:pt x="153734" y="221171"/>
                  </a:cubicBezTo>
                  <a:cubicBezTo>
                    <a:pt x="146495" y="227171"/>
                    <a:pt x="137827" y="231648"/>
                    <a:pt x="127825" y="234791"/>
                  </a:cubicBezTo>
                  <a:cubicBezTo>
                    <a:pt x="117824" y="237935"/>
                    <a:pt x="107061" y="239459"/>
                    <a:pt x="95441" y="239459"/>
                  </a:cubicBezTo>
                  <a:close/>
                </a:path>
              </a:pathLst>
            </a:custGeom>
            <a:solidFill>
              <a:srgbClr val="44505E"/>
            </a:solidFill>
            <a:ln w="9525" cap="flat">
              <a:noFill/>
              <a:prstDash val="solid"/>
              <a:miter/>
            </a:ln>
          </p:spPr>
          <p:txBody>
            <a:bodyPr rtlCol="0" anchor="ctr"/>
            <a:lstStyle/>
            <a:p>
              <a:endParaRPr lang="pt-BR" noProof="0"/>
            </a:p>
          </p:txBody>
        </p:sp>
        <p:sp>
          <p:nvSpPr>
            <p:cNvPr id="41" name="Freeform: Shape 40">
              <a:extLst>
                <a:ext uri="{FF2B5EF4-FFF2-40B4-BE49-F238E27FC236}">
                  <a16:creationId xmlns:a16="http://schemas.microsoft.com/office/drawing/2014/main" id="{A4797721-BA92-BBD1-F80A-5E89442A4111}"/>
                </a:ext>
              </a:extLst>
            </p:cNvPr>
            <p:cNvSpPr/>
            <p:nvPr/>
          </p:nvSpPr>
          <p:spPr>
            <a:xfrm>
              <a:off x="5752668" y="924028"/>
              <a:ext cx="58567" cy="77196"/>
            </a:xfrm>
            <a:custGeom>
              <a:avLst/>
              <a:gdLst>
                <a:gd name="connsiteX0" fmla="*/ 198596 w 232981"/>
                <a:gd name="connsiteY0" fmla="*/ 189357 h 307085"/>
                <a:gd name="connsiteX1" fmla="*/ 182785 w 232981"/>
                <a:gd name="connsiteY1" fmla="*/ 208978 h 307085"/>
                <a:gd name="connsiteX2" fmla="*/ 163354 w 232981"/>
                <a:gd name="connsiteY2" fmla="*/ 225552 h 307085"/>
                <a:gd name="connsiteX3" fmla="*/ 139446 w 232981"/>
                <a:gd name="connsiteY3" fmla="*/ 236696 h 307085"/>
                <a:gd name="connsiteX4" fmla="*/ 110204 w 232981"/>
                <a:gd name="connsiteY4" fmla="*/ 240697 h 307085"/>
                <a:gd name="connsiteX5" fmla="*/ 69628 w 232981"/>
                <a:gd name="connsiteY5" fmla="*/ 232696 h 307085"/>
                <a:gd name="connsiteX6" fmla="*/ 34385 w 232981"/>
                <a:gd name="connsiteY6" fmla="*/ 209264 h 307085"/>
                <a:gd name="connsiteX7" fmla="*/ 9335 w 232981"/>
                <a:gd name="connsiteY7" fmla="*/ 171736 h 307085"/>
                <a:gd name="connsiteX8" fmla="*/ 0 w 232981"/>
                <a:gd name="connsiteY8" fmla="*/ 121063 h 307085"/>
                <a:gd name="connsiteX9" fmla="*/ 0 w 232981"/>
                <a:gd name="connsiteY9" fmla="*/ 120205 h 307085"/>
                <a:gd name="connsiteX10" fmla="*/ 9335 w 232981"/>
                <a:gd name="connsiteY10" fmla="*/ 69723 h 307085"/>
                <a:gd name="connsiteX11" fmla="*/ 34385 w 232981"/>
                <a:gd name="connsiteY11" fmla="*/ 32004 h 307085"/>
                <a:gd name="connsiteX12" fmla="*/ 69628 w 232981"/>
                <a:gd name="connsiteY12" fmla="*/ 8287 h 307085"/>
                <a:gd name="connsiteX13" fmla="*/ 110204 w 232981"/>
                <a:gd name="connsiteY13" fmla="*/ 0 h 307085"/>
                <a:gd name="connsiteX14" fmla="*/ 139637 w 232981"/>
                <a:gd name="connsiteY14" fmla="*/ 4000 h 307085"/>
                <a:gd name="connsiteX15" fmla="*/ 163735 w 232981"/>
                <a:gd name="connsiteY15" fmla="*/ 14668 h 307085"/>
                <a:gd name="connsiteX16" fmla="*/ 183166 w 232981"/>
                <a:gd name="connsiteY16" fmla="*/ 30289 h 307085"/>
                <a:gd name="connsiteX17" fmla="*/ 198596 w 232981"/>
                <a:gd name="connsiteY17" fmla="*/ 49054 h 307085"/>
                <a:gd name="connsiteX18" fmla="*/ 198596 w 232981"/>
                <a:gd name="connsiteY18" fmla="*/ 4858 h 307085"/>
                <a:gd name="connsiteX19" fmla="*/ 232982 w 232981"/>
                <a:gd name="connsiteY19" fmla="*/ 4858 h 307085"/>
                <a:gd name="connsiteX20" fmla="*/ 232982 w 232981"/>
                <a:gd name="connsiteY20" fmla="*/ 307086 h 307085"/>
                <a:gd name="connsiteX21" fmla="*/ 198596 w 232981"/>
                <a:gd name="connsiteY21" fmla="*/ 307086 h 307085"/>
                <a:gd name="connsiteX22" fmla="*/ 198596 w 232981"/>
                <a:gd name="connsiteY22" fmla="*/ 189262 h 307085"/>
                <a:gd name="connsiteX23" fmla="*/ 116491 w 232981"/>
                <a:gd name="connsiteY23" fmla="*/ 209931 h 307085"/>
                <a:gd name="connsiteX24" fmla="*/ 147542 w 232981"/>
                <a:gd name="connsiteY24" fmla="*/ 203454 h 307085"/>
                <a:gd name="connsiteX25" fmla="*/ 174308 w 232981"/>
                <a:gd name="connsiteY25" fmla="*/ 185166 h 307085"/>
                <a:gd name="connsiteX26" fmla="*/ 193072 w 232981"/>
                <a:gd name="connsiteY26" fmla="*/ 157067 h 307085"/>
                <a:gd name="connsiteX27" fmla="*/ 200025 w 232981"/>
                <a:gd name="connsiteY27" fmla="*/ 120682 h 307085"/>
                <a:gd name="connsiteX28" fmla="*/ 200025 w 232981"/>
                <a:gd name="connsiteY28" fmla="*/ 119824 h 307085"/>
                <a:gd name="connsiteX29" fmla="*/ 193072 w 232981"/>
                <a:gd name="connsiteY29" fmla="*/ 83439 h 307085"/>
                <a:gd name="connsiteX30" fmla="*/ 174308 w 232981"/>
                <a:gd name="connsiteY30" fmla="*/ 55531 h 307085"/>
                <a:gd name="connsiteX31" fmla="*/ 147542 w 232981"/>
                <a:gd name="connsiteY31" fmla="*/ 37433 h 307085"/>
                <a:gd name="connsiteX32" fmla="*/ 116491 w 232981"/>
                <a:gd name="connsiteY32" fmla="*/ 30956 h 307085"/>
                <a:gd name="connsiteX33" fmla="*/ 84773 w 232981"/>
                <a:gd name="connsiteY33" fmla="*/ 36957 h 307085"/>
                <a:gd name="connsiteX34" fmla="*/ 59150 w 232981"/>
                <a:gd name="connsiteY34" fmla="*/ 54388 h 307085"/>
                <a:gd name="connsiteX35" fmla="*/ 41720 w 232981"/>
                <a:gd name="connsiteY35" fmla="*/ 82296 h 307085"/>
                <a:gd name="connsiteX36" fmla="*/ 35242 w 232981"/>
                <a:gd name="connsiteY36" fmla="*/ 119824 h 307085"/>
                <a:gd name="connsiteX37" fmla="*/ 35242 w 232981"/>
                <a:gd name="connsiteY37" fmla="*/ 120682 h 307085"/>
                <a:gd name="connsiteX38" fmla="*/ 41720 w 232981"/>
                <a:gd name="connsiteY38" fmla="*/ 157734 h 307085"/>
                <a:gd name="connsiteX39" fmla="*/ 59341 w 232981"/>
                <a:gd name="connsiteY39" fmla="*/ 185833 h 307085"/>
                <a:gd name="connsiteX40" fmla="*/ 85249 w 232981"/>
                <a:gd name="connsiteY40" fmla="*/ 203740 h 307085"/>
                <a:gd name="connsiteX41" fmla="*/ 116491 w 232981"/>
                <a:gd name="connsiteY41" fmla="*/ 210026 h 30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07085">
                  <a:moveTo>
                    <a:pt x="198596" y="189357"/>
                  </a:moveTo>
                  <a:cubicBezTo>
                    <a:pt x="193834" y="196215"/>
                    <a:pt x="188595" y="202787"/>
                    <a:pt x="182785" y="208978"/>
                  </a:cubicBezTo>
                  <a:cubicBezTo>
                    <a:pt x="176975" y="215265"/>
                    <a:pt x="170498" y="220789"/>
                    <a:pt x="163354" y="225552"/>
                  </a:cubicBezTo>
                  <a:cubicBezTo>
                    <a:pt x="156210" y="230314"/>
                    <a:pt x="148209" y="234029"/>
                    <a:pt x="139446" y="236696"/>
                  </a:cubicBezTo>
                  <a:cubicBezTo>
                    <a:pt x="130683" y="239363"/>
                    <a:pt x="120967" y="240697"/>
                    <a:pt x="110204" y="240697"/>
                  </a:cubicBezTo>
                  <a:cubicBezTo>
                    <a:pt x="96203" y="240697"/>
                    <a:pt x="82677" y="238030"/>
                    <a:pt x="69628" y="232696"/>
                  </a:cubicBezTo>
                  <a:cubicBezTo>
                    <a:pt x="56579" y="227362"/>
                    <a:pt x="44767" y="219551"/>
                    <a:pt x="34385" y="209264"/>
                  </a:cubicBezTo>
                  <a:cubicBezTo>
                    <a:pt x="24003" y="198977"/>
                    <a:pt x="15621" y="186499"/>
                    <a:pt x="9335" y="171736"/>
                  </a:cubicBezTo>
                  <a:cubicBezTo>
                    <a:pt x="3048" y="156972"/>
                    <a:pt x="0" y="140113"/>
                    <a:pt x="0" y="121063"/>
                  </a:cubicBezTo>
                  <a:lnTo>
                    <a:pt x="0" y="120205"/>
                  </a:lnTo>
                  <a:cubicBezTo>
                    <a:pt x="0" y="101441"/>
                    <a:pt x="3143" y="84677"/>
                    <a:pt x="9335" y="69723"/>
                  </a:cubicBezTo>
                  <a:cubicBezTo>
                    <a:pt x="15621" y="54864"/>
                    <a:pt x="23908" y="42291"/>
                    <a:pt x="34385" y="32004"/>
                  </a:cubicBezTo>
                  <a:cubicBezTo>
                    <a:pt x="44767" y="21717"/>
                    <a:pt x="56579" y="13811"/>
                    <a:pt x="69628" y="8287"/>
                  </a:cubicBezTo>
                  <a:cubicBezTo>
                    <a:pt x="82677" y="2762"/>
                    <a:pt x="96298" y="0"/>
                    <a:pt x="110204" y="0"/>
                  </a:cubicBezTo>
                  <a:cubicBezTo>
                    <a:pt x="120967" y="0"/>
                    <a:pt x="130778" y="1333"/>
                    <a:pt x="139637" y="4000"/>
                  </a:cubicBezTo>
                  <a:cubicBezTo>
                    <a:pt x="148590" y="6667"/>
                    <a:pt x="156591" y="10287"/>
                    <a:pt x="163735" y="14668"/>
                  </a:cubicBezTo>
                  <a:cubicBezTo>
                    <a:pt x="170879" y="19145"/>
                    <a:pt x="177356" y="24384"/>
                    <a:pt x="183166" y="30289"/>
                  </a:cubicBezTo>
                  <a:cubicBezTo>
                    <a:pt x="188976" y="36290"/>
                    <a:pt x="194120" y="42481"/>
                    <a:pt x="198596" y="49054"/>
                  </a:cubicBezTo>
                  <a:lnTo>
                    <a:pt x="198596" y="4858"/>
                  </a:lnTo>
                  <a:lnTo>
                    <a:pt x="232982" y="4858"/>
                  </a:lnTo>
                  <a:lnTo>
                    <a:pt x="232982" y="307086"/>
                  </a:lnTo>
                  <a:lnTo>
                    <a:pt x="198596" y="307086"/>
                  </a:lnTo>
                  <a:lnTo>
                    <a:pt x="198596" y="189262"/>
                  </a:lnTo>
                  <a:close/>
                  <a:moveTo>
                    <a:pt x="116491" y="209931"/>
                  </a:moveTo>
                  <a:cubicBezTo>
                    <a:pt x="127159" y="209931"/>
                    <a:pt x="137541" y="207740"/>
                    <a:pt x="147542" y="203454"/>
                  </a:cubicBezTo>
                  <a:cubicBezTo>
                    <a:pt x="157544" y="199168"/>
                    <a:pt x="166402" y="193072"/>
                    <a:pt x="174308" y="185166"/>
                  </a:cubicBezTo>
                  <a:cubicBezTo>
                    <a:pt x="182213" y="177260"/>
                    <a:pt x="188404" y="167926"/>
                    <a:pt x="193072" y="157067"/>
                  </a:cubicBezTo>
                  <a:cubicBezTo>
                    <a:pt x="197739" y="146209"/>
                    <a:pt x="200025" y="134112"/>
                    <a:pt x="200025" y="120682"/>
                  </a:cubicBezTo>
                  <a:lnTo>
                    <a:pt x="200025" y="119824"/>
                  </a:lnTo>
                  <a:cubicBezTo>
                    <a:pt x="200025" y="106394"/>
                    <a:pt x="197739" y="94297"/>
                    <a:pt x="193072" y="83439"/>
                  </a:cubicBezTo>
                  <a:cubicBezTo>
                    <a:pt x="188500" y="72580"/>
                    <a:pt x="182213" y="63246"/>
                    <a:pt x="174308" y="55531"/>
                  </a:cubicBezTo>
                  <a:cubicBezTo>
                    <a:pt x="166402" y="47815"/>
                    <a:pt x="157544" y="41815"/>
                    <a:pt x="147542" y="37433"/>
                  </a:cubicBezTo>
                  <a:cubicBezTo>
                    <a:pt x="137541" y="33147"/>
                    <a:pt x="127254" y="30956"/>
                    <a:pt x="116491" y="30956"/>
                  </a:cubicBezTo>
                  <a:cubicBezTo>
                    <a:pt x="105156" y="30956"/>
                    <a:pt x="94583" y="32956"/>
                    <a:pt x="84773" y="36957"/>
                  </a:cubicBezTo>
                  <a:cubicBezTo>
                    <a:pt x="74962" y="40957"/>
                    <a:pt x="66389" y="46767"/>
                    <a:pt x="59150" y="54388"/>
                  </a:cubicBezTo>
                  <a:cubicBezTo>
                    <a:pt x="51816" y="61913"/>
                    <a:pt x="46101" y="71247"/>
                    <a:pt x="41720" y="82296"/>
                  </a:cubicBezTo>
                  <a:cubicBezTo>
                    <a:pt x="37433" y="93250"/>
                    <a:pt x="35242" y="105823"/>
                    <a:pt x="35242" y="119824"/>
                  </a:cubicBezTo>
                  <a:lnTo>
                    <a:pt x="35242" y="120682"/>
                  </a:lnTo>
                  <a:cubicBezTo>
                    <a:pt x="35242" y="134398"/>
                    <a:pt x="37433" y="146780"/>
                    <a:pt x="41720" y="157734"/>
                  </a:cubicBezTo>
                  <a:cubicBezTo>
                    <a:pt x="46006" y="168783"/>
                    <a:pt x="51911" y="178117"/>
                    <a:pt x="59341" y="185833"/>
                  </a:cubicBezTo>
                  <a:cubicBezTo>
                    <a:pt x="66770" y="193548"/>
                    <a:pt x="75438" y="199549"/>
                    <a:pt x="85249" y="203740"/>
                  </a:cubicBezTo>
                  <a:cubicBezTo>
                    <a:pt x="95060" y="207931"/>
                    <a:pt x="105442" y="210026"/>
                    <a:pt x="116491" y="210026"/>
                  </a:cubicBezTo>
                  <a:close/>
                </a:path>
              </a:pathLst>
            </a:custGeom>
            <a:solidFill>
              <a:srgbClr val="44505E"/>
            </a:solidFill>
            <a:ln w="9525" cap="flat">
              <a:noFill/>
              <a:prstDash val="solid"/>
              <a:miter/>
            </a:ln>
          </p:spPr>
          <p:txBody>
            <a:bodyPr rtlCol="0" anchor="ctr"/>
            <a:lstStyle/>
            <a:p>
              <a:endParaRPr lang="pt-BR" noProof="0"/>
            </a:p>
          </p:txBody>
        </p:sp>
        <p:sp>
          <p:nvSpPr>
            <p:cNvPr id="42" name="Freeform: Shape 41">
              <a:extLst>
                <a:ext uri="{FF2B5EF4-FFF2-40B4-BE49-F238E27FC236}">
                  <a16:creationId xmlns:a16="http://schemas.microsoft.com/office/drawing/2014/main" id="{80DB635F-B4AD-CC16-6BC4-63D8BFABB08B}"/>
                </a:ext>
              </a:extLst>
            </p:cNvPr>
            <p:cNvSpPr/>
            <p:nvPr/>
          </p:nvSpPr>
          <p:spPr>
            <a:xfrm>
              <a:off x="5829624" y="925297"/>
              <a:ext cx="50618" cy="59238"/>
            </a:xfrm>
            <a:custGeom>
              <a:avLst/>
              <a:gdLst>
                <a:gd name="connsiteX0" fmla="*/ 88392 w 201358"/>
                <a:gd name="connsiteY0" fmla="*/ 235648 h 235648"/>
                <a:gd name="connsiteX1" fmla="*/ 51149 w 201358"/>
                <a:gd name="connsiteY1" fmla="*/ 228981 h 235648"/>
                <a:gd name="connsiteX2" fmla="*/ 23432 w 201358"/>
                <a:gd name="connsiteY2" fmla="*/ 210026 h 235648"/>
                <a:gd name="connsiteX3" fmla="*/ 6001 w 201358"/>
                <a:gd name="connsiteY3" fmla="*/ 180784 h 235648"/>
                <a:gd name="connsiteX4" fmla="*/ 0 w 201358"/>
                <a:gd name="connsiteY4" fmla="*/ 143256 h 235648"/>
                <a:gd name="connsiteX5" fmla="*/ 0 w 201358"/>
                <a:gd name="connsiteY5" fmla="*/ 0 h 235648"/>
                <a:gd name="connsiteX6" fmla="*/ 34385 w 201358"/>
                <a:gd name="connsiteY6" fmla="*/ 0 h 235648"/>
                <a:gd name="connsiteX7" fmla="*/ 34385 w 201358"/>
                <a:gd name="connsiteY7" fmla="*/ 134493 h 235648"/>
                <a:gd name="connsiteX8" fmla="*/ 50959 w 201358"/>
                <a:gd name="connsiteY8" fmla="*/ 185261 h 235648"/>
                <a:gd name="connsiteX9" fmla="*/ 98298 w 201358"/>
                <a:gd name="connsiteY9" fmla="*/ 203930 h 235648"/>
                <a:gd name="connsiteX10" fmla="*/ 125730 w 201358"/>
                <a:gd name="connsiteY10" fmla="*/ 198787 h 235648"/>
                <a:gd name="connsiteX11" fmla="*/ 147638 w 201358"/>
                <a:gd name="connsiteY11" fmla="*/ 184118 h 235648"/>
                <a:gd name="connsiteX12" fmla="*/ 162116 w 201358"/>
                <a:gd name="connsiteY12" fmla="*/ 161163 h 235648"/>
                <a:gd name="connsiteX13" fmla="*/ 167450 w 201358"/>
                <a:gd name="connsiteY13" fmla="*/ 131826 h 235648"/>
                <a:gd name="connsiteX14" fmla="*/ 167450 w 201358"/>
                <a:gd name="connsiteY14" fmla="*/ 0 h 235648"/>
                <a:gd name="connsiteX15" fmla="*/ 201359 w 201358"/>
                <a:gd name="connsiteY15" fmla="*/ 0 h 235648"/>
                <a:gd name="connsiteX16" fmla="*/ 201359 w 201358"/>
                <a:gd name="connsiteY16" fmla="*/ 230791 h 235648"/>
                <a:gd name="connsiteX17" fmla="*/ 167450 w 201358"/>
                <a:gd name="connsiteY17" fmla="*/ 230791 h 235648"/>
                <a:gd name="connsiteX18" fmla="*/ 167450 w 201358"/>
                <a:gd name="connsiteY18" fmla="*/ 190595 h 235648"/>
                <a:gd name="connsiteX19" fmla="*/ 137065 w 201358"/>
                <a:gd name="connsiteY19" fmla="*/ 222504 h 235648"/>
                <a:gd name="connsiteX20" fmla="*/ 88392 w 201358"/>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358" h="235648">
                  <a:moveTo>
                    <a:pt x="88392" y="235648"/>
                  </a:moveTo>
                  <a:cubicBezTo>
                    <a:pt x="74390" y="235648"/>
                    <a:pt x="62008" y="233363"/>
                    <a:pt x="51149" y="228981"/>
                  </a:cubicBezTo>
                  <a:cubicBezTo>
                    <a:pt x="40291" y="224504"/>
                    <a:pt x="31052" y="218218"/>
                    <a:pt x="23432"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959" y="185261"/>
                  </a:cubicBezTo>
                  <a:cubicBezTo>
                    <a:pt x="61913" y="197739"/>
                    <a:pt x="77724" y="203930"/>
                    <a:pt x="98298" y="203930"/>
                  </a:cubicBezTo>
                  <a:cubicBezTo>
                    <a:pt x="108109" y="203930"/>
                    <a:pt x="117253" y="202216"/>
                    <a:pt x="125730" y="198787"/>
                  </a:cubicBezTo>
                  <a:cubicBezTo>
                    <a:pt x="134207" y="195358"/>
                    <a:pt x="141446" y="190500"/>
                    <a:pt x="147638" y="184118"/>
                  </a:cubicBezTo>
                  <a:cubicBezTo>
                    <a:pt x="153734" y="177736"/>
                    <a:pt x="158591" y="170116"/>
                    <a:pt x="162116" y="161163"/>
                  </a:cubicBezTo>
                  <a:cubicBezTo>
                    <a:pt x="165735" y="152305"/>
                    <a:pt x="167450" y="142494"/>
                    <a:pt x="167450" y="131826"/>
                  </a:cubicBezTo>
                  <a:lnTo>
                    <a:pt x="167450" y="0"/>
                  </a:lnTo>
                  <a:lnTo>
                    <a:pt x="201359" y="0"/>
                  </a:lnTo>
                  <a:lnTo>
                    <a:pt x="201359" y="230791"/>
                  </a:lnTo>
                  <a:lnTo>
                    <a:pt x="167450" y="230791"/>
                  </a:lnTo>
                  <a:lnTo>
                    <a:pt x="167450" y="190595"/>
                  </a:lnTo>
                  <a:cubicBezTo>
                    <a:pt x="159734" y="203073"/>
                    <a:pt x="149543" y="213741"/>
                    <a:pt x="137065" y="222504"/>
                  </a:cubicBezTo>
                  <a:cubicBezTo>
                    <a:pt x="124587" y="231267"/>
                    <a:pt x="108395" y="235648"/>
                    <a:pt x="88392" y="235648"/>
                  </a:cubicBezTo>
                  <a:close/>
                </a:path>
              </a:pathLst>
            </a:custGeom>
            <a:solidFill>
              <a:srgbClr val="44505E"/>
            </a:solidFill>
            <a:ln w="9525" cap="flat">
              <a:noFill/>
              <a:prstDash val="solid"/>
              <a:miter/>
            </a:ln>
          </p:spPr>
          <p:txBody>
            <a:bodyPr rtlCol="0" anchor="ctr"/>
            <a:lstStyle/>
            <a:p>
              <a:endParaRPr lang="pt-BR" noProof="0"/>
            </a:p>
          </p:txBody>
        </p:sp>
        <p:sp>
          <p:nvSpPr>
            <p:cNvPr id="43" name="Freeform: Shape 42">
              <a:extLst>
                <a:ext uri="{FF2B5EF4-FFF2-40B4-BE49-F238E27FC236}">
                  <a16:creationId xmlns:a16="http://schemas.microsoft.com/office/drawing/2014/main" id="{796A75BA-1C12-EA6D-E0E7-B876B34ACF3A}"/>
                </a:ext>
              </a:extLst>
            </p:cNvPr>
            <p:cNvSpPr/>
            <p:nvPr/>
          </p:nvSpPr>
          <p:spPr>
            <a:xfrm>
              <a:off x="5896069"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7059 w 218217"/>
                <a:gd name="connsiteY3" fmla="*/ 206026 h 241077"/>
                <a:gd name="connsiteX4" fmla="*/ 116110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7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0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356 w 218217"/>
                <a:gd name="connsiteY25" fmla="*/ 106299 h 241077"/>
                <a:gd name="connsiteX26" fmla="*/ 176689 w 218217"/>
                <a:gd name="connsiteY26" fmla="*/ 76771 h 241077"/>
                <a:gd name="connsiteX27" fmla="*/ 162211 w 218217"/>
                <a:gd name="connsiteY27" fmla="*/ 52101 h 241077"/>
                <a:gd name="connsiteX28" fmla="*/ 139922 w 218217"/>
                <a:gd name="connsiteY28" fmla="*/ 35242 h 241077"/>
                <a:gd name="connsiteX29" fmla="*/ 109823 w 218217"/>
                <a:gd name="connsiteY29" fmla="*/ 29051 h 241077"/>
                <a:gd name="connsiteX30" fmla="*/ 82105 w 218217"/>
                <a:gd name="connsiteY30" fmla="*/ 34766 h 241077"/>
                <a:gd name="connsiteX31" fmla="*/ 59341 w 218217"/>
                <a:gd name="connsiteY31" fmla="*/ 50959 h 241077"/>
                <a:gd name="connsiteX32" fmla="*/ 43053 w 218217"/>
                <a:gd name="connsiteY32" fmla="*/ 75628 h 241077"/>
                <a:gd name="connsiteX33" fmla="*/ 34766 w 218217"/>
                <a:gd name="connsiteY33" fmla="*/ 106204 h 241077"/>
                <a:gd name="connsiteX34" fmla="*/ 183356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819" y="202597"/>
                    <a:pt x="87059" y="206026"/>
                  </a:cubicBezTo>
                  <a:cubicBezTo>
                    <a:pt x="96298" y="209455"/>
                    <a:pt x="105918" y="211169"/>
                    <a:pt x="116110" y="211169"/>
                  </a:cubicBezTo>
                  <a:cubicBezTo>
                    <a:pt x="132207" y="211169"/>
                    <a:pt x="145923" y="208216"/>
                    <a:pt x="157353" y="202216"/>
                  </a:cubicBezTo>
                  <a:cubicBezTo>
                    <a:pt x="168783" y="196310"/>
                    <a:pt x="179261" y="188404"/>
                    <a:pt x="188786" y="178594"/>
                  </a:cubicBezTo>
                  <a:lnTo>
                    <a:pt x="210217" y="197834"/>
                  </a:lnTo>
                  <a:cubicBezTo>
                    <a:pt x="198596" y="210979"/>
                    <a:pt x="185356" y="221361"/>
                    <a:pt x="170497" y="229267"/>
                  </a:cubicBezTo>
                  <a:cubicBezTo>
                    <a:pt x="155638"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583" y="0"/>
                    <a:pt x="110680"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356" y="106299"/>
                  </a:moveTo>
                  <a:cubicBezTo>
                    <a:pt x="182499" y="95917"/>
                    <a:pt x="180213" y="86106"/>
                    <a:pt x="176689" y="76771"/>
                  </a:cubicBezTo>
                  <a:cubicBezTo>
                    <a:pt x="173069" y="67437"/>
                    <a:pt x="168307" y="59245"/>
                    <a:pt x="162211" y="52101"/>
                  </a:cubicBezTo>
                  <a:cubicBezTo>
                    <a:pt x="156115" y="44958"/>
                    <a:pt x="148685" y="39338"/>
                    <a:pt x="139922" y="35242"/>
                  </a:cubicBezTo>
                  <a:cubicBezTo>
                    <a:pt x="131159" y="31147"/>
                    <a:pt x="121063" y="29051"/>
                    <a:pt x="109823" y="29051"/>
                  </a:cubicBezTo>
                  <a:cubicBezTo>
                    <a:pt x="100013" y="29051"/>
                    <a:pt x="90773" y="30956"/>
                    <a:pt x="82105" y="34766"/>
                  </a:cubicBezTo>
                  <a:cubicBezTo>
                    <a:pt x="73438" y="38671"/>
                    <a:pt x="65913" y="44005"/>
                    <a:pt x="59341" y="50959"/>
                  </a:cubicBezTo>
                  <a:cubicBezTo>
                    <a:pt x="52769" y="57912"/>
                    <a:pt x="47339" y="66103"/>
                    <a:pt x="43053" y="75628"/>
                  </a:cubicBezTo>
                  <a:cubicBezTo>
                    <a:pt x="38767" y="85058"/>
                    <a:pt x="36004" y="95345"/>
                    <a:pt x="34766" y="106204"/>
                  </a:cubicBezTo>
                  <a:lnTo>
                    <a:pt x="183356" y="106204"/>
                  </a:lnTo>
                  <a:close/>
                </a:path>
              </a:pathLst>
            </a:custGeom>
            <a:solidFill>
              <a:srgbClr val="44505E"/>
            </a:solidFill>
            <a:ln w="9525" cap="flat">
              <a:noFill/>
              <a:prstDash val="solid"/>
              <a:miter/>
            </a:ln>
          </p:spPr>
          <p:txBody>
            <a:bodyPr rtlCol="0" anchor="ctr"/>
            <a:lstStyle/>
            <a:p>
              <a:endParaRPr lang="pt-BR" noProof="0"/>
            </a:p>
          </p:txBody>
        </p:sp>
        <p:sp>
          <p:nvSpPr>
            <p:cNvPr id="44" name="Freeform: Shape 43">
              <a:extLst>
                <a:ext uri="{FF2B5EF4-FFF2-40B4-BE49-F238E27FC236}">
                  <a16:creationId xmlns:a16="http://schemas.microsoft.com/office/drawing/2014/main" id="{DC0372A6-A58C-56C1-B29F-85F952773AE0}"/>
                </a:ext>
              </a:extLst>
            </p:cNvPr>
            <p:cNvSpPr/>
            <p:nvPr/>
          </p:nvSpPr>
          <p:spPr>
            <a:xfrm>
              <a:off x="5994910" y="924268"/>
              <a:ext cx="44680" cy="60195"/>
            </a:xfrm>
            <a:custGeom>
              <a:avLst/>
              <a:gdLst>
                <a:gd name="connsiteX0" fmla="*/ 95536 w 177736"/>
                <a:gd name="connsiteY0" fmla="*/ 239268 h 239458"/>
                <a:gd name="connsiteX1" fmla="*/ 45053 w 177736"/>
                <a:gd name="connsiteY1" fmla="*/ 230124 h 239458"/>
                <a:gd name="connsiteX2" fmla="*/ 0 w 177736"/>
                <a:gd name="connsiteY2" fmla="*/ 205359 h 239458"/>
                <a:gd name="connsiteX3" fmla="*/ 17431 w 177736"/>
                <a:gd name="connsiteY3" fmla="*/ 180785 h 239458"/>
                <a:gd name="connsiteX4" fmla="*/ 56483 w 177736"/>
                <a:gd name="connsiteY4" fmla="*/ 202692 h 239458"/>
                <a:gd name="connsiteX5" fmla="*/ 97346 w 177736"/>
                <a:gd name="connsiteY5" fmla="*/ 210217 h 239458"/>
                <a:gd name="connsiteX6" fmla="*/ 131731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730 w 177736"/>
                <a:gd name="connsiteY10" fmla="*/ 147066 h 239458"/>
                <a:gd name="connsiteX11" fmla="*/ 109252 w 177736"/>
                <a:gd name="connsiteY11" fmla="*/ 138779 h 239458"/>
                <a:gd name="connsiteX12" fmla="*/ 87630 w 177736"/>
                <a:gd name="connsiteY12" fmla="*/ 132112 h 239458"/>
                <a:gd name="connsiteX13" fmla="*/ 60674 w 177736"/>
                <a:gd name="connsiteY13" fmla="*/ 123444 h 239458"/>
                <a:gd name="connsiteX14" fmla="*/ 36100 w 177736"/>
                <a:gd name="connsiteY14" fmla="*/ 111633 h 239458"/>
                <a:gd name="connsiteX15" fmla="*/ 18193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60 w 177736"/>
                <a:gd name="connsiteY22" fmla="*/ 6953 h 239458"/>
                <a:gd name="connsiteX23" fmla="*/ 172879 w 177736"/>
                <a:gd name="connsiteY23" fmla="*/ 25527 h 239458"/>
                <a:gd name="connsiteX24" fmla="*/ 157258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4 w 177736"/>
                <a:gd name="connsiteY32" fmla="*/ 96203 h 239458"/>
                <a:gd name="connsiteX33" fmla="*/ 103632 w 177736"/>
                <a:gd name="connsiteY33" fmla="*/ 103346 h 239458"/>
                <a:gd name="connsiteX34" fmla="*/ 130207 w 177736"/>
                <a:gd name="connsiteY34" fmla="*/ 112300 h 239458"/>
                <a:gd name="connsiteX35" fmla="*/ 154114 w 177736"/>
                <a:gd name="connsiteY35" fmla="*/ 124778 h 239458"/>
                <a:gd name="connsiteX36" fmla="*/ 171260 w 177736"/>
                <a:gd name="connsiteY36" fmla="*/ 143066 h 239458"/>
                <a:gd name="connsiteX37" fmla="*/ 177737 w 177736"/>
                <a:gd name="connsiteY37" fmla="*/ 169450 h 239458"/>
                <a:gd name="connsiteX38" fmla="*/ 177737 w 177736"/>
                <a:gd name="connsiteY38" fmla="*/ 170307 h 239458"/>
                <a:gd name="connsiteX39" fmla="*/ 171260 w 177736"/>
                <a:gd name="connsiteY39" fmla="*/ 199549 h 239458"/>
                <a:gd name="connsiteX40" fmla="*/ 153829 w 177736"/>
                <a:gd name="connsiteY40" fmla="*/ 221171 h 239458"/>
                <a:gd name="connsiteX41" fmla="*/ 127921 w 177736"/>
                <a:gd name="connsiteY41" fmla="*/ 234791 h 239458"/>
                <a:gd name="connsiteX42" fmla="*/ 95536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6" y="239268"/>
                  </a:moveTo>
                  <a:cubicBezTo>
                    <a:pt x="78867" y="239268"/>
                    <a:pt x="62008" y="236220"/>
                    <a:pt x="45053" y="230124"/>
                  </a:cubicBezTo>
                  <a:cubicBezTo>
                    <a:pt x="28099" y="224028"/>
                    <a:pt x="13049" y="215741"/>
                    <a:pt x="0" y="205359"/>
                  </a:cubicBezTo>
                  <a:lnTo>
                    <a:pt x="17431" y="180785"/>
                  </a:lnTo>
                  <a:cubicBezTo>
                    <a:pt x="29909"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637" y="162211"/>
                    <a:pt x="140494" y="158020"/>
                  </a:cubicBezTo>
                  <a:cubicBezTo>
                    <a:pt x="137351" y="153829"/>
                    <a:pt x="133160" y="150209"/>
                    <a:pt x="127730" y="147066"/>
                  </a:cubicBezTo>
                  <a:cubicBezTo>
                    <a:pt x="122396" y="143923"/>
                    <a:pt x="116205" y="141161"/>
                    <a:pt x="109252" y="138779"/>
                  </a:cubicBezTo>
                  <a:cubicBezTo>
                    <a:pt x="102299" y="136398"/>
                    <a:pt x="95060" y="134207"/>
                    <a:pt x="87630" y="132112"/>
                  </a:cubicBezTo>
                  <a:cubicBezTo>
                    <a:pt x="78677" y="129445"/>
                    <a:pt x="69723" y="126492"/>
                    <a:pt x="60674" y="123444"/>
                  </a:cubicBezTo>
                  <a:cubicBezTo>
                    <a:pt x="51626" y="120301"/>
                    <a:pt x="43434" y="116396"/>
                    <a:pt x="36100" y="111633"/>
                  </a:cubicBezTo>
                  <a:cubicBezTo>
                    <a:pt x="28766" y="106871"/>
                    <a:pt x="22860" y="100870"/>
                    <a:pt x="18193" y="93726"/>
                  </a:cubicBezTo>
                  <a:cubicBezTo>
                    <a:pt x="13621" y="86582"/>
                    <a:pt x="11239" y="77629"/>
                    <a:pt x="11239" y="66961"/>
                  </a:cubicBezTo>
                  <a:lnTo>
                    <a:pt x="11239" y="66008"/>
                  </a:lnTo>
                  <a:cubicBezTo>
                    <a:pt x="11239" y="56198"/>
                    <a:pt x="13145" y="47149"/>
                    <a:pt x="17050" y="39053"/>
                  </a:cubicBezTo>
                  <a:cubicBezTo>
                    <a:pt x="20860" y="30861"/>
                    <a:pt x="26289" y="23908"/>
                    <a:pt x="33338" y="18098"/>
                  </a:cubicBezTo>
                  <a:cubicBezTo>
                    <a:pt x="40291" y="12287"/>
                    <a:pt x="48673" y="7811"/>
                    <a:pt x="58388" y="4667"/>
                  </a:cubicBezTo>
                  <a:cubicBezTo>
                    <a:pt x="68009" y="1524"/>
                    <a:pt x="78581" y="0"/>
                    <a:pt x="89821" y="0"/>
                  </a:cubicBezTo>
                  <a:cubicBezTo>
                    <a:pt x="104108" y="0"/>
                    <a:pt x="118491" y="2286"/>
                    <a:pt x="133160" y="6953"/>
                  </a:cubicBezTo>
                  <a:cubicBezTo>
                    <a:pt x="147733" y="11621"/>
                    <a:pt x="160972" y="17717"/>
                    <a:pt x="172879" y="25527"/>
                  </a:cubicBezTo>
                  <a:lnTo>
                    <a:pt x="157258" y="51435"/>
                  </a:lnTo>
                  <a:cubicBezTo>
                    <a:pt x="146495" y="44577"/>
                    <a:pt x="135350" y="39148"/>
                    <a:pt x="123539" y="35147"/>
                  </a:cubicBezTo>
                  <a:cubicBezTo>
                    <a:pt x="111824" y="31147"/>
                    <a:pt x="100298" y="29146"/>
                    <a:pt x="88963" y="29146"/>
                  </a:cubicBezTo>
                  <a:cubicBezTo>
                    <a:pt x="75247" y="29146"/>
                    <a:pt x="64389" y="32385"/>
                    <a:pt x="56388" y="38767"/>
                  </a:cubicBezTo>
                  <a:cubicBezTo>
                    <a:pt x="48387" y="45149"/>
                    <a:pt x="44291" y="53150"/>
                    <a:pt x="44291" y="62675"/>
                  </a:cubicBezTo>
                  <a:lnTo>
                    <a:pt x="44291" y="63627"/>
                  </a:lnTo>
                  <a:cubicBezTo>
                    <a:pt x="44291" y="68961"/>
                    <a:pt x="45911" y="73628"/>
                    <a:pt x="49244" y="77724"/>
                  </a:cubicBezTo>
                  <a:cubicBezTo>
                    <a:pt x="52483" y="81725"/>
                    <a:pt x="56960" y="85249"/>
                    <a:pt x="62389" y="88202"/>
                  </a:cubicBezTo>
                  <a:cubicBezTo>
                    <a:pt x="67913" y="91154"/>
                    <a:pt x="74200" y="93821"/>
                    <a:pt x="81344" y="96203"/>
                  </a:cubicBezTo>
                  <a:cubicBezTo>
                    <a:pt x="88487" y="98584"/>
                    <a:pt x="95917" y="100965"/>
                    <a:pt x="103632" y="103346"/>
                  </a:cubicBezTo>
                  <a:cubicBezTo>
                    <a:pt x="112586" y="106013"/>
                    <a:pt x="121444" y="108966"/>
                    <a:pt x="130207" y="112300"/>
                  </a:cubicBezTo>
                  <a:cubicBezTo>
                    <a:pt x="138970" y="115538"/>
                    <a:pt x="146971" y="119729"/>
                    <a:pt x="154114" y="124778"/>
                  </a:cubicBezTo>
                  <a:cubicBezTo>
                    <a:pt x="161258" y="129826"/>
                    <a:pt x="166973" y="135922"/>
                    <a:pt x="171260" y="143066"/>
                  </a:cubicBezTo>
                  <a:cubicBezTo>
                    <a:pt x="175546" y="150209"/>
                    <a:pt x="177737" y="158972"/>
                    <a:pt x="177737" y="169450"/>
                  </a:cubicBezTo>
                  <a:lnTo>
                    <a:pt x="177737" y="170307"/>
                  </a:lnTo>
                  <a:cubicBezTo>
                    <a:pt x="177737" y="181356"/>
                    <a:pt x="175546" y="191071"/>
                    <a:pt x="171260" y="199549"/>
                  </a:cubicBezTo>
                  <a:cubicBezTo>
                    <a:pt x="166973" y="208026"/>
                    <a:pt x="161163" y="215265"/>
                    <a:pt x="153829" y="221171"/>
                  </a:cubicBezTo>
                  <a:cubicBezTo>
                    <a:pt x="146495" y="227171"/>
                    <a:pt x="137922" y="231648"/>
                    <a:pt x="127921" y="234791"/>
                  </a:cubicBezTo>
                  <a:cubicBezTo>
                    <a:pt x="117920" y="237935"/>
                    <a:pt x="107156" y="239459"/>
                    <a:pt x="95536" y="239459"/>
                  </a:cubicBezTo>
                  <a:close/>
                </a:path>
              </a:pathLst>
            </a:custGeom>
            <a:solidFill>
              <a:srgbClr val="44505E"/>
            </a:solidFill>
            <a:ln w="9525" cap="flat">
              <a:noFill/>
              <a:prstDash val="solid"/>
              <a:miter/>
            </a:ln>
          </p:spPr>
          <p:txBody>
            <a:bodyPr rtlCol="0" anchor="ctr"/>
            <a:lstStyle/>
            <a:p>
              <a:endParaRPr lang="pt-BR" noProof="0"/>
            </a:p>
          </p:txBody>
        </p:sp>
        <p:sp>
          <p:nvSpPr>
            <p:cNvPr id="45" name="Freeform: Shape 44">
              <a:extLst>
                <a:ext uri="{FF2B5EF4-FFF2-40B4-BE49-F238E27FC236}">
                  <a16:creationId xmlns:a16="http://schemas.microsoft.com/office/drawing/2014/main" id="{A4CC74E1-F105-23FD-5E85-CD3B5CC3CD74}"/>
                </a:ext>
              </a:extLst>
            </p:cNvPr>
            <p:cNvSpPr/>
            <p:nvPr/>
          </p:nvSpPr>
          <p:spPr>
            <a:xfrm>
              <a:off x="605122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4 w 202977"/>
                <a:gd name="connsiteY30" fmla="*/ 174593 h 239267"/>
                <a:gd name="connsiteX31" fmla="*/ 169735 w 202977"/>
                <a:gd name="connsiteY31" fmla="*/ 149447 h 239267"/>
                <a:gd name="connsiteX32" fmla="*/ 169735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0" y="90964"/>
                    <a:pt x="98584" y="90964"/>
                  </a:cubicBezTo>
                  <a:cubicBezTo>
                    <a:pt x="113157" y="90964"/>
                    <a:pt x="126301"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1" y="33147"/>
                    <a:pt x="63436" y="36100"/>
                  </a:cubicBezTo>
                  <a:cubicBezTo>
                    <a:pt x="52292" y="39053"/>
                    <a:pt x="41338" y="43053"/>
                    <a:pt x="30671" y="48196"/>
                  </a:cubicBezTo>
                  <a:lnTo>
                    <a:pt x="20383" y="19907"/>
                  </a:lnTo>
                  <a:cubicBezTo>
                    <a:pt x="33147" y="13906"/>
                    <a:pt x="46101" y="9049"/>
                    <a:pt x="59246" y="5429"/>
                  </a:cubicBezTo>
                  <a:cubicBezTo>
                    <a:pt x="72295"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1" y="239173"/>
                  </a:cubicBezTo>
                  <a:close/>
                  <a:moveTo>
                    <a:pt x="93154" y="211169"/>
                  </a:moveTo>
                  <a:cubicBezTo>
                    <a:pt x="103822" y="211169"/>
                    <a:pt x="113728" y="209740"/>
                    <a:pt x="122967" y="206788"/>
                  </a:cubicBezTo>
                  <a:cubicBezTo>
                    <a:pt x="132207" y="203835"/>
                    <a:pt x="140208" y="199644"/>
                    <a:pt x="147256" y="194120"/>
                  </a:cubicBezTo>
                  <a:cubicBezTo>
                    <a:pt x="154209" y="188595"/>
                    <a:pt x="159734" y="182118"/>
                    <a:pt x="163734" y="174593"/>
                  </a:cubicBezTo>
                  <a:cubicBezTo>
                    <a:pt x="167735" y="167068"/>
                    <a:pt x="169735" y="158687"/>
                    <a:pt x="169735" y="149447"/>
                  </a:cubicBezTo>
                  <a:lnTo>
                    <a:pt x="169735" y="128111"/>
                  </a:lnTo>
                  <a:cubicBezTo>
                    <a:pt x="161163" y="125730"/>
                    <a:pt x="151352" y="123539"/>
                    <a:pt x="140398" y="121444"/>
                  </a:cubicBezTo>
                  <a:cubicBezTo>
                    <a:pt x="129445" y="119348"/>
                    <a:pt x="116872"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46" name="Freeform: Shape 45">
              <a:extLst>
                <a:ext uri="{FF2B5EF4-FFF2-40B4-BE49-F238E27FC236}">
                  <a16:creationId xmlns:a16="http://schemas.microsoft.com/office/drawing/2014/main" id="{7741785F-5CE3-FCAD-E167-A6B01F5EE739}"/>
                </a:ext>
              </a:extLst>
            </p:cNvPr>
            <p:cNvSpPr/>
            <p:nvPr/>
          </p:nvSpPr>
          <p:spPr>
            <a:xfrm>
              <a:off x="6121359" y="901377"/>
              <a:ext cx="8644" cy="81913"/>
            </a:xfrm>
            <a:custGeom>
              <a:avLst/>
              <a:gdLst>
                <a:gd name="connsiteX0" fmla="*/ 0 w 34385"/>
                <a:gd name="connsiteY0" fmla="*/ 0 h 325850"/>
                <a:gd name="connsiteX1" fmla="*/ 34385 w 34385"/>
                <a:gd name="connsiteY1" fmla="*/ 0 h 325850"/>
                <a:gd name="connsiteX2" fmla="*/ 34385 w 34385"/>
                <a:gd name="connsiteY2" fmla="*/ 325850 h 325850"/>
                <a:gd name="connsiteX3" fmla="*/ 0 w 34385"/>
                <a:gd name="connsiteY3" fmla="*/ 325850 h 325850"/>
                <a:gd name="connsiteX4" fmla="*/ 0 w 34385"/>
                <a:gd name="connsiteY4" fmla="*/ 0 h 32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 h="325850">
                  <a:moveTo>
                    <a:pt x="0" y="0"/>
                  </a:moveTo>
                  <a:lnTo>
                    <a:pt x="34385" y="0"/>
                  </a:lnTo>
                  <a:lnTo>
                    <a:pt x="34385" y="325850"/>
                  </a:lnTo>
                  <a:lnTo>
                    <a:pt x="0" y="325850"/>
                  </a:lnTo>
                  <a:lnTo>
                    <a:pt x="0" y="0"/>
                  </a:lnTo>
                  <a:close/>
                </a:path>
              </a:pathLst>
            </a:custGeom>
            <a:solidFill>
              <a:srgbClr val="44505E"/>
            </a:solidFill>
            <a:ln w="9525" cap="flat">
              <a:noFill/>
              <a:prstDash val="solid"/>
              <a:miter/>
            </a:ln>
          </p:spPr>
          <p:txBody>
            <a:bodyPr rtlCol="0" anchor="ctr"/>
            <a:lstStyle/>
            <a:p>
              <a:endParaRPr lang="pt-BR" noProof="0"/>
            </a:p>
          </p:txBody>
        </p:sp>
        <p:sp>
          <p:nvSpPr>
            <p:cNvPr id="47" name="Freeform: Shape 46">
              <a:extLst>
                <a:ext uri="{FF2B5EF4-FFF2-40B4-BE49-F238E27FC236}">
                  <a16:creationId xmlns:a16="http://schemas.microsoft.com/office/drawing/2014/main" id="{8DAF6CF4-CF25-D112-C107-5E92E8226D77}"/>
                </a:ext>
              </a:extLst>
            </p:cNvPr>
            <p:cNvSpPr/>
            <p:nvPr/>
          </p:nvSpPr>
          <p:spPr>
            <a:xfrm>
              <a:off x="6144346" y="925273"/>
              <a:ext cx="58016" cy="58448"/>
            </a:xfrm>
            <a:custGeom>
              <a:avLst/>
              <a:gdLst>
                <a:gd name="connsiteX0" fmla="*/ 95 w 230790"/>
                <a:gd name="connsiteY0" fmla="*/ 0 h 232505"/>
                <a:gd name="connsiteX1" fmla="*/ 38005 w 230790"/>
                <a:gd name="connsiteY1" fmla="*/ 0 h 232505"/>
                <a:gd name="connsiteX2" fmla="*/ 115634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4"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48" name="Freeform: Shape 47">
              <a:extLst>
                <a:ext uri="{FF2B5EF4-FFF2-40B4-BE49-F238E27FC236}">
                  <a16:creationId xmlns:a16="http://schemas.microsoft.com/office/drawing/2014/main" id="{DA5CB994-3ADC-1E1C-5980-725E67BDAB83}"/>
                </a:ext>
              </a:extLst>
            </p:cNvPr>
            <p:cNvSpPr/>
            <p:nvPr/>
          </p:nvSpPr>
          <p:spPr>
            <a:xfrm>
              <a:off x="621155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8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338 w 202977"/>
                <a:gd name="connsiteY36" fmla="*/ 164497 h 239267"/>
                <a:gd name="connsiteX37" fmla="*/ 35338 w 202977"/>
                <a:gd name="connsiteY37" fmla="*/ 165449 h 239267"/>
                <a:gd name="connsiteX38" fmla="*/ 40005 w 202977"/>
                <a:gd name="connsiteY38" fmla="*/ 184785 h 239267"/>
                <a:gd name="connsiteX39" fmla="*/ 52673 w 202977"/>
                <a:gd name="connsiteY39" fmla="*/ 199263 h 239267"/>
                <a:gd name="connsiteX40" fmla="*/ 71152 w 202977"/>
                <a:gd name="connsiteY40" fmla="*/ 208121 h 239267"/>
                <a:gd name="connsiteX41" fmla="*/ 93154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438" y="239268"/>
                    <a:pt x="64961"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1" y="90964"/>
                    <a:pt x="98584" y="90964"/>
                  </a:cubicBezTo>
                  <a:cubicBezTo>
                    <a:pt x="113157" y="90964"/>
                    <a:pt x="126302" y="91821"/>
                    <a:pt x="137160" y="93631"/>
                  </a:cubicBezTo>
                  <a:cubicBezTo>
                    <a:pt x="148019" y="95440"/>
                    <a:pt x="158687" y="97822"/>
                    <a:pt x="169069" y="100774"/>
                  </a:cubicBezTo>
                  <a:lnTo>
                    <a:pt x="169069" y="93726"/>
                  </a:lnTo>
                  <a:cubicBezTo>
                    <a:pt x="169069" y="73342"/>
                    <a:pt x="163068" y="57912"/>
                    <a:pt x="151162" y="47339"/>
                  </a:cubicBezTo>
                  <a:cubicBezTo>
                    <a:pt x="139255" y="36862"/>
                    <a:pt x="122491" y="31623"/>
                    <a:pt x="100679" y="31623"/>
                  </a:cubicBezTo>
                  <a:cubicBezTo>
                    <a:pt x="86963" y="31623"/>
                    <a:pt x="74581" y="33147"/>
                    <a:pt x="63437" y="36100"/>
                  </a:cubicBezTo>
                  <a:cubicBezTo>
                    <a:pt x="52292" y="39053"/>
                    <a:pt x="41338" y="43053"/>
                    <a:pt x="30671" y="48196"/>
                  </a:cubicBezTo>
                  <a:lnTo>
                    <a:pt x="20383" y="19907"/>
                  </a:lnTo>
                  <a:cubicBezTo>
                    <a:pt x="33147" y="13906"/>
                    <a:pt x="46101" y="9049"/>
                    <a:pt x="59246" y="5429"/>
                  </a:cubicBezTo>
                  <a:cubicBezTo>
                    <a:pt x="72390"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04" y="239173"/>
                    <a:pt x="86011" y="239173"/>
                  </a:cubicBezTo>
                  <a:close/>
                  <a:moveTo>
                    <a:pt x="93154" y="211169"/>
                  </a:moveTo>
                  <a:cubicBezTo>
                    <a:pt x="103822" y="211169"/>
                    <a:pt x="113824" y="209740"/>
                    <a:pt x="122968" y="206788"/>
                  </a:cubicBezTo>
                  <a:cubicBezTo>
                    <a:pt x="132112"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5" y="119348"/>
                    <a:pt x="116777" y="118300"/>
                    <a:pt x="102584" y="118300"/>
                  </a:cubicBezTo>
                  <a:cubicBezTo>
                    <a:pt x="81248" y="118300"/>
                    <a:pt x="64675" y="122491"/>
                    <a:pt x="52959" y="130969"/>
                  </a:cubicBezTo>
                  <a:cubicBezTo>
                    <a:pt x="41243" y="139446"/>
                    <a:pt x="35338" y="150590"/>
                    <a:pt x="35338" y="164497"/>
                  </a:cubicBezTo>
                  <a:lnTo>
                    <a:pt x="35338" y="165449"/>
                  </a:lnTo>
                  <a:cubicBezTo>
                    <a:pt x="35338" y="172498"/>
                    <a:pt x="36862" y="178975"/>
                    <a:pt x="40005" y="184785"/>
                  </a:cubicBezTo>
                  <a:cubicBezTo>
                    <a:pt x="43148" y="190500"/>
                    <a:pt x="47339" y="195358"/>
                    <a:pt x="52673" y="199263"/>
                  </a:cubicBezTo>
                  <a:cubicBezTo>
                    <a:pt x="58007" y="203073"/>
                    <a:pt x="64198" y="206026"/>
                    <a:pt x="71152" y="208121"/>
                  </a:cubicBezTo>
                  <a:cubicBezTo>
                    <a:pt x="78105" y="210217"/>
                    <a:pt x="85439" y="211169"/>
                    <a:pt x="93154" y="211169"/>
                  </a:cubicBezTo>
                  <a:close/>
                </a:path>
              </a:pathLst>
            </a:custGeom>
            <a:solidFill>
              <a:srgbClr val="44505E"/>
            </a:solidFill>
            <a:ln w="9525" cap="flat">
              <a:noFill/>
              <a:prstDash val="solid"/>
              <a:miter/>
            </a:ln>
          </p:spPr>
          <p:txBody>
            <a:bodyPr rtlCol="0" anchor="ctr"/>
            <a:lstStyle/>
            <a:p>
              <a:endParaRPr lang="pt-BR" noProof="0"/>
            </a:p>
          </p:txBody>
        </p:sp>
        <p:sp>
          <p:nvSpPr>
            <p:cNvPr id="49" name="Freeform: Shape 48">
              <a:extLst>
                <a:ext uri="{FF2B5EF4-FFF2-40B4-BE49-F238E27FC236}">
                  <a16:creationId xmlns:a16="http://schemas.microsoft.com/office/drawing/2014/main" id="{BB4126E9-B50A-A055-C998-69C48DD9AA5A}"/>
                </a:ext>
              </a:extLst>
            </p:cNvPr>
            <p:cNvSpPr/>
            <p:nvPr/>
          </p:nvSpPr>
          <p:spPr>
            <a:xfrm>
              <a:off x="6280899" y="923980"/>
              <a:ext cx="87995" cy="59238"/>
            </a:xfrm>
            <a:custGeom>
              <a:avLst/>
              <a:gdLst>
                <a:gd name="connsiteX0" fmla="*/ 0 w 350043"/>
                <a:gd name="connsiteY0" fmla="*/ 5144 h 235648"/>
                <a:gd name="connsiteX1" fmla="*/ 34385 w 350043"/>
                <a:gd name="connsiteY1" fmla="*/ 5144 h 235648"/>
                <a:gd name="connsiteX2" fmla="*/ 34385 w 350043"/>
                <a:gd name="connsiteY2" fmla="*/ 44005 h 235648"/>
                <a:gd name="connsiteX3" fmla="*/ 47149 w 350043"/>
                <a:gd name="connsiteY3" fmla="*/ 27432 h 235648"/>
                <a:gd name="connsiteX4" fmla="*/ 62960 w 350043"/>
                <a:gd name="connsiteY4" fmla="*/ 13335 h 235648"/>
                <a:gd name="connsiteX5" fmla="*/ 83058 w 350043"/>
                <a:gd name="connsiteY5" fmla="*/ 3715 h 235648"/>
                <a:gd name="connsiteX6" fmla="*/ 108966 w 350043"/>
                <a:gd name="connsiteY6" fmla="*/ 95 h 235648"/>
                <a:gd name="connsiteX7" fmla="*/ 155448 w 350043"/>
                <a:gd name="connsiteY7" fmla="*/ 13240 h 235648"/>
                <a:gd name="connsiteX8" fmla="*/ 183166 w 350043"/>
                <a:gd name="connsiteY8" fmla="*/ 46006 h 235648"/>
                <a:gd name="connsiteX9" fmla="*/ 197168 w 350043"/>
                <a:gd name="connsiteY9" fmla="*/ 28194 h 235648"/>
                <a:gd name="connsiteX10" fmla="*/ 214789 w 350043"/>
                <a:gd name="connsiteY10" fmla="*/ 13430 h 235648"/>
                <a:gd name="connsiteX11" fmla="*/ 236887 w 350043"/>
                <a:gd name="connsiteY11" fmla="*/ 3620 h 235648"/>
                <a:gd name="connsiteX12" fmla="*/ 264319 w 350043"/>
                <a:gd name="connsiteY12" fmla="*/ 0 h 235648"/>
                <a:gd name="connsiteX13" fmla="*/ 327279 w 350043"/>
                <a:gd name="connsiteY13" fmla="*/ 24765 h 235648"/>
                <a:gd name="connsiteX14" fmla="*/ 350044 w 350043"/>
                <a:gd name="connsiteY14" fmla="*/ 92773 h 235648"/>
                <a:gd name="connsiteX15" fmla="*/ 350044 w 350043"/>
                <a:gd name="connsiteY15" fmla="*/ 235648 h 235648"/>
                <a:gd name="connsiteX16" fmla="*/ 315659 w 350043"/>
                <a:gd name="connsiteY16" fmla="*/ 235648 h 235648"/>
                <a:gd name="connsiteX17" fmla="*/ 315659 w 350043"/>
                <a:gd name="connsiteY17" fmla="*/ 101155 h 235648"/>
                <a:gd name="connsiteX18" fmla="*/ 299847 w 350043"/>
                <a:gd name="connsiteY18" fmla="*/ 49721 h 235648"/>
                <a:gd name="connsiteX19" fmla="*/ 255937 w 350043"/>
                <a:gd name="connsiteY19" fmla="*/ 31718 h 235648"/>
                <a:gd name="connsiteX20" fmla="*/ 231362 w 350043"/>
                <a:gd name="connsiteY20" fmla="*/ 36386 h 235648"/>
                <a:gd name="connsiteX21" fmla="*/ 211074 w 350043"/>
                <a:gd name="connsiteY21" fmla="*/ 50197 h 235648"/>
                <a:gd name="connsiteX22" fmla="*/ 197263 w 350043"/>
                <a:gd name="connsiteY22" fmla="*/ 72676 h 235648"/>
                <a:gd name="connsiteX23" fmla="*/ 192119 w 350043"/>
                <a:gd name="connsiteY23" fmla="*/ 102965 h 235648"/>
                <a:gd name="connsiteX24" fmla="*/ 192119 w 350043"/>
                <a:gd name="connsiteY24" fmla="*/ 235648 h 235648"/>
                <a:gd name="connsiteX25" fmla="*/ 158210 w 350043"/>
                <a:gd name="connsiteY25" fmla="*/ 235648 h 235648"/>
                <a:gd name="connsiteX26" fmla="*/ 158210 w 350043"/>
                <a:gd name="connsiteY26" fmla="*/ 100298 h 235648"/>
                <a:gd name="connsiteX27" fmla="*/ 142399 w 350043"/>
                <a:gd name="connsiteY27" fmla="*/ 49721 h 235648"/>
                <a:gd name="connsiteX28" fmla="*/ 98870 w 350043"/>
                <a:gd name="connsiteY28" fmla="*/ 31718 h 235648"/>
                <a:gd name="connsiteX29" fmla="*/ 73438 w 350043"/>
                <a:gd name="connsiteY29" fmla="*/ 37052 h 235648"/>
                <a:gd name="connsiteX30" fmla="*/ 53150 w 350043"/>
                <a:gd name="connsiteY30" fmla="*/ 52197 h 235648"/>
                <a:gd name="connsiteX31" fmla="*/ 39529 w 350043"/>
                <a:gd name="connsiteY31" fmla="*/ 75152 h 235648"/>
                <a:gd name="connsiteX32" fmla="*/ 34576 w 350043"/>
                <a:gd name="connsiteY32" fmla="*/ 104299 h 235648"/>
                <a:gd name="connsiteX33" fmla="*/ 34576 w 350043"/>
                <a:gd name="connsiteY33" fmla="*/ 235648 h 235648"/>
                <a:gd name="connsiteX34" fmla="*/ 190 w 350043"/>
                <a:gd name="connsiteY34" fmla="*/ 235648 h 235648"/>
                <a:gd name="connsiteX35" fmla="*/ 190 w 350043"/>
                <a:gd name="connsiteY35" fmla="*/ 485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0043" h="235648">
                  <a:moveTo>
                    <a:pt x="0" y="5144"/>
                  </a:moveTo>
                  <a:lnTo>
                    <a:pt x="34385" y="5144"/>
                  </a:lnTo>
                  <a:lnTo>
                    <a:pt x="34385" y="44005"/>
                  </a:lnTo>
                  <a:cubicBezTo>
                    <a:pt x="38290" y="38386"/>
                    <a:pt x="42481" y="32861"/>
                    <a:pt x="47149" y="27432"/>
                  </a:cubicBezTo>
                  <a:cubicBezTo>
                    <a:pt x="51721" y="22098"/>
                    <a:pt x="57055" y="17431"/>
                    <a:pt x="62960" y="13335"/>
                  </a:cubicBezTo>
                  <a:cubicBezTo>
                    <a:pt x="68866" y="9335"/>
                    <a:pt x="75629" y="6096"/>
                    <a:pt x="83058" y="3715"/>
                  </a:cubicBezTo>
                  <a:cubicBezTo>
                    <a:pt x="90488" y="1334"/>
                    <a:pt x="99155" y="95"/>
                    <a:pt x="108966" y="95"/>
                  </a:cubicBezTo>
                  <a:cubicBezTo>
                    <a:pt x="127730" y="95"/>
                    <a:pt x="143161" y="4477"/>
                    <a:pt x="155448" y="13240"/>
                  </a:cubicBezTo>
                  <a:cubicBezTo>
                    <a:pt x="167640" y="22003"/>
                    <a:pt x="176879" y="32956"/>
                    <a:pt x="183166" y="46006"/>
                  </a:cubicBezTo>
                  <a:cubicBezTo>
                    <a:pt x="187357" y="39719"/>
                    <a:pt x="192024" y="33814"/>
                    <a:pt x="197168" y="28194"/>
                  </a:cubicBezTo>
                  <a:cubicBezTo>
                    <a:pt x="202406" y="22574"/>
                    <a:pt x="208217" y="17621"/>
                    <a:pt x="214789" y="13430"/>
                  </a:cubicBezTo>
                  <a:cubicBezTo>
                    <a:pt x="221361" y="9239"/>
                    <a:pt x="228695" y="6001"/>
                    <a:pt x="236887" y="3620"/>
                  </a:cubicBezTo>
                  <a:cubicBezTo>
                    <a:pt x="245078" y="1238"/>
                    <a:pt x="254222" y="0"/>
                    <a:pt x="264319" y="0"/>
                  </a:cubicBezTo>
                  <a:cubicBezTo>
                    <a:pt x="291084" y="0"/>
                    <a:pt x="312039" y="8287"/>
                    <a:pt x="327279" y="24765"/>
                  </a:cubicBezTo>
                  <a:cubicBezTo>
                    <a:pt x="342519" y="41243"/>
                    <a:pt x="350044" y="63913"/>
                    <a:pt x="350044" y="92773"/>
                  </a:cubicBezTo>
                  <a:lnTo>
                    <a:pt x="350044" y="235648"/>
                  </a:lnTo>
                  <a:lnTo>
                    <a:pt x="315659" y="235648"/>
                  </a:lnTo>
                  <a:lnTo>
                    <a:pt x="315659" y="101155"/>
                  </a:lnTo>
                  <a:cubicBezTo>
                    <a:pt x="315659" y="78867"/>
                    <a:pt x="310420" y="61722"/>
                    <a:pt x="299847" y="49721"/>
                  </a:cubicBezTo>
                  <a:cubicBezTo>
                    <a:pt x="289274" y="37719"/>
                    <a:pt x="274606" y="31718"/>
                    <a:pt x="255937" y="31718"/>
                  </a:cubicBezTo>
                  <a:cubicBezTo>
                    <a:pt x="247269" y="31718"/>
                    <a:pt x="239078" y="33242"/>
                    <a:pt x="231362" y="36386"/>
                  </a:cubicBezTo>
                  <a:cubicBezTo>
                    <a:pt x="223647" y="39529"/>
                    <a:pt x="216884" y="44101"/>
                    <a:pt x="211074" y="50197"/>
                  </a:cubicBezTo>
                  <a:cubicBezTo>
                    <a:pt x="205264" y="56293"/>
                    <a:pt x="200692" y="63818"/>
                    <a:pt x="197263" y="72676"/>
                  </a:cubicBezTo>
                  <a:cubicBezTo>
                    <a:pt x="193834" y="81629"/>
                    <a:pt x="192119" y="91726"/>
                    <a:pt x="192119" y="102965"/>
                  </a:cubicBezTo>
                  <a:lnTo>
                    <a:pt x="192119" y="235648"/>
                  </a:lnTo>
                  <a:lnTo>
                    <a:pt x="158210" y="235648"/>
                  </a:lnTo>
                  <a:lnTo>
                    <a:pt x="158210" y="100298"/>
                  </a:lnTo>
                  <a:cubicBezTo>
                    <a:pt x="158210" y="78677"/>
                    <a:pt x="152971" y="61817"/>
                    <a:pt x="142399" y="49721"/>
                  </a:cubicBezTo>
                  <a:cubicBezTo>
                    <a:pt x="131826" y="37719"/>
                    <a:pt x="117348" y="31718"/>
                    <a:pt x="98870" y="31718"/>
                  </a:cubicBezTo>
                  <a:cubicBezTo>
                    <a:pt x="89630" y="31718"/>
                    <a:pt x="81153" y="33528"/>
                    <a:pt x="73438" y="37052"/>
                  </a:cubicBezTo>
                  <a:cubicBezTo>
                    <a:pt x="65722" y="40672"/>
                    <a:pt x="58960" y="45720"/>
                    <a:pt x="53150" y="52197"/>
                  </a:cubicBezTo>
                  <a:cubicBezTo>
                    <a:pt x="47339" y="58769"/>
                    <a:pt x="42767" y="66389"/>
                    <a:pt x="39529" y="75152"/>
                  </a:cubicBezTo>
                  <a:cubicBezTo>
                    <a:pt x="36290" y="83915"/>
                    <a:pt x="34576" y="93631"/>
                    <a:pt x="34576" y="104299"/>
                  </a:cubicBezTo>
                  <a:lnTo>
                    <a:pt x="34576" y="235648"/>
                  </a:lnTo>
                  <a:lnTo>
                    <a:pt x="190" y="235648"/>
                  </a:lnTo>
                  <a:lnTo>
                    <a:pt x="190" y="4858"/>
                  </a:lnTo>
                  <a:close/>
                </a:path>
              </a:pathLst>
            </a:custGeom>
            <a:solidFill>
              <a:srgbClr val="44505E"/>
            </a:solidFill>
            <a:ln w="9525" cap="flat">
              <a:noFill/>
              <a:prstDash val="solid"/>
              <a:miter/>
            </a:ln>
          </p:spPr>
          <p:txBody>
            <a:bodyPr rtlCol="0" anchor="ctr"/>
            <a:lstStyle/>
            <a:p>
              <a:endParaRPr lang="pt-BR" noProof="0"/>
            </a:p>
          </p:txBody>
        </p:sp>
        <p:sp>
          <p:nvSpPr>
            <p:cNvPr id="50" name="Freeform: Shape 49">
              <a:extLst>
                <a:ext uri="{FF2B5EF4-FFF2-40B4-BE49-F238E27FC236}">
                  <a16:creationId xmlns:a16="http://schemas.microsoft.com/office/drawing/2014/main" id="{C4220802-8A07-CBF3-0849-ADC3A4016CE0}"/>
                </a:ext>
              </a:extLst>
            </p:cNvPr>
            <p:cNvSpPr/>
            <p:nvPr/>
          </p:nvSpPr>
          <p:spPr>
            <a:xfrm>
              <a:off x="6415537" y="925273"/>
              <a:ext cx="58016" cy="58448"/>
            </a:xfrm>
            <a:custGeom>
              <a:avLst/>
              <a:gdLst>
                <a:gd name="connsiteX0" fmla="*/ 95 w 230790"/>
                <a:gd name="connsiteY0" fmla="*/ 0 h 232505"/>
                <a:gd name="connsiteX1" fmla="*/ 38005 w 230790"/>
                <a:gd name="connsiteY1" fmla="*/ 0 h 232505"/>
                <a:gd name="connsiteX2" fmla="*/ 115633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3"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51" name="Freeform: Shape 50">
              <a:extLst>
                <a:ext uri="{FF2B5EF4-FFF2-40B4-BE49-F238E27FC236}">
                  <a16:creationId xmlns:a16="http://schemas.microsoft.com/office/drawing/2014/main" id="{AF0DBF7D-34A7-7E43-FF44-A5E69440C41C}"/>
                </a:ext>
              </a:extLst>
            </p:cNvPr>
            <p:cNvSpPr/>
            <p:nvPr/>
          </p:nvSpPr>
          <p:spPr>
            <a:xfrm>
              <a:off x="6487369"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286 w 39242"/>
                <a:gd name="connsiteY5" fmla="*/ 88392 h 319182"/>
                <a:gd name="connsiteX6" fmla="*/ 36671 w 39242"/>
                <a:gd name="connsiteY6" fmla="*/ 88392 h 319182"/>
                <a:gd name="connsiteX7" fmla="*/ 36671 w 39242"/>
                <a:gd name="connsiteY7" fmla="*/ 319183 h 319182"/>
                <a:gd name="connsiteX8" fmla="*/ 2286 w 39242"/>
                <a:gd name="connsiteY8" fmla="*/ 319183 h 319182"/>
                <a:gd name="connsiteX9" fmla="*/ 2286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286" y="88392"/>
                  </a:moveTo>
                  <a:lnTo>
                    <a:pt x="36671" y="88392"/>
                  </a:lnTo>
                  <a:lnTo>
                    <a:pt x="36671" y="319183"/>
                  </a:lnTo>
                  <a:lnTo>
                    <a:pt x="2286" y="319183"/>
                  </a:lnTo>
                  <a:lnTo>
                    <a:pt x="2286" y="88392"/>
                  </a:lnTo>
                  <a:close/>
                </a:path>
              </a:pathLst>
            </a:custGeom>
            <a:solidFill>
              <a:srgbClr val="44505E"/>
            </a:solidFill>
            <a:ln w="9525" cap="flat">
              <a:noFill/>
              <a:prstDash val="solid"/>
              <a:miter/>
            </a:ln>
          </p:spPr>
          <p:txBody>
            <a:bodyPr rtlCol="0" anchor="ctr"/>
            <a:lstStyle/>
            <a:p>
              <a:endParaRPr lang="pt-BR" noProof="0"/>
            </a:p>
          </p:txBody>
        </p:sp>
        <p:sp>
          <p:nvSpPr>
            <p:cNvPr id="52" name="Freeform: Shape 51">
              <a:extLst>
                <a:ext uri="{FF2B5EF4-FFF2-40B4-BE49-F238E27FC236}">
                  <a16:creationId xmlns:a16="http://schemas.microsoft.com/office/drawing/2014/main" id="{08232C51-28D9-F6FD-2130-2988EDF37A9F}"/>
                </a:ext>
              </a:extLst>
            </p:cNvPr>
            <p:cNvSpPr/>
            <p:nvPr/>
          </p:nvSpPr>
          <p:spPr>
            <a:xfrm>
              <a:off x="6513253" y="901353"/>
              <a:ext cx="58615" cy="83182"/>
            </a:xfrm>
            <a:custGeom>
              <a:avLst/>
              <a:gdLst>
                <a:gd name="connsiteX0" fmla="*/ 110394 w 233171"/>
                <a:gd name="connsiteY0" fmla="*/ 330898 h 330898"/>
                <a:gd name="connsiteX1" fmla="*/ 69723 w 233171"/>
                <a:gd name="connsiteY1" fmla="*/ 322897 h 330898"/>
                <a:gd name="connsiteX2" fmla="*/ 34480 w 233171"/>
                <a:gd name="connsiteY2" fmla="*/ 299466 h 330898"/>
                <a:gd name="connsiteX3" fmla="*/ 9430 w 233171"/>
                <a:gd name="connsiteY3" fmla="*/ 261938 h 330898"/>
                <a:gd name="connsiteX4" fmla="*/ 0 w 233171"/>
                <a:gd name="connsiteY4" fmla="*/ 211264 h 330898"/>
                <a:gd name="connsiteX5" fmla="*/ 0 w 233171"/>
                <a:gd name="connsiteY5" fmla="*/ 210407 h 330898"/>
                <a:gd name="connsiteX6" fmla="*/ 9430 w 233171"/>
                <a:gd name="connsiteY6" fmla="*/ 159925 h 330898"/>
                <a:gd name="connsiteX7" fmla="*/ 34480 w 233171"/>
                <a:gd name="connsiteY7" fmla="*/ 122206 h 330898"/>
                <a:gd name="connsiteX8" fmla="*/ 69723 w 233171"/>
                <a:gd name="connsiteY8" fmla="*/ 98488 h 330898"/>
                <a:gd name="connsiteX9" fmla="*/ 110394 w 233171"/>
                <a:gd name="connsiteY9" fmla="*/ 90202 h 330898"/>
                <a:gd name="connsiteX10" fmla="*/ 139827 w 233171"/>
                <a:gd name="connsiteY10" fmla="*/ 94202 h 330898"/>
                <a:gd name="connsiteX11" fmla="*/ 163925 w 233171"/>
                <a:gd name="connsiteY11" fmla="*/ 104870 h 330898"/>
                <a:gd name="connsiteX12" fmla="*/ 183356 w 233171"/>
                <a:gd name="connsiteY12" fmla="*/ 120491 h 330898"/>
                <a:gd name="connsiteX13" fmla="*/ 198787 w 233171"/>
                <a:gd name="connsiteY13" fmla="*/ 139255 h 330898"/>
                <a:gd name="connsiteX14" fmla="*/ 198787 w 233171"/>
                <a:gd name="connsiteY14" fmla="*/ 0 h 330898"/>
                <a:gd name="connsiteX15" fmla="*/ 233172 w 233171"/>
                <a:gd name="connsiteY15" fmla="*/ 0 h 330898"/>
                <a:gd name="connsiteX16" fmla="*/ 233172 w 233171"/>
                <a:gd name="connsiteY16" fmla="*/ 325850 h 330898"/>
                <a:gd name="connsiteX17" fmla="*/ 198787 w 233171"/>
                <a:gd name="connsiteY17" fmla="*/ 325850 h 330898"/>
                <a:gd name="connsiteX18" fmla="*/ 198787 w 233171"/>
                <a:gd name="connsiteY18" fmla="*/ 279463 h 330898"/>
                <a:gd name="connsiteX19" fmla="*/ 182975 w 233171"/>
                <a:gd name="connsiteY19" fmla="*/ 299085 h 330898"/>
                <a:gd name="connsiteX20" fmla="*/ 163544 w 233171"/>
                <a:gd name="connsiteY20" fmla="*/ 315658 h 330898"/>
                <a:gd name="connsiteX21" fmla="*/ 139636 w 233171"/>
                <a:gd name="connsiteY21" fmla="*/ 326803 h 330898"/>
                <a:gd name="connsiteX22" fmla="*/ 110394 w 233171"/>
                <a:gd name="connsiteY22" fmla="*/ 330803 h 330898"/>
                <a:gd name="connsiteX23" fmla="*/ 116681 w 233171"/>
                <a:gd name="connsiteY23" fmla="*/ 300133 h 330898"/>
                <a:gd name="connsiteX24" fmla="*/ 147733 w 233171"/>
                <a:gd name="connsiteY24" fmla="*/ 293656 h 330898"/>
                <a:gd name="connsiteX25" fmla="*/ 174498 w 233171"/>
                <a:gd name="connsiteY25" fmla="*/ 275368 h 330898"/>
                <a:gd name="connsiteX26" fmla="*/ 193262 w 233171"/>
                <a:gd name="connsiteY26" fmla="*/ 247269 h 330898"/>
                <a:gd name="connsiteX27" fmla="*/ 200216 w 233171"/>
                <a:gd name="connsiteY27" fmla="*/ 210883 h 330898"/>
                <a:gd name="connsiteX28" fmla="*/ 200216 w 233171"/>
                <a:gd name="connsiteY28" fmla="*/ 210026 h 330898"/>
                <a:gd name="connsiteX29" fmla="*/ 193262 w 233171"/>
                <a:gd name="connsiteY29" fmla="*/ 173641 h 330898"/>
                <a:gd name="connsiteX30" fmla="*/ 174498 w 233171"/>
                <a:gd name="connsiteY30" fmla="*/ 145732 h 330898"/>
                <a:gd name="connsiteX31" fmla="*/ 147733 w 233171"/>
                <a:gd name="connsiteY31" fmla="*/ 127635 h 330898"/>
                <a:gd name="connsiteX32" fmla="*/ 116681 w 233171"/>
                <a:gd name="connsiteY32" fmla="*/ 121158 h 330898"/>
                <a:gd name="connsiteX33" fmla="*/ 84963 w 233171"/>
                <a:gd name="connsiteY33" fmla="*/ 127159 h 330898"/>
                <a:gd name="connsiteX34" fmla="*/ 59341 w 233171"/>
                <a:gd name="connsiteY34" fmla="*/ 144589 h 330898"/>
                <a:gd name="connsiteX35" fmla="*/ 41910 w 233171"/>
                <a:gd name="connsiteY35" fmla="*/ 172498 h 330898"/>
                <a:gd name="connsiteX36" fmla="*/ 35433 w 233171"/>
                <a:gd name="connsiteY36" fmla="*/ 210026 h 330898"/>
                <a:gd name="connsiteX37" fmla="*/ 35433 w 233171"/>
                <a:gd name="connsiteY37" fmla="*/ 210883 h 330898"/>
                <a:gd name="connsiteX38" fmla="*/ 41910 w 233171"/>
                <a:gd name="connsiteY38" fmla="*/ 247936 h 330898"/>
                <a:gd name="connsiteX39" fmla="*/ 59531 w 233171"/>
                <a:gd name="connsiteY39" fmla="*/ 276034 h 330898"/>
                <a:gd name="connsiteX40" fmla="*/ 85439 w 233171"/>
                <a:gd name="connsiteY40" fmla="*/ 293941 h 330898"/>
                <a:gd name="connsiteX41" fmla="*/ 116681 w 23317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3171" h="330898">
                  <a:moveTo>
                    <a:pt x="110394" y="330898"/>
                  </a:moveTo>
                  <a:cubicBezTo>
                    <a:pt x="96393" y="330898"/>
                    <a:pt x="82868" y="328231"/>
                    <a:pt x="69723" y="322897"/>
                  </a:cubicBezTo>
                  <a:cubicBezTo>
                    <a:pt x="56674" y="317563"/>
                    <a:pt x="44863" y="309753"/>
                    <a:pt x="34480" y="299466"/>
                  </a:cubicBezTo>
                  <a:cubicBezTo>
                    <a:pt x="24003" y="289179"/>
                    <a:pt x="15716" y="276701"/>
                    <a:pt x="9430" y="261938"/>
                  </a:cubicBezTo>
                  <a:cubicBezTo>
                    <a:pt x="3143" y="247174"/>
                    <a:pt x="0" y="230314"/>
                    <a:pt x="0" y="211264"/>
                  </a:cubicBezTo>
                  <a:lnTo>
                    <a:pt x="0" y="210407"/>
                  </a:lnTo>
                  <a:cubicBezTo>
                    <a:pt x="0" y="191643"/>
                    <a:pt x="3143" y="174879"/>
                    <a:pt x="9430" y="159925"/>
                  </a:cubicBezTo>
                  <a:cubicBezTo>
                    <a:pt x="15716" y="145066"/>
                    <a:pt x="24003" y="132493"/>
                    <a:pt x="34480" y="122206"/>
                  </a:cubicBezTo>
                  <a:cubicBezTo>
                    <a:pt x="44863" y="111919"/>
                    <a:pt x="56674" y="104013"/>
                    <a:pt x="69723" y="98488"/>
                  </a:cubicBezTo>
                  <a:cubicBezTo>
                    <a:pt x="82868" y="92964"/>
                    <a:pt x="96393" y="90202"/>
                    <a:pt x="110394" y="90202"/>
                  </a:cubicBezTo>
                  <a:cubicBezTo>
                    <a:pt x="121158" y="90202"/>
                    <a:pt x="130969" y="91535"/>
                    <a:pt x="139827" y="94202"/>
                  </a:cubicBezTo>
                  <a:cubicBezTo>
                    <a:pt x="148780" y="96869"/>
                    <a:pt x="156782" y="100489"/>
                    <a:pt x="163925" y="104870"/>
                  </a:cubicBezTo>
                  <a:cubicBezTo>
                    <a:pt x="171069" y="109347"/>
                    <a:pt x="177546" y="114586"/>
                    <a:pt x="183356" y="120491"/>
                  </a:cubicBezTo>
                  <a:cubicBezTo>
                    <a:pt x="189166" y="126492"/>
                    <a:pt x="194310" y="132683"/>
                    <a:pt x="198787" y="139255"/>
                  </a:cubicBezTo>
                  <a:lnTo>
                    <a:pt x="198787" y="0"/>
                  </a:lnTo>
                  <a:lnTo>
                    <a:pt x="233172" y="0"/>
                  </a:lnTo>
                  <a:lnTo>
                    <a:pt x="233172" y="325850"/>
                  </a:lnTo>
                  <a:lnTo>
                    <a:pt x="198787" y="325850"/>
                  </a:lnTo>
                  <a:lnTo>
                    <a:pt x="198787" y="279463"/>
                  </a:lnTo>
                  <a:cubicBezTo>
                    <a:pt x="194024" y="286321"/>
                    <a:pt x="188786" y="292894"/>
                    <a:pt x="182975" y="299085"/>
                  </a:cubicBezTo>
                  <a:cubicBezTo>
                    <a:pt x="177165" y="305371"/>
                    <a:pt x="170688" y="310896"/>
                    <a:pt x="163544" y="315658"/>
                  </a:cubicBezTo>
                  <a:cubicBezTo>
                    <a:pt x="156400" y="320421"/>
                    <a:pt x="148494" y="324136"/>
                    <a:pt x="139636" y="326803"/>
                  </a:cubicBezTo>
                  <a:cubicBezTo>
                    <a:pt x="130873" y="329470"/>
                    <a:pt x="121158" y="330803"/>
                    <a:pt x="110394" y="330803"/>
                  </a:cubicBezTo>
                  <a:close/>
                  <a:moveTo>
                    <a:pt x="116681" y="300133"/>
                  </a:moveTo>
                  <a:cubicBezTo>
                    <a:pt x="127445" y="300133"/>
                    <a:pt x="137732" y="297942"/>
                    <a:pt x="147733" y="293656"/>
                  </a:cubicBezTo>
                  <a:cubicBezTo>
                    <a:pt x="157734" y="289369"/>
                    <a:pt x="166592" y="283273"/>
                    <a:pt x="174498" y="275368"/>
                  </a:cubicBezTo>
                  <a:cubicBezTo>
                    <a:pt x="182404" y="267462"/>
                    <a:pt x="188595" y="258127"/>
                    <a:pt x="193262" y="247269"/>
                  </a:cubicBezTo>
                  <a:cubicBezTo>
                    <a:pt x="197834" y="236410"/>
                    <a:pt x="200216" y="224314"/>
                    <a:pt x="200216" y="210883"/>
                  </a:cubicBezTo>
                  <a:lnTo>
                    <a:pt x="200216" y="210026"/>
                  </a:lnTo>
                  <a:cubicBezTo>
                    <a:pt x="200216" y="196596"/>
                    <a:pt x="197929" y="184499"/>
                    <a:pt x="193262" y="173641"/>
                  </a:cubicBezTo>
                  <a:cubicBezTo>
                    <a:pt x="188595" y="162782"/>
                    <a:pt x="182404" y="153448"/>
                    <a:pt x="174498" y="145732"/>
                  </a:cubicBezTo>
                  <a:cubicBezTo>
                    <a:pt x="166592" y="138017"/>
                    <a:pt x="157639" y="132016"/>
                    <a:pt x="147733" y="127635"/>
                  </a:cubicBezTo>
                  <a:cubicBezTo>
                    <a:pt x="137732" y="123349"/>
                    <a:pt x="127445" y="121158"/>
                    <a:pt x="116681" y="121158"/>
                  </a:cubicBezTo>
                  <a:cubicBezTo>
                    <a:pt x="105346" y="121158"/>
                    <a:pt x="94774" y="123158"/>
                    <a:pt x="84963" y="127159"/>
                  </a:cubicBezTo>
                  <a:cubicBezTo>
                    <a:pt x="75152" y="131159"/>
                    <a:pt x="66580" y="136969"/>
                    <a:pt x="59341" y="144589"/>
                  </a:cubicBezTo>
                  <a:cubicBezTo>
                    <a:pt x="52007" y="152114"/>
                    <a:pt x="46291" y="161449"/>
                    <a:pt x="41910" y="172498"/>
                  </a:cubicBezTo>
                  <a:cubicBezTo>
                    <a:pt x="37624" y="183451"/>
                    <a:pt x="35433" y="196024"/>
                    <a:pt x="35433" y="210026"/>
                  </a:cubicBezTo>
                  <a:lnTo>
                    <a:pt x="35433" y="210883"/>
                  </a:lnTo>
                  <a:cubicBezTo>
                    <a:pt x="35433" y="224599"/>
                    <a:pt x="37624" y="236982"/>
                    <a:pt x="41910" y="247936"/>
                  </a:cubicBezTo>
                  <a:cubicBezTo>
                    <a:pt x="46196" y="258984"/>
                    <a:pt x="52101" y="268319"/>
                    <a:pt x="59531" y="276034"/>
                  </a:cubicBezTo>
                  <a:cubicBezTo>
                    <a:pt x="66960" y="283750"/>
                    <a:pt x="75629" y="289750"/>
                    <a:pt x="85439" y="293941"/>
                  </a:cubicBezTo>
                  <a:cubicBezTo>
                    <a:pt x="95250" y="298132"/>
                    <a:pt x="105632" y="300228"/>
                    <a:pt x="116681" y="300228"/>
                  </a:cubicBezTo>
                  <a:close/>
                </a:path>
              </a:pathLst>
            </a:custGeom>
            <a:solidFill>
              <a:srgbClr val="44505E"/>
            </a:solidFill>
            <a:ln w="9525" cap="flat">
              <a:noFill/>
              <a:prstDash val="solid"/>
              <a:miter/>
            </a:ln>
          </p:spPr>
          <p:txBody>
            <a:bodyPr rtlCol="0" anchor="ctr"/>
            <a:lstStyle/>
            <a:p>
              <a:endParaRPr lang="pt-BR" noProof="0"/>
            </a:p>
          </p:txBody>
        </p:sp>
        <p:sp>
          <p:nvSpPr>
            <p:cNvPr id="53" name="Freeform: Shape 52">
              <a:extLst>
                <a:ext uri="{FF2B5EF4-FFF2-40B4-BE49-F238E27FC236}">
                  <a16:creationId xmlns:a16="http://schemas.microsoft.com/office/drawing/2014/main" id="{FF6C99DC-678B-4992-CB99-E559838619E3}"/>
                </a:ext>
              </a:extLst>
            </p:cNvPr>
            <p:cNvSpPr/>
            <p:nvPr/>
          </p:nvSpPr>
          <p:spPr>
            <a:xfrm>
              <a:off x="6586762"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0 w 202977"/>
                <a:gd name="connsiteY16" fmla="*/ 48196 h 239267"/>
                <a:gd name="connsiteX17" fmla="*/ 20383 w 202977"/>
                <a:gd name="connsiteY17" fmla="*/ 19907 h 239267"/>
                <a:gd name="connsiteX18" fmla="*/ 59245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0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1"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675" y="92678"/>
                    <a:pt x="84011" y="90964"/>
                    <a:pt x="98584" y="90964"/>
                  </a:cubicBezTo>
                  <a:cubicBezTo>
                    <a:pt x="113157" y="90964"/>
                    <a:pt x="126302"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0" y="33147"/>
                    <a:pt x="63436" y="36100"/>
                  </a:cubicBezTo>
                  <a:cubicBezTo>
                    <a:pt x="52292" y="39053"/>
                    <a:pt x="41338" y="43053"/>
                    <a:pt x="30670" y="48196"/>
                  </a:cubicBezTo>
                  <a:lnTo>
                    <a:pt x="20383" y="19907"/>
                  </a:lnTo>
                  <a:cubicBezTo>
                    <a:pt x="33147" y="13906"/>
                    <a:pt x="46101" y="9049"/>
                    <a:pt x="59245" y="5429"/>
                  </a:cubicBezTo>
                  <a:cubicBezTo>
                    <a:pt x="72294" y="1810"/>
                    <a:pt x="87344" y="0"/>
                    <a:pt x="104299" y="0"/>
                  </a:cubicBezTo>
                  <a:cubicBezTo>
                    <a:pt x="137064" y="0"/>
                    <a:pt x="161925" y="8477"/>
                    <a:pt x="178879" y="25432"/>
                  </a:cubicBezTo>
                  <a:cubicBezTo>
                    <a:pt x="194976"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0" y="239173"/>
                  </a:cubicBezTo>
                  <a:close/>
                  <a:moveTo>
                    <a:pt x="93154" y="211169"/>
                  </a:moveTo>
                  <a:cubicBezTo>
                    <a:pt x="103822" y="211169"/>
                    <a:pt x="113729" y="209740"/>
                    <a:pt x="122967" y="206788"/>
                  </a:cubicBezTo>
                  <a:cubicBezTo>
                    <a:pt x="132207"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4" y="119348"/>
                    <a:pt x="116871"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54" name="Freeform: Shape 53">
              <a:extLst>
                <a:ext uri="{FF2B5EF4-FFF2-40B4-BE49-F238E27FC236}">
                  <a16:creationId xmlns:a16="http://schemas.microsoft.com/office/drawing/2014/main" id="{B5006989-C64F-A040-2328-D1233857976C}"/>
                </a:ext>
              </a:extLst>
            </p:cNvPr>
            <p:cNvSpPr/>
            <p:nvPr/>
          </p:nvSpPr>
          <p:spPr>
            <a:xfrm>
              <a:off x="6651291" y="924268"/>
              <a:ext cx="44680" cy="60195"/>
            </a:xfrm>
            <a:custGeom>
              <a:avLst/>
              <a:gdLst>
                <a:gd name="connsiteX0" fmla="*/ 95535 w 177736"/>
                <a:gd name="connsiteY0" fmla="*/ 239268 h 239458"/>
                <a:gd name="connsiteX1" fmla="*/ 45053 w 177736"/>
                <a:gd name="connsiteY1" fmla="*/ 230124 h 239458"/>
                <a:gd name="connsiteX2" fmla="*/ 0 w 177736"/>
                <a:gd name="connsiteY2" fmla="*/ 205359 h 239458"/>
                <a:gd name="connsiteX3" fmla="*/ 17430 w 177736"/>
                <a:gd name="connsiteY3" fmla="*/ 180785 h 239458"/>
                <a:gd name="connsiteX4" fmla="*/ 56483 w 177736"/>
                <a:gd name="connsiteY4" fmla="*/ 202692 h 239458"/>
                <a:gd name="connsiteX5" fmla="*/ 97345 w 177736"/>
                <a:gd name="connsiteY5" fmla="*/ 210217 h 239458"/>
                <a:gd name="connsiteX6" fmla="*/ 131730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825 w 177736"/>
                <a:gd name="connsiteY10" fmla="*/ 147066 h 239458"/>
                <a:gd name="connsiteX11" fmla="*/ 109251 w 177736"/>
                <a:gd name="connsiteY11" fmla="*/ 138779 h 239458"/>
                <a:gd name="connsiteX12" fmla="*/ 87630 w 177736"/>
                <a:gd name="connsiteY12" fmla="*/ 132112 h 239458"/>
                <a:gd name="connsiteX13" fmla="*/ 60579 w 177736"/>
                <a:gd name="connsiteY13" fmla="*/ 123444 h 239458"/>
                <a:gd name="connsiteX14" fmla="*/ 36004 w 177736"/>
                <a:gd name="connsiteY14" fmla="*/ 111633 h 239458"/>
                <a:gd name="connsiteX15" fmla="*/ 18192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59 w 177736"/>
                <a:gd name="connsiteY22" fmla="*/ 6953 h 239458"/>
                <a:gd name="connsiteX23" fmla="*/ 172878 w 177736"/>
                <a:gd name="connsiteY23" fmla="*/ 25527 h 239458"/>
                <a:gd name="connsiteX24" fmla="*/ 157257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3 w 177736"/>
                <a:gd name="connsiteY32" fmla="*/ 96203 h 239458"/>
                <a:gd name="connsiteX33" fmla="*/ 103631 w 177736"/>
                <a:gd name="connsiteY33" fmla="*/ 103346 h 239458"/>
                <a:gd name="connsiteX34" fmla="*/ 130207 w 177736"/>
                <a:gd name="connsiteY34" fmla="*/ 112300 h 239458"/>
                <a:gd name="connsiteX35" fmla="*/ 154114 w 177736"/>
                <a:gd name="connsiteY35" fmla="*/ 124778 h 239458"/>
                <a:gd name="connsiteX36" fmla="*/ 171259 w 177736"/>
                <a:gd name="connsiteY36" fmla="*/ 143066 h 239458"/>
                <a:gd name="connsiteX37" fmla="*/ 177736 w 177736"/>
                <a:gd name="connsiteY37" fmla="*/ 169450 h 239458"/>
                <a:gd name="connsiteX38" fmla="*/ 177736 w 177736"/>
                <a:gd name="connsiteY38" fmla="*/ 170307 h 239458"/>
                <a:gd name="connsiteX39" fmla="*/ 171259 w 177736"/>
                <a:gd name="connsiteY39" fmla="*/ 199549 h 239458"/>
                <a:gd name="connsiteX40" fmla="*/ 153828 w 177736"/>
                <a:gd name="connsiteY40" fmla="*/ 221171 h 239458"/>
                <a:gd name="connsiteX41" fmla="*/ 127921 w 177736"/>
                <a:gd name="connsiteY41" fmla="*/ 234791 h 239458"/>
                <a:gd name="connsiteX42" fmla="*/ 95535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5" y="239268"/>
                  </a:moveTo>
                  <a:cubicBezTo>
                    <a:pt x="78867" y="239268"/>
                    <a:pt x="62007" y="236220"/>
                    <a:pt x="45053" y="230124"/>
                  </a:cubicBezTo>
                  <a:cubicBezTo>
                    <a:pt x="28098" y="224028"/>
                    <a:pt x="13049" y="215741"/>
                    <a:pt x="0" y="205359"/>
                  </a:cubicBezTo>
                  <a:lnTo>
                    <a:pt x="17430" y="180785"/>
                  </a:lnTo>
                  <a:cubicBezTo>
                    <a:pt x="29908" y="190310"/>
                    <a:pt x="42957" y="197644"/>
                    <a:pt x="56483" y="202692"/>
                  </a:cubicBezTo>
                  <a:cubicBezTo>
                    <a:pt x="70009" y="207740"/>
                    <a:pt x="83629" y="210217"/>
                    <a:pt x="97345" y="210217"/>
                  </a:cubicBezTo>
                  <a:cubicBezTo>
                    <a:pt x="111061" y="210217"/>
                    <a:pt x="122777" y="206978"/>
                    <a:pt x="131730" y="200406"/>
                  </a:cubicBezTo>
                  <a:cubicBezTo>
                    <a:pt x="140684" y="193834"/>
                    <a:pt x="145161" y="184976"/>
                    <a:pt x="145161" y="173641"/>
                  </a:cubicBezTo>
                  <a:lnTo>
                    <a:pt x="145161" y="172784"/>
                  </a:lnTo>
                  <a:cubicBezTo>
                    <a:pt x="145161" y="167164"/>
                    <a:pt x="143541" y="162211"/>
                    <a:pt x="140494" y="158020"/>
                  </a:cubicBezTo>
                  <a:cubicBezTo>
                    <a:pt x="137350" y="153829"/>
                    <a:pt x="133159" y="150209"/>
                    <a:pt x="127825" y="147066"/>
                  </a:cubicBezTo>
                  <a:cubicBezTo>
                    <a:pt x="122491" y="143923"/>
                    <a:pt x="116300" y="141161"/>
                    <a:pt x="109251" y="138779"/>
                  </a:cubicBezTo>
                  <a:cubicBezTo>
                    <a:pt x="102298" y="136398"/>
                    <a:pt x="95059" y="134207"/>
                    <a:pt x="87630" y="132112"/>
                  </a:cubicBezTo>
                  <a:cubicBezTo>
                    <a:pt x="78676" y="129445"/>
                    <a:pt x="69722" y="126492"/>
                    <a:pt x="60579" y="123444"/>
                  </a:cubicBezTo>
                  <a:cubicBezTo>
                    <a:pt x="51530" y="120301"/>
                    <a:pt x="43339" y="116396"/>
                    <a:pt x="36004" y="111633"/>
                  </a:cubicBezTo>
                  <a:cubicBezTo>
                    <a:pt x="28670" y="106871"/>
                    <a:pt x="22764" y="100870"/>
                    <a:pt x="18192" y="93726"/>
                  </a:cubicBezTo>
                  <a:cubicBezTo>
                    <a:pt x="13525" y="86582"/>
                    <a:pt x="11239" y="77629"/>
                    <a:pt x="11239" y="66961"/>
                  </a:cubicBezTo>
                  <a:lnTo>
                    <a:pt x="11239" y="66008"/>
                  </a:lnTo>
                  <a:cubicBezTo>
                    <a:pt x="11239" y="56198"/>
                    <a:pt x="13144" y="47149"/>
                    <a:pt x="17050" y="39053"/>
                  </a:cubicBezTo>
                  <a:cubicBezTo>
                    <a:pt x="20955" y="30861"/>
                    <a:pt x="26384" y="23908"/>
                    <a:pt x="33338" y="18098"/>
                  </a:cubicBezTo>
                  <a:cubicBezTo>
                    <a:pt x="40291" y="12287"/>
                    <a:pt x="48673" y="7811"/>
                    <a:pt x="58388" y="4667"/>
                  </a:cubicBezTo>
                  <a:cubicBezTo>
                    <a:pt x="68008" y="1524"/>
                    <a:pt x="78581" y="0"/>
                    <a:pt x="89821" y="0"/>
                  </a:cubicBezTo>
                  <a:cubicBezTo>
                    <a:pt x="104108" y="0"/>
                    <a:pt x="118586" y="2286"/>
                    <a:pt x="133159" y="6953"/>
                  </a:cubicBezTo>
                  <a:cubicBezTo>
                    <a:pt x="147732" y="11621"/>
                    <a:pt x="160972" y="17717"/>
                    <a:pt x="172878" y="25527"/>
                  </a:cubicBezTo>
                  <a:lnTo>
                    <a:pt x="157257" y="51435"/>
                  </a:lnTo>
                  <a:cubicBezTo>
                    <a:pt x="146494" y="44577"/>
                    <a:pt x="135255" y="39148"/>
                    <a:pt x="123539" y="35147"/>
                  </a:cubicBezTo>
                  <a:cubicBezTo>
                    <a:pt x="111823" y="31147"/>
                    <a:pt x="100203" y="29146"/>
                    <a:pt x="88963" y="29146"/>
                  </a:cubicBezTo>
                  <a:cubicBezTo>
                    <a:pt x="75247" y="29146"/>
                    <a:pt x="64389" y="32385"/>
                    <a:pt x="56388" y="38767"/>
                  </a:cubicBezTo>
                  <a:cubicBezTo>
                    <a:pt x="48291" y="45149"/>
                    <a:pt x="44291" y="53150"/>
                    <a:pt x="44291" y="62675"/>
                  </a:cubicBezTo>
                  <a:lnTo>
                    <a:pt x="44291" y="63627"/>
                  </a:lnTo>
                  <a:cubicBezTo>
                    <a:pt x="44291" y="68961"/>
                    <a:pt x="45910" y="73628"/>
                    <a:pt x="49244" y="77724"/>
                  </a:cubicBezTo>
                  <a:cubicBezTo>
                    <a:pt x="52482" y="81725"/>
                    <a:pt x="56864" y="85249"/>
                    <a:pt x="62389" y="88202"/>
                  </a:cubicBezTo>
                  <a:cubicBezTo>
                    <a:pt x="67913" y="91154"/>
                    <a:pt x="74200" y="93821"/>
                    <a:pt x="81343" y="96203"/>
                  </a:cubicBezTo>
                  <a:cubicBezTo>
                    <a:pt x="88487" y="98584"/>
                    <a:pt x="95916" y="100965"/>
                    <a:pt x="103631" y="103346"/>
                  </a:cubicBezTo>
                  <a:cubicBezTo>
                    <a:pt x="112585" y="106013"/>
                    <a:pt x="121444" y="108966"/>
                    <a:pt x="130207" y="112300"/>
                  </a:cubicBezTo>
                  <a:cubicBezTo>
                    <a:pt x="138969" y="115538"/>
                    <a:pt x="146971" y="119729"/>
                    <a:pt x="154114" y="124778"/>
                  </a:cubicBezTo>
                  <a:cubicBezTo>
                    <a:pt x="161258" y="129826"/>
                    <a:pt x="166973" y="135922"/>
                    <a:pt x="171259" y="143066"/>
                  </a:cubicBezTo>
                  <a:cubicBezTo>
                    <a:pt x="175546" y="150209"/>
                    <a:pt x="177736" y="158972"/>
                    <a:pt x="177736" y="169450"/>
                  </a:cubicBezTo>
                  <a:lnTo>
                    <a:pt x="177736" y="170307"/>
                  </a:lnTo>
                  <a:cubicBezTo>
                    <a:pt x="177736" y="181356"/>
                    <a:pt x="175546" y="191071"/>
                    <a:pt x="171259" y="199549"/>
                  </a:cubicBezTo>
                  <a:cubicBezTo>
                    <a:pt x="166973" y="208026"/>
                    <a:pt x="161163" y="215265"/>
                    <a:pt x="153828" y="221171"/>
                  </a:cubicBezTo>
                  <a:cubicBezTo>
                    <a:pt x="146589" y="227171"/>
                    <a:pt x="137922" y="231648"/>
                    <a:pt x="127921" y="234791"/>
                  </a:cubicBezTo>
                  <a:cubicBezTo>
                    <a:pt x="117919" y="237935"/>
                    <a:pt x="107156" y="239459"/>
                    <a:pt x="95535" y="239459"/>
                  </a:cubicBezTo>
                  <a:close/>
                </a:path>
              </a:pathLst>
            </a:custGeom>
            <a:solidFill>
              <a:srgbClr val="44505E"/>
            </a:solidFill>
            <a:ln w="9525" cap="flat">
              <a:noFill/>
              <a:prstDash val="solid"/>
              <a:miter/>
            </a:ln>
          </p:spPr>
          <p:txBody>
            <a:bodyPr rtlCol="0" anchor="ctr"/>
            <a:lstStyle/>
            <a:p>
              <a:endParaRPr lang="pt-BR" noProof="0"/>
            </a:p>
          </p:txBody>
        </p:sp>
        <p:sp>
          <p:nvSpPr>
            <p:cNvPr id="55" name="Freeform: Shape 54">
              <a:extLst>
                <a:ext uri="{FF2B5EF4-FFF2-40B4-BE49-F238E27FC236}">
                  <a16:creationId xmlns:a16="http://schemas.microsoft.com/office/drawing/2014/main" id="{06E7AE6A-6474-D555-008E-C70023E38EF6}"/>
                </a:ext>
              </a:extLst>
            </p:cNvPr>
            <p:cNvSpPr/>
            <p:nvPr/>
          </p:nvSpPr>
          <p:spPr>
            <a:xfrm>
              <a:off x="5250320" y="846952"/>
              <a:ext cx="1459036" cy="16186"/>
            </a:xfrm>
            <a:custGeom>
              <a:avLst/>
              <a:gdLst>
                <a:gd name="connsiteX0" fmla="*/ 0 w 5804058"/>
                <a:gd name="connsiteY0" fmla="*/ 0 h 64388"/>
                <a:gd name="connsiteX1" fmla="*/ 5804059 w 5804058"/>
                <a:gd name="connsiteY1" fmla="*/ 0 h 64388"/>
                <a:gd name="connsiteX2" fmla="*/ 5804059 w 5804058"/>
                <a:gd name="connsiteY2" fmla="*/ 64389 h 64388"/>
                <a:gd name="connsiteX3" fmla="*/ 0 w 5804058"/>
                <a:gd name="connsiteY3" fmla="*/ 64389 h 64388"/>
              </a:gdLst>
              <a:ahLst/>
              <a:cxnLst>
                <a:cxn ang="0">
                  <a:pos x="connsiteX0" y="connsiteY0"/>
                </a:cxn>
                <a:cxn ang="0">
                  <a:pos x="connsiteX1" y="connsiteY1"/>
                </a:cxn>
                <a:cxn ang="0">
                  <a:pos x="connsiteX2" y="connsiteY2"/>
                </a:cxn>
                <a:cxn ang="0">
                  <a:pos x="connsiteX3" y="connsiteY3"/>
                </a:cxn>
              </a:cxnLst>
              <a:rect l="l" t="t" r="r" b="b"/>
              <a:pathLst>
                <a:path w="5804058" h="64388">
                  <a:moveTo>
                    <a:pt x="0" y="0"/>
                  </a:moveTo>
                  <a:lnTo>
                    <a:pt x="5804059" y="0"/>
                  </a:lnTo>
                  <a:lnTo>
                    <a:pt x="5804059" y="64389"/>
                  </a:lnTo>
                  <a:lnTo>
                    <a:pt x="0" y="64389"/>
                  </a:lnTo>
                  <a:close/>
                </a:path>
              </a:pathLst>
            </a:custGeom>
            <a:solidFill>
              <a:srgbClr val="44505E"/>
            </a:solidFill>
            <a:ln w="9525" cap="flat">
              <a:noFill/>
              <a:prstDash val="solid"/>
              <a:miter/>
            </a:ln>
          </p:spPr>
          <p:txBody>
            <a:bodyPr rtlCol="0" anchor="ctr"/>
            <a:lstStyle/>
            <a:p>
              <a:endParaRPr lang="pt-BR" noProof="0"/>
            </a:p>
          </p:txBody>
        </p:sp>
        <p:sp>
          <p:nvSpPr>
            <p:cNvPr id="56" name="Freeform: Shape 55">
              <a:extLst>
                <a:ext uri="{FF2B5EF4-FFF2-40B4-BE49-F238E27FC236}">
                  <a16:creationId xmlns:a16="http://schemas.microsoft.com/office/drawing/2014/main" id="{5790489B-D041-FAA7-E93F-EA464A4E56AE}"/>
                </a:ext>
              </a:extLst>
            </p:cNvPr>
            <p:cNvSpPr/>
            <p:nvPr/>
          </p:nvSpPr>
          <p:spPr>
            <a:xfrm>
              <a:off x="6902633" y="268821"/>
              <a:ext cx="273418" cy="601046"/>
            </a:xfrm>
            <a:custGeom>
              <a:avLst/>
              <a:gdLst>
                <a:gd name="connsiteX0" fmla="*/ 0 w 1087659"/>
                <a:gd name="connsiteY0" fmla="*/ 210979 h 2390965"/>
                <a:gd name="connsiteX1" fmla="*/ 125063 w 1087659"/>
                <a:gd name="connsiteY1" fmla="*/ 103442 h 2390965"/>
                <a:gd name="connsiteX2" fmla="*/ 250031 w 1087659"/>
                <a:gd name="connsiteY2" fmla="*/ 210979 h 2390965"/>
                <a:gd name="connsiteX3" fmla="*/ 250031 w 1087659"/>
                <a:gd name="connsiteY3" fmla="*/ 1922717 h 2390965"/>
                <a:gd name="connsiteX4" fmla="*/ 249841 w 1087659"/>
                <a:gd name="connsiteY4" fmla="*/ 1922717 h 2390965"/>
                <a:gd name="connsiteX5" fmla="*/ 249841 w 1087659"/>
                <a:gd name="connsiteY5" fmla="*/ 1925955 h 2390965"/>
                <a:gd name="connsiteX6" fmla="*/ 333756 w 1087659"/>
                <a:gd name="connsiteY6" fmla="*/ 2100263 h 2390965"/>
                <a:gd name="connsiteX7" fmla="*/ 335566 w 1087659"/>
                <a:gd name="connsiteY7" fmla="*/ 2101787 h 2390965"/>
                <a:gd name="connsiteX8" fmla="*/ 336042 w 1087659"/>
                <a:gd name="connsiteY8" fmla="*/ 2102168 h 2390965"/>
                <a:gd name="connsiteX9" fmla="*/ 543877 w 1087659"/>
                <a:gd name="connsiteY9" fmla="*/ 2175891 h 2390965"/>
                <a:gd name="connsiteX10" fmla="*/ 749998 w 1087659"/>
                <a:gd name="connsiteY10" fmla="*/ 2103692 h 2390965"/>
                <a:gd name="connsiteX11" fmla="*/ 751713 w 1087659"/>
                <a:gd name="connsiteY11" fmla="*/ 2102168 h 2390965"/>
                <a:gd name="connsiteX12" fmla="*/ 752189 w 1087659"/>
                <a:gd name="connsiteY12" fmla="*/ 2101787 h 2390965"/>
                <a:gd name="connsiteX13" fmla="*/ 837819 w 1087659"/>
                <a:gd name="connsiteY13" fmla="*/ 1922812 h 2390965"/>
                <a:gd name="connsiteX14" fmla="*/ 837819 w 1087659"/>
                <a:gd name="connsiteY14" fmla="*/ 107537 h 2390965"/>
                <a:gd name="connsiteX15" fmla="*/ 962787 w 1087659"/>
                <a:gd name="connsiteY15" fmla="*/ 0 h 2390965"/>
                <a:gd name="connsiteX16" fmla="*/ 1087660 w 1087659"/>
                <a:gd name="connsiteY16" fmla="*/ 107537 h 2390965"/>
                <a:gd name="connsiteX17" fmla="*/ 1087660 w 1087659"/>
                <a:gd name="connsiteY17" fmla="*/ 1922621 h 2390965"/>
                <a:gd name="connsiteX18" fmla="*/ 928307 w 1087659"/>
                <a:gd name="connsiteY18" fmla="*/ 2253234 h 2390965"/>
                <a:gd name="connsiteX19" fmla="*/ 928116 w 1087659"/>
                <a:gd name="connsiteY19" fmla="*/ 2253424 h 2390965"/>
                <a:gd name="connsiteX20" fmla="*/ 927830 w 1087659"/>
                <a:gd name="connsiteY20" fmla="*/ 2253710 h 2390965"/>
                <a:gd name="connsiteX21" fmla="*/ 927354 w 1087659"/>
                <a:gd name="connsiteY21" fmla="*/ 2254187 h 2390965"/>
                <a:gd name="connsiteX22" fmla="*/ 543783 w 1087659"/>
                <a:gd name="connsiteY22" fmla="*/ 2390966 h 2390965"/>
                <a:gd name="connsiteX23" fmla="*/ 159734 w 1087659"/>
                <a:gd name="connsiteY23" fmla="*/ 2253710 h 2390965"/>
                <a:gd name="connsiteX24" fmla="*/ 159734 w 1087659"/>
                <a:gd name="connsiteY24" fmla="*/ 2253424 h 2390965"/>
                <a:gd name="connsiteX25" fmla="*/ 159353 w 1087659"/>
                <a:gd name="connsiteY25" fmla="*/ 2253234 h 2390965"/>
                <a:gd name="connsiteX26" fmla="*/ 158877 w 1087659"/>
                <a:gd name="connsiteY26" fmla="*/ 2252948 h 2390965"/>
                <a:gd name="connsiteX27" fmla="*/ 0 w 1087659"/>
                <a:gd name="connsiteY27" fmla="*/ 1922621 h 2390965"/>
                <a:gd name="connsiteX28" fmla="*/ 0 w 1087659"/>
                <a:gd name="connsiteY28" fmla="*/ 1922621 h 2390965"/>
                <a:gd name="connsiteX29" fmla="*/ 0 w 1087659"/>
                <a:gd name="connsiteY29" fmla="*/ 210979 h 239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87659" h="2390965">
                  <a:moveTo>
                    <a:pt x="0" y="210979"/>
                  </a:moveTo>
                  <a:cubicBezTo>
                    <a:pt x="0" y="151638"/>
                    <a:pt x="56007" y="103442"/>
                    <a:pt x="125063" y="103442"/>
                  </a:cubicBezTo>
                  <a:cubicBezTo>
                    <a:pt x="194120" y="103442"/>
                    <a:pt x="250031" y="151638"/>
                    <a:pt x="250031" y="210979"/>
                  </a:cubicBezTo>
                  <a:lnTo>
                    <a:pt x="250031" y="1922717"/>
                  </a:lnTo>
                  <a:lnTo>
                    <a:pt x="249841" y="1922717"/>
                  </a:lnTo>
                  <a:lnTo>
                    <a:pt x="249841" y="1925955"/>
                  </a:lnTo>
                  <a:cubicBezTo>
                    <a:pt x="250793" y="1994059"/>
                    <a:pt x="282797" y="2055495"/>
                    <a:pt x="333756" y="2100263"/>
                  </a:cubicBezTo>
                  <a:lnTo>
                    <a:pt x="335566" y="2101787"/>
                  </a:lnTo>
                  <a:lnTo>
                    <a:pt x="336042" y="2102168"/>
                  </a:lnTo>
                  <a:cubicBezTo>
                    <a:pt x="388906" y="2147697"/>
                    <a:pt x="462343" y="2175891"/>
                    <a:pt x="543877" y="2175891"/>
                  </a:cubicBezTo>
                  <a:cubicBezTo>
                    <a:pt x="625411" y="2175891"/>
                    <a:pt x="697420" y="2148364"/>
                    <a:pt x="749998" y="2103692"/>
                  </a:cubicBezTo>
                  <a:lnTo>
                    <a:pt x="751713" y="2102168"/>
                  </a:lnTo>
                  <a:lnTo>
                    <a:pt x="752189" y="2101787"/>
                  </a:lnTo>
                  <a:cubicBezTo>
                    <a:pt x="805053" y="2056352"/>
                    <a:pt x="837819" y="1993011"/>
                    <a:pt x="837819" y="1922812"/>
                  </a:cubicBezTo>
                  <a:lnTo>
                    <a:pt x="837819" y="107537"/>
                  </a:lnTo>
                  <a:cubicBezTo>
                    <a:pt x="837819" y="48196"/>
                    <a:pt x="893731" y="0"/>
                    <a:pt x="962787" y="0"/>
                  </a:cubicBezTo>
                  <a:cubicBezTo>
                    <a:pt x="1031843" y="0"/>
                    <a:pt x="1087660" y="48196"/>
                    <a:pt x="1087660" y="107537"/>
                  </a:cubicBezTo>
                  <a:lnTo>
                    <a:pt x="1087660" y="1922621"/>
                  </a:lnTo>
                  <a:cubicBezTo>
                    <a:pt x="1087660" y="2051399"/>
                    <a:pt x="1026795" y="2168366"/>
                    <a:pt x="928307" y="2253234"/>
                  </a:cubicBezTo>
                  <a:lnTo>
                    <a:pt x="928116" y="2253424"/>
                  </a:lnTo>
                  <a:lnTo>
                    <a:pt x="927830" y="2253710"/>
                  </a:lnTo>
                  <a:lnTo>
                    <a:pt x="927354" y="2254187"/>
                  </a:lnTo>
                  <a:cubicBezTo>
                    <a:pt x="828770" y="2338673"/>
                    <a:pt x="693134" y="2390966"/>
                    <a:pt x="543783" y="2390966"/>
                  </a:cubicBezTo>
                  <a:cubicBezTo>
                    <a:pt x="394430" y="2390966"/>
                    <a:pt x="258413" y="2338483"/>
                    <a:pt x="159734" y="2253710"/>
                  </a:cubicBezTo>
                  <a:lnTo>
                    <a:pt x="159734" y="2253424"/>
                  </a:lnTo>
                  <a:cubicBezTo>
                    <a:pt x="159734" y="2253424"/>
                    <a:pt x="159353" y="2253234"/>
                    <a:pt x="159353" y="2253234"/>
                  </a:cubicBezTo>
                  <a:lnTo>
                    <a:pt x="158877" y="2252948"/>
                  </a:lnTo>
                  <a:cubicBezTo>
                    <a:pt x="60770" y="2167985"/>
                    <a:pt x="0" y="2051304"/>
                    <a:pt x="0" y="1922621"/>
                  </a:cubicBezTo>
                  <a:lnTo>
                    <a:pt x="0" y="1922621"/>
                  </a:lnTo>
                  <a:lnTo>
                    <a:pt x="0" y="210979"/>
                  </a:lnTo>
                  <a:close/>
                </a:path>
              </a:pathLst>
            </a:custGeom>
            <a:solidFill>
              <a:srgbClr val="8FC640"/>
            </a:solidFill>
            <a:ln w="9525" cap="flat">
              <a:noFill/>
              <a:prstDash val="solid"/>
              <a:miter/>
            </a:ln>
          </p:spPr>
          <p:txBody>
            <a:bodyPr rtlCol="0" anchor="ctr"/>
            <a:lstStyle/>
            <a:p>
              <a:endParaRPr lang="pt-BR" noProof="0"/>
            </a:p>
          </p:txBody>
        </p:sp>
        <p:sp>
          <p:nvSpPr>
            <p:cNvPr id="57" name="Freeform: Shape 56">
              <a:extLst>
                <a:ext uri="{FF2B5EF4-FFF2-40B4-BE49-F238E27FC236}">
                  <a16:creationId xmlns:a16="http://schemas.microsoft.com/office/drawing/2014/main" id="{D69D942F-483F-5408-C30D-9CE525A797E6}"/>
                </a:ext>
              </a:extLst>
            </p:cNvPr>
            <p:cNvSpPr/>
            <p:nvPr/>
          </p:nvSpPr>
          <p:spPr>
            <a:xfrm>
              <a:off x="7013590" y="213965"/>
              <a:ext cx="54018" cy="562280"/>
            </a:xfrm>
            <a:custGeom>
              <a:avLst/>
              <a:gdLst>
                <a:gd name="connsiteX0" fmla="*/ 0 w 214883"/>
                <a:gd name="connsiteY0" fmla="*/ 107537 h 2236755"/>
                <a:gd name="connsiteX1" fmla="*/ 107537 w 214883"/>
                <a:gd name="connsiteY1" fmla="*/ 0 h 2236755"/>
                <a:gd name="connsiteX2" fmla="*/ 214884 w 214883"/>
                <a:gd name="connsiteY2" fmla="*/ 107537 h 2236755"/>
                <a:gd name="connsiteX3" fmla="*/ 214884 w 214883"/>
                <a:gd name="connsiteY3" fmla="*/ 2129219 h 2236755"/>
                <a:gd name="connsiteX4" fmla="*/ 107537 w 214883"/>
                <a:gd name="connsiteY4" fmla="*/ 2236756 h 2236755"/>
                <a:gd name="connsiteX5" fmla="*/ 0 w 214883"/>
                <a:gd name="connsiteY5" fmla="*/ 2129219 h 2236755"/>
                <a:gd name="connsiteX6" fmla="*/ 0 w 214883"/>
                <a:gd name="connsiteY6" fmla="*/ 107537 h 223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 h="2236755">
                  <a:moveTo>
                    <a:pt x="0" y="107537"/>
                  </a:moveTo>
                  <a:cubicBezTo>
                    <a:pt x="0" y="48197"/>
                    <a:pt x="48101" y="0"/>
                    <a:pt x="107537" y="0"/>
                  </a:cubicBezTo>
                  <a:cubicBezTo>
                    <a:pt x="166973" y="0"/>
                    <a:pt x="214884" y="48197"/>
                    <a:pt x="214884" y="107537"/>
                  </a:cubicBezTo>
                  <a:lnTo>
                    <a:pt x="214884" y="2129219"/>
                  </a:lnTo>
                  <a:cubicBezTo>
                    <a:pt x="214884" y="2188559"/>
                    <a:pt x="166782" y="2236756"/>
                    <a:pt x="107537" y="2236756"/>
                  </a:cubicBezTo>
                  <a:cubicBezTo>
                    <a:pt x="48291" y="2236756"/>
                    <a:pt x="0" y="2188559"/>
                    <a:pt x="0" y="2129219"/>
                  </a:cubicBezTo>
                  <a:lnTo>
                    <a:pt x="0" y="107537"/>
                  </a:lnTo>
                  <a:close/>
                </a:path>
              </a:pathLst>
            </a:custGeom>
            <a:solidFill>
              <a:srgbClr val="3698B0"/>
            </a:solidFill>
            <a:ln w="9525" cap="flat">
              <a:noFill/>
              <a:prstDash val="solid"/>
              <a:miter/>
            </a:ln>
          </p:spPr>
          <p:txBody>
            <a:bodyPr rtlCol="0" anchor="ctr"/>
            <a:lstStyle/>
            <a:p>
              <a:endParaRPr lang="pt-BR" noProof="0"/>
            </a:p>
          </p:txBody>
        </p:sp>
        <p:sp>
          <p:nvSpPr>
            <p:cNvPr id="58" name="Freeform: Shape 57">
              <a:extLst>
                <a:ext uri="{FF2B5EF4-FFF2-40B4-BE49-F238E27FC236}">
                  <a16:creationId xmlns:a16="http://schemas.microsoft.com/office/drawing/2014/main" id="{320BD57D-5A94-E587-7E16-91B8D2EE2A35}"/>
                </a:ext>
              </a:extLst>
            </p:cNvPr>
            <p:cNvSpPr/>
            <p:nvPr/>
          </p:nvSpPr>
          <p:spPr>
            <a:xfrm>
              <a:off x="6795770" y="332991"/>
              <a:ext cx="485994" cy="649437"/>
            </a:xfrm>
            <a:custGeom>
              <a:avLst/>
              <a:gdLst>
                <a:gd name="connsiteX0" fmla="*/ 1933290 w 1933289"/>
                <a:gd name="connsiteY0" fmla="*/ 138017 h 2583465"/>
                <a:gd name="connsiteX1" fmla="*/ 1933290 w 1933289"/>
                <a:gd name="connsiteY1" fmla="*/ 1734122 h 2583465"/>
                <a:gd name="connsiteX2" fmla="*/ 1796606 w 1933289"/>
                <a:gd name="connsiteY2" fmla="*/ 2229136 h 2583465"/>
                <a:gd name="connsiteX3" fmla="*/ 977742 w 1933289"/>
                <a:gd name="connsiteY3" fmla="*/ 2583466 h 2583465"/>
                <a:gd name="connsiteX4" fmla="*/ 955357 w 1933289"/>
                <a:gd name="connsiteY4" fmla="*/ 2583466 h 2583465"/>
                <a:gd name="connsiteX5" fmla="*/ 136589 w 1933289"/>
                <a:gd name="connsiteY5" fmla="*/ 2229136 h 2583465"/>
                <a:gd name="connsiteX6" fmla="*/ 0 w 1933289"/>
                <a:gd name="connsiteY6" fmla="*/ 1734122 h 2583465"/>
                <a:gd name="connsiteX7" fmla="*/ 0 w 1933289"/>
                <a:gd name="connsiteY7" fmla="*/ 794194 h 2583465"/>
                <a:gd name="connsiteX8" fmla="*/ 137827 w 1933289"/>
                <a:gd name="connsiteY8" fmla="*/ 656273 h 2583465"/>
                <a:gd name="connsiteX9" fmla="*/ 275463 w 1933289"/>
                <a:gd name="connsiteY9" fmla="*/ 794194 h 2583465"/>
                <a:gd name="connsiteX10" fmla="*/ 275463 w 1933289"/>
                <a:gd name="connsiteY10" fmla="*/ 1734122 h 2583465"/>
                <a:gd name="connsiteX11" fmla="*/ 354235 w 1933289"/>
                <a:gd name="connsiteY11" fmla="*/ 2059686 h 2583465"/>
                <a:gd name="connsiteX12" fmla="*/ 958215 w 1933289"/>
                <a:gd name="connsiteY12" fmla="*/ 2307527 h 2583465"/>
                <a:gd name="connsiteX13" fmla="*/ 974789 w 1933289"/>
                <a:gd name="connsiteY13" fmla="*/ 2307527 h 2583465"/>
                <a:gd name="connsiteX14" fmla="*/ 1578959 w 1933289"/>
                <a:gd name="connsiteY14" fmla="*/ 2059686 h 2583465"/>
                <a:gd name="connsiteX15" fmla="*/ 1657636 w 1933289"/>
                <a:gd name="connsiteY15" fmla="*/ 1734122 h 2583465"/>
                <a:gd name="connsiteX16" fmla="*/ 1657636 w 1933289"/>
                <a:gd name="connsiteY16" fmla="*/ 138017 h 2583465"/>
                <a:gd name="connsiteX17" fmla="*/ 1795463 w 1933289"/>
                <a:gd name="connsiteY17" fmla="*/ 0 h 2583465"/>
                <a:gd name="connsiteX18" fmla="*/ 1933290 w 1933289"/>
                <a:gd name="connsiteY18" fmla="*/ 138017 h 25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3289" h="2583465">
                  <a:moveTo>
                    <a:pt x="1933290" y="138017"/>
                  </a:moveTo>
                  <a:lnTo>
                    <a:pt x="1933290" y="1734122"/>
                  </a:lnTo>
                  <a:cubicBezTo>
                    <a:pt x="1933290" y="1870996"/>
                    <a:pt x="1919002" y="2071211"/>
                    <a:pt x="1796606" y="2229136"/>
                  </a:cubicBezTo>
                  <a:cubicBezTo>
                    <a:pt x="1634395" y="2438305"/>
                    <a:pt x="1432084" y="2578703"/>
                    <a:pt x="977742" y="2583466"/>
                  </a:cubicBezTo>
                  <a:lnTo>
                    <a:pt x="955357" y="2583466"/>
                  </a:lnTo>
                  <a:cubicBezTo>
                    <a:pt x="501015" y="2578703"/>
                    <a:pt x="298704" y="2438400"/>
                    <a:pt x="136589" y="2229136"/>
                  </a:cubicBezTo>
                  <a:cubicBezTo>
                    <a:pt x="14192" y="2071211"/>
                    <a:pt x="0" y="1870996"/>
                    <a:pt x="0" y="1734122"/>
                  </a:cubicBezTo>
                  <a:lnTo>
                    <a:pt x="0" y="794194"/>
                  </a:lnTo>
                  <a:cubicBezTo>
                    <a:pt x="0" y="718185"/>
                    <a:pt x="61436" y="656273"/>
                    <a:pt x="137827" y="656273"/>
                  </a:cubicBezTo>
                  <a:cubicBezTo>
                    <a:pt x="214217" y="656273"/>
                    <a:pt x="275463" y="718185"/>
                    <a:pt x="275463" y="794194"/>
                  </a:cubicBezTo>
                  <a:lnTo>
                    <a:pt x="275463" y="1734122"/>
                  </a:lnTo>
                  <a:cubicBezTo>
                    <a:pt x="275463" y="1887188"/>
                    <a:pt x="300324" y="1990630"/>
                    <a:pt x="354235" y="2059686"/>
                  </a:cubicBezTo>
                  <a:cubicBezTo>
                    <a:pt x="476250" y="2217611"/>
                    <a:pt x="609791" y="2304479"/>
                    <a:pt x="958215" y="2307527"/>
                  </a:cubicBezTo>
                  <a:lnTo>
                    <a:pt x="974789" y="2307527"/>
                  </a:lnTo>
                  <a:cubicBezTo>
                    <a:pt x="1323499" y="2304479"/>
                    <a:pt x="1456563" y="2217611"/>
                    <a:pt x="1578959" y="2059686"/>
                  </a:cubicBezTo>
                  <a:cubicBezTo>
                    <a:pt x="1632490" y="1990630"/>
                    <a:pt x="1657636" y="1887093"/>
                    <a:pt x="1657636" y="1734122"/>
                  </a:cubicBezTo>
                  <a:lnTo>
                    <a:pt x="1657636" y="138017"/>
                  </a:lnTo>
                  <a:cubicBezTo>
                    <a:pt x="1657636" y="61531"/>
                    <a:pt x="1719453" y="0"/>
                    <a:pt x="1795463" y="0"/>
                  </a:cubicBezTo>
                  <a:cubicBezTo>
                    <a:pt x="1871472" y="0"/>
                    <a:pt x="1933290" y="61531"/>
                    <a:pt x="1933290" y="138017"/>
                  </a:cubicBezTo>
                </a:path>
              </a:pathLst>
            </a:custGeom>
            <a:solidFill>
              <a:srgbClr val="49306E"/>
            </a:solidFill>
            <a:ln w="9525" cap="flat">
              <a:noFill/>
              <a:prstDash val="solid"/>
              <a:miter/>
            </a:ln>
          </p:spPr>
          <p:txBody>
            <a:bodyPr rtlCol="0" anchor="ctr"/>
            <a:lstStyle/>
            <a:p>
              <a:endParaRPr lang="pt-BR" noProof="0"/>
            </a:p>
          </p:txBody>
        </p:sp>
      </p:grpSp>
      <p:sp>
        <p:nvSpPr>
          <p:cNvPr id="8" name="CaixaDeTexto 7">
            <a:extLst>
              <a:ext uri="{FF2B5EF4-FFF2-40B4-BE49-F238E27FC236}">
                <a16:creationId xmlns:a16="http://schemas.microsoft.com/office/drawing/2014/main" id="{328C73AE-775B-675F-667A-DBF59C178BE8}"/>
              </a:ext>
            </a:extLst>
          </p:cNvPr>
          <p:cNvSpPr txBox="1"/>
          <p:nvPr/>
        </p:nvSpPr>
        <p:spPr>
          <a:xfrm>
            <a:off x="2519500" y="361172"/>
            <a:ext cx="1741715" cy="461665"/>
          </a:xfrm>
          <a:prstGeom prst="rect">
            <a:avLst/>
          </a:prstGeom>
          <a:noFill/>
        </p:spPr>
        <p:txBody>
          <a:bodyPr wrap="square" rtlCol="0">
            <a:spAutoFit/>
          </a:bodyPr>
          <a:lstStyle/>
          <a:p>
            <a:r>
              <a:rPr lang="pt-BR" sz="2400" b="1" noProof="0"/>
              <a:t>Discussão</a:t>
            </a:r>
          </a:p>
        </p:txBody>
      </p:sp>
      <p:pic>
        <p:nvPicPr>
          <p:cNvPr id="7" name="Imagem 6" descr="322 Stick Figure With Thought Bubble Stock Photos, Pictures &amp; Royalty-Free  Images - iStock">
            <a:extLst>
              <a:ext uri="{FF2B5EF4-FFF2-40B4-BE49-F238E27FC236}">
                <a16:creationId xmlns:a16="http://schemas.microsoft.com/office/drawing/2014/main" id="{AC544E1B-C555-80CA-2449-590AAFEC277C}"/>
              </a:ext>
            </a:extLst>
          </p:cNvPr>
          <p:cNvPicPr>
            <a:picLocks noChangeAspect="1"/>
          </p:cNvPicPr>
          <p:nvPr/>
        </p:nvPicPr>
        <p:blipFill>
          <a:blip r:embed="rId6"/>
          <a:stretch>
            <a:fillRect/>
          </a:stretch>
        </p:blipFill>
        <p:spPr>
          <a:xfrm>
            <a:off x="-1492" y="1518516"/>
            <a:ext cx="4467225" cy="5391150"/>
          </a:xfrm>
          <a:prstGeom prst="rect">
            <a:avLst/>
          </a:prstGeom>
        </p:spPr>
      </p:pic>
      <p:sp>
        <p:nvSpPr>
          <p:cNvPr id="10" name="CaixaDeTexto 60">
            <a:extLst>
              <a:ext uri="{FF2B5EF4-FFF2-40B4-BE49-F238E27FC236}">
                <a16:creationId xmlns:a16="http://schemas.microsoft.com/office/drawing/2014/main" id="{92BE8060-7D9D-8CEB-3A06-FECA648A7B81}"/>
              </a:ext>
            </a:extLst>
          </p:cNvPr>
          <p:cNvSpPr txBox="1"/>
          <p:nvPr/>
        </p:nvSpPr>
        <p:spPr>
          <a:xfrm>
            <a:off x="5417344" y="2647237"/>
            <a:ext cx="6774655" cy="1569660"/>
          </a:xfrm>
          <a:prstGeom prst="rect">
            <a:avLst/>
          </a:prstGeom>
          <a:noFill/>
        </p:spPr>
        <p:txBody>
          <a:bodyPr wrap="square" lIns="91440" tIns="45720" rIns="91440" bIns="45720" rtlCol="0" anchor="t">
            <a:spAutoFit/>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r>
              <a:rPr lang="pt-BR" sz="3200" b="1" noProof="0">
                <a:solidFill>
                  <a:srgbClr val="46326A"/>
                </a:solidFill>
              </a:rPr>
              <a:t>Esse quadro fecha critérios IRAS?</a:t>
            </a:r>
            <a:endParaRPr lang="pt-BR" sz="3200" b="1" noProof="0" dirty="0">
              <a:solidFill>
                <a:srgbClr val="46326A"/>
              </a:solidFill>
            </a:endParaRPr>
          </a:p>
          <a:p>
            <a:pPr lvl="0" algn="ctr"/>
            <a:endParaRPr lang="pt-BR" sz="3200" b="1" noProof="0" dirty="0">
              <a:solidFill>
                <a:srgbClr val="46326A"/>
              </a:solidFill>
            </a:endParaRPr>
          </a:p>
          <a:p>
            <a:pPr lvl="0" algn="ctr"/>
            <a:r>
              <a:rPr lang="pt-BR" sz="3200" b="1" noProof="0">
                <a:solidFill>
                  <a:srgbClr val="46326A"/>
                </a:solidFill>
              </a:rPr>
              <a:t>Qual?</a:t>
            </a:r>
            <a:endParaRPr lang="pt-BR" sz="3200" b="1" noProof="0" dirty="0">
              <a:solidFill>
                <a:srgbClr val="46326A"/>
              </a:solidFill>
            </a:endParaRPr>
          </a:p>
        </p:txBody>
      </p:sp>
      <p:sp>
        <p:nvSpPr>
          <p:cNvPr id="15" name="CaixaDeTexto 66">
            <a:extLst>
              <a:ext uri="{FF2B5EF4-FFF2-40B4-BE49-F238E27FC236}">
                <a16:creationId xmlns:a16="http://schemas.microsoft.com/office/drawing/2014/main" id="{70BB9082-E005-8C36-FB26-DB2AA3958E32}"/>
              </a:ext>
            </a:extLst>
          </p:cNvPr>
          <p:cNvSpPr txBox="1"/>
          <p:nvPr/>
        </p:nvSpPr>
        <p:spPr>
          <a:xfrm>
            <a:off x="-418381" y="2605459"/>
            <a:ext cx="6201408" cy="1323439"/>
          </a:xfrm>
          <a:prstGeom prst="rect">
            <a:avLst/>
          </a:prstGeom>
          <a:noFill/>
        </p:spPr>
        <p:txBody>
          <a:bodyPr wrap="square" lIns="91440" tIns="45720" rIns="91440" bIns="45720" rtlCol="0" anchor="t">
            <a:spAutoFit/>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r>
              <a:rPr lang="pt-BR" sz="2800" b="1" noProof="0">
                <a:solidFill>
                  <a:srgbClr val="9DC457"/>
                </a:solidFill>
              </a:rPr>
              <a:t>E agora</a:t>
            </a:r>
            <a:r>
              <a:rPr lang="pt-BR" sz="3200" b="1" noProof="0">
                <a:solidFill>
                  <a:srgbClr val="9DC457"/>
                </a:solidFill>
              </a:rPr>
              <a:t>?</a:t>
            </a:r>
          </a:p>
          <a:p>
            <a:pPr lvl="0" algn="ctr"/>
            <a:endParaRPr lang="pt-BR" sz="2400" noProof="0" dirty="0">
              <a:solidFill>
                <a:srgbClr val="9DC457"/>
              </a:solidFill>
            </a:endParaRPr>
          </a:p>
          <a:p>
            <a:pPr lvl="0" algn="ctr"/>
            <a:endParaRPr lang="pt-BR" sz="2400" noProof="0" dirty="0">
              <a:solidFill>
                <a:srgbClr val="9DC457"/>
              </a:solidFill>
            </a:endParaRPr>
          </a:p>
        </p:txBody>
      </p:sp>
    </p:spTree>
    <p:extLst>
      <p:ext uri="{BB962C8B-B14F-4D97-AF65-F5344CB8AC3E}">
        <p14:creationId xmlns:p14="http://schemas.microsoft.com/office/powerpoint/2010/main" val="279984921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m 5" descr="Tabela&#10;&#10;O conteúdo gerado por IA pode estar incorreto.">
            <a:extLst>
              <a:ext uri="{FF2B5EF4-FFF2-40B4-BE49-F238E27FC236}">
                <a16:creationId xmlns:a16="http://schemas.microsoft.com/office/drawing/2014/main" id="{4DC8CFB0-04CF-48F4-40AE-724B0072B8FA}"/>
              </a:ext>
            </a:extLst>
          </p:cNvPr>
          <p:cNvPicPr>
            <a:picLocks noChangeAspect="1"/>
          </p:cNvPicPr>
          <p:nvPr/>
        </p:nvPicPr>
        <p:blipFill>
          <a:blip r:embed="rId2"/>
          <a:stretch>
            <a:fillRect/>
          </a:stretch>
        </p:blipFill>
        <p:spPr>
          <a:xfrm>
            <a:off x="1173463" y="1231421"/>
            <a:ext cx="10175754" cy="5128403"/>
          </a:xfrm>
          <a:prstGeom prst="rect">
            <a:avLst/>
          </a:prstGeom>
        </p:spPr>
      </p:pic>
      <p:sp>
        <p:nvSpPr>
          <p:cNvPr id="8" name="CaixaDeTexto 7">
            <a:extLst>
              <a:ext uri="{FF2B5EF4-FFF2-40B4-BE49-F238E27FC236}">
                <a16:creationId xmlns:a16="http://schemas.microsoft.com/office/drawing/2014/main" id="{7744A738-5111-25CD-6ABE-09623C12B030}"/>
              </a:ext>
            </a:extLst>
          </p:cNvPr>
          <p:cNvSpPr txBox="1"/>
          <p:nvPr/>
        </p:nvSpPr>
        <p:spPr>
          <a:xfrm>
            <a:off x="2519500" y="361172"/>
            <a:ext cx="2957454" cy="461665"/>
          </a:xfrm>
          <a:prstGeom prst="rect">
            <a:avLst/>
          </a:prstGeom>
          <a:noFill/>
        </p:spPr>
        <p:txBody>
          <a:bodyPr wrap="square" lIns="91440" tIns="45720" rIns="91440" bIns="45720" rtlCol="0" anchor="t">
            <a:spAutoFit/>
          </a:bodyPr>
          <a:lstStyle/>
          <a:p>
            <a:r>
              <a:rPr lang="pt-BR" sz="2400" b="1" noProof="0"/>
              <a:t>CASO </a:t>
            </a:r>
            <a:r>
              <a:rPr lang="pt-BR" sz="2400" b="1"/>
              <a:t>3 -</a:t>
            </a:r>
            <a:r>
              <a:rPr lang="pt-BR" sz="2400" b="1" noProof="0"/>
              <a:t> Adulto</a:t>
            </a:r>
          </a:p>
        </p:txBody>
      </p:sp>
      <p:sp>
        <p:nvSpPr>
          <p:cNvPr id="12" name="CaixaDeTexto 11">
            <a:extLst>
              <a:ext uri="{FF2B5EF4-FFF2-40B4-BE49-F238E27FC236}">
                <a16:creationId xmlns:a16="http://schemas.microsoft.com/office/drawing/2014/main" id="{4B7A9D3B-15E1-0D92-9F2C-A138D97672E5}"/>
              </a:ext>
            </a:extLst>
          </p:cNvPr>
          <p:cNvSpPr txBox="1"/>
          <p:nvPr/>
        </p:nvSpPr>
        <p:spPr>
          <a:xfrm>
            <a:off x="9923890" y="1956597"/>
            <a:ext cx="524933"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pt-BR" sz="2400" b="1">
                <a:solidFill>
                  <a:srgbClr val="C00000"/>
                </a:solidFill>
              </a:rPr>
              <a:t>X</a:t>
            </a:r>
          </a:p>
        </p:txBody>
      </p:sp>
      <p:sp>
        <p:nvSpPr>
          <p:cNvPr id="14" name="CaixaDeTexto 13">
            <a:extLst>
              <a:ext uri="{FF2B5EF4-FFF2-40B4-BE49-F238E27FC236}">
                <a16:creationId xmlns:a16="http://schemas.microsoft.com/office/drawing/2014/main" id="{C12FFB99-4D1C-25C7-19F9-958FCACFEAAA}"/>
              </a:ext>
            </a:extLst>
          </p:cNvPr>
          <p:cNvSpPr txBox="1"/>
          <p:nvPr/>
        </p:nvSpPr>
        <p:spPr>
          <a:xfrm>
            <a:off x="9880760" y="3365579"/>
            <a:ext cx="524933"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pt-BR" sz="2400" b="1">
                <a:solidFill>
                  <a:srgbClr val="C00000"/>
                </a:solidFill>
              </a:rPr>
              <a:t>X</a:t>
            </a:r>
          </a:p>
        </p:txBody>
      </p:sp>
      <p:sp>
        <p:nvSpPr>
          <p:cNvPr id="16" name="CaixaDeTexto 15">
            <a:extLst>
              <a:ext uri="{FF2B5EF4-FFF2-40B4-BE49-F238E27FC236}">
                <a16:creationId xmlns:a16="http://schemas.microsoft.com/office/drawing/2014/main" id="{54519060-01BC-0F2D-925D-01296CEF8029}"/>
              </a:ext>
            </a:extLst>
          </p:cNvPr>
          <p:cNvSpPr txBox="1"/>
          <p:nvPr/>
        </p:nvSpPr>
        <p:spPr>
          <a:xfrm>
            <a:off x="9708231" y="4903956"/>
            <a:ext cx="524933"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pt-BR" sz="2400" b="1">
                <a:solidFill>
                  <a:srgbClr val="C00000"/>
                </a:solidFill>
              </a:rPr>
              <a:t>X</a:t>
            </a:r>
          </a:p>
        </p:txBody>
      </p:sp>
      <p:sp>
        <p:nvSpPr>
          <p:cNvPr id="18" name="CaixaDeTexto 17">
            <a:extLst>
              <a:ext uri="{FF2B5EF4-FFF2-40B4-BE49-F238E27FC236}">
                <a16:creationId xmlns:a16="http://schemas.microsoft.com/office/drawing/2014/main" id="{B94B7CE8-47D3-A783-6CBB-9D6FE8ECD225}"/>
              </a:ext>
            </a:extLst>
          </p:cNvPr>
          <p:cNvSpPr txBox="1"/>
          <p:nvPr/>
        </p:nvSpPr>
        <p:spPr>
          <a:xfrm>
            <a:off x="9895136" y="5967879"/>
            <a:ext cx="524933"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pt-BR" sz="2400" b="1">
                <a:solidFill>
                  <a:srgbClr val="C00000"/>
                </a:solidFill>
              </a:rPr>
              <a:t>X</a:t>
            </a:r>
          </a:p>
        </p:txBody>
      </p:sp>
      <p:sp>
        <p:nvSpPr>
          <p:cNvPr id="20" name="CaixaDeTexto 19">
            <a:extLst>
              <a:ext uri="{FF2B5EF4-FFF2-40B4-BE49-F238E27FC236}">
                <a16:creationId xmlns:a16="http://schemas.microsoft.com/office/drawing/2014/main" id="{F9CFACFC-19F0-93F2-20A6-91B7FFF31770}"/>
              </a:ext>
            </a:extLst>
          </p:cNvPr>
          <p:cNvSpPr txBox="1"/>
          <p:nvPr/>
        </p:nvSpPr>
        <p:spPr>
          <a:xfrm>
            <a:off x="9709510" y="5367226"/>
            <a:ext cx="1484063"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pt-BR" b="1" i="1" err="1">
                <a:solidFill>
                  <a:srgbClr val="C00000"/>
                </a:solidFill>
              </a:rPr>
              <a:t>E.cloacae</a:t>
            </a:r>
            <a:endParaRPr lang="pt-BR" b="1">
              <a:solidFill>
                <a:srgbClr val="C00000"/>
              </a:solidFill>
            </a:endParaRPr>
          </a:p>
        </p:txBody>
      </p:sp>
    </p:spTree>
    <p:extLst>
      <p:ext uri="{BB962C8B-B14F-4D97-AF65-F5344CB8AC3E}">
        <p14:creationId xmlns:p14="http://schemas.microsoft.com/office/powerpoint/2010/main" val="33653547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4" grpId="0"/>
      <p:bldP spid="16" grpId="0"/>
      <p:bldP spid="18" grpId="0"/>
      <p:bldP spid="20"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4EB4DE-54E5-19C8-BE99-01C5E909A5BD}"/>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04AB520B-B79F-A8E5-5919-51419AF2FE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8" progId="TCLayout.ActiveDocument.1">
                  <p:embed/>
                </p:oleObj>
              </mc:Choice>
              <mc:Fallback>
                <p:oleObj name="think-cell Slide" r:id="rId4" imgW="306" imgH="308" progId="TCLayout.ActiveDocument.1">
                  <p:embed/>
                  <p:pic>
                    <p:nvPicPr>
                      <p:cNvPr id="12" name="think-cell data - do not delete" hidden="1">
                        <a:extLst>
                          <a:ext uri="{FF2B5EF4-FFF2-40B4-BE49-F238E27FC236}">
                            <a16:creationId xmlns:a16="http://schemas.microsoft.com/office/drawing/2014/main" id="{04AB520B-B79F-A8E5-5919-51419AF2FE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3" name="Group 12">
            <a:extLst>
              <a:ext uri="{FF2B5EF4-FFF2-40B4-BE49-F238E27FC236}">
                <a16:creationId xmlns:a16="http://schemas.microsoft.com/office/drawing/2014/main" id="{A6383451-A5F0-BE47-05F6-21B79B52C294}"/>
              </a:ext>
            </a:extLst>
          </p:cNvPr>
          <p:cNvGrpSpPr/>
          <p:nvPr/>
        </p:nvGrpSpPr>
        <p:grpSpPr>
          <a:xfrm>
            <a:off x="304800" y="249455"/>
            <a:ext cx="1193800" cy="462985"/>
            <a:chOff x="5245100" y="211355"/>
            <a:chExt cx="2036664" cy="789869"/>
          </a:xfrm>
        </p:grpSpPr>
        <p:sp>
          <p:nvSpPr>
            <p:cNvPr id="14" name="Freeform: Shape 13">
              <a:extLst>
                <a:ext uri="{FF2B5EF4-FFF2-40B4-BE49-F238E27FC236}">
                  <a16:creationId xmlns:a16="http://schemas.microsoft.com/office/drawing/2014/main" id="{51041EAB-E474-71EB-B4C3-DE9E9796BB51}"/>
                </a:ext>
              </a:extLst>
            </p:cNvPr>
            <p:cNvSpPr/>
            <p:nvPr/>
          </p:nvSpPr>
          <p:spPr>
            <a:xfrm>
              <a:off x="5245100" y="308520"/>
              <a:ext cx="247894" cy="322815"/>
            </a:xfrm>
            <a:custGeom>
              <a:avLst/>
              <a:gdLst>
                <a:gd name="connsiteX0" fmla="*/ 529590 w 986123"/>
                <a:gd name="connsiteY0" fmla="*/ 1284160 h 1284160"/>
                <a:gd name="connsiteX1" fmla="*/ 249650 w 986123"/>
                <a:gd name="connsiteY1" fmla="*/ 1235107 h 1284160"/>
                <a:gd name="connsiteX2" fmla="*/ 0 w 986123"/>
                <a:gd name="connsiteY2" fmla="*/ 1084421 h 1284160"/>
                <a:gd name="connsiteX3" fmla="*/ 162306 w 986123"/>
                <a:gd name="connsiteY3" fmla="*/ 890016 h 1284160"/>
                <a:gd name="connsiteX4" fmla="*/ 337947 w 986123"/>
                <a:gd name="connsiteY4" fmla="*/ 1000601 h 1284160"/>
                <a:gd name="connsiteX5" fmla="*/ 535019 w 986123"/>
                <a:gd name="connsiteY5" fmla="*/ 1041654 h 1284160"/>
                <a:gd name="connsiteX6" fmla="*/ 667893 w 986123"/>
                <a:gd name="connsiteY6" fmla="*/ 1010412 h 1284160"/>
                <a:gd name="connsiteX7" fmla="*/ 715137 w 986123"/>
                <a:gd name="connsiteY7" fmla="*/ 923925 h 1284160"/>
                <a:gd name="connsiteX8" fmla="*/ 715137 w 986123"/>
                <a:gd name="connsiteY8" fmla="*/ 920305 h 1284160"/>
                <a:gd name="connsiteX9" fmla="*/ 705326 w 986123"/>
                <a:gd name="connsiteY9" fmla="*/ 873062 h 1284160"/>
                <a:gd name="connsiteX10" fmla="*/ 667798 w 986123"/>
                <a:gd name="connsiteY10" fmla="*/ 834676 h 1284160"/>
                <a:gd name="connsiteX11" fmla="*/ 590931 w 986123"/>
                <a:gd name="connsiteY11" fmla="*/ 798957 h 1284160"/>
                <a:gd name="connsiteX12" fmla="*/ 463106 w 986123"/>
                <a:gd name="connsiteY12" fmla="*/ 761524 h 1284160"/>
                <a:gd name="connsiteX13" fmla="*/ 291465 w 986123"/>
                <a:gd name="connsiteY13" fmla="*/ 709803 h 1284160"/>
                <a:gd name="connsiteX14" fmla="*/ 160973 w 986123"/>
                <a:gd name="connsiteY14" fmla="*/ 639318 h 1284160"/>
                <a:gd name="connsiteX15" fmla="*/ 77819 w 986123"/>
                <a:gd name="connsiteY15" fmla="*/ 535019 h 1284160"/>
                <a:gd name="connsiteX16" fmla="*/ 48292 w 986123"/>
                <a:gd name="connsiteY16" fmla="*/ 379857 h 1284160"/>
                <a:gd name="connsiteX17" fmla="*/ 48292 w 986123"/>
                <a:gd name="connsiteY17" fmla="*/ 376238 h 1284160"/>
                <a:gd name="connsiteX18" fmla="*/ 80201 w 986123"/>
                <a:gd name="connsiteY18" fmla="*/ 222028 h 1284160"/>
                <a:gd name="connsiteX19" fmla="*/ 169640 w 986123"/>
                <a:gd name="connsiteY19" fmla="*/ 103441 h 1284160"/>
                <a:gd name="connsiteX20" fmla="*/ 307181 w 986123"/>
                <a:gd name="connsiteY20" fmla="*/ 26765 h 1284160"/>
                <a:gd name="connsiteX21" fmla="*/ 483394 w 986123"/>
                <a:gd name="connsiteY21" fmla="*/ 0 h 1284160"/>
                <a:gd name="connsiteX22" fmla="*/ 735711 w 986123"/>
                <a:gd name="connsiteY22" fmla="*/ 41053 h 1284160"/>
                <a:gd name="connsiteX23" fmla="*/ 946976 w 986123"/>
                <a:gd name="connsiteY23" fmla="*/ 158687 h 1284160"/>
                <a:gd name="connsiteX24" fmla="*/ 804291 w 986123"/>
                <a:gd name="connsiteY24" fmla="*/ 365569 h 1284160"/>
                <a:gd name="connsiteX25" fmla="*/ 640271 w 986123"/>
                <a:gd name="connsiteY25" fmla="*/ 275558 h 1284160"/>
                <a:gd name="connsiteX26" fmla="*/ 479774 w 986123"/>
                <a:gd name="connsiteY26" fmla="*/ 242602 h 1284160"/>
                <a:gd name="connsiteX27" fmla="*/ 359378 w 986123"/>
                <a:gd name="connsiteY27" fmla="*/ 273844 h 1284160"/>
                <a:gd name="connsiteX28" fmla="*/ 319278 w 986123"/>
                <a:gd name="connsiteY28" fmla="*/ 351377 h 1284160"/>
                <a:gd name="connsiteX29" fmla="*/ 319278 w 986123"/>
                <a:gd name="connsiteY29" fmla="*/ 354997 h 1284160"/>
                <a:gd name="connsiteX30" fmla="*/ 330899 w 986123"/>
                <a:gd name="connsiteY30" fmla="*/ 407575 h 1284160"/>
                <a:gd name="connsiteX31" fmla="*/ 372904 w 986123"/>
                <a:gd name="connsiteY31" fmla="*/ 447675 h 1284160"/>
                <a:gd name="connsiteX32" fmla="*/ 456057 w 986123"/>
                <a:gd name="connsiteY32" fmla="*/ 481489 h 1284160"/>
                <a:gd name="connsiteX33" fmla="*/ 589217 w 986123"/>
                <a:gd name="connsiteY33" fmla="*/ 518922 h 1284160"/>
                <a:gd name="connsiteX34" fmla="*/ 758190 w 986123"/>
                <a:gd name="connsiteY34" fmla="*/ 575120 h 1284160"/>
                <a:gd name="connsiteX35" fmla="*/ 883349 w 986123"/>
                <a:gd name="connsiteY35" fmla="*/ 649986 h 1284160"/>
                <a:gd name="connsiteX36" fmla="*/ 960215 w 986123"/>
                <a:gd name="connsiteY36" fmla="*/ 752570 h 1284160"/>
                <a:gd name="connsiteX37" fmla="*/ 986123 w 986123"/>
                <a:gd name="connsiteY37" fmla="*/ 893445 h 1284160"/>
                <a:gd name="connsiteX38" fmla="*/ 986123 w 986123"/>
                <a:gd name="connsiteY38" fmla="*/ 897064 h 1284160"/>
                <a:gd name="connsiteX39" fmla="*/ 952500 w 986123"/>
                <a:gd name="connsiteY39" fmla="*/ 1062038 h 1284160"/>
                <a:gd name="connsiteX40" fmla="*/ 858584 w 986123"/>
                <a:gd name="connsiteY40" fmla="*/ 1183291 h 1284160"/>
                <a:gd name="connsiteX41" fmla="*/ 714851 w 986123"/>
                <a:gd name="connsiteY41" fmla="*/ 1258157 h 1284160"/>
                <a:gd name="connsiteX42" fmla="*/ 529685 w 986123"/>
                <a:gd name="connsiteY42" fmla="*/ 1284065 h 128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6123" h="1284160">
                  <a:moveTo>
                    <a:pt x="529590" y="1284160"/>
                  </a:moveTo>
                  <a:cubicBezTo>
                    <a:pt x="434435" y="1284160"/>
                    <a:pt x="341186" y="1267777"/>
                    <a:pt x="249650" y="1235107"/>
                  </a:cubicBezTo>
                  <a:cubicBezTo>
                    <a:pt x="158115" y="1202436"/>
                    <a:pt x="74867" y="1152239"/>
                    <a:pt x="0" y="1084421"/>
                  </a:cubicBezTo>
                  <a:lnTo>
                    <a:pt x="162306" y="890016"/>
                  </a:lnTo>
                  <a:cubicBezTo>
                    <a:pt x="219361" y="936403"/>
                    <a:pt x="277844" y="973264"/>
                    <a:pt x="337947" y="1000601"/>
                  </a:cubicBezTo>
                  <a:cubicBezTo>
                    <a:pt x="397955" y="1027938"/>
                    <a:pt x="463677" y="1041654"/>
                    <a:pt x="535019" y="1041654"/>
                  </a:cubicBezTo>
                  <a:cubicBezTo>
                    <a:pt x="592074" y="1041654"/>
                    <a:pt x="636365" y="1031272"/>
                    <a:pt x="667893" y="1010412"/>
                  </a:cubicBezTo>
                  <a:cubicBezTo>
                    <a:pt x="699421" y="989647"/>
                    <a:pt x="715137" y="960787"/>
                    <a:pt x="715137" y="923925"/>
                  </a:cubicBezTo>
                  <a:lnTo>
                    <a:pt x="715137" y="920305"/>
                  </a:lnTo>
                  <a:cubicBezTo>
                    <a:pt x="715137" y="902494"/>
                    <a:pt x="711803" y="886777"/>
                    <a:pt x="705326" y="873062"/>
                  </a:cubicBezTo>
                  <a:cubicBezTo>
                    <a:pt x="698754" y="859441"/>
                    <a:pt x="686276" y="846582"/>
                    <a:pt x="667798" y="834676"/>
                  </a:cubicBezTo>
                  <a:cubicBezTo>
                    <a:pt x="649319" y="822770"/>
                    <a:pt x="623697" y="810863"/>
                    <a:pt x="590931" y="798957"/>
                  </a:cubicBezTo>
                  <a:cubicBezTo>
                    <a:pt x="558165" y="787146"/>
                    <a:pt x="515493" y="774573"/>
                    <a:pt x="463106" y="761524"/>
                  </a:cubicBezTo>
                  <a:cubicBezTo>
                    <a:pt x="399955" y="746093"/>
                    <a:pt x="342710" y="728853"/>
                    <a:pt x="291465" y="709803"/>
                  </a:cubicBezTo>
                  <a:cubicBezTo>
                    <a:pt x="240221" y="690753"/>
                    <a:pt x="196691" y="667322"/>
                    <a:pt x="160973" y="639318"/>
                  </a:cubicBezTo>
                  <a:cubicBezTo>
                    <a:pt x="125159" y="611410"/>
                    <a:pt x="97536" y="576644"/>
                    <a:pt x="77819" y="535019"/>
                  </a:cubicBezTo>
                  <a:cubicBezTo>
                    <a:pt x="58103" y="493395"/>
                    <a:pt x="48292" y="441674"/>
                    <a:pt x="48292" y="379857"/>
                  </a:cubicBezTo>
                  <a:lnTo>
                    <a:pt x="48292" y="376238"/>
                  </a:lnTo>
                  <a:cubicBezTo>
                    <a:pt x="48292" y="319183"/>
                    <a:pt x="58865" y="267748"/>
                    <a:pt x="80201" y="222028"/>
                  </a:cubicBezTo>
                  <a:cubicBezTo>
                    <a:pt x="101441" y="176308"/>
                    <a:pt x="131255" y="136779"/>
                    <a:pt x="169640" y="103441"/>
                  </a:cubicBezTo>
                  <a:cubicBezTo>
                    <a:pt x="208026" y="70199"/>
                    <a:pt x="253841" y="44577"/>
                    <a:pt x="307181" y="26765"/>
                  </a:cubicBezTo>
                  <a:cubicBezTo>
                    <a:pt x="360426" y="8953"/>
                    <a:pt x="419195" y="0"/>
                    <a:pt x="483394" y="0"/>
                  </a:cubicBezTo>
                  <a:cubicBezTo>
                    <a:pt x="574929" y="0"/>
                    <a:pt x="659035" y="13716"/>
                    <a:pt x="735711" y="41053"/>
                  </a:cubicBezTo>
                  <a:cubicBezTo>
                    <a:pt x="812387" y="68389"/>
                    <a:pt x="882777" y="107632"/>
                    <a:pt x="946976" y="158687"/>
                  </a:cubicBezTo>
                  <a:lnTo>
                    <a:pt x="804291" y="365569"/>
                  </a:lnTo>
                  <a:cubicBezTo>
                    <a:pt x="748379" y="327565"/>
                    <a:pt x="693706" y="297561"/>
                    <a:pt x="640271" y="275558"/>
                  </a:cubicBezTo>
                  <a:cubicBezTo>
                    <a:pt x="586740" y="253555"/>
                    <a:pt x="533305" y="242602"/>
                    <a:pt x="479774" y="242602"/>
                  </a:cubicBezTo>
                  <a:cubicBezTo>
                    <a:pt x="426244" y="242602"/>
                    <a:pt x="386144" y="252984"/>
                    <a:pt x="359378" y="273844"/>
                  </a:cubicBezTo>
                  <a:cubicBezTo>
                    <a:pt x="332613" y="294608"/>
                    <a:pt x="319278" y="320516"/>
                    <a:pt x="319278" y="351377"/>
                  </a:cubicBezTo>
                  <a:lnTo>
                    <a:pt x="319278" y="354997"/>
                  </a:lnTo>
                  <a:cubicBezTo>
                    <a:pt x="319278" y="375190"/>
                    <a:pt x="323183" y="392716"/>
                    <a:pt x="330899" y="407575"/>
                  </a:cubicBezTo>
                  <a:cubicBezTo>
                    <a:pt x="338614" y="422434"/>
                    <a:pt x="352616" y="435864"/>
                    <a:pt x="372904" y="447675"/>
                  </a:cubicBezTo>
                  <a:cubicBezTo>
                    <a:pt x="393192" y="459581"/>
                    <a:pt x="420910" y="470821"/>
                    <a:pt x="456057" y="481489"/>
                  </a:cubicBezTo>
                  <a:cubicBezTo>
                    <a:pt x="491204" y="492157"/>
                    <a:pt x="535591" y="504730"/>
                    <a:pt x="589217" y="518922"/>
                  </a:cubicBezTo>
                  <a:cubicBezTo>
                    <a:pt x="652367" y="535591"/>
                    <a:pt x="708660" y="554260"/>
                    <a:pt x="758190" y="575120"/>
                  </a:cubicBezTo>
                  <a:cubicBezTo>
                    <a:pt x="807625" y="595979"/>
                    <a:pt x="849344" y="620935"/>
                    <a:pt x="883349" y="649986"/>
                  </a:cubicBezTo>
                  <a:cubicBezTo>
                    <a:pt x="917353" y="679132"/>
                    <a:pt x="942975" y="713327"/>
                    <a:pt x="960215" y="752570"/>
                  </a:cubicBezTo>
                  <a:cubicBezTo>
                    <a:pt x="977456" y="791813"/>
                    <a:pt x="986123" y="838772"/>
                    <a:pt x="986123" y="893445"/>
                  </a:cubicBezTo>
                  <a:lnTo>
                    <a:pt x="986123" y="897064"/>
                  </a:lnTo>
                  <a:cubicBezTo>
                    <a:pt x="986123" y="958882"/>
                    <a:pt x="974884" y="1013841"/>
                    <a:pt x="952500" y="1062038"/>
                  </a:cubicBezTo>
                  <a:cubicBezTo>
                    <a:pt x="930021" y="1110139"/>
                    <a:pt x="898779" y="1150620"/>
                    <a:pt x="858584" y="1183291"/>
                  </a:cubicBezTo>
                  <a:cubicBezTo>
                    <a:pt x="818388" y="1216057"/>
                    <a:pt x="770477" y="1241012"/>
                    <a:pt x="714851" y="1258157"/>
                  </a:cubicBezTo>
                  <a:cubicBezTo>
                    <a:pt x="659130" y="1275398"/>
                    <a:pt x="597503" y="1284065"/>
                    <a:pt x="529685" y="1284065"/>
                  </a:cubicBezTo>
                  <a:close/>
                </a:path>
              </a:pathLst>
            </a:custGeom>
            <a:solidFill>
              <a:srgbClr val="44505E"/>
            </a:solidFill>
            <a:ln w="9525" cap="flat">
              <a:noFill/>
              <a:prstDash val="solid"/>
              <a:miter/>
            </a:ln>
          </p:spPr>
          <p:txBody>
            <a:bodyPr rtlCol="0" anchor="ctr"/>
            <a:lstStyle/>
            <a:p>
              <a:endParaRPr lang="pt-BR" noProof="0"/>
            </a:p>
          </p:txBody>
        </p:sp>
        <p:sp>
          <p:nvSpPr>
            <p:cNvPr id="17" name="Freeform: Shape 16">
              <a:extLst>
                <a:ext uri="{FF2B5EF4-FFF2-40B4-BE49-F238E27FC236}">
                  <a16:creationId xmlns:a16="http://schemas.microsoft.com/office/drawing/2014/main" id="{9555D73F-8350-8DD9-93E6-8BA903CDBB0A}"/>
                </a:ext>
              </a:extLst>
            </p:cNvPr>
            <p:cNvSpPr/>
            <p:nvPr/>
          </p:nvSpPr>
          <p:spPr>
            <a:xfrm>
              <a:off x="5492084" y="310867"/>
              <a:ext cx="332584" cy="315991"/>
            </a:xfrm>
            <a:custGeom>
              <a:avLst/>
              <a:gdLst>
                <a:gd name="connsiteX0" fmla="*/ 534924 w 1323022"/>
                <a:gd name="connsiteY0" fmla="*/ 0 h 1257014"/>
                <a:gd name="connsiteX1" fmla="*/ 788099 w 1323022"/>
                <a:gd name="connsiteY1" fmla="*/ 0 h 1257014"/>
                <a:gd name="connsiteX2" fmla="*/ 1323023 w 1323022"/>
                <a:gd name="connsiteY2" fmla="*/ 1257014 h 1257014"/>
                <a:gd name="connsiteX3" fmla="*/ 1035939 w 1323022"/>
                <a:gd name="connsiteY3" fmla="*/ 1257014 h 1257014"/>
                <a:gd name="connsiteX4" fmla="*/ 921829 w 1323022"/>
                <a:gd name="connsiteY4" fmla="*/ 977075 h 1257014"/>
                <a:gd name="connsiteX5" fmla="*/ 394049 w 1323022"/>
                <a:gd name="connsiteY5" fmla="*/ 977075 h 1257014"/>
                <a:gd name="connsiteX6" fmla="*/ 279940 w 1323022"/>
                <a:gd name="connsiteY6" fmla="*/ 1257014 h 1257014"/>
                <a:gd name="connsiteX7" fmla="*/ 0 w 1323022"/>
                <a:gd name="connsiteY7" fmla="*/ 1257014 h 1257014"/>
                <a:gd name="connsiteX8" fmla="*/ 534924 w 1323022"/>
                <a:gd name="connsiteY8" fmla="*/ 0 h 1257014"/>
                <a:gd name="connsiteX9" fmla="*/ 823817 w 1323022"/>
                <a:gd name="connsiteY9" fmla="*/ 734568 h 1257014"/>
                <a:gd name="connsiteX10" fmla="*/ 657987 w 1323022"/>
                <a:gd name="connsiteY10" fmla="*/ 329851 h 1257014"/>
                <a:gd name="connsiteX11" fmla="*/ 492157 w 1323022"/>
                <a:gd name="connsiteY11" fmla="*/ 734568 h 1257014"/>
                <a:gd name="connsiteX12" fmla="*/ 823817 w 1323022"/>
                <a:gd name="connsiteY12" fmla="*/ 734568 h 125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022" h="1257014">
                  <a:moveTo>
                    <a:pt x="534924" y="0"/>
                  </a:moveTo>
                  <a:lnTo>
                    <a:pt x="788099" y="0"/>
                  </a:lnTo>
                  <a:lnTo>
                    <a:pt x="1323023" y="1257014"/>
                  </a:lnTo>
                  <a:lnTo>
                    <a:pt x="1035939" y="1257014"/>
                  </a:lnTo>
                  <a:lnTo>
                    <a:pt x="921829" y="977075"/>
                  </a:lnTo>
                  <a:lnTo>
                    <a:pt x="394049" y="977075"/>
                  </a:lnTo>
                  <a:lnTo>
                    <a:pt x="279940" y="1257014"/>
                  </a:lnTo>
                  <a:lnTo>
                    <a:pt x="0" y="1257014"/>
                  </a:lnTo>
                  <a:lnTo>
                    <a:pt x="534924" y="0"/>
                  </a:lnTo>
                  <a:close/>
                  <a:moveTo>
                    <a:pt x="823817" y="734568"/>
                  </a:moveTo>
                  <a:lnTo>
                    <a:pt x="657987" y="329851"/>
                  </a:lnTo>
                  <a:lnTo>
                    <a:pt x="492157" y="734568"/>
                  </a:lnTo>
                  <a:lnTo>
                    <a:pt x="823817" y="734568"/>
                  </a:lnTo>
                  <a:close/>
                </a:path>
              </a:pathLst>
            </a:custGeom>
            <a:solidFill>
              <a:srgbClr val="44505E"/>
            </a:solidFill>
            <a:ln w="9525" cap="flat">
              <a:noFill/>
              <a:prstDash val="solid"/>
              <a:miter/>
            </a:ln>
          </p:spPr>
          <p:txBody>
            <a:bodyPr rtlCol="0" anchor="ctr"/>
            <a:lstStyle/>
            <a:p>
              <a:endParaRPr lang="pt-BR" noProof="0"/>
            </a:p>
          </p:txBody>
        </p:sp>
        <p:sp>
          <p:nvSpPr>
            <p:cNvPr id="18" name="Freeform: Shape 17">
              <a:extLst>
                <a:ext uri="{FF2B5EF4-FFF2-40B4-BE49-F238E27FC236}">
                  <a16:creationId xmlns:a16="http://schemas.microsoft.com/office/drawing/2014/main" id="{AA344983-50AC-6F45-0953-F8C82942790F}"/>
                </a:ext>
              </a:extLst>
            </p:cNvPr>
            <p:cNvSpPr/>
            <p:nvPr/>
          </p:nvSpPr>
          <p:spPr>
            <a:xfrm>
              <a:off x="5834078" y="211355"/>
              <a:ext cx="273442" cy="420435"/>
            </a:xfrm>
            <a:custGeom>
              <a:avLst/>
              <a:gdLst>
                <a:gd name="connsiteX0" fmla="*/ 540258 w 1087754"/>
                <a:gd name="connsiteY0" fmla="*/ 1672495 h 1672494"/>
                <a:gd name="connsiteX1" fmla="*/ 144399 w 1087754"/>
                <a:gd name="connsiteY1" fmla="*/ 1533430 h 1672494"/>
                <a:gd name="connsiteX2" fmla="*/ 0 w 1087754"/>
                <a:gd name="connsiteY2" fmla="*/ 1117949 h 1672494"/>
                <a:gd name="connsiteX3" fmla="*/ 0 w 1087754"/>
                <a:gd name="connsiteY3" fmla="*/ 404717 h 1672494"/>
                <a:gd name="connsiteX4" fmla="*/ 274606 w 1087754"/>
                <a:gd name="connsiteY4" fmla="*/ 404717 h 1672494"/>
                <a:gd name="connsiteX5" fmla="*/ 274606 w 1087754"/>
                <a:gd name="connsiteY5" fmla="*/ 1110806 h 1672494"/>
                <a:gd name="connsiteX6" fmla="*/ 345948 w 1087754"/>
                <a:gd name="connsiteY6" fmla="*/ 1341692 h 1672494"/>
                <a:gd name="connsiteX7" fmla="*/ 543877 w 1087754"/>
                <a:gd name="connsiteY7" fmla="*/ 1419225 h 1672494"/>
                <a:gd name="connsiteX8" fmla="*/ 741807 w 1087754"/>
                <a:gd name="connsiteY8" fmla="*/ 1344359 h 1672494"/>
                <a:gd name="connsiteX9" fmla="*/ 813149 w 1087754"/>
                <a:gd name="connsiteY9" fmla="*/ 1119664 h 1672494"/>
                <a:gd name="connsiteX10" fmla="*/ 813149 w 1087754"/>
                <a:gd name="connsiteY10" fmla="*/ 404717 h 1672494"/>
                <a:gd name="connsiteX11" fmla="*/ 1087755 w 1087754"/>
                <a:gd name="connsiteY11" fmla="*/ 404717 h 1672494"/>
                <a:gd name="connsiteX12" fmla="*/ 1087755 w 1087754"/>
                <a:gd name="connsiteY12" fmla="*/ 1108996 h 1672494"/>
                <a:gd name="connsiteX13" fmla="*/ 1049369 w 1087754"/>
                <a:gd name="connsiteY13" fmla="*/ 1356836 h 1672494"/>
                <a:gd name="connsiteX14" fmla="*/ 939737 w 1087754"/>
                <a:gd name="connsiteY14" fmla="*/ 1532477 h 1672494"/>
                <a:gd name="connsiteX15" fmla="*/ 766763 w 1087754"/>
                <a:gd name="connsiteY15" fmla="*/ 1637729 h 1672494"/>
                <a:gd name="connsiteX16" fmla="*/ 540353 w 1087754"/>
                <a:gd name="connsiteY16" fmla="*/ 1672495 h 1672494"/>
                <a:gd name="connsiteX17" fmla="*/ 622268 w 1087754"/>
                <a:gd name="connsiteY17" fmla="*/ 0 h 1672494"/>
                <a:gd name="connsiteX18" fmla="*/ 855821 w 1087754"/>
                <a:gd name="connsiteY18" fmla="*/ 101632 h 1672494"/>
                <a:gd name="connsiteX19" fmla="*/ 627602 w 1087754"/>
                <a:gd name="connsiteY19" fmla="*/ 315563 h 1672494"/>
                <a:gd name="connsiteX20" fmla="*/ 420719 w 1087754"/>
                <a:gd name="connsiteY20" fmla="*/ 315563 h 1672494"/>
                <a:gd name="connsiteX21" fmla="*/ 622268 w 1087754"/>
                <a:gd name="connsiteY21" fmla="*/ 0 h 16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754" h="1672494">
                  <a:moveTo>
                    <a:pt x="540258" y="1672495"/>
                  </a:moveTo>
                  <a:cubicBezTo>
                    <a:pt x="372618" y="1672495"/>
                    <a:pt x="240697" y="1626108"/>
                    <a:pt x="144399" y="1533430"/>
                  </a:cubicBezTo>
                  <a:cubicBezTo>
                    <a:pt x="48101" y="1440752"/>
                    <a:pt x="0" y="1302258"/>
                    <a:pt x="0" y="1117949"/>
                  </a:cubicBezTo>
                  <a:lnTo>
                    <a:pt x="0" y="404717"/>
                  </a:lnTo>
                  <a:lnTo>
                    <a:pt x="274606" y="404717"/>
                  </a:lnTo>
                  <a:lnTo>
                    <a:pt x="274606" y="1110806"/>
                  </a:lnTo>
                  <a:cubicBezTo>
                    <a:pt x="274606" y="1213009"/>
                    <a:pt x="298418" y="1289971"/>
                    <a:pt x="345948" y="1341692"/>
                  </a:cubicBezTo>
                  <a:cubicBezTo>
                    <a:pt x="393478" y="1393412"/>
                    <a:pt x="459486" y="1419225"/>
                    <a:pt x="543877" y="1419225"/>
                  </a:cubicBezTo>
                  <a:cubicBezTo>
                    <a:pt x="628269" y="1419225"/>
                    <a:pt x="694277" y="1394270"/>
                    <a:pt x="741807" y="1344359"/>
                  </a:cubicBezTo>
                  <a:cubicBezTo>
                    <a:pt x="789337" y="1294448"/>
                    <a:pt x="813149" y="1219581"/>
                    <a:pt x="813149" y="1119664"/>
                  </a:cubicBezTo>
                  <a:lnTo>
                    <a:pt x="813149" y="404717"/>
                  </a:lnTo>
                  <a:lnTo>
                    <a:pt x="1087755" y="404717"/>
                  </a:lnTo>
                  <a:lnTo>
                    <a:pt x="1087755" y="1108996"/>
                  </a:lnTo>
                  <a:cubicBezTo>
                    <a:pt x="1087755" y="1204151"/>
                    <a:pt x="1074992" y="1286732"/>
                    <a:pt x="1049369" y="1356836"/>
                  </a:cubicBezTo>
                  <a:cubicBezTo>
                    <a:pt x="1023747" y="1426940"/>
                    <a:pt x="987266" y="1485519"/>
                    <a:pt x="939737" y="1532477"/>
                  </a:cubicBezTo>
                  <a:cubicBezTo>
                    <a:pt x="892207" y="1579436"/>
                    <a:pt x="834485" y="1614488"/>
                    <a:pt x="766763" y="1637729"/>
                  </a:cubicBezTo>
                  <a:cubicBezTo>
                    <a:pt x="699040" y="1660874"/>
                    <a:pt x="623507" y="1672495"/>
                    <a:pt x="540353" y="1672495"/>
                  </a:cubicBezTo>
                  <a:close/>
                  <a:moveTo>
                    <a:pt x="622268" y="0"/>
                  </a:moveTo>
                  <a:lnTo>
                    <a:pt x="855821" y="101632"/>
                  </a:lnTo>
                  <a:lnTo>
                    <a:pt x="627602" y="315563"/>
                  </a:lnTo>
                  <a:lnTo>
                    <a:pt x="420719" y="315563"/>
                  </a:lnTo>
                  <a:lnTo>
                    <a:pt x="622268" y="0"/>
                  </a:lnTo>
                  <a:close/>
                </a:path>
              </a:pathLst>
            </a:custGeom>
            <a:solidFill>
              <a:srgbClr val="44505E"/>
            </a:solidFill>
            <a:ln w="9525" cap="flat">
              <a:noFill/>
              <a:prstDash val="solid"/>
              <a:miter/>
            </a:ln>
          </p:spPr>
          <p:txBody>
            <a:bodyPr rtlCol="0" anchor="ctr"/>
            <a:lstStyle/>
            <a:p>
              <a:endParaRPr lang="pt-BR" noProof="0"/>
            </a:p>
          </p:txBody>
        </p:sp>
        <p:sp>
          <p:nvSpPr>
            <p:cNvPr id="19" name="Freeform: Shape 18">
              <a:extLst>
                <a:ext uri="{FF2B5EF4-FFF2-40B4-BE49-F238E27FC236}">
                  <a16:creationId xmlns:a16="http://schemas.microsoft.com/office/drawing/2014/main" id="{723EEEA2-BFCD-9213-7FC3-8DC806E18439}"/>
                </a:ext>
              </a:extLst>
            </p:cNvPr>
            <p:cNvSpPr/>
            <p:nvPr/>
          </p:nvSpPr>
          <p:spPr>
            <a:xfrm>
              <a:off x="6143795" y="313094"/>
              <a:ext cx="289101" cy="313764"/>
            </a:xfrm>
            <a:custGeom>
              <a:avLst/>
              <a:gdLst>
                <a:gd name="connsiteX0" fmla="*/ 0 w 1150048"/>
                <a:gd name="connsiteY0" fmla="*/ 0 h 1248155"/>
                <a:gd name="connsiteX1" fmla="*/ 486728 w 1150048"/>
                <a:gd name="connsiteY1" fmla="*/ 0 h 1248155"/>
                <a:gd name="connsiteX2" fmla="*/ 755047 w 1150048"/>
                <a:gd name="connsiteY2" fmla="*/ 47244 h 1248155"/>
                <a:gd name="connsiteX3" fmla="*/ 965454 w 1150048"/>
                <a:gd name="connsiteY3" fmla="*/ 178308 h 1248155"/>
                <a:gd name="connsiteX4" fmla="*/ 1101852 w 1150048"/>
                <a:gd name="connsiteY4" fmla="*/ 375380 h 1248155"/>
                <a:gd name="connsiteX5" fmla="*/ 1150049 w 1150048"/>
                <a:gd name="connsiteY5" fmla="*/ 620554 h 1248155"/>
                <a:gd name="connsiteX6" fmla="*/ 1150049 w 1150048"/>
                <a:gd name="connsiteY6" fmla="*/ 624173 h 1248155"/>
                <a:gd name="connsiteX7" fmla="*/ 1101852 w 1150048"/>
                <a:gd name="connsiteY7" fmla="*/ 870204 h 1248155"/>
                <a:gd name="connsiteX8" fmla="*/ 965454 w 1150048"/>
                <a:gd name="connsiteY8" fmla="*/ 1068134 h 1248155"/>
                <a:gd name="connsiteX9" fmla="*/ 755047 w 1150048"/>
                <a:gd name="connsiteY9" fmla="*/ 1200055 h 1248155"/>
                <a:gd name="connsiteX10" fmla="*/ 486728 w 1150048"/>
                <a:gd name="connsiteY10" fmla="*/ 1248156 h 1248155"/>
                <a:gd name="connsiteX11" fmla="*/ 0 w 1150048"/>
                <a:gd name="connsiteY11" fmla="*/ 1248156 h 1248155"/>
                <a:gd name="connsiteX12" fmla="*/ 0 w 1150048"/>
                <a:gd name="connsiteY12" fmla="*/ 0 h 1248155"/>
                <a:gd name="connsiteX13" fmla="*/ 486728 w 1150048"/>
                <a:gd name="connsiteY13" fmla="*/ 1000315 h 1248155"/>
                <a:gd name="connsiteX14" fmla="*/ 640080 w 1150048"/>
                <a:gd name="connsiteY14" fmla="*/ 973550 h 1248155"/>
                <a:gd name="connsiteX15" fmla="*/ 758667 w 1150048"/>
                <a:gd name="connsiteY15" fmla="*/ 896874 h 1248155"/>
                <a:gd name="connsiteX16" fmla="*/ 835343 w 1150048"/>
                <a:gd name="connsiteY16" fmla="*/ 779240 h 1248155"/>
                <a:gd name="connsiteX17" fmla="*/ 862965 w 1150048"/>
                <a:gd name="connsiteY17" fmla="*/ 627698 h 1248155"/>
                <a:gd name="connsiteX18" fmla="*/ 862965 w 1150048"/>
                <a:gd name="connsiteY18" fmla="*/ 624078 h 1248155"/>
                <a:gd name="connsiteX19" fmla="*/ 835343 w 1150048"/>
                <a:gd name="connsiteY19" fmla="*/ 472535 h 1248155"/>
                <a:gd name="connsiteX20" fmla="*/ 758667 w 1150048"/>
                <a:gd name="connsiteY20" fmla="*/ 353092 h 1248155"/>
                <a:gd name="connsiteX21" fmla="*/ 640080 w 1150048"/>
                <a:gd name="connsiteY21" fmla="*/ 275558 h 1248155"/>
                <a:gd name="connsiteX22" fmla="*/ 486728 w 1150048"/>
                <a:gd name="connsiteY22" fmla="*/ 247936 h 1248155"/>
                <a:gd name="connsiteX23" fmla="*/ 274511 w 1150048"/>
                <a:gd name="connsiteY23" fmla="*/ 247936 h 1248155"/>
                <a:gd name="connsiteX24" fmla="*/ 274511 w 1150048"/>
                <a:gd name="connsiteY24" fmla="*/ 1000411 h 1248155"/>
                <a:gd name="connsiteX25" fmla="*/ 486728 w 1150048"/>
                <a:gd name="connsiteY25" fmla="*/ 1000411 h 124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50048" h="1248155">
                  <a:moveTo>
                    <a:pt x="0" y="0"/>
                  </a:moveTo>
                  <a:lnTo>
                    <a:pt x="486728" y="0"/>
                  </a:lnTo>
                  <a:cubicBezTo>
                    <a:pt x="584168" y="0"/>
                    <a:pt x="673608" y="15811"/>
                    <a:pt x="755047" y="47244"/>
                  </a:cubicBezTo>
                  <a:cubicBezTo>
                    <a:pt x="836486" y="78772"/>
                    <a:pt x="906590" y="122396"/>
                    <a:pt x="965454" y="178308"/>
                  </a:cubicBezTo>
                  <a:cubicBezTo>
                    <a:pt x="1024319" y="234220"/>
                    <a:pt x="1069753" y="299847"/>
                    <a:pt x="1101852" y="375380"/>
                  </a:cubicBezTo>
                  <a:cubicBezTo>
                    <a:pt x="1133951" y="450914"/>
                    <a:pt x="1150049" y="532543"/>
                    <a:pt x="1150049" y="620554"/>
                  </a:cubicBezTo>
                  <a:lnTo>
                    <a:pt x="1150049" y="624173"/>
                  </a:lnTo>
                  <a:cubicBezTo>
                    <a:pt x="1150049" y="712184"/>
                    <a:pt x="1133951" y="794195"/>
                    <a:pt x="1101852" y="870204"/>
                  </a:cubicBezTo>
                  <a:cubicBezTo>
                    <a:pt x="1069753" y="946309"/>
                    <a:pt x="1024319" y="1012222"/>
                    <a:pt x="965454" y="1068134"/>
                  </a:cubicBezTo>
                  <a:cubicBezTo>
                    <a:pt x="906590" y="1124045"/>
                    <a:pt x="836486" y="1167956"/>
                    <a:pt x="755047" y="1200055"/>
                  </a:cubicBezTo>
                  <a:cubicBezTo>
                    <a:pt x="673608" y="1232154"/>
                    <a:pt x="584168" y="1248156"/>
                    <a:pt x="486728" y="1248156"/>
                  </a:cubicBezTo>
                  <a:lnTo>
                    <a:pt x="0" y="1248156"/>
                  </a:lnTo>
                  <a:lnTo>
                    <a:pt x="0" y="0"/>
                  </a:lnTo>
                  <a:close/>
                  <a:moveTo>
                    <a:pt x="486728" y="1000315"/>
                  </a:moveTo>
                  <a:cubicBezTo>
                    <a:pt x="542639" y="1000315"/>
                    <a:pt x="593693" y="991457"/>
                    <a:pt x="640080" y="973550"/>
                  </a:cubicBezTo>
                  <a:cubicBezTo>
                    <a:pt x="686467" y="955739"/>
                    <a:pt x="725900" y="930211"/>
                    <a:pt x="758667" y="896874"/>
                  </a:cubicBezTo>
                  <a:cubicBezTo>
                    <a:pt x="791337" y="863632"/>
                    <a:pt x="816864" y="824389"/>
                    <a:pt x="835343" y="779240"/>
                  </a:cubicBezTo>
                  <a:cubicBezTo>
                    <a:pt x="853726" y="734092"/>
                    <a:pt x="862965" y="683609"/>
                    <a:pt x="862965" y="627698"/>
                  </a:cubicBezTo>
                  <a:lnTo>
                    <a:pt x="862965" y="624078"/>
                  </a:lnTo>
                  <a:cubicBezTo>
                    <a:pt x="862965" y="569404"/>
                    <a:pt x="853726" y="518827"/>
                    <a:pt x="835343" y="472535"/>
                  </a:cubicBezTo>
                  <a:cubicBezTo>
                    <a:pt x="816864" y="426149"/>
                    <a:pt x="791337" y="386334"/>
                    <a:pt x="758667" y="353092"/>
                  </a:cubicBezTo>
                  <a:cubicBezTo>
                    <a:pt x="725996" y="319849"/>
                    <a:pt x="686467" y="293941"/>
                    <a:pt x="640080" y="275558"/>
                  </a:cubicBezTo>
                  <a:cubicBezTo>
                    <a:pt x="593693" y="257175"/>
                    <a:pt x="542639" y="247936"/>
                    <a:pt x="486728" y="247936"/>
                  </a:cubicBezTo>
                  <a:lnTo>
                    <a:pt x="274511" y="247936"/>
                  </a:lnTo>
                  <a:lnTo>
                    <a:pt x="274511" y="1000411"/>
                  </a:lnTo>
                  <a:lnTo>
                    <a:pt x="486728" y="1000411"/>
                  </a:lnTo>
                  <a:close/>
                </a:path>
              </a:pathLst>
            </a:custGeom>
            <a:solidFill>
              <a:srgbClr val="44505E"/>
            </a:solidFill>
            <a:ln w="9525" cap="flat">
              <a:noFill/>
              <a:prstDash val="solid"/>
              <a:miter/>
            </a:ln>
          </p:spPr>
          <p:txBody>
            <a:bodyPr rtlCol="0" anchor="ctr"/>
            <a:lstStyle/>
            <a:p>
              <a:endParaRPr lang="pt-BR" noProof="0"/>
            </a:p>
          </p:txBody>
        </p:sp>
        <p:sp>
          <p:nvSpPr>
            <p:cNvPr id="20" name="Freeform: Shape 19">
              <a:extLst>
                <a:ext uri="{FF2B5EF4-FFF2-40B4-BE49-F238E27FC236}">
                  <a16:creationId xmlns:a16="http://schemas.microsoft.com/office/drawing/2014/main" id="{D73F46A7-9304-DC17-6480-BFE1C33292C1}"/>
                </a:ext>
              </a:extLst>
            </p:cNvPr>
            <p:cNvSpPr/>
            <p:nvPr/>
          </p:nvSpPr>
          <p:spPr>
            <a:xfrm>
              <a:off x="6460217" y="313094"/>
              <a:ext cx="238459" cy="313788"/>
            </a:xfrm>
            <a:custGeom>
              <a:avLst/>
              <a:gdLst>
                <a:gd name="connsiteX0" fmla="*/ 95 w 948594"/>
                <a:gd name="connsiteY0" fmla="*/ 0 h 1248251"/>
                <a:gd name="connsiteX1" fmla="*/ 939737 w 948594"/>
                <a:gd name="connsiteY1" fmla="*/ 0 h 1248251"/>
                <a:gd name="connsiteX2" fmla="*/ 939737 w 948594"/>
                <a:gd name="connsiteY2" fmla="*/ 244316 h 1248251"/>
                <a:gd name="connsiteX3" fmla="*/ 271081 w 948594"/>
                <a:gd name="connsiteY3" fmla="*/ 244316 h 1248251"/>
                <a:gd name="connsiteX4" fmla="*/ 271081 w 948594"/>
                <a:gd name="connsiteY4" fmla="*/ 497491 h 1248251"/>
                <a:gd name="connsiteX5" fmla="*/ 859441 w 948594"/>
                <a:gd name="connsiteY5" fmla="*/ 497491 h 1248251"/>
                <a:gd name="connsiteX6" fmla="*/ 859441 w 948594"/>
                <a:gd name="connsiteY6" fmla="*/ 741807 h 1248251"/>
                <a:gd name="connsiteX7" fmla="*/ 271081 w 948594"/>
                <a:gd name="connsiteY7" fmla="*/ 741807 h 1248251"/>
                <a:gd name="connsiteX8" fmla="*/ 271081 w 948594"/>
                <a:gd name="connsiteY8" fmla="*/ 1003935 h 1248251"/>
                <a:gd name="connsiteX9" fmla="*/ 948595 w 948594"/>
                <a:gd name="connsiteY9" fmla="*/ 1003935 h 1248251"/>
                <a:gd name="connsiteX10" fmla="*/ 948595 w 948594"/>
                <a:gd name="connsiteY10" fmla="*/ 1248251 h 1248251"/>
                <a:gd name="connsiteX11" fmla="*/ 0 w 948594"/>
                <a:gd name="connsiteY11" fmla="*/ 1248251 h 1248251"/>
                <a:gd name="connsiteX12" fmla="*/ 0 w 948594"/>
                <a:gd name="connsiteY12" fmla="*/ 0 h 124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594" h="1248251">
                  <a:moveTo>
                    <a:pt x="95" y="0"/>
                  </a:moveTo>
                  <a:lnTo>
                    <a:pt x="939737" y="0"/>
                  </a:lnTo>
                  <a:lnTo>
                    <a:pt x="939737" y="244316"/>
                  </a:lnTo>
                  <a:lnTo>
                    <a:pt x="271081" y="244316"/>
                  </a:lnTo>
                  <a:lnTo>
                    <a:pt x="271081" y="497491"/>
                  </a:lnTo>
                  <a:lnTo>
                    <a:pt x="859441" y="497491"/>
                  </a:lnTo>
                  <a:lnTo>
                    <a:pt x="859441" y="741807"/>
                  </a:lnTo>
                  <a:lnTo>
                    <a:pt x="271081" y="741807"/>
                  </a:lnTo>
                  <a:lnTo>
                    <a:pt x="271081" y="1003935"/>
                  </a:lnTo>
                  <a:lnTo>
                    <a:pt x="948595" y="1003935"/>
                  </a:lnTo>
                  <a:lnTo>
                    <a:pt x="948595" y="1248251"/>
                  </a:lnTo>
                  <a:lnTo>
                    <a:pt x="0" y="1248251"/>
                  </a:lnTo>
                  <a:lnTo>
                    <a:pt x="0" y="0"/>
                  </a:lnTo>
                  <a:close/>
                </a:path>
              </a:pathLst>
            </a:custGeom>
            <a:solidFill>
              <a:srgbClr val="44505E"/>
            </a:solidFill>
            <a:ln w="9525" cap="flat">
              <a:noFill/>
              <a:prstDash val="solid"/>
              <a:miter/>
            </a:ln>
          </p:spPr>
          <p:txBody>
            <a:bodyPr rtlCol="0" anchor="ctr"/>
            <a:lstStyle/>
            <a:p>
              <a:endParaRPr lang="pt-BR" noProof="0"/>
            </a:p>
          </p:txBody>
        </p:sp>
        <p:sp>
          <p:nvSpPr>
            <p:cNvPr id="21" name="Freeform: Shape 20">
              <a:extLst>
                <a:ext uri="{FF2B5EF4-FFF2-40B4-BE49-F238E27FC236}">
                  <a16:creationId xmlns:a16="http://schemas.microsoft.com/office/drawing/2014/main" id="{6946F625-1B5F-A385-E870-BB7AEEEDF5A5}"/>
                </a:ext>
              </a:extLst>
            </p:cNvPr>
            <p:cNvSpPr/>
            <p:nvPr/>
          </p:nvSpPr>
          <p:spPr>
            <a:xfrm>
              <a:off x="5253193" y="699983"/>
              <a:ext cx="90796" cy="97883"/>
            </a:xfrm>
            <a:custGeom>
              <a:avLst/>
              <a:gdLst>
                <a:gd name="connsiteX0" fmla="*/ 191548 w 361187"/>
                <a:gd name="connsiteY0" fmla="*/ 389382 h 389381"/>
                <a:gd name="connsiteX1" fmla="*/ 116300 w 361187"/>
                <a:gd name="connsiteY1" fmla="*/ 375285 h 389381"/>
                <a:gd name="connsiteX2" fmla="*/ 55531 w 361187"/>
                <a:gd name="connsiteY2" fmla="*/ 335756 h 389381"/>
                <a:gd name="connsiteX3" fmla="*/ 14859 w 361187"/>
                <a:gd name="connsiteY3" fmla="*/ 274606 h 389381"/>
                <a:gd name="connsiteX4" fmla="*/ 0 w 361187"/>
                <a:gd name="connsiteY4" fmla="*/ 195834 h 389381"/>
                <a:gd name="connsiteX5" fmla="*/ 0 w 361187"/>
                <a:gd name="connsiteY5" fmla="*/ 194405 h 389381"/>
                <a:gd name="connsiteX6" fmla="*/ 13430 w 361187"/>
                <a:gd name="connsiteY6" fmla="*/ 118777 h 389381"/>
                <a:gd name="connsiteX7" fmla="*/ 51245 w 361187"/>
                <a:gd name="connsiteY7" fmla="*/ 56959 h 389381"/>
                <a:gd name="connsiteX8" fmla="*/ 108871 w 361187"/>
                <a:gd name="connsiteY8" fmla="*/ 15240 h 389381"/>
                <a:gd name="connsiteX9" fmla="*/ 182404 w 361187"/>
                <a:gd name="connsiteY9" fmla="*/ 0 h 389381"/>
                <a:gd name="connsiteX10" fmla="*/ 260509 w 361187"/>
                <a:gd name="connsiteY10" fmla="*/ 16288 h 389381"/>
                <a:gd name="connsiteX11" fmla="*/ 316325 w 361187"/>
                <a:gd name="connsiteY11" fmla="*/ 60103 h 389381"/>
                <a:gd name="connsiteX12" fmla="*/ 349853 w 361187"/>
                <a:gd name="connsiteY12" fmla="*/ 124015 h 389381"/>
                <a:gd name="connsiteX13" fmla="*/ 361188 w 361187"/>
                <a:gd name="connsiteY13" fmla="*/ 200692 h 389381"/>
                <a:gd name="connsiteX14" fmla="*/ 360807 w 361187"/>
                <a:gd name="connsiteY14" fmla="*/ 212312 h 389381"/>
                <a:gd name="connsiteX15" fmla="*/ 359759 w 361187"/>
                <a:gd name="connsiteY15" fmla="*/ 224695 h 389381"/>
                <a:gd name="connsiteX16" fmla="*/ 85534 w 361187"/>
                <a:gd name="connsiteY16" fmla="*/ 224695 h 389381"/>
                <a:gd name="connsiteX17" fmla="*/ 121920 w 361187"/>
                <a:gd name="connsiteY17" fmla="*/ 294989 h 389381"/>
                <a:gd name="connsiteX18" fmla="*/ 192977 w 361187"/>
                <a:gd name="connsiteY18" fmla="*/ 319373 h 389381"/>
                <a:gd name="connsiteX19" fmla="*/ 248126 w 361187"/>
                <a:gd name="connsiteY19" fmla="*/ 308038 h 389381"/>
                <a:gd name="connsiteX20" fmla="*/ 294037 w 361187"/>
                <a:gd name="connsiteY20" fmla="*/ 274796 h 389381"/>
                <a:gd name="connsiteX21" fmla="*/ 344234 w 361187"/>
                <a:gd name="connsiteY21" fmla="*/ 319278 h 389381"/>
                <a:gd name="connsiteX22" fmla="*/ 280226 w 361187"/>
                <a:gd name="connsiteY22" fmla="*/ 370141 h 389381"/>
                <a:gd name="connsiteX23" fmla="*/ 191548 w 361187"/>
                <a:gd name="connsiteY23" fmla="*/ 389191 h 389381"/>
                <a:gd name="connsiteX24" fmla="*/ 276320 w 361187"/>
                <a:gd name="connsiteY24" fmla="*/ 168211 h 389381"/>
                <a:gd name="connsiteX25" fmla="*/ 267176 w 361187"/>
                <a:gd name="connsiteY25" fmla="*/ 129730 h 389381"/>
                <a:gd name="connsiteX26" fmla="*/ 248126 w 361187"/>
                <a:gd name="connsiteY26" fmla="*/ 98679 h 389381"/>
                <a:gd name="connsiteX27" fmla="*/ 219551 w 361187"/>
                <a:gd name="connsiteY27" fmla="*/ 77819 h 389381"/>
                <a:gd name="connsiteX28" fmla="*/ 181737 w 361187"/>
                <a:gd name="connsiteY28" fmla="*/ 70009 h 389381"/>
                <a:gd name="connsiteX29" fmla="*/ 116396 w 361187"/>
                <a:gd name="connsiteY29" fmla="*/ 97250 h 389381"/>
                <a:gd name="connsiteX30" fmla="*/ 84963 w 361187"/>
                <a:gd name="connsiteY30" fmla="*/ 168307 h 389381"/>
                <a:gd name="connsiteX31" fmla="*/ 276511 w 361187"/>
                <a:gd name="connsiteY31" fmla="*/ 168307 h 38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187" h="389381">
                  <a:moveTo>
                    <a:pt x="191548" y="389382"/>
                  </a:moveTo>
                  <a:cubicBezTo>
                    <a:pt x="164687" y="389382"/>
                    <a:pt x="139637" y="384715"/>
                    <a:pt x="116300" y="375285"/>
                  </a:cubicBezTo>
                  <a:cubicBezTo>
                    <a:pt x="92964" y="365855"/>
                    <a:pt x="72771" y="352711"/>
                    <a:pt x="55531" y="335756"/>
                  </a:cubicBezTo>
                  <a:cubicBezTo>
                    <a:pt x="38291" y="318802"/>
                    <a:pt x="24765" y="298418"/>
                    <a:pt x="14859" y="274606"/>
                  </a:cubicBezTo>
                  <a:cubicBezTo>
                    <a:pt x="4953" y="250793"/>
                    <a:pt x="0" y="224599"/>
                    <a:pt x="0" y="195834"/>
                  </a:cubicBezTo>
                  <a:lnTo>
                    <a:pt x="0" y="194405"/>
                  </a:lnTo>
                  <a:cubicBezTo>
                    <a:pt x="0" y="167545"/>
                    <a:pt x="4477" y="142399"/>
                    <a:pt x="13430" y="118777"/>
                  </a:cubicBezTo>
                  <a:cubicBezTo>
                    <a:pt x="22384" y="95250"/>
                    <a:pt x="34957" y="74581"/>
                    <a:pt x="51245" y="56959"/>
                  </a:cubicBezTo>
                  <a:cubicBezTo>
                    <a:pt x="67532" y="39338"/>
                    <a:pt x="86677" y="25432"/>
                    <a:pt x="108871" y="15240"/>
                  </a:cubicBezTo>
                  <a:cubicBezTo>
                    <a:pt x="131064" y="5143"/>
                    <a:pt x="155543" y="0"/>
                    <a:pt x="182404" y="0"/>
                  </a:cubicBezTo>
                  <a:cubicBezTo>
                    <a:pt x="212122" y="0"/>
                    <a:pt x="238125" y="5429"/>
                    <a:pt x="260509" y="16288"/>
                  </a:cubicBezTo>
                  <a:cubicBezTo>
                    <a:pt x="282893" y="27146"/>
                    <a:pt x="301466" y="41719"/>
                    <a:pt x="316325" y="60103"/>
                  </a:cubicBezTo>
                  <a:cubicBezTo>
                    <a:pt x="331184" y="78486"/>
                    <a:pt x="342329" y="99822"/>
                    <a:pt x="349853" y="124015"/>
                  </a:cubicBezTo>
                  <a:cubicBezTo>
                    <a:pt x="357378" y="148304"/>
                    <a:pt x="361188" y="173831"/>
                    <a:pt x="361188" y="200692"/>
                  </a:cubicBezTo>
                  <a:cubicBezTo>
                    <a:pt x="361188" y="204502"/>
                    <a:pt x="361093" y="208312"/>
                    <a:pt x="360807" y="212312"/>
                  </a:cubicBezTo>
                  <a:cubicBezTo>
                    <a:pt x="360521" y="216313"/>
                    <a:pt x="360236" y="220409"/>
                    <a:pt x="359759" y="224695"/>
                  </a:cubicBezTo>
                  <a:lnTo>
                    <a:pt x="85534" y="224695"/>
                  </a:lnTo>
                  <a:cubicBezTo>
                    <a:pt x="90202" y="255365"/>
                    <a:pt x="102394" y="278797"/>
                    <a:pt x="121920" y="294989"/>
                  </a:cubicBezTo>
                  <a:cubicBezTo>
                    <a:pt x="141446" y="311277"/>
                    <a:pt x="165164" y="319373"/>
                    <a:pt x="192977" y="319373"/>
                  </a:cubicBezTo>
                  <a:cubicBezTo>
                    <a:pt x="214217" y="319373"/>
                    <a:pt x="232505" y="315563"/>
                    <a:pt x="248126" y="308038"/>
                  </a:cubicBezTo>
                  <a:cubicBezTo>
                    <a:pt x="263652" y="300514"/>
                    <a:pt x="278987" y="289465"/>
                    <a:pt x="294037" y="274796"/>
                  </a:cubicBezTo>
                  <a:lnTo>
                    <a:pt x="344234" y="319278"/>
                  </a:lnTo>
                  <a:cubicBezTo>
                    <a:pt x="326327" y="340519"/>
                    <a:pt x="304991" y="357473"/>
                    <a:pt x="280226" y="370141"/>
                  </a:cubicBezTo>
                  <a:cubicBezTo>
                    <a:pt x="255461" y="382810"/>
                    <a:pt x="225933" y="389191"/>
                    <a:pt x="191548" y="389191"/>
                  </a:cubicBezTo>
                  <a:close/>
                  <a:moveTo>
                    <a:pt x="276320" y="168211"/>
                  </a:moveTo>
                  <a:cubicBezTo>
                    <a:pt x="274892" y="154591"/>
                    <a:pt x="271844" y="141732"/>
                    <a:pt x="267176" y="129730"/>
                  </a:cubicBezTo>
                  <a:cubicBezTo>
                    <a:pt x="262414" y="117729"/>
                    <a:pt x="256127" y="107347"/>
                    <a:pt x="248126" y="98679"/>
                  </a:cubicBezTo>
                  <a:cubicBezTo>
                    <a:pt x="240125" y="89916"/>
                    <a:pt x="230600" y="82963"/>
                    <a:pt x="219551" y="77819"/>
                  </a:cubicBezTo>
                  <a:cubicBezTo>
                    <a:pt x="208502" y="72676"/>
                    <a:pt x="195834" y="70009"/>
                    <a:pt x="181737" y="70009"/>
                  </a:cubicBezTo>
                  <a:cubicBezTo>
                    <a:pt x="155353" y="70009"/>
                    <a:pt x="133541" y="79057"/>
                    <a:pt x="116396" y="97250"/>
                  </a:cubicBezTo>
                  <a:cubicBezTo>
                    <a:pt x="99155" y="115348"/>
                    <a:pt x="88678" y="139065"/>
                    <a:pt x="84963" y="168307"/>
                  </a:cubicBezTo>
                  <a:lnTo>
                    <a:pt x="276511" y="168307"/>
                  </a:lnTo>
                  <a:close/>
                </a:path>
              </a:pathLst>
            </a:custGeom>
            <a:solidFill>
              <a:srgbClr val="44505E"/>
            </a:solidFill>
            <a:ln w="9525" cap="flat">
              <a:noFill/>
              <a:prstDash val="solid"/>
              <a:miter/>
            </a:ln>
          </p:spPr>
          <p:txBody>
            <a:bodyPr rtlCol="0" anchor="ctr"/>
            <a:lstStyle/>
            <a:p>
              <a:endParaRPr lang="pt-BR" noProof="0"/>
            </a:p>
          </p:txBody>
        </p:sp>
        <p:sp>
          <p:nvSpPr>
            <p:cNvPr id="22" name="Freeform: Shape 21">
              <a:extLst>
                <a:ext uri="{FF2B5EF4-FFF2-40B4-BE49-F238E27FC236}">
                  <a16:creationId xmlns:a16="http://schemas.microsoft.com/office/drawing/2014/main" id="{82D32145-3D76-AB1C-6E44-64AE885BB2F4}"/>
                </a:ext>
              </a:extLst>
            </p:cNvPr>
            <p:cNvSpPr/>
            <p:nvPr/>
          </p:nvSpPr>
          <p:spPr>
            <a:xfrm>
              <a:off x="5365659"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5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8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3 w 568166"/>
                <a:gd name="connsiteY21" fmla="*/ 381000 h 381000"/>
                <a:gd name="connsiteX22" fmla="*/ 240983 w 568166"/>
                <a:gd name="connsiteY22" fmla="*/ 168783 h 381000"/>
                <a:gd name="connsiteX23" fmla="*/ 221266 w 568166"/>
                <a:gd name="connsiteY23" fmla="*/ 101822 h 381000"/>
                <a:gd name="connsiteX24" fmla="*/ 165640 w 568166"/>
                <a:gd name="connsiteY24" fmla="*/ 78581 h 381000"/>
                <a:gd name="connsiteX25" fmla="*/ 108014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70" y="48196"/>
                    <a:pt x="105918" y="40576"/>
                  </a:cubicBezTo>
                  <a:cubicBezTo>
                    <a:pt x="112967" y="32956"/>
                    <a:pt x="121063" y="26099"/>
                    <a:pt x="130207" y="19907"/>
                  </a:cubicBezTo>
                  <a:cubicBezTo>
                    <a:pt x="139351" y="13716"/>
                    <a:pt x="149733" y="8858"/>
                    <a:pt x="161163" y="5334"/>
                  </a:cubicBezTo>
                  <a:cubicBezTo>
                    <a:pt x="172688" y="1714"/>
                    <a:pt x="185452" y="0"/>
                    <a:pt x="199549" y="0"/>
                  </a:cubicBezTo>
                  <a:cubicBezTo>
                    <a:pt x="226314" y="0"/>
                    <a:pt x="248984" y="6096"/>
                    <a:pt x="267557" y="18193"/>
                  </a:cubicBezTo>
                  <a:cubicBezTo>
                    <a:pt x="286131" y="30289"/>
                    <a:pt x="300323" y="46387"/>
                    <a:pt x="310134" y="66294"/>
                  </a:cubicBezTo>
                  <a:cubicBezTo>
                    <a:pt x="325279" y="46387"/>
                    <a:pt x="343091" y="30289"/>
                    <a:pt x="363665" y="18193"/>
                  </a:cubicBezTo>
                  <a:cubicBezTo>
                    <a:pt x="384239" y="6096"/>
                    <a:pt x="408718" y="0"/>
                    <a:pt x="437007" y="0"/>
                  </a:cubicBezTo>
                  <a:cubicBezTo>
                    <a:pt x="478060"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8" y="78486"/>
                  </a:cubicBezTo>
                  <a:cubicBezTo>
                    <a:pt x="382810" y="78486"/>
                    <a:pt x="364141" y="86392"/>
                    <a:pt x="349377" y="102108"/>
                  </a:cubicBezTo>
                  <a:cubicBezTo>
                    <a:pt x="334613" y="117824"/>
                    <a:pt x="327184" y="140779"/>
                    <a:pt x="327184" y="170879"/>
                  </a:cubicBezTo>
                  <a:lnTo>
                    <a:pt x="327184" y="381000"/>
                  </a:lnTo>
                  <a:lnTo>
                    <a:pt x="240983" y="381000"/>
                  </a:lnTo>
                  <a:lnTo>
                    <a:pt x="240983" y="168783"/>
                  </a:lnTo>
                  <a:cubicBezTo>
                    <a:pt x="240983" y="139637"/>
                    <a:pt x="234410" y="117348"/>
                    <a:pt x="221266" y="101822"/>
                  </a:cubicBezTo>
                  <a:cubicBezTo>
                    <a:pt x="208121" y="86296"/>
                    <a:pt x="189643" y="78581"/>
                    <a:pt x="165640" y="78581"/>
                  </a:cubicBezTo>
                  <a:cubicBezTo>
                    <a:pt x="141637" y="78581"/>
                    <a:pt x="122492" y="86773"/>
                    <a:pt x="108014"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23" name="Freeform: Shape 22">
              <a:extLst>
                <a:ext uri="{FF2B5EF4-FFF2-40B4-BE49-F238E27FC236}">
                  <a16:creationId xmlns:a16="http://schemas.microsoft.com/office/drawing/2014/main" id="{1C5AA2CB-A072-6530-EE42-01EB951697B9}"/>
                </a:ext>
              </a:extLst>
            </p:cNvPr>
            <p:cNvSpPr/>
            <p:nvPr/>
          </p:nvSpPr>
          <p:spPr>
            <a:xfrm>
              <a:off x="5587693" y="700007"/>
              <a:ext cx="84211" cy="95752"/>
            </a:xfrm>
            <a:custGeom>
              <a:avLst/>
              <a:gdLst>
                <a:gd name="connsiteX0" fmla="*/ 95 w 334994"/>
                <a:gd name="connsiteY0" fmla="*/ 7715 h 380904"/>
                <a:gd name="connsiteX1" fmla="*/ 86296 w 334994"/>
                <a:gd name="connsiteY1" fmla="*/ 7715 h 380904"/>
                <a:gd name="connsiteX2" fmla="*/ 86296 w 334994"/>
                <a:gd name="connsiteY2" fmla="*/ 66294 h 380904"/>
                <a:gd name="connsiteX3" fmla="*/ 106394 w 334994"/>
                <a:gd name="connsiteY3" fmla="*/ 40958 h 380904"/>
                <a:gd name="connsiteX4" fmla="*/ 131731 w 334994"/>
                <a:gd name="connsiteY4" fmla="*/ 19907 h 380904"/>
                <a:gd name="connsiteX5" fmla="*/ 163449 w 334994"/>
                <a:gd name="connsiteY5" fmla="*/ 5334 h 380904"/>
                <a:gd name="connsiteX6" fmla="*/ 202597 w 334994"/>
                <a:gd name="connsiteY6" fmla="*/ 0 h 380904"/>
                <a:gd name="connsiteX7" fmla="*/ 300514 w 334994"/>
                <a:gd name="connsiteY7" fmla="*/ 38862 h 380904"/>
                <a:gd name="connsiteX8" fmla="*/ 334994 w 334994"/>
                <a:gd name="connsiteY8" fmla="*/ 143446 h 380904"/>
                <a:gd name="connsiteX9" fmla="*/ 334994 w 334994"/>
                <a:gd name="connsiteY9" fmla="*/ 380905 h 380904"/>
                <a:gd name="connsiteX10" fmla="*/ 248793 w 334994"/>
                <a:gd name="connsiteY10" fmla="*/ 380905 h 380904"/>
                <a:gd name="connsiteX11" fmla="*/ 248793 w 334994"/>
                <a:gd name="connsiteY11" fmla="*/ 169450 h 380904"/>
                <a:gd name="connsiteX12" fmla="*/ 228124 w 334994"/>
                <a:gd name="connsiteY12" fmla="*/ 102108 h 380904"/>
                <a:gd name="connsiteX13" fmla="*/ 169640 w 334994"/>
                <a:gd name="connsiteY13" fmla="*/ 78486 h 380904"/>
                <a:gd name="connsiteX14" fmla="*/ 109347 w 334994"/>
                <a:gd name="connsiteY14" fmla="*/ 102775 h 380904"/>
                <a:gd name="connsiteX15" fmla="*/ 86201 w 334994"/>
                <a:gd name="connsiteY15" fmla="*/ 170783 h 380904"/>
                <a:gd name="connsiteX16" fmla="*/ 86201 w 334994"/>
                <a:gd name="connsiteY16" fmla="*/ 380905 h 380904"/>
                <a:gd name="connsiteX17" fmla="*/ 0 w 334994"/>
                <a:gd name="connsiteY17" fmla="*/ 380905 h 380904"/>
                <a:gd name="connsiteX18" fmla="*/ 0 w 334994"/>
                <a:gd name="connsiteY18" fmla="*/ 7810 h 38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94" h="380904">
                  <a:moveTo>
                    <a:pt x="95" y="7715"/>
                  </a:moveTo>
                  <a:lnTo>
                    <a:pt x="86296" y="7715"/>
                  </a:lnTo>
                  <a:lnTo>
                    <a:pt x="86296" y="66294"/>
                  </a:lnTo>
                  <a:cubicBezTo>
                    <a:pt x="92392" y="57245"/>
                    <a:pt x="99060" y="48863"/>
                    <a:pt x="106394" y="40958"/>
                  </a:cubicBezTo>
                  <a:cubicBezTo>
                    <a:pt x="113633" y="33147"/>
                    <a:pt x="122110" y="26099"/>
                    <a:pt x="131731" y="19907"/>
                  </a:cubicBezTo>
                  <a:cubicBezTo>
                    <a:pt x="141351" y="13716"/>
                    <a:pt x="151924" y="8858"/>
                    <a:pt x="163449" y="5334"/>
                  </a:cubicBezTo>
                  <a:cubicBezTo>
                    <a:pt x="174974" y="1714"/>
                    <a:pt x="188024" y="0"/>
                    <a:pt x="202597" y="0"/>
                  </a:cubicBezTo>
                  <a:cubicBezTo>
                    <a:pt x="244888" y="0"/>
                    <a:pt x="277559" y="12954"/>
                    <a:pt x="300514" y="38862"/>
                  </a:cubicBezTo>
                  <a:cubicBezTo>
                    <a:pt x="323564" y="64770"/>
                    <a:pt x="334994" y="99631"/>
                    <a:pt x="334994" y="143446"/>
                  </a:cubicBezTo>
                  <a:lnTo>
                    <a:pt x="334994" y="380905"/>
                  </a:lnTo>
                  <a:lnTo>
                    <a:pt x="248793" y="380905"/>
                  </a:lnTo>
                  <a:lnTo>
                    <a:pt x="248793" y="169450"/>
                  </a:lnTo>
                  <a:cubicBezTo>
                    <a:pt x="248793" y="140303"/>
                    <a:pt x="241935" y="117824"/>
                    <a:pt x="228124" y="102108"/>
                  </a:cubicBezTo>
                  <a:cubicBezTo>
                    <a:pt x="214313" y="86392"/>
                    <a:pt x="194881" y="78486"/>
                    <a:pt x="169640" y="78486"/>
                  </a:cubicBezTo>
                  <a:cubicBezTo>
                    <a:pt x="144399" y="78486"/>
                    <a:pt x="124777" y="86582"/>
                    <a:pt x="109347" y="102775"/>
                  </a:cubicBezTo>
                  <a:cubicBezTo>
                    <a:pt x="93917" y="118967"/>
                    <a:pt x="86201" y="141637"/>
                    <a:pt x="86201" y="170783"/>
                  </a:cubicBezTo>
                  <a:lnTo>
                    <a:pt x="86201" y="380905"/>
                  </a:lnTo>
                  <a:lnTo>
                    <a:pt x="0" y="380905"/>
                  </a:lnTo>
                  <a:lnTo>
                    <a:pt x="0" y="7810"/>
                  </a:lnTo>
                  <a:close/>
                </a:path>
              </a:pathLst>
            </a:custGeom>
            <a:solidFill>
              <a:srgbClr val="44505E"/>
            </a:solidFill>
            <a:ln w="9525" cap="flat">
              <a:noFill/>
              <a:prstDash val="solid"/>
              <a:miter/>
            </a:ln>
          </p:spPr>
          <p:txBody>
            <a:bodyPr rtlCol="0" anchor="ctr"/>
            <a:lstStyle/>
            <a:p>
              <a:endParaRPr lang="pt-BR" noProof="0"/>
            </a:p>
          </p:txBody>
        </p:sp>
        <p:sp>
          <p:nvSpPr>
            <p:cNvPr id="24" name="Freeform: Shape 23">
              <a:extLst>
                <a:ext uri="{FF2B5EF4-FFF2-40B4-BE49-F238E27FC236}">
                  <a16:creationId xmlns:a16="http://schemas.microsoft.com/office/drawing/2014/main" id="{75DF0F6D-DF62-76C4-C5C6-061E03C1AE86}"/>
                </a:ext>
              </a:extLst>
            </p:cNvPr>
            <p:cNvSpPr/>
            <p:nvPr/>
          </p:nvSpPr>
          <p:spPr>
            <a:xfrm>
              <a:off x="5692712" y="699959"/>
              <a:ext cx="100015" cy="97908"/>
            </a:xfrm>
            <a:custGeom>
              <a:avLst/>
              <a:gdLst>
                <a:gd name="connsiteX0" fmla="*/ 197834 w 397859"/>
                <a:gd name="connsiteY0" fmla="*/ 389477 h 389477"/>
                <a:gd name="connsiteX1" fmla="*/ 119063 w 397859"/>
                <a:gd name="connsiteY1" fmla="*/ 374237 h 389477"/>
                <a:gd name="connsiteX2" fmla="*/ 56197 w 397859"/>
                <a:gd name="connsiteY2" fmla="*/ 332899 h 389477"/>
                <a:gd name="connsiteX3" fmla="*/ 14859 w 397859"/>
                <a:gd name="connsiteY3" fmla="*/ 271463 h 389477"/>
                <a:gd name="connsiteX4" fmla="*/ 0 w 397859"/>
                <a:gd name="connsiteY4" fmla="*/ 196501 h 389477"/>
                <a:gd name="connsiteX5" fmla="*/ 0 w 397859"/>
                <a:gd name="connsiteY5" fmla="*/ 195072 h 389477"/>
                <a:gd name="connsiteX6" fmla="*/ 15145 w 397859"/>
                <a:gd name="connsiteY6" fmla="*/ 119444 h 389477"/>
                <a:gd name="connsiteX7" fmla="*/ 56864 w 397859"/>
                <a:gd name="connsiteY7" fmla="*/ 57626 h 389477"/>
                <a:gd name="connsiteX8" fmla="*/ 119729 w 397859"/>
                <a:gd name="connsiteY8" fmla="*/ 15526 h 389477"/>
                <a:gd name="connsiteX9" fmla="*/ 199263 w 397859"/>
                <a:gd name="connsiteY9" fmla="*/ 0 h 389477"/>
                <a:gd name="connsiteX10" fmla="*/ 278797 w 397859"/>
                <a:gd name="connsiteY10" fmla="*/ 15240 h 389477"/>
                <a:gd name="connsiteX11" fmla="*/ 341662 w 397859"/>
                <a:gd name="connsiteY11" fmla="*/ 56959 h 389477"/>
                <a:gd name="connsiteX12" fmla="*/ 383000 w 397859"/>
                <a:gd name="connsiteY12" fmla="*/ 118396 h 389477"/>
                <a:gd name="connsiteX13" fmla="*/ 397859 w 397859"/>
                <a:gd name="connsiteY13" fmla="*/ 193643 h 389477"/>
                <a:gd name="connsiteX14" fmla="*/ 397859 w 397859"/>
                <a:gd name="connsiteY14" fmla="*/ 195072 h 389477"/>
                <a:gd name="connsiteX15" fmla="*/ 382619 w 397859"/>
                <a:gd name="connsiteY15" fmla="*/ 270034 h 389477"/>
                <a:gd name="connsiteX16" fmla="*/ 340900 w 397859"/>
                <a:gd name="connsiteY16" fmla="*/ 331851 h 389477"/>
                <a:gd name="connsiteX17" fmla="*/ 277654 w 397859"/>
                <a:gd name="connsiteY17" fmla="*/ 373856 h 389477"/>
                <a:gd name="connsiteX18" fmla="*/ 197834 w 397859"/>
                <a:gd name="connsiteY18" fmla="*/ 389382 h 389477"/>
                <a:gd name="connsiteX19" fmla="*/ 199263 w 397859"/>
                <a:gd name="connsiteY19" fmla="*/ 315278 h 389477"/>
                <a:gd name="connsiteX20" fmla="*/ 245935 w 397859"/>
                <a:gd name="connsiteY20" fmla="*/ 305753 h 389477"/>
                <a:gd name="connsiteX21" fmla="*/ 281368 w 397859"/>
                <a:gd name="connsiteY21" fmla="*/ 279940 h 389477"/>
                <a:gd name="connsiteX22" fmla="*/ 303847 w 397859"/>
                <a:gd name="connsiteY22" fmla="*/ 242125 h 389477"/>
                <a:gd name="connsiteX23" fmla="*/ 311563 w 397859"/>
                <a:gd name="connsiteY23" fmla="*/ 196501 h 389477"/>
                <a:gd name="connsiteX24" fmla="*/ 311563 w 397859"/>
                <a:gd name="connsiteY24" fmla="*/ 195072 h 389477"/>
                <a:gd name="connsiteX25" fmla="*/ 303181 w 397859"/>
                <a:gd name="connsiteY25" fmla="*/ 148400 h 389477"/>
                <a:gd name="connsiteX26" fmla="*/ 279654 w 397859"/>
                <a:gd name="connsiteY26" fmla="*/ 110204 h 389477"/>
                <a:gd name="connsiteX27" fmla="*/ 243840 w 397859"/>
                <a:gd name="connsiteY27" fmla="*/ 84392 h 389477"/>
                <a:gd name="connsiteX28" fmla="*/ 197834 w 397859"/>
                <a:gd name="connsiteY28" fmla="*/ 74867 h 389477"/>
                <a:gd name="connsiteX29" fmla="*/ 151829 w 397859"/>
                <a:gd name="connsiteY29" fmla="*/ 84392 h 389477"/>
                <a:gd name="connsiteX30" fmla="*/ 116396 w 397859"/>
                <a:gd name="connsiteY30" fmla="*/ 109823 h 389477"/>
                <a:gd name="connsiteX31" fmla="*/ 93917 w 397859"/>
                <a:gd name="connsiteY31" fmla="*/ 147638 h 389477"/>
                <a:gd name="connsiteX32" fmla="*/ 86201 w 397859"/>
                <a:gd name="connsiteY32" fmla="*/ 193548 h 389477"/>
                <a:gd name="connsiteX33" fmla="*/ 86201 w 397859"/>
                <a:gd name="connsiteY33" fmla="*/ 194977 h 389477"/>
                <a:gd name="connsiteX34" fmla="*/ 94583 w 397859"/>
                <a:gd name="connsiteY34" fmla="*/ 241268 h 389477"/>
                <a:gd name="connsiteX35" fmla="*/ 118110 w 397859"/>
                <a:gd name="connsiteY35" fmla="*/ 279463 h 389477"/>
                <a:gd name="connsiteX36" fmla="*/ 153924 w 397859"/>
                <a:gd name="connsiteY36" fmla="*/ 305562 h 389477"/>
                <a:gd name="connsiteX37" fmla="*/ 199263 w 397859"/>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859" h="389477">
                  <a:moveTo>
                    <a:pt x="197834" y="389477"/>
                  </a:moveTo>
                  <a:cubicBezTo>
                    <a:pt x="169545" y="389477"/>
                    <a:pt x="143351" y="384429"/>
                    <a:pt x="119063" y="374237"/>
                  </a:cubicBezTo>
                  <a:cubicBezTo>
                    <a:pt x="94774" y="364141"/>
                    <a:pt x="73819" y="350330"/>
                    <a:pt x="56197" y="332899"/>
                  </a:cubicBezTo>
                  <a:cubicBezTo>
                    <a:pt x="38481" y="315468"/>
                    <a:pt x="24765" y="294989"/>
                    <a:pt x="14859" y="271463"/>
                  </a:cubicBezTo>
                  <a:cubicBezTo>
                    <a:pt x="4953" y="247936"/>
                    <a:pt x="0" y="222980"/>
                    <a:pt x="0" y="196501"/>
                  </a:cubicBezTo>
                  <a:lnTo>
                    <a:pt x="0" y="195072"/>
                  </a:lnTo>
                  <a:cubicBezTo>
                    <a:pt x="0" y="168212"/>
                    <a:pt x="5048" y="143066"/>
                    <a:pt x="15145" y="119444"/>
                  </a:cubicBezTo>
                  <a:cubicBezTo>
                    <a:pt x="25241" y="95917"/>
                    <a:pt x="39148" y="75248"/>
                    <a:pt x="56864" y="57626"/>
                  </a:cubicBezTo>
                  <a:cubicBezTo>
                    <a:pt x="74581" y="39910"/>
                    <a:pt x="95536" y="25908"/>
                    <a:pt x="119729" y="15526"/>
                  </a:cubicBezTo>
                  <a:cubicBezTo>
                    <a:pt x="144018" y="5144"/>
                    <a:pt x="170497" y="0"/>
                    <a:pt x="199263" y="0"/>
                  </a:cubicBezTo>
                  <a:cubicBezTo>
                    <a:pt x="228029" y="0"/>
                    <a:pt x="254508" y="5048"/>
                    <a:pt x="278797" y="15240"/>
                  </a:cubicBezTo>
                  <a:cubicBezTo>
                    <a:pt x="303085" y="25337"/>
                    <a:pt x="324041" y="39243"/>
                    <a:pt x="341662" y="56959"/>
                  </a:cubicBezTo>
                  <a:cubicBezTo>
                    <a:pt x="359378" y="74676"/>
                    <a:pt x="373094" y="95155"/>
                    <a:pt x="383000" y="118396"/>
                  </a:cubicBezTo>
                  <a:cubicBezTo>
                    <a:pt x="392906" y="141732"/>
                    <a:pt x="397859" y="166783"/>
                    <a:pt x="397859" y="193643"/>
                  </a:cubicBezTo>
                  <a:lnTo>
                    <a:pt x="397859" y="195072"/>
                  </a:lnTo>
                  <a:cubicBezTo>
                    <a:pt x="397859" y="221456"/>
                    <a:pt x="392811" y="246412"/>
                    <a:pt x="382619" y="270034"/>
                  </a:cubicBezTo>
                  <a:cubicBezTo>
                    <a:pt x="372523" y="293561"/>
                    <a:pt x="358616" y="314230"/>
                    <a:pt x="340900" y="331851"/>
                  </a:cubicBezTo>
                  <a:cubicBezTo>
                    <a:pt x="323183" y="349472"/>
                    <a:pt x="302133" y="363569"/>
                    <a:pt x="277654" y="373856"/>
                  </a:cubicBezTo>
                  <a:cubicBezTo>
                    <a:pt x="253175" y="384238"/>
                    <a:pt x="226504" y="389382"/>
                    <a:pt x="197834" y="389382"/>
                  </a:cubicBezTo>
                  <a:close/>
                  <a:moveTo>
                    <a:pt x="199263" y="315278"/>
                  </a:moveTo>
                  <a:cubicBezTo>
                    <a:pt x="216598" y="315278"/>
                    <a:pt x="232124" y="312039"/>
                    <a:pt x="245935" y="305753"/>
                  </a:cubicBezTo>
                  <a:cubicBezTo>
                    <a:pt x="259747" y="299371"/>
                    <a:pt x="271558" y="290798"/>
                    <a:pt x="281368" y="279940"/>
                  </a:cubicBezTo>
                  <a:cubicBezTo>
                    <a:pt x="291179" y="269081"/>
                    <a:pt x="298704" y="256508"/>
                    <a:pt x="303847" y="242125"/>
                  </a:cubicBezTo>
                  <a:cubicBezTo>
                    <a:pt x="308991" y="227743"/>
                    <a:pt x="311563" y="212598"/>
                    <a:pt x="311563" y="196501"/>
                  </a:cubicBezTo>
                  <a:lnTo>
                    <a:pt x="311563" y="195072"/>
                  </a:lnTo>
                  <a:cubicBezTo>
                    <a:pt x="311563" y="178594"/>
                    <a:pt x="308800" y="163068"/>
                    <a:pt x="303181" y="148400"/>
                  </a:cubicBezTo>
                  <a:cubicBezTo>
                    <a:pt x="297561" y="133826"/>
                    <a:pt x="289750" y="121063"/>
                    <a:pt x="279654" y="110204"/>
                  </a:cubicBezTo>
                  <a:cubicBezTo>
                    <a:pt x="269558" y="99346"/>
                    <a:pt x="257651" y="90773"/>
                    <a:pt x="243840" y="84392"/>
                  </a:cubicBezTo>
                  <a:cubicBezTo>
                    <a:pt x="230029" y="78010"/>
                    <a:pt x="214693" y="74867"/>
                    <a:pt x="197834" y="74867"/>
                  </a:cubicBezTo>
                  <a:cubicBezTo>
                    <a:pt x="180975" y="74867"/>
                    <a:pt x="165640" y="78010"/>
                    <a:pt x="151829" y="84392"/>
                  </a:cubicBezTo>
                  <a:cubicBezTo>
                    <a:pt x="138017" y="90773"/>
                    <a:pt x="126206" y="99250"/>
                    <a:pt x="116396" y="109823"/>
                  </a:cubicBezTo>
                  <a:cubicBezTo>
                    <a:pt x="106585" y="120396"/>
                    <a:pt x="99060" y="133064"/>
                    <a:pt x="93917" y="147638"/>
                  </a:cubicBezTo>
                  <a:cubicBezTo>
                    <a:pt x="88773" y="162211"/>
                    <a:pt x="86201" y="177546"/>
                    <a:pt x="86201" y="193548"/>
                  </a:cubicBezTo>
                  <a:lnTo>
                    <a:pt x="86201" y="194977"/>
                  </a:lnTo>
                  <a:cubicBezTo>
                    <a:pt x="86201" y="211455"/>
                    <a:pt x="88963" y="226886"/>
                    <a:pt x="94583" y="241268"/>
                  </a:cubicBezTo>
                  <a:cubicBezTo>
                    <a:pt x="100203" y="255651"/>
                    <a:pt x="108013" y="268319"/>
                    <a:pt x="118110" y="279463"/>
                  </a:cubicBezTo>
                  <a:cubicBezTo>
                    <a:pt x="128206" y="290513"/>
                    <a:pt x="140113" y="299275"/>
                    <a:pt x="153924" y="305562"/>
                  </a:cubicBezTo>
                  <a:cubicBezTo>
                    <a:pt x="167735" y="311944"/>
                    <a:pt x="182880"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25" name="Freeform: Shape 24">
              <a:extLst>
                <a:ext uri="{FF2B5EF4-FFF2-40B4-BE49-F238E27FC236}">
                  <a16:creationId xmlns:a16="http://schemas.microsoft.com/office/drawing/2014/main" id="{5ABECB0E-867B-23EE-611F-D47BC967FBDC}"/>
                </a:ext>
              </a:extLst>
            </p:cNvPr>
            <p:cNvSpPr/>
            <p:nvPr/>
          </p:nvSpPr>
          <p:spPr>
            <a:xfrm>
              <a:off x="5806925"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2 w 296894"/>
                <a:gd name="connsiteY36" fmla="*/ 224980 h 386714"/>
                <a:gd name="connsiteX37" fmla="*/ 296894 w 296894"/>
                <a:gd name="connsiteY37" fmla="*/ 267938 h 386714"/>
                <a:gd name="connsiteX38" fmla="*/ 296894 w 296894"/>
                <a:gd name="connsiteY38" fmla="*/ 269367 h 386714"/>
                <a:gd name="connsiteX39" fmla="*/ 286322 w 296894"/>
                <a:gd name="connsiteY39" fmla="*/ 320897 h 386714"/>
                <a:gd name="connsiteX40" fmla="*/ 256984 w 296894"/>
                <a:gd name="connsiteY40" fmla="*/ 357188 h 386714"/>
                <a:gd name="connsiteX41" fmla="*/ 212789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8" y="298704"/>
                    <a:pt x="100013" y="306514"/>
                  </a:cubicBezTo>
                  <a:cubicBezTo>
                    <a:pt x="120967" y="314325"/>
                    <a:pt x="141161" y="318135"/>
                    <a:pt x="160401" y="318135"/>
                  </a:cubicBezTo>
                  <a:cubicBezTo>
                    <a:pt x="179642" y="318135"/>
                    <a:pt x="192976"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2" y="241078"/>
                    <a:pt x="176498" y="237553"/>
                    <a:pt x="166402" y="234220"/>
                  </a:cubicBezTo>
                  <a:cubicBezTo>
                    <a:pt x="156305" y="230886"/>
                    <a:pt x="145733" y="227647"/>
                    <a:pt x="134969" y="224314"/>
                  </a:cubicBezTo>
                  <a:cubicBezTo>
                    <a:pt x="121253" y="220599"/>
                    <a:pt x="107537" y="216122"/>
                    <a:pt x="93631" y="210884"/>
                  </a:cubicBezTo>
                  <a:cubicBezTo>
                    <a:pt x="79724" y="205740"/>
                    <a:pt x="67246" y="198977"/>
                    <a:pt x="56197" y="190786"/>
                  </a:cubicBezTo>
                  <a:cubicBezTo>
                    <a:pt x="45149" y="182594"/>
                    <a:pt x="36100" y="172307"/>
                    <a:pt x="28956" y="160115"/>
                  </a:cubicBezTo>
                  <a:cubicBezTo>
                    <a:pt x="21908"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5"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7" y="156210"/>
                    <a:pt x="180975" y="159448"/>
                  </a:cubicBezTo>
                  <a:cubicBezTo>
                    <a:pt x="194596" y="163639"/>
                    <a:pt x="208312" y="168592"/>
                    <a:pt x="222028" y="174212"/>
                  </a:cubicBezTo>
                  <a:cubicBezTo>
                    <a:pt x="235649" y="179832"/>
                    <a:pt x="248031" y="186785"/>
                    <a:pt x="259080" y="194977"/>
                  </a:cubicBezTo>
                  <a:cubicBezTo>
                    <a:pt x="270129" y="203168"/>
                    <a:pt x="279273" y="213169"/>
                    <a:pt x="286322" y="224980"/>
                  </a:cubicBezTo>
                  <a:cubicBezTo>
                    <a:pt x="293370" y="236696"/>
                    <a:pt x="296894" y="251079"/>
                    <a:pt x="296894" y="267938"/>
                  </a:cubicBezTo>
                  <a:lnTo>
                    <a:pt x="296894" y="269367"/>
                  </a:lnTo>
                  <a:cubicBezTo>
                    <a:pt x="296894" y="289084"/>
                    <a:pt x="293370" y="306229"/>
                    <a:pt x="286322" y="320897"/>
                  </a:cubicBezTo>
                  <a:cubicBezTo>
                    <a:pt x="279273" y="335470"/>
                    <a:pt x="269462" y="347567"/>
                    <a:pt x="256984" y="357188"/>
                  </a:cubicBezTo>
                  <a:cubicBezTo>
                    <a:pt x="244507" y="366808"/>
                    <a:pt x="229743" y="374142"/>
                    <a:pt x="212789"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6" name="Freeform: Shape 25">
              <a:extLst>
                <a:ext uri="{FF2B5EF4-FFF2-40B4-BE49-F238E27FC236}">
                  <a16:creationId xmlns:a16="http://schemas.microsoft.com/office/drawing/2014/main" id="{13E3A888-8134-8F26-024E-56658FAE3B76}"/>
                </a:ext>
              </a:extLst>
            </p:cNvPr>
            <p:cNvSpPr/>
            <p:nvPr/>
          </p:nvSpPr>
          <p:spPr>
            <a:xfrm>
              <a:off x="589573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6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160" y="318135"/>
                    <a:pt x="160401" y="318135"/>
                  </a:cubicBezTo>
                  <a:cubicBezTo>
                    <a:pt x="179641" y="318135"/>
                    <a:pt x="192976"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4"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792"/>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7" name="Freeform: Shape 26">
              <a:extLst>
                <a:ext uri="{FF2B5EF4-FFF2-40B4-BE49-F238E27FC236}">
                  <a16:creationId xmlns:a16="http://schemas.microsoft.com/office/drawing/2014/main" id="{B6382948-55A6-1769-E497-B00C520C10C6}"/>
                </a:ext>
              </a:extLst>
            </p:cNvPr>
            <p:cNvSpPr/>
            <p:nvPr/>
          </p:nvSpPr>
          <p:spPr>
            <a:xfrm>
              <a:off x="5985812" y="700558"/>
              <a:ext cx="85097" cy="97141"/>
            </a:xfrm>
            <a:custGeom>
              <a:avLst/>
              <a:gdLst>
                <a:gd name="connsiteX0" fmla="*/ 253651 w 338518"/>
                <a:gd name="connsiteY0" fmla="*/ 378619 h 386429"/>
                <a:gd name="connsiteX1" fmla="*/ 253651 w 338518"/>
                <a:gd name="connsiteY1" fmla="*/ 332708 h 386429"/>
                <a:gd name="connsiteX2" fmla="*/ 204883 w 338518"/>
                <a:gd name="connsiteY2" fmla="*/ 370904 h 386429"/>
                <a:gd name="connsiteX3" fmla="*/ 132779 w 338518"/>
                <a:gd name="connsiteY3" fmla="*/ 386429 h 386429"/>
                <a:gd name="connsiteX4" fmla="*/ 81915 w 338518"/>
                <a:gd name="connsiteY4" fmla="*/ 379000 h 386429"/>
                <a:gd name="connsiteX5" fmla="*/ 39910 w 338518"/>
                <a:gd name="connsiteY5" fmla="*/ 357092 h 386429"/>
                <a:gd name="connsiteX6" fmla="*/ 10954 w 338518"/>
                <a:gd name="connsiteY6" fmla="*/ 321088 h 386429"/>
                <a:gd name="connsiteX7" fmla="*/ 0 w 338518"/>
                <a:gd name="connsiteY7" fmla="*/ 271272 h 386429"/>
                <a:gd name="connsiteX8" fmla="*/ 0 w 338518"/>
                <a:gd name="connsiteY8" fmla="*/ 269843 h 386429"/>
                <a:gd name="connsiteX9" fmla="*/ 11335 w 338518"/>
                <a:gd name="connsiteY9" fmla="*/ 215741 h 386429"/>
                <a:gd name="connsiteX10" fmla="*/ 42767 w 338518"/>
                <a:gd name="connsiteY10" fmla="*/ 177546 h 386429"/>
                <a:gd name="connsiteX11" fmla="*/ 90773 w 338518"/>
                <a:gd name="connsiteY11" fmla="*/ 154972 h 386429"/>
                <a:gd name="connsiteX12" fmla="*/ 151162 w 338518"/>
                <a:gd name="connsiteY12" fmla="*/ 147542 h 386429"/>
                <a:gd name="connsiteX13" fmla="*/ 208788 w 338518"/>
                <a:gd name="connsiteY13" fmla="*/ 151829 h 386429"/>
                <a:gd name="connsiteX14" fmla="*/ 254413 w 338518"/>
                <a:gd name="connsiteY14" fmla="*/ 163163 h 386429"/>
                <a:gd name="connsiteX15" fmla="*/ 254413 w 338518"/>
                <a:gd name="connsiteY15" fmla="*/ 156115 h 386429"/>
                <a:gd name="connsiteX16" fmla="*/ 230696 w 338518"/>
                <a:gd name="connsiteY16" fmla="*/ 96774 h 386429"/>
                <a:gd name="connsiteX17" fmla="*/ 162496 w 338518"/>
                <a:gd name="connsiteY17" fmla="*/ 76295 h 386429"/>
                <a:gd name="connsiteX18" fmla="*/ 106013 w 338518"/>
                <a:gd name="connsiteY18" fmla="*/ 82677 h 386429"/>
                <a:gd name="connsiteX19" fmla="*/ 55816 w 338518"/>
                <a:gd name="connsiteY19" fmla="*/ 99632 h 386429"/>
                <a:gd name="connsiteX20" fmla="*/ 32480 w 338518"/>
                <a:gd name="connsiteY20" fmla="*/ 31052 h 386429"/>
                <a:gd name="connsiteX21" fmla="*/ 96107 w 338518"/>
                <a:gd name="connsiteY21" fmla="*/ 8477 h 386429"/>
                <a:gd name="connsiteX22" fmla="*/ 174593 w 338518"/>
                <a:gd name="connsiteY22" fmla="*/ 0 h 386429"/>
                <a:gd name="connsiteX23" fmla="*/ 298228 w 338518"/>
                <a:gd name="connsiteY23" fmla="*/ 41338 h 386429"/>
                <a:gd name="connsiteX24" fmla="*/ 338519 w 338518"/>
                <a:gd name="connsiteY24" fmla="*/ 157544 h 386429"/>
                <a:gd name="connsiteX25" fmla="*/ 338519 w 338518"/>
                <a:gd name="connsiteY25" fmla="*/ 378714 h 386429"/>
                <a:gd name="connsiteX26" fmla="*/ 253746 w 338518"/>
                <a:gd name="connsiteY26" fmla="*/ 378714 h 386429"/>
                <a:gd name="connsiteX27" fmla="*/ 255746 w 338518"/>
                <a:gd name="connsiteY27" fmla="*/ 222409 h 386429"/>
                <a:gd name="connsiteX28" fmla="*/ 217265 w 338518"/>
                <a:gd name="connsiteY28" fmla="*/ 211836 h 386429"/>
                <a:gd name="connsiteX29" fmla="*/ 170307 w 338518"/>
                <a:gd name="connsiteY29" fmla="*/ 207550 h 386429"/>
                <a:gd name="connsiteX30" fmla="*/ 107442 w 338518"/>
                <a:gd name="connsiteY30" fmla="*/ 223075 h 386429"/>
                <a:gd name="connsiteX31" fmla="*/ 84868 w 338518"/>
                <a:gd name="connsiteY31" fmla="*/ 265462 h 386429"/>
                <a:gd name="connsiteX32" fmla="*/ 84868 w 338518"/>
                <a:gd name="connsiteY32" fmla="*/ 266891 h 386429"/>
                <a:gd name="connsiteX33" fmla="*/ 105728 w 338518"/>
                <a:gd name="connsiteY33" fmla="*/ 307848 h 386429"/>
                <a:gd name="connsiteX34" fmla="*/ 156972 w 338518"/>
                <a:gd name="connsiteY34" fmla="*/ 321945 h 386429"/>
                <a:gd name="connsiteX35" fmla="*/ 196215 w 338518"/>
                <a:gd name="connsiteY35" fmla="*/ 316325 h 386429"/>
                <a:gd name="connsiteX36" fmla="*/ 227647 w 338518"/>
                <a:gd name="connsiteY36" fmla="*/ 300419 h 386429"/>
                <a:gd name="connsiteX37" fmla="*/ 248507 w 338518"/>
                <a:gd name="connsiteY37" fmla="*/ 275654 h 386429"/>
                <a:gd name="connsiteX38" fmla="*/ 255937 w 338518"/>
                <a:gd name="connsiteY38" fmla="*/ 243459 h 386429"/>
                <a:gd name="connsiteX39" fmla="*/ 255937 w 338518"/>
                <a:gd name="connsiteY39" fmla="*/ 222218 h 3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8518" h="386429">
                  <a:moveTo>
                    <a:pt x="253651" y="378619"/>
                  </a:moveTo>
                  <a:lnTo>
                    <a:pt x="253651" y="332708"/>
                  </a:lnTo>
                  <a:cubicBezTo>
                    <a:pt x="240887" y="347758"/>
                    <a:pt x="224695" y="360521"/>
                    <a:pt x="204883" y="370904"/>
                  </a:cubicBezTo>
                  <a:cubicBezTo>
                    <a:pt x="185071" y="381286"/>
                    <a:pt x="161068" y="386429"/>
                    <a:pt x="132779" y="386429"/>
                  </a:cubicBezTo>
                  <a:cubicBezTo>
                    <a:pt x="114871" y="386429"/>
                    <a:pt x="97917" y="383953"/>
                    <a:pt x="81915" y="379000"/>
                  </a:cubicBezTo>
                  <a:cubicBezTo>
                    <a:pt x="65913" y="374047"/>
                    <a:pt x="51911" y="366713"/>
                    <a:pt x="39910" y="357092"/>
                  </a:cubicBezTo>
                  <a:cubicBezTo>
                    <a:pt x="27908" y="347472"/>
                    <a:pt x="18193" y="335471"/>
                    <a:pt x="10954" y="321088"/>
                  </a:cubicBezTo>
                  <a:cubicBezTo>
                    <a:pt x="3620" y="306705"/>
                    <a:pt x="0" y="290132"/>
                    <a:pt x="0" y="271272"/>
                  </a:cubicBezTo>
                  <a:lnTo>
                    <a:pt x="0" y="269843"/>
                  </a:lnTo>
                  <a:cubicBezTo>
                    <a:pt x="0" y="249079"/>
                    <a:pt x="3810" y="231077"/>
                    <a:pt x="11335" y="215741"/>
                  </a:cubicBezTo>
                  <a:cubicBezTo>
                    <a:pt x="18859" y="200406"/>
                    <a:pt x="29337" y="187738"/>
                    <a:pt x="42767" y="177546"/>
                  </a:cubicBezTo>
                  <a:cubicBezTo>
                    <a:pt x="56197" y="167450"/>
                    <a:pt x="72199" y="159925"/>
                    <a:pt x="90773" y="154972"/>
                  </a:cubicBezTo>
                  <a:cubicBezTo>
                    <a:pt x="109347" y="150019"/>
                    <a:pt x="129540" y="147542"/>
                    <a:pt x="151162" y="147542"/>
                  </a:cubicBezTo>
                  <a:cubicBezTo>
                    <a:pt x="172783" y="147542"/>
                    <a:pt x="192976" y="148971"/>
                    <a:pt x="208788" y="151829"/>
                  </a:cubicBezTo>
                  <a:cubicBezTo>
                    <a:pt x="224599" y="154686"/>
                    <a:pt x="239744" y="158401"/>
                    <a:pt x="254413" y="163163"/>
                  </a:cubicBezTo>
                  <a:lnTo>
                    <a:pt x="254413" y="156115"/>
                  </a:lnTo>
                  <a:cubicBezTo>
                    <a:pt x="254413" y="130207"/>
                    <a:pt x="246507" y="110395"/>
                    <a:pt x="230696" y="96774"/>
                  </a:cubicBezTo>
                  <a:cubicBezTo>
                    <a:pt x="214884" y="83153"/>
                    <a:pt x="192214" y="76295"/>
                    <a:pt x="162496" y="76295"/>
                  </a:cubicBezTo>
                  <a:cubicBezTo>
                    <a:pt x="141351" y="76295"/>
                    <a:pt x="122491" y="78391"/>
                    <a:pt x="106013" y="82677"/>
                  </a:cubicBezTo>
                  <a:cubicBezTo>
                    <a:pt x="89535" y="86963"/>
                    <a:pt x="72771" y="92583"/>
                    <a:pt x="55816" y="99632"/>
                  </a:cubicBezTo>
                  <a:lnTo>
                    <a:pt x="32480" y="31052"/>
                  </a:lnTo>
                  <a:cubicBezTo>
                    <a:pt x="53149" y="21622"/>
                    <a:pt x="74390" y="14097"/>
                    <a:pt x="96107" y="8477"/>
                  </a:cubicBezTo>
                  <a:cubicBezTo>
                    <a:pt x="117729" y="2858"/>
                    <a:pt x="143923" y="0"/>
                    <a:pt x="174593" y="0"/>
                  </a:cubicBezTo>
                  <a:cubicBezTo>
                    <a:pt x="230124" y="0"/>
                    <a:pt x="271367" y="13811"/>
                    <a:pt x="298228" y="41338"/>
                  </a:cubicBezTo>
                  <a:cubicBezTo>
                    <a:pt x="325088" y="68866"/>
                    <a:pt x="338519" y="107633"/>
                    <a:pt x="338519" y="157544"/>
                  </a:cubicBezTo>
                  <a:lnTo>
                    <a:pt x="338519" y="378714"/>
                  </a:lnTo>
                  <a:lnTo>
                    <a:pt x="253746" y="378714"/>
                  </a:lnTo>
                  <a:close/>
                  <a:moveTo>
                    <a:pt x="255746" y="222409"/>
                  </a:moveTo>
                  <a:cubicBezTo>
                    <a:pt x="244888" y="218123"/>
                    <a:pt x="232029" y="214598"/>
                    <a:pt x="217265" y="211836"/>
                  </a:cubicBezTo>
                  <a:cubicBezTo>
                    <a:pt x="202406" y="208979"/>
                    <a:pt x="186785" y="207550"/>
                    <a:pt x="170307" y="207550"/>
                  </a:cubicBezTo>
                  <a:cubicBezTo>
                    <a:pt x="143446" y="207550"/>
                    <a:pt x="122491" y="212693"/>
                    <a:pt x="107442" y="223075"/>
                  </a:cubicBezTo>
                  <a:cubicBezTo>
                    <a:pt x="92392" y="233458"/>
                    <a:pt x="84868" y="247555"/>
                    <a:pt x="84868" y="265462"/>
                  </a:cubicBezTo>
                  <a:lnTo>
                    <a:pt x="84868" y="266891"/>
                  </a:lnTo>
                  <a:cubicBezTo>
                    <a:pt x="84868" y="284798"/>
                    <a:pt x="91821" y="298418"/>
                    <a:pt x="105728" y="307848"/>
                  </a:cubicBezTo>
                  <a:cubicBezTo>
                    <a:pt x="119634" y="317278"/>
                    <a:pt x="136684" y="321945"/>
                    <a:pt x="156972" y="321945"/>
                  </a:cubicBezTo>
                  <a:cubicBezTo>
                    <a:pt x="171069" y="321945"/>
                    <a:pt x="184213" y="320040"/>
                    <a:pt x="196215" y="316325"/>
                  </a:cubicBezTo>
                  <a:cubicBezTo>
                    <a:pt x="208216" y="312515"/>
                    <a:pt x="218694" y="307277"/>
                    <a:pt x="227647" y="300419"/>
                  </a:cubicBezTo>
                  <a:cubicBezTo>
                    <a:pt x="236601" y="293561"/>
                    <a:pt x="243554" y="285369"/>
                    <a:pt x="248507" y="275654"/>
                  </a:cubicBezTo>
                  <a:cubicBezTo>
                    <a:pt x="253460" y="266033"/>
                    <a:pt x="255937" y="255270"/>
                    <a:pt x="255937" y="243459"/>
                  </a:cubicBezTo>
                  <a:lnTo>
                    <a:pt x="255937" y="222218"/>
                  </a:lnTo>
                  <a:close/>
                </a:path>
              </a:pathLst>
            </a:custGeom>
            <a:solidFill>
              <a:srgbClr val="44505E"/>
            </a:solidFill>
            <a:ln w="9525" cap="flat">
              <a:noFill/>
              <a:prstDash val="solid"/>
              <a:miter/>
            </a:ln>
          </p:spPr>
          <p:txBody>
            <a:bodyPr rtlCol="0" anchor="ctr"/>
            <a:lstStyle/>
            <a:p>
              <a:endParaRPr lang="pt-BR" noProof="0"/>
            </a:p>
          </p:txBody>
        </p:sp>
        <p:sp>
          <p:nvSpPr>
            <p:cNvPr id="28" name="Freeform: Shape 27">
              <a:extLst>
                <a:ext uri="{FF2B5EF4-FFF2-40B4-BE49-F238E27FC236}">
                  <a16:creationId xmlns:a16="http://schemas.microsoft.com/office/drawing/2014/main" id="{1B65CE3F-FD2B-811E-EF86-8C45658F22CB}"/>
                </a:ext>
              </a:extLst>
            </p:cNvPr>
            <p:cNvSpPr/>
            <p:nvPr/>
          </p:nvSpPr>
          <p:spPr>
            <a:xfrm>
              <a:off x="6088843" y="700318"/>
              <a:ext cx="74610" cy="97213"/>
            </a:xfrm>
            <a:custGeom>
              <a:avLst/>
              <a:gdLst>
                <a:gd name="connsiteX0" fmla="*/ 158305 w 296799"/>
                <a:gd name="connsiteY0" fmla="*/ 386715 h 386714"/>
                <a:gd name="connsiteX1" fmla="*/ 76676 w 296799"/>
                <a:gd name="connsiteY1" fmla="*/ 372427 h 386714"/>
                <a:gd name="connsiteX2" fmla="*/ 0 w 296799"/>
                <a:gd name="connsiteY2" fmla="*/ 330327 h 386714"/>
                <a:gd name="connsiteX3" fmla="*/ 38195 w 296799"/>
                <a:gd name="connsiteY3" fmla="*/ 272224 h 386714"/>
                <a:gd name="connsiteX4" fmla="*/ 100013 w 296799"/>
                <a:gd name="connsiteY4" fmla="*/ 306514 h 386714"/>
                <a:gd name="connsiteX5" fmla="*/ 160401 w 296799"/>
                <a:gd name="connsiteY5" fmla="*/ 318135 h 386714"/>
                <a:gd name="connsiteX6" fmla="*/ 203168 w 296799"/>
                <a:gd name="connsiteY6" fmla="*/ 307181 h 386714"/>
                <a:gd name="connsiteX7" fmla="*/ 218408 w 296799"/>
                <a:gd name="connsiteY7" fmla="*/ 277939 h 386714"/>
                <a:gd name="connsiteX8" fmla="*/ 218408 w 296799"/>
                <a:gd name="connsiteY8" fmla="*/ 276511 h 386714"/>
                <a:gd name="connsiteX9" fmla="*/ 211646 w 296799"/>
                <a:gd name="connsiteY9" fmla="*/ 258223 h 386714"/>
                <a:gd name="connsiteX10" fmla="*/ 193262 w 296799"/>
                <a:gd name="connsiteY10" fmla="*/ 244792 h 386714"/>
                <a:gd name="connsiteX11" fmla="*/ 166402 w 296799"/>
                <a:gd name="connsiteY11" fmla="*/ 234220 h 386714"/>
                <a:gd name="connsiteX12" fmla="*/ 134969 w 296799"/>
                <a:gd name="connsiteY12" fmla="*/ 224314 h 386714"/>
                <a:gd name="connsiteX13" fmla="*/ 93631 w 296799"/>
                <a:gd name="connsiteY13" fmla="*/ 210884 h 386714"/>
                <a:gd name="connsiteX14" fmla="*/ 56197 w 296799"/>
                <a:gd name="connsiteY14" fmla="*/ 190786 h 386714"/>
                <a:gd name="connsiteX15" fmla="*/ 28956 w 296799"/>
                <a:gd name="connsiteY15" fmla="*/ 160115 h 386714"/>
                <a:gd name="connsiteX16" fmla="*/ 18383 w 296799"/>
                <a:gd name="connsiteY16" fmla="*/ 114967 h 386714"/>
                <a:gd name="connsiteX17" fmla="*/ 18383 w 296799"/>
                <a:gd name="connsiteY17" fmla="*/ 113538 h 386714"/>
                <a:gd name="connsiteX18" fmla="*/ 28575 w 296799"/>
                <a:gd name="connsiteY18" fmla="*/ 66294 h 386714"/>
                <a:gd name="connsiteX19" fmla="*/ 56864 w 296799"/>
                <a:gd name="connsiteY19" fmla="*/ 30385 h 386714"/>
                <a:gd name="connsiteX20" fmla="*/ 99250 w 296799"/>
                <a:gd name="connsiteY20" fmla="*/ 7810 h 386714"/>
                <a:gd name="connsiteX21" fmla="*/ 151162 w 296799"/>
                <a:gd name="connsiteY21" fmla="*/ 0 h 386714"/>
                <a:gd name="connsiteX22" fmla="*/ 222504 w 296799"/>
                <a:gd name="connsiteY22" fmla="*/ 11430 h 386714"/>
                <a:gd name="connsiteX23" fmla="*/ 288227 w 296799"/>
                <a:gd name="connsiteY23" fmla="*/ 42863 h 386714"/>
                <a:gd name="connsiteX24" fmla="*/ 254317 w 296799"/>
                <a:gd name="connsiteY24" fmla="*/ 103918 h 386714"/>
                <a:gd name="connsiteX25" fmla="*/ 199930 w 296799"/>
                <a:gd name="connsiteY25" fmla="*/ 78105 h 386714"/>
                <a:gd name="connsiteX26" fmla="*/ 149066 w 296799"/>
                <a:gd name="connsiteY26" fmla="*/ 68580 h 386714"/>
                <a:gd name="connsiteX27" fmla="*/ 110585 w 296799"/>
                <a:gd name="connsiteY27" fmla="*/ 79153 h 386714"/>
                <a:gd name="connsiteX28" fmla="*/ 96774 w 296799"/>
                <a:gd name="connsiteY28" fmla="*/ 105918 h 386714"/>
                <a:gd name="connsiteX29" fmla="*/ 96774 w 296799"/>
                <a:gd name="connsiteY29" fmla="*/ 107347 h 386714"/>
                <a:gd name="connsiteX30" fmla="*/ 103822 w 296799"/>
                <a:gd name="connsiteY30" fmla="*/ 124587 h 386714"/>
                <a:gd name="connsiteX31" fmla="*/ 122587 w 296799"/>
                <a:gd name="connsiteY31" fmla="*/ 138017 h 386714"/>
                <a:gd name="connsiteX32" fmla="*/ 149447 w 296799"/>
                <a:gd name="connsiteY32" fmla="*/ 149257 h 386714"/>
                <a:gd name="connsiteX33" fmla="*/ 180880 w 296799"/>
                <a:gd name="connsiteY33" fmla="*/ 159448 h 386714"/>
                <a:gd name="connsiteX34" fmla="*/ 221837 w 296799"/>
                <a:gd name="connsiteY34" fmla="*/ 174212 h 386714"/>
                <a:gd name="connsiteX35" fmla="*/ 258985 w 296799"/>
                <a:gd name="connsiteY35" fmla="*/ 194977 h 386714"/>
                <a:gd name="connsiteX36" fmla="*/ 286226 w 296799"/>
                <a:gd name="connsiteY36" fmla="*/ 224980 h 386714"/>
                <a:gd name="connsiteX37" fmla="*/ 296799 w 296799"/>
                <a:gd name="connsiteY37" fmla="*/ 267938 h 386714"/>
                <a:gd name="connsiteX38" fmla="*/ 296799 w 296799"/>
                <a:gd name="connsiteY38" fmla="*/ 269367 h 386714"/>
                <a:gd name="connsiteX39" fmla="*/ 286226 w 296799"/>
                <a:gd name="connsiteY39" fmla="*/ 320897 h 386714"/>
                <a:gd name="connsiteX40" fmla="*/ 256889 w 296799"/>
                <a:gd name="connsiteY40" fmla="*/ 357188 h 386714"/>
                <a:gd name="connsiteX41" fmla="*/ 212693 w 296799"/>
                <a:gd name="connsiteY41" fmla="*/ 379095 h 386714"/>
                <a:gd name="connsiteX42" fmla="*/ 158305 w 296799"/>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799"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065" y="318135"/>
                    <a:pt x="160401" y="318135"/>
                  </a:cubicBezTo>
                  <a:cubicBezTo>
                    <a:pt x="179737" y="318135"/>
                    <a:pt x="193072"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828" y="227647"/>
                    <a:pt x="134969" y="224314"/>
                  </a:cubicBezTo>
                  <a:cubicBezTo>
                    <a:pt x="121348" y="220599"/>
                    <a:pt x="107537" y="216122"/>
                    <a:pt x="93631" y="210884"/>
                  </a:cubicBezTo>
                  <a:cubicBezTo>
                    <a:pt x="79724" y="205740"/>
                    <a:pt x="67246" y="198977"/>
                    <a:pt x="56197" y="190786"/>
                  </a:cubicBezTo>
                  <a:cubicBezTo>
                    <a:pt x="45148" y="182594"/>
                    <a:pt x="36004"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874" y="0"/>
                    <a:pt x="151162" y="0"/>
                  </a:cubicBezTo>
                  <a:cubicBezTo>
                    <a:pt x="174688" y="0"/>
                    <a:pt x="198501" y="3810"/>
                    <a:pt x="222504" y="11430"/>
                  </a:cubicBezTo>
                  <a:cubicBezTo>
                    <a:pt x="246507" y="19050"/>
                    <a:pt x="268414" y="29527"/>
                    <a:pt x="288227" y="42863"/>
                  </a:cubicBezTo>
                  <a:lnTo>
                    <a:pt x="254317"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774" y="95155"/>
                    <a:pt x="96774" y="105918"/>
                  </a:cubicBezTo>
                  <a:lnTo>
                    <a:pt x="96774" y="107347"/>
                  </a:lnTo>
                  <a:cubicBezTo>
                    <a:pt x="96774" y="113919"/>
                    <a:pt x="99155" y="119634"/>
                    <a:pt x="103822" y="124587"/>
                  </a:cubicBezTo>
                  <a:cubicBezTo>
                    <a:pt x="108490" y="129540"/>
                    <a:pt x="114776" y="134017"/>
                    <a:pt x="122587" y="138017"/>
                  </a:cubicBezTo>
                  <a:cubicBezTo>
                    <a:pt x="130397" y="142018"/>
                    <a:pt x="139351" y="145732"/>
                    <a:pt x="149447" y="149257"/>
                  </a:cubicBezTo>
                  <a:cubicBezTo>
                    <a:pt x="159544" y="152781"/>
                    <a:pt x="170021" y="156210"/>
                    <a:pt x="180880" y="159448"/>
                  </a:cubicBezTo>
                  <a:cubicBezTo>
                    <a:pt x="194500" y="163639"/>
                    <a:pt x="208216" y="168592"/>
                    <a:pt x="221837" y="174212"/>
                  </a:cubicBezTo>
                  <a:cubicBezTo>
                    <a:pt x="235458" y="179832"/>
                    <a:pt x="247840" y="186785"/>
                    <a:pt x="258985" y="194977"/>
                  </a:cubicBezTo>
                  <a:cubicBezTo>
                    <a:pt x="270034" y="203168"/>
                    <a:pt x="279178" y="213169"/>
                    <a:pt x="286226" y="224980"/>
                  </a:cubicBezTo>
                  <a:cubicBezTo>
                    <a:pt x="293275" y="236696"/>
                    <a:pt x="296799" y="251079"/>
                    <a:pt x="296799" y="267938"/>
                  </a:cubicBezTo>
                  <a:lnTo>
                    <a:pt x="296799" y="269367"/>
                  </a:lnTo>
                  <a:cubicBezTo>
                    <a:pt x="296799" y="289084"/>
                    <a:pt x="293275" y="306229"/>
                    <a:pt x="286226" y="320897"/>
                  </a:cubicBezTo>
                  <a:cubicBezTo>
                    <a:pt x="279178" y="335470"/>
                    <a:pt x="269367" y="347567"/>
                    <a:pt x="256889" y="357188"/>
                  </a:cubicBezTo>
                  <a:cubicBezTo>
                    <a:pt x="244412" y="366808"/>
                    <a:pt x="229648" y="374142"/>
                    <a:pt x="212693" y="379095"/>
                  </a:cubicBezTo>
                  <a:cubicBezTo>
                    <a:pt x="195739" y="384048"/>
                    <a:pt x="177641" y="386524"/>
                    <a:pt x="158305" y="386524"/>
                  </a:cubicBezTo>
                  <a:close/>
                </a:path>
              </a:pathLst>
            </a:custGeom>
            <a:solidFill>
              <a:srgbClr val="44505E"/>
            </a:solidFill>
            <a:ln w="9525" cap="flat">
              <a:noFill/>
              <a:prstDash val="solid"/>
              <a:miter/>
            </a:ln>
          </p:spPr>
          <p:txBody>
            <a:bodyPr rtlCol="0" anchor="ctr"/>
            <a:lstStyle/>
            <a:p>
              <a:endParaRPr lang="pt-BR" noProof="0"/>
            </a:p>
          </p:txBody>
        </p:sp>
        <p:sp>
          <p:nvSpPr>
            <p:cNvPr id="29" name="Freeform: Shape 28">
              <a:extLst>
                <a:ext uri="{FF2B5EF4-FFF2-40B4-BE49-F238E27FC236}">
                  <a16:creationId xmlns:a16="http://schemas.microsoft.com/office/drawing/2014/main" id="{0B9973D3-E513-6588-D278-F3607FD320BD}"/>
                </a:ext>
              </a:extLst>
            </p:cNvPr>
            <p:cNvSpPr/>
            <p:nvPr/>
          </p:nvSpPr>
          <p:spPr>
            <a:xfrm>
              <a:off x="6238590"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4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7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2 w 568166"/>
                <a:gd name="connsiteY21" fmla="*/ 381000 h 381000"/>
                <a:gd name="connsiteX22" fmla="*/ 240982 w 568166"/>
                <a:gd name="connsiteY22" fmla="*/ 168783 h 381000"/>
                <a:gd name="connsiteX23" fmla="*/ 221266 w 568166"/>
                <a:gd name="connsiteY23" fmla="*/ 101822 h 381000"/>
                <a:gd name="connsiteX24" fmla="*/ 165640 w 568166"/>
                <a:gd name="connsiteY24" fmla="*/ 78581 h 381000"/>
                <a:gd name="connsiteX25" fmla="*/ 108013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69" y="48196"/>
                    <a:pt x="105918" y="40576"/>
                  </a:cubicBezTo>
                  <a:cubicBezTo>
                    <a:pt x="112966" y="32956"/>
                    <a:pt x="121063" y="26099"/>
                    <a:pt x="130207" y="19907"/>
                  </a:cubicBezTo>
                  <a:cubicBezTo>
                    <a:pt x="139351" y="13716"/>
                    <a:pt x="149638" y="8858"/>
                    <a:pt x="161163" y="5334"/>
                  </a:cubicBezTo>
                  <a:cubicBezTo>
                    <a:pt x="172688" y="1714"/>
                    <a:pt x="185452" y="0"/>
                    <a:pt x="199549" y="0"/>
                  </a:cubicBezTo>
                  <a:cubicBezTo>
                    <a:pt x="226314" y="0"/>
                    <a:pt x="248983" y="6096"/>
                    <a:pt x="267557" y="18193"/>
                  </a:cubicBezTo>
                  <a:cubicBezTo>
                    <a:pt x="286131" y="30289"/>
                    <a:pt x="300323" y="46387"/>
                    <a:pt x="310134" y="66294"/>
                  </a:cubicBezTo>
                  <a:cubicBezTo>
                    <a:pt x="325279" y="46387"/>
                    <a:pt x="343090" y="30289"/>
                    <a:pt x="363664" y="18193"/>
                  </a:cubicBezTo>
                  <a:cubicBezTo>
                    <a:pt x="384238" y="6096"/>
                    <a:pt x="408718" y="0"/>
                    <a:pt x="437007" y="0"/>
                  </a:cubicBezTo>
                  <a:cubicBezTo>
                    <a:pt x="478155"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7" y="78486"/>
                  </a:cubicBezTo>
                  <a:cubicBezTo>
                    <a:pt x="382809" y="78486"/>
                    <a:pt x="364141" y="86392"/>
                    <a:pt x="349377" y="102108"/>
                  </a:cubicBezTo>
                  <a:cubicBezTo>
                    <a:pt x="334613" y="117824"/>
                    <a:pt x="327184" y="140779"/>
                    <a:pt x="327184" y="170879"/>
                  </a:cubicBezTo>
                  <a:lnTo>
                    <a:pt x="327184" y="381000"/>
                  </a:lnTo>
                  <a:lnTo>
                    <a:pt x="240982" y="381000"/>
                  </a:lnTo>
                  <a:lnTo>
                    <a:pt x="240982" y="168783"/>
                  </a:lnTo>
                  <a:cubicBezTo>
                    <a:pt x="240982" y="139637"/>
                    <a:pt x="234410" y="117348"/>
                    <a:pt x="221266" y="101822"/>
                  </a:cubicBezTo>
                  <a:cubicBezTo>
                    <a:pt x="208121" y="86296"/>
                    <a:pt x="189547" y="78581"/>
                    <a:pt x="165640" y="78581"/>
                  </a:cubicBezTo>
                  <a:cubicBezTo>
                    <a:pt x="141732" y="78581"/>
                    <a:pt x="122491" y="86773"/>
                    <a:pt x="108013"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30" name="Freeform: Shape 29">
              <a:extLst>
                <a:ext uri="{FF2B5EF4-FFF2-40B4-BE49-F238E27FC236}">
                  <a16:creationId xmlns:a16="http://schemas.microsoft.com/office/drawing/2014/main" id="{982CDE6E-FAEE-6D12-F0E7-EC160640A37F}"/>
                </a:ext>
              </a:extLst>
            </p:cNvPr>
            <p:cNvSpPr/>
            <p:nvPr/>
          </p:nvSpPr>
          <p:spPr>
            <a:xfrm>
              <a:off x="6400979" y="664258"/>
              <a:ext cx="85097" cy="133441"/>
            </a:xfrm>
            <a:custGeom>
              <a:avLst/>
              <a:gdLst>
                <a:gd name="connsiteX0" fmla="*/ 253651 w 338518"/>
                <a:gd name="connsiteY0" fmla="*/ 523018 h 530828"/>
                <a:gd name="connsiteX1" fmla="*/ 253651 w 338518"/>
                <a:gd name="connsiteY1" fmla="*/ 477107 h 530828"/>
                <a:gd name="connsiteX2" fmla="*/ 204883 w 338518"/>
                <a:gd name="connsiteY2" fmla="*/ 515303 h 530828"/>
                <a:gd name="connsiteX3" fmla="*/ 132779 w 338518"/>
                <a:gd name="connsiteY3" fmla="*/ 530828 h 530828"/>
                <a:gd name="connsiteX4" fmla="*/ 81915 w 338518"/>
                <a:gd name="connsiteY4" fmla="*/ 523399 h 530828"/>
                <a:gd name="connsiteX5" fmla="*/ 39910 w 338518"/>
                <a:gd name="connsiteY5" fmla="*/ 501491 h 530828"/>
                <a:gd name="connsiteX6" fmla="*/ 10954 w 338518"/>
                <a:gd name="connsiteY6" fmla="*/ 465487 h 530828"/>
                <a:gd name="connsiteX7" fmla="*/ 0 w 338518"/>
                <a:gd name="connsiteY7" fmla="*/ 415671 h 530828"/>
                <a:gd name="connsiteX8" fmla="*/ 0 w 338518"/>
                <a:gd name="connsiteY8" fmla="*/ 414242 h 530828"/>
                <a:gd name="connsiteX9" fmla="*/ 11335 w 338518"/>
                <a:gd name="connsiteY9" fmla="*/ 360140 h 530828"/>
                <a:gd name="connsiteX10" fmla="*/ 42767 w 338518"/>
                <a:gd name="connsiteY10" fmla="*/ 321945 h 530828"/>
                <a:gd name="connsiteX11" fmla="*/ 90773 w 338518"/>
                <a:gd name="connsiteY11" fmla="*/ 299371 h 530828"/>
                <a:gd name="connsiteX12" fmla="*/ 151162 w 338518"/>
                <a:gd name="connsiteY12" fmla="*/ 291941 h 530828"/>
                <a:gd name="connsiteX13" fmla="*/ 208788 w 338518"/>
                <a:gd name="connsiteY13" fmla="*/ 296228 h 530828"/>
                <a:gd name="connsiteX14" fmla="*/ 254413 w 338518"/>
                <a:gd name="connsiteY14" fmla="*/ 307562 h 530828"/>
                <a:gd name="connsiteX15" fmla="*/ 254413 w 338518"/>
                <a:gd name="connsiteY15" fmla="*/ 300514 h 530828"/>
                <a:gd name="connsiteX16" fmla="*/ 230696 w 338518"/>
                <a:gd name="connsiteY16" fmla="*/ 241173 h 530828"/>
                <a:gd name="connsiteX17" fmla="*/ 162496 w 338518"/>
                <a:gd name="connsiteY17" fmla="*/ 220694 h 530828"/>
                <a:gd name="connsiteX18" fmla="*/ 106013 w 338518"/>
                <a:gd name="connsiteY18" fmla="*/ 227076 h 530828"/>
                <a:gd name="connsiteX19" fmla="*/ 55817 w 338518"/>
                <a:gd name="connsiteY19" fmla="*/ 244031 h 530828"/>
                <a:gd name="connsiteX20" fmla="*/ 32480 w 338518"/>
                <a:gd name="connsiteY20" fmla="*/ 175451 h 530828"/>
                <a:gd name="connsiteX21" fmla="*/ 96107 w 338518"/>
                <a:gd name="connsiteY21" fmla="*/ 152876 h 530828"/>
                <a:gd name="connsiteX22" fmla="*/ 174593 w 338518"/>
                <a:gd name="connsiteY22" fmla="*/ 144399 h 530828"/>
                <a:gd name="connsiteX23" fmla="*/ 298228 w 338518"/>
                <a:gd name="connsiteY23" fmla="*/ 185738 h 530828"/>
                <a:gd name="connsiteX24" fmla="*/ 338519 w 338518"/>
                <a:gd name="connsiteY24" fmla="*/ 301943 h 530828"/>
                <a:gd name="connsiteX25" fmla="*/ 338519 w 338518"/>
                <a:gd name="connsiteY25" fmla="*/ 523113 h 530828"/>
                <a:gd name="connsiteX26" fmla="*/ 253746 w 338518"/>
                <a:gd name="connsiteY26" fmla="*/ 523113 h 530828"/>
                <a:gd name="connsiteX27" fmla="*/ 45911 w 338518"/>
                <a:gd name="connsiteY27" fmla="*/ 95441 h 530828"/>
                <a:gd name="connsiteX28" fmla="*/ 75248 w 338518"/>
                <a:gd name="connsiteY28" fmla="*/ 29718 h 530828"/>
                <a:gd name="connsiteX29" fmla="*/ 125063 w 338518"/>
                <a:gd name="connsiteY29" fmla="*/ 7144 h 530828"/>
                <a:gd name="connsiteX30" fmla="*/ 154019 w 338518"/>
                <a:gd name="connsiteY30" fmla="*/ 11716 h 530828"/>
                <a:gd name="connsiteX31" fmla="*/ 181261 w 338518"/>
                <a:gd name="connsiteY31" fmla="*/ 21622 h 530828"/>
                <a:gd name="connsiteX32" fmla="*/ 205645 w 338518"/>
                <a:gd name="connsiteY32" fmla="*/ 31147 h 530828"/>
                <a:gd name="connsiteX33" fmla="*/ 226790 w 338518"/>
                <a:gd name="connsiteY33" fmla="*/ 35338 h 530828"/>
                <a:gd name="connsiteX34" fmla="*/ 250127 w 338518"/>
                <a:gd name="connsiteY34" fmla="*/ 26861 h 530828"/>
                <a:gd name="connsiteX35" fmla="*/ 265652 w 338518"/>
                <a:gd name="connsiteY35" fmla="*/ 0 h 530828"/>
                <a:gd name="connsiteX36" fmla="*/ 312991 w 338518"/>
                <a:gd name="connsiteY36" fmla="*/ 14859 h 530828"/>
                <a:gd name="connsiteX37" fmla="*/ 283655 w 338518"/>
                <a:gd name="connsiteY37" fmla="*/ 79820 h 530828"/>
                <a:gd name="connsiteX38" fmla="*/ 233839 w 338518"/>
                <a:gd name="connsiteY38" fmla="*/ 102394 h 530828"/>
                <a:gd name="connsiteX39" fmla="*/ 204883 w 338518"/>
                <a:gd name="connsiteY39" fmla="*/ 98203 h 530828"/>
                <a:gd name="connsiteX40" fmla="*/ 177641 w 338518"/>
                <a:gd name="connsiteY40" fmla="*/ 88678 h 530828"/>
                <a:gd name="connsiteX41" fmla="*/ 152876 w 338518"/>
                <a:gd name="connsiteY41" fmla="*/ 78772 h 530828"/>
                <a:gd name="connsiteX42" fmla="*/ 132017 w 338518"/>
                <a:gd name="connsiteY42" fmla="*/ 74200 h 530828"/>
                <a:gd name="connsiteX43" fmla="*/ 108680 w 338518"/>
                <a:gd name="connsiteY43" fmla="*/ 82677 h 530828"/>
                <a:gd name="connsiteX44" fmla="*/ 93154 w 338518"/>
                <a:gd name="connsiteY44" fmla="*/ 109538 h 530828"/>
                <a:gd name="connsiteX45" fmla="*/ 45815 w 338518"/>
                <a:gd name="connsiteY45" fmla="*/ 95441 h 530828"/>
                <a:gd name="connsiteX46" fmla="*/ 255842 w 338518"/>
                <a:gd name="connsiteY46" fmla="*/ 366808 h 530828"/>
                <a:gd name="connsiteX47" fmla="*/ 217361 w 338518"/>
                <a:gd name="connsiteY47" fmla="*/ 356235 h 530828"/>
                <a:gd name="connsiteX48" fmla="*/ 170402 w 338518"/>
                <a:gd name="connsiteY48" fmla="*/ 351949 h 530828"/>
                <a:gd name="connsiteX49" fmla="*/ 107537 w 338518"/>
                <a:gd name="connsiteY49" fmla="*/ 367475 h 530828"/>
                <a:gd name="connsiteX50" fmla="*/ 84963 w 338518"/>
                <a:gd name="connsiteY50" fmla="*/ 409861 h 530828"/>
                <a:gd name="connsiteX51" fmla="*/ 84963 w 338518"/>
                <a:gd name="connsiteY51" fmla="*/ 411290 h 530828"/>
                <a:gd name="connsiteX52" fmla="*/ 105823 w 338518"/>
                <a:gd name="connsiteY52" fmla="*/ 452247 h 530828"/>
                <a:gd name="connsiteX53" fmla="*/ 157067 w 338518"/>
                <a:gd name="connsiteY53" fmla="*/ 466344 h 530828"/>
                <a:gd name="connsiteX54" fmla="*/ 196310 w 338518"/>
                <a:gd name="connsiteY54" fmla="*/ 460724 h 530828"/>
                <a:gd name="connsiteX55" fmla="*/ 227743 w 338518"/>
                <a:gd name="connsiteY55" fmla="*/ 444818 h 530828"/>
                <a:gd name="connsiteX56" fmla="*/ 248603 w 338518"/>
                <a:gd name="connsiteY56" fmla="*/ 420053 h 530828"/>
                <a:gd name="connsiteX57" fmla="*/ 256032 w 338518"/>
                <a:gd name="connsiteY57" fmla="*/ 387858 h 530828"/>
                <a:gd name="connsiteX58" fmla="*/ 256032 w 338518"/>
                <a:gd name="connsiteY58" fmla="*/ 366617 h 5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8518" h="530828">
                  <a:moveTo>
                    <a:pt x="253651" y="523018"/>
                  </a:moveTo>
                  <a:lnTo>
                    <a:pt x="253651" y="477107"/>
                  </a:lnTo>
                  <a:cubicBezTo>
                    <a:pt x="240887" y="492157"/>
                    <a:pt x="224695" y="504920"/>
                    <a:pt x="204883" y="515303"/>
                  </a:cubicBezTo>
                  <a:cubicBezTo>
                    <a:pt x="185071" y="525685"/>
                    <a:pt x="161068" y="530828"/>
                    <a:pt x="132779" y="530828"/>
                  </a:cubicBezTo>
                  <a:cubicBezTo>
                    <a:pt x="114871" y="530828"/>
                    <a:pt x="97917" y="528352"/>
                    <a:pt x="81915" y="523399"/>
                  </a:cubicBezTo>
                  <a:cubicBezTo>
                    <a:pt x="65913" y="518446"/>
                    <a:pt x="51911" y="511112"/>
                    <a:pt x="39910" y="501491"/>
                  </a:cubicBezTo>
                  <a:cubicBezTo>
                    <a:pt x="27908" y="491871"/>
                    <a:pt x="18193" y="479870"/>
                    <a:pt x="10954" y="465487"/>
                  </a:cubicBezTo>
                  <a:cubicBezTo>
                    <a:pt x="3620" y="451104"/>
                    <a:pt x="0" y="434531"/>
                    <a:pt x="0" y="415671"/>
                  </a:cubicBezTo>
                  <a:lnTo>
                    <a:pt x="0" y="414242"/>
                  </a:lnTo>
                  <a:cubicBezTo>
                    <a:pt x="0" y="393478"/>
                    <a:pt x="3810" y="375476"/>
                    <a:pt x="11335" y="360140"/>
                  </a:cubicBezTo>
                  <a:cubicBezTo>
                    <a:pt x="18860" y="344805"/>
                    <a:pt x="29337" y="332137"/>
                    <a:pt x="42767" y="321945"/>
                  </a:cubicBezTo>
                  <a:cubicBezTo>
                    <a:pt x="56198" y="311849"/>
                    <a:pt x="72200" y="304324"/>
                    <a:pt x="90773" y="299371"/>
                  </a:cubicBezTo>
                  <a:cubicBezTo>
                    <a:pt x="109347" y="294418"/>
                    <a:pt x="129540" y="291941"/>
                    <a:pt x="151162" y="291941"/>
                  </a:cubicBezTo>
                  <a:cubicBezTo>
                    <a:pt x="172784" y="291941"/>
                    <a:pt x="192977" y="293370"/>
                    <a:pt x="208788" y="296228"/>
                  </a:cubicBezTo>
                  <a:cubicBezTo>
                    <a:pt x="224600" y="299085"/>
                    <a:pt x="239744" y="302800"/>
                    <a:pt x="254413" y="307562"/>
                  </a:cubicBezTo>
                  <a:lnTo>
                    <a:pt x="254413" y="300514"/>
                  </a:lnTo>
                  <a:cubicBezTo>
                    <a:pt x="254413" y="274606"/>
                    <a:pt x="246507" y="254794"/>
                    <a:pt x="230696" y="241173"/>
                  </a:cubicBezTo>
                  <a:cubicBezTo>
                    <a:pt x="214884" y="227552"/>
                    <a:pt x="192215" y="220694"/>
                    <a:pt x="162496" y="220694"/>
                  </a:cubicBezTo>
                  <a:cubicBezTo>
                    <a:pt x="141351" y="220694"/>
                    <a:pt x="122492" y="222790"/>
                    <a:pt x="106013" y="227076"/>
                  </a:cubicBezTo>
                  <a:cubicBezTo>
                    <a:pt x="89535" y="231362"/>
                    <a:pt x="72771" y="236982"/>
                    <a:pt x="55817" y="244031"/>
                  </a:cubicBezTo>
                  <a:lnTo>
                    <a:pt x="32480" y="175451"/>
                  </a:lnTo>
                  <a:cubicBezTo>
                    <a:pt x="53150" y="166021"/>
                    <a:pt x="74390" y="158496"/>
                    <a:pt x="96107" y="152876"/>
                  </a:cubicBezTo>
                  <a:cubicBezTo>
                    <a:pt x="117729" y="147257"/>
                    <a:pt x="143923" y="144399"/>
                    <a:pt x="174593" y="144399"/>
                  </a:cubicBezTo>
                  <a:cubicBezTo>
                    <a:pt x="230124" y="144399"/>
                    <a:pt x="271367" y="158210"/>
                    <a:pt x="298228" y="185738"/>
                  </a:cubicBezTo>
                  <a:cubicBezTo>
                    <a:pt x="325088" y="213265"/>
                    <a:pt x="338519" y="252032"/>
                    <a:pt x="338519" y="301943"/>
                  </a:cubicBezTo>
                  <a:lnTo>
                    <a:pt x="338519" y="523113"/>
                  </a:lnTo>
                  <a:lnTo>
                    <a:pt x="253746" y="523113"/>
                  </a:lnTo>
                  <a:close/>
                  <a:moveTo>
                    <a:pt x="45911" y="95441"/>
                  </a:moveTo>
                  <a:cubicBezTo>
                    <a:pt x="53912" y="66675"/>
                    <a:pt x="63722" y="44768"/>
                    <a:pt x="75248" y="29718"/>
                  </a:cubicBezTo>
                  <a:cubicBezTo>
                    <a:pt x="86773" y="14669"/>
                    <a:pt x="103442" y="7144"/>
                    <a:pt x="125063" y="7144"/>
                  </a:cubicBezTo>
                  <a:cubicBezTo>
                    <a:pt x="134969" y="7144"/>
                    <a:pt x="144590" y="8668"/>
                    <a:pt x="154019" y="11716"/>
                  </a:cubicBezTo>
                  <a:cubicBezTo>
                    <a:pt x="163449" y="14764"/>
                    <a:pt x="172498" y="18098"/>
                    <a:pt x="181261" y="21622"/>
                  </a:cubicBezTo>
                  <a:cubicBezTo>
                    <a:pt x="189929" y="25146"/>
                    <a:pt x="198120" y="28385"/>
                    <a:pt x="205645" y="31147"/>
                  </a:cubicBezTo>
                  <a:cubicBezTo>
                    <a:pt x="213170" y="34004"/>
                    <a:pt x="220218" y="35338"/>
                    <a:pt x="226790" y="35338"/>
                  </a:cubicBezTo>
                  <a:cubicBezTo>
                    <a:pt x="237173" y="35338"/>
                    <a:pt x="244888" y="32480"/>
                    <a:pt x="250127" y="26861"/>
                  </a:cubicBezTo>
                  <a:cubicBezTo>
                    <a:pt x="255270" y="21241"/>
                    <a:pt x="260509" y="12287"/>
                    <a:pt x="265652" y="0"/>
                  </a:cubicBezTo>
                  <a:lnTo>
                    <a:pt x="312991" y="14859"/>
                  </a:lnTo>
                  <a:cubicBezTo>
                    <a:pt x="304991" y="43148"/>
                    <a:pt x="295180" y="64770"/>
                    <a:pt x="283655" y="79820"/>
                  </a:cubicBezTo>
                  <a:cubicBezTo>
                    <a:pt x="272129" y="94869"/>
                    <a:pt x="255461" y="102394"/>
                    <a:pt x="233839" y="102394"/>
                  </a:cubicBezTo>
                  <a:cubicBezTo>
                    <a:pt x="223933" y="102394"/>
                    <a:pt x="214313" y="100965"/>
                    <a:pt x="204883" y="98203"/>
                  </a:cubicBezTo>
                  <a:cubicBezTo>
                    <a:pt x="195453" y="95345"/>
                    <a:pt x="186404" y="92202"/>
                    <a:pt x="177641" y="88678"/>
                  </a:cubicBezTo>
                  <a:cubicBezTo>
                    <a:pt x="168878" y="85154"/>
                    <a:pt x="160687" y="81820"/>
                    <a:pt x="152876" y="78772"/>
                  </a:cubicBezTo>
                  <a:cubicBezTo>
                    <a:pt x="145066" y="75724"/>
                    <a:pt x="138113" y="74200"/>
                    <a:pt x="132017" y="74200"/>
                  </a:cubicBezTo>
                  <a:cubicBezTo>
                    <a:pt x="121634" y="74200"/>
                    <a:pt x="113919" y="77057"/>
                    <a:pt x="108680" y="82677"/>
                  </a:cubicBezTo>
                  <a:cubicBezTo>
                    <a:pt x="103537" y="88297"/>
                    <a:pt x="98298" y="97250"/>
                    <a:pt x="93154" y="109538"/>
                  </a:cubicBezTo>
                  <a:lnTo>
                    <a:pt x="45815" y="95441"/>
                  </a:lnTo>
                  <a:close/>
                  <a:moveTo>
                    <a:pt x="255842" y="366808"/>
                  </a:moveTo>
                  <a:cubicBezTo>
                    <a:pt x="244983" y="362522"/>
                    <a:pt x="232124" y="358997"/>
                    <a:pt x="217361" y="356235"/>
                  </a:cubicBezTo>
                  <a:cubicBezTo>
                    <a:pt x="202502" y="353378"/>
                    <a:pt x="186880" y="351949"/>
                    <a:pt x="170402" y="351949"/>
                  </a:cubicBezTo>
                  <a:cubicBezTo>
                    <a:pt x="143542" y="351949"/>
                    <a:pt x="122587" y="357092"/>
                    <a:pt x="107537" y="367475"/>
                  </a:cubicBezTo>
                  <a:cubicBezTo>
                    <a:pt x="92488" y="377857"/>
                    <a:pt x="84963" y="391954"/>
                    <a:pt x="84963" y="409861"/>
                  </a:cubicBezTo>
                  <a:lnTo>
                    <a:pt x="84963" y="411290"/>
                  </a:lnTo>
                  <a:cubicBezTo>
                    <a:pt x="84963" y="429197"/>
                    <a:pt x="91916" y="442817"/>
                    <a:pt x="105823" y="452247"/>
                  </a:cubicBezTo>
                  <a:cubicBezTo>
                    <a:pt x="119729" y="461677"/>
                    <a:pt x="136779" y="466344"/>
                    <a:pt x="157067" y="466344"/>
                  </a:cubicBezTo>
                  <a:cubicBezTo>
                    <a:pt x="171164" y="466344"/>
                    <a:pt x="184309" y="464439"/>
                    <a:pt x="196310" y="460724"/>
                  </a:cubicBezTo>
                  <a:cubicBezTo>
                    <a:pt x="208312" y="456914"/>
                    <a:pt x="218789" y="451676"/>
                    <a:pt x="227743" y="444818"/>
                  </a:cubicBezTo>
                  <a:cubicBezTo>
                    <a:pt x="236696" y="437960"/>
                    <a:pt x="243650" y="429768"/>
                    <a:pt x="248603" y="420053"/>
                  </a:cubicBezTo>
                  <a:cubicBezTo>
                    <a:pt x="253555" y="410432"/>
                    <a:pt x="256032" y="399669"/>
                    <a:pt x="256032" y="387858"/>
                  </a:cubicBezTo>
                  <a:lnTo>
                    <a:pt x="256032" y="366617"/>
                  </a:lnTo>
                  <a:close/>
                </a:path>
              </a:pathLst>
            </a:custGeom>
            <a:solidFill>
              <a:srgbClr val="44505E"/>
            </a:solidFill>
            <a:ln w="9525" cap="flat">
              <a:noFill/>
              <a:prstDash val="solid"/>
              <a:miter/>
            </a:ln>
          </p:spPr>
          <p:txBody>
            <a:bodyPr rtlCol="0" anchor="ctr"/>
            <a:lstStyle/>
            <a:p>
              <a:endParaRPr lang="pt-BR" noProof="0"/>
            </a:p>
          </p:txBody>
        </p:sp>
        <p:sp>
          <p:nvSpPr>
            <p:cNvPr id="31" name="Freeform: Shape 30">
              <a:extLst>
                <a:ext uri="{FF2B5EF4-FFF2-40B4-BE49-F238E27FC236}">
                  <a16:creationId xmlns:a16="http://schemas.microsoft.com/office/drawing/2014/main" id="{D26C4898-0419-F456-61D5-D0C7DF92200F}"/>
                </a:ext>
              </a:extLst>
            </p:cNvPr>
            <p:cNvSpPr/>
            <p:nvPr/>
          </p:nvSpPr>
          <p:spPr>
            <a:xfrm>
              <a:off x="6506477" y="699959"/>
              <a:ext cx="100038" cy="97908"/>
            </a:xfrm>
            <a:custGeom>
              <a:avLst/>
              <a:gdLst>
                <a:gd name="connsiteX0" fmla="*/ 197834 w 397954"/>
                <a:gd name="connsiteY0" fmla="*/ 389477 h 389477"/>
                <a:gd name="connsiteX1" fmla="*/ 119063 w 397954"/>
                <a:gd name="connsiteY1" fmla="*/ 374237 h 389477"/>
                <a:gd name="connsiteX2" fmla="*/ 56198 w 397954"/>
                <a:gd name="connsiteY2" fmla="*/ 332899 h 389477"/>
                <a:gd name="connsiteX3" fmla="*/ 14859 w 397954"/>
                <a:gd name="connsiteY3" fmla="*/ 271463 h 389477"/>
                <a:gd name="connsiteX4" fmla="*/ 0 w 397954"/>
                <a:gd name="connsiteY4" fmla="*/ 196501 h 389477"/>
                <a:gd name="connsiteX5" fmla="*/ 0 w 397954"/>
                <a:gd name="connsiteY5" fmla="*/ 195072 h 389477"/>
                <a:gd name="connsiteX6" fmla="*/ 15240 w 397954"/>
                <a:gd name="connsiteY6" fmla="*/ 119444 h 389477"/>
                <a:gd name="connsiteX7" fmla="*/ 56960 w 397954"/>
                <a:gd name="connsiteY7" fmla="*/ 57626 h 389477"/>
                <a:gd name="connsiteX8" fmla="*/ 119825 w 397954"/>
                <a:gd name="connsiteY8" fmla="*/ 15526 h 389477"/>
                <a:gd name="connsiteX9" fmla="*/ 199358 w 397954"/>
                <a:gd name="connsiteY9" fmla="*/ 0 h 389477"/>
                <a:gd name="connsiteX10" fmla="*/ 278892 w 397954"/>
                <a:gd name="connsiteY10" fmla="*/ 15240 h 389477"/>
                <a:gd name="connsiteX11" fmla="*/ 341757 w 397954"/>
                <a:gd name="connsiteY11" fmla="*/ 56959 h 389477"/>
                <a:gd name="connsiteX12" fmla="*/ 383096 w 397954"/>
                <a:gd name="connsiteY12" fmla="*/ 118396 h 389477"/>
                <a:gd name="connsiteX13" fmla="*/ 397955 w 397954"/>
                <a:gd name="connsiteY13" fmla="*/ 193643 h 389477"/>
                <a:gd name="connsiteX14" fmla="*/ 397955 w 397954"/>
                <a:gd name="connsiteY14" fmla="*/ 195072 h 389477"/>
                <a:gd name="connsiteX15" fmla="*/ 382714 w 397954"/>
                <a:gd name="connsiteY15" fmla="*/ 270034 h 389477"/>
                <a:gd name="connsiteX16" fmla="*/ 340995 w 397954"/>
                <a:gd name="connsiteY16" fmla="*/ 331851 h 389477"/>
                <a:gd name="connsiteX17" fmla="*/ 277749 w 397954"/>
                <a:gd name="connsiteY17" fmla="*/ 373856 h 389477"/>
                <a:gd name="connsiteX18" fmla="*/ 197834 w 397954"/>
                <a:gd name="connsiteY18" fmla="*/ 389382 h 389477"/>
                <a:gd name="connsiteX19" fmla="*/ 199263 w 397954"/>
                <a:gd name="connsiteY19" fmla="*/ 315278 h 389477"/>
                <a:gd name="connsiteX20" fmla="*/ 245936 w 397954"/>
                <a:gd name="connsiteY20" fmla="*/ 305753 h 389477"/>
                <a:gd name="connsiteX21" fmla="*/ 281369 w 397954"/>
                <a:gd name="connsiteY21" fmla="*/ 279940 h 389477"/>
                <a:gd name="connsiteX22" fmla="*/ 303848 w 397954"/>
                <a:gd name="connsiteY22" fmla="*/ 242125 h 389477"/>
                <a:gd name="connsiteX23" fmla="*/ 311563 w 397954"/>
                <a:gd name="connsiteY23" fmla="*/ 196501 h 389477"/>
                <a:gd name="connsiteX24" fmla="*/ 311563 w 397954"/>
                <a:gd name="connsiteY24" fmla="*/ 195072 h 389477"/>
                <a:gd name="connsiteX25" fmla="*/ 303181 w 397954"/>
                <a:gd name="connsiteY25" fmla="*/ 148400 h 389477"/>
                <a:gd name="connsiteX26" fmla="*/ 279654 w 397954"/>
                <a:gd name="connsiteY26" fmla="*/ 110204 h 389477"/>
                <a:gd name="connsiteX27" fmla="*/ 243840 w 397954"/>
                <a:gd name="connsiteY27" fmla="*/ 84392 h 389477"/>
                <a:gd name="connsiteX28" fmla="*/ 197834 w 397954"/>
                <a:gd name="connsiteY28" fmla="*/ 74867 h 389477"/>
                <a:gd name="connsiteX29" fmla="*/ 151829 w 397954"/>
                <a:gd name="connsiteY29" fmla="*/ 84392 h 389477"/>
                <a:gd name="connsiteX30" fmla="*/ 116396 w 397954"/>
                <a:gd name="connsiteY30" fmla="*/ 109823 h 389477"/>
                <a:gd name="connsiteX31" fmla="*/ 93916 w 397954"/>
                <a:gd name="connsiteY31" fmla="*/ 147638 h 389477"/>
                <a:gd name="connsiteX32" fmla="*/ 86201 w 397954"/>
                <a:gd name="connsiteY32" fmla="*/ 193548 h 389477"/>
                <a:gd name="connsiteX33" fmla="*/ 86201 w 397954"/>
                <a:gd name="connsiteY33" fmla="*/ 194977 h 389477"/>
                <a:gd name="connsiteX34" fmla="*/ 94583 w 397954"/>
                <a:gd name="connsiteY34" fmla="*/ 241268 h 389477"/>
                <a:gd name="connsiteX35" fmla="*/ 118110 w 397954"/>
                <a:gd name="connsiteY35" fmla="*/ 279463 h 389477"/>
                <a:gd name="connsiteX36" fmla="*/ 153924 w 397954"/>
                <a:gd name="connsiteY36" fmla="*/ 305562 h 389477"/>
                <a:gd name="connsiteX37" fmla="*/ 199263 w 397954"/>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954" h="389477">
                  <a:moveTo>
                    <a:pt x="197834" y="389477"/>
                  </a:moveTo>
                  <a:cubicBezTo>
                    <a:pt x="169545" y="389477"/>
                    <a:pt x="143351" y="384429"/>
                    <a:pt x="119063" y="374237"/>
                  </a:cubicBezTo>
                  <a:cubicBezTo>
                    <a:pt x="94774" y="364141"/>
                    <a:pt x="73819" y="350330"/>
                    <a:pt x="56198" y="332899"/>
                  </a:cubicBezTo>
                  <a:cubicBezTo>
                    <a:pt x="38576" y="315468"/>
                    <a:pt x="24765" y="294989"/>
                    <a:pt x="14859" y="271463"/>
                  </a:cubicBezTo>
                  <a:cubicBezTo>
                    <a:pt x="4953" y="247936"/>
                    <a:pt x="0" y="222980"/>
                    <a:pt x="0" y="196501"/>
                  </a:cubicBezTo>
                  <a:lnTo>
                    <a:pt x="0" y="195072"/>
                  </a:lnTo>
                  <a:cubicBezTo>
                    <a:pt x="0" y="168212"/>
                    <a:pt x="5049" y="143066"/>
                    <a:pt x="15240" y="119444"/>
                  </a:cubicBezTo>
                  <a:cubicBezTo>
                    <a:pt x="25337" y="95917"/>
                    <a:pt x="39243" y="75248"/>
                    <a:pt x="56960" y="57626"/>
                  </a:cubicBezTo>
                  <a:cubicBezTo>
                    <a:pt x="74676" y="39910"/>
                    <a:pt x="95631" y="25908"/>
                    <a:pt x="119825" y="15526"/>
                  </a:cubicBezTo>
                  <a:cubicBezTo>
                    <a:pt x="144113" y="5144"/>
                    <a:pt x="170593" y="0"/>
                    <a:pt x="199358" y="0"/>
                  </a:cubicBezTo>
                  <a:cubicBezTo>
                    <a:pt x="228124" y="0"/>
                    <a:pt x="254604" y="5048"/>
                    <a:pt x="278892" y="15240"/>
                  </a:cubicBezTo>
                  <a:cubicBezTo>
                    <a:pt x="303181" y="25337"/>
                    <a:pt x="324136" y="39243"/>
                    <a:pt x="341757" y="56959"/>
                  </a:cubicBezTo>
                  <a:cubicBezTo>
                    <a:pt x="359379" y="74676"/>
                    <a:pt x="373189" y="95155"/>
                    <a:pt x="383096" y="118396"/>
                  </a:cubicBezTo>
                  <a:cubicBezTo>
                    <a:pt x="393002" y="141732"/>
                    <a:pt x="397955" y="166783"/>
                    <a:pt x="397955" y="193643"/>
                  </a:cubicBezTo>
                  <a:lnTo>
                    <a:pt x="397955" y="195072"/>
                  </a:lnTo>
                  <a:cubicBezTo>
                    <a:pt x="397955" y="221456"/>
                    <a:pt x="392906" y="246412"/>
                    <a:pt x="382714" y="270034"/>
                  </a:cubicBezTo>
                  <a:cubicBezTo>
                    <a:pt x="372618" y="293561"/>
                    <a:pt x="358712" y="314230"/>
                    <a:pt x="340995" y="331851"/>
                  </a:cubicBezTo>
                  <a:cubicBezTo>
                    <a:pt x="323279" y="349472"/>
                    <a:pt x="302229" y="363569"/>
                    <a:pt x="277749" y="373856"/>
                  </a:cubicBezTo>
                  <a:cubicBezTo>
                    <a:pt x="253270" y="384238"/>
                    <a:pt x="226600" y="389382"/>
                    <a:pt x="197834" y="389382"/>
                  </a:cubicBezTo>
                  <a:close/>
                  <a:moveTo>
                    <a:pt x="199263" y="315278"/>
                  </a:moveTo>
                  <a:cubicBezTo>
                    <a:pt x="216598" y="315278"/>
                    <a:pt x="232124" y="312039"/>
                    <a:pt x="245936" y="305753"/>
                  </a:cubicBezTo>
                  <a:cubicBezTo>
                    <a:pt x="259747" y="299371"/>
                    <a:pt x="271558" y="290798"/>
                    <a:pt x="281369" y="279940"/>
                  </a:cubicBezTo>
                  <a:cubicBezTo>
                    <a:pt x="291179" y="269081"/>
                    <a:pt x="298704" y="256508"/>
                    <a:pt x="303848" y="242125"/>
                  </a:cubicBezTo>
                  <a:cubicBezTo>
                    <a:pt x="308991" y="227743"/>
                    <a:pt x="311563" y="212598"/>
                    <a:pt x="311563" y="196501"/>
                  </a:cubicBezTo>
                  <a:lnTo>
                    <a:pt x="311563" y="195072"/>
                  </a:lnTo>
                  <a:cubicBezTo>
                    <a:pt x="311563" y="178594"/>
                    <a:pt x="308706" y="163068"/>
                    <a:pt x="303181" y="148400"/>
                  </a:cubicBezTo>
                  <a:cubicBezTo>
                    <a:pt x="297561" y="133826"/>
                    <a:pt x="289750" y="121063"/>
                    <a:pt x="279654" y="110204"/>
                  </a:cubicBezTo>
                  <a:cubicBezTo>
                    <a:pt x="269557" y="99346"/>
                    <a:pt x="257651" y="90773"/>
                    <a:pt x="243840" y="84392"/>
                  </a:cubicBezTo>
                  <a:cubicBezTo>
                    <a:pt x="230029" y="78010"/>
                    <a:pt x="214694" y="74867"/>
                    <a:pt x="197834" y="74867"/>
                  </a:cubicBezTo>
                  <a:cubicBezTo>
                    <a:pt x="180975" y="74867"/>
                    <a:pt x="165640" y="78010"/>
                    <a:pt x="151829" y="84392"/>
                  </a:cubicBezTo>
                  <a:cubicBezTo>
                    <a:pt x="138017" y="90773"/>
                    <a:pt x="126206" y="99250"/>
                    <a:pt x="116396" y="109823"/>
                  </a:cubicBezTo>
                  <a:cubicBezTo>
                    <a:pt x="106585" y="120396"/>
                    <a:pt x="99060" y="133064"/>
                    <a:pt x="93916" y="147638"/>
                  </a:cubicBezTo>
                  <a:cubicBezTo>
                    <a:pt x="88773" y="162211"/>
                    <a:pt x="86201" y="177546"/>
                    <a:pt x="86201" y="193548"/>
                  </a:cubicBezTo>
                  <a:lnTo>
                    <a:pt x="86201" y="194977"/>
                  </a:lnTo>
                  <a:cubicBezTo>
                    <a:pt x="86201" y="211455"/>
                    <a:pt x="89059" y="226886"/>
                    <a:pt x="94583" y="241268"/>
                  </a:cubicBezTo>
                  <a:cubicBezTo>
                    <a:pt x="100203" y="255651"/>
                    <a:pt x="108014" y="268319"/>
                    <a:pt x="118110" y="279463"/>
                  </a:cubicBezTo>
                  <a:cubicBezTo>
                    <a:pt x="128207" y="290608"/>
                    <a:pt x="140113" y="299275"/>
                    <a:pt x="153924" y="305562"/>
                  </a:cubicBezTo>
                  <a:cubicBezTo>
                    <a:pt x="167735" y="311944"/>
                    <a:pt x="182785"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32" name="Freeform: Shape 31">
              <a:extLst>
                <a:ext uri="{FF2B5EF4-FFF2-40B4-BE49-F238E27FC236}">
                  <a16:creationId xmlns:a16="http://schemas.microsoft.com/office/drawing/2014/main" id="{3E9845B7-F4E0-6E0F-19F9-1353ECF8CCAA}"/>
                </a:ext>
              </a:extLst>
            </p:cNvPr>
            <p:cNvSpPr/>
            <p:nvPr/>
          </p:nvSpPr>
          <p:spPr>
            <a:xfrm>
              <a:off x="662071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1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7 w 296894"/>
                <a:gd name="connsiteY23" fmla="*/ 42863 h 386714"/>
                <a:gd name="connsiteX24" fmla="*/ 254318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7 w 296894"/>
                <a:gd name="connsiteY30" fmla="*/ 124587 h 386714"/>
                <a:gd name="connsiteX31" fmla="*/ 122682 w 296894"/>
                <a:gd name="connsiteY31" fmla="*/ 138017 h 386714"/>
                <a:gd name="connsiteX32" fmla="*/ 149543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6" y="348901"/>
                    <a:pt x="0" y="330327"/>
                  </a:cubicBezTo>
                  <a:lnTo>
                    <a:pt x="38195" y="272224"/>
                  </a:lnTo>
                  <a:cubicBezTo>
                    <a:pt x="58484" y="287274"/>
                    <a:pt x="79057" y="298704"/>
                    <a:pt x="100013" y="306514"/>
                  </a:cubicBezTo>
                  <a:cubicBezTo>
                    <a:pt x="120968" y="314325"/>
                    <a:pt x="141161" y="318135"/>
                    <a:pt x="160401" y="318135"/>
                  </a:cubicBezTo>
                  <a:cubicBezTo>
                    <a:pt x="179641" y="318135"/>
                    <a:pt x="192977"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1" y="241078"/>
                    <a:pt x="176498" y="237553"/>
                    <a:pt x="166401"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2" y="40195"/>
                    <a:pt x="56864" y="30385"/>
                  </a:cubicBezTo>
                  <a:cubicBezTo>
                    <a:pt x="68866" y="20479"/>
                    <a:pt x="82962" y="12954"/>
                    <a:pt x="99250" y="7810"/>
                  </a:cubicBezTo>
                  <a:cubicBezTo>
                    <a:pt x="115538" y="2667"/>
                    <a:pt x="132779" y="0"/>
                    <a:pt x="151162" y="0"/>
                  </a:cubicBezTo>
                  <a:cubicBezTo>
                    <a:pt x="174688" y="0"/>
                    <a:pt x="198501" y="3810"/>
                    <a:pt x="222504" y="11430"/>
                  </a:cubicBezTo>
                  <a:cubicBezTo>
                    <a:pt x="246507" y="19050"/>
                    <a:pt x="268414" y="29527"/>
                    <a:pt x="288227" y="42863"/>
                  </a:cubicBezTo>
                  <a:lnTo>
                    <a:pt x="254318"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7" y="124587"/>
                  </a:cubicBezTo>
                  <a:cubicBezTo>
                    <a:pt x="108585" y="129540"/>
                    <a:pt x="114871" y="134017"/>
                    <a:pt x="122682" y="138017"/>
                  </a:cubicBezTo>
                  <a:cubicBezTo>
                    <a:pt x="130493" y="142018"/>
                    <a:pt x="139351" y="145732"/>
                    <a:pt x="149543"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696"/>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33" name="Freeform: Shape 32">
              <a:extLst>
                <a:ext uri="{FF2B5EF4-FFF2-40B4-BE49-F238E27FC236}">
                  <a16:creationId xmlns:a16="http://schemas.microsoft.com/office/drawing/2014/main" id="{37A7EC33-63F4-2147-A760-DE3D338DCD2D}"/>
                </a:ext>
              </a:extLst>
            </p:cNvPr>
            <p:cNvSpPr/>
            <p:nvPr/>
          </p:nvSpPr>
          <p:spPr>
            <a:xfrm>
              <a:off x="526693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4 w 202977"/>
                <a:gd name="connsiteY17" fmla="*/ 19907 h 239267"/>
                <a:gd name="connsiteX18" fmla="*/ 59246 w 202977"/>
                <a:gd name="connsiteY18" fmla="*/ 5429 h 239267"/>
                <a:gd name="connsiteX19" fmla="*/ 104299 w 202977"/>
                <a:gd name="connsiteY19" fmla="*/ 0 h 239267"/>
                <a:gd name="connsiteX20" fmla="*/ 178880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5 w 202977"/>
                <a:gd name="connsiteY27" fmla="*/ 211169 h 239267"/>
                <a:gd name="connsiteX28" fmla="*/ 122968 w 202977"/>
                <a:gd name="connsiteY28" fmla="*/ 206788 h 239267"/>
                <a:gd name="connsiteX29" fmla="*/ 147257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9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9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3" y="99155"/>
                    <a:pt x="58674" y="95917"/>
                  </a:cubicBezTo>
                  <a:cubicBezTo>
                    <a:pt x="70771" y="92678"/>
                    <a:pt x="84011" y="90964"/>
                    <a:pt x="98584" y="90964"/>
                  </a:cubicBezTo>
                  <a:cubicBezTo>
                    <a:pt x="113157" y="90964"/>
                    <a:pt x="126301" y="91821"/>
                    <a:pt x="137160" y="93631"/>
                  </a:cubicBezTo>
                  <a:cubicBezTo>
                    <a:pt x="148019" y="95440"/>
                    <a:pt x="158687" y="97822"/>
                    <a:pt x="169069" y="100774"/>
                  </a:cubicBezTo>
                  <a:lnTo>
                    <a:pt x="169069" y="93726"/>
                  </a:lnTo>
                  <a:cubicBezTo>
                    <a:pt x="169069" y="73342"/>
                    <a:pt x="163068" y="57912"/>
                    <a:pt x="151162" y="47339"/>
                  </a:cubicBezTo>
                  <a:cubicBezTo>
                    <a:pt x="139256" y="36862"/>
                    <a:pt x="122492" y="31623"/>
                    <a:pt x="100679" y="31623"/>
                  </a:cubicBezTo>
                  <a:cubicBezTo>
                    <a:pt x="86963" y="31623"/>
                    <a:pt x="74581" y="33147"/>
                    <a:pt x="63437" y="36100"/>
                  </a:cubicBezTo>
                  <a:cubicBezTo>
                    <a:pt x="52292" y="39053"/>
                    <a:pt x="41339" y="43053"/>
                    <a:pt x="30671" y="48196"/>
                  </a:cubicBezTo>
                  <a:lnTo>
                    <a:pt x="20384" y="19907"/>
                  </a:lnTo>
                  <a:cubicBezTo>
                    <a:pt x="33147" y="13906"/>
                    <a:pt x="46101" y="9049"/>
                    <a:pt x="59246" y="5429"/>
                  </a:cubicBezTo>
                  <a:cubicBezTo>
                    <a:pt x="72295" y="1810"/>
                    <a:pt x="87344" y="0"/>
                    <a:pt x="104299" y="0"/>
                  </a:cubicBezTo>
                  <a:cubicBezTo>
                    <a:pt x="137065" y="0"/>
                    <a:pt x="161925" y="8477"/>
                    <a:pt x="178880"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99" y="239173"/>
                    <a:pt x="86011" y="239173"/>
                  </a:cubicBezTo>
                  <a:close/>
                  <a:moveTo>
                    <a:pt x="93155" y="211169"/>
                  </a:moveTo>
                  <a:cubicBezTo>
                    <a:pt x="103823" y="211169"/>
                    <a:pt x="113728" y="209740"/>
                    <a:pt x="122968" y="206788"/>
                  </a:cubicBezTo>
                  <a:cubicBezTo>
                    <a:pt x="132207" y="203835"/>
                    <a:pt x="140208" y="199644"/>
                    <a:pt x="147257"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9" y="121444"/>
                  </a:cubicBezTo>
                  <a:cubicBezTo>
                    <a:pt x="129445" y="119348"/>
                    <a:pt x="116776"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244" y="190500"/>
                    <a:pt x="47435" y="195358"/>
                    <a:pt x="52769" y="199263"/>
                  </a:cubicBezTo>
                  <a:cubicBezTo>
                    <a:pt x="58103" y="203073"/>
                    <a:pt x="64294" y="206026"/>
                    <a:pt x="71247" y="208121"/>
                  </a:cubicBezTo>
                  <a:cubicBezTo>
                    <a:pt x="78200" y="210217"/>
                    <a:pt x="85535"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34" name="Freeform: Shape 33">
              <a:extLst>
                <a:ext uri="{FF2B5EF4-FFF2-40B4-BE49-F238E27FC236}">
                  <a16:creationId xmlns:a16="http://schemas.microsoft.com/office/drawing/2014/main" id="{7C8C2520-5A36-D5A5-FC53-2E76BC4F3186}"/>
                </a:ext>
              </a:extLst>
            </p:cNvPr>
            <p:cNvSpPr/>
            <p:nvPr/>
          </p:nvSpPr>
          <p:spPr>
            <a:xfrm>
              <a:off x="5331227"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9" y="303276"/>
                    <a:pt x="71438" y="300895"/>
                  </a:cubicBezTo>
                  <a:cubicBezTo>
                    <a:pt x="63437"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2"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5" name="Freeform: Shape 34">
              <a:extLst>
                <a:ext uri="{FF2B5EF4-FFF2-40B4-BE49-F238E27FC236}">
                  <a16:creationId xmlns:a16="http://schemas.microsoft.com/office/drawing/2014/main" id="{15014C07-58A7-0C7F-2F16-38782D0FD281}"/>
                </a:ext>
              </a:extLst>
            </p:cNvPr>
            <p:cNvSpPr/>
            <p:nvPr/>
          </p:nvSpPr>
          <p:spPr>
            <a:xfrm>
              <a:off x="5381845"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191 w 39242"/>
                <a:gd name="connsiteY5" fmla="*/ 88392 h 319182"/>
                <a:gd name="connsiteX6" fmla="*/ 36576 w 39242"/>
                <a:gd name="connsiteY6" fmla="*/ 88392 h 319182"/>
                <a:gd name="connsiteX7" fmla="*/ 36576 w 39242"/>
                <a:gd name="connsiteY7" fmla="*/ 319183 h 319182"/>
                <a:gd name="connsiteX8" fmla="*/ 2191 w 39242"/>
                <a:gd name="connsiteY8" fmla="*/ 319183 h 319182"/>
                <a:gd name="connsiteX9" fmla="*/ 2191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191" y="88392"/>
                  </a:moveTo>
                  <a:lnTo>
                    <a:pt x="36576" y="88392"/>
                  </a:lnTo>
                  <a:lnTo>
                    <a:pt x="36576" y="319183"/>
                  </a:lnTo>
                  <a:lnTo>
                    <a:pt x="2191" y="319183"/>
                  </a:lnTo>
                  <a:lnTo>
                    <a:pt x="2191" y="88392"/>
                  </a:lnTo>
                  <a:close/>
                </a:path>
              </a:pathLst>
            </a:custGeom>
            <a:solidFill>
              <a:srgbClr val="44505E"/>
            </a:solidFill>
            <a:ln w="9525" cap="flat">
              <a:noFill/>
              <a:prstDash val="solid"/>
              <a:miter/>
            </a:ln>
          </p:spPr>
          <p:txBody>
            <a:bodyPr rtlCol="0" anchor="ctr"/>
            <a:lstStyle/>
            <a:p>
              <a:endParaRPr lang="pt-BR" noProof="0"/>
            </a:p>
          </p:txBody>
        </p:sp>
        <p:sp>
          <p:nvSpPr>
            <p:cNvPr id="36" name="Freeform: Shape 35">
              <a:extLst>
                <a:ext uri="{FF2B5EF4-FFF2-40B4-BE49-F238E27FC236}">
                  <a16:creationId xmlns:a16="http://schemas.microsoft.com/office/drawing/2014/main" id="{F564632B-F55C-531B-4BA9-B6F4A67A1565}"/>
                </a:ext>
              </a:extLst>
            </p:cNvPr>
            <p:cNvSpPr/>
            <p:nvPr/>
          </p:nvSpPr>
          <p:spPr>
            <a:xfrm>
              <a:off x="5406076"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8" y="303276"/>
                    <a:pt x="71438" y="300895"/>
                  </a:cubicBezTo>
                  <a:cubicBezTo>
                    <a:pt x="63436"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1"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37" name="Freeform: Shape 36">
              <a:extLst>
                <a:ext uri="{FF2B5EF4-FFF2-40B4-BE49-F238E27FC236}">
                  <a16:creationId xmlns:a16="http://schemas.microsoft.com/office/drawing/2014/main" id="{690613A3-990F-BEEA-7D00-A5D3E33D5951}"/>
                </a:ext>
              </a:extLst>
            </p:cNvPr>
            <p:cNvSpPr/>
            <p:nvPr/>
          </p:nvSpPr>
          <p:spPr>
            <a:xfrm>
              <a:off x="5455545" y="925297"/>
              <a:ext cx="50594" cy="59238"/>
            </a:xfrm>
            <a:custGeom>
              <a:avLst/>
              <a:gdLst>
                <a:gd name="connsiteX0" fmla="*/ 88392 w 201263"/>
                <a:gd name="connsiteY0" fmla="*/ 235648 h 235648"/>
                <a:gd name="connsiteX1" fmla="*/ 51149 w 201263"/>
                <a:gd name="connsiteY1" fmla="*/ 228981 h 235648"/>
                <a:gd name="connsiteX2" fmla="*/ 23431 w 201263"/>
                <a:gd name="connsiteY2" fmla="*/ 210026 h 235648"/>
                <a:gd name="connsiteX3" fmla="*/ 6001 w 201263"/>
                <a:gd name="connsiteY3" fmla="*/ 180784 h 235648"/>
                <a:gd name="connsiteX4" fmla="*/ 0 w 201263"/>
                <a:gd name="connsiteY4" fmla="*/ 143256 h 235648"/>
                <a:gd name="connsiteX5" fmla="*/ 0 w 201263"/>
                <a:gd name="connsiteY5" fmla="*/ 0 h 235648"/>
                <a:gd name="connsiteX6" fmla="*/ 34385 w 201263"/>
                <a:gd name="connsiteY6" fmla="*/ 0 h 235648"/>
                <a:gd name="connsiteX7" fmla="*/ 34385 w 201263"/>
                <a:gd name="connsiteY7" fmla="*/ 134493 h 235648"/>
                <a:gd name="connsiteX8" fmla="*/ 50864 w 201263"/>
                <a:gd name="connsiteY8" fmla="*/ 185261 h 235648"/>
                <a:gd name="connsiteX9" fmla="*/ 98203 w 201263"/>
                <a:gd name="connsiteY9" fmla="*/ 203930 h 235648"/>
                <a:gd name="connsiteX10" fmla="*/ 125635 w 201263"/>
                <a:gd name="connsiteY10" fmla="*/ 198787 h 235648"/>
                <a:gd name="connsiteX11" fmla="*/ 147542 w 201263"/>
                <a:gd name="connsiteY11" fmla="*/ 184118 h 235648"/>
                <a:gd name="connsiteX12" fmla="*/ 162020 w 201263"/>
                <a:gd name="connsiteY12" fmla="*/ 161163 h 235648"/>
                <a:gd name="connsiteX13" fmla="*/ 167354 w 201263"/>
                <a:gd name="connsiteY13" fmla="*/ 131826 h 235648"/>
                <a:gd name="connsiteX14" fmla="*/ 167354 w 201263"/>
                <a:gd name="connsiteY14" fmla="*/ 0 h 235648"/>
                <a:gd name="connsiteX15" fmla="*/ 201263 w 201263"/>
                <a:gd name="connsiteY15" fmla="*/ 0 h 235648"/>
                <a:gd name="connsiteX16" fmla="*/ 201263 w 201263"/>
                <a:gd name="connsiteY16" fmla="*/ 230791 h 235648"/>
                <a:gd name="connsiteX17" fmla="*/ 167354 w 201263"/>
                <a:gd name="connsiteY17" fmla="*/ 230791 h 235648"/>
                <a:gd name="connsiteX18" fmla="*/ 167354 w 201263"/>
                <a:gd name="connsiteY18" fmla="*/ 190595 h 235648"/>
                <a:gd name="connsiteX19" fmla="*/ 136969 w 201263"/>
                <a:gd name="connsiteY19" fmla="*/ 222504 h 235648"/>
                <a:gd name="connsiteX20" fmla="*/ 88297 w 201263"/>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263" h="235648">
                  <a:moveTo>
                    <a:pt x="88392" y="235648"/>
                  </a:moveTo>
                  <a:cubicBezTo>
                    <a:pt x="74390" y="235648"/>
                    <a:pt x="62008" y="233363"/>
                    <a:pt x="51149" y="228981"/>
                  </a:cubicBezTo>
                  <a:cubicBezTo>
                    <a:pt x="40291" y="224504"/>
                    <a:pt x="31052" y="218218"/>
                    <a:pt x="23431"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864" y="185261"/>
                  </a:cubicBezTo>
                  <a:cubicBezTo>
                    <a:pt x="61913" y="197739"/>
                    <a:pt x="77629" y="203930"/>
                    <a:pt x="98203" y="203930"/>
                  </a:cubicBezTo>
                  <a:cubicBezTo>
                    <a:pt x="108014" y="203930"/>
                    <a:pt x="117158" y="202216"/>
                    <a:pt x="125635" y="198787"/>
                  </a:cubicBezTo>
                  <a:cubicBezTo>
                    <a:pt x="134112" y="195358"/>
                    <a:pt x="141351" y="190500"/>
                    <a:pt x="147542" y="184118"/>
                  </a:cubicBezTo>
                  <a:cubicBezTo>
                    <a:pt x="153638" y="177736"/>
                    <a:pt x="158496" y="170116"/>
                    <a:pt x="162020" y="161163"/>
                  </a:cubicBezTo>
                  <a:cubicBezTo>
                    <a:pt x="165640" y="152305"/>
                    <a:pt x="167354" y="142494"/>
                    <a:pt x="167354" y="131826"/>
                  </a:cubicBezTo>
                  <a:lnTo>
                    <a:pt x="167354" y="0"/>
                  </a:lnTo>
                  <a:lnTo>
                    <a:pt x="201263" y="0"/>
                  </a:lnTo>
                  <a:lnTo>
                    <a:pt x="201263" y="230791"/>
                  </a:lnTo>
                  <a:lnTo>
                    <a:pt x="167354" y="230791"/>
                  </a:lnTo>
                  <a:lnTo>
                    <a:pt x="167354" y="190595"/>
                  </a:lnTo>
                  <a:cubicBezTo>
                    <a:pt x="159639" y="203073"/>
                    <a:pt x="149447" y="213741"/>
                    <a:pt x="136969" y="222504"/>
                  </a:cubicBezTo>
                  <a:cubicBezTo>
                    <a:pt x="124492" y="231267"/>
                    <a:pt x="108299" y="235648"/>
                    <a:pt x="88297" y="235648"/>
                  </a:cubicBezTo>
                  <a:close/>
                </a:path>
              </a:pathLst>
            </a:custGeom>
            <a:solidFill>
              <a:srgbClr val="44505E"/>
            </a:solidFill>
            <a:ln w="9525" cap="flat">
              <a:noFill/>
              <a:prstDash val="solid"/>
              <a:miter/>
            </a:ln>
          </p:spPr>
          <p:txBody>
            <a:bodyPr rtlCol="0" anchor="ctr"/>
            <a:lstStyle/>
            <a:p>
              <a:endParaRPr lang="pt-BR" noProof="0"/>
            </a:p>
          </p:txBody>
        </p:sp>
        <p:sp>
          <p:nvSpPr>
            <p:cNvPr id="38" name="Freeform: Shape 37">
              <a:extLst>
                <a:ext uri="{FF2B5EF4-FFF2-40B4-BE49-F238E27FC236}">
                  <a16:creationId xmlns:a16="http://schemas.microsoft.com/office/drawing/2014/main" id="{21046FFC-809A-A965-1F9E-F860DEA72F3E}"/>
                </a:ext>
              </a:extLst>
            </p:cNvPr>
            <p:cNvSpPr/>
            <p:nvPr/>
          </p:nvSpPr>
          <p:spPr>
            <a:xfrm>
              <a:off x="5522205" y="901353"/>
              <a:ext cx="58567" cy="83182"/>
            </a:xfrm>
            <a:custGeom>
              <a:avLst/>
              <a:gdLst>
                <a:gd name="connsiteX0" fmla="*/ 110204 w 232981"/>
                <a:gd name="connsiteY0" fmla="*/ 330898 h 330898"/>
                <a:gd name="connsiteX1" fmla="*/ 69628 w 232981"/>
                <a:gd name="connsiteY1" fmla="*/ 322897 h 330898"/>
                <a:gd name="connsiteX2" fmla="*/ 34385 w 232981"/>
                <a:gd name="connsiteY2" fmla="*/ 299466 h 330898"/>
                <a:gd name="connsiteX3" fmla="*/ 9334 w 232981"/>
                <a:gd name="connsiteY3" fmla="*/ 261938 h 330898"/>
                <a:gd name="connsiteX4" fmla="*/ 0 w 232981"/>
                <a:gd name="connsiteY4" fmla="*/ 211264 h 330898"/>
                <a:gd name="connsiteX5" fmla="*/ 0 w 232981"/>
                <a:gd name="connsiteY5" fmla="*/ 210407 h 330898"/>
                <a:gd name="connsiteX6" fmla="*/ 9334 w 232981"/>
                <a:gd name="connsiteY6" fmla="*/ 159925 h 330898"/>
                <a:gd name="connsiteX7" fmla="*/ 34385 w 232981"/>
                <a:gd name="connsiteY7" fmla="*/ 122206 h 330898"/>
                <a:gd name="connsiteX8" fmla="*/ 69628 w 232981"/>
                <a:gd name="connsiteY8" fmla="*/ 98488 h 330898"/>
                <a:gd name="connsiteX9" fmla="*/ 110204 w 232981"/>
                <a:gd name="connsiteY9" fmla="*/ 90202 h 330898"/>
                <a:gd name="connsiteX10" fmla="*/ 139636 w 232981"/>
                <a:gd name="connsiteY10" fmla="*/ 94202 h 330898"/>
                <a:gd name="connsiteX11" fmla="*/ 163735 w 232981"/>
                <a:gd name="connsiteY11" fmla="*/ 104870 h 330898"/>
                <a:gd name="connsiteX12" fmla="*/ 183166 w 232981"/>
                <a:gd name="connsiteY12" fmla="*/ 120491 h 330898"/>
                <a:gd name="connsiteX13" fmla="*/ 198596 w 232981"/>
                <a:gd name="connsiteY13" fmla="*/ 139255 h 330898"/>
                <a:gd name="connsiteX14" fmla="*/ 198596 w 232981"/>
                <a:gd name="connsiteY14" fmla="*/ 0 h 330898"/>
                <a:gd name="connsiteX15" fmla="*/ 232981 w 232981"/>
                <a:gd name="connsiteY15" fmla="*/ 0 h 330898"/>
                <a:gd name="connsiteX16" fmla="*/ 232981 w 232981"/>
                <a:gd name="connsiteY16" fmla="*/ 325850 h 330898"/>
                <a:gd name="connsiteX17" fmla="*/ 198596 w 232981"/>
                <a:gd name="connsiteY17" fmla="*/ 325850 h 330898"/>
                <a:gd name="connsiteX18" fmla="*/ 198596 w 232981"/>
                <a:gd name="connsiteY18" fmla="*/ 279463 h 330898"/>
                <a:gd name="connsiteX19" fmla="*/ 182785 w 232981"/>
                <a:gd name="connsiteY19" fmla="*/ 299085 h 330898"/>
                <a:gd name="connsiteX20" fmla="*/ 163354 w 232981"/>
                <a:gd name="connsiteY20" fmla="*/ 315658 h 330898"/>
                <a:gd name="connsiteX21" fmla="*/ 139446 w 232981"/>
                <a:gd name="connsiteY21" fmla="*/ 326803 h 330898"/>
                <a:gd name="connsiteX22" fmla="*/ 110204 w 232981"/>
                <a:gd name="connsiteY22" fmla="*/ 330803 h 330898"/>
                <a:gd name="connsiteX23" fmla="*/ 116491 w 232981"/>
                <a:gd name="connsiteY23" fmla="*/ 300133 h 330898"/>
                <a:gd name="connsiteX24" fmla="*/ 147542 w 232981"/>
                <a:gd name="connsiteY24" fmla="*/ 293656 h 330898"/>
                <a:gd name="connsiteX25" fmla="*/ 174307 w 232981"/>
                <a:gd name="connsiteY25" fmla="*/ 275368 h 330898"/>
                <a:gd name="connsiteX26" fmla="*/ 193072 w 232981"/>
                <a:gd name="connsiteY26" fmla="*/ 247269 h 330898"/>
                <a:gd name="connsiteX27" fmla="*/ 200025 w 232981"/>
                <a:gd name="connsiteY27" fmla="*/ 210883 h 330898"/>
                <a:gd name="connsiteX28" fmla="*/ 200025 w 232981"/>
                <a:gd name="connsiteY28" fmla="*/ 210026 h 330898"/>
                <a:gd name="connsiteX29" fmla="*/ 193072 w 232981"/>
                <a:gd name="connsiteY29" fmla="*/ 173641 h 330898"/>
                <a:gd name="connsiteX30" fmla="*/ 174307 w 232981"/>
                <a:gd name="connsiteY30" fmla="*/ 145732 h 330898"/>
                <a:gd name="connsiteX31" fmla="*/ 147542 w 232981"/>
                <a:gd name="connsiteY31" fmla="*/ 127635 h 330898"/>
                <a:gd name="connsiteX32" fmla="*/ 116491 w 232981"/>
                <a:gd name="connsiteY32" fmla="*/ 121158 h 330898"/>
                <a:gd name="connsiteX33" fmla="*/ 84772 w 232981"/>
                <a:gd name="connsiteY33" fmla="*/ 127159 h 330898"/>
                <a:gd name="connsiteX34" fmla="*/ 59150 w 232981"/>
                <a:gd name="connsiteY34" fmla="*/ 144589 h 330898"/>
                <a:gd name="connsiteX35" fmla="*/ 41719 w 232981"/>
                <a:gd name="connsiteY35" fmla="*/ 172498 h 330898"/>
                <a:gd name="connsiteX36" fmla="*/ 35242 w 232981"/>
                <a:gd name="connsiteY36" fmla="*/ 210026 h 330898"/>
                <a:gd name="connsiteX37" fmla="*/ 35242 w 232981"/>
                <a:gd name="connsiteY37" fmla="*/ 210883 h 330898"/>
                <a:gd name="connsiteX38" fmla="*/ 41719 w 232981"/>
                <a:gd name="connsiteY38" fmla="*/ 247936 h 330898"/>
                <a:gd name="connsiteX39" fmla="*/ 59341 w 232981"/>
                <a:gd name="connsiteY39" fmla="*/ 276034 h 330898"/>
                <a:gd name="connsiteX40" fmla="*/ 85249 w 232981"/>
                <a:gd name="connsiteY40" fmla="*/ 293941 h 330898"/>
                <a:gd name="connsiteX41" fmla="*/ 116491 w 23298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30898">
                  <a:moveTo>
                    <a:pt x="110204" y="330898"/>
                  </a:moveTo>
                  <a:cubicBezTo>
                    <a:pt x="96202" y="330898"/>
                    <a:pt x="82677" y="328231"/>
                    <a:pt x="69628" y="322897"/>
                  </a:cubicBezTo>
                  <a:cubicBezTo>
                    <a:pt x="56578" y="317563"/>
                    <a:pt x="44767" y="309753"/>
                    <a:pt x="34385" y="299466"/>
                  </a:cubicBezTo>
                  <a:cubicBezTo>
                    <a:pt x="24003" y="289179"/>
                    <a:pt x="15621" y="276701"/>
                    <a:pt x="9334" y="261938"/>
                  </a:cubicBezTo>
                  <a:cubicBezTo>
                    <a:pt x="3048" y="247174"/>
                    <a:pt x="0" y="230314"/>
                    <a:pt x="0" y="211264"/>
                  </a:cubicBezTo>
                  <a:lnTo>
                    <a:pt x="0" y="210407"/>
                  </a:lnTo>
                  <a:cubicBezTo>
                    <a:pt x="0" y="191643"/>
                    <a:pt x="3143" y="174879"/>
                    <a:pt x="9334" y="159925"/>
                  </a:cubicBezTo>
                  <a:cubicBezTo>
                    <a:pt x="15621" y="145066"/>
                    <a:pt x="23908" y="132493"/>
                    <a:pt x="34385" y="122206"/>
                  </a:cubicBezTo>
                  <a:cubicBezTo>
                    <a:pt x="44767" y="111919"/>
                    <a:pt x="56578" y="104013"/>
                    <a:pt x="69628" y="98488"/>
                  </a:cubicBezTo>
                  <a:cubicBezTo>
                    <a:pt x="82677" y="92964"/>
                    <a:pt x="96298" y="90202"/>
                    <a:pt x="110204" y="90202"/>
                  </a:cubicBezTo>
                  <a:cubicBezTo>
                    <a:pt x="120967" y="90202"/>
                    <a:pt x="130778" y="91535"/>
                    <a:pt x="139636" y="94202"/>
                  </a:cubicBezTo>
                  <a:cubicBezTo>
                    <a:pt x="148590" y="96869"/>
                    <a:pt x="156591" y="100489"/>
                    <a:pt x="163735" y="104870"/>
                  </a:cubicBezTo>
                  <a:cubicBezTo>
                    <a:pt x="170878" y="109347"/>
                    <a:pt x="177356" y="114586"/>
                    <a:pt x="183166" y="120491"/>
                  </a:cubicBezTo>
                  <a:cubicBezTo>
                    <a:pt x="188976" y="126492"/>
                    <a:pt x="194119" y="132683"/>
                    <a:pt x="198596" y="139255"/>
                  </a:cubicBezTo>
                  <a:lnTo>
                    <a:pt x="198596" y="0"/>
                  </a:lnTo>
                  <a:lnTo>
                    <a:pt x="232981" y="0"/>
                  </a:lnTo>
                  <a:lnTo>
                    <a:pt x="232981" y="325850"/>
                  </a:lnTo>
                  <a:lnTo>
                    <a:pt x="198596" y="325850"/>
                  </a:lnTo>
                  <a:lnTo>
                    <a:pt x="198596" y="279463"/>
                  </a:lnTo>
                  <a:cubicBezTo>
                    <a:pt x="193834" y="286321"/>
                    <a:pt x="188595" y="292894"/>
                    <a:pt x="182785" y="299085"/>
                  </a:cubicBezTo>
                  <a:cubicBezTo>
                    <a:pt x="176974" y="305371"/>
                    <a:pt x="170498" y="310896"/>
                    <a:pt x="163354" y="315658"/>
                  </a:cubicBezTo>
                  <a:cubicBezTo>
                    <a:pt x="156210" y="320421"/>
                    <a:pt x="148209" y="324136"/>
                    <a:pt x="139446" y="326803"/>
                  </a:cubicBezTo>
                  <a:cubicBezTo>
                    <a:pt x="130683" y="329470"/>
                    <a:pt x="120967" y="330803"/>
                    <a:pt x="110204" y="330803"/>
                  </a:cubicBezTo>
                  <a:close/>
                  <a:moveTo>
                    <a:pt x="116491" y="300133"/>
                  </a:moveTo>
                  <a:cubicBezTo>
                    <a:pt x="127159" y="300133"/>
                    <a:pt x="137541" y="297942"/>
                    <a:pt x="147542" y="293656"/>
                  </a:cubicBezTo>
                  <a:cubicBezTo>
                    <a:pt x="157544" y="289369"/>
                    <a:pt x="166402" y="283273"/>
                    <a:pt x="174307" y="275368"/>
                  </a:cubicBezTo>
                  <a:cubicBezTo>
                    <a:pt x="182213" y="267462"/>
                    <a:pt x="188404" y="258127"/>
                    <a:pt x="193072" y="247269"/>
                  </a:cubicBezTo>
                  <a:cubicBezTo>
                    <a:pt x="197644" y="236410"/>
                    <a:pt x="200025" y="224314"/>
                    <a:pt x="200025" y="210883"/>
                  </a:cubicBezTo>
                  <a:lnTo>
                    <a:pt x="200025" y="210026"/>
                  </a:lnTo>
                  <a:cubicBezTo>
                    <a:pt x="200025" y="196596"/>
                    <a:pt x="197739" y="184499"/>
                    <a:pt x="193072" y="173641"/>
                  </a:cubicBezTo>
                  <a:cubicBezTo>
                    <a:pt x="188500" y="162782"/>
                    <a:pt x="182213" y="153448"/>
                    <a:pt x="174307" y="145732"/>
                  </a:cubicBezTo>
                  <a:cubicBezTo>
                    <a:pt x="166402" y="138017"/>
                    <a:pt x="157448" y="132016"/>
                    <a:pt x="147542" y="127635"/>
                  </a:cubicBezTo>
                  <a:cubicBezTo>
                    <a:pt x="137541" y="123349"/>
                    <a:pt x="127254" y="121158"/>
                    <a:pt x="116491" y="121158"/>
                  </a:cubicBezTo>
                  <a:cubicBezTo>
                    <a:pt x="105156" y="121158"/>
                    <a:pt x="94583" y="123158"/>
                    <a:pt x="84772" y="127159"/>
                  </a:cubicBezTo>
                  <a:cubicBezTo>
                    <a:pt x="74962" y="131159"/>
                    <a:pt x="66389" y="136969"/>
                    <a:pt x="59150" y="144589"/>
                  </a:cubicBezTo>
                  <a:cubicBezTo>
                    <a:pt x="51816" y="152114"/>
                    <a:pt x="46101" y="161449"/>
                    <a:pt x="41719" y="172498"/>
                  </a:cubicBezTo>
                  <a:cubicBezTo>
                    <a:pt x="37433" y="183451"/>
                    <a:pt x="35242" y="196024"/>
                    <a:pt x="35242" y="210026"/>
                  </a:cubicBezTo>
                  <a:lnTo>
                    <a:pt x="35242" y="210883"/>
                  </a:lnTo>
                  <a:cubicBezTo>
                    <a:pt x="35242" y="224599"/>
                    <a:pt x="37433" y="236982"/>
                    <a:pt x="41719" y="247936"/>
                  </a:cubicBezTo>
                  <a:cubicBezTo>
                    <a:pt x="46006" y="258984"/>
                    <a:pt x="51911" y="268319"/>
                    <a:pt x="59341" y="276034"/>
                  </a:cubicBezTo>
                  <a:cubicBezTo>
                    <a:pt x="66770" y="283750"/>
                    <a:pt x="75438" y="289750"/>
                    <a:pt x="85249" y="293941"/>
                  </a:cubicBezTo>
                  <a:cubicBezTo>
                    <a:pt x="95059" y="298132"/>
                    <a:pt x="105442" y="300228"/>
                    <a:pt x="116491" y="300228"/>
                  </a:cubicBezTo>
                  <a:close/>
                </a:path>
              </a:pathLst>
            </a:custGeom>
            <a:solidFill>
              <a:srgbClr val="44505E"/>
            </a:solidFill>
            <a:ln w="9525" cap="flat">
              <a:noFill/>
              <a:prstDash val="solid"/>
              <a:miter/>
            </a:ln>
          </p:spPr>
          <p:txBody>
            <a:bodyPr rtlCol="0" anchor="ctr"/>
            <a:lstStyle/>
            <a:p>
              <a:endParaRPr lang="pt-BR" noProof="0"/>
            </a:p>
          </p:txBody>
        </p:sp>
        <p:sp>
          <p:nvSpPr>
            <p:cNvPr id="39" name="Freeform: Shape 38">
              <a:extLst>
                <a:ext uri="{FF2B5EF4-FFF2-40B4-BE49-F238E27FC236}">
                  <a16:creationId xmlns:a16="http://schemas.microsoft.com/office/drawing/2014/main" id="{DE2D373D-04BF-5E3A-1710-A915CF711404}"/>
                </a:ext>
              </a:extLst>
            </p:cNvPr>
            <p:cNvSpPr/>
            <p:nvPr/>
          </p:nvSpPr>
          <p:spPr>
            <a:xfrm>
              <a:off x="5596504"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6963 w 218217"/>
                <a:gd name="connsiteY3" fmla="*/ 206026 h 241077"/>
                <a:gd name="connsiteX4" fmla="*/ 116015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8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1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452 w 218217"/>
                <a:gd name="connsiteY25" fmla="*/ 106299 h 241077"/>
                <a:gd name="connsiteX26" fmla="*/ 176784 w 218217"/>
                <a:gd name="connsiteY26" fmla="*/ 76771 h 241077"/>
                <a:gd name="connsiteX27" fmla="*/ 162306 w 218217"/>
                <a:gd name="connsiteY27" fmla="*/ 52101 h 241077"/>
                <a:gd name="connsiteX28" fmla="*/ 140018 w 218217"/>
                <a:gd name="connsiteY28" fmla="*/ 35242 h 241077"/>
                <a:gd name="connsiteX29" fmla="*/ 109919 w 218217"/>
                <a:gd name="connsiteY29" fmla="*/ 29051 h 241077"/>
                <a:gd name="connsiteX30" fmla="*/ 82201 w 218217"/>
                <a:gd name="connsiteY30" fmla="*/ 34766 h 241077"/>
                <a:gd name="connsiteX31" fmla="*/ 59436 w 218217"/>
                <a:gd name="connsiteY31" fmla="*/ 50959 h 241077"/>
                <a:gd name="connsiteX32" fmla="*/ 43148 w 218217"/>
                <a:gd name="connsiteY32" fmla="*/ 75628 h 241077"/>
                <a:gd name="connsiteX33" fmla="*/ 34862 w 218217"/>
                <a:gd name="connsiteY33" fmla="*/ 106204 h 241077"/>
                <a:gd name="connsiteX34" fmla="*/ 183547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724" y="202597"/>
                    <a:pt x="86963" y="206026"/>
                  </a:cubicBezTo>
                  <a:cubicBezTo>
                    <a:pt x="96203" y="209455"/>
                    <a:pt x="105823" y="211169"/>
                    <a:pt x="116015" y="211169"/>
                  </a:cubicBezTo>
                  <a:cubicBezTo>
                    <a:pt x="132112" y="211169"/>
                    <a:pt x="145828" y="208216"/>
                    <a:pt x="157353" y="202216"/>
                  </a:cubicBezTo>
                  <a:cubicBezTo>
                    <a:pt x="168783" y="196310"/>
                    <a:pt x="179261" y="188404"/>
                    <a:pt x="188786" y="178594"/>
                  </a:cubicBezTo>
                  <a:lnTo>
                    <a:pt x="210217" y="197834"/>
                  </a:lnTo>
                  <a:cubicBezTo>
                    <a:pt x="198596" y="210979"/>
                    <a:pt x="185357" y="221361"/>
                    <a:pt x="170498" y="229267"/>
                  </a:cubicBezTo>
                  <a:cubicBezTo>
                    <a:pt x="155639"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679" y="0"/>
                    <a:pt x="110681"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452" y="106299"/>
                  </a:moveTo>
                  <a:cubicBezTo>
                    <a:pt x="182594" y="95917"/>
                    <a:pt x="180308" y="86106"/>
                    <a:pt x="176784" y="76771"/>
                  </a:cubicBezTo>
                  <a:cubicBezTo>
                    <a:pt x="173165" y="67437"/>
                    <a:pt x="168402" y="59245"/>
                    <a:pt x="162306" y="52101"/>
                  </a:cubicBezTo>
                  <a:cubicBezTo>
                    <a:pt x="156210" y="44958"/>
                    <a:pt x="148781" y="39338"/>
                    <a:pt x="140018" y="35242"/>
                  </a:cubicBezTo>
                  <a:cubicBezTo>
                    <a:pt x="131254" y="31147"/>
                    <a:pt x="121158" y="29051"/>
                    <a:pt x="109919" y="29051"/>
                  </a:cubicBezTo>
                  <a:cubicBezTo>
                    <a:pt x="100108" y="29051"/>
                    <a:pt x="90869" y="30956"/>
                    <a:pt x="82201" y="34766"/>
                  </a:cubicBezTo>
                  <a:cubicBezTo>
                    <a:pt x="73533" y="38671"/>
                    <a:pt x="66008" y="44005"/>
                    <a:pt x="59436" y="50959"/>
                  </a:cubicBezTo>
                  <a:cubicBezTo>
                    <a:pt x="52864" y="57912"/>
                    <a:pt x="47435" y="66103"/>
                    <a:pt x="43148" y="75628"/>
                  </a:cubicBezTo>
                  <a:cubicBezTo>
                    <a:pt x="38862" y="85058"/>
                    <a:pt x="36100" y="95345"/>
                    <a:pt x="34862" y="106204"/>
                  </a:cubicBezTo>
                  <a:lnTo>
                    <a:pt x="183547" y="106204"/>
                  </a:lnTo>
                  <a:close/>
                </a:path>
              </a:pathLst>
            </a:custGeom>
            <a:solidFill>
              <a:srgbClr val="44505E"/>
            </a:solidFill>
            <a:ln w="9525" cap="flat">
              <a:noFill/>
              <a:prstDash val="solid"/>
              <a:miter/>
            </a:ln>
          </p:spPr>
          <p:txBody>
            <a:bodyPr rtlCol="0" anchor="ctr"/>
            <a:lstStyle/>
            <a:p>
              <a:endParaRPr lang="pt-BR" noProof="0"/>
            </a:p>
          </p:txBody>
        </p:sp>
        <p:sp>
          <p:nvSpPr>
            <p:cNvPr id="40" name="Freeform: Shape 39">
              <a:extLst>
                <a:ext uri="{FF2B5EF4-FFF2-40B4-BE49-F238E27FC236}">
                  <a16:creationId xmlns:a16="http://schemas.microsoft.com/office/drawing/2014/main" id="{3039943F-1D34-C621-DFBC-19103841D9A0}"/>
                </a:ext>
              </a:extLst>
            </p:cNvPr>
            <p:cNvSpPr/>
            <p:nvPr/>
          </p:nvSpPr>
          <p:spPr>
            <a:xfrm>
              <a:off x="5661680" y="924268"/>
              <a:ext cx="44656" cy="60195"/>
            </a:xfrm>
            <a:custGeom>
              <a:avLst/>
              <a:gdLst>
                <a:gd name="connsiteX0" fmla="*/ 95536 w 177641"/>
                <a:gd name="connsiteY0" fmla="*/ 239268 h 239458"/>
                <a:gd name="connsiteX1" fmla="*/ 45053 w 177641"/>
                <a:gd name="connsiteY1" fmla="*/ 230124 h 239458"/>
                <a:gd name="connsiteX2" fmla="*/ 0 w 177641"/>
                <a:gd name="connsiteY2" fmla="*/ 205359 h 239458"/>
                <a:gd name="connsiteX3" fmla="*/ 17431 w 177641"/>
                <a:gd name="connsiteY3" fmla="*/ 180785 h 239458"/>
                <a:gd name="connsiteX4" fmla="*/ 56483 w 177641"/>
                <a:gd name="connsiteY4" fmla="*/ 202692 h 239458"/>
                <a:gd name="connsiteX5" fmla="*/ 97346 w 177641"/>
                <a:gd name="connsiteY5" fmla="*/ 210217 h 239458"/>
                <a:gd name="connsiteX6" fmla="*/ 131731 w 177641"/>
                <a:gd name="connsiteY6" fmla="*/ 200406 h 239458"/>
                <a:gd name="connsiteX7" fmla="*/ 145161 w 177641"/>
                <a:gd name="connsiteY7" fmla="*/ 173641 h 239458"/>
                <a:gd name="connsiteX8" fmla="*/ 145161 w 177641"/>
                <a:gd name="connsiteY8" fmla="*/ 172784 h 239458"/>
                <a:gd name="connsiteX9" fmla="*/ 140494 w 177641"/>
                <a:gd name="connsiteY9" fmla="*/ 158020 h 239458"/>
                <a:gd name="connsiteX10" fmla="*/ 127730 w 177641"/>
                <a:gd name="connsiteY10" fmla="*/ 147066 h 239458"/>
                <a:gd name="connsiteX11" fmla="*/ 109157 w 177641"/>
                <a:gd name="connsiteY11" fmla="*/ 138779 h 239458"/>
                <a:gd name="connsiteX12" fmla="*/ 87535 w 177641"/>
                <a:gd name="connsiteY12" fmla="*/ 132112 h 239458"/>
                <a:gd name="connsiteX13" fmla="*/ 60484 w 177641"/>
                <a:gd name="connsiteY13" fmla="*/ 123444 h 239458"/>
                <a:gd name="connsiteX14" fmla="*/ 35909 w 177641"/>
                <a:gd name="connsiteY14" fmla="*/ 111633 h 239458"/>
                <a:gd name="connsiteX15" fmla="*/ 18098 w 177641"/>
                <a:gd name="connsiteY15" fmla="*/ 93726 h 239458"/>
                <a:gd name="connsiteX16" fmla="*/ 11144 w 177641"/>
                <a:gd name="connsiteY16" fmla="*/ 66961 h 239458"/>
                <a:gd name="connsiteX17" fmla="*/ 11144 w 177641"/>
                <a:gd name="connsiteY17" fmla="*/ 66008 h 239458"/>
                <a:gd name="connsiteX18" fmla="*/ 16954 w 177641"/>
                <a:gd name="connsiteY18" fmla="*/ 39053 h 239458"/>
                <a:gd name="connsiteX19" fmla="*/ 33242 w 177641"/>
                <a:gd name="connsiteY19" fmla="*/ 18098 h 239458"/>
                <a:gd name="connsiteX20" fmla="*/ 58293 w 177641"/>
                <a:gd name="connsiteY20" fmla="*/ 4667 h 239458"/>
                <a:gd name="connsiteX21" fmla="*/ 89725 w 177641"/>
                <a:gd name="connsiteY21" fmla="*/ 0 h 239458"/>
                <a:gd name="connsiteX22" fmla="*/ 133064 w 177641"/>
                <a:gd name="connsiteY22" fmla="*/ 6953 h 239458"/>
                <a:gd name="connsiteX23" fmla="*/ 172784 w 177641"/>
                <a:gd name="connsiteY23" fmla="*/ 25527 h 239458"/>
                <a:gd name="connsiteX24" fmla="*/ 157163 w 177641"/>
                <a:gd name="connsiteY24" fmla="*/ 51435 h 239458"/>
                <a:gd name="connsiteX25" fmla="*/ 123444 w 177641"/>
                <a:gd name="connsiteY25" fmla="*/ 35147 h 239458"/>
                <a:gd name="connsiteX26" fmla="*/ 88868 w 177641"/>
                <a:gd name="connsiteY26" fmla="*/ 29146 h 239458"/>
                <a:gd name="connsiteX27" fmla="*/ 56293 w 177641"/>
                <a:gd name="connsiteY27" fmla="*/ 38767 h 239458"/>
                <a:gd name="connsiteX28" fmla="*/ 44196 w 177641"/>
                <a:gd name="connsiteY28" fmla="*/ 62675 h 239458"/>
                <a:gd name="connsiteX29" fmla="*/ 44196 w 177641"/>
                <a:gd name="connsiteY29" fmla="*/ 63627 h 239458"/>
                <a:gd name="connsiteX30" fmla="*/ 49149 w 177641"/>
                <a:gd name="connsiteY30" fmla="*/ 77724 h 239458"/>
                <a:gd name="connsiteX31" fmla="*/ 62294 w 177641"/>
                <a:gd name="connsiteY31" fmla="*/ 88202 h 239458"/>
                <a:gd name="connsiteX32" fmla="*/ 81248 w 177641"/>
                <a:gd name="connsiteY32" fmla="*/ 96203 h 239458"/>
                <a:gd name="connsiteX33" fmla="*/ 103537 w 177641"/>
                <a:gd name="connsiteY33" fmla="*/ 103346 h 239458"/>
                <a:gd name="connsiteX34" fmla="*/ 130112 w 177641"/>
                <a:gd name="connsiteY34" fmla="*/ 112300 h 239458"/>
                <a:gd name="connsiteX35" fmla="*/ 154019 w 177641"/>
                <a:gd name="connsiteY35" fmla="*/ 124778 h 239458"/>
                <a:gd name="connsiteX36" fmla="*/ 171164 w 177641"/>
                <a:gd name="connsiteY36" fmla="*/ 143066 h 239458"/>
                <a:gd name="connsiteX37" fmla="*/ 177641 w 177641"/>
                <a:gd name="connsiteY37" fmla="*/ 169450 h 239458"/>
                <a:gd name="connsiteX38" fmla="*/ 177641 w 177641"/>
                <a:gd name="connsiteY38" fmla="*/ 170307 h 239458"/>
                <a:gd name="connsiteX39" fmla="*/ 171164 w 177641"/>
                <a:gd name="connsiteY39" fmla="*/ 199549 h 239458"/>
                <a:gd name="connsiteX40" fmla="*/ 153734 w 177641"/>
                <a:gd name="connsiteY40" fmla="*/ 221171 h 239458"/>
                <a:gd name="connsiteX41" fmla="*/ 127825 w 177641"/>
                <a:gd name="connsiteY41" fmla="*/ 234791 h 239458"/>
                <a:gd name="connsiteX42" fmla="*/ 95441 w 177641"/>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641" h="239458">
                  <a:moveTo>
                    <a:pt x="95536" y="239268"/>
                  </a:moveTo>
                  <a:cubicBezTo>
                    <a:pt x="78867" y="239268"/>
                    <a:pt x="62008" y="236220"/>
                    <a:pt x="45053" y="230124"/>
                  </a:cubicBezTo>
                  <a:cubicBezTo>
                    <a:pt x="28099" y="224028"/>
                    <a:pt x="13049" y="215741"/>
                    <a:pt x="0" y="205359"/>
                  </a:cubicBezTo>
                  <a:lnTo>
                    <a:pt x="17431" y="180785"/>
                  </a:lnTo>
                  <a:cubicBezTo>
                    <a:pt x="29908"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542" y="162211"/>
                    <a:pt x="140494" y="158020"/>
                  </a:cubicBezTo>
                  <a:cubicBezTo>
                    <a:pt x="137350" y="153829"/>
                    <a:pt x="133160" y="150209"/>
                    <a:pt x="127730" y="147066"/>
                  </a:cubicBezTo>
                  <a:cubicBezTo>
                    <a:pt x="122396" y="143923"/>
                    <a:pt x="116205" y="141161"/>
                    <a:pt x="109157" y="138779"/>
                  </a:cubicBezTo>
                  <a:cubicBezTo>
                    <a:pt x="102203" y="136398"/>
                    <a:pt x="94964" y="134207"/>
                    <a:pt x="87535" y="132112"/>
                  </a:cubicBezTo>
                  <a:cubicBezTo>
                    <a:pt x="78581" y="129445"/>
                    <a:pt x="69628" y="126492"/>
                    <a:pt x="60484" y="123444"/>
                  </a:cubicBezTo>
                  <a:cubicBezTo>
                    <a:pt x="51435" y="120301"/>
                    <a:pt x="43244" y="116396"/>
                    <a:pt x="35909" y="111633"/>
                  </a:cubicBezTo>
                  <a:cubicBezTo>
                    <a:pt x="28575" y="106871"/>
                    <a:pt x="22670" y="100870"/>
                    <a:pt x="18098" y="93726"/>
                  </a:cubicBezTo>
                  <a:cubicBezTo>
                    <a:pt x="13525" y="86582"/>
                    <a:pt x="11144" y="77629"/>
                    <a:pt x="11144" y="66961"/>
                  </a:cubicBezTo>
                  <a:lnTo>
                    <a:pt x="11144" y="66008"/>
                  </a:lnTo>
                  <a:cubicBezTo>
                    <a:pt x="11144" y="56198"/>
                    <a:pt x="13049" y="47149"/>
                    <a:pt x="16954" y="39053"/>
                  </a:cubicBezTo>
                  <a:cubicBezTo>
                    <a:pt x="20860" y="30861"/>
                    <a:pt x="26289" y="23908"/>
                    <a:pt x="33242" y="18098"/>
                  </a:cubicBezTo>
                  <a:cubicBezTo>
                    <a:pt x="40196" y="12287"/>
                    <a:pt x="48578" y="7811"/>
                    <a:pt x="58293" y="4667"/>
                  </a:cubicBezTo>
                  <a:cubicBezTo>
                    <a:pt x="67913" y="1524"/>
                    <a:pt x="78486" y="0"/>
                    <a:pt x="89725" y="0"/>
                  </a:cubicBezTo>
                  <a:cubicBezTo>
                    <a:pt x="104013" y="0"/>
                    <a:pt x="118396" y="2286"/>
                    <a:pt x="133064" y="6953"/>
                  </a:cubicBezTo>
                  <a:cubicBezTo>
                    <a:pt x="147638" y="11621"/>
                    <a:pt x="160877" y="17717"/>
                    <a:pt x="172784" y="25527"/>
                  </a:cubicBezTo>
                  <a:lnTo>
                    <a:pt x="157163" y="51435"/>
                  </a:lnTo>
                  <a:cubicBezTo>
                    <a:pt x="146399" y="44577"/>
                    <a:pt x="135255" y="39148"/>
                    <a:pt x="123444" y="35147"/>
                  </a:cubicBezTo>
                  <a:cubicBezTo>
                    <a:pt x="111728" y="31147"/>
                    <a:pt x="100203" y="29146"/>
                    <a:pt x="88868" y="29146"/>
                  </a:cubicBezTo>
                  <a:cubicBezTo>
                    <a:pt x="75152" y="29146"/>
                    <a:pt x="64294" y="32385"/>
                    <a:pt x="56293" y="38767"/>
                  </a:cubicBezTo>
                  <a:cubicBezTo>
                    <a:pt x="48292" y="45149"/>
                    <a:pt x="44196" y="53150"/>
                    <a:pt x="44196" y="62675"/>
                  </a:cubicBezTo>
                  <a:lnTo>
                    <a:pt x="44196" y="63627"/>
                  </a:lnTo>
                  <a:cubicBezTo>
                    <a:pt x="44196" y="68961"/>
                    <a:pt x="45815" y="73628"/>
                    <a:pt x="49149" y="77724"/>
                  </a:cubicBezTo>
                  <a:cubicBezTo>
                    <a:pt x="52388" y="81725"/>
                    <a:pt x="56769" y="85249"/>
                    <a:pt x="62294" y="88202"/>
                  </a:cubicBezTo>
                  <a:cubicBezTo>
                    <a:pt x="67818" y="91154"/>
                    <a:pt x="74104" y="93821"/>
                    <a:pt x="81248" y="96203"/>
                  </a:cubicBezTo>
                  <a:cubicBezTo>
                    <a:pt x="88392" y="98584"/>
                    <a:pt x="95821" y="100965"/>
                    <a:pt x="103537" y="103346"/>
                  </a:cubicBezTo>
                  <a:cubicBezTo>
                    <a:pt x="112490" y="106013"/>
                    <a:pt x="121349" y="108966"/>
                    <a:pt x="130112" y="112300"/>
                  </a:cubicBezTo>
                  <a:cubicBezTo>
                    <a:pt x="138875" y="115538"/>
                    <a:pt x="146875" y="119729"/>
                    <a:pt x="154019" y="124778"/>
                  </a:cubicBezTo>
                  <a:cubicBezTo>
                    <a:pt x="161163" y="129826"/>
                    <a:pt x="166878" y="135922"/>
                    <a:pt x="171164" y="143066"/>
                  </a:cubicBezTo>
                  <a:cubicBezTo>
                    <a:pt x="175450" y="150209"/>
                    <a:pt x="177641" y="158972"/>
                    <a:pt x="177641" y="169450"/>
                  </a:cubicBezTo>
                  <a:lnTo>
                    <a:pt x="177641" y="170307"/>
                  </a:lnTo>
                  <a:cubicBezTo>
                    <a:pt x="177641" y="181356"/>
                    <a:pt x="175450" y="191071"/>
                    <a:pt x="171164" y="199549"/>
                  </a:cubicBezTo>
                  <a:cubicBezTo>
                    <a:pt x="166878" y="208026"/>
                    <a:pt x="161068" y="215265"/>
                    <a:pt x="153734" y="221171"/>
                  </a:cubicBezTo>
                  <a:cubicBezTo>
                    <a:pt x="146495" y="227171"/>
                    <a:pt x="137827" y="231648"/>
                    <a:pt x="127825" y="234791"/>
                  </a:cubicBezTo>
                  <a:cubicBezTo>
                    <a:pt x="117824" y="237935"/>
                    <a:pt x="107061" y="239459"/>
                    <a:pt x="95441" y="239459"/>
                  </a:cubicBezTo>
                  <a:close/>
                </a:path>
              </a:pathLst>
            </a:custGeom>
            <a:solidFill>
              <a:srgbClr val="44505E"/>
            </a:solidFill>
            <a:ln w="9525" cap="flat">
              <a:noFill/>
              <a:prstDash val="solid"/>
              <a:miter/>
            </a:ln>
          </p:spPr>
          <p:txBody>
            <a:bodyPr rtlCol="0" anchor="ctr"/>
            <a:lstStyle/>
            <a:p>
              <a:endParaRPr lang="pt-BR" noProof="0"/>
            </a:p>
          </p:txBody>
        </p:sp>
        <p:sp>
          <p:nvSpPr>
            <p:cNvPr id="41" name="Freeform: Shape 40">
              <a:extLst>
                <a:ext uri="{FF2B5EF4-FFF2-40B4-BE49-F238E27FC236}">
                  <a16:creationId xmlns:a16="http://schemas.microsoft.com/office/drawing/2014/main" id="{A4797721-BA92-BBD1-F80A-5E89442A4111}"/>
                </a:ext>
              </a:extLst>
            </p:cNvPr>
            <p:cNvSpPr/>
            <p:nvPr/>
          </p:nvSpPr>
          <p:spPr>
            <a:xfrm>
              <a:off x="5752668" y="924028"/>
              <a:ext cx="58567" cy="77196"/>
            </a:xfrm>
            <a:custGeom>
              <a:avLst/>
              <a:gdLst>
                <a:gd name="connsiteX0" fmla="*/ 198596 w 232981"/>
                <a:gd name="connsiteY0" fmla="*/ 189357 h 307085"/>
                <a:gd name="connsiteX1" fmla="*/ 182785 w 232981"/>
                <a:gd name="connsiteY1" fmla="*/ 208978 h 307085"/>
                <a:gd name="connsiteX2" fmla="*/ 163354 w 232981"/>
                <a:gd name="connsiteY2" fmla="*/ 225552 h 307085"/>
                <a:gd name="connsiteX3" fmla="*/ 139446 w 232981"/>
                <a:gd name="connsiteY3" fmla="*/ 236696 h 307085"/>
                <a:gd name="connsiteX4" fmla="*/ 110204 w 232981"/>
                <a:gd name="connsiteY4" fmla="*/ 240697 h 307085"/>
                <a:gd name="connsiteX5" fmla="*/ 69628 w 232981"/>
                <a:gd name="connsiteY5" fmla="*/ 232696 h 307085"/>
                <a:gd name="connsiteX6" fmla="*/ 34385 w 232981"/>
                <a:gd name="connsiteY6" fmla="*/ 209264 h 307085"/>
                <a:gd name="connsiteX7" fmla="*/ 9335 w 232981"/>
                <a:gd name="connsiteY7" fmla="*/ 171736 h 307085"/>
                <a:gd name="connsiteX8" fmla="*/ 0 w 232981"/>
                <a:gd name="connsiteY8" fmla="*/ 121063 h 307085"/>
                <a:gd name="connsiteX9" fmla="*/ 0 w 232981"/>
                <a:gd name="connsiteY9" fmla="*/ 120205 h 307085"/>
                <a:gd name="connsiteX10" fmla="*/ 9335 w 232981"/>
                <a:gd name="connsiteY10" fmla="*/ 69723 h 307085"/>
                <a:gd name="connsiteX11" fmla="*/ 34385 w 232981"/>
                <a:gd name="connsiteY11" fmla="*/ 32004 h 307085"/>
                <a:gd name="connsiteX12" fmla="*/ 69628 w 232981"/>
                <a:gd name="connsiteY12" fmla="*/ 8287 h 307085"/>
                <a:gd name="connsiteX13" fmla="*/ 110204 w 232981"/>
                <a:gd name="connsiteY13" fmla="*/ 0 h 307085"/>
                <a:gd name="connsiteX14" fmla="*/ 139637 w 232981"/>
                <a:gd name="connsiteY14" fmla="*/ 4000 h 307085"/>
                <a:gd name="connsiteX15" fmla="*/ 163735 w 232981"/>
                <a:gd name="connsiteY15" fmla="*/ 14668 h 307085"/>
                <a:gd name="connsiteX16" fmla="*/ 183166 w 232981"/>
                <a:gd name="connsiteY16" fmla="*/ 30289 h 307085"/>
                <a:gd name="connsiteX17" fmla="*/ 198596 w 232981"/>
                <a:gd name="connsiteY17" fmla="*/ 49054 h 307085"/>
                <a:gd name="connsiteX18" fmla="*/ 198596 w 232981"/>
                <a:gd name="connsiteY18" fmla="*/ 4858 h 307085"/>
                <a:gd name="connsiteX19" fmla="*/ 232982 w 232981"/>
                <a:gd name="connsiteY19" fmla="*/ 4858 h 307085"/>
                <a:gd name="connsiteX20" fmla="*/ 232982 w 232981"/>
                <a:gd name="connsiteY20" fmla="*/ 307086 h 307085"/>
                <a:gd name="connsiteX21" fmla="*/ 198596 w 232981"/>
                <a:gd name="connsiteY21" fmla="*/ 307086 h 307085"/>
                <a:gd name="connsiteX22" fmla="*/ 198596 w 232981"/>
                <a:gd name="connsiteY22" fmla="*/ 189262 h 307085"/>
                <a:gd name="connsiteX23" fmla="*/ 116491 w 232981"/>
                <a:gd name="connsiteY23" fmla="*/ 209931 h 307085"/>
                <a:gd name="connsiteX24" fmla="*/ 147542 w 232981"/>
                <a:gd name="connsiteY24" fmla="*/ 203454 h 307085"/>
                <a:gd name="connsiteX25" fmla="*/ 174308 w 232981"/>
                <a:gd name="connsiteY25" fmla="*/ 185166 h 307085"/>
                <a:gd name="connsiteX26" fmla="*/ 193072 w 232981"/>
                <a:gd name="connsiteY26" fmla="*/ 157067 h 307085"/>
                <a:gd name="connsiteX27" fmla="*/ 200025 w 232981"/>
                <a:gd name="connsiteY27" fmla="*/ 120682 h 307085"/>
                <a:gd name="connsiteX28" fmla="*/ 200025 w 232981"/>
                <a:gd name="connsiteY28" fmla="*/ 119824 h 307085"/>
                <a:gd name="connsiteX29" fmla="*/ 193072 w 232981"/>
                <a:gd name="connsiteY29" fmla="*/ 83439 h 307085"/>
                <a:gd name="connsiteX30" fmla="*/ 174308 w 232981"/>
                <a:gd name="connsiteY30" fmla="*/ 55531 h 307085"/>
                <a:gd name="connsiteX31" fmla="*/ 147542 w 232981"/>
                <a:gd name="connsiteY31" fmla="*/ 37433 h 307085"/>
                <a:gd name="connsiteX32" fmla="*/ 116491 w 232981"/>
                <a:gd name="connsiteY32" fmla="*/ 30956 h 307085"/>
                <a:gd name="connsiteX33" fmla="*/ 84773 w 232981"/>
                <a:gd name="connsiteY33" fmla="*/ 36957 h 307085"/>
                <a:gd name="connsiteX34" fmla="*/ 59150 w 232981"/>
                <a:gd name="connsiteY34" fmla="*/ 54388 h 307085"/>
                <a:gd name="connsiteX35" fmla="*/ 41720 w 232981"/>
                <a:gd name="connsiteY35" fmla="*/ 82296 h 307085"/>
                <a:gd name="connsiteX36" fmla="*/ 35242 w 232981"/>
                <a:gd name="connsiteY36" fmla="*/ 119824 h 307085"/>
                <a:gd name="connsiteX37" fmla="*/ 35242 w 232981"/>
                <a:gd name="connsiteY37" fmla="*/ 120682 h 307085"/>
                <a:gd name="connsiteX38" fmla="*/ 41720 w 232981"/>
                <a:gd name="connsiteY38" fmla="*/ 157734 h 307085"/>
                <a:gd name="connsiteX39" fmla="*/ 59341 w 232981"/>
                <a:gd name="connsiteY39" fmla="*/ 185833 h 307085"/>
                <a:gd name="connsiteX40" fmla="*/ 85249 w 232981"/>
                <a:gd name="connsiteY40" fmla="*/ 203740 h 307085"/>
                <a:gd name="connsiteX41" fmla="*/ 116491 w 232981"/>
                <a:gd name="connsiteY41" fmla="*/ 210026 h 30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07085">
                  <a:moveTo>
                    <a:pt x="198596" y="189357"/>
                  </a:moveTo>
                  <a:cubicBezTo>
                    <a:pt x="193834" y="196215"/>
                    <a:pt x="188595" y="202787"/>
                    <a:pt x="182785" y="208978"/>
                  </a:cubicBezTo>
                  <a:cubicBezTo>
                    <a:pt x="176975" y="215265"/>
                    <a:pt x="170498" y="220789"/>
                    <a:pt x="163354" y="225552"/>
                  </a:cubicBezTo>
                  <a:cubicBezTo>
                    <a:pt x="156210" y="230314"/>
                    <a:pt x="148209" y="234029"/>
                    <a:pt x="139446" y="236696"/>
                  </a:cubicBezTo>
                  <a:cubicBezTo>
                    <a:pt x="130683" y="239363"/>
                    <a:pt x="120967" y="240697"/>
                    <a:pt x="110204" y="240697"/>
                  </a:cubicBezTo>
                  <a:cubicBezTo>
                    <a:pt x="96203" y="240697"/>
                    <a:pt x="82677" y="238030"/>
                    <a:pt x="69628" y="232696"/>
                  </a:cubicBezTo>
                  <a:cubicBezTo>
                    <a:pt x="56579" y="227362"/>
                    <a:pt x="44767" y="219551"/>
                    <a:pt x="34385" y="209264"/>
                  </a:cubicBezTo>
                  <a:cubicBezTo>
                    <a:pt x="24003" y="198977"/>
                    <a:pt x="15621" y="186499"/>
                    <a:pt x="9335" y="171736"/>
                  </a:cubicBezTo>
                  <a:cubicBezTo>
                    <a:pt x="3048" y="156972"/>
                    <a:pt x="0" y="140113"/>
                    <a:pt x="0" y="121063"/>
                  </a:cubicBezTo>
                  <a:lnTo>
                    <a:pt x="0" y="120205"/>
                  </a:lnTo>
                  <a:cubicBezTo>
                    <a:pt x="0" y="101441"/>
                    <a:pt x="3143" y="84677"/>
                    <a:pt x="9335" y="69723"/>
                  </a:cubicBezTo>
                  <a:cubicBezTo>
                    <a:pt x="15621" y="54864"/>
                    <a:pt x="23908" y="42291"/>
                    <a:pt x="34385" y="32004"/>
                  </a:cubicBezTo>
                  <a:cubicBezTo>
                    <a:pt x="44767" y="21717"/>
                    <a:pt x="56579" y="13811"/>
                    <a:pt x="69628" y="8287"/>
                  </a:cubicBezTo>
                  <a:cubicBezTo>
                    <a:pt x="82677" y="2762"/>
                    <a:pt x="96298" y="0"/>
                    <a:pt x="110204" y="0"/>
                  </a:cubicBezTo>
                  <a:cubicBezTo>
                    <a:pt x="120967" y="0"/>
                    <a:pt x="130778" y="1333"/>
                    <a:pt x="139637" y="4000"/>
                  </a:cubicBezTo>
                  <a:cubicBezTo>
                    <a:pt x="148590" y="6667"/>
                    <a:pt x="156591" y="10287"/>
                    <a:pt x="163735" y="14668"/>
                  </a:cubicBezTo>
                  <a:cubicBezTo>
                    <a:pt x="170879" y="19145"/>
                    <a:pt x="177356" y="24384"/>
                    <a:pt x="183166" y="30289"/>
                  </a:cubicBezTo>
                  <a:cubicBezTo>
                    <a:pt x="188976" y="36290"/>
                    <a:pt x="194120" y="42481"/>
                    <a:pt x="198596" y="49054"/>
                  </a:cubicBezTo>
                  <a:lnTo>
                    <a:pt x="198596" y="4858"/>
                  </a:lnTo>
                  <a:lnTo>
                    <a:pt x="232982" y="4858"/>
                  </a:lnTo>
                  <a:lnTo>
                    <a:pt x="232982" y="307086"/>
                  </a:lnTo>
                  <a:lnTo>
                    <a:pt x="198596" y="307086"/>
                  </a:lnTo>
                  <a:lnTo>
                    <a:pt x="198596" y="189262"/>
                  </a:lnTo>
                  <a:close/>
                  <a:moveTo>
                    <a:pt x="116491" y="209931"/>
                  </a:moveTo>
                  <a:cubicBezTo>
                    <a:pt x="127159" y="209931"/>
                    <a:pt x="137541" y="207740"/>
                    <a:pt x="147542" y="203454"/>
                  </a:cubicBezTo>
                  <a:cubicBezTo>
                    <a:pt x="157544" y="199168"/>
                    <a:pt x="166402" y="193072"/>
                    <a:pt x="174308" y="185166"/>
                  </a:cubicBezTo>
                  <a:cubicBezTo>
                    <a:pt x="182213" y="177260"/>
                    <a:pt x="188404" y="167926"/>
                    <a:pt x="193072" y="157067"/>
                  </a:cubicBezTo>
                  <a:cubicBezTo>
                    <a:pt x="197739" y="146209"/>
                    <a:pt x="200025" y="134112"/>
                    <a:pt x="200025" y="120682"/>
                  </a:cubicBezTo>
                  <a:lnTo>
                    <a:pt x="200025" y="119824"/>
                  </a:lnTo>
                  <a:cubicBezTo>
                    <a:pt x="200025" y="106394"/>
                    <a:pt x="197739" y="94297"/>
                    <a:pt x="193072" y="83439"/>
                  </a:cubicBezTo>
                  <a:cubicBezTo>
                    <a:pt x="188500" y="72580"/>
                    <a:pt x="182213" y="63246"/>
                    <a:pt x="174308" y="55531"/>
                  </a:cubicBezTo>
                  <a:cubicBezTo>
                    <a:pt x="166402" y="47815"/>
                    <a:pt x="157544" y="41815"/>
                    <a:pt x="147542" y="37433"/>
                  </a:cubicBezTo>
                  <a:cubicBezTo>
                    <a:pt x="137541" y="33147"/>
                    <a:pt x="127254" y="30956"/>
                    <a:pt x="116491" y="30956"/>
                  </a:cubicBezTo>
                  <a:cubicBezTo>
                    <a:pt x="105156" y="30956"/>
                    <a:pt x="94583" y="32956"/>
                    <a:pt x="84773" y="36957"/>
                  </a:cubicBezTo>
                  <a:cubicBezTo>
                    <a:pt x="74962" y="40957"/>
                    <a:pt x="66389" y="46767"/>
                    <a:pt x="59150" y="54388"/>
                  </a:cubicBezTo>
                  <a:cubicBezTo>
                    <a:pt x="51816" y="61913"/>
                    <a:pt x="46101" y="71247"/>
                    <a:pt x="41720" y="82296"/>
                  </a:cubicBezTo>
                  <a:cubicBezTo>
                    <a:pt x="37433" y="93250"/>
                    <a:pt x="35242" y="105823"/>
                    <a:pt x="35242" y="119824"/>
                  </a:cubicBezTo>
                  <a:lnTo>
                    <a:pt x="35242" y="120682"/>
                  </a:lnTo>
                  <a:cubicBezTo>
                    <a:pt x="35242" y="134398"/>
                    <a:pt x="37433" y="146780"/>
                    <a:pt x="41720" y="157734"/>
                  </a:cubicBezTo>
                  <a:cubicBezTo>
                    <a:pt x="46006" y="168783"/>
                    <a:pt x="51911" y="178117"/>
                    <a:pt x="59341" y="185833"/>
                  </a:cubicBezTo>
                  <a:cubicBezTo>
                    <a:pt x="66770" y="193548"/>
                    <a:pt x="75438" y="199549"/>
                    <a:pt x="85249" y="203740"/>
                  </a:cubicBezTo>
                  <a:cubicBezTo>
                    <a:pt x="95060" y="207931"/>
                    <a:pt x="105442" y="210026"/>
                    <a:pt x="116491" y="210026"/>
                  </a:cubicBezTo>
                  <a:close/>
                </a:path>
              </a:pathLst>
            </a:custGeom>
            <a:solidFill>
              <a:srgbClr val="44505E"/>
            </a:solidFill>
            <a:ln w="9525" cap="flat">
              <a:noFill/>
              <a:prstDash val="solid"/>
              <a:miter/>
            </a:ln>
          </p:spPr>
          <p:txBody>
            <a:bodyPr rtlCol="0" anchor="ctr"/>
            <a:lstStyle/>
            <a:p>
              <a:endParaRPr lang="pt-BR" noProof="0"/>
            </a:p>
          </p:txBody>
        </p:sp>
        <p:sp>
          <p:nvSpPr>
            <p:cNvPr id="42" name="Freeform: Shape 41">
              <a:extLst>
                <a:ext uri="{FF2B5EF4-FFF2-40B4-BE49-F238E27FC236}">
                  <a16:creationId xmlns:a16="http://schemas.microsoft.com/office/drawing/2014/main" id="{80DB635F-B4AD-CC16-6BC4-63D8BFABB08B}"/>
                </a:ext>
              </a:extLst>
            </p:cNvPr>
            <p:cNvSpPr/>
            <p:nvPr/>
          </p:nvSpPr>
          <p:spPr>
            <a:xfrm>
              <a:off x="5829624" y="925297"/>
              <a:ext cx="50618" cy="59238"/>
            </a:xfrm>
            <a:custGeom>
              <a:avLst/>
              <a:gdLst>
                <a:gd name="connsiteX0" fmla="*/ 88392 w 201358"/>
                <a:gd name="connsiteY0" fmla="*/ 235648 h 235648"/>
                <a:gd name="connsiteX1" fmla="*/ 51149 w 201358"/>
                <a:gd name="connsiteY1" fmla="*/ 228981 h 235648"/>
                <a:gd name="connsiteX2" fmla="*/ 23432 w 201358"/>
                <a:gd name="connsiteY2" fmla="*/ 210026 h 235648"/>
                <a:gd name="connsiteX3" fmla="*/ 6001 w 201358"/>
                <a:gd name="connsiteY3" fmla="*/ 180784 h 235648"/>
                <a:gd name="connsiteX4" fmla="*/ 0 w 201358"/>
                <a:gd name="connsiteY4" fmla="*/ 143256 h 235648"/>
                <a:gd name="connsiteX5" fmla="*/ 0 w 201358"/>
                <a:gd name="connsiteY5" fmla="*/ 0 h 235648"/>
                <a:gd name="connsiteX6" fmla="*/ 34385 w 201358"/>
                <a:gd name="connsiteY6" fmla="*/ 0 h 235648"/>
                <a:gd name="connsiteX7" fmla="*/ 34385 w 201358"/>
                <a:gd name="connsiteY7" fmla="*/ 134493 h 235648"/>
                <a:gd name="connsiteX8" fmla="*/ 50959 w 201358"/>
                <a:gd name="connsiteY8" fmla="*/ 185261 h 235648"/>
                <a:gd name="connsiteX9" fmla="*/ 98298 w 201358"/>
                <a:gd name="connsiteY9" fmla="*/ 203930 h 235648"/>
                <a:gd name="connsiteX10" fmla="*/ 125730 w 201358"/>
                <a:gd name="connsiteY10" fmla="*/ 198787 h 235648"/>
                <a:gd name="connsiteX11" fmla="*/ 147638 w 201358"/>
                <a:gd name="connsiteY11" fmla="*/ 184118 h 235648"/>
                <a:gd name="connsiteX12" fmla="*/ 162116 w 201358"/>
                <a:gd name="connsiteY12" fmla="*/ 161163 h 235648"/>
                <a:gd name="connsiteX13" fmla="*/ 167450 w 201358"/>
                <a:gd name="connsiteY13" fmla="*/ 131826 h 235648"/>
                <a:gd name="connsiteX14" fmla="*/ 167450 w 201358"/>
                <a:gd name="connsiteY14" fmla="*/ 0 h 235648"/>
                <a:gd name="connsiteX15" fmla="*/ 201359 w 201358"/>
                <a:gd name="connsiteY15" fmla="*/ 0 h 235648"/>
                <a:gd name="connsiteX16" fmla="*/ 201359 w 201358"/>
                <a:gd name="connsiteY16" fmla="*/ 230791 h 235648"/>
                <a:gd name="connsiteX17" fmla="*/ 167450 w 201358"/>
                <a:gd name="connsiteY17" fmla="*/ 230791 h 235648"/>
                <a:gd name="connsiteX18" fmla="*/ 167450 w 201358"/>
                <a:gd name="connsiteY18" fmla="*/ 190595 h 235648"/>
                <a:gd name="connsiteX19" fmla="*/ 137065 w 201358"/>
                <a:gd name="connsiteY19" fmla="*/ 222504 h 235648"/>
                <a:gd name="connsiteX20" fmla="*/ 88392 w 201358"/>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358" h="235648">
                  <a:moveTo>
                    <a:pt x="88392" y="235648"/>
                  </a:moveTo>
                  <a:cubicBezTo>
                    <a:pt x="74390" y="235648"/>
                    <a:pt x="62008" y="233363"/>
                    <a:pt x="51149" y="228981"/>
                  </a:cubicBezTo>
                  <a:cubicBezTo>
                    <a:pt x="40291" y="224504"/>
                    <a:pt x="31052" y="218218"/>
                    <a:pt x="23432"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959" y="185261"/>
                  </a:cubicBezTo>
                  <a:cubicBezTo>
                    <a:pt x="61913" y="197739"/>
                    <a:pt x="77724" y="203930"/>
                    <a:pt x="98298" y="203930"/>
                  </a:cubicBezTo>
                  <a:cubicBezTo>
                    <a:pt x="108109" y="203930"/>
                    <a:pt x="117253" y="202216"/>
                    <a:pt x="125730" y="198787"/>
                  </a:cubicBezTo>
                  <a:cubicBezTo>
                    <a:pt x="134207" y="195358"/>
                    <a:pt x="141446" y="190500"/>
                    <a:pt x="147638" y="184118"/>
                  </a:cubicBezTo>
                  <a:cubicBezTo>
                    <a:pt x="153734" y="177736"/>
                    <a:pt x="158591" y="170116"/>
                    <a:pt x="162116" y="161163"/>
                  </a:cubicBezTo>
                  <a:cubicBezTo>
                    <a:pt x="165735" y="152305"/>
                    <a:pt x="167450" y="142494"/>
                    <a:pt x="167450" y="131826"/>
                  </a:cubicBezTo>
                  <a:lnTo>
                    <a:pt x="167450" y="0"/>
                  </a:lnTo>
                  <a:lnTo>
                    <a:pt x="201359" y="0"/>
                  </a:lnTo>
                  <a:lnTo>
                    <a:pt x="201359" y="230791"/>
                  </a:lnTo>
                  <a:lnTo>
                    <a:pt x="167450" y="230791"/>
                  </a:lnTo>
                  <a:lnTo>
                    <a:pt x="167450" y="190595"/>
                  </a:lnTo>
                  <a:cubicBezTo>
                    <a:pt x="159734" y="203073"/>
                    <a:pt x="149543" y="213741"/>
                    <a:pt x="137065" y="222504"/>
                  </a:cubicBezTo>
                  <a:cubicBezTo>
                    <a:pt x="124587" y="231267"/>
                    <a:pt x="108395" y="235648"/>
                    <a:pt x="88392" y="235648"/>
                  </a:cubicBezTo>
                  <a:close/>
                </a:path>
              </a:pathLst>
            </a:custGeom>
            <a:solidFill>
              <a:srgbClr val="44505E"/>
            </a:solidFill>
            <a:ln w="9525" cap="flat">
              <a:noFill/>
              <a:prstDash val="solid"/>
              <a:miter/>
            </a:ln>
          </p:spPr>
          <p:txBody>
            <a:bodyPr rtlCol="0" anchor="ctr"/>
            <a:lstStyle/>
            <a:p>
              <a:endParaRPr lang="pt-BR" noProof="0"/>
            </a:p>
          </p:txBody>
        </p:sp>
        <p:sp>
          <p:nvSpPr>
            <p:cNvPr id="43" name="Freeform: Shape 42">
              <a:extLst>
                <a:ext uri="{FF2B5EF4-FFF2-40B4-BE49-F238E27FC236}">
                  <a16:creationId xmlns:a16="http://schemas.microsoft.com/office/drawing/2014/main" id="{796A75BA-1C12-EA6D-E0E7-B876B34ACF3A}"/>
                </a:ext>
              </a:extLst>
            </p:cNvPr>
            <p:cNvSpPr/>
            <p:nvPr/>
          </p:nvSpPr>
          <p:spPr>
            <a:xfrm>
              <a:off x="5896069"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7059 w 218217"/>
                <a:gd name="connsiteY3" fmla="*/ 206026 h 241077"/>
                <a:gd name="connsiteX4" fmla="*/ 116110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7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0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356 w 218217"/>
                <a:gd name="connsiteY25" fmla="*/ 106299 h 241077"/>
                <a:gd name="connsiteX26" fmla="*/ 176689 w 218217"/>
                <a:gd name="connsiteY26" fmla="*/ 76771 h 241077"/>
                <a:gd name="connsiteX27" fmla="*/ 162211 w 218217"/>
                <a:gd name="connsiteY27" fmla="*/ 52101 h 241077"/>
                <a:gd name="connsiteX28" fmla="*/ 139922 w 218217"/>
                <a:gd name="connsiteY28" fmla="*/ 35242 h 241077"/>
                <a:gd name="connsiteX29" fmla="*/ 109823 w 218217"/>
                <a:gd name="connsiteY29" fmla="*/ 29051 h 241077"/>
                <a:gd name="connsiteX30" fmla="*/ 82105 w 218217"/>
                <a:gd name="connsiteY30" fmla="*/ 34766 h 241077"/>
                <a:gd name="connsiteX31" fmla="*/ 59341 w 218217"/>
                <a:gd name="connsiteY31" fmla="*/ 50959 h 241077"/>
                <a:gd name="connsiteX32" fmla="*/ 43053 w 218217"/>
                <a:gd name="connsiteY32" fmla="*/ 75628 h 241077"/>
                <a:gd name="connsiteX33" fmla="*/ 34766 w 218217"/>
                <a:gd name="connsiteY33" fmla="*/ 106204 h 241077"/>
                <a:gd name="connsiteX34" fmla="*/ 183356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819" y="202597"/>
                    <a:pt x="87059" y="206026"/>
                  </a:cubicBezTo>
                  <a:cubicBezTo>
                    <a:pt x="96298" y="209455"/>
                    <a:pt x="105918" y="211169"/>
                    <a:pt x="116110" y="211169"/>
                  </a:cubicBezTo>
                  <a:cubicBezTo>
                    <a:pt x="132207" y="211169"/>
                    <a:pt x="145923" y="208216"/>
                    <a:pt x="157353" y="202216"/>
                  </a:cubicBezTo>
                  <a:cubicBezTo>
                    <a:pt x="168783" y="196310"/>
                    <a:pt x="179261" y="188404"/>
                    <a:pt x="188786" y="178594"/>
                  </a:cubicBezTo>
                  <a:lnTo>
                    <a:pt x="210217" y="197834"/>
                  </a:lnTo>
                  <a:cubicBezTo>
                    <a:pt x="198596" y="210979"/>
                    <a:pt x="185356" y="221361"/>
                    <a:pt x="170497" y="229267"/>
                  </a:cubicBezTo>
                  <a:cubicBezTo>
                    <a:pt x="155638"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583" y="0"/>
                    <a:pt x="110680"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356" y="106299"/>
                  </a:moveTo>
                  <a:cubicBezTo>
                    <a:pt x="182499" y="95917"/>
                    <a:pt x="180213" y="86106"/>
                    <a:pt x="176689" y="76771"/>
                  </a:cubicBezTo>
                  <a:cubicBezTo>
                    <a:pt x="173069" y="67437"/>
                    <a:pt x="168307" y="59245"/>
                    <a:pt x="162211" y="52101"/>
                  </a:cubicBezTo>
                  <a:cubicBezTo>
                    <a:pt x="156115" y="44958"/>
                    <a:pt x="148685" y="39338"/>
                    <a:pt x="139922" y="35242"/>
                  </a:cubicBezTo>
                  <a:cubicBezTo>
                    <a:pt x="131159" y="31147"/>
                    <a:pt x="121063" y="29051"/>
                    <a:pt x="109823" y="29051"/>
                  </a:cubicBezTo>
                  <a:cubicBezTo>
                    <a:pt x="100013" y="29051"/>
                    <a:pt x="90773" y="30956"/>
                    <a:pt x="82105" y="34766"/>
                  </a:cubicBezTo>
                  <a:cubicBezTo>
                    <a:pt x="73438" y="38671"/>
                    <a:pt x="65913" y="44005"/>
                    <a:pt x="59341" y="50959"/>
                  </a:cubicBezTo>
                  <a:cubicBezTo>
                    <a:pt x="52769" y="57912"/>
                    <a:pt x="47339" y="66103"/>
                    <a:pt x="43053" y="75628"/>
                  </a:cubicBezTo>
                  <a:cubicBezTo>
                    <a:pt x="38767" y="85058"/>
                    <a:pt x="36004" y="95345"/>
                    <a:pt x="34766" y="106204"/>
                  </a:cubicBezTo>
                  <a:lnTo>
                    <a:pt x="183356" y="106204"/>
                  </a:lnTo>
                  <a:close/>
                </a:path>
              </a:pathLst>
            </a:custGeom>
            <a:solidFill>
              <a:srgbClr val="44505E"/>
            </a:solidFill>
            <a:ln w="9525" cap="flat">
              <a:noFill/>
              <a:prstDash val="solid"/>
              <a:miter/>
            </a:ln>
          </p:spPr>
          <p:txBody>
            <a:bodyPr rtlCol="0" anchor="ctr"/>
            <a:lstStyle/>
            <a:p>
              <a:endParaRPr lang="pt-BR" noProof="0"/>
            </a:p>
          </p:txBody>
        </p:sp>
        <p:sp>
          <p:nvSpPr>
            <p:cNvPr id="44" name="Freeform: Shape 43">
              <a:extLst>
                <a:ext uri="{FF2B5EF4-FFF2-40B4-BE49-F238E27FC236}">
                  <a16:creationId xmlns:a16="http://schemas.microsoft.com/office/drawing/2014/main" id="{DC0372A6-A58C-56C1-B29F-85F952773AE0}"/>
                </a:ext>
              </a:extLst>
            </p:cNvPr>
            <p:cNvSpPr/>
            <p:nvPr/>
          </p:nvSpPr>
          <p:spPr>
            <a:xfrm>
              <a:off x="5994910" y="924268"/>
              <a:ext cx="44680" cy="60195"/>
            </a:xfrm>
            <a:custGeom>
              <a:avLst/>
              <a:gdLst>
                <a:gd name="connsiteX0" fmla="*/ 95536 w 177736"/>
                <a:gd name="connsiteY0" fmla="*/ 239268 h 239458"/>
                <a:gd name="connsiteX1" fmla="*/ 45053 w 177736"/>
                <a:gd name="connsiteY1" fmla="*/ 230124 h 239458"/>
                <a:gd name="connsiteX2" fmla="*/ 0 w 177736"/>
                <a:gd name="connsiteY2" fmla="*/ 205359 h 239458"/>
                <a:gd name="connsiteX3" fmla="*/ 17431 w 177736"/>
                <a:gd name="connsiteY3" fmla="*/ 180785 h 239458"/>
                <a:gd name="connsiteX4" fmla="*/ 56483 w 177736"/>
                <a:gd name="connsiteY4" fmla="*/ 202692 h 239458"/>
                <a:gd name="connsiteX5" fmla="*/ 97346 w 177736"/>
                <a:gd name="connsiteY5" fmla="*/ 210217 h 239458"/>
                <a:gd name="connsiteX6" fmla="*/ 131731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730 w 177736"/>
                <a:gd name="connsiteY10" fmla="*/ 147066 h 239458"/>
                <a:gd name="connsiteX11" fmla="*/ 109252 w 177736"/>
                <a:gd name="connsiteY11" fmla="*/ 138779 h 239458"/>
                <a:gd name="connsiteX12" fmla="*/ 87630 w 177736"/>
                <a:gd name="connsiteY12" fmla="*/ 132112 h 239458"/>
                <a:gd name="connsiteX13" fmla="*/ 60674 w 177736"/>
                <a:gd name="connsiteY13" fmla="*/ 123444 h 239458"/>
                <a:gd name="connsiteX14" fmla="*/ 36100 w 177736"/>
                <a:gd name="connsiteY14" fmla="*/ 111633 h 239458"/>
                <a:gd name="connsiteX15" fmla="*/ 18193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60 w 177736"/>
                <a:gd name="connsiteY22" fmla="*/ 6953 h 239458"/>
                <a:gd name="connsiteX23" fmla="*/ 172879 w 177736"/>
                <a:gd name="connsiteY23" fmla="*/ 25527 h 239458"/>
                <a:gd name="connsiteX24" fmla="*/ 157258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4 w 177736"/>
                <a:gd name="connsiteY32" fmla="*/ 96203 h 239458"/>
                <a:gd name="connsiteX33" fmla="*/ 103632 w 177736"/>
                <a:gd name="connsiteY33" fmla="*/ 103346 h 239458"/>
                <a:gd name="connsiteX34" fmla="*/ 130207 w 177736"/>
                <a:gd name="connsiteY34" fmla="*/ 112300 h 239458"/>
                <a:gd name="connsiteX35" fmla="*/ 154114 w 177736"/>
                <a:gd name="connsiteY35" fmla="*/ 124778 h 239458"/>
                <a:gd name="connsiteX36" fmla="*/ 171260 w 177736"/>
                <a:gd name="connsiteY36" fmla="*/ 143066 h 239458"/>
                <a:gd name="connsiteX37" fmla="*/ 177737 w 177736"/>
                <a:gd name="connsiteY37" fmla="*/ 169450 h 239458"/>
                <a:gd name="connsiteX38" fmla="*/ 177737 w 177736"/>
                <a:gd name="connsiteY38" fmla="*/ 170307 h 239458"/>
                <a:gd name="connsiteX39" fmla="*/ 171260 w 177736"/>
                <a:gd name="connsiteY39" fmla="*/ 199549 h 239458"/>
                <a:gd name="connsiteX40" fmla="*/ 153829 w 177736"/>
                <a:gd name="connsiteY40" fmla="*/ 221171 h 239458"/>
                <a:gd name="connsiteX41" fmla="*/ 127921 w 177736"/>
                <a:gd name="connsiteY41" fmla="*/ 234791 h 239458"/>
                <a:gd name="connsiteX42" fmla="*/ 95536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6" y="239268"/>
                  </a:moveTo>
                  <a:cubicBezTo>
                    <a:pt x="78867" y="239268"/>
                    <a:pt x="62008" y="236220"/>
                    <a:pt x="45053" y="230124"/>
                  </a:cubicBezTo>
                  <a:cubicBezTo>
                    <a:pt x="28099" y="224028"/>
                    <a:pt x="13049" y="215741"/>
                    <a:pt x="0" y="205359"/>
                  </a:cubicBezTo>
                  <a:lnTo>
                    <a:pt x="17431" y="180785"/>
                  </a:lnTo>
                  <a:cubicBezTo>
                    <a:pt x="29909"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637" y="162211"/>
                    <a:pt x="140494" y="158020"/>
                  </a:cubicBezTo>
                  <a:cubicBezTo>
                    <a:pt x="137351" y="153829"/>
                    <a:pt x="133160" y="150209"/>
                    <a:pt x="127730" y="147066"/>
                  </a:cubicBezTo>
                  <a:cubicBezTo>
                    <a:pt x="122396" y="143923"/>
                    <a:pt x="116205" y="141161"/>
                    <a:pt x="109252" y="138779"/>
                  </a:cubicBezTo>
                  <a:cubicBezTo>
                    <a:pt x="102299" y="136398"/>
                    <a:pt x="95060" y="134207"/>
                    <a:pt x="87630" y="132112"/>
                  </a:cubicBezTo>
                  <a:cubicBezTo>
                    <a:pt x="78677" y="129445"/>
                    <a:pt x="69723" y="126492"/>
                    <a:pt x="60674" y="123444"/>
                  </a:cubicBezTo>
                  <a:cubicBezTo>
                    <a:pt x="51626" y="120301"/>
                    <a:pt x="43434" y="116396"/>
                    <a:pt x="36100" y="111633"/>
                  </a:cubicBezTo>
                  <a:cubicBezTo>
                    <a:pt x="28766" y="106871"/>
                    <a:pt x="22860" y="100870"/>
                    <a:pt x="18193" y="93726"/>
                  </a:cubicBezTo>
                  <a:cubicBezTo>
                    <a:pt x="13621" y="86582"/>
                    <a:pt x="11239" y="77629"/>
                    <a:pt x="11239" y="66961"/>
                  </a:cubicBezTo>
                  <a:lnTo>
                    <a:pt x="11239" y="66008"/>
                  </a:lnTo>
                  <a:cubicBezTo>
                    <a:pt x="11239" y="56198"/>
                    <a:pt x="13145" y="47149"/>
                    <a:pt x="17050" y="39053"/>
                  </a:cubicBezTo>
                  <a:cubicBezTo>
                    <a:pt x="20860" y="30861"/>
                    <a:pt x="26289" y="23908"/>
                    <a:pt x="33338" y="18098"/>
                  </a:cubicBezTo>
                  <a:cubicBezTo>
                    <a:pt x="40291" y="12287"/>
                    <a:pt x="48673" y="7811"/>
                    <a:pt x="58388" y="4667"/>
                  </a:cubicBezTo>
                  <a:cubicBezTo>
                    <a:pt x="68009" y="1524"/>
                    <a:pt x="78581" y="0"/>
                    <a:pt x="89821" y="0"/>
                  </a:cubicBezTo>
                  <a:cubicBezTo>
                    <a:pt x="104108" y="0"/>
                    <a:pt x="118491" y="2286"/>
                    <a:pt x="133160" y="6953"/>
                  </a:cubicBezTo>
                  <a:cubicBezTo>
                    <a:pt x="147733" y="11621"/>
                    <a:pt x="160972" y="17717"/>
                    <a:pt x="172879" y="25527"/>
                  </a:cubicBezTo>
                  <a:lnTo>
                    <a:pt x="157258" y="51435"/>
                  </a:lnTo>
                  <a:cubicBezTo>
                    <a:pt x="146495" y="44577"/>
                    <a:pt x="135350" y="39148"/>
                    <a:pt x="123539" y="35147"/>
                  </a:cubicBezTo>
                  <a:cubicBezTo>
                    <a:pt x="111824" y="31147"/>
                    <a:pt x="100298" y="29146"/>
                    <a:pt x="88963" y="29146"/>
                  </a:cubicBezTo>
                  <a:cubicBezTo>
                    <a:pt x="75247" y="29146"/>
                    <a:pt x="64389" y="32385"/>
                    <a:pt x="56388" y="38767"/>
                  </a:cubicBezTo>
                  <a:cubicBezTo>
                    <a:pt x="48387" y="45149"/>
                    <a:pt x="44291" y="53150"/>
                    <a:pt x="44291" y="62675"/>
                  </a:cubicBezTo>
                  <a:lnTo>
                    <a:pt x="44291" y="63627"/>
                  </a:lnTo>
                  <a:cubicBezTo>
                    <a:pt x="44291" y="68961"/>
                    <a:pt x="45911" y="73628"/>
                    <a:pt x="49244" y="77724"/>
                  </a:cubicBezTo>
                  <a:cubicBezTo>
                    <a:pt x="52483" y="81725"/>
                    <a:pt x="56960" y="85249"/>
                    <a:pt x="62389" y="88202"/>
                  </a:cubicBezTo>
                  <a:cubicBezTo>
                    <a:pt x="67913" y="91154"/>
                    <a:pt x="74200" y="93821"/>
                    <a:pt x="81344" y="96203"/>
                  </a:cubicBezTo>
                  <a:cubicBezTo>
                    <a:pt x="88487" y="98584"/>
                    <a:pt x="95917" y="100965"/>
                    <a:pt x="103632" y="103346"/>
                  </a:cubicBezTo>
                  <a:cubicBezTo>
                    <a:pt x="112586" y="106013"/>
                    <a:pt x="121444" y="108966"/>
                    <a:pt x="130207" y="112300"/>
                  </a:cubicBezTo>
                  <a:cubicBezTo>
                    <a:pt x="138970" y="115538"/>
                    <a:pt x="146971" y="119729"/>
                    <a:pt x="154114" y="124778"/>
                  </a:cubicBezTo>
                  <a:cubicBezTo>
                    <a:pt x="161258" y="129826"/>
                    <a:pt x="166973" y="135922"/>
                    <a:pt x="171260" y="143066"/>
                  </a:cubicBezTo>
                  <a:cubicBezTo>
                    <a:pt x="175546" y="150209"/>
                    <a:pt x="177737" y="158972"/>
                    <a:pt x="177737" y="169450"/>
                  </a:cubicBezTo>
                  <a:lnTo>
                    <a:pt x="177737" y="170307"/>
                  </a:lnTo>
                  <a:cubicBezTo>
                    <a:pt x="177737" y="181356"/>
                    <a:pt x="175546" y="191071"/>
                    <a:pt x="171260" y="199549"/>
                  </a:cubicBezTo>
                  <a:cubicBezTo>
                    <a:pt x="166973" y="208026"/>
                    <a:pt x="161163" y="215265"/>
                    <a:pt x="153829" y="221171"/>
                  </a:cubicBezTo>
                  <a:cubicBezTo>
                    <a:pt x="146495" y="227171"/>
                    <a:pt x="137922" y="231648"/>
                    <a:pt x="127921" y="234791"/>
                  </a:cubicBezTo>
                  <a:cubicBezTo>
                    <a:pt x="117920" y="237935"/>
                    <a:pt x="107156" y="239459"/>
                    <a:pt x="95536" y="239459"/>
                  </a:cubicBezTo>
                  <a:close/>
                </a:path>
              </a:pathLst>
            </a:custGeom>
            <a:solidFill>
              <a:srgbClr val="44505E"/>
            </a:solidFill>
            <a:ln w="9525" cap="flat">
              <a:noFill/>
              <a:prstDash val="solid"/>
              <a:miter/>
            </a:ln>
          </p:spPr>
          <p:txBody>
            <a:bodyPr rtlCol="0" anchor="ctr"/>
            <a:lstStyle/>
            <a:p>
              <a:endParaRPr lang="pt-BR" noProof="0"/>
            </a:p>
          </p:txBody>
        </p:sp>
        <p:sp>
          <p:nvSpPr>
            <p:cNvPr id="45" name="Freeform: Shape 44">
              <a:extLst>
                <a:ext uri="{FF2B5EF4-FFF2-40B4-BE49-F238E27FC236}">
                  <a16:creationId xmlns:a16="http://schemas.microsoft.com/office/drawing/2014/main" id="{A4CC74E1-F105-23FD-5E85-CD3B5CC3CD74}"/>
                </a:ext>
              </a:extLst>
            </p:cNvPr>
            <p:cNvSpPr/>
            <p:nvPr/>
          </p:nvSpPr>
          <p:spPr>
            <a:xfrm>
              <a:off x="605122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4 w 202977"/>
                <a:gd name="connsiteY30" fmla="*/ 174593 h 239267"/>
                <a:gd name="connsiteX31" fmla="*/ 169735 w 202977"/>
                <a:gd name="connsiteY31" fmla="*/ 149447 h 239267"/>
                <a:gd name="connsiteX32" fmla="*/ 169735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0" y="90964"/>
                    <a:pt x="98584" y="90964"/>
                  </a:cubicBezTo>
                  <a:cubicBezTo>
                    <a:pt x="113157" y="90964"/>
                    <a:pt x="126301"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1" y="33147"/>
                    <a:pt x="63436" y="36100"/>
                  </a:cubicBezTo>
                  <a:cubicBezTo>
                    <a:pt x="52292" y="39053"/>
                    <a:pt x="41338" y="43053"/>
                    <a:pt x="30671" y="48196"/>
                  </a:cubicBezTo>
                  <a:lnTo>
                    <a:pt x="20383" y="19907"/>
                  </a:lnTo>
                  <a:cubicBezTo>
                    <a:pt x="33147" y="13906"/>
                    <a:pt x="46101" y="9049"/>
                    <a:pt x="59246" y="5429"/>
                  </a:cubicBezTo>
                  <a:cubicBezTo>
                    <a:pt x="72295"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1" y="239173"/>
                  </a:cubicBezTo>
                  <a:close/>
                  <a:moveTo>
                    <a:pt x="93154" y="211169"/>
                  </a:moveTo>
                  <a:cubicBezTo>
                    <a:pt x="103822" y="211169"/>
                    <a:pt x="113728" y="209740"/>
                    <a:pt x="122967" y="206788"/>
                  </a:cubicBezTo>
                  <a:cubicBezTo>
                    <a:pt x="132207" y="203835"/>
                    <a:pt x="140208" y="199644"/>
                    <a:pt x="147256" y="194120"/>
                  </a:cubicBezTo>
                  <a:cubicBezTo>
                    <a:pt x="154209" y="188595"/>
                    <a:pt x="159734" y="182118"/>
                    <a:pt x="163734" y="174593"/>
                  </a:cubicBezTo>
                  <a:cubicBezTo>
                    <a:pt x="167735" y="167068"/>
                    <a:pt x="169735" y="158687"/>
                    <a:pt x="169735" y="149447"/>
                  </a:cubicBezTo>
                  <a:lnTo>
                    <a:pt x="169735" y="128111"/>
                  </a:lnTo>
                  <a:cubicBezTo>
                    <a:pt x="161163" y="125730"/>
                    <a:pt x="151352" y="123539"/>
                    <a:pt x="140398" y="121444"/>
                  </a:cubicBezTo>
                  <a:cubicBezTo>
                    <a:pt x="129445" y="119348"/>
                    <a:pt x="116872"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46" name="Freeform: Shape 45">
              <a:extLst>
                <a:ext uri="{FF2B5EF4-FFF2-40B4-BE49-F238E27FC236}">
                  <a16:creationId xmlns:a16="http://schemas.microsoft.com/office/drawing/2014/main" id="{7741785F-5CE3-FCAD-E167-A6B01F5EE739}"/>
                </a:ext>
              </a:extLst>
            </p:cNvPr>
            <p:cNvSpPr/>
            <p:nvPr/>
          </p:nvSpPr>
          <p:spPr>
            <a:xfrm>
              <a:off x="6121359" y="901377"/>
              <a:ext cx="8644" cy="81913"/>
            </a:xfrm>
            <a:custGeom>
              <a:avLst/>
              <a:gdLst>
                <a:gd name="connsiteX0" fmla="*/ 0 w 34385"/>
                <a:gd name="connsiteY0" fmla="*/ 0 h 325850"/>
                <a:gd name="connsiteX1" fmla="*/ 34385 w 34385"/>
                <a:gd name="connsiteY1" fmla="*/ 0 h 325850"/>
                <a:gd name="connsiteX2" fmla="*/ 34385 w 34385"/>
                <a:gd name="connsiteY2" fmla="*/ 325850 h 325850"/>
                <a:gd name="connsiteX3" fmla="*/ 0 w 34385"/>
                <a:gd name="connsiteY3" fmla="*/ 325850 h 325850"/>
                <a:gd name="connsiteX4" fmla="*/ 0 w 34385"/>
                <a:gd name="connsiteY4" fmla="*/ 0 h 32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 h="325850">
                  <a:moveTo>
                    <a:pt x="0" y="0"/>
                  </a:moveTo>
                  <a:lnTo>
                    <a:pt x="34385" y="0"/>
                  </a:lnTo>
                  <a:lnTo>
                    <a:pt x="34385" y="325850"/>
                  </a:lnTo>
                  <a:lnTo>
                    <a:pt x="0" y="325850"/>
                  </a:lnTo>
                  <a:lnTo>
                    <a:pt x="0" y="0"/>
                  </a:lnTo>
                  <a:close/>
                </a:path>
              </a:pathLst>
            </a:custGeom>
            <a:solidFill>
              <a:srgbClr val="44505E"/>
            </a:solidFill>
            <a:ln w="9525" cap="flat">
              <a:noFill/>
              <a:prstDash val="solid"/>
              <a:miter/>
            </a:ln>
          </p:spPr>
          <p:txBody>
            <a:bodyPr rtlCol="0" anchor="ctr"/>
            <a:lstStyle/>
            <a:p>
              <a:endParaRPr lang="pt-BR" noProof="0"/>
            </a:p>
          </p:txBody>
        </p:sp>
        <p:sp>
          <p:nvSpPr>
            <p:cNvPr id="47" name="Freeform: Shape 46">
              <a:extLst>
                <a:ext uri="{FF2B5EF4-FFF2-40B4-BE49-F238E27FC236}">
                  <a16:creationId xmlns:a16="http://schemas.microsoft.com/office/drawing/2014/main" id="{8DAF6CF4-CF25-D112-C107-5E92E8226D77}"/>
                </a:ext>
              </a:extLst>
            </p:cNvPr>
            <p:cNvSpPr/>
            <p:nvPr/>
          </p:nvSpPr>
          <p:spPr>
            <a:xfrm>
              <a:off x="6144346" y="925273"/>
              <a:ext cx="58016" cy="58448"/>
            </a:xfrm>
            <a:custGeom>
              <a:avLst/>
              <a:gdLst>
                <a:gd name="connsiteX0" fmla="*/ 95 w 230790"/>
                <a:gd name="connsiteY0" fmla="*/ 0 h 232505"/>
                <a:gd name="connsiteX1" fmla="*/ 38005 w 230790"/>
                <a:gd name="connsiteY1" fmla="*/ 0 h 232505"/>
                <a:gd name="connsiteX2" fmla="*/ 115634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4"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48" name="Freeform: Shape 47">
              <a:extLst>
                <a:ext uri="{FF2B5EF4-FFF2-40B4-BE49-F238E27FC236}">
                  <a16:creationId xmlns:a16="http://schemas.microsoft.com/office/drawing/2014/main" id="{DA5CB994-3ADC-1E1C-5980-725E67BDAB83}"/>
                </a:ext>
              </a:extLst>
            </p:cNvPr>
            <p:cNvSpPr/>
            <p:nvPr/>
          </p:nvSpPr>
          <p:spPr>
            <a:xfrm>
              <a:off x="621155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8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338 w 202977"/>
                <a:gd name="connsiteY36" fmla="*/ 164497 h 239267"/>
                <a:gd name="connsiteX37" fmla="*/ 35338 w 202977"/>
                <a:gd name="connsiteY37" fmla="*/ 165449 h 239267"/>
                <a:gd name="connsiteX38" fmla="*/ 40005 w 202977"/>
                <a:gd name="connsiteY38" fmla="*/ 184785 h 239267"/>
                <a:gd name="connsiteX39" fmla="*/ 52673 w 202977"/>
                <a:gd name="connsiteY39" fmla="*/ 199263 h 239267"/>
                <a:gd name="connsiteX40" fmla="*/ 71152 w 202977"/>
                <a:gd name="connsiteY40" fmla="*/ 208121 h 239267"/>
                <a:gd name="connsiteX41" fmla="*/ 93154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438" y="239268"/>
                    <a:pt x="64961"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1" y="90964"/>
                    <a:pt x="98584" y="90964"/>
                  </a:cubicBezTo>
                  <a:cubicBezTo>
                    <a:pt x="113157" y="90964"/>
                    <a:pt x="126302" y="91821"/>
                    <a:pt x="137160" y="93631"/>
                  </a:cubicBezTo>
                  <a:cubicBezTo>
                    <a:pt x="148019" y="95440"/>
                    <a:pt x="158687" y="97822"/>
                    <a:pt x="169069" y="100774"/>
                  </a:cubicBezTo>
                  <a:lnTo>
                    <a:pt x="169069" y="93726"/>
                  </a:lnTo>
                  <a:cubicBezTo>
                    <a:pt x="169069" y="73342"/>
                    <a:pt x="163068" y="57912"/>
                    <a:pt x="151162" y="47339"/>
                  </a:cubicBezTo>
                  <a:cubicBezTo>
                    <a:pt x="139255" y="36862"/>
                    <a:pt x="122491" y="31623"/>
                    <a:pt x="100679" y="31623"/>
                  </a:cubicBezTo>
                  <a:cubicBezTo>
                    <a:pt x="86963" y="31623"/>
                    <a:pt x="74581" y="33147"/>
                    <a:pt x="63437" y="36100"/>
                  </a:cubicBezTo>
                  <a:cubicBezTo>
                    <a:pt x="52292" y="39053"/>
                    <a:pt x="41338" y="43053"/>
                    <a:pt x="30671" y="48196"/>
                  </a:cubicBezTo>
                  <a:lnTo>
                    <a:pt x="20383" y="19907"/>
                  </a:lnTo>
                  <a:cubicBezTo>
                    <a:pt x="33147" y="13906"/>
                    <a:pt x="46101" y="9049"/>
                    <a:pt x="59246" y="5429"/>
                  </a:cubicBezTo>
                  <a:cubicBezTo>
                    <a:pt x="72390"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04" y="239173"/>
                    <a:pt x="86011" y="239173"/>
                  </a:cubicBezTo>
                  <a:close/>
                  <a:moveTo>
                    <a:pt x="93154" y="211169"/>
                  </a:moveTo>
                  <a:cubicBezTo>
                    <a:pt x="103822" y="211169"/>
                    <a:pt x="113824" y="209740"/>
                    <a:pt x="122968" y="206788"/>
                  </a:cubicBezTo>
                  <a:cubicBezTo>
                    <a:pt x="132112"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5" y="119348"/>
                    <a:pt x="116777" y="118300"/>
                    <a:pt x="102584" y="118300"/>
                  </a:cubicBezTo>
                  <a:cubicBezTo>
                    <a:pt x="81248" y="118300"/>
                    <a:pt x="64675" y="122491"/>
                    <a:pt x="52959" y="130969"/>
                  </a:cubicBezTo>
                  <a:cubicBezTo>
                    <a:pt x="41243" y="139446"/>
                    <a:pt x="35338" y="150590"/>
                    <a:pt x="35338" y="164497"/>
                  </a:cubicBezTo>
                  <a:lnTo>
                    <a:pt x="35338" y="165449"/>
                  </a:lnTo>
                  <a:cubicBezTo>
                    <a:pt x="35338" y="172498"/>
                    <a:pt x="36862" y="178975"/>
                    <a:pt x="40005" y="184785"/>
                  </a:cubicBezTo>
                  <a:cubicBezTo>
                    <a:pt x="43148" y="190500"/>
                    <a:pt x="47339" y="195358"/>
                    <a:pt x="52673" y="199263"/>
                  </a:cubicBezTo>
                  <a:cubicBezTo>
                    <a:pt x="58007" y="203073"/>
                    <a:pt x="64198" y="206026"/>
                    <a:pt x="71152" y="208121"/>
                  </a:cubicBezTo>
                  <a:cubicBezTo>
                    <a:pt x="78105" y="210217"/>
                    <a:pt x="85439" y="211169"/>
                    <a:pt x="93154" y="211169"/>
                  </a:cubicBezTo>
                  <a:close/>
                </a:path>
              </a:pathLst>
            </a:custGeom>
            <a:solidFill>
              <a:srgbClr val="44505E"/>
            </a:solidFill>
            <a:ln w="9525" cap="flat">
              <a:noFill/>
              <a:prstDash val="solid"/>
              <a:miter/>
            </a:ln>
          </p:spPr>
          <p:txBody>
            <a:bodyPr rtlCol="0" anchor="ctr"/>
            <a:lstStyle/>
            <a:p>
              <a:endParaRPr lang="pt-BR" noProof="0"/>
            </a:p>
          </p:txBody>
        </p:sp>
        <p:sp>
          <p:nvSpPr>
            <p:cNvPr id="49" name="Freeform: Shape 48">
              <a:extLst>
                <a:ext uri="{FF2B5EF4-FFF2-40B4-BE49-F238E27FC236}">
                  <a16:creationId xmlns:a16="http://schemas.microsoft.com/office/drawing/2014/main" id="{BB4126E9-B50A-A055-C998-69C48DD9AA5A}"/>
                </a:ext>
              </a:extLst>
            </p:cNvPr>
            <p:cNvSpPr/>
            <p:nvPr/>
          </p:nvSpPr>
          <p:spPr>
            <a:xfrm>
              <a:off x="6280899" y="923980"/>
              <a:ext cx="87995" cy="59238"/>
            </a:xfrm>
            <a:custGeom>
              <a:avLst/>
              <a:gdLst>
                <a:gd name="connsiteX0" fmla="*/ 0 w 350043"/>
                <a:gd name="connsiteY0" fmla="*/ 5144 h 235648"/>
                <a:gd name="connsiteX1" fmla="*/ 34385 w 350043"/>
                <a:gd name="connsiteY1" fmla="*/ 5144 h 235648"/>
                <a:gd name="connsiteX2" fmla="*/ 34385 w 350043"/>
                <a:gd name="connsiteY2" fmla="*/ 44005 h 235648"/>
                <a:gd name="connsiteX3" fmla="*/ 47149 w 350043"/>
                <a:gd name="connsiteY3" fmla="*/ 27432 h 235648"/>
                <a:gd name="connsiteX4" fmla="*/ 62960 w 350043"/>
                <a:gd name="connsiteY4" fmla="*/ 13335 h 235648"/>
                <a:gd name="connsiteX5" fmla="*/ 83058 w 350043"/>
                <a:gd name="connsiteY5" fmla="*/ 3715 h 235648"/>
                <a:gd name="connsiteX6" fmla="*/ 108966 w 350043"/>
                <a:gd name="connsiteY6" fmla="*/ 95 h 235648"/>
                <a:gd name="connsiteX7" fmla="*/ 155448 w 350043"/>
                <a:gd name="connsiteY7" fmla="*/ 13240 h 235648"/>
                <a:gd name="connsiteX8" fmla="*/ 183166 w 350043"/>
                <a:gd name="connsiteY8" fmla="*/ 46006 h 235648"/>
                <a:gd name="connsiteX9" fmla="*/ 197168 w 350043"/>
                <a:gd name="connsiteY9" fmla="*/ 28194 h 235648"/>
                <a:gd name="connsiteX10" fmla="*/ 214789 w 350043"/>
                <a:gd name="connsiteY10" fmla="*/ 13430 h 235648"/>
                <a:gd name="connsiteX11" fmla="*/ 236887 w 350043"/>
                <a:gd name="connsiteY11" fmla="*/ 3620 h 235648"/>
                <a:gd name="connsiteX12" fmla="*/ 264319 w 350043"/>
                <a:gd name="connsiteY12" fmla="*/ 0 h 235648"/>
                <a:gd name="connsiteX13" fmla="*/ 327279 w 350043"/>
                <a:gd name="connsiteY13" fmla="*/ 24765 h 235648"/>
                <a:gd name="connsiteX14" fmla="*/ 350044 w 350043"/>
                <a:gd name="connsiteY14" fmla="*/ 92773 h 235648"/>
                <a:gd name="connsiteX15" fmla="*/ 350044 w 350043"/>
                <a:gd name="connsiteY15" fmla="*/ 235648 h 235648"/>
                <a:gd name="connsiteX16" fmla="*/ 315659 w 350043"/>
                <a:gd name="connsiteY16" fmla="*/ 235648 h 235648"/>
                <a:gd name="connsiteX17" fmla="*/ 315659 w 350043"/>
                <a:gd name="connsiteY17" fmla="*/ 101155 h 235648"/>
                <a:gd name="connsiteX18" fmla="*/ 299847 w 350043"/>
                <a:gd name="connsiteY18" fmla="*/ 49721 h 235648"/>
                <a:gd name="connsiteX19" fmla="*/ 255937 w 350043"/>
                <a:gd name="connsiteY19" fmla="*/ 31718 h 235648"/>
                <a:gd name="connsiteX20" fmla="*/ 231362 w 350043"/>
                <a:gd name="connsiteY20" fmla="*/ 36386 h 235648"/>
                <a:gd name="connsiteX21" fmla="*/ 211074 w 350043"/>
                <a:gd name="connsiteY21" fmla="*/ 50197 h 235648"/>
                <a:gd name="connsiteX22" fmla="*/ 197263 w 350043"/>
                <a:gd name="connsiteY22" fmla="*/ 72676 h 235648"/>
                <a:gd name="connsiteX23" fmla="*/ 192119 w 350043"/>
                <a:gd name="connsiteY23" fmla="*/ 102965 h 235648"/>
                <a:gd name="connsiteX24" fmla="*/ 192119 w 350043"/>
                <a:gd name="connsiteY24" fmla="*/ 235648 h 235648"/>
                <a:gd name="connsiteX25" fmla="*/ 158210 w 350043"/>
                <a:gd name="connsiteY25" fmla="*/ 235648 h 235648"/>
                <a:gd name="connsiteX26" fmla="*/ 158210 w 350043"/>
                <a:gd name="connsiteY26" fmla="*/ 100298 h 235648"/>
                <a:gd name="connsiteX27" fmla="*/ 142399 w 350043"/>
                <a:gd name="connsiteY27" fmla="*/ 49721 h 235648"/>
                <a:gd name="connsiteX28" fmla="*/ 98870 w 350043"/>
                <a:gd name="connsiteY28" fmla="*/ 31718 h 235648"/>
                <a:gd name="connsiteX29" fmla="*/ 73438 w 350043"/>
                <a:gd name="connsiteY29" fmla="*/ 37052 h 235648"/>
                <a:gd name="connsiteX30" fmla="*/ 53150 w 350043"/>
                <a:gd name="connsiteY30" fmla="*/ 52197 h 235648"/>
                <a:gd name="connsiteX31" fmla="*/ 39529 w 350043"/>
                <a:gd name="connsiteY31" fmla="*/ 75152 h 235648"/>
                <a:gd name="connsiteX32" fmla="*/ 34576 w 350043"/>
                <a:gd name="connsiteY32" fmla="*/ 104299 h 235648"/>
                <a:gd name="connsiteX33" fmla="*/ 34576 w 350043"/>
                <a:gd name="connsiteY33" fmla="*/ 235648 h 235648"/>
                <a:gd name="connsiteX34" fmla="*/ 190 w 350043"/>
                <a:gd name="connsiteY34" fmla="*/ 235648 h 235648"/>
                <a:gd name="connsiteX35" fmla="*/ 190 w 350043"/>
                <a:gd name="connsiteY35" fmla="*/ 485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0043" h="235648">
                  <a:moveTo>
                    <a:pt x="0" y="5144"/>
                  </a:moveTo>
                  <a:lnTo>
                    <a:pt x="34385" y="5144"/>
                  </a:lnTo>
                  <a:lnTo>
                    <a:pt x="34385" y="44005"/>
                  </a:lnTo>
                  <a:cubicBezTo>
                    <a:pt x="38290" y="38386"/>
                    <a:pt x="42481" y="32861"/>
                    <a:pt x="47149" y="27432"/>
                  </a:cubicBezTo>
                  <a:cubicBezTo>
                    <a:pt x="51721" y="22098"/>
                    <a:pt x="57055" y="17431"/>
                    <a:pt x="62960" y="13335"/>
                  </a:cubicBezTo>
                  <a:cubicBezTo>
                    <a:pt x="68866" y="9335"/>
                    <a:pt x="75629" y="6096"/>
                    <a:pt x="83058" y="3715"/>
                  </a:cubicBezTo>
                  <a:cubicBezTo>
                    <a:pt x="90488" y="1334"/>
                    <a:pt x="99155" y="95"/>
                    <a:pt x="108966" y="95"/>
                  </a:cubicBezTo>
                  <a:cubicBezTo>
                    <a:pt x="127730" y="95"/>
                    <a:pt x="143161" y="4477"/>
                    <a:pt x="155448" y="13240"/>
                  </a:cubicBezTo>
                  <a:cubicBezTo>
                    <a:pt x="167640" y="22003"/>
                    <a:pt x="176879" y="32956"/>
                    <a:pt x="183166" y="46006"/>
                  </a:cubicBezTo>
                  <a:cubicBezTo>
                    <a:pt x="187357" y="39719"/>
                    <a:pt x="192024" y="33814"/>
                    <a:pt x="197168" y="28194"/>
                  </a:cubicBezTo>
                  <a:cubicBezTo>
                    <a:pt x="202406" y="22574"/>
                    <a:pt x="208217" y="17621"/>
                    <a:pt x="214789" y="13430"/>
                  </a:cubicBezTo>
                  <a:cubicBezTo>
                    <a:pt x="221361" y="9239"/>
                    <a:pt x="228695" y="6001"/>
                    <a:pt x="236887" y="3620"/>
                  </a:cubicBezTo>
                  <a:cubicBezTo>
                    <a:pt x="245078" y="1238"/>
                    <a:pt x="254222" y="0"/>
                    <a:pt x="264319" y="0"/>
                  </a:cubicBezTo>
                  <a:cubicBezTo>
                    <a:pt x="291084" y="0"/>
                    <a:pt x="312039" y="8287"/>
                    <a:pt x="327279" y="24765"/>
                  </a:cubicBezTo>
                  <a:cubicBezTo>
                    <a:pt x="342519" y="41243"/>
                    <a:pt x="350044" y="63913"/>
                    <a:pt x="350044" y="92773"/>
                  </a:cubicBezTo>
                  <a:lnTo>
                    <a:pt x="350044" y="235648"/>
                  </a:lnTo>
                  <a:lnTo>
                    <a:pt x="315659" y="235648"/>
                  </a:lnTo>
                  <a:lnTo>
                    <a:pt x="315659" y="101155"/>
                  </a:lnTo>
                  <a:cubicBezTo>
                    <a:pt x="315659" y="78867"/>
                    <a:pt x="310420" y="61722"/>
                    <a:pt x="299847" y="49721"/>
                  </a:cubicBezTo>
                  <a:cubicBezTo>
                    <a:pt x="289274" y="37719"/>
                    <a:pt x="274606" y="31718"/>
                    <a:pt x="255937" y="31718"/>
                  </a:cubicBezTo>
                  <a:cubicBezTo>
                    <a:pt x="247269" y="31718"/>
                    <a:pt x="239078" y="33242"/>
                    <a:pt x="231362" y="36386"/>
                  </a:cubicBezTo>
                  <a:cubicBezTo>
                    <a:pt x="223647" y="39529"/>
                    <a:pt x="216884" y="44101"/>
                    <a:pt x="211074" y="50197"/>
                  </a:cubicBezTo>
                  <a:cubicBezTo>
                    <a:pt x="205264" y="56293"/>
                    <a:pt x="200692" y="63818"/>
                    <a:pt x="197263" y="72676"/>
                  </a:cubicBezTo>
                  <a:cubicBezTo>
                    <a:pt x="193834" y="81629"/>
                    <a:pt x="192119" y="91726"/>
                    <a:pt x="192119" y="102965"/>
                  </a:cubicBezTo>
                  <a:lnTo>
                    <a:pt x="192119" y="235648"/>
                  </a:lnTo>
                  <a:lnTo>
                    <a:pt x="158210" y="235648"/>
                  </a:lnTo>
                  <a:lnTo>
                    <a:pt x="158210" y="100298"/>
                  </a:lnTo>
                  <a:cubicBezTo>
                    <a:pt x="158210" y="78677"/>
                    <a:pt x="152971" y="61817"/>
                    <a:pt x="142399" y="49721"/>
                  </a:cubicBezTo>
                  <a:cubicBezTo>
                    <a:pt x="131826" y="37719"/>
                    <a:pt x="117348" y="31718"/>
                    <a:pt x="98870" y="31718"/>
                  </a:cubicBezTo>
                  <a:cubicBezTo>
                    <a:pt x="89630" y="31718"/>
                    <a:pt x="81153" y="33528"/>
                    <a:pt x="73438" y="37052"/>
                  </a:cubicBezTo>
                  <a:cubicBezTo>
                    <a:pt x="65722" y="40672"/>
                    <a:pt x="58960" y="45720"/>
                    <a:pt x="53150" y="52197"/>
                  </a:cubicBezTo>
                  <a:cubicBezTo>
                    <a:pt x="47339" y="58769"/>
                    <a:pt x="42767" y="66389"/>
                    <a:pt x="39529" y="75152"/>
                  </a:cubicBezTo>
                  <a:cubicBezTo>
                    <a:pt x="36290" y="83915"/>
                    <a:pt x="34576" y="93631"/>
                    <a:pt x="34576" y="104299"/>
                  </a:cubicBezTo>
                  <a:lnTo>
                    <a:pt x="34576" y="235648"/>
                  </a:lnTo>
                  <a:lnTo>
                    <a:pt x="190" y="235648"/>
                  </a:lnTo>
                  <a:lnTo>
                    <a:pt x="190" y="4858"/>
                  </a:lnTo>
                  <a:close/>
                </a:path>
              </a:pathLst>
            </a:custGeom>
            <a:solidFill>
              <a:srgbClr val="44505E"/>
            </a:solidFill>
            <a:ln w="9525" cap="flat">
              <a:noFill/>
              <a:prstDash val="solid"/>
              <a:miter/>
            </a:ln>
          </p:spPr>
          <p:txBody>
            <a:bodyPr rtlCol="0" anchor="ctr"/>
            <a:lstStyle/>
            <a:p>
              <a:endParaRPr lang="pt-BR" noProof="0"/>
            </a:p>
          </p:txBody>
        </p:sp>
        <p:sp>
          <p:nvSpPr>
            <p:cNvPr id="50" name="Freeform: Shape 49">
              <a:extLst>
                <a:ext uri="{FF2B5EF4-FFF2-40B4-BE49-F238E27FC236}">
                  <a16:creationId xmlns:a16="http://schemas.microsoft.com/office/drawing/2014/main" id="{C4220802-8A07-CBF3-0849-ADC3A4016CE0}"/>
                </a:ext>
              </a:extLst>
            </p:cNvPr>
            <p:cNvSpPr/>
            <p:nvPr/>
          </p:nvSpPr>
          <p:spPr>
            <a:xfrm>
              <a:off x="6415537" y="925273"/>
              <a:ext cx="58016" cy="58448"/>
            </a:xfrm>
            <a:custGeom>
              <a:avLst/>
              <a:gdLst>
                <a:gd name="connsiteX0" fmla="*/ 95 w 230790"/>
                <a:gd name="connsiteY0" fmla="*/ 0 h 232505"/>
                <a:gd name="connsiteX1" fmla="*/ 38005 w 230790"/>
                <a:gd name="connsiteY1" fmla="*/ 0 h 232505"/>
                <a:gd name="connsiteX2" fmla="*/ 115633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3"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51" name="Freeform: Shape 50">
              <a:extLst>
                <a:ext uri="{FF2B5EF4-FFF2-40B4-BE49-F238E27FC236}">
                  <a16:creationId xmlns:a16="http://schemas.microsoft.com/office/drawing/2014/main" id="{AF0DBF7D-34A7-7E43-FF44-A5E69440C41C}"/>
                </a:ext>
              </a:extLst>
            </p:cNvPr>
            <p:cNvSpPr/>
            <p:nvPr/>
          </p:nvSpPr>
          <p:spPr>
            <a:xfrm>
              <a:off x="6487369"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286 w 39242"/>
                <a:gd name="connsiteY5" fmla="*/ 88392 h 319182"/>
                <a:gd name="connsiteX6" fmla="*/ 36671 w 39242"/>
                <a:gd name="connsiteY6" fmla="*/ 88392 h 319182"/>
                <a:gd name="connsiteX7" fmla="*/ 36671 w 39242"/>
                <a:gd name="connsiteY7" fmla="*/ 319183 h 319182"/>
                <a:gd name="connsiteX8" fmla="*/ 2286 w 39242"/>
                <a:gd name="connsiteY8" fmla="*/ 319183 h 319182"/>
                <a:gd name="connsiteX9" fmla="*/ 2286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286" y="88392"/>
                  </a:moveTo>
                  <a:lnTo>
                    <a:pt x="36671" y="88392"/>
                  </a:lnTo>
                  <a:lnTo>
                    <a:pt x="36671" y="319183"/>
                  </a:lnTo>
                  <a:lnTo>
                    <a:pt x="2286" y="319183"/>
                  </a:lnTo>
                  <a:lnTo>
                    <a:pt x="2286" y="88392"/>
                  </a:lnTo>
                  <a:close/>
                </a:path>
              </a:pathLst>
            </a:custGeom>
            <a:solidFill>
              <a:srgbClr val="44505E"/>
            </a:solidFill>
            <a:ln w="9525" cap="flat">
              <a:noFill/>
              <a:prstDash val="solid"/>
              <a:miter/>
            </a:ln>
          </p:spPr>
          <p:txBody>
            <a:bodyPr rtlCol="0" anchor="ctr"/>
            <a:lstStyle/>
            <a:p>
              <a:endParaRPr lang="pt-BR" noProof="0"/>
            </a:p>
          </p:txBody>
        </p:sp>
        <p:sp>
          <p:nvSpPr>
            <p:cNvPr id="52" name="Freeform: Shape 51">
              <a:extLst>
                <a:ext uri="{FF2B5EF4-FFF2-40B4-BE49-F238E27FC236}">
                  <a16:creationId xmlns:a16="http://schemas.microsoft.com/office/drawing/2014/main" id="{08232C51-28D9-F6FD-2130-2988EDF37A9F}"/>
                </a:ext>
              </a:extLst>
            </p:cNvPr>
            <p:cNvSpPr/>
            <p:nvPr/>
          </p:nvSpPr>
          <p:spPr>
            <a:xfrm>
              <a:off x="6513253" y="901353"/>
              <a:ext cx="58615" cy="83182"/>
            </a:xfrm>
            <a:custGeom>
              <a:avLst/>
              <a:gdLst>
                <a:gd name="connsiteX0" fmla="*/ 110394 w 233171"/>
                <a:gd name="connsiteY0" fmla="*/ 330898 h 330898"/>
                <a:gd name="connsiteX1" fmla="*/ 69723 w 233171"/>
                <a:gd name="connsiteY1" fmla="*/ 322897 h 330898"/>
                <a:gd name="connsiteX2" fmla="*/ 34480 w 233171"/>
                <a:gd name="connsiteY2" fmla="*/ 299466 h 330898"/>
                <a:gd name="connsiteX3" fmla="*/ 9430 w 233171"/>
                <a:gd name="connsiteY3" fmla="*/ 261938 h 330898"/>
                <a:gd name="connsiteX4" fmla="*/ 0 w 233171"/>
                <a:gd name="connsiteY4" fmla="*/ 211264 h 330898"/>
                <a:gd name="connsiteX5" fmla="*/ 0 w 233171"/>
                <a:gd name="connsiteY5" fmla="*/ 210407 h 330898"/>
                <a:gd name="connsiteX6" fmla="*/ 9430 w 233171"/>
                <a:gd name="connsiteY6" fmla="*/ 159925 h 330898"/>
                <a:gd name="connsiteX7" fmla="*/ 34480 w 233171"/>
                <a:gd name="connsiteY7" fmla="*/ 122206 h 330898"/>
                <a:gd name="connsiteX8" fmla="*/ 69723 w 233171"/>
                <a:gd name="connsiteY8" fmla="*/ 98488 h 330898"/>
                <a:gd name="connsiteX9" fmla="*/ 110394 w 233171"/>
                <a:gd name="connsiteY9" fmla="*/ 90202 h 330898"/>
                <a:gd name="connsiteX10" fmla="*/ 139827 w 233171"/>
                <a:gd name="connsiteY10" fmla="*/ 94202 h 330898"/>
                <a:gd name="connsiteX11" fmla="*/ 163925 w 233171"/>
                <a:gd name="connsiteY11" fmla="*/ 104870 h 330898"/>
                <a:gd name="connsiteX12" fmla="*/ 183356 w 233171"/>
                <a:gd name="connsiteY12" fmla="*/ 120491 h 330898"/>
                <a:gd name="connsiteX13" fmla="*/ 198787 w 233171"/>
                <a:gd name="connsiteY13" fmla="*/ 139255 h 330898"/>
                <a:gd name="connsiteX14" fmla="*/ 198787 w 233171"/>
                <a:gd name="connsiteY14" fmla="*/ 0 h 330898"/>
                <a:gd name="connsiteX15" fmla="*/ 233172 w 233171"/>
                <a:gd name="connsiteY15" fmla="*/ 0 h 330898"/>
                <a:gd name="connsiteX16" fmla="*/ 233172 w 233171"/>
                <a:gd name="connsiteY16" fmla="*/ 325850 h 330898"/>
                <a:gd name="connsiteX17" fmla="*/ 198787 w 233171"/>
                <a:gd name="connsiteY17" fmla="*/ 325850 h 330898"/>
                <a:gd name="connsiteX18" fmla="*/ 198787 w 233171"/>
                <a:gd name="connsiteY18" fmla="*/ 279463 h 330898"/>
                <a:gd name="connsiteX19" fmla="*/ 182975 w 233171"/>
                <a:gd name="connsiteY19" fmla="*/ 299085 h 330898"/>
                <a:gd name="connsiteX20" fmla="*/ 163544 w 233171"/>
                <a:gd name="connsiteY20" fmla="*/ 315658 h 330898"/>
                <a:gd name="connsiteX21" fmla="*/ 139636 w 233171"/>
                <a:gd name="connsiteY21" fmla="*/ 326803 h 330898"/>
                <a:gd name="connsiteX22" fmla="*/ 110394 w 233171"/>
                <a:gd name="connsiteY22" fmla="*/ 330803 h 330898"/>
                <a:gd name="connsiteX23" fmla="*/ 116681 w 233171"/>
                <a:gd name="connsiteY23" fmla="*/ 300133 h 330898"/>
                <a:gd name="connsiteX24" fmla="*/ 147733 w 233171"/>
                <a:gd name="connsiteY24" fmla="*/ 293656 h 330898"/>
                <a:gd name="connsiteX25" fmla="*/ 174498 w 233171"/>
                <a:gd name="connsiteY25" fmla="*/ 275368 h 330898"/>
                <a:gd name="connsiteX26" fmla="*/ 193262 w 233171"/>
                <a:gd name="connsiteY26" fmla="*/ 247269 h 330898"/>
                <a:gd name="connsiteX27" fmla="*/ 200216 w 233171"/>
                <a:gd name="connsiteY27" fmla="*/ 210883 h 330898"/>
                <a:gd name="connsiteX28" fmla="*/ 200216 w 233171"/>
                <a:gd name="connsiteY28" fmla="*/ 210026 h 330898"/>
                <a:gd name="connsiteX29" fmla="*/ 193262 w 233171"/>
                <a:gd name="connsiteY29" fmla="*/ 173641 h 330898"/>
                <a:gd name="connsiteX30" fmla="*/ 174498 w 233171"/>
                <a:gd name="connsiteY30" fmla="*/ 145732 h 330898"/>
                <a:gd name="connsiteX31" fmla="*/ 147733 w 233171"/>
                <a:gd name="connsiteY31" fmla="*/ 127635 h 330898"/>
                <a:gd name="connsiteX32" fmla="*/ 116681 w 233171"/>
                <a:gd name="connsiteY32" fmla="*/ 121158 h 330898"/>
                <a:gd name="connsiteX33" fmla="*/ 84963 w 233171"/>
                <a:gd name="connsiteY33" fmla="*/ 127159 h 330898"/>
                <a:gd name="connsiteX34" fmla="*/ 59341 w 233171"/>
                <a:gd name="connsiteY34" fmla="*/ 144589 h 330898"/>
                <a:gd name="connsiteX35" fmla="*/ 41910 w 233171"/>
                <a:gd name="connsiteY35" fmla="*/ 172498 h 330898"/>
                <a:gd name="connsiteX36" fmla="*/ 35433 w 233171"/>
                <a:gd name="connsiteY36" fmla="*/ 210026 h 330898"/>
                <a:gd name="connsiteX37" fmla="*/ 35433 w 233171"/>
                <a:gd name="connsiteY37" fmla="*/ 210883 h 330898"/>
                <a:gd name="connsiteX38" fmla="*/ 41910 w 233171"/>
                <a:gd name="connsiteY38" fmla="*/ 247936 h 330898"/>
                <a:gd name="connsiteX39" fmla="*/ 59531 w 233171"/>
                <a:gd name="connsiteY39" fmla="*/ 276034 h 330898"/>
                <a:gd name="connsiteX40" fmla="*/ 85439 w 233171"/>
                <a:gd name="connsiteY40" fmla="*/ 293941 h 330898"/>
                <a:gd name="connsiteX41" fmla="*/ 116681 w 23317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3171" h="330898">
                  <a:moveTo>
                    <a:pt x="110394" y="330898"/>
                  </a:moveTo>
                  <a:cubicBezTo>
                    <a:pt x="96393" y="330898"/>
                    <a:pt x="82868" y="328231"/>
                    <a:pt x="69723" y="322897"/>
                  </a:cubicBezTo>
                  <a:cubicBezTo>
                    <a:pt x="56674" y="317563"/>
                    <a:pt x="44863" y="309753"/>
                    <a:pt x="34480" y="299466"/>
                  </a:cubicBezTo>
                  <a:cubicBezTo>
                    <a:pt x="24003" y="289179"/>
                    <a:pt x="15716" y="276701"/>
                    <a:pt x="9430" y="261938"/>
                  </a:cubicBezTo>
                  <a:cubicBezTo>
                    <a:pt x="3143" y="247174"/>
                    <a:pt x="0" y="230314"/>
                    <a:pt x="0" y="211264"/>
                  </a:cubicBezTo>
                  <a:lnTo>
                    <a:pt x="0" y="210407"/>
                  </a:lnTo>
                  <a:cubicBezTo>
                    <a:pt x="0" y="191643"/>
                    <a:pt x="3143" y="174879"/>
                    <a:pt x="9430" y="159925"/>
                  </a:cubicBezTo>
                  <a:cubicBezTo>
                    <a:pt x="15716" y="145066"/>
                    <a:pt x="24003" y="132493"/>
                    <a:pt x="34480" y="122206"/>
                  </a:cubicBezTo>
                  <a:cubicBezTo>
                    <a:pt x="44863" y="111919"/>
                    <a:pt x="56674" y="104013"/>
                    <a:pt x="69723" y="98488"/>
                  </a:cubicBezTo>
                  <a:cubicBezTo>
                    <a:pt x="82868" y="92964"/>
                    <a:pt x="96393" y="90202"/>
                    <a:pt x="110394" y="90202"/>
                  </a:cubicBezTo>
                  <a:cubicBezTo>
                    <a:pt x="121158" y="90202"/>
                    <a:pt x="130969" y="91535"/>
                    <a:pt x="139827" y="94202"/>
                  </a:cubicBezTo>
                  <a:cubicBezTo>
                    <a:pt x="148780" y="96869"/>
                    <a:pt x="156782" y="100489"/>
                    <a:pt x="163925" y="104870"/>
                  </a:cubicBezTo>
                  <a:cubicBezTo>
                    <a:pt x="171069" y="109347"/>
                    <a:pt x="177546" y="114586"/>
                    <a:pt x="183356" y="120491"/>
                  </a:cubicBezTo>
                  <a:cubicBezTo>
                    <a:pt x="189166" y="126492"/>
                    <a:pt x="194310" y="132683"/>
                    <a:pt x="198787" y="139255"/>
                  </a:cubicBezTo>
                  <a:lnTo>
                    <a:pt x="198787" y="0"/>
                  </a:lnTo>
                  <a:lnTo>
                    <a:pt x="233172" y="0"/>
                  </a:lnTo>
                  <a:lnTo>
                    <a:pt x="233172" y="325850"/>
                  </a:lnTo>
                  <a:lnTo>
                    <a:pt x="198787" y="325850"/>
                  </a:lnTo>
                  <a:lnTo>
                    <a:pt x="198787" y="279463"/>
                  </a:lnTo>
                  <a:cubicBezTo>
                    <a:pt x="194024" y="286321"/>
                    <a:pt x="188786" y="292894"/>
                    <a:pt x="182975" y="299085"/>
                  </a:cubicBezTo>
                  <a:cubicBezTo>
                    <a:pt x="177165" y="305371"/>
                    <a:pt x="170688" y="310896"/>
                    <a:pt x="163544" y="315658"/>
                  </a:cubicBezTo>
                  <a:cubicBezTo>
                    <a:pt x="156400" y="320421"/>
                    <a:pt x="148494" y="324136"/>
                    <a:pt x="139636" y="326803"/>
                  </a:cubicBezTo>
                  <a:cubicBezTo>
                    <a:pt x="130873" y="329470"/>
                    <a:pt x="121158" y="330803"/>
                    <a:pt x="110394" y="330803"/>
                  </a:cubicBezTo>
                  <a:close/>
                  <a:moveTo>
                    <a:pt x="116681" y="300133"/>
                  </a:moveTo>
                  <a:cubicBezTo>
                    <a:pt x="127445" y="300133"/>
                    <a:pt x="137732" y="297942"/>
                    <a:pt x="147733" y="293656"/>
                  </a:cubicBezTo>
                  <a:cubicBezTo>
                    <a:pt x="157734" y="289369"/>
                    <a:pt x="166592" y="283273"/>
                    <a:pt x="174498" y="275368"/>
                  </a:cubicBezTo>
                  <a:cubicBezTo>
                    <a:pt x="182404" y="267462"/>
                    <a:pt x="188595" y="258127"/>
                    <a:pt x="193262" y="247269"/>
                  </a:cubicBezTo>
                  <a:cubicBezTo>
                    <a:pt x="197834" y="236410"/>
                    <a:pt x="200216" y="224314"/>
                    <a:pt x="200216" y="210883"/>
                  </a:cubicBezTo>
                  <a:lnTo>
                    <a:pt x="200216" y="210026"/>
                  </a:lnTo>
                  <a:cubicBezTo>
                    <a:pt x="200216" y="196596"/>
                    <a:pt x="197929" y="184499"/>
                    <a:pt x="193262" y="173641"/>
                  </a:cubicBezTo>
                  <a:cubicBezTo>
                    <a:pt x="188595" y="162782"/>
                    <a:pt x="182404" y="153448"/>
                    <a:pt x="174498" y="145732"/>
                  </a:cubicBezTo>
                  <a:cubicBezTo>
                    <a:pt x="166592" y="138017"/>
                    <a:pt x="157639" y="132016"/>
                    <a:pt x="147733" y="127635"/>
                  </a:cubicBezTo>
                  <a:cubicBezTo>
                    <a:pt x="137732" y="123349"/>
                    <a:pt x="127445" y="121158"/>
                    <a:pt x="116681" y="121158"/>
                  </a:cubicBezTo>
                  <a:cubicBezTo>
                    <a:pt x="105346" y="121158"/>
                    <a:pt x="94774" y="123158"/>
                    <a:pt x="84963" y="127159"/>
                  </a:cubicBezTo>
                  <a:cubicBezTo>
                    <a:pt x="75152" y="131159"/>
                    <a:pt x="66580" y="136969"/>
                    <a:pt x="59341" y="144589"/>
                  </a:cubicBezTo>
                  <a:cubicBezTo>
                    <a:pt x="52007" y="152114"/>
                    <a:pt x="46291" y="161449"/>
                    <a:pt x="41910" y="172498"/>
                  </a:cubicBezTo>
                  <a:cubicBezTo>
                    <a:pt x="37624" y="183451"/>
                    <a:pt x="35433" y="196024"/>
                    <a:pt x="35433" y="210026"/>
                  </a:cubicBezTo>
                  <a:lnTo>
                    <a:pt x="35433" y="210883"/>
                  </a:lnTo>
                  <a:cubicBezTo>
                    <a:pt x="35433" y="224599"/>
                    <a:pt x="37624" y="236982"/>
                    <a:pt x="41910" y="247936"/>
                  </a:cubicBezTo>
                  <a:cubicBezTo>
                    <a:pt x="46196" y="258984"/>
                    <a:pt x="52101" y="268319"/>
                    <a:pt x="59531" y="276034"/>
                  </a:cubicBezTo>
                  <a:cubicBezTo>
                    <a:pt x="66960" y="283750"/>
                    <a:pt x="75629" y="289750"/>
                    <a:pt x="85439" y="293941"/>
                  </a:cubicBezTo>
                  <a:cubicBezTo>
                    <a:pt x="95250" y="298132"/>
                    <a:pt x="105632" y="300228"/>
                    <a:pt x="116681" y="300228"/>
                  </a:cubicBezTo>
                  <a:close/>
                </a:path>
              </a:pathLst>
            </a:custGeom>
            <a:solidFill>
              <a:srgbClr val="44505E"/>
            </a:solidFill>
            <a:ln w="9525" cap="flat">
              <a:noFill/>
              <a:prstDash val="solid"/>
              <a:miter/>
            </a:ln>
          </p:spPr>
          <p:txBody>
            <a:bodyPr rtlCol="0" anchor="ctr"/>
            <a:lstStyle/>
            <a:p>
              <a:endParaRPr lang="pt-BR" noProof="0"/>
            </a:p>
          </p:txBody>
        </p:sp>
        <p:sp>
          <p:nvSpPr>
            <p:cNvPr id="53" name="Freeform: Shape 52">
              <a:extLst>
                <a:ext uri="{FF2B5EF4-FFF2-40B4-BE49-F238E27FC236}">
                  <a16:creationId xmlns:a16="http://schemas.microsoft.com/office/drawing/2014/main" id="{FF6C99DC-678B-4992-CB99-E559838619E3}"/>
                </a:ext>
              </a:extLst>
            </p:cNvPr>
            <p:cNvSpPr/>
            <p:nvPr/>
          </p:nvSpPr>
          <p:spPr>
            <a:xfrm>
              <a:off x="6586762"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0 w 202977"/>
                <a:gd name="connsiteY16" fmla="*/ 48196 h 239267"/>
                <a:gd name="connsiteX17" fmla="*/ 20383 w 202977"/>
                <a:gd name="connsiteY17" fmla="*/ 19907 h 239267"/>
                <a:gd name="connsiteX18" fmla="*/ 59245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0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1"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675" y="92678"/>
                    <a:pt x="84011" y="90964"/>
                    <a:pt x="98584" y="90964"/>
                  </a:cubicBezTo>
                  <a:cubicBezTo>
                    <a:pt x="113157" y="90964"/>
                    <a:pt x="126302"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0" y="33147"/>
                    <a:pt x="63436" y="36100"/>
                  </a:cubicBezTo>
                  <a:cubicBezTo>
                    <a:pt x="52292" y="39053"/>
                    <a:pt x="41338" y="43053"/>
                    <a:pt x="30670" y="48196"/>
                  </a:cubicBezTo>
                  <a:lnTo>
                    <a:pt x="20383" y="19907"/>
                  </a:lnTo>
                  <a:cubicBezTo>
                    <a:pt x="33147" y="13906"/>
                    <a:pt x="46101" y="9049"/>
                    <a:pt x="59245" y="5429"/>
                  </a:cubicBezTo>
                  <a:cubicBezTo>
                    <a:pt x="72294" y="1810"/>
                    <a:pt x="87344" y="0"/>
                    <a:pt x="104299" y="0"/>
                  </a:cubicBezTo>
                  <a:cubicBezTo>
                    <a:pt x="137064" y="0"/>
                    <a:pt x="161925" y="8477"/>
                    <a:pt x="178879" y="25432"/>
                  </a:cubicBezTo>
                  <a:cubicBezTo>
                    <a:pt x="194976"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0" y="239173"/>
                  </a:cubicBezTo>
                  <a:close/>
                  <a:moveTo>
                    <a:pt x="93154" y="211169"/>
                  </a:moveTo>
                  <a:cubicBezTo>
                    <a:pt x="103822" y="211169"/>
                    <a:pt x="113729" y="209740"/>
                    <a:pt x="122967" y="206788"/>
                  </a:cubicBezTo>
                  <a:cubicBezTo>
                    <a:pt x="132207"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4" y="119348"/>
                    <a:pt x="116871"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54" name="Freeform: Shape 53">
              <a:extLst>
                <a:ext uri="{FF2B5EF4-FFF2-40B4-BE49-F238E27FC236}">
                  <a16:creationId xmlns:a16="http://schemas.microsoft.com/office/drawing/2014/main" id="{B5006989-C64F-A040-2328-D1233857976C}"/>
                </a:ext>
              </a:extLst>
            </p:cNvPr>
            <p:cNvSpPr/>
            <p:nvPr/>
          </p:nvSpPr>
          <p:spPr>
            <a:xfrm>
              <a:off x="6651291" y="924268"/>
              <a:ext cx="44680" cy="60195"/>
            </a:xfrm>
            <a:custGeom>
              <a:avLst/>
              <a:gdLst>
                <a:gd name="connsiteX0" fmla="*/ 95535 w 177736"/>
                <a:gd name="connsiteY0" fmla="*/ 239268 h 239458"/>
                <a:gd name="connsiteX1" fmla="*/ 45053 w 177736"/>
                <a:gd name="connsiteY1" fmla="*/ 230124 h 239458"/>
                <a:gd name="connsiteX2" fmla="*/ 0 w 177736"/>
                <a:gd name="connsiteY2" fmla="*/ 205359 h 239458"/>
                <a:gd name="connsiteX3" fmla="*/ 17430 w 177736"/>
                <a:gd name="connsiteY3" fmla="*/ 180785 h 239458"/>
                <a:gd name="connsiteX4" fmla="*/ 56483 w 177736"/>
                <a:gd name="connsiteY4" fmla="*/ 202692 h 239458"/>
                <a:gd name="connsiteX5" fmla="*/ 97345 w 177736"/>
                <a:gd name="connsiteY5" fmla="*/ 210217 h 239458"/>
                <a:gd name="connsiteX6" fmla="*/ 131730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825 w 177736"/>
                <a:gd name="connsiteY10" fmla="*/ 147066 h 239458"/>
                <a:gd name="connsiteX11" fmla="*/ 109251 w 177736"/>
                <a:gd name="connsiteY11" fmla="*/ 138779 h 239458"/>
                <a:gd name="connsiteX12" fmla="*/ 87630 w 177736"/>
                <a:gd name="connsiteY12" fmla="*/ 132112 h 239458"/>
                <a:gd name="connsiteX13" fmla="*/ 60579 w 177736"/>
                <a:gd name="connsiteY13" fmla="*/ 123444 h 239458"/>
                <a:gd name="connsiteX14" fmla="*/ 36004 w 177736"/>
                <a:gd name="connsiteY14" fmla="*/ 111633 h 239458"/>
                <a:gd name="connsiteX15" fmla="*/ 18192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59 w 177736"/>
                <a:gd name="connsiteY22" fmla="*/ 6953 h 239458"/>
                <a:gd name="connsiteX23" fmla="*/ 172878 w 177736"/>
                <a:gd name="connsiteY23" fmla="*/ 25527 h 239458"/>
                <a:gd name="connsiteX24" fmla="*/ 157257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3 w 177736"/>
                <a:gd name="connsiteY32" fmla="*/ 96203 h 239458"/>
                <a:gd name="connsiteX33" fmla="*/ 103631 w 177736"/>
                <a:gd name="connsiteY33" fmla="*/ 103346 h 239458"/>
                <a:gd name="connsiteX34" fmla="*/ 130207 w 177736"/>
                <a:gd name="connsiteY34" fmla="*/ 112300 h 239458"/>
                <a:gd name="connsiteX35" fmla="*/ 154114 w 177736"/>
                <a:gd name="connsiteY35" fmla="*/ 124778 h 239458"/>
                <a:gd name="connsiteX36" fmla="*/ 171259 w 177736"/>
                <a:gd name="connsiteY36" fmla="*/ 143066 h 239458"/>
                <a:gd name="connsiteX37" fmla="*/ 177736 w 177736"/>
                <a:gd name="connsiteY37" fmla="*/ 169450 h 239458"/>
                <a:gd name="connsiteX38" fmla="*/ 177736 w 177736"/>
                <a:gd name="connsiteY38" fmla="*/ 170307 h 239458"/>
                <a:gd name="connsiteX39" fmla="*/ 171259 w 177736"/>
                <a:gd name="connsiteY39" fmla="*/ 199549 h 239458"/>
                <a:gd name="connsiteX40" fmla="*/ 153828 w 177736"/>
                <a:gd name="connsiteY40" fmla="*/ 221171 h 239458"/>
                <a:gd name="connsiteX41" fmla="*/ 127921 w 177736"/>
                <a:gd name="connsiteY41" fmla="*/ 234791 h 239458"/>
                <a:gd name="connsiteX42" fmla="*/ 95535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5" y="239268"/>
                  </a:moveTo>
                  <a:cubicBezTo>
                    <a:pt x="78867" y="239268"/>
                    <a:pt x="62007" y="236220"/>
                    <a:pt x="45053" y="230124"/>
                  </a:cubicBezTo>
                  <a:cubicBezTo>
                    <a:pt x="28098" y="224028"/>
                    <a:pt x="13049" y="215741"/>
                    <a:pt x="0" y="205359"/>
                  </a:cubicBezTo>
                  <a:lnTo>
                    <a:pt x="17430" y="180785"/>
                  </a:lnTo>
                  <a:cubicBezTo>
                    <a:pt x="29908" y="190310"/>
                    <a:pt x="42957" y="197644"/>
                    <a:pt x="56483" y="202692"/>
                  </a:cubicBezTo>
                  <a:cubicBezTo>
                    <a:pt x="70009" y="207740"/>
                    <a:pt x="83629" y="210217"/>
                    <a:pt x="97345" y="210217"/>
                  </a:cubicBezTo>
                  <a:cubicBezTo>
                    <a:pt x="111061" y="210217"/>
                    <a:pt x="122777" y="206978"/>
                    <a:pt x="131730" y="200406"/>
                  </a:cubicBezTo>
                  <a:cubicBezTo>
                    <a:pt x="140684" y="193834"/>
                    <a:pt x="145161" y="184976"/>
                    <a:pt x="145161" y="173641"/>
                  </a:cubicBezTo>
                  <a:lnTo>
                    <a:pt x="145161" y="172784"/>
                  </a:lnTo>
                  <a:cubicBezTo>
                    <a:pt x="145161" y="167164"/>
                    <a:pt x="143541" y="162211"/>
                    <a:pt x="140494" y="158020"/>
                  </a:cubicBezTo>
                  <a:cubicBezTo>
                    <a:pt x="137350" y="153829"/>
                    <a:pt x="133159" y="150209"/>
                    <a:pt x="127825" y="147066"/>
                  </a:cubicBezTo>
                  <a:cubicBezTo>
                    <a:pt x="122491" y="143923"/>
                    <a:pt x="116300" y="141161"/>
                    <a:pt x="109251" y="138779"/>
                  </a:cubicBezTo>
                  <a:cubicBezTo>
                    <a:pt x="102298" y="136398"/>
                    <a:pt x="95059" y="134207"/>
                    <a:pt x="87630" y="132112"/>
                  </a:cubicBezTo>
                  <a:cubicBezTo>
                    <a:pt x="78676" y="129445"/>
                    <a:pt x="69722" y="126492"/>
                    <a:pt x="60579" y="123444"/>
                  </a:cubicBezTo>
                  <a:cubicBezTo>
                    <a:pt x="51530" y="120301"/>
                    <a:pt x="43339" y="116396"/>
                    <a:pt x="36004" y="111633"/>
                  </a:cubicBezTo>
                  <a:cubicBezTo>
                    <a:pt x="28670" y="106871"/>
                    <a:pt x="22764" y="100870"/>
                    <a:pt x="18192" y="93726"/>
                  </a:cubicBezTo>
                  <a:cubicBezTo>
                    <a:pt x="13525" y="86582"/>
                    <a:pt x="11239" y="77629"/>
                    <a:pt x="11239" y="66961"/>
                  </a:cubicBezTo>
                  <a:lnTo>
                    <a:pt x="11239" y="66008"/>
                  </a:lnTo>
                  <a:cubicBezTo>
                    <a:pt x="11239" y="56198"/>
                    <a:pt x="13144" y="47149"/>
                    <a:pt x="17050" y="39053"/>
                  </a:cubicBezTo>
                  <a:cubicBezTo>
                    <a:pt x="20955" y="30861"/>
                    <a:pt x="26384" y="23908"/>
                    <a:pt x="33338" y="18098"/>
                  </a:cubicBezTo>
                  <a:cubicBezTo>
                    <a:pt x="40291" y="12287"/>
                    <a:pt x="48673" y="7811"/>
                    <a:pt x="58388" y="4667"/>
                  </a:cubicBezTo>
                  <a:cubicBezTo>
                    <a:pt x="68008" y="1524"/>
                    <a:pt x="78581" y="0"/>
                    <a:pt x="89821" y="0"/>
                  </a:cubicBezTo>
                  <a:cubicBezTo>
                    <a:pt x="104108" y="0"/>
                    <a:pt x="118586" y="2286"/>
                    <a:pt x="133159" y="6953"/>
                  </a:cubicBezTo>
                  <a:cubicBezTo>
                    <a:pt x="147732" y="11621"/>
                    <a:pt x="160972" y="17717"/>
                    <a:pt x="172878" y="25527"/>
                  </a:cubicBezTo>
                  <a:lnTo>
                    <a:pt x="157257" y="51435"/>
                  </a:lnTo>
                  <a:cubicBezTo>
                    <a:pt x="146494" y="44577"/>
                    <a:pt x="135255" y="39148"/>
                    <a:pt x="123539" y="35147"/>
                  </a:cubicBezTo>
                  <a:cubicBezTo>
                    <a:pt x="111823" y="31147"/>
                    <a:pt x="100203" y="29146"/>
                    <a:pt x="88963" y="29146"/>
                  </a:cubicBezTo>
                  <a:cubicBezTo>
                    <a:pt x="75247" y="29146"/>
                    <a:pt x="64389" y="32385"/>
                    <a:pt x="56388" y="38767"/>
                  </a:cubicBezTo>
                  <a:cubicBezTo>
                    <a:pt x="48291" y="45149"/>
                    <a:pt x="44291" y="53150"/>
                    <a:pt x="44291" y="62675"/>
                  </a:cubicBezTo>
                  <a:lnTo>
                    <a:pt x="44291" y="63627"/>
                  </a:lnTo>
                  <a:cubicBezTo>
                    <a:pt x="44291" y="68961"/>
                    <a:pt x="45910" y="73628"/>
                    <a:pt x="49244" y="77724"/>
                  </a:cubicBezTo>
                  <a:cubicBezTo>
                    <a:pt x="52482" y="81725"/>
                    <a:pt x="56864" y="85249"/>
                    <a:pt x="62389" y="88202"/>
                  </a:cubicBezTo>
                  <a:cubicBezTo>
                    <a:pt x="67913" y="91154"/>
                    <a:pt x="74200" y="93821"/>
                    <a:pt x="81343" y="96203"/>
                  </a:cubicBezTo>
                  <a:cubicBezTo>
                    <a:pt x="88487" y="98584"/>
                    <a:pt x="95916" y="100965"/>
                    <a:pt x="103631" y="103346"/>
                  </a:cubicBezTo>
                  <a:cubicBezTo>
                    <a:pt x="112585" y="106013"/>
                    <a:pt x="121444" y="108966"/>
                    <a:pt x="130207" y="112300"/>
                  </a:cubicBezTo>
                  <a:cubicBezTo>
                    <a:pt x="138969" y="115538"/>
                    <a:pt x="146971" y="119729"/>
                    <a:pt x="154114" y="124778"/>
                  </a:cubicBezTo>
                  <a:cubicBezTo>
                    <a:pt x="161258" y="129826"/>
                    <a:pt x="166973" y="135922"/>
                    <a:pt x="171259" y="143066"/>
                  </a:cubicBezTo>
                  <a:cubicBezTo>
                    <a:pt x="175546" y="150209"/>
                    <a:pt x="177736" y="158972"/>
                    <a:pt x="177736" y="169450"/>
                  </a:cubicBezTo>
                  <a:lnTo>
                    <a:pt x="177736" y="170307"/>
                  </a:lnTo>
                  <a:cubicBezTo>
                    <a:pt x="177736" y="181356"/>
                    <a:pt x="175546" y="191071"/>
                    <a:pt x="171259" y="199549"/>
                  </a:cubicBezTo>
                  <a:cubicBezTo>
                    <a:pt x="166973" y="208026"/>
                    <a:pt x="161163" y="215265"/>
                    <a:pt x="153828" y="221171"/>
                  </a:cubicBezTo>
                  <a:cubicBezTo>
                    <a:pt x="146589" y="227171"/>
                    <a:pt x="137922" y="231648"/>
                    <a:pt x="127921" y="234791"/>
                  </a:cubicBezTo>
                  <a:cubicBezTo>
                    <a:pt x="117919" y="237935"/>
                    <a:pt x="107156" y="239459"/>
                    <a:pt x="95535" y="239459"/>
                  </a:cubicBezTo>
                  <a:close/>
                </a:path>
              </a:pathLst>
            </a:custGeom>
            <a:solidFill>
              <a:srgbClr val="44505E"/>
            </a:solidFill>
            <a:ln w="9525" cap="flat">
              <a:noFill/>
              <a:prstDash val="solid"/>
              <a:miter/>
            </a:ln>
          </p:spPr>
          <p:txBody>
            <a:bodyPr rtlCol="0" anchor="ctr"/>
            <a:lstStyle/>
            <a:p>
              <a:endParaRPr lang="pt-BR" noProof="0"/>
            </a:p>
          </p:txBody>
        </p:sp>
        <p:sp>
          <p:nvSpPr>
            <p:cNvPr id="55" name="Freeform: Shape 54">
              <a:extLst>
                <a:ext uri="{FF2B5EF4-FFF2-40B4-BE49-F238E27FC236}">
                  <a16:creationId xmlns:a16="http://schemas.microsoft.com/office/drawing/2014/main" id="{06E7AE6A-6474-D555-008E-C70023E38EF6}"/>
                </a:ext>
              </a:extLst>
            </p:cNvPr>
            <p:cNvSpPr/>
            <p:nvPr/>
          </p:nvSpPr>
          <p:spPr>
            <a:xfrm>
              <a:off x="5250320" y="846952"/>
              <a:ext cx="1459036" cy="16186"/>
            </a:xfrm>
            <a:custGeom>
              <a:avLst/>
              <a:gdLst>
                <a:gd name="connsiteX0" fmla="*/ 0 w 5804058"/>
                <a:gd name="connsiteY0" fmla="*/ 0 h 64388"/>
                <a:gd name="connsiteX1" fmla="*/ 5804059 w 5804058"/>
                <a:gd name="connsiteY1" fmla="*/ 0 h 64388"/>
                <a:gd name="connsiteX2" fmla="*/ 5804059 w 5804058"/>
                <a:gd name="connsiteY2" fmla="*/ 64389 h 64388"/>
                <a:gd name="connsiteX3" fmla="*/ 0 w 5804058"/>
                <a:gd name="connsiteY3" fmla="*/ 64389 h 64388"/>
              </a:gdLst>
              <a:ahLst/>
              <a:cxnLst>
                <a:cxn ang="0">
                  <a:pos x="connsiteX0" y="connsiteY0"/>
                </a:cxn>
                <a:cxn ang="0">
                  <a:pos x="connsiteX1" y="connsiteY1"/>
                </a:cxn>
                <a:cxn ang="0">
                  <a:pos x="connsiteX2" y="connsiteY2"/>
                </a:cxn>
                <a:cxn ang="0">
                  <a:pos x="connsiteX3" y="connsiteY3"/>
                </a:cxn>
              </a:cxnLst>
              <a:rect l="l" t="t" r="r" b="b"/>
              <a:pathLst>
                <a:path w="5804058" h="64388">
                  <a:moveTo>
                    <a:pt x="0" y="0"/>
                  </a:moveTo>
                  <a:lnTo>
                    <a:pt x="5804059" y="0"/>
                  </a:lnTo>
                  <a:lnTo>
                    <a:pt x="5804059" y="64389"/>
                  </a:lnTo>
                  <a:lnTo>
                    <a:pt x="0" y="64389"/>
                  </a:lnTo>
                  <a:close/>
                </a:path>
              </a:pathLst>
            </a:custGeom>
            <a:solidFill>
              <a:srgbClr val="44505E"/>
            </a:solidFill>
            <a:ln w="9525" cap="flat">
              <a:noFill/>
              <a:prstDash val="solid"/>
              <a:miter/>
            </a:ln>
          </p:spPr>
          <p:txBody>
            <a:bodyPr rtlCol="0" anchor="ctr"/>
            <a:lstStyle/>
            <a:p>
              <a:endParaRPr lang="pt-BR" noProof="0"/>
            </a:p>
          </p:txBody>
        </p:sp>
        <p:sp>
          <p:nvSpPr>
            <p:cNvPr id="56" name="Freeform: Shape 55">
              <a:extLst>
                <a:ext uri="{FF2B5EF4-FFF2-40B4-BE49-F238E27FC236}">
                  <a16:creationId xmlns:a16="http://schemas.microsoft.com/office/drawing/2014/main" id="{5790489B-D041-FAA7-E93F-EA464A4E56AE}"/>
                </a:ext>
              </a:extLst>
            </p:cNvPr>
            <p:cNvSpPr/>
            <p:nvPr/>
          </p:nvSpPr>
          <p:spPr>
            <a:xfrm>
              <a:off x="6902633" y="268821"/>
              <a:ext cx="273418" cy="601046"/>
            </a:xfrm>
            <a:custGeom>
              <a:avLst/>
              <a:gdLst>
                <a:gd name="connsiteX0" fmla="*/ 0 w 1087659"/>
                <a:gd name="connsiteY0" fmla="*/ 210979 h 2390965"/>
                <a:gd name="connsiteX1" fmla="*/ 125063 w 1087659"/>
                <a:gd name="connsiteY1" fmla="*/ 103442 h 2390965"/>
                <a:gd name="connsiteX2" fmla="*/ 250031 w 1087659"/>
                <a:gd name="connsiteY2" fmla="*/ 210979 h 2390965"/>
                <a:gd name="connsiteX3" fmla="*/ 250031 w 1087659"/>
                <a:gd name="connsiteY3" fmla="*/ 1922717 h 2390965"/>
                <a:gd name="connsiteX4" fmla="*/ 249841 w 1087659"/>
                <a:gd name="connsiteY4" fmla="*/ 1922717 h 2390965"/>
                <a:gd name="connsiteX5" fmla="*/ 249841 w 1087659"/>
                <a:gd name="connsiteY5" fmla="*/ 1925955 h 2390965"/>
                <a:gd name="connsiteX6" fmla="*/ 333756 w 1087659"/>
                <a:gd name="connsiteY6" fmla="*/ 2100263 h 2390965"/>
                <a:gd name="connsiteX7" fmla="*/ 335566 w 1087659"/>
                <a:gd name="connsiteY7" fmla="*/ 2101787 h 2390965"/>
                <a:gd name="connsiteX8" fmla="*/ 336042 w 1087659"/>
                <a:gd name="connsiteY8" fmla="*/ 2102168 h 2390965"/>
                <a:gd name="connsiteX9" fmla="*/ 543877 w 1087659"/>
                <a:gd name="connsiteY9" fmla="*/ 2175891 h 2390965"/>
                <a:gd name="connsiteX10" fmla="*/ 749998 w 1087659"/>
                <a:gd name="connsiteY10" fmla="*/ 2103692 h 2390965"/>
                <a:gd name="connsiteX11" fmla="*/ 751713 w 1087659"/>
                <a:gd name="connsiteY11" fmla="*/ 2102168 h 2390965"/>
                <a:gd name="connsiteX12" fmla="*/ 752189 w 1087659"/>
                <a:gd name="connsiteY12" fmla="*/ 2101787 h 2390965"/>
                <a:gd name="connsiteX13" fmla="*/ 837819 w 1087659"/>
                <a:gd name="connsiteY13" fmla="*/ 1922812 h 2390965"/>
                <a:gd name="connsiteX14" fmla="*/ 837819 w 1087659"/>
                <a:gd name="connsiteY14" fmla="*/ 107537 h 2390965"/>
                <a:gd name="connsiteX15" fmla="*/ 962787 w 1087659"/>
                <a:gd name="connsiteY15" fmla="*/ 0 h 2390965"/>
                <a:gd name="connsiteX16" fmla="*/ 1087660 w 1087659"/>
                <a:gd name="connsiteY16" fmla="*/ 107537 h 2390965"/>
                <a:gd name="connsiteX17" fmla="*/ 1087660 w 1087659"/>
                <a:gd name="connsiteY17" fmla="*/ 1922621 h 2390965"/>
                <a:gd name="connsiteX18" fmla="*/ 928307 w 1087659"/>
                <a:gd name="connsiteY18" fmla="*/ 2253234 h 2390965"/>
                <a:gd name="connsiteX19" fmla="*/ 928116 w 1087659"/>
                <a:gd name="connsiteY19" fmla="*/ 2253424 h 2390965"/>
                <a:gd name="connsiteX20" fmla="*/ 927830 w 1087659"/>
                <a:gd name="connsiteY20" fmla="*/ 2253710 h 2390965"/>
                <a:gd name="connsiteX21" fmla="*/ 927354 w 1087659"/>
                <a:gd name="connsiteY21" fmla="*/ 2254187 h 2390965"/>
                <a:gd name="connsiteX22" fmla="*/ 543783 w 1087659"/>
                <a:gd name="connsiteY22" fmla="*/ 2390966 h 2390965"/>
                <a:gd name="connsiteX23" fmla="*/ 159734 w 1087659"/>
                <a:gd name="connsiteY23" fmla="*/ 2253710 h 2390965"/>
                <a:gd name="connsiteX24" fmla="*/ 159734 w 1087659"/>
                <a:gd name="connsiteY24" fmla="*/ 2253424 h 2390965"/>
                <a:gd name="connsiteX25" fmla="*/ 159353 w 1087659"/>
                <a:gd name="connsiteY25" fmla="*/ 2253234 h 2390965"/>
                <a:gd name="connsiteX26" fmla="*/ 158877 w 1087659"/>
                <a:gd name="connsiteY26" fmla="*/ 2252948 h 2390965"/>
                <a:gd name="connsiteX27" fmla="*/ 0 w 1087659"/>
                <a:gd name="connsiteY27" fmla="*/ 1922621 h 2390965"/>
                <a:gd name="connsiteX28" fmla="*/ 0 w 1087659"/>
                <a:gd name="connsiteY28" fmla="*/ 1922621 h 2390965"/>
                <a:gd name="connsiteX29" fmla="*/ 0 w 1087659"/>
                <a:gd name="connsiteY29" fmla="*/ 210979 h 239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87659" h="2390965">
                  <a:moveTo>
                    <a:pt x="0" y="210979"/>
                  </a:moveTo>
                  <a:cubicBezTo>
                    <a:pt x="0" y="151638"/>
                    <a:pt x="56007" y="103442"/>
                    <a:pt x="125063" y="103442"/>
                  </a:cubicBezTo>
                  <a:cubicBezTo>
                    <a:pt x="194120" y="103442"/>
                    <a:pt x="250031" y="151638"/>
                    <a:pt x="250031" y="210979"/>
                  </a:cubicBezTo>
                  <a:lnTo>
                    <a:pt x="250031" y="1922717"/>
                  </a:lnTo>
                  <a:lnTo>
                    <a:pt x="249841" y="1922717"/>
                  </a:lnTo>
                  <a:lnTo>
                    <a:pt x="249841" y="1925955"/>
                  </a:lnTo>
                  <a:cubicBezTo>
                    <a:pt x="250793" y="1994059"/>
                    <a:pt x="282797" y="2055495"/>
                    <a:pt x="333756" y="2100263"/>
                  </a:cubicBezTo>
                  <a:lnTo>
                    <a:pt x="335566" y="2101787"/>
                  </a:lnTo>
                  <a:lnTo>
                    <a:pt x="336042" y="2102168"/>
                  </a:lnTo>
                  <a:cubicBezTo>
                    <a:pt x="388906" y="2147697"/>
                    <a:pt x="462343" y="2175891"/>
                    <a:pt x="543877" y="2175891"/>
                  </a:cubicBezTo>
                  <a:cubicBezTo>
                    <a:pt x="625411" y="2175891"/>
                    <a:pt x="697420" y="2148364"/>
                    <a:pt x="749998" y="2103692"/>
                  </a:cubicBezTo>
                  <a:lnTo>
                    <a:pt x="751713" y="2102168"/>
                  </a:lnTo>
                  <a:lnTo>
                    <a:pt x="752189" y="2101787"/>
                  </a:lnTo>
                  <a:cubicBezTo>
                    <a:pt x="805053" y="2056352"/>
                    <a:pt x="837819" y="1993011"/>
                    <a:pt x="837819" y="1922812"/>
                  </a:cubicBezTo>
                  <a:lnTo>
                    <a:pt x="837819" y="107537"/>
                  </a:lnTo>
                  <a:cubicBezTo>
                    <a:pt x="837819" y="48196"/>
                    <a:pt x="893731" y="0"/>
                    <a:pt x="962787" y="0"/>
                  </a:cubicBezTo>
                  <a:cubicBezTo>
                    <a:pt x="1031843" y="0"/>
                    <a:pt x="1087660" y="48196"/>
                    <a:pt x="1087660" y="107537"/>
                  </a:cubicBezTo>
                  <a:lnTo>
                    <a:pt x="1087660" y="1922621"/>
                  </a:lnTo>
                  <a:cubicBezTo>
                    <a:pt x="1087660" y="2051399"/>
                    <a:pt x="1026795" y="2168366"/>
                    <a:pt x="928307" y="2253234"/>
                  </a:cubicBezTo>
                  <a:lnTo>
                    <a:pt x="928116" y="2253424"/>
                  </a:lnTo>
                  <a:lnTo>
                    <a:pt x="927830" y="2253710"/>
                  </a:lnTo>
                  <a:lnTo>
                    <a:pt x="927354" y="2254187"/>
                  </a:lnTo>
                  <a:cubicBezTo>
                    <a:pt x="828770" y="2338673"/>
                    <a:pt x="693134" y="2390966"/>
                    <a:pt x="543783" y="2390966"/>
                  </a:cubicBezTo>
                  <a:cubicBezTo>
                    <a:pt x="394430" y="2390966"/>
                    <a:pt x="258413" y="2338483"/>
                    <a:pt x="159734" y="2253710"/>
                  </a:cubicBezTo>
                  <a:lnTo>
                    <a:pt x="159734" y="2253424"/>
                  </a:lnTo>
                  <a:cubicBezTo>
                    <a:pt x="159734" y="2253424"/>
                    <a:pt x="159353" y="2253234"/>
                    <a:pt x="159353" y="2253234"/>
                  </a:cubicBezTo>
                  <a:lnTo>
                    <a:pt x="158877" y="2252948"/>
                  </a:lnTo>
                  <a:cubicBezTo>
                    <a:pt x="60770" y="2167985"/>
                    <a:pt x="0" y="2051304"/>
                    <a:pt x="0" y="1922621"/>
                  </a:cubicBezTo>
                  <a:lnTo>
                    <a:pt x="0" y="1922621"/>
                  </a:lnTo>
                  <a:lnTo>
                    <a:pt x="0" y="210979"/>
                  </a:lnTo>
                  <a:close/>
                </a:path>
              </a:pathLst>
            </a:custGeom>
            <a:solidFill>
              <a:srgbClr val="8FC640"/>
            </a:solidFill>
            <a:ln w="9525" cap="flat">
              <a:noFill/>
              <a:prstDash val="solid"/>
              <a:miter/>
            </a:ln>
          </p:spPr>
          <p:txBody>
            <a:bodyPr rtlCol="0" anchor="ctr"/>
            <a:lstStyle/>
            <a:p>
              <a:endParaRPr lang="pt-BR" noProof="0"/>
            </a:p>
          </p:txBody>
        </p:sp>
        <p:sp>
          <p:nvSpPr>
            <p:cNvPr id="57" name="Freeform: Shape 56">
              <a:extLst>
                <a:ext uri="{FF2B5EF4-FFF2-40B4-BE49-F238E27FC236}">
                  <a16:creationId xmlns:a16="http://schemas.microsoft.com/office/drawing/2014/main" id="{D69D942F-483F-5408-C30D-9CE525A797E6}"/>
                </a:ext>
              </a:extLst>
            </p:cNvPr>
            <p:cNvSpPr/>
            <p:nvPr/>
          </p:nvSpPr>
          <p:spPr>
            <a:xfrm>
              <a:off x="7013590" y="213965"/>
              <a:ext cx="54018" cy="562280"/>
            </a:xfrm>
            <a:custGeom>
              <a:avLst/>
              <a:gdLst>
                <a:gd name="connsiteX0" fmla="*/ 0 w 214883"/>
                <a:gd name="connsiteY0" fmla="*/ 107537 h 2236755"/>
                <a:gd name="connsiteX1" fmla="*/ 107537 w 214883"/>
                <a:gd name="connsiteY1" fmla="*/ 0 h 2236755"/>
                <a:gd name="connsiteX2" fmla="*/ 214884 w 214883"/>
                <a:gd name="connsiteY2" fmla="*/ 107537 h 2236755"/>
                <a:gd name="connsiteX3" fmla="*/ 214884 w 214883"/>
                <a:gd name="connsiteY3" fmla="*/ 2129219 h 2236755"/>
                <a:gd name="connsiteX4" fmla="*/ 107537 w 214883"/>
                <a:gd name="connsiteY4" fmla="*/ 2236756 h 2236755"/>
                <a:gd name="connsiteX5" fmla="*/ 0 w 214883"/>
                <a:gd name="connsiteY5" fmla="*/ 2129219 h 2236755"/>
                <a:gd name="connsiteX6" fmla="*/ 0 w 214883"/>
                <a:gd name="connsiteY6" fmla="*/ 107537 h 223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 h="2236755">
                  <a:moveTo>
                    <a:pt x="0" y="107537"/>
                  </a:moveTo>
                  <a:cubicBezTo>
                    <a:pt x="0" y="48197"/>
                    <a:pt x="48101" y="0"/>
                    <a:pt x="107537" y="0"/>
                  </a:cubicBezTo>
                  <a:cubicBezTo>
                    <a:pt x="166973" y="0"/>
                    <a:pt x="214884" y="48197"/>
                    <a:pt x="214884" y="107537"/>
                  </a:cubicBezTo>
                  <a:lnTo>
                    <a:pt x="214884" y="2129219"/>
                  </a:lnTo>
                  <a:cubicBezTo>
                    <a:pt x="214884" y="2188559"/>
                    <a:pt x="166782" y="2236756"/>
                    <a:pt x="107537" y="2236756"/>
                  </a:cubicBezTo>
                  <a:cubicBezTo>
                    <a:pt x="48291" y="2236756"/>
                    <a:pt x="0" y="2188559"/>
                    <a:pt x="0" y="2129219"/>
                  </a:cubicBezTo>
                  <a:lnTo>
                    <a:pt x="0" y="107537"/>
                  </a:lnTo>
                  <a:close/>
                </a:path>
              </a:pathLst>
            </a:custGeom>
            <a:solidFill>
              <a:srgbClr val="3698B0"/>
            </a:solidFill>
            <a:ln w="9525" cap="flat">
              <a:noFill/>
              <a:prstDash val="solid"/>
              <a:miter/>
            </a:ln>
          </p:spPr>
          <p:txBody>
            <a:bodyPr rtlCol="0" anchor="ctr"/>
            <a:lstStyle/>
            <a:p>
              <a:endParaRPr lang="pt-BR" noProof="0"/>
            </a:p>
          </p:txBody>
        </p:sp>
        <p:sp>
          <p:nvSpPr>
            <p:cNvPr id="58" name="Freeform: Shape 57">
              <a:extLst>
                <a:ext uri="{FF2B5EF4-FFF2-40B4-BE49-F238E27FC236}">
                  <a16:creationId xmlns:a16="http://schemas.microsoft.com/office/drawing/2014/main" id="{320BD57D-5A94-E587-7E16-91B8D2EE2A35}"/>
                </a:ext>
              </a:extLst>
            </p:cNvPr>
            <p:cNvSpPr/>
            <p:nvPr/>
          </p:nvSpPr>
          <p:spPr>
            <a:xfrm>
              <a:off x="6795770" y="332991"/>
              <a:ext cx="485994" cy="649437"/>
            </a:xfrm>
            <a:custGeom>
              <a:avLst/>
              <a:gdLst>
                <a:gd name="connsiteX0" fmla="*/ 1933290 w 1933289"/>
                <a:gd name="connsiteY0" fmla="*/ 138017 h 2583465"/>
                <a:gd name="connsiteX1" fmla="*/ 1933290 w 1933289"/>
                <a:gd name="connsiteY1" fmla="*/ 1734122 h 2583465"/>
                <a:gd name="connsiteX2" fmla="*/ 1796606 w 1933289"/>
                <a:gd name="connsiteY2" fmla="*/ 2229136 h 2583465"/>
                <a:gd name="connsiteX3" fmla="*/ 977742 w 1933289"/>
                <a:gd name="connsiteY3" fmla="*/ 2583466 h 2583465"/>
                <a:gd name="connsiteX4" fmla="*/ 955357 w 1933289"/>
                <a:gd name="connsiteY4" fmla="*/ 2583466 h 2583465"/>
                <a:gd name="connsiteX5" fmla="*/ 136589 w 1933289"/>
                <a:gd name="connsiteY5" fmla="*/ 2229136 h 2583465"/>
                <a:gd name="connsiteX6" fmla="*/ 0 w 1933289"/>
                <a:gd name="connsiteY6" fmla="*/ 1734122 h 2583465"/>
                <a:gd name="connsiteX7" fmla="*/ 0 w 1933289"/>
                <a:gd name="connsiteY7" fmla="*/ 794194 h 2583465"/>
                <a:gd name="connsiteX8" fmla="*/ 137827 w 1933289"/>
                <a:gd name="connsiteY8" fmla="*/ 656273 h 2583465"/>
                <a:gd name="connsiteX9" fmla="*/ 275463 w 1933289"/>
                <a:gd name="connsiteY9" fmla="*/ 794194 h 2583465"/>
                <a:gd name="connsiteX10" fmla="*/ 275463 w 1933289"/>
                <a:gd name="connsiteY10" fmla="*/ 1734122 h 2583465"/>
                <a:gd name="connsiteX11" fmla="*/ 354235 w 1933289"/>
                <a:gd name="connsiteY11" fmla="*/ 2059686 h 2583465"/>
                <a:gd name="connsiteX12" fmla="*/ 958215 w 1933289"/>
                <a:gd name="connsiteY12" fmla="*/ 2307527 h 2583465"/>
                <a:gd name="connsiteX13" fmla="*/ 974789 w 1933289"/>
                <a:gd name="connsiteY13" fmla="*/ 2307527 h 2583465"/>
                <a:gd name="connsiteX14" fmla="*/ 1578959 w 1933289"/>
                <a:gd name="connsiteY14" fmla="*/ 2059686 h 2583465"/>
                <a:gd name="connsiteX15" fmla="*/ 1657636 w 1933289"/>
                <a:gd name="connsiteY15" fmla="*/ 1734122 h 2583465"/>
                <a:gd name="connsiteX16" fmla="*/ 1657636 w 1933289"/>
                <a:gd name="connsiteY16" fmla="*/ 138017 h 2583465"/>
                <a:gd name="connsiteX17" fmla="*/ 1795463 w 1933289"/>
                <a:gd name="connsiteY17" fmla="*/ 0 h 2583465"/>
                <a:gd name="connsiteX18" fmla="*/ 1933290 w 1933289"/>
                <a:gd name="connsiteY18" fmla="*/ 138017 h 25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3289" h="2583465">
                  <a:moveTo>
                    <a:pt x="1933290" y="138017"/>
                  </a:moveTo>
                  <a:lnTo>
                    <a:pt x="1933290" y="1734122"/>
                  </a:lnTo>
                  <a:cubicBezTo>
                    <a:pt x="1933290" y="1870996"/>
                    <a:pt x="1919002" y="2071211"/>
                    <a:pt x="1796606" y="2229136"/>
                  </a:cubicBezTo>
                  <a:cubicBezTo>
                    <a:pt x="1634395" y="2438305"/>
                    <a:pt x="1432084" y="2578703"/>
                    <a:pt x="977742" y="2583466"/>
                  </a:cubicBezTo>
                  <a:lnTo>
                    <a:pt x="955357" y="2583466"/>
                  </a:lnTo>
                  <a:cubicBezTo>
                    <a:pt x="501015" y="2578703"/>
                    <a:pt x="298704" y="2438400"/>
                    <a:pt x="136589" y="2229136"/>
                  </a:cubicBezTo>
                  <a:cubicBezTo>
                    <a:pt x="14192" y="2071211"/>
                    <a:pt x="0" y="1870996"/>
                    <a:pt x="0" y="1734122"/>
                  </a:cubicBezTo>
                  <a:lnTo>
                    <a:pt x="0" y="794194"/>
                  </a:lnTo>
                  <a:cubicBezTo>
                    <a:pt x="0" y="718185"/>
                    <a:pt x="61436" y="656273"/>
                    <a:pt x="137827" y="656273"/>
                  </a:cubicBezTo>
                  <a:cubicBezTo>
                    <a:pt x="214217" y="656273"/>
                    <a:pt x="275463" y="718185"/>
                    <a:pt x="275463" y="794194"/>
                  </a:cubicBezTo>
                  <a:lnTo>
                    <a:pt x="275463" y="1734122"/>
                  </a:lnTo>
                  <a:cubicBezTo>
                    <a:pt x="275463" y="1887188"/>
                    <a:pt x="300324" y="1990630"/>
                    <a:pt x="354235" y="2059686"/>
                  </a:cubicBezTo>
                  <a:cubicBezTo>
                    <a:pt x="476250" y="2217611"/>
                    <a:pt x="609791" y="2304479"/>
                    <a:pt x="958215" y="2307527"/>
                  </a:cubicBezTo>
                  <a:lnTo>
                    <a:pt x="974789" y="2307527"/>
                  </a:lnTo>
                  <a:cubicBezTo>
                    <a:pt x="1323499" y="2304479"/>
                    <a:pt x="1456563" y="2217611"/>
                    <a:pt x="1578959" y="2059686"/>
                  </a:cubicBezTo>
                  <a:cubicBezTo>
                    <a:pt x="1632490" y="1990630"/>
                    <a:pt x="1657636" y="1887093"/>
                    <a:pt x="1657636" y="1734122"/>
                  </a:cubicBezTo>
                  <a:lnTo>
                    <a:pt x="1657636" y="138017"/>
                  </a:lnTo>
                  <a:cubicBezTo>
                    <a:pt x="1657636" y="61531"/>
                    <a:pt x="1719453" y="0"/>
                    <a:pt x="1795463" y="0"/>
                  </a:cubicBezTo>
                  <a:cubicBezTo>
                    <a:pt x="1871472" y="0"/>
                    <a:pt x="1933290" y="61531"/>
                    <a:pt x="1933290" y="138017"/>
                  </a:cubicBezTo>
                </a:path>
              </a:pathLst>
            </a:custGeom>
            <a:solidFill>
              <a:srgbClr val="49306E"/>
            </a:solidFill>
            <a:ln w="9525" cap="flat">
              <a:noFill/>
              <a:prstDash val="solid"/>
              <a:miter/>
            </a:ln>
          </p:spPr>
          <p:txBody>
            <a:bodyPr rtlCol="0" anchor="ctr"/>
            <a:lstStyle/>
            <a:p>
              <a:endParaRPr lang="pt-BR" noProof="0"/>
            </a:p>
          </p:txBody>
        </p:sp>
      </p:grpSp>
      <p:sp>
        <p:nvSpPr>
          <p:cNvPr id="5" name="Rectangle 3">
            <a:extLst>
              <a:ext uri="{FF2B5EF4-FFF2-40B4-BE49-F238E27FC236}">
                <a16:creationId xmlns:a16="http://schemas.microsoft.com/office/drawing/2014/main" id="{94FACCC9-4161-DB06-9AA2-752A25688FA6}"/>
              </a:ext>
            </a:extLst>
          </p:cNvPr>
          <p:cNvSpPr>
            <a:spLocks noChangeArrowheads="1"/>
          </p:cNvSpPr>
          <p:nvPr/>
        </p:nvSpPr>
        <p:spPr bwMode="auto">
          <a:xfrm>
            <a:off x="428153" y="692497"/>
            <a:ext cx="264816" cy="2862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pt-BR" sz="1800" b="0" i="0" u="none" strike="noStrike" cap="none" normalizeH="0" baseline="0" noProof="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pt-BR" noProof="0">
              <a:latin typeface="Arial" panose="020B0604020202020204" pitchFamily="34" charset="0"/>
            </a:endParaRPr>
          </a:p>
        </p:txBody>
      </p:sp>
      <p:sp>
        <p:nvSpPr>
          <p:cNvPr id="8" name="CaixaDeTexto 7">
            <a:extLst>
              <a:ext uri="{FF2B5EF4-FFF2-40B4-BE49-F238E27FC236}">
                <a16:creationId xmlns:a16="http://schemas.microsoft.com/office/drawing/2014/main" id="{328C73AE-775B-675F-667A-DBF59C178BE8}"/>
              </a:ext>
            </a:extLst>
          </p:cNvPr>
          <p:cNvSpPr txBox="1"/>
          <p:nvPr/>
        </p:nvSpPr>
        <p:spPr>
          <a:xfrm>
            <a:off x="2447581" y="218322"/>
            <a:ext cx="3022763" cy="461665"/>
          </a:xfrm>
          <a:prstGeom prst="rect">
            <a:avLst/>
          </a:prstGeom>
          <a:noFill/>
        </p:spPr>
        <p:txBody>
          <a:bodyPr wrap="square" rtlCol="0">
            <a:spAutoFit/>
          </a:bodyPr>
          <a:lstStyle/>
          <a:p>
            <a:r>
              <a:rPr lang="pt-BR" sz="2400" b="1"/>
              <a:t>Resultado caso 3</a:t>
            </a:r>
            <a:endParaRPr lang="pt-BR" sz="2400" b="1" noProof="0"/>
          </a:p>
        </p:txBody>
      </p:sp>
      <p:pic>
        <p:nvPicPr>
          <p:cNvPr id="2" name="Imagem 1">
            <a:extLst>
              <a:ext uri="{FF2B5EF4-FFF2-40B4-BE49-F238E27FC236}">
                <a16:creationId xmlns:a16="http://schemas.microsoft.com/office/drawing/2014/main" id="{C0928CB8-3146-67FE-7A31-F289FB6D76A8}"/>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rot="20631384">
            <a:off x="2770952" y="366191"/>
            <a:ext cx="6259935" cy="6377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 name="CaixaDeTexto 63">
            <a:extLst>
              <a:ext uri="{FF2B5EF4-FFF2-40B4-BE49-F238E27FC236}">
                <a16:creationId xmlns:a16="http://schemas.microsoft.com/office/drawing/2014/main" id="{28627675-6FC5-86C5-4858-8E66AE74565A}"/>
              </a:ext>
            </a:extLst>
          </p:cNvPr>
          <p:cNvSpPr txBox="1"/>
          <p:nvPr/>
        </p:nvSpPr>
        <p:spPr>
          <a:xfrm rot="20061419">
            <a:off x="2966974" y="3423921"/>
            <a:ext cx="6249310" cy="830997"/>
          </a:xfrm>
          <a:prstGeom prst="rect">
            <a:avLst/>
          </a:prstGeom>
          <a:noFill/>
        </p:spPr>
        <p:txBody>
          <a:bodyPr wrap="square" rtlCol="0">
            <a:spAutoFit/>
          </a:bodyPr>
          <a:lstStyle/>
          <a:p>
            <a:pPr lvl="0" algn="ctr"/>
            <a:r>
              <a:rPr lang="pt-BR" sz="2400" b="1" noProof="0">
                <a:solidFill>
                  <a:srgbClr val="FF0000"/>
                </a:solidFill>
              </a:rPr>
              <a:t>Infecção Trato Urinário</a:t>
            </a:r>
          </a:p>
          <a:p>
            <a:pPr lvl="0" algn="ctr"/>
            <a:endParaRPr lang="pt-BR" sz="2400" b="1" noProof="0">
              <a:solidFill>
                <a:srgbClr val="FF0000"/>
              </a:solidFill>
            </a:endParaRPr>
          </a:p>
        </p:txBody>
      </p:sp>
    </p:spTree>
    <p:extLst>
      <p:ext uri="{BB962C8B-B14F-4D97-AF65-F5344CB8AC3E}">
        <p14:creationId xmlns:p14="http://schemas.microsoft.com/office/powerpoint/2010/main" val="111580184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13B627-DBEC-F77D-9D31-F9241B9485D7}"/>
            </a:ext>
          </a:extLst>
        </p:cNvPr>
        <p:cNvGrpSpPr/>
        <p:nvPr/>
      </p:nvGrpSpPr>
      <p:grpSpPr>
        <a:xfrm>
          <a:off x="0" y="0"/>
          <a:ext cx="0" cy="0"/>
          <a:chOff x="0" y="0"/>
          <a:chExt cx="0" cy="0"/>
        </a:xfrm>
      </p:grpSpPr>
      <p:grpSp>
        <p:nvGrpSpPr>
          <p:cNvPr id="2" name="Group 12">
            <a:extLst>
              <a:ext uri="{FF2B5EF4-FFF2-40B4-BE49-F238E27FC236}">
                <a16:creationId xmlns:a16="http://schemas.microsoft.com/office/drawing/2014/main" id="{ACB304F1-822C-E769-1421-33FF1E0321CB}"/>
              </a:ext>
            </a:extLst>
          </p:cNvPr>
          <p:cNvGrpSpPr/>
          <p:nvPr/>
        </p:nvGrpSpPr>
        <p:grpSpPr>
          <a:xfrm>
            <a:off x="304800" y="249455"/>
            <a:ext cx="1193800" cy="462985"/>
            <a:chOff x="5245100" y="211355"/>
            <a:chExt cx="2036664" cy="789869"/>
          </a:xfrm>
        </p:grpSpPr>
        <p:sp>
          <p:nvSpPr>
            <p:cNvPr id="3" name="Freeform: Shape 13">
              <a:extLst>
                <a:ext uri="{FF2B5EF4-FFF2-40B4-BE49-F238E27FC236}">
                  <a16:creationId xmlns:a16="http://schemas.microsoft.com/office/drawing/2014/main" id="{B466B45E-2DF2-16ED-80C2-0A2A7642BEB3}"/>
                </a:ext>
              </a:extLst>
            </p:cNvPr>
            <p:cNvSpPr/>
            <p:nvPr/>
          </p:nvSpPr>
          <p:spPr>
            <a:xfrm>
              <a:off x="5245100" y="308520"/>
              <a:ext cx="247894" cy="322815"/>
            </a:xfrm>
            <a:custGeom>
              <a:avLst/>
              <a:gdLst>
                <a:gd name="connsiteX0" fmla="*/ 529590 w 986123"/>
                <a:gd name="connsiteY0" fmla="*/ 1284160 h 1284160"/>
                <a:gd name="connsiteX1" fmla="*/ 249650 w 986123"/>
                <a:gd name="connsiteY1" fmla="*/ 1235107 h 1284160"/>
                <a:gd name="connsiteX2" fmla="*/ 0 w 986123"/>
                <a:gd name="connsiteY2" fmla="*/ 1084421 h 1284160"/>
                <a:gd name="connsiteX3" fmla="*/ 162306 w 986123"/>
                <a:gd name="connsiteY3" fmla="*/ 890016 h 1284160"/>
                <a:gd name="connsiteX4" fmla="*/ 337947 w 986123"/>
                <a:gd name="connsiteY4" fmla="*/ 1000601 h 1284160"/>
                <a:gd name="connsiteX5" fmla="*/ 535019 w 986123"/>
                <a:gd name="connsiteY5" fmla="*/ 1041654 h 1284160"/>
                <a:gd name="connsiteX6" fmla="*/ 667893 w 986123"/>
                <a:gd name="connsiteY6" fmla="*/ 1010412 h 1284160"/>
                <a:gd name="connsiteX7" fmla="*/ 715137 w 986123"/>
                <a:gd name="connsiteY7" fmla="*/ 923925 h 1284160"/>
                <a:gd name="connsiteX8" fmla="*/ 715137 w 986123"/>
                <a:gd name="connsiteY8" fmla="*/ 920305 h 1284160"/>
                <a:gd name="connsiteX9" fmla="*/ 705326 w 986123"/>
                <a:gd name="connsiteY9" fmla="*/ 873062 h 1284160"/>
                <a:gd name="connsiteX10" fmla="*/ 667798 w 986123"/>
                <a:gd name="connsiteY10" fmla="*/ 834676 h 1284160"/>
                <a:gd name="connsiteX11" fmla="*/ 590931 w 986123"/>
                <a:gd name="connsiteY11" fmla="*/ 798957 h 1284160"/>
                <a:gd name="connsiteX12" fmla="*/ 463106 w 986123"/>
                <a:gd name="connsiteY12" fmla="*/ 761524 h 1284160"/>
                <a:gd name="connsiteX13" fmla="*/ 291465 w 986123"/>
                <a:gd name="connsiteY13" fmla="*/ 709803 h 1284160"/>
                <a:gd name="connsiteX14" fmla="*/ 160973 w 986123"/>
                <a:gd name="connsiteY14" fmla="*/ 639318 h 1284160"/>
                <a:gd name="connsiteX15" fmla="*/ 77819 w 986123"/>
                <a:gd name="connsiteY15" fmla="*/ 535019 h 1284160"/>
                <a:gd name="connsiteX16" fmla="*/ 48292 w 986123"/>
                <a:gd name="connsiteY16" fmla="*/ 379857 h 1284160"/>
                <a:gd name="connsiteX17" fmla="*/ 48292 w 986123"/>
                <a:gd name="connsiteY17" fmla="*/ 376238 h 1284160"/>
                <a:gd name="connsiteX18" fmla="*/ 80201 w 986123"/>
                <a:gd name="connsiteY18" fmla="*/ 222028 h 1284160"/>
                <a:gd name="connsiteX19" fmla="*/ 169640 w 986123"/>
                <a:gd name="connsiteY19" fmla="*/ 103441 h 1284160"/>
                <a:gd name="connsiteX20" fmla="*/ 307181 w 986123"/>
                <a:gd name="connsiteY20" fmla="*/ 26765 h 1284160"/>
                <a:gd name="connsiteX21" fmla="*/ 483394 w 986123"/>
                <a:gd name="connsiteY21" fmla="*/ 0 h 1284160"/>
                <a:gd name="connsiteX22" fmla="*/ 735711 w 986123"/>
                <a:gd name="connsiteY22" fmla="*/ 41053 h 1284160"/>
                <a:gd name="connsiteX23" fmla="*/ 946976 w 986123"/>
                <a:gd name="connsiteY23" fmla="*/ 158687 h 1284160"/>
                <a:gd name="connsiteX24" fmla="*/ 804291 w 986123"/>
                <a:gd name="connsiteY24" fmla="*/ 365569 h 1284160"/>
                <a:gd name="connsiteX25" fmla="*/ 640271 w 986123"/>
                <a:gd name="connsiteY25" fmla="*/ 275558 h 1284160"/>
                <a:gd name="connsiteX26" fmla="*/ 479774 w 986123"/>
                <a:gd name="connsiteY26" fmla="*/ 242602 h 1284160"/>
                <a:gd name="connsiteX27" fmla="*/ 359378 w 986123"/>
                <a:gd name="connsiteY27" fmla="*/ 273844 h 1284160"/>
                <a:gd name="connsiteX28" fmla="*/ 319278 w 986123"/>
                <a:gd name="connsiteY28" fmla="*/ 351377 h 1284160"/>
                <a:gd name="connsiteX29" fmla="*/ 319278 w 986123"/>
                <a:gd name="connsiteY29" fmla="*/ 354997 h 1284160"/>
                <a:gd name="connsiteX30" fmla="*/ 330899 w 986123"/>
                <a:gd name="connsiteY30" fmla="*/ 407575 h 1284160"/>
                <a:gd name="connsiteX31" fmla="*/ 372904 w 986123"/>
                <a:gd name="connsiteY31" fmla="*/ 447675 h 1284160"/>
                <a:gd name="connsiteX32" fmla="*/ 456057 w 986123"/>
                <a:gd name="connsiteY32" fmla="*/ 481489 h 1284160"/>
                <a:gd name="connsiteX33" fmla="*/ 589217 w 986123"/>
                <a:gd name="connsiteY33" fmla="*/ 518922 h 1284160"/>
                <a:gd name="connsiteX34" fmla="*/ 758190 w 986123"/>
                <a:gd name="connsiteY34" fmla="*/ 575120 h 1284160"/>
                <a:gd name="connsiteX35" fmla="*/ 883349 w 986123"/>
                <a:gd name="connsiteY35" fmla="*/ 649986 h 1284160"/>
                <a:gd name="connsiteX36" fmla="*/ 960215 w 986123"/>
                <a:gd name="connsiteY36" fmla="*/ 752570 h 1284160"/>
                <a:gd name="connsiteX37" fmla="*/ 986123 w 986123"/>
                <a:gd name="connsiteY37" fmla="*/ 893445 h 1284160"/>
                <a:gd name="connsiteX38" fmla="*/ 986123 w 986123"/>
                <a:gd name="connsiteY38" fmla="*/ 897064 h 1284160"/>
                <a:gd name="connsiteX39" fmla="*/ 952500 w 986123"/>
                <a:gd name="connsiteY39" fmla="*/ 1062038 h 1284160"/>
                <a:gd name="connsiteX40" fmla="*/ 858584 w 986123"/>
                <a:gd name="connsiteY40" fmla="*/ 1183291 h 1284160"/>
                <a:gd name="connsiteX41" fmla="*/ 714851 w 986123"/>
                <a:gd name="connsiteY41" fmla="*/ 1258157 h 1284160"/>
                <a:gd name="connsiteX42" fmla="*/ 529685 w 986123"/>
                <a:gd name="connsiteY42" fmla="*/ 1284065 h 128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6123" h="1284160">
                  <a:moveTo>
                    <a:pt x="529590" y="1284160"/>
                  </a:moveTo>
                  <a:cubicBezTo>
                    <a:pt x="434435" y="1284160"/>
                    <a:pt x="341186" y="1267777"/>
                    <a:pt x="249650" y="1235107"/>
                  </a:cubicBezTo>
                  <a:cubicBezTo>
                    <a:pt x="158115" y="1202436"/>
                    <a:pt x="74867" y="1152239"/>
                    <a:pt x="0" y="1084421"/>
                  </a:cubicBezTo>
                  <a:lnTo>
                    <a:pt x="162306" y="890016"/>
                  </a:lnTo>
                  <a:cubicBezTo>
                    <a:pt x="219361" y="936403"/>
                    <a:pt x="277844" y="973264"/>
                    <a:pt x="337947" y="1000601"/>
                  </a:cubicBezTo>
                  <a:cubicBezTo>
                    <a:pt x="397955" y="1027938"/>
                    <a:pt x="463677" y="1041654"/>
                    <a:pt x="535019" y="1041654"/>
                  </a:cubicBezTo>
                  <a:cubicBezTo>
                    <a:pt x="592074" y="1041654"/>
                    <a:pt x="636365" y="1031272"/>
                    <a:pt x="667893" y="1010412"/>
                  </a:cubicBezTo>
                  <a:cubicBezTo>
                    <a:pt x="699421" y="989647"/>
                    <a:pt x="715137" y="960787"/>
                    <a:pt x="715137" y="923925"/>
                  </a:cubicBezTo>
                  <a:lnTo>
                    <a:pt x="715137" y="920305"/>
                  </a:lnTo>
                  <a:cubicBezTo>
                    <a:pt x="715137" y="902494"/>
                    <a:pt x="711803" y="886777"/>
                    <a:pt x="705326" y="873062"/>
                  </a:cubicBezTo>
                  <a:cubicBezTo>
                    <a:pt x="698754" y="859441"/>
                    <a:pt x="686276" y="846582"/>
                    <a:pt x="667798" y="834676"/>
                  </a:cubicBezTo>
                  <a:cubicBezTo>
                    <a:pt x="649319" y="822770"/>
                    <a:pt x="623697" y="810863"/>
                    <a:pt x="590931" y="798957"/>
                  </a:cubicBezTo>
                  <a:cubicBezTo>
                    <a:pt x="558165" y="787146"/>
                    <a:pt x="515493" y="774573"/>
                    <a:pt x="463106" y="761524"/>
                  </a:cubicBezTo>
                  <a:cubicBezTo>
                    <a:pt x="399955" y="746093"/>
                    <a:pt x="342710" y="728853"/>
                    <a:pt x="291465" y="709803"/>
                  </a:cubicBezTo>
                  <a:cubicBezTo>
                    <a:pt x="240221" y="690753"/>
                    <a:pt x="196691" y="667322"/>
                    <a:pt x="160973" y="639318"/>
                  </a:cubicBezTo>
                  <a:cubicBezTo>
                    <a:pt x="125159" y="611410"/>
                    <a:pt x="97536" y="576644"/>
                    <a:pt x="77819" y="535019"/>
                  </a:cubicBezTo>
                  <a:cubicBezTo>
                    <a:pt x="58103" y="493395"/>
                    <a:pt x="48292" y="441674"/>
                    <a:pt x="48292" y="379857"/>
                  </a:cubicBezTo>
                  <a:lnTo>
                    <a:pt x="48292" y="376238"/>
                  </a:lnTo>
                  <a:cubicBezTo>
                    <a:pt x="48292" y="319183"/>
                    <a:pt x="58865" y="267748"/>
                    <a:pt x="80201" y="222028"/>
                  </a:cubicBezTo>
                  <a:cubicBezTo>
                    <a:pt x="101441" y="176308"/>
                    <a:pt x="131255" y="136779"/>
                    <a:pt x="169640" y="103441"/>
                  </a:cubicBezTo>
                  <a:cubicBezTo>
                    <a:pt x="208026" y="70199"/>
                    <a:pt x="253841" y="44577"/>
                    <a:pt x="307181" y="26765"/>
                  </a:cubicBezTo>
                  <a:cubicBezTo>
                    <a:pt x="360426" y="8953"/>
                    <a:pt x="419195" y="0"/>
                    <a:pt x="483394" y="0"/>
                  </a:cubicBezTo>
                  <a:cubicBezTo>
                    <a:pt x="574929" y="0"/>
                    <a:pt x="659035" y="13716"/>
                    <a:pt x="735711" y="41053"/>
                  </a:cubicBezTo>
                  <a:cubicBezTo>
                    <a:pt x="812387" y="68389"/>
                    <a:pt x="882777" y="107632"/>
                    <a:pt x="946976" y="158687"/>
                  </a:cubicBezTo>
                  <a:lnTo>
                    <a:pt x="804291" y="365569"/>
                  </a:lnTo>
                  <a:cubicBezTo>
                    <a:pt x="748379" y="327565"/>
                    <a:pt x="693706" y="297561"/>
                    <a:pt x="640271" y="275558"/>
                  </a:cubicBezTo>
                  <a:cubicBezTo>
                    <a:pt x="586740" y="253555"/>
                    <a:pt x="533305" y="242602"/>
                    <a:pt x="479774" y="242602"/>
                  </a:cubicBezTo>
                  <a:cubicBezTo>
                    <a:pt x="426244" y="242602"/>
                    <a:pt x="386144" y="252984"/>
                    <a:pt x="359378" y="273844"/>
                  </a:cubicBezTo>
                  <a:cubicBezTo>
                    <a:pt x="332613" y="294608"/>
                    <a:pt x="319278" y="320516"/>
                    <a:pt x="319278" y="351377"/>
                  </a:cubicBezTo>
                  <a:lnTo>
                    <a:pt x="319278" y="354997"/>
                  </a:lnTo>
                  <a:cubicBezTo>
                    <a:pt x="319278" y="375190"/>
                    <a:pt x="323183" y="392716"/>
                    <a:pt x="330899" y="407575"/>
                  </a:cubicBezTo>
                  <a:cubicBezTo>
                    <a:pt x="338614" y="422434"/>
                    <a:pt x="352616" y="435864"/>
                    <a:pt x="372904" y="447675"/>
                  </a:cubicBezTo>
                  <a:cubicBezTo>
                    <a:pt x="393192" y="459581"/>
                    <a:pt x="420910" y="470821"/>
                    <a:pt x="456057" y="481489"/>
                  </a:cubicBezTo>
                  <a:cubicBezTo>
                    <a:pt x="491204" y="492157"/>
                    <a:pt x="535591" y="504730"/>
                    <a:pt x="589217" y="518922"/>
                  </a:cubicBezTo>
                  <a:cubicBezTo>
                    <a:pt x="652367" y="535591"/>
                    <a:pt x="708660" y="554260"/>
                    <a:pt x="758190" y="575120"/>
                  </a:cubicBezTo>
                  <a:cubicBezTo>
                    <a:pt x="807625" y="595979"/>
                    <a:pt x="849344" y="620935"/>
                    <a:pt x="883349" y="649986"/>
                  </a:cubicBezTo>
                  <a:cubicBezTo>
                    <a:pt x="917353" y="679132"/>
                    <a:pt x="942975" y="713327"/>
                    <a:pt x="960215" y="752570"/>
                  </a:cubicBezTo>
                  <a:cubicBezTo>
                    <a:pt x="977456" y="791813"/>
                    <a:pt x="986123" y="838772"/>
                    <a:pt x="986123" y="893445"/>
                  </a:cubicBezTo>
                  <a:lnTo>
                    <a:pt x="986123" y="897064"/>
                  </a:lnTo>
                  <a:cubicBezTo>
                    <a:pt x="986123" y="958882"/>
                    <a:pt x="974884" y="1013841"/>
                    <a:pt x="952500" y="1062038"/>
                  </a:cubicBezTo>
                  <a:cubicBezTo>
                    <a:pt x="930021" y="1110139"/>
                    <a:pt x="898779" y="1150620"/>
                    <a:pt x="858584" y="1183291"/>
                  </a:cubicBezTo>
                  <a:cubicBezTo>
                    <a:pt x="818388" y="1216057"/>
                    <a:pt x="770477" y="1241012"/>
                    <a:pt x="714851" y="1258157"/>
                  </a:cubicBezTo>
                  <a:cubicBezTo>
                    <a:pt x="659130" y="1275398"/>
                    <a:pt x="597503" y="1284065"/>
                    <a:pt x="529685" y="1284065"/>
                  </a:cubicBezTo>
                  <a:close/>
                </a:path>
              </a:pathLst>
            </a:custGeom>
            <a:solidFill>
              <a:srgbClr val="44505E"/>
            </a:solidFill>
            <a:ln w="9525" cap="flat">
              <a:noFill/>
              <a:prstDash val="solid"/>
              <a:miter/>
            </a:ln>
          </p:spPr>
          <p:txBody>
            <a:bodyPr rtlCol="0" anchor="ctr"/>
            <a:lstStyle/>
            <a:p>
              <a:endParaRPr lang="pt-BR" noProof="0"/>
            </a:p>
          </p:txBody>
        </p:sp>
        <p:sp>
          <p:nvSpPr>
            <p:cNvPr id="4" name="Freeform: Shape 16">
              <a:extLst>
                <a:ext uri="{FF2B5EF4-FFF2-40B4-BE49-F238E27FC236}">
                  <a16:creationId xmlns:a16="http://schemas.microsoft.com/office/drawing/2014/main" id="{008B9A9B-1B74-D337-02CE-B6EE78109258}"/>
                </a:ext>
              </a:extLst>
            </p:cNvPr>
            <p:cNvSpPr/>
            <p:nvPr/>
          </p:nvSpPr>
          <p:spPr>
            <a:xfrm>
              <a:off x="5492084" y="310867"/>
              <a:ext cx="332584" cy="315991"/>
            </a:xfrm>
            <a:custGeom>
              <a:avLst/>
              <a:gdLst>
                <a:gd name="connsiteX0" fmla="*/ 534924 w 1323022"/>
                <a:gd name="connsiteY0" fmla="*/ 0 h 1257014"/>
                <a:gd name="connsiteX1" fmla="*/ 788099 w 1323022"/>
                <a:gd name="connsiteY1" fmla="*/ 0 h 1257014"/>
                <a:gd name="connsiteX2" fmla="*/ 1323023 w 1323022"/>
                <a:gd name="connsiteY2" fmla="*/ 1257014 h 1257014"/>
                <a:gd name="connsiteX3" fmla="*/ 1035939 w 1323022"/>
                <a:gd name="connsiteY3" fmla="*/ 1257014 h 1257014"/>
                <a:gd name="connsiteX4" fmla="*/ 921829 w 1323022"/>
                <a:gd name="connsiteY4" fmla="*/ 977075 h 1257014"/>
                <a:gd name="connsiteX5" fmla="*/ 394049 w 1323022"/>
                <a:gd name="connsiteY5" fmla="*/ 977075 h 1257014"/>
                <a:gd name="connsiteX6" fmla="*/ 279940 w 1323022"/>
                <a:gd name="connsiteY6" fmla="*/ 1257014 h 1257014"/>
                <a:gd name="connsiteX7" fmla="*/ 0 w 1323022"/>
                <a:gd name="connsiteY7" fmla="*/ 1257014 h 1257014"/>
                <a:gd name="connsiteX8" fmla="*/ 534924 w 1323022"/>
                <a:gd name="connsiteY8" fmla="*/ 0 h 1257014"/>
                <a:gd name="connsiteX9" fmla="*/ 823817 w 1323022"/>
                <a:gd name="connsiteY9" fmla="*/ 734568 h 1257014"/>
                <a:gd name="connsiteX10" fmla="*/ 657987 w 1323022"/>
                <a:gd name="connsiteY10" fmla="*/ 329851 h 1257014"/>
                <a:gd name="connsiteX11" fmla="*/ 492157 w 1323022"/>
                <a:gd name="connsiteY11" fmla="*/ 734568 h 1257014"/>
                <a:gd name="connsiteX12" fmla="*/ 823817 w 1323022"/>
                <a:gd name="connsiteY12" fmla="*/ 734568 h 125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022" h="1257014">
                  <a:moveTo>
                    <a:pt x="534924" y="0"/>
                  </a:moveTo>
                  <a:lnTo>
                    <a:pt x="788099" y="0"/>
                  </a:lnTo>
                  <a:lnTo>
                    <a:pt x="1323023" y="1257014"/>
                  </a:lnTo>
                  <a:lnTo>
                    <a:pt x="1035939" y="1257014"/>
                  </a:lnTo>
                  <a:lnTo>
                    <a:pt x="921829" y="977075"/>
                  </a:lnTo>
                  <a:lnTo>
                    <a:pt x="394049" y="977075"/>
                  </a:lnTo>
                  <a:lnTo>
                    <a:pt x="279940" y="1257014"/>
                  </a:lnTo>
                  <a:lnTo>
                    <a:pt x="0" y="1257014"/>
                  </a:lnTo>
                  <a:lnTo>
                    <a:pt x="534924" y="0"/>
                  </a:lnTo>
                  <a:close/>
                  <a:moveTo>
                    <a:pt x="823817" y="734568"/>
                  </a:moveTo>
                  <a:lnTo>
                    <a:pt x="657987" y="329851"/>
                  </a:lnTo>
                  <a:lnTo>
                    <a:pt x="492157" y="734568"/>
                  </a:lnTo>
                  <a:lnTo>
                    <a:pt x="823817" y="734568"/>
                  </a:lnTo>
                  <a:close/>
                </a:path>
              </a:pathLst>
            </a:custGeom>
            <a:solidFill>
              <a:srgbClr val="44505E"/>
            </a:solidFill>
            <a:ln w="9525" cap="flat">
              <a:noFill/>
              <a:prstDash val="solid"/>
              <a:miter/>
            </a:ln>
          </p:spPr>
          <p:txBody>
            <a:bodyPr rtlCol="0" anchor="ctr"/>
            <a:lstStyle/>
            <a:p>
              <a:endParaRPr lang="pt-BR" noProof="0"/>
            </a:p>
          </p:txBody>
        </p:sp>
        <p:sp>
          <p:nvSpPr>
            <p:cNvPr id="5" name="Freeform: Shape 17">
              <a:extLst>
                <a:ext uri="{FF2B5EF4-FFF2-40B4-BE49-F238E27FC236}">
                  <a16:creationId xmlns:a16="http://schemas.microsoft.com/office/drawing/2014/main" id="{08538FCA-E6B0-BC23-CD7E-BC5AF05604BA}"/>
                </a:ext>
              </a:extLst>
            </p:cNvPr>
            <p:cNvSpPr/>
            <p:nvPr/>
          </p:nvSpPr>
          <p:spPr>
            <a:xfrm>
              <a:off x="5834078" y="211355"/>
              <a:ext cx="273442" cy="420435"/>
            </a:xfrm>
            <a:custGeom>
              <a:avLst/>
              <a:gdLst>
                <a:gd name="connsiteX0" fmla="*/ 540258 w 1087754"/>
                <a:gd name="connsiteY0" fmla="*/ 1672495 h 1672494"/>
                <a:gd name="connsiteX1" fmla="*/ 144399 w 1087754"/>
                <a:gd name="connsiteY1" fmla="*/ 1533430 h 1672494"/>
                <a:gd name="connsiteX2" fmla="*/ 0 w 1087754"/>
                <a:gd name="connsiteY2" fmla="*/ 1117949 h 1672494"/>
                <a:gd name="connsiteX3" fmla="*/ 0 w 1087754"/>
                <a:gd name="connsiteY3" fmla="*/ 404717 h 1672494"/>
                <a:gd name="connsiteX4" fmla="*/ 274606 w 1087754"/>
                <a:gd name="connsiteY4" fmla="*/ 404717 h 1672494"/>
                <a:gd name="connsiteX5" fmla="*/ 274606 w 1087754"/>
                <a:gd name="connsiteY5" fmla="*/ 1110806 h 1672494"/>
                <a:gd name="connsiteX6" fmla="*/ 345948 w 1087754"/>
                <a:gd name="connsiteY6" fmla="*/ 1341692 h 1672494"/>
                <a:gd name="connsiteX7" fmla="*/ 543877 w 1087754"/>
                <a:gd name="connsiteY7" fmla="*/ 1419225 h 1672494"/>
                <a:gd name="connsiteX8" fmla="*/ 741807 w 1087754"/>
                <a:gd name="connsiteY8" fmla="*/ 1344359 h 1672494"/>
                <a:gd name="connsiteX9" fmla="*/ 813149 w 1087754"/>
                <a:gd name="connsiteY9" fmla="*/ 1119664 h 1672494"/>
                <a:gd name="connsiteX10" fmla="*/ 813149 w 1087754"/>
                <a:gd name="connsiteY10" fmla="*/ 404717 h 1672494"/>
                <a:gd name="connsiteX11" fmla="*/ 1087755 w 1087754"/>
                <a:gd name="connsiteY11" fmla="*/ 404717 h 1672494"/>
                <a:gd name="connsiteX12" fmla="*/ 1087755 w 1087754"/>
                <a:gd name="connsiteY12" fmla="*/ 1108996 h 1672494"/>
                <a:gd name="connsiteX13" fmla="*/ 1049369 w 1087754"/>
                <a:gd name="connsiteY13" fmla="*/ 1356836 h 1672494"/>
                <a:gd name="connsiteX14" fmla="*/ 939737 w 1087754"/>
                <a:gd name="connsiteY14" fmla="*/ 1532477 h 1672494"/>
                <a:gd name="connsiteX15" fmla="*/ 766763 w 1087754"/>
                <a:gd name="connsiteY15" fmla="*/ 1637729 h 1672494"/>
                <a:gd name="connsiteX16" fmla="*/ 540353 w 1087754"/>
                <a:gd name="connsiteY16" fmla="*/ 1672495 h 1672494"/>
                <a:gd name="connsiteX17" fmla="*/ 622268 w 1087754"/>
                <a:gd name="connsiteY17" fmla="*/ 0 h 1672494"/>
                <a:gd name="connsiteX18" fmla="*/ 855821 w 1087754"/>
                <a:gd name="connsiteY18" fmla="*/ 101632 h 1672494"/>
                <a:gd name="connsiteX19" fmla="*/ 627602 w 1087754"/>
                <a:gd name="connsiteY19" fmla="*/ 315563 h 1672494"/>
                <a:gd name="connsiteX20" fmla="*/ 420719 w 1087754"/>
                <a:gd name="connsiteY20" fmla="*/ 315563 h 1672494"/>
                <a:gd name="connsiteX21" fmla="*/ 622268 w 1087754"/>
                <a:gd name="connsiteY21" fmla="*/ 0 h 16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754" h="1672494">
                  <a:moveTo>
                    <a:pt x="540258" y="1672495"/>
                  </a:moveTo>
                  <a:cubicBezTo>
                    <a:pt x="372618" y="1672495"/>
                    <a:pt x="240697" y="1626108"/>
                    <a:pt x="144399" y="1533430"/>
                  </a:cubicBezTo>
                  <a:cubicBezTo>
                    <a:pt x="48101" y="1440752"/>
                    <a:pt x="0" y="1302258"/>
                    <a:pt x="0" y="1117949"/>
                  </a:cubicBezTo>
                  <a:lnTo>
                    <a:pt x="0" y="404717"/>
                  </a:lnTo>
                  <a:lnTo>
                    <a:pt x="274606" y="404717"/>
                  </a:lnTo>
                  <a:lnTo>
                    <a:pt x="274606" y="1110806"/>
                  </a:lnTo>
                  <a:cubicBezTo>
                    <a:pt x="274606" y="1213009"/>
                    <a:pt x="298418" y="1289971"/>
                    <a:pt x="345948" y="1341692"/>
                  </a:cubicBezTo>
                  <a:cubicBezTo>
                    <a:pt x="393478" y="1393412"/>
                    <a:pt x="459486" y="1419225"/>
                    <a:pt x="543877" y="1419225"/>
                  </a:cubicBezTo>
                  <a:cubicBezTo>
                    <a:pt x="628269" y="1419225"/>
                    <a:pt x="694277" y="1394270"/>
                    <a:pt x="741807" y="1344359"/>
                  </a:cubicBezTo>
                  <a:cubicBezTo>
                    <a:pt x="789337" y="1294448"/>
                    <a:pt x="813149" y="1219581"/>
                    <a:pt x="813149" y="1119664"/>
                  </a:cubicBezTo>
                  <a:lnTo>
                    <a:pt x="813149" y="404717"/>
                  </a:lnTo>
                  <a:lnTo>
                    <a:pt x="1087755" y="404717"/>
                  </a:lnTo>
                  <a:lnTo>
                    <a:pt x="1087755" y="1108996"/>
                  </a:lnTo>
                  <a:cubicBezTo>
                    <a:pt x="1087755" y="1204151"/>
                    <a:pt x="1074992" y="1286732"/>
                    <a:pt x="1049369" y="1356836"/>
                  </a:cubicBezTo>
                  <a:cubicBezTo>
                    <a:pt x="1023747" y="1426940"/>
                    <a:pt x="987266" y="1485519"/>
                    <a:pt x="939737" y="1532477"/>
                  </a:cubicBezTo>
                  <a:cubicBezTo>
                    <a:pt x="892207" y="1579436"/>
                    <a:pt x="834485" y="1614488"/>
                    <a:pt x="766763" y="1637729"/>
                  </a:cubicBezTo>
                  <a:cubicBezTo>
                    <a:pt x="699040" y="1660874"/>
                    <a:pt x="623507" y="1672495"/>
                    <a:pt x="540353" y="1672495"/>
                  </a:cubicBezTo>
                  <a:close/>
                  <a:moveTo>
                    <a:pt x="622268" y="0"/>
                  </a:moveTo>
                  <a:lnTo>
                    <a:pt x="855821" y="101632"/>
                  </a:lnTo>
                  <a:lnTo>
                    <a:pt x="627602" y="315563"/>
                  </a:lnTo>
                  <a:lnTo>
                    <a:pt x="420719" y="315563"/>
                  </a:lnTo>
                  <a:lnTo>
                    <a:pt x="622268" y="0"/>
                  </a:lnTo>
                  <a:close/>
                </a:path>
              </a:pathLst>
            </a:custGeom>
            <a:solidFill>
              <a:srgbClr val="44505E"/>
            </a:solidFill>
            <a:ln w="9525" cap="flat">
              <a:noFill/>
              <a:prstDash val="solid"/>
              <a:miter/>
            </a:ln>
          </p:spPr>
          <p:txBody>
            <a:bodyPr rtlCol="0" anchor="ctr"/>
            <a:lstStyle/>
            <a:p>
              <a:endParaRPr lang="pt-BR" noProof="0"/>
            </a:p>
          </p:txBody>
        </p:sp>
        <p:sp>
          <p:nvSpPr>
            <p:cNvPr id="6" name="Freeform: Shape 18">
              <a:extLst>
                <a:ext uri="{FF2B5EF4-FFF2-40B4-BE49-F238E27FC236}">
                  <a16:creationId xmlns:a16="http://schemas.microsoft.com/office/drawing/2014/main" id="{E823197E-51D9-D486-9056-7A2B5AD6FAC3}"/>
                </a:ext>
              </a:extLst>
            </p:cNvPr>
            <p:cNvSpPr/>
            <p:nvPr/>
          </p:nvSpPr>
          <p:spPr>
            <a:xfrm>
              <a:off x="6143795" y="313094"/>
              <a:ext cx="289101" cy="313764"/>
            </a:xfrm>
            <a:custGeom>
              <a:avLst/>
              <a:gdLst>
                <a:gd name="connsiteX0" fmla="*/ 0 w 1150048"/>
                <a:gd name="connsiteY0" fmla="*/ 0 h 1248155"/>
                <a:gd name="connsiteX1" fmla="*/ 486728 w 1150048"/>
                <a:gd name="connsiteY1" fmla="*/ 0 h 1248155"/>
                <a:gd name="connsiteX2" fmla="*/ 755047 w 1150048"/>
                <a:gd name="connsiteY2" fmla="*/ 47244 h 1248155"/>
                <a:gd name="connsiteX3" fmla="*/ 965454 w 1150048"/>
                <a:gd name="connsiteY3" fmla="*/ 178308 h 1248155"/>
                <a:gd name="connsiteX4" fmla="*/ 1101852 w 1150048"/>
                <a:gd name="connsiteY4" fmla="*/ 375380 h 1248155"/>
                <a:gd name="connsiteX5" fmla="*/ 1150049 w 1150048"/>
                <a:gd name="connsiteY5" fmla="*/ 620554 h 1248155"/>
                <a:gd name="connsiteX6" fmla="*/ 1150049 w 1150048"/>
                <a:gd name="connsiteY6" fmla="*/ 624173 h 1248155"/>
                <a:gd name="connsiteX7" fmla="*/ 1101852 w 1150048"/>
                <a:gd name="connsiteY7" fmla="*/ 870204 h 1248155"/>
                <a:gd name="connsiteX8" fmla="*/ 965454 w 1150048"/>
                <a:gd name="connsiteY8" fmla="*/ 1068134 h 1248155"/>
                <a:gd name="connsiteX9" fmla="*/ 755047 w 1150048"/>
                <a:gd name="connsiteY9" fmla="*/ 1200055 h 1248155"/>
                <a:gd name="connsiteX10" fmla="*/ 486728 w 1150048"/>
                <a:gd name="connsiteY10" fmla="*/ 1248156 h 1248155"/>
                <a:gd name="connsiteX11" fmla="*/ 0 w 1150048"/>
                <a:gd name="connsiteY11" fmla="*/ 1248156 h 1248155"/>
                <a:gd name="connsiteX12" fmla="*/ 0 w 1150048"/>
                <a:gd name="connsiteY12" fmla="*/ 0 h 1248155"/>
                <a:gd name="connsiteX13" fmla="*/ 486728 w 1150048"/>
                <a:gd name="connsiteY13" fmla="*/ 1000315 h 1248155"/>
                <a:gd name="connsiteX14" fmla="*/ 640080 w 1150048"/>
                <a:gd name="connsiteY14" fmla="*/ 973550 h 1248155"/>
                <a:gd name="connsiteX15" fmla="*/ 758667 w 1150048"/>
                <a:gd name="connsiteY15" fmla="*/ 896874 h 1248155"/>
                <a:gd name="connsiteX16" fmla="*/ 835343 w 1150048"/>
                <a:gd name="connsiteY16" fmla="*/ 779240 h 1248155"/>
                <a:gd name="connsiteX17" fmla="*/ 862965 w 1150048"/>
                <a:gd name="connsiteY17" fmla="*/ 627698 h 1248155"/>
                <a:gd name="connsiteX18" fmla="*/ 862965 w 1150048"/>
                <a:gd name="connsiteY18" fmla="*/ 624078 h 1248155"/>
                <a:gd name="connsiteX19" fmla="*/ 835343 w 1150048"/>
                <a:gd name="connsiteY19" fmla="*/ 472535 h 1248155"/>
                <a:gd name="connsiteX20" fmla="*/ 758667 w 1150048"/>
                <a:gd name="connsiteY20" fmla="*/ 353092 h 1248155"/>
                <a:gd name="connsiteX21" fmla="*/ 640080 w 1150048"/>
                <a:gd name="connsiteY21" fmla="*/ 275558 h 1248155"/>
                <a:gd name="connsiteX22" fmla="*/ 486728 w 1150048"/>
                <a:gd name="connsiteY22" fmla="*/ 247936 h 1248155"/>
                <a:gd name="connsiteX23" fmla="*/ 274511 w 1150048"/>
                <a:gd name="connsiteY23" fmla="*/ 247936 h 1248155"/>
                <a:gd name="connsiteX24" fmla="*/ 274511 w 1150048"/>
                <a:gd name="connsiteY24" fmla="*/ 1000411 h 1248155"/>
                <a:gd name="connsiteX25" fmla="*/ 486728 w 1150048"/>
                <a:gd name="connsiteY25" fmla="*/ 1000411 h 124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50048" h="1248155">
                  <a:moveTo>
                    <a:pt x="0" y="0"/>
                  </a:moveTo>
                  <a:lnTo>
                    <a:pt x="486728" y="0"/>
                  </a:lnTo>
                  <a:cubicBezTo>
                    <a:pt x="584168" y="0"/>
                    <a:pt x="673608" y="15811"/>
                    <a:pt x="755047" y="47244"/>
                  </a:cubicBezTo>
                  <a:cubicBezTo>
                    <a:pt x="836486" y="78772"/>
                    <a:pt x="906590" y="122396"/>
                    <a:pt x="965454" y="178308"/>
                  </a:cubicBezTo>
                  <a:cubicBezTo>
                    <a:pt x="1024319" y="234220"/>
                    <a:pt x="1069753" y="299847"/>
                    <a:pt x="1101852" y="375380"/>
                  </a:cubicBezTo>
                  <a:cubicBezTo>
                    <a:pt x="1133951" y="450914"/>
                    <a:pt x="1150049" y="532543"/>
                    <a:pt x="1150049" y="620554"/>
                  </a:cubicBezTo>
                  <a:lnTo>
                    <a:pt x="1150049" y="624173"/>
                  </a:lnTo>
                  <a:cubicBezTo>
                    <a:pt x="1150049" y="712184"/>
                    <a:pt x="1133951" y="794195"/>
                    <a:pt x="1101852" y="870204"/>
                  </a:cubicBezTo>
                  <a:cubicBezTo>
                    <a:pt x="1069753" y="946309"/>
                    <a:pt x="1024319" y="1012222"/>
                    <a:pt x="965454" y="1068134"/>
                  </a:cubicBezTo>
                  <a:cubicBezTo>
                    <a:pt x="906590" y="1124045"/>
                    <a:pt x="836486" y="1167956"/>
                    <a:pt x="755047" y="1200055"/>
                  </a:cubicBezTo>
                  <a:cubicBezTo>
                    <a:pt x="673608" y="1232154"/>
                    <a:pt x="584168" y="1248156"/>
                    <a:pt x="486728" y="1248156"/>
                  </a:cubicBezTo>
                  <a:lnTo>
                    <a:pt x="0" y="1248156"/>
                  </a:lnTo>
                  <a:lnTo>
                    <a:pt x="0" y="0"/>
                  </a:lnTo>
                  <a:close/>
                  <a:moveTo>
                    <a:pt x="486728" y="1000315"/>
                  </a:moveTo>
                  <a:cubicBezTo>
                    <a:pt x="542639" y="1000315"/>
                    <a:pt x="593693" y="991457"/>
                    <a:pt x="640080" y="973550"/>
                  </a:cubicBezTo>
                  <a:cubicBezTo>
                    <a:pt x="686467" y="955739"/>
                    <a:pt x="725900" y="930211"/>
                    <a:pt x="758667" y="896874"/>
                  </a:cubicBezTo>
                  <a:cubicBezTo>
                    <a:pt x="791337" y="863632"/>
                    <a:pt x="816864" y="824389"/>
                    <a:pt x="835343" y="779240"/>
                  </a:cubicBezTo>
                  <a:cubicBezTo>
                    <a:pt x="853726" y="734092"/>
                    <a:pt x="862965" y="683609"/>
                    <a:pt x="862965" y="627698"/>
                  </a:cubicBezTo>
                  <a:lnTo>
                    <a:pt x="862965" y="624078"/>
                  </a:lnTo>
                  <a:cubicBezTo>
                    <a:pt x="862965" y="569404"/>
                    <a:pt x="853726" y="518827"/>
                    <a:pt x="835343" y="472535"/>
                  </a:cubicBezTo>
                  <a:cubicBezTo>
                    <a:pt x="816864" y="426149"/>
                    <a:pt x="791337" y="386334"/>
                    <a:pt x="758667" y="353092"/>
                  </a:cubicBezTo>
                  <a:cubicBezTo>
                    <a:pt x="725996" y="319849"/>
                    <a:pt x="686467" y="293941"/>
                    <a:pt x="640080" y="275558"/>
                  </a:cubicBezTo>
                  <a:cubicBezTo>
                    <a:pt x="593693" y="257175"/>
                    <a:pt x="542639" y="247936"/>
                    <a:pt x="486728" y="247936"/>
                  </a:cubicBezTo>
                  <a:lnTo>
                    <a:pt x="274511" y="247936"/>
                  </a:lnTo>
                  <a:lnTo>
                    <a:pt x="274511" y="1000411"/>
                  </a:lnTo>
                  <a:lnTo>
                    <a:pt x="486728" y="1000411"/>
                  </a:lnTo>
                  <a:close/>
                </a:path>
              </a:pathLst>
            </a:custGeom>
            <a:solidFill>
              <a:srgbClr val="44505E"/>
            </a:solidFill>
            <a:ln w="9525" cap="flat">
              <a:noFill/>
              <a:prstDash val="solid"/>
              <a:miter/>
            </a:ln>
          </p:spPr>
          <p:txBody>
            <a:bodyPr rtlCol="0" anchor="ctr"/>
            <a:lstStyle/>
            <a:p>
              <a:endParaRPr lang="pt-BR" noProof="0"/>
            </a:p>
          </p:txBody>
        </p:sp>
        <p:sp>
          <p:nvSpPr>
            <p:cNvPr id="7" name="Freeform: Shape 19">
              <a:extLst>
                <a:ext uri="{FF2B5EF4-FFF2-40B4-BE49-F238E27FC236}">
                  <a16:creationId xmlns:a16="http://schemas.microsoft.com/office/drawing/2014/main" id="{59742ACA-4315-3DBA-AF9A-E5AD9867B7B7}"/>
                </a:ext>
              </a:extLst>
            </p:cNvPr>
            <p:cNvSpPr/>
            <p:nvPr/>
          </p:nvSpPr>
          <p:spPr>
            <a:xfrm>
              <a:off x="6460217" y="313094"/>
              <a:ext cx="238459" cy="313788"/>
            </a:xfrm>
            <a:custGeom>
              <a:avLst/>
              <a:gdLst>
                <a:gd name="connsiteX0" fmla="*/ 95 w 948594"/>
                <a:gd name="connsiteY0" fmla="*/ 0 h 1248251"/>
                <a:gd name="connsiteX1" fmla="*/ 939737 w 948594"/>
                <a:gd name="connsiteY1" fmla="*/ 0 h 1248251"/>
                <a:gd name="connsiteX2" fmla="*/ 939737 w 948594"/>
                <a:gd name="connsiteY2" fmla="*/ 244316 h 1248251"/>
                <a:gd name="connsiteX3" fmla="*/ 271081 w 948594"/>
                <a:gd name="connsiteY3" fmla="*/ 244316 h 1248251"/>
                <a:gd name="connsiteX4" fmla="*/ 271081 w 948594"/>
                <a:gd name="connsiteY4" fmla="*/ 497491 h 1248251"/>
                <a:gd name="connsiteX5" fmla="*/ 859441 w 948594"/>
                <a:gd name="connsiteY5" fmla="*/ 497491 h 1248251"/>
                <a:gd name="connsiteX6" fmla="*/ 859441 w 948594"/>
                <a:gd name="connsiteY6" fmla="*/ 741807 h 1248251"/>
                <a:gd name="connsiteX7" fmla="*/ 271081 w 948594"/>
                <a:gd name="connsiteY7" fmla="*/ 741807 h 1248251"/>
                <a:gd name="connsiteX8" fmla="*/ 271081 w 948594"/>
                <a:gd name="connsiteY8" fmla="*/ 1003935 h 1248251"/>
                <a:gd name="connsiteX9" fmla="*/ 948595 w 948594"/>
                <a:gd name="connsiteY9" fmla="*/ 1003935 h 1248251"/>
                <a:gd name="connsiteX10" fmla="*/ 948595 w 948594"/>
                <a:gd name="connsiteY10" fmla="*/ 1248251 h 1248251"/>
                <a:gd name="connsiteX11" fmla="*/ 0 w 948594"/>
                <a:gd name="connsiteY11" fmla="*/ 1248251 h 1248251"/>
                <a:gd name="connsiteX12" fmla="*/ 0 w 948594"/>
                <a:gd name="connsiteY12" fmla="*/ 0 h 124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594" h="1248251">
                  <a:moveTo>
                    <a:pt x="95" y="0"/>
                  </a:moveTo>
                  <a:lnTo>
                    <a:pt x="939737" y="0"/>
                  </a:lnTo>
                  <a:lnTo>
                    <a:pt x="939737" y="244316"/>
                  </a:lnTo>
                  <a:lnTo>
                    <a:pt x="271081" y="244316"/>
                  </a:lnTo>
                  <a:lnTo>
                    <a:pt x="271081" y="497491"/>
                  </a:lnTo>
                  <a:lnTo>
                    <a:pt x="859441" y="497491"/>
                  </a:lnTo>
                  <a:lnTo>
                    <a:pt x="859441" y="741807"/>
                  </a:lnTo>
                  <a:lnTo>
                    <a:pt x="271081" y="741807"/>
                  </a:lnTo>
                  <a:lnTo>
                    <a:pt x="271081" y="1003935"/>
                  </a:lnTo>
                  <a:lnTo>
                    <a:pt x="948595" y="1003935"/>
                  </a:lnTo>
                  <a:lnTo>
                    <a:pt x="948595" y="1248251"/>
                  </a:lnTo>
                  <a:lnTo>
                    <a:pt x="0" y="1248251"/>
                  </a:lnTo>
                  <a:lnTo>
                    <a:pt x="0" y="0"/>
                  </a:lnTo>
                  <a:close/>
                </a:path>
              </a:pathLst>
            </a:custGeom>
            <a:solidFill>
              <a:srgbClr val="44505E"/>
            </a:solidFill>
            <a:ln w="9525" cap="flat">
              <a:noFill/>
              <a:prstDash val="solid"/>
              <a:miter/>
            </a:ln>
          </p:spPr>
          <p:txBody>
            <a:bodyPr rtlCol="0" anchor="ctr"/>
            <a:lstStyle/>
            <a:p>
              <a:endParaRPr lang="pt-BR" noProof="0"/>
            </a:p>
          </p:txBody>
        </p:sp>
        <p:sp>
          <p:nvSpPr>
            <p:cNvPr id="8" name="Freeform: Shape 20">
              <a:extLst>
                <a:ext uri="{FF2B5EF4-FFF2-40B4-BE49-F238E27FC236}">
                  <a16:creationId xmlns:a16="http://schemas.microsoft.com/office/drawing/2014/main" id="{F6528908-ED0D-E6DE-04F8-67DF6FAB88F1}"/>
                </a:ext>
              </a:extLst>
            </p:cNvPr>
            <p:cNvSpPr/>
            <p:nvPr/>
          </p:nvSpPr>
          <p:spPr>
            <a:xfrm>
              <a:off x="5253193" y="699983"/>
              <a:ext cx="90796" cy="97883"/>
            </a:xfrm>
            <a:custGeom>
              <a:avLst/>
              <a:gdLst>
                <a:gd name="connsiteX0" fmla="*/ 191548 w 361187"/>
                <a:gd name="connsiteY0" fmla="*/ 389382 h 389381"/>
                <a:gd name="connsiteX1" fmla="*/ 116300 w 361187"/>
                <a:gd name="connsiteY1" fmla="*/ 375285 h 389381"/>
                <a:gd name="connsiteX2" fmla="*/ 55531 w 361187"/>
                <a:gd name="connsiteY2" fmla="*/ 335756 h 389381"/>
                <a:gd name="connsiteX3" fmla="*/ 14859 w 361187"/>
                <a:gd name="connsiteY3" fmla="*/ 274606 h 389381"/>
                <a:gd name="connsiteX4" fmla="*/ 0 w 361187"/>
                <a:gd name="connsiteY4" fmla="*/ 195834 h 389381"/>
                <a:gd name="connsiteX5" fmla="*/ 0 w 361187"/>
                <a:gd name="connsiteY5" fmla="*/ 194405 h 389381"/>
                <a:gd name="connsiteX6" fmla="*/ 13430 w 361187"/>
                <a:gd name="connsiteY6" fmla="*/ 118777 h 389381"/>
                <a:gd name="connsiteX7" fmla="*/ 51245 w 361187"/>
                <a:gd name="connsiteY7" fmla="*/ 56959 h 389381"/>
                <a:gd name="connsiteX8" fmla="*/ 108871 w 361187"/>
                <a:gd name="connsiteY8" fmla="*/ 15240 h 389381"/>
                <a:gd name="connsiteX9" fmla="*/ 182404 w 361187"/>
                <a:gd name="connsiteY9" fmla="*/ 0 h 389381"/>
                <a:gd name="connsiteX10" fmla="*/ 260509 w 361187"/>
                <a:gd name="connsiteY10" fmla="*/ 16288 h 389381"/>
                <a:gd name="connsiteX11" fmla="*/ 316325 w 361187"/>
                <a:gd name="connsiteY11" fmla="*/ 60103 h 389381"/>
                <a:gd name="connsiteX12" fmla="*/ 349853 w 361187"/>
                <a:gd name="connsiteY12" fmla="*/ 124015 h 389381"/>
                <a:gd name="connsiteX13" fmla="*/ 361188 w 361187"/>
                <a:gd name="connsiteY13" fmla="*/ 200692 h 389381"/>
                <a:gd name="connsiteX14" fmla="*/ 360807 w 361187"/>
                <a:gd name="connsiteY14" fmla="*/ 212312 h 389381"/>
                <a:gd name="connsiteX15" fmla="*/ 359759 w 361187"/>
                <a:gd name="connsiteY15" fmla="*/ 224695 h 389381"/>
                <a:gd name="connsiteX16" fmla="*/ 85534 w 361187"/>
                <a:gd name="connsiteY16" fmla="*/ 224695 h 389381"/>
                <a:gd name="connsiteX17" fmla="*/ 121920 w 361187"/>
                <a:gd name="connsiteY17" fmla="*/ 294989 h 389381"/>
                <a:gd name="connsiteX18" fmla="*/ 192977 w 361187"/>
                <a:gd name="connsiteY18" fmla="*/ 319373 h 389381"/>
                <a:gd name="connsiteX19" fmla="*/ 248126 w 361187"/>
                <a:gd name="connsiteY19" fmla="*/ 308038 h 389381"/>
                <a:gd name="connsiteX20" fmla="*/ 294037 w 361187"/>
                <a:gd name="connsiteY20" fmla="*/ 274796 h 389381"/>
                <a:gd name="connsiteX21" fmla="*/ 344234 w 361187"/>
                <a:gd name="connsiteY21" fmla="*/ 319278 h 389381"/>
                <a:gd name="connsiteX22" fmla="*/ 280226 w 361187"/>
                <a:gd name="connsiteY22" fmla="*/ 370141 h 389381"/>
                <a:gd name="connsiteX23" fmla="*/ 191548 w 361187"/>
                <a:gd name="connsiteY23" fmla="*/ 389191 h 389381"/>
                <a:gd name="connsiteX24" fmla="*/ 276320 w 361187"/>
                <a:gd name="connsiteY24" fmla="*/ 168211 h 389381"/>
                <a:gd name="connsiteX25" fmla="*/ 267176 w 361187"/>
                <a:gd name="connsiteY25" fmla="*/ 129730 h 389381"/>
                <a:gd name="connsiteX26" fmla="*/ 248126 w 361187"/>
                <a:gd name="connsiteY26" fmla="*/ 98679 h 389381"/>
                <a:gd name="connsiteX27" fmla="*/ 219551 w 361187"/>
                <a:gd name="connsiteY27" fmla="*/ 77819 h 389381"/>
                <a:gd name="connsiteX28" fmla="*/ 181737 w 361187"/>
                <a:gd name="connsiteY28" fmla="*/ 70009 h 389381"/>
                <a:gd name="connsiteX29" fmla="*/ 116396 w 361187"/>
                <a:gd name="connsiteY29" fmla="*/ 97250 h 389381"/>
                <a:gd name="connsiteX30" fmla="*/ 84963 w 361187"/>
                <a:gd name="connsiteY30" fmla="*/ 168307 h 389381"/>
                <a:gd name="connsiteX31" fmla="*/ 276511 w 361187"/>
                <a:gd name="connsiteY31" fmla="*/ 168307 h 38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187" h="389381">
                  <a:moveTo>
                    <a:pt x="191548" y="389382"/>
                  </a:moveTo>
                  <a:cubicBezTo>
                    <a:pt x="164687" y="389382"/>
                    <a:pt x="139637" y="384715"/>
                    <a:pt x="116300" y="375285"/>
                  </a:cubicBezTo>
                  <a:cubicBezTo>
                    <a:pt x="92964" y="365855"/>
                    <a:pt x="72771" y="352711"/>
                    <a:pt x="55531" y="335756"/>
                  </a:cubicBezTo>
                  <a:cubicBezTo>
                    <a:pt x="38291" y="318802"/>
                    <a:pt x="24765" y="298418"/>
                    <a:pt x="14859" y="274606"/>
                  </a:cubicBezTo>
                  <a:cubicBezTo>
                    <a:pt x="4953" y="250793"/>
                    <a:pt x="0" y="224599"/>
                    <a:pt x="0" y="195834"/>
                  </a:cubicBezTo>
                  <a:lnTo>
                    <a:pt x="0" y="194405"/>
                  </a:lnTo>
                  <a:cubicBezTo>
                    <a:pt x="0" y="167545"/>
                    <a:pt x="4477" y="142399"/>
                    <a:pt x="13430" y="118777"/>
                  </a:cubicBezTo>
                  <a:cubicBezTo>
                    <a:pt x="22384" y="95250"/>
                    <a:pt x="34957" y="74581"/>
                    <a:pt x="51245" y="56959"/>
                  </a:cubicBezTo>
                  <a:cubicBezTo>
                    <a:pt x="67532" y="39338"/>
                    <a:pt x="86677" y="25432"/>
                    <a:pt x="108871" y="15240"/>
                  </a:cubicBezTo>
                  <a:cubicBezTo>
                    <a:pt x="131064" y="5143"/>
                    <a:pt x="155543" y="0"/>
                    <a:pt x="182404" y="0"/>
                  </a:cubicBezTo>
                  <a:cubicBezTo>
                    <a:pt x="212122" y="0"/>
                    <a:pt x="238125" y="5429"/>
                    <a:pt x="260509" y="16288"/>
                  </a:cubicBezTo>
                  <a:cubicBezTo>
                    <a:pt x="282893" y="27146"/>
                    <a:pt x="301466" y="41719"/>
                    <a:pt x="316325" y="60103"/>
                  </a:cubicBezTo>
                  <a:cubicBezTo>
                    <a:pt x="331184" y="78486"/>
                    <a:pt x="342329" y="99822"/>
                    <a:pt x="349853" y="124015"/>
                  </a:cubicBezTo>
                  <a:cubicBezTo>
                    <a:pt x="357378" y="148304"/>
                    <a:pt x="361188" y="173831"/>
                    <a:pt x="361188" y="200692"/>
                  </a:cubicBezTo>
                  <a:cubicBezTo>
                    <a:pt x="361188" y="204502"/>
                    <a:pt x="361093" y="208312"/>
                    <a:pt x="360807" y="212312"/>
                  </a:cubicBezTo>
                  <a:cubicBezTo>
                    <a:pt x="360521" y="216313"/>
                    <a:pt x="360236" y="220409"/>
                    <a:pt x="359759" y="224695"/>
                  </a:cubicBezTo>
                  <a:lnTo>
                    <a:pt x="85534" y="224695"/>
                  </a:lnTo>
                  <a:cubicBezTo>
                    <a:pt x="90202" y="255365"/>
                    <a:pt x="102394" y="278797"/>
                    <a:pt x="121920" y="294989"/>
                  </a:cubicBezTo>
                  <a:cubicBezTo>
                    <a:pt x="141446" y="311277"/>
                    <a:pt x="165164" y="319373"/>
                    <a:pt x="192977" y="319373"/>
                  </a:cubicBezTo>
                  <a:cubicBezTo>
                    <a:pt x="214217" y="319373"/>
                    <a:pt x="232505" y="315563"/>
                    <a:pt x="248126" y="308038"/>
                  </a:cubicBezTo>
                  <a:cubicBezTo>
                    <a:pt x="263652" y="300514"/>
                    <a:pt x="278987" y="289465"/>
                    <a:pt x="294037" y="274796"/>
                  </a:cubicBezTo>
                  <a:lnTo>
                    <a:pt x="344234" y="319278"/>
                  </a:lnTo>
                  <a:cubicBezTo>
                    <a:pt x="326327" y="340519"/>
                    <a:pt x="304991" y="357473"/>
                    <a:pt x="280226" y="370141"/>
                  </a:cubicBezTo>
                  <a:cubicBezTo>
                    <a:pt x="255461" y="382810"/>
                    <a:pt x="225933" y="389191"/>
                    <a:pt x="191548" y="389191"/>
                  </a:cubicBezTo>
                  <a:close/>
                  <a:moveTo>
                    <a:pt x="276320" y="168211"/>
                  </a:moveTo>
                  <a:cubicBezTo>
                    <a:pt x="274892" y="154591"/>
                    <a:pt x="271844" y="141732"/>
                    <a:pt x="267176" y="129730"/>
                  </a:cubicBezTo>
                  <a:cubicBezTo>
                    <a:pt x="262414" y="117729"/>
                    <a:pt x="256127" y="107347"/>
                    <a:pt x="248126" y="98679"/>
                  </a:cubicBezTo>
                  <a:cubicBezTo>
                    <a:pt x="240125" y="89916"/>
                    <a:pt x="230600" y="82963"/>
                    <a:pt x="219551" y="77819"/>
                  </a:cubicBezTo>
                  <a:cubicBezTo>
                    <a:pt x="208502" y="72676"/>
                    <a:pt x="195834" y="70009"/>
                    <a:pt x="181737" y="70009"/>
                  </a:cubicBezTo>
                  <a:cubicBezTo>
                    <a:pt x="155353" y="70009"/>
                    <a:pt x="133541" y="79057"/>
                    <a:pt x="116396" y="97250"/>
                  </a:cubicBezTo>
                  <a:cubicBezTo>
                    <a:pt x="99155" y="115348"/>
                    <a:pt x="88678" y="139065"/>
                    <a:pt x="84963" y="168307"/>
                  </a:cubicBezTo>
                  <a:lnTo>
                    <a:pt x="276511" y="168307"/>
                  </a:lnTo>
                  <a:close/>
                </a:path>
              </a:pathLst>
            </a:custGeom>
            <a:solidFill>
              <a:srgbClr val="44505E"/>
            </a:solidFill>
            <a:ln w="9525" cap="flat">
              <a:noFill/>
              <a:prstDash val="solid"/>
              <a:miter/>
            </a:ln>
          </p:spPr>
          <p:txBody>
            <a:bodyPr rtlCol="0" anchor="ctr"/>
            <a:lstStyle/>
            <a:p>
              <a:endParaRPr lang="pt-BR" noProof="0"/>
            </a:p>
          </p:txBody>
        </p:sp>
        <p:sp>
          <p:nvSpPr>
            <p:cNvPr id="9" name="Freeform: Shape 21">
              <a:extLst>
                <a:ext uri="{FF2B5EF4-FFF2-40B4-BE49-F238E27FC236}">
                  <a16:creationId xmlns:a16="http://schemas.microsoft.com/office/drawing/2014/main" id="{F812AEB9-1625-544E-FAD4-36002F2D36CA}"/>
                </a:ext>
              </a:extLst>
            </p:cNvPr>
            <p:cNvSpPr/>
            <p:nvPr/>
          </p:nvSpPr>
          <p:spPr>
            <a:xfrm>
              <a:off x="5365659"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5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8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3 w 568166"/>
                <a:gd name="connsiteY21" fmla="*/ 381000 h 381000"/>
                <a:gd name="connsiteX22" fmla="*/ 240983 w 568166"/>
                <a:gd name="connsiteY22" fmla="*/ 168783 h 381000"/>
                <a:gd name="connsiteX23" fmla="*/ 221266 w 568166"/>
                <a:gd name="connsiteY23" fmla="*/ 101822 h 381000"/>
                <a:gd name="connsiteX24" fmla="*/ 165640 w 568166"/>
                <a:gd name="connsiteY24" fmla="*/ 78581 h 381000"/>
                <a:gd name="connsiteX25" fmla="*/ 108014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70" y="48196"/>
                    <a:pt x="105918" y="40576"/>
                  </a:cubicBezTo>
                  <a:cubicBezTo>
                    <a:pt x="112967" y="32956"/>
                    <a:pt x="121063" y="26099"/>
                    <a:pt x="130207" y="19907"/>
                  </a:cubicBezTo>
                  <a:cubicBezTo>
                    <a:pt x="139351" y="13716"/>
                    <a:pt x="149733" y="8858"/>
                    <a:pt x="161163" y="5334"/>
                  </a:cubicBezTo>
                  <a:cubicBezTo>
                    <a:pt x="172688" y="1714"/>
                    <a:pt x="185452" y="0"/>
                    <a:pt x="199549" y="0"/>
                  </a:cubicBezTo>
                  <a:cubicBezTo>
                    <a:pt x="226314" y="0"/>
                    <a:pt x="248984" y="6096"/>
                    <a:pt x="267557" y="18193"/>
                  </a:cubicBezTo>
                  <a:cubicBezTo>
                    <a:pt x="286131" y="30289"/>
                    <a:pt x="300323" y="46387"/>
                    <a:pt x="310134" y="66294"/>
                  </a:cubicBezTo>
                  <a:cubicBezTo>
                    <a:pt x="325279" y="46387"/>
                    <a:pt x="343091" y="30289"/>
                    <a:pt x="363665" y="18193"/>
                  </a:cubicBezTo>
                  <a:cubicBezTo>
                    <a:pt x="384239" y="6096"/>
                    <a:pt x="408718" y="0"/>
                    <a:pt x="437007" y="0"/>
                  </a:cubicBezTo>
                  <a:cubicBezTo>
                    <a:pt x="478060"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8" y="78486"/>
                  </a:cubicBezTo>
                  <a:cubicBezTo>
                    <a:pt x="382810" y="78486"/>
                    <a:pt x="364141" y="86392"/>
                    <a:pt x="349377" y="102108"/>
                  </a:cubicBezTo>
                  <a:cubicBezTo>
                    <a:pt x="334613" y="117824"/>
                    <a:pt x="327184" y="140779"/>
                    <a:pt x="327184" y="170879"/>
                  </a:cubicBezTo>
                  <a:lnTo>
                    <a:pt x="327184" y="381000"/>
                  </a:lnTo>
                  <a:lnTo>
                    <a:pt x="240983" y="381000"/>
                  </a:lnTo>
                  <a:lnTo>
                    <a:pt x="240983" y="168783"/>
                  </a:lnTo>
                  <a:cubicBezTo>
                    <a:pt x="240983" y="139637"/>
                    <a:pt x="234410" y="117348"/>
                    <a:pt x="221266" y="101822"/>
                  </a:cubicBezTo>
                  <a:cubicBezTo>
                    <a:pt x="208121" y="86296"/>
                    <a:pt x="189643" y="78581"/>
                    <a:pt x="165640" y="78581"/>
                  </a:cubicBezTo>
                  <a:cubicBezTo>
                    <a:pt x="141637" y="78581"/>
                    <a:pt x="122492" y="86773"/>
                    <a:pt x="108014"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10" name="Freeform: Shape 22">
              <a:extLst>
                <a:ext uri="{FF2B5EF4-FFF2-40B4-BE49-F238E27FC236}">
                  <a16:creationId xmlns:a16="http://schemas.microsoft.com/office/drawing/2014/main" id="{64AA004D-54E5-C778-346B-48213453FE99}"/>
                </a:ext>
              </a:extLst>
            </p:cNvPr>
            <p:cNvSpPr/>
            <p:nvPr/>
          </p:nvSpPr>
          <p:spPr>
            <a:xfrm>
              <a:off x="5587693" y="700007"/>
              <a:ext cx="84211" cy="95752"/>
            </a:xfrm>
            <a:custGeom>
              <a:avLst/>
              <a:gdLst>
                <a:gd name="connsiteX0" fmla="*/ 95 w 334994"/>
                <a:gd name="connsiteY0" fmla="*/ 7715 h 380904"/>
                <a:gd name="connsiteX1" fmla="*/ 86296 w 334994"/>
                <a:gd name="connsiteY1" fmla="*/ 7715 h 380904"/>
                <a:gd name="connsiteX2" fmla="*/ 86296 w 334994"/>
                <a:gd name="connsiteY2" fmla="*/ 66294 h 380904"/>
                <a:gd name="connsiteX3" fmla="*/ 106394 w 334994"/>
                <a:gd name="connsiteY3" fmla="*/ 40958 h 380904"/>
                <a:gd name="connsiteX4" fmla="*/ 131731 w 334994"/>
                <a:gd name="connsiteY4" fmla="*/ 19907 h 380904"/>
                <a:gd name="connsiteX5" fmla="*/ 163449 w 334994"/>
                <a:gd name="connsiteY5" fmla="*/ 5334 h 380904"/>
                <a:gd name="connsiteX6" fmla="*/ 202597 w 334994"/>
                <a:gd name="connsiteY6" fmla="*/ 0 h 380904"/>
                <a:gd name="connsiteX7" fmla="*/ 300514 w 334994"/>
                <a:gd name="connsiteY7" fmla="*/ 38862 h 380904"/>
                <a:gd name="connsiteX8" fmla="*/ 334994 w 334994"/>
                <a:gd name="connsiteY8" fmla="*/ 143446 h 380904"/>
                <a:gd name="connsiteX9" fmla="*/ 334994 w 334994"/>
                <a:gd name="connsiteY9" fmla="*/ 380905 h 380904"/>
                <a:gd name="connsiteX10" fmla="*/ 248793 w 334994"/>
                <a:gd name="connsiteY10" fmla="*/ 380905 h 380904"/>
                <a:gd name="connsiteX11" fmla="*/ 248793 w 334994"/>
                <a:gd name="connsiteY11" fmla="*/ 169450 h 380904"/>
                <a:gd name="connsiteX12" fmla="*/ 228124 w 334994"/>
                <a:gd name="connsiteY12" fmla="*/ 102108 h 380904"/>
                <a:gd name="connsiteX13" fmla="*/ 169640 w 334994"/>
                <a:gd name="connsiteY13" fmla="*/ 78486 h 380904"/>
                <a:gd name="connsiteX14" fmla="*/ 109347 w 334994"/>
                <a:gd name="connsiteY14" fmla="*/ 102775 h 380904"/>
                <a:gd name="connsiteX15" fmla="*/ 86201 w 334994"/>
                <a:gd name="connsiteY15" fmla="*/ 170783 h 380904"/>
                <a:gd name="connsiteX16" fmla="*/ 86201 w 334994"/>
                <a:gd name="connsiteY16" fmla="*/ 380905 h 380904"/>
                <a:gd name="connsiteX17" fmla="*/ 0 w 334994"/>
                <a:gd name="connsiteY17" fmla="*/ 380905 h 380904"/>
                <a:gd name="connsiteX18" fmla="*/ 0 w 334994"/>
                <a:gd name="connsiteY18" fmla="*/ 7810 h 38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94" h="380904">
                  <a:moveTo>
                    <a:pt x="95" y="7715"/>
                  </a:moveTo>
                  <a:lnTo>
                    <a:pt x="86296" y="7715"/>
                  </a:lnTo>
                  <a:lnTo>
                    <a:pt x="86296" y="66294"/>
                  </a:lnTo>
                  <a:cubicBezTo>
                    <a:pt x="92392" y="57245"/>
                    <a:pt x="99060" y="48863"/>
                    <a:pt x="106394" y="40958"/>
                  </a:cubicBezTo>
                  <a:cubicBezTo>
                    <a:pt x="113633" y="33147"/>
                    <a:pt x="122110" y="26099"/>
                    <a:pt x="131731" y="19907"/>
                  </a:cubicBezTo>
                  <a:cubicBezTo>
                    <a:pt x="141351" y="13716"/>
                    <a:pt x="151924" y="8858"/>
                    <a:pt x="163449" y="5334"/>
                  </a:cubicBezTo>
                  <a:cubicBezTo>
                    <a:pt x="174974" y="1714"/>
                    <a:pt x="188024" y="0"/>
                    <a:pt x="202597" y="0"/>
                  </a:cubicBezTo>
                  <a:cubicBezTo>
                    <a:pt x="244888" y="0"/>
                    <a:pt x="277559" y="12954"/>
                    <a:pt x="300514" y="38862"/>
                  </a:cubicBezTo>
                  <a:cubicBezTo>
                    <a:pt x="323564" y="64770"/>
                    <a:pt x="334994" y="99631"/>
                    <a:pt x="334994" y="143446"/>
                  </a:cubicBezTo>
                  <a:lnTo>
                    <a:pt x="334994" y="380905"/>
                  </a:lnTo>
                  <a:lnTo>
                    <a:pt x="248793" y="380905"/>
                  </a:lnTo>
                  <a:lnTo>
                    <a:pt x="248793" y="169450"/>
                  </a:lnTo>
                  <a:cubicBezTo>
                    <a:pt x="248793" y="140303"/>
                    <a:pt x="241935" y="117824"/>
                    <a:pt x="228124" y="102108"/>
                  </a:cubicBezTo>
                  <a:cubicBezTo>
                    <a:pt x="214313" y="86392"/>
                    <a:pt x="194881" y="78486"/>
                    <a:pt x="169640" y="78486"/>
                  </a:cubicBezTo>
                  <a:cubicBezTo>
                    <a:pt x="144399" y="78486"/>
                    <a:pt x="124777" y="86582"/>
                    <a:pt x="109347" y="102775"/>
                  </a:cubicBezTo>
                  <a:cubicBezTo>
                    <a:pt x="93917" y="118967"/>
                    <a:pt x="86201" y="141637"/>
                    <a:pt x="86201" y="170783"/>
                  </a:cubicBezTo>
                  <a:lnTo>
                    <a:pt x="86201" y="380905"/>
                  </a:lnTo>
                  <a:lnTo>
                    <a:pt x="0" y="380905"/>
                  </a:lnTo>
                  <a:lnTo>
                    <a:pt x="0" y="7810"/>
                  </a:lnTo>
                  <a:close/>
                </a:path>
              </a:pathLst>
            </a:custGeom>
            <a:solidFill>
              <a:srgbClr val="44505E"/>
            </a:solidFill>
            <a:ln w="9525" cap="flat">
              <a:noFill/>
              <a:prstDash val="solid"/>
              <a:miter/>
            </a:ln>
          </p:spPr>
          <p:txBody>
            <a:bodyPr rtlCol="0" anchor="ctr"/>
            <a:lstStyle/>
            <a:p>
              <a:endParaRPr lang="pt-BR" noProof="0"/>
            </a:p>
          </p:txBody>
        </p:sp>
        <p:sp>
          <p:nvSpPr>
            <p:cNvPr id="11" name="Freeform: Shape 23">
              <a:extLst>
                <a:ext uri="{FF2B5EF4-FFF2-40B4-BE49-F238E27FC236}">
                  <a16:creationId xmlns:a16="http://schemas.microsoft.com/office/drawing/2014/main" id="{928599EB-70EE-F931-4D0C-51388077E091}"/>
                </a:ext>
              </a:extLst>
            </p:cNvPr>
            <p:cNvSpPr/>
            <p:nvPr/>
          </p:nvSpPr>
          <p:spPr>
            <a:xfrm>
              <a:off x="5692712" y="699959"/>
              <a:ext cx="100015" cy="97908"/>
            </a:xfrm>
            <a:custGeom>
              <a:avLst/>
              <a:gdLst>
                <a:gd name="connsiteX0" fmla="*/ 197834 w 397859"/>
                <a:gd name="connsiteY0" fmla="*/ 389477 h 389477"/>
                <a:gd name="connsiteX1" fmla="*/ 119063 w 397859"/>
                <a:gd name="connsiteY1" fmla="*/ 374237 h 389477"/>
                <a:gd name="connsiteX2" fmla="*/ 56197 w 397859"/>
                <a:gd name="connsiteY2" fmla="*/ 332899 h 389477"/>
                <a:gd name="connsiteX3" fmla="*/ 14859 w 397859"/>
                <a:gd name="connsiteY3" fmla="*/ 271463 h 389477"/>
                <a:gd name="connsiteX4" fmla="*/ 0 w 397859"/>
                <a:gd name="connsiteY4" fmla="*/ 196501 h 389477"/>
                <a:gd name="connsiteX5" fmla="*/ 0 w 397859"/>
                <a:gd name="connsiteY5" fmla="*/ 195072 h 389477"/>
                <a:gd name="connsiteX6" fmla="*/ 15145 w 397859"/>
                <a:gd name="connsiteY6" fmla="*/ 119444 h 389477"/>
                <a:gd name="connsiteX7" fmla="*/ 56864 w 397859"/>
                <a:gd name="connsiteY7" fmla="*/ 57626 h 389477"/>
                <a:gd name="connsiteX8" fmla="*/ 119729 w 397859"/>
                <a:gd name="connsiteY8" fmla="*/ 15526 h 389477"/>
                <a:gd name="connsiteX9" fmla="*/ 199263 w 397859"/>
                <a:gd name="connsiteY9" fmla="*/ 0 h 389477"/>
                <a:gd name="connsiteX10" fmla="*/ 278797 w 397859"/>
                <a:gd name="connsiteY10" fmla="*/ 15240 h 389477"/>
                <a:gd name="connsiteX11" fmla="*/ 341662 w 397859"/>
                <a:gd name="connsiteY11" fmla="*/ 56959 h 389477"/>
                <a:gd name="connsiteX12" fmla="*/ 383000 w 397859"/>
                <a:gd name="connsiteY12" fmla="*/ 118396 h 389477"/>
                <a:gd name="connsiteX13" fmla="*/ 397859 w 397859"/>
                <a:gd name="connsiteY13" fmla="*/ 193643 h 389477"/>
                <a:gd name="connsiteX14" fmla="*/ 397859 w 397859"/>
                <a:gd name="connsiteY14" fmla="*/ 195072 h 389477"/>
                <a:gd name="connsiteX15" fmla="*/ 382619 w 397859"/>
                <a:gd name="connsiteY15" fmla="*/ 270034 h 389477"/>
                <a:gd name="connsiteX16" fmla="*/ 340900 w 397859"/>
                <a:gd name="connsiteY16" fmla="*/ 331851 h 389477"/>
                <a:gd name="connsiteX17" fmla="*/ 277654 w 397859"/>
                <a:gd name="connsiteY17" fmla="*/ 373856 h 389477"/>
                <a:gd name="connsiteX18" fmla="*/ 197834 w 397859"/>
                <a:gd name="connsiteY18" fmla="*/ 389382 h 389477"/>
                <a:gd name="connsiteX19" fmla="*/ 199263 w 397859"/>
                <a:gd name="connsiteY19" fmla="*/ 315278 h 389477"/>
                <a:gd name="connsiteX20" fmla="*/ 245935 w 397859"/>
                <a:gd name="connsiteY20" fmla="*/ 305753 h 389477"/>
                <a:gd name="connsiteX21" fmla="*/ 281368 w 397859"/>
                <a:gd name="connsiteY21" fmla="*/ 279940 h 389477"/>
                <a:gd name="connsiteX22" fmla="*/ 303847 w 397859"/>
                <a:gd name="connsiteY22" fmla="*/ 242125 h 389477"/>
                <a:gd name="connsiteX23" fmla="*/ 311563 w 397859"/>
                <a:gd name="connsiteY23" fmla="*/ 196501 h 389477"/>
                <a:gd name="connsiteX24" fmla="*/ 311563 w 397859"/>
                <a:gd name="connsiteY24" fmla="*/ 195072 h 389477"/>
                <a:gd name="connsiteX25" fmla="*/ 303181 w 397859"/>
                <a:gd name="connsiteY25" fmla="*/ 148400 h 389477"/>
                <a:gd name="connsiteX26" fmla="*/ 279654 w 397859"/>
                <a:gd name="connsiteY26" fmla="*/ 110204 h 389477"/>
                <a:gd name="connsiteX27" fmla="*/ 243840 w 397859"/>
                <a:gd name="connsiteY27" fmla="*/ 84392 h 389477"/>
                <a:gd name="connsiteX28" fmla="*/ 197834 w 397859"/>
                <a:gd name="connsiteY28" fmla="*/ 74867 h 389477"/>
                <a:gd name="connsiteX29" fmla="*/ 151829 w 397859"/>
                <a:gd name="connsiteY29" fmla="*/ 84392 h 389477"/>
                <a:gd name="connsiteX30" fmla="*/ 116396 w 397859"/>
                <a:gd name="connsiteY30" fmla="*/ 109823 h 389477"/>
                <a:gd name="connsiteX31" fmla="*/ 93917 w 397859"/>
                <a:gd name="connsiteY31" fmla="*/ 147638 h 389477"/>
                <a:gd name="connsiteX32" fmla="*/ 86201 w 397859"/>
                <a:gd name="connsiteY32" fmla="*/ 193548 h 389477"/>
                <a:gd name="connsiteX33" fmla="*/ 86201 w 397859"/>
                <a:gd name="connsiteY33" fmla="*/ 194977 h 389477"/>
                <a:gd name="connsiteX34" fmla="*/ 94583 w 397859"/>
                <a:gd name="connsiteY34" fmla="*/ 241268 h 389477"/>
                <a:gd name="connsiteX35" fmla="*/ 118110 w 397859"/>
                <a:gd name="connsiteY35" fmla="*/ 279463 h 389477"/>
                <a:gd name="connsiteX36" fmla="*/ 153924 w 397859"/>
                <a:gd name="connsiteY36" fmla="*/ 305562 h 389477"/>
                <a:gd name="connsiteX37" fmla="*/ 199263 w 397859"/>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859" h="389477">
                  <a:moveTo>
                    <a:pt x="197834" y="389477"/>
                  </a:moveTo>
                  <a:cubicBezTo>
                    <a:pt x="169545" y="389477"/>
                    <a:pt x="143351" y="384429"/>
                    <a:pt x="119063" y="374237"/>
                  </a:cubicBezTo>
                  <a:cubicBezTo>
                    <a:pt x="94774" y="364141"/>
                    <a:pt x="73819" y="350330"/>
                    <a:pt x="56197" y="332899"/>
                  </a:cubicBezTo>
                  <a:cubicBezTo>
                    <a:pt x="38481" y="315468"/>
                    <a:pt x="24765" y="294989"/>
                    <a:pt x="14859" y="271463"/>
                  </a:cubicBezTo>
                  <a:cubicBezTo>
                    <a:pt x="4953" y="247936"/>
                    <a:pt x="0" y="222980"/>
                    <a:pt x="0" y="196501"/>
                  </a:cubicBezTo>
                  <a:lnTo>
                    <a:pt x="0" y="195072"/>
                  </a:lnTo>
                  <a:cubicBezTo>
                    <a:pt x="0" y="168212"/>
                    <a:pt x="5048" y="143066"/>
                    <a:pt x="15145" y="119444"/>
                  </a:cubicBezTo>
                  <a:cubicBezTo>
                    <a:pt x="25241" y="95917"/>
                    <a:pt x="39148" y="75248"/>
                    <a:pt x="56864" y="57626"/>
                  </a:cubicBezTo>
                  <a:cubicBezTo>
                    <a:pt x="74581" y="39910"/>
                    <a:pt x="95536" y="25908"/>
                    <a:pt x="119729" y="15526"/>
                  </a:cubicBezTo>
                  <a:cubicBezTo>
                    <a:pt x="144018" y="5144"/>
                    <a:pt x="170497" y="0"/>
                    <a:pt x="199263" y="0"/>
                  </a:cubicBezTo>
                  <a:cubicBezTo>
                    <a:pt x="228029" y="0"/>
                    <a:pt x="254508" y="5048"/>
                    <a:pt x="278797" y="15240"/>
                  </a:cubicBezTo>
                  <a:cubicBezTo>
                    <a:pt x="303085" y="25337"/>
                    <a:pt x="324041" y="39243"/>
                    <a:pt x="341662" y="56959"/>
                  </a:cubicBezTo>
                  <a:cubicBezTo>
                    <a:pt x="359378" y="74676"/>
                    <a:pt x="373094" y="95155"/>
                    <a:pt x="383000" y="118396"/>
                  </a:cubicBezTo>
                  <a:cubicBezTo>
                    <a:pt x="392906" y="141732"/>
                    <a:pt x="397859" y="166783"/>
                    <a:pt x="397859" y="193643"/>
                  </a:cubicBezTo>
                  <a:lnTo>
                    <a:pt x="397859" y="195072"/>
                  </a:lnTo>
                  <a:cubicBezTo>
                    <a:pt x="397859" y="221456"/>
                    <a:pt x="392811" y="246412"/>
                    <a:pt x="382619" y="270034"/>
                  </a:cubicBezTo>
                  <a:cubicBezTo>
                    <a:pt x="372523" y="293561"/>
                    <a:pt x="358616" y="314230"/>
                    <a:pt x="340900" y="331851"/>
                  </a:cubicBezTo>
                  <a:cubicBezTo>
                    <a:pt x="323183" y="349472"/>
                    <a:pt x="302133" y="363569"/>
                    <a:pt x="277654" y="373856"/>
                  </a:cubicBezTo>
                  <a:cubicBezTo>
                    <a:pt x="253175" y="384238"/>
                    <a:pt x="226504" y="389382"/>
                    <a:pt x="197834" y="389382"/>
                  </a:cubicBezTo>
                  <a:close/>
                  <a:moveTo>
                    <a:pt x="199263" y="315278"/>
                  </a:moveTo>
                  <a:cubicBezTo>
                    <a:pt x="216598" y="315278"/>
                    <a:pt x="232124" y="312039"/>
                    <a:pt x="245935" y="305753"/>
                  </a:cubicBezTo>
                  <a:cubicBezTo>
                    <a:pt x="259747" y="299371"/>
                    <a:pt x="271558" y="290798"/>
                    <a:pt x="281368" y="279940"/>
                  </a:cubicBezTo>
                  <a:cubicBezTo>
                    <a:pt x="291179" y="269081"/>
                    <a:pt x="298704" y="256508"/>
                    <a:pt x="303847" y="242125"/>
                  </a:cubicBezTo>
                  <a:cubicBezTo>
                    <a:pt x="308991" y="227743"/>
                    <a:pt x="311563" y="212598"/>
                    <a:pt x="311563" y="196501"/>
                  </a:cubicBezTo>
                  <a:lnTo>
                    <a:pt x="311563" y="195072"/>
                  </a:lnTo>
                  <a:cubicBezTo>
                    <a:pt x="311563" y="178594"/>
                    <a:pt x="308800" y="163068"/>
                    <a:pt x="303181" y="148400"/>
                  </a:cubicBezTo>
                  <a:cubicBezTo>
                    <a:pt x="297561" y="133826"/>
                    <a:pt x="289750" y="121063"/>
                    <a:pt x="279654" y="110204"/>
                  </a:cubicBezTo>
                  <a:cubicBezTo>
                    <a:pt x="269558" y="99346"/>
                    <a:pt x="257651" y="90773"/>
                    <a:pt x="243840" y="84392"/>
                  </a:cubicBezTo>
                  <a:cubicBezTo>
                    <a:pt x="230029" y="78010"/>
                    <a:pt x="214693" y="74867"/>
                    <a:pt x="197834" y="74867"/>
                  </a:cubicBezTo>
                  <a:cubicBezTo>
                    <a:pt x="180975" y="74867"/>
                    <a:pt x="165640" y="78010"/>
                    <a:pt x="151829" y="84392"/>
                  </a:cubicBezTo>
                  <a:cubicBezTo>
                    <a:pt x="138017" y="90773"/>
                    <a:pt x="126206" y="99250"/>
                    <a:pt x="116396" y="109823"/>
                  </a:cubicBezTo>
                  <a:cubicBezTo>
                    <a:pt x="106585" y="120396"/>
                    <a:pt x="99060" y="133064"/>
                    <a:pt x="93917" y="147638"/>
                  </a:cubicBezTo>
                  <a:cubicBezTo>
                    <a:pt x="88773" y="162211"/>
                    <a:pt x="86201" y="177546"/>
                    <a:pt x="86201" y="193548"/>
                  </a:cubicBezTo>
                  <a:lnTo>
                    <a:pt x="86201" y="194977"/>
                  </a:lnTo>
                  <a:cubicBezTo>
                    <a:pt x="86201" y="211455"/>
                    <a:pt x="88963" y="226886"/>
                    <a:pt x="94583" y="241268"/>
                  </a:cubicBezTo>
                  <a:cubicBezTo>
                    <a:pt x="100203" y="255651"/>
                    <a:pt x="108013" y="268319"/>
                    <a:pt x="118110" y="279463"/>
                  </a:cubicBezTo>
                  <a:cubicBezTo>
                    <a:pt x="128206" y="290513"/>
                    <a:pt x="140113" y="299275"/>
                    <a:pt x="153924" y="305562"/>
                  </a:cubicBezTo>
                  <a:cubicBezTo>
                    <a:pt x="167735" y="311944"/>
                    <a:pt x="182880"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12" name="Freeform: Shape 24">
              <a:extLst>
                <a:ext uri="{FF2B5EF4-FFF2-40B4-BE49-F238E27FC236}">
                  <a16:creationId xmlns:a16="http://schemas.microsoft.com/office/drawing/2014/main" id="{E2D9DEE1-5377-1C5F-1AAB-4E900F56A276}"/>
                </a:ext>
              </a:extLst>
            </p:cNvPr>
            <p:cNvSpPr/>
            <p:nvPr/>
          </p:nvSpPr>
          <p:spPr>
            <a:xfrm>
              <a:off x="5806925"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2 w 296894"/>
                <a:gd name="connsiteY36" fmla="*/ 224980 h 386714"/>
                <a:gd name="connsiteX37" fmla="*/ 296894 w 296894"/>
                <a:gd name="connsiteY37" fmla="*/ 267938 h 386714"/>
                <a:gd name="connsiteX38" fmla="*/ 296894 w 296894"/>
                <a:gd name="connsiteY38" fmla="*/ 269367 h 386714"/>
                <a:gd name="connsiteX39" fmla="*/ 286322 w 296894"/>
                <a:gd name="connsiteY39" fmla="*/ 320897 h 386714"/>
                <a:gd name="connsiteX40" fmla="*/ 256984 w 296894"/>
                <a:gd name="connsiteY40" fmla="*/ 357188 h 386714"/>
                <a:gd name="connsiteX41" fmla="*/ 212789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8" y="298704"/>
                    <a:pt x="100013" y="306514"/>
                  </a:cubicBezTo>
                  <a:cubicBezTo>
                    <a:pt x="120967" y="314325"/>
                    <a:pt x="141161" y="318135"/>
                    <a:pt x="160401" y="318135"/>
                  </a:cubicBezTo>
                  <a:cubicBezTo>
                    <a:pt x="179642" y="318135"/>
                    <a:pt x="192976"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2" y="241078"/>
                    <a:pt x="176498" y="237553"/>
                    <a:pt x="166402" y="234220"/>
                  </a:cubicBezTo>
                  <a:cubicBezTo>
                    <a:pt x="156305" y="230886"/>
                    <a:pt x="145733" y="227647"/>
                    <a:pt x="134969" y="224314"/>
                  </a:cubicBezTo>
                  <a:cubicBezTo>
                    <a:pt x="121253" y="220599"/>
                    <a:pt x="107537" y="216122"/>
                    <a:pt x="93631" y="210884"/>
                  </a:cubicBezTo>
                  <a:cubicBezTo>
                    <a:pt x="79724" y="205740"/>
                    <a:pt x="67246" y="198977"/>
                    <a:pt x="56197" y="190786"/>
                  </a:cubicBezTo>
                  <a:cubicBezTo>
                    <a:pt x="45149" y="182594"/>
                    <a:pt x="36100" y="172307"/>
                    <a:pt x="28956" y="160115"/>
                  </a:cubicBezTo>
                  <a:cubicBezTo>
                    <a:pt x="21908"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5"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7" y="156210"/>
                    <a:pt x="180975" y="159448"/>
                  </a:cubicBezTo>
                  <a:cubicBezTo>
                    <a:pt x="194596" y="163639"/>
                    <a:pt x="208312" y="168592"/>
                    <a:pt x="222028" y="174212"/>
                  </a:cubicBezTo>
                  <a:cubicBezTo>
                    <a:pt x="235649" y="179832"/>
                    <a:pt x="248031" y="186785"/>
                    <a:pt x="259080" y="194977"/>
                  </a:cubicBezTo>
                  <a:cubicBezTo>
                    <a:pt x="270129" y="203168"/>
                    <a:pt x="279273" y="213169"/>
                    <a:pt x="286322" y="224980"/>
                  </a:cubicBezTo>
                  <a:cubicBezTo>
                    <a:pt x="293370" y="236696"/>
                    <a:pt x="296894" y="251079"/>
                    <a:pt x="296894" y="267938"/>
                  </a:cubicBezTo>
                  <a:lnTo>
                    <a:pt x="296894" y="269367"/>
                  </a:lnTo>
                  <a:cubicBezTo>
                    <a:pt x="296894" y="289084"/>
                    <a:pt x="293370" y="306229"/>
                    <a:pt x="286322" y="320897"/>
                  </a:cubicBezTo>
                  <a:cubicBezTo>
                    <a:pt x="279273" y="335470"/>
                    <a:pt x="269462" y="347567"/>
                    <a:pt x="256984" y="357188"/>
                  </a:cubicBezTo>
                  <a:cubicBezTo>
                    <a:pt x="244507" y="366808"/>
                    <a:pt x="229743" y="374142"/>
                    <a:pt x="212789"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13" name="Freeform: Shape 25">
              <a:extLst>
                <a:ext uri="{FF2B5EF4-FFF2-40B4-BE49-F238E27FC236}">
                  <a16:creationId xmlns:a16="http://schemas.microsoft.com/office/drawing/2014/main" id="{AF1EFB72-85E9-0A9B-A3EE-E5E9D65F84EC}"/>
                </a:ext>
              </a:extLst>
            </p:cNvPr>
            <p:cNvSpPr/>
            <p:nvPr/>
          </p:nvSpPr>
          <p:spPr>
            <a:xfrm>
              <a:off x="589573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6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160" y="318135"/>
                    <a:pt x="160401" y="318135"/>
                  </a:cubicBezTo>
                  <a:cubicBezTo>
                    <a:pt x="179641" y="318135"/>
                    <a:pt x="192976"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4"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792"/>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14" name="Freeform: Shape 26">
              <a:extLst>
                <a:ext uri="{FF2B5EF4-FFF2-40B4-BE49-F238E27FC236}">
                  <a16:creationId xmlns:a16="http://schemas.microsoft.com/office/drawing/2014/main" id="{A48F0779-B632-85F1-AEC2-FF80EE9717F4}"/>
                </a:ext>
              </a:extLst>
            </p:cNvPr>
            <p:cNvSpPr/>
            <p:nvPr/>
          </p:nvSpPr>
          <p:spPr>
            <a:xfrm>
              <a:off x="5985812" y="700558"/>
              <a:ext cx="85097" cy="97141"/>
            </a:xfrm>
            <a:custGeom>
              <a:avLst/>
              <a:gdLst>
                <a:gd name="connsiteX0" fmla="*/ 253651 w 338518"/>
                <a:gd name="connsiteY0" fmla="*/ 378619 h 386429"/>
                <a:gd name="connsiteX1" fmla="*/ 253651 w 338518"/>
                <a:gd name="connsiteY1" fmla="*/ 332708 h 386429"/>
                <a:gd name="connsiteX2" fmla="*/ 204883 w 338518"/>
                <a:gd name="connsiteY2" fmla="*/ 370904 h 386429"/>
                <a:gd name="connsiteX3" fmla="*/ 132779 w 338518"/>
                <a:gd name="connsiteY3" fmla="*/ 386429 h 386429"/>
                <a:gd name="connsiteX4" fmla="*/ 81915 w 338518"/>
                <a:gd name="connsiteY4" fmla="*/ 379000 h 386429"/>
                <a:gd name="connsiteX5" fmla="*/ 39910 w 338518"/>
                <a:gd name="connsiteY5" fmla="*/ 357092 h 386429"/>
                <a:gd name="connsiteX6" fmla="*/ 10954 w 338518"/>
                <a:gd name="connsiteY6" fmla="*/ 321088 h 386429"/>
                <a:gd name="connsiteX7" fmla="*/ 0 w 338518"/>
                <a:gd name="connsiteY7" fmla="*/ 271272 h 386429"/>
                <a:gd name="connsiteX8" fmla="*/ 0 w 338518"/>
                <a:gd name="connsiteY8" fmla="*/ 269843 h 386429"/>
                <a:gd name="connsiteX9" fmla="*/ 11335 w 338518"/>
                <a:gd name="connsiteY9" fmla="*/ 215741 h 386429"/>
                <a:gd name="connsiteX10" fmla="*/ 42767 w 338518"/>
                <a:gd name="connsiteY10" fmla="*/ 177546 h 386429"/>
                <a:gd name="connsiteX11" fmla="*/ 90773 w 338518"/>
                <a:gd name="connsiteY11" fmla="*/ 154972 h 386429"/>
                <a:gd name="connsiteX12" fmla="*/ 151162 w 338518"/>
                <a:gd name="connsiteY12" fmla="*/ 147542 h 386429"/>
                <a:gd name="connsiteX13" fmla="*/ 208788 w 338518"/>
                <a:gd name="connsiteY13" fmla="*/ 151829 h 386429"/>
                <a:gd name="connsiteX14" fmla="*/ 254413 w 338518"/>
                <a:gd name="connsiteY14" fmla="*/ 163163 h 386429"/>
                <a:gd name="connsiteX15" fmla="*/ 254413 w 338518"/>
                <a:gd name="connsiteY15" fmla="*/ 156115 h 386429"/>
                <a:gd name="connsiteX16" fmla="*/ 230696 w 338518"/>
                <a:gd name="connsiteY16" fmla="*/ 96774 h 386429"/>
                <a:gd name="connsiteX17" fmla="*/ 162496 w 338518"/>
                <a:gd name="connsiteY17" fmla="*/ 76295 h 386429"/>
                <a:gd name="connsiteX18" fmla="*/ 106013 w 338518"/>
                <a:gd name="connsiteY18" fmla="*/ 82677 h 386429"/>
                <a:gd name="connsiteX19" fmla="*/ 55816 w 338518"/>
                <a:gd name="connsiteY19" fmla="*/ 99632 h 386429"/>
                <a:gd name="connsiteX20" fmla="*/ 32480 w 338518"/>
                <a:gd name="connsiteY20" fmla="*/ 31052 h 386429"/>
                <a:gd name="connsiteX21" fmla="*/ 96107 w 338518"/>
                <a:gd name="connsiteY21" fmla="*/ 8477 h 386429"/>
                <a:gd name="connsiteX22" fmla="*/ 174593 w 338518"/>
                <a:gd name="connsiteY22" fmla="*/ 0 h 386429"/>
                <a:gd name="connsiteX23" fmla="*/ 298228 w 338518"/>
                <a:gd name="connsiteY23" fmla="*/ 41338 h 386429"/>
                <a:gd name="connsiteX24" fmla="*/ 338519 w 338518"/>
                <a:gd name="connsiteY24" fmla="*/ 157544 h 386429"/>
                <a:gd name="connsiteX25" fmla="*/ 338519 w 338518"/>
                <a:gd name="connsiteY25" fmla="*/ 378714 h 386429"/>
                <a:gd name="connsiteX26" fmla="*/ 253746 w 338518"/>
                <a:gd name="connsiteY26" fmla="*/ 378714 h 386429"/>
                <a:gd name="connsiteX27" fmla="*/ 255746 w 338518"/>
                <a:gd name="connsiteY27" fmla="*/ 222409 h 386429"/>
                <a:gd name="connsiteX28" fmla="*/ 217265 w 338518"/>
                <a:gd name="connsiteY28" fmla="*/ 211836 h 386429"/>
                <a:gd name="connsiteX29" fmla="*/ 170307 w 338518"/>
                <a:gd name="connsiteY29" fmla="*/ 207550 h 386429"/>
                <a:gd name="connsiteX30" fmla="*/ 107442 w 338518"/>
                <a:gd name="connsiteY30" fmla="*/ 223075 h 386429"/>
                <a:gd name="connsiteX31" fmla="*/ 84868 w 338518"/>
                <a:gd name="connsiteY31" fmla="*/ 265462 h 386429"/>
                <a:gd name="connsiteX32" fmla="*/ 84868 w 338518"/>
                <a:gd name="connsiteY32" fmla="*/ 266891 h 386429"/>
                <a:gd name="connsiteX33" fmla="*/ 105728 w 338518"/>
                <a:gd name="connsiteY33" fmla="*/ 307848 h 386429"/>
                <a:gd name="connsiteX34" fmla="*/ 156972 w 338518"/>
                <a:gd name="connsiteY34" fmla="*/ 321945 h 386429"/>
                <a:gd name="connsiteX35" fmla="*/ 196215 w 338518"/>
                <a:gd name="connsiteY35" fmla="*/ 316325 h 386429"/>
                <a:gd name="connsiteX36" fmla="*/ 227647 w 338518"/>
                <a:gd name="connsiteY36" fmla="*/ 300419 h 386429"/>
                <a:gd name="connsiteX37" fmla="*/ 248507 w 338518"/>
                <a:gd name="connsiteY37" fmla="*/ 275654 h 386429"/>
                <a:gd name="connsiteX38" fmla="*/ 255937 w 338518"/>
                <a:gd name="connsiteY38" fmla="*/ 243459 h 386429"/>
                <a:gd name="connsiteX39" fmla="*/ 255937 w 338518"/>
                <a:gd name="connsiteY39" fmla="*/ 222218 h 3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8518" h="386429">
                  <a:moveTo>
                    <a:pt x="253651" y="378619"/>
                  </a:moveTo>
                  <a:lnTo>
                    <a:pt x="253651" y="332708"/>
                  </a:lnTo>
                  <a:cubicBezTo>
                    <a:pt x="240887" y="347758"/>
                    <a:pt x="224695" y="360521"/>
                    <a:pt x="204883" y="370904"/>
                  </a:cubicBezTo>
                  <a:cubicBezTo>
                    <a:pt x="185071" y="381286"/>
                    <a:pt x="161068" y="386429"/>
                    <a:pt x="132779" y="386429"/>
                  </a:cubicBezTo>
                  <a:cubicBezTo>
                    <a:pt x="114871" y="386429"/>
                    <a:pt x="97917" y="383953"/>
                    <a:pt x="81915" y="379000"/>
                  </a:cubicBezTo>
                  <a:cubicBezTo>
                    <a:pt x="65913" y="374047"/>
                    <a:pt x="51911" y="366713"/>
                    <a:pt x="39910" y="357092"/>
                  </a:cubicBezTo>
                  <a:cubicBezTo>
                    <a:pt x="27908" y="347472"/>
                    <a:pt x="18193" y="335471"/>
                    <a:pt x="10954" y="321088"/>
                  </a:cubicBezTo>
                  <a:cubicBezTo>
                    <a:pt x="3620" y="306705"/>
                    <a:pt x="0" y="290132"/>
                    <a:pt x="0" y="271272"/>
                  </a:cubicBezTo>
                  <a:lnTo>
                    <a:pt x="0" y="269843"/>
                  </a:lnTo>
                  <a:cubicBezTo>
                    <a:pt x="0" y="249079"/>
                    <a:pt x="3810" y="231077"/>
                    <a:pt x="11335" y="215741"/>
                  </a:cubicBezTo>
                  <a:cubicBezTo>
                    <a:pt x="18859" y="200406"/>
                    <a:pt x="29337" y="187738"/>
                    <a:pt x="42767" y="177546"/>
                  </a:cubicBezTo>
                  <a:cubicBezTo>
                    <a:pt x="56197" y="167450"/>
                    <a:pt x="72199" y="159925"/>
                    <a:pt x="90773" y="154972"/>
                  </a:cubicBezTo>
                  <a:cubicBezTo>
                    <a:pt x="109347" y="150019"/>
                    <a:pt x="129540" y="147542"/>
                    <a:pt x="151162" y="147542"/>
                  </a:cubicBezTo>
                  <a:cubicBezTo>
                    <a:pt x="172783" y="147542"/>
                    <a:pt x="192976" y="148971"/>
                    <a:pt x="208788" y="151829"/>
                  </a:cubicBezTo>
                  <a:cubicBezTo>
                    <a:pt x="224599" y="154686"/>
                    <a:pt x="239744" y="158401"/>
                    <a:pt x="254413" y="163163"/>
                  </a:cubicBezTo>
                  <a:lnTo>
                    <a:pt x="254413" y="156115"/>
                  </a:lnTo>
                  <a:cubicBezTo>
                    <a:pt x="254413" y="130207"/>
                    <a:pt x="246507" y="110395"/>
                    <a:pt x="230696" y="96774"/>
                  </a:cubicBezTo>
                  <a:cubicBezTo>
                    <a:pt x="214884" y="83153"/>
                    <a:pt x="192214" y="76295"/>
                    <a:pt x="162496" y="76295"/>
                  </a:cubicBezTo>
                  <a:cubicBezTo>
                    <a:pt x="141351" y="76295"/>
                    <a:pt x="122491" y="78391"/>
                    <a:pt x="106013" y="82677"/>
                  </a:cubicBezTo>
                  <a:cubicBezTo>
                    <a:pt x="89535" y="86963"/>
                    <a:pt x="72771" y="92583"/>
                    <a:pt x="55816" y="99632"/>
                  </a:cubicBezTo>
                  <a:lnTo>
                    <a:pt x="32480" y="31052"/>
                  </a:lnTo>
                  <a:cubicBezTo>
                    <a:pt x="53149" y="21622"/>
                    <a:pt x="74390" y="14097"/>
                    <a:pt x="96107" y="8477"/>
                  </a:cubicBezTo>
                  <a:cubicBezTo>
                    <a:pt x="117729" y="2858"/>
                    <a:pt x="143923" y="0"/>
                    <a:pt x="174593" y="0"/>
                  </a:cubicBezTo>
                  <a:cubicBezTo>
                    <a:pt x="230124" y="0"/>
                    <a:pt x="271367" y="13811"/>
                    <a:pt x="298228" y="41338"/>
                  </a:cubicBezTo>
                  <a:cubicBezTo>
                    <a:pt x="325088" y="68866"/>
                    <a:pt x="338519" y="107633"/>
                    <a:pt x="338519" y="157544"/>
                  </a:cubicBezTo>
                  <a:lnTo>
                    <a:pt x="338519" y="378714"/>
                  </a:lnTo>
                  <a:lnTo>
                    <a:pt x="253746" y="378714"/>
                  </a:lnTo>
                  <a:close/>
                  <a:moveTo>
                    <a:pt x="255746" y="222409"/>
                  </a:moveTo>
                  <a:cubicBezTo>
                    <a:pt x="244888" y="218123"/>
                    <a:pt x="232029" y="214598"/>
                    <a:pt x="217265" y="211836"/>
                  </a:cubicBezTo>
                  <a:cubicBezTo>
                    <a:pt x="202406" y="208979"/>
                    <a:pt x="186785" y="207550"/>
                    <a:pt x="170307" y="207550"/>
                  </a:cubicBezTo>
                  <a:cubicBezTo>
                    <a:pt x="143446" y="207550"/>
                    <a:pt x="122491" y="212693"/>
                    <a:pt x="107442" y="223075"/>
                  </a:cubicBezTo>
                  <a:cubicBezTo>
                    <a:pt x="92392" y="233458"/>
                    <a:pt x="84868" y="247555"/>
                    <a:pt x="84868" y="265462"/>
                  </a:cubicBezTo>
                  <a:lnTo>
                    <a:pt x="84868" y="266891"/>
                  </a:lnTo>
                  <a:cubicBezTo>
                    <a:pt x="84868" y="284798"/>
                    <a:pt x="91821" y="298418"/>
                    <a:pt x="105728" y="307848"/>
                  </a:cubicBezTo>
                  <a:cubicBezTo>
                    <a:pt x="119634" y="317278"/>
                    <a:pt x="136684" y="321945"/>
                    <a:pt x="156972" y="321945"/>
                  </a:cubicBezTo>
                  <a:cubicBezTo>
                    <a:pt x="171069" y="321945"/>
                    <a:pt x="184213" y="320040"/>
                    <a:pt x="196215" y="316325"/>
                  </a:cubicBezTo>
                  <a:cubicBezTo>
                    <a:pt x="208216" y="312515"/>
                    <a:pt x="218694" y="307277"/>
                    <a:pt x="227647" y="300419"/>
                  </a:cubicBezTo>
                  <a:cubicBezTo>
                    <a:pt x="236601" y="293561"/>
                    <a:pt x="243554" y="285369"/>
                    <a:pt x="248507" y="275654"/>
                  </a:cubicBezTo>
                  <a:cubicBezTo>
                    <a:pt x="253460" y="266033"/>
                    <a:pt x="255937" y="255270"/>
                    <a:pt x="255937" y="243459"/>
                  </a:cubicBezTo>
                  <a:lnTo>
                    <a:pt x="255937" y="222218"/>
                  </a:lnTo>
                  <a:close/>
                </a:path>
              </a:pathLst>
            </a:custGeom>
            <a:solidFill>
              <a:srgbClr val="44505E"/>
            </a:solidFill>
            <a:ln w="9525" cap="flat">
              <a:noFill/>
              <a:prstDash val="solid"/>
              <a:miter/>
            </a:ln>
          </p:spPr>
          <p:txBody>
            <a:bodyPr rtlCol="0" anchor="ctr"/>
            <a:lstStyle/>
            <a:p>
              <a:endParaRPr lang="pt-BR" noProof="0"/>
            </a:p>
          </p:txBody>
        </p:sp>
        <p:sp>
          <p:nvSpPr>
            <p:cNvPr id="15" name="Freeform: Shape 27">
              <a:extLst>
                <a:ext uri="{FF2B5EF4-FFF2-40B4-BE49-F238E27FC236}">
                  <a16:creationId xmlns:a16="http://schemas.microsoft.com/office/drawing/2014/main" id="{5A13899A-1591-D4D8-BCF7-5AB07805304E}"/>
                </a:ext>
              </a:extLst>
            </p:cNvPr>
            <p:cNvSpPr/>
            <p:nvPr/>
          </p:nvSpPr>
          <p:spPr>
            <a:xfrm>
              <a:off x="6088843" y="700318"/>
              <a:ext cx="74610" cy="97213"/>
            </a:xfrm>
            <a:custGeom>
              <a:avLst/>
              <a:gdLst>
                <a:gd name="connsiteX0" fmla="*/ 158305 w 296799"/>
                <a:gd name="connsiteY0" fmla="*/ 386715 h 386714"/>
                <a:gd name="connsiteX1" fmla="*/ 76676 w 296799"/>
                <a:gd name="connsiteY1" fmla="*/ 372427 h 386714"/>
                <a:gd name="connsiteX2" fmla="*/ 0 w 296799"/>
                <a:gd name="connsiteY2" fmla="*/ 330327 h 386714"/>
                <a:gd name="connsiteX3" fmla="*/ 38195 w 296799"/>
                <a:gd name="connsiteY3" fmla="*/ 272224 h 386714"/>
                <a:gd name="connsiteX4" fmla="*/ 100013 w 296799"/>
                <a:gd name="connsiteY4" fmla="*/ 306514 h 386714"/>
                <a:gd name="connsiteX5" fmla="*/ 160401 w 296799"/>
                <a:gd name="connsiteY5" fmla="*/ 318135 h 386714"/>
                <a:gd name="connsiteX6" fmla="*/ 203168 w 296799"/>
                <a:gd name="connsiteY6" fmla="*/ 307181 h 386714"/>
                <a:gd name="connsiteX7" fmla="*/ 218408 w 296799"/>
                <a:gd name="connsiteY7" fmla="*/ 277939 h 386714"/>
                <a:gd name="connsiteX8" fmla="*/ 218408 w 296799"/>
                <a:gd name="connsiteY8" fmla="*/ 276511 h 386714"/>
                <a:gd name="connsiteX9" fmla="*/ 211646 w 296799"/>
                <a:gd name="connsiteY9" fmla="*/ 258223 h 386714"/>
                <a:gd name="connsiteX10" fmla="*/ 193262 w 296799"/>
                <a:gd name="connsiteY10" fmla="*/ 244792 h 386714"/>
                <a:gd name="connsiteX11" fmla="*/ 166402 w 296799"/>
                <a:gd name="connsiteY11" fmla="*/ 234220 h 386714"/>
                <a:gd name="connsiteX12" fmla="*/ 134969 w 296799"/>
                <a:gd name="connsiteY12" fmla="*/ 224314 h 386714"/>
                <a:gd name="connsiteX13" fmla="*/ 93631 w 296799"/>
                <a:gd name="connsiteY13" fmla="*/ 210884 h 386714"/>
                <a:gd name="connsiteX14" fmla="*/ 56197 w 296799"/>
                <a:gd name="connsiteY14" fmla="*/ 190786 h 386714"/>
                <a:gd name="connsiteX15" fmla="*/ 28956 w 296799"/>
                <a:gd name="connsiteY15" fmla="*/ 160115 h 386714"/>
                <a:gd name="connsiteX16" fmla="*/ 18383 w 296799"/>
                <a:gd name="connsiteY16" fmla="*/ 114967 h 386714"/>
                <a:gd name="connsiteX17" fmla="*/ 18383 w 296799"/>
                <a:gd name="connsiteY17" fmla="*/ 113538 h 386714"/>
                <a:gd name="connsiteX18" fmla="*/ 28575 w 296799"/>
                <a:gd name="connsiteY18" fmla="*/ 66294 h 386714"/>
                <a:gd name="connsiteX19" fmla="*/ 56864 w 296799"/>
                <a:gd name="connsiteY19" fmla="*/ 30385 h 386714"/>
                <a:gd name="connsiteX20" fmla="*/ 99250 w 296799"/>
                <a:gd name="connsiteY20" fmla="*/ 7810 h 386714"/>
                <a:gd name="connsiteX21" fmla="*/ 151162 w 296799"/>
                <a:gd name="connsiteY21" fmla="*/ 0 h 386714"/>
                <a:gd name="connsiteX22" fmla="*/ 222504 w 296799"/>
                <a:gd name="connsiteY22" fmla="*/ 11430 h 386714"/>
                <a:gd name="connsiteX23" fmla="*/ 288227 w 296799"/>
                <a:gd name="connsiteY23" fmla="*/ 42863 h 386714"/>
                <a:gd name="connsiteX24" fmla="*/ 254317 w 296799"/>
                <a:gd name="connsiteY24" fmla="*/ 103918 h 386714"/>
                <a:gd name="connsiteX25" fmla="*/ 199930 w 296799"/>
                <a:gd name="connsiteY25" fmla="*/ 78105 h 386714"/>
                <a:gd name="connsiteX26" fmla="*/ 149066 w 296799"/>
                <a:gd name="connsiteY26" fmla="*/ 68580 h 386714"/>
                <a:gd name="connsiteX27" fmla="*/ 110585 w 296799"/>
                <a:gd name="connsiteY27" fmla="*/ 79153 h 386714"/>
                <a:gd name="connsiteX28" fmla="*/ 96774 w 296799"/>
                <a:gd name="connsiteY28" fmla="*/ 105918 h 386714"/>
                <a:gd name="connsiteX29" fmla="*/ 96774 w 296799"/>
                <a:gd name="connsiteY29" fmla="*/ 107347 h 386714"/>
                <a:gd name="connsiteX30" fmla="*/ 103822 w 296799"/>
                <a:gd name="connsiteY30" fmla="*/ 124587 h 386714"/>
                <a:gd name="connsiteX31" fmla="*/ 122587 w 296799"/>
                <a:gd name="connsiteY31" fmla="*/ 138017 h 386714"/>
                <a:gd name="connsiteX32" fmla="*/ 149447 w 296799"/>
                <a:gd name="connsiteY32" fmla="*/ 149257 h 386714"/>
                <a:gd name="connsiteX33" fmla="*/ 180880 w 296799"/>
                <a:gd name="connsiteY33" fmla="*/ 159448 h 386714"/>
                <a:gd name="connsiteX34" fmla="*/ 221837 w 296799"/>
                <a:gd name="connsiteY34" fmla="*/ 174212 h 386714"/>
                <a:gd name="connsiteX35" fmla="*/ 258985 w 296799"/>
                <a:gd name="connsiteY35" fmla="*/ 194977 h 386714"/>
                <a:gd name="connsiteX36" fmla="*/ 286226 w 296799"/>
                <a:gd name="connsiteY36" fmla="*/ 224980 h 386714"/>
                <a:gd name="connsiteX37" fmla="*/ 296799 w 296799"/>
                <a:gd name="connsiteY37" fmla="*/ 267938 h 386714"/>
                <a:gd name="connsiteX38" fmla="*/ 296799 w 296799"/>
                <a:gd name="connsiteY38" fmla="*/ 269367 h 386714"/>
                <a:gd name="connsiteX39" fmla="*/ 286226 w 296799"/>
                <a:gd name="connsiteY39" fmla="*/ 320897 h 386714"/>
                <a:gd name="connsiteX40" fmla="*/ 256889 w 296799"/>
                <a:gd name="connsiteY40" fmla="*/ 357188 h 386714"/>
                <a:gd name="connsiteX41" fmla="*/ 212693 w 296799"/>
                <a:gd name="connsiteY41" fmla="*/ 379095 h 386714"/>
                <a:gd name="connsiteX42" fmla="*/ 158305 w 296799"/>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799"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065" y="318135"/>
                    <a:pt x="160401" y="318135"/>
                  </a:cubicBezTo>
                  <a:cubicBezTo>
                    <a:pt x="179737" y="318135"/>
                    <a:pt x="193072"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828" y="227647"/>
                    <a:pt x="134969" y="224314"/>
                  </a:cubicBezTo>
                  <a:cubicBezTo>
                    <a:pt x="121348" y="220599"/>
                    <a:pt x="107537" y="216122"/>
                    <a:pt x="93631" y="210884"/>
                  </a:cubicBezTo>
                  <a:cubicBezTo>
                    <a:pt x="79724" y="205740"/>
                    <a:pt x="67246" y="198977"/>
                    <a:pt x="56197" y="190786"/>
                  </a:cubicBezTo>
                  <a:cubicBezTo>
                    <a:pt x="45148" y="182594"/>
                    <a:pt x="36004"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874" y="0"/>
                    <a:pt x="151162" y="0"/>
                  </a:cubicBezTo>
                  <a:cubicBezTo>
                    <a:pt x="174688" y="0"/>
                    <a:pt x="198501" y="3810"/>
                    <a:pt x="222504" y="11430"/>
                  </a:cubicBezTo>
                  <a:cubicBezTo>
                    <a:pt x="246507" y="19050"/>
                    <a:pt x="268414" y="29527"/>
                    <a:pt x="288227" y="42863"/>
                  </a:cubicBezTo>
                  <a:lnTo>
                    <a:pt x="254317"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774" y="95155"/>
                    <a:pt x="96774" y="105918"/>
                  </a:cubicBezTo>
                  <a:lnTo>
                    <a:pt x="96774" y="107347"/>
                  </a:lnTo>
                  <a:cubicBezTo>
                    <a:pt x="96774" y="113919"/>
                    <a:pt x="99155" y="119634"/>
                    <a:pt x="103822" y="124587"/>
                  </a:cubicBezTo>
                  <a:cubicBezTo>
                    <a:pt x="108490" y="129540"/>
                    <a:pt x="114776" y="134017"/>
                    <a:pt x="122587" y="138017"/>
                  </a:cubicBezTo>
                  <a:cubicBezTo>
                    <a:pt x="130397" y="142018"/>
                    <a:pt x="139351" y="145732"/>
                    <a:pt x="149447" y="149257"/>
                  </a:cubicBezTo>
                  <a:cubicBezTo>
                    <a:pt x="159544" y="152781"/>
                    <a:pt x="170021" y="156210"/>
                    <a:pt x="180880" y="159448"/>
                  </a:cubicBezTo>
                  <a:cubicBezTo>
                    <a:pt x="194500" y="163639"/>
                    <a:pt x="208216" y="168592"/>
                    <a:pt x="221837" y="174212"/>
                  </a:cubicBezTo>
                  <a:cubicBezTo>
                    <a:pt x="235458" y="179832"/>
                    <a:pt x="247840" y="186785"/>
                    <a:pt x="258985" y="194977"/>
                  </a:cubicBezTo>
                  <a:cubicBezTo>
                    <a:pt x="270034" y="203168"/>
                    <a:pt x="279178" y="213169"/>
                    <a:pt x="286226" y="224980"/>
                  </a:cubicBezTo>
                  <a:cubicBezTo>
                    <a:pt x="293275" y="236696"/>
                    <a:pt x="296799" y="251079"/>
                    <a:pt x="296799" y="267938"/>
                  </a:cubicBezTo>
                  <a:lnTo>
                    <a:pt x="296799" y="269367"/>
                  </a:lnTo>
                  <a:cubicBezTo>
                    <a:pt x="296799" y="289084"/>
                    <a:pt x="293275" y="306229"/>
                    <a:pt x="286226" y="320897"/>
                  </a:cubicBezTo>
                  <a:cubicBezTo>
                    <a:pt x="279178" y="335470"/>
                    <a:pt x="269367" y="347567"/>
                    <a:pt x="256889" y="357188"/>
                  </a:cubicBezTo>
                  <a:cubicBezTo>
                    <a:pt x="244412" y="366808"/>
                    <a:pt x="229648" y="374142"/>
                    <a:pt x="212693" y="379095"/>
                  </a:cubicBezTo>
                  <a:cubicBezTo>
                    <a:pt x="195739" y="384048"/>
                    <a:pt x="177641" y="386524"/>
                    <a:pt x="158305" y="386524"/>
                  </a:cubicBezTo>
                  <a:close/>
                </a:path>
              </a:pathLst>
            </a:custGeom>
            <a:solidFill>
              <a:srgbClr val="44505E"/>
            </a:solidFill>
            <a:ln w="9525" cap="flat">
              <a:noFill/>
              <a:prstDash val="solid"/>
              <a:miter/>
            </a:ln>
          </p:spPr>
          <p:txBody>
            <a:bodyPr rtlCol="0" anchor="ctr"/>
            <a:lstStyle/>
            <a:p>
              <a:endParaRPr lang="pt-BR" noProof="0"/>
            </a:p>
          </p:txBody>
        </p:sp>
        <p:sp>
          <p:nvSpPr>
            <p:cNvPr id="16" name="Freeform: Shape 28">
              <a:extLst>
                <a:ext uri="{FF2B5EF4-FFF2-40B4-BE49-F238E27FC236}">
                  <a16:creationId xmlns:a16="http://schemas.microsoft.com/office/drawing/2014/main" id="{C3EB17E8-5155-EC82-96EB-ACB6FF7238B3}"/>
                </a:ext>
              </a:extLst>
            </p:cNvPr>
            <p:cNvSpPr/>
            <p:nvPr/>
          </p:nvSpPr>
          <p:spPr>
            <a:xfrm>
              <a:off x="6238590"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4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7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2 w 568166"/>
                <a:gd name="connsiteY21" fmla="*/ 381000 h 381000"/>
                <a:gd name="connsiteX22" fmla="*/ 240982 w 568166"/>
                <a:gd name="connsiteY22" fmla="*/ 168783 h 381000"/>
                <a:gd name="connsiteX23" fmla="*/ 221266 w 568166"/>
                <a:gd name="connsiteY23" fmla="*/ 101822 h 381000"/>
                <a:gd name="connsiteX24" fmla="*/ 165640 w 568166"/>
                <a:gd name="connsiteY24" fmla="*/ 78581 h 381000"/>
                <a:gd name="connsiteX25" fmla="*/ 108013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69" y="48196"/>
                    <a:pt x="105918" y="40576"/>
                  </a:cubicBezTo>
                  <a:cubicBezTo>
                    <a:pt x="112966" y="32956"/>
                    <a:pt x="121063" y="26099"/>
                    <a:pt x="130207" y="19907"/>
                  </a:cubicBezTo>
                  <a:cubicBezTo>
                    <a:pt x="139351" y="13716"/>
                    <a:pt x="149638" y="8858"/>
                    <a:pt x="161163" y="5334"/>
                  </a:cubicBezTo>
                  <a:cubicBezTo>
                    <a:pt x="172688" y="1714"/>
                    <a:pt x="185452" y="0"/>
                    <a:pt x="199549" y="0"/>
                  </a:cubicBezTo>
                  <a:cubicBezTo>
                    <a:pt x="226314" y="0"/>
                    <a:pt x="248983" y="6096"/>
                    <a:pt x="267557" y="18193"/>
                  </a:cubicBezTo>
                  <a:cubicBezTo>
                    <a:pt x="286131" y="30289"/>
                    <a:pt x="300323" y="46387"/>
                    <a:pt x="310134" y="66294"/>
                  </a:cubicBezTo>
                  <a:cubicBezTo>
                    <a:pt x="325279" y="46387"/>
                    <a:pt x="343090" y="30289"/>
                    <a:pt x="363664" y="18193"/>
                  </a:cubicBezTo>
                  <a:cubicBezTo>
                    <a:pt x="384238" y="6096"/>
                    <a:pt x="408718" y="0"/>
                    <a:pt x="437007" y="0"/>
                  </a:cubicBezTo>
                  <a:cubicBezTo>
                    <a:pt x="478155"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7" y="78486"/>
                  </a:cubicBezTo>
                  <a:cubicBezTo>
                    <a:pt x="382809" y="78486"/>
                    <a:pt x="364141" y="86392"/>
                    <a:pt x="349377" y="102108"/>
                  </a:cubicBezTo>
                  <a:cubicBezTo>
                    <a:pt x="334613" y="117824"/>
                    <a:pt x="327184" y="140779"/>
                    <a:pt x="327184" y="170879"/>
                  </a:cubicBezTo>
                  <a:lnTo>
                    <a:pt x="327184" y="381000"/>
                  </a:lnTo>
                  <a:lnTo>
                    <a:pt x="240982" y="381000"/>
                  </a:lnTo>
                  <a:lnTo>
                    <a:pt x="240982" y="168783"/>
                  </a:lnTo>
                  <a:cubicBezTo>
                    <a:pt x="240982" y="139637"/>
                    <a:pt x="234410" y="117348"/>
                    <a:pt x="221266" y="101822"/>
                  </a:cubicBezTo>
                  <a:cubicBezTo>
                    <a:pt x="208121" y="86296"/>
                    <a:pt x="189547" y="78581"/>
                    <a:pt x="165640" y="78581"/>
                  </a:cubicBezTo>
                  <a:cubicBezTo>
                    <a:pt x="141732" y="78581"/>
                    <a:pt x="122491" y="86773"/>
                    <a:pt x="108013"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17" name="Freeform: Shape 29">
              <a:extLst>
                <a:ext uri="{FF2B5EF4-FFF2-40B4-BE49-F238E27FC236}">
                  <a16:creationId xmlns:a16="http://schemas.microsoft.com/office/drawing/2014/main" id="{70B4B551-63E0-49E4-63C3-A96F0582F4B3}"/>
                </a:ext>
              </a:extLst>
            </p:cNvPr>
            <p:cNvSpPr/>
            <p:nvPr/>
          </p:nvSpPr>
          <p:spPr>
            <a:xfrm>
              <a:off x="6400979" y="664258"/>
              <a:ext cx="85097" cy="133441"/>
            </a:xfrm>
            <a:custGeom>
              <a:avLst/>
              <a:gdLst>
                <a:gd name="connsiteX0" fmla="*/ 253651 w 338518"/>
                <a:gd name="connsiteY0" fmla="*/ 523018 h 530828"/>
                <a:gd name="connsiteX1" fmla="*/ 253651 w 338518"/>
                <a:gd name="connsiteY1" fmla="*/ 477107 h 530828"/>
                <a:gd name="connsiteX2" fmla="*/ 204883 w 338518"/>
                <a:gd name="connsiteY2" fmla="*/ 515303 h 530828"/>
                <a:gd name="connsiteX3" fmla="*/ 132779 w 338518"/>
                <a:gd name="connsiteY3" fmla="*/ 530828 h 530828"/>
                <a:gd name="connsiteX4" fmla="*/ 81915 w 338518"/>
                <a:gd name="connsiteY4" fmla="*/ 523399 h 530828"/>
                <a:gd name="connsiteX5" fmla="*/ 39910 w 338518"/>
                <a:gd name="connsiteY5" fmla="*/ 501491 h 530828"/>
                <a:gd name="connsiteX6" fmla="*/ 10954 w 338518"/>
                <a:gd name="connsiteY6" fmla="*/ 465487 h 530828"/>
                <a:gd name="connsiteX7" fmla="*/ 0 w 338518"/>
                <a:gd name="connsiteY7" fmla="*/ 415671 h 530828"/>
                <a:gd name="connsiteX8" fmla="*/ 0 w 338518"/>
                <a:gd name="connsiteY8" fmla="*/ 414242 h 530828"/>
                <a:gd name="connsiteX9" fmla="*/ 11335 w 338518"/>
                <a:gd name="connsiteY9" fmla="*/ 360140 h 530828"/>
                <a:gd name="connsiteX10" fmla="*/ 42767 w 338518"/>
                <a:gd name="connsiteY10" fmla="*/ 321945 h 530828"/>
                <a:gd name="connsiteX11" fmla="*/ 90773 w 338518"/>
                <a:gd name="connsiteY11" fmla="*/ 299371 h 530828"/>
                <a:gd name="connsiteX12" fmla="*/ 151162 w 338518"/>
                <a:gd name="connsiteY12" fmla="*/ 291941 h 530828"/>
                <a:gd name="connsiteX13" fmla="*/ 208788 w 338518"/>
                <a:gd name="connsiteY13" fmla="*/ 296228 h 530828"/>
                <a:gd name="connsiteX14" fmla="*/ 254413 w 338518"/>
                <a:gd name="connsiteY14" fmla="*/ 307562 h 530828"/>
                <a:gd name="connsiteX15" fmla="*/ 254413 w 338518"/>
                <a:gd name="connsiteY15" fmla="*/ 300514 h 530828"/>
                <a:gd name="connsiteX16" fmla="*/ 230696 w 338518"/>
                <a:gd name="connsiteY16" fmla="*/ 241173 h 530828"/>
                <a:gd name="connsiteX17" fmla="*/ 162496 w 338518"/>
                <a:gd name="connsiteY17" fmla="*/ 220694 h 530828"/>
                <a:gd name="connsiteX18" fmla="*/ 106013 w 338518"/>
                <a:gd name="connsiteY18" fmla="*/ 227076 h 530828"/>
                <a:gd name="connsiteX19" fmla="*/ 55817 w 338518"/>
                <a:gd name="connsiteY19" fmla="*/ 244031 h 530828"/>
                <a:gd name="connsiteX20" fmla="*/ 32480 w 338518"/>
                <a:gd name="connsiteY20" fmla="*/ 175451 h 530828"/>
                <a:gd name="connsiteX21" fmla="*/ 96107 w 338518"/>
                <a:gd name="connsiteY21" fmla="*/ 152876 h 530828"/>
                <a:gd name="connsiteX22" fmla="*/ 174593 w 338518"/>
                <a:gd name="connsiteY22" fmla="*/ 144399 h 530828"/>
                <a:gd name="connsiteX23" fmla="*/ 298228 w 338518"/>
                <a:gd name="connsiteY23" fmla="*/ 185738 h 530828"/>
                <a:gd name="connsiteX24" fmla="*/ 338519 w 338518"/>
                <a:gd name="connsiteY24" fmla="*/ 301943 h 530828"/>
                <a:gd name="connsiteX25" fmla="*/ 338519 w 338518"/>
                <a:gd name="connsiteY25" fmla="*/ 523113 h 530828"/>
                <a:gd name="connsiteX26" fmla="*/ 253746 w 338518"/>
                <a:gd name="connsiteY26" fmla="*/ 523113 h 530828"/>
                <a:gd name="connsiteX27" fmla="*/ 45911 w 338518"/>
                <a:gd name="connsiteY27" fmla="*/ 95441 h 530828"/>
                <a:gd name="connsiteX28" fmla="*/ 75248 w 338518"/>
                <a:gd name="connsiteY28" fmla="*/ 29718 h 530828"/>
                <a:gd name="connsiteX29" fmla="*/ 125063 w 338518"/>
                <a:gd name="connsiteY29" fmla="*/ 7144 h 530828"/>
                <a:gd name="connsiteX30" fmla="*/ 154019 w 338518"/>
                <a:gd name="connsiteY30" fmla="*/ 11716 h 530828"/>
                <a:gd name="connsiteX31" fmla="*/ 181261 w 338518"/>
                <a:gd name="connsiteY31" fmla="*/ 21622 h 530828"/>
                <a:gd name="connsiteX32" fmla="*/ 205645 w 338518"/>
                <a:gd name="connsiteY32" fmla="*/ 31147 h 530828"/>
                <a:gd name="connsiteX33" fmla="*/ 226790 w 338518"/>
                <a:gd name="connsiteY33" fmla="*/ 35338 h 530828"/>
                <a:gd name="connsiteX34" fmla="*/ 250127 w 338518"/>
                <a:gd name="connsiteY34" fmla="*/ 26861 h 530828"/>
                <a:gd name="connsiteX35" fmla="*/ 265652 w 338518"/>
                <a:gd name="connsiteY35" fmla="*/ 0 h 530828"/>
                <a:gd name="connsiteX36" fmla="*/ 312991 w 338518"/>
                <a:gd name="connsiteY36" fmla="*/ 14859 h 530828"/>
                <a:gd name="connsiteX37" fmla="*/ 283655 w 338518"/>
                <a:gd name="connsiteY37" fmla="*/ 79820 h 530828"/>
                <a:gd name="connsiteX38" fmla="*/ 233839 w 338518"/>
                <a:gd name="connsiteY38" fmla="*/ 102394 h 530828"/>
                <a:gd name="connsiteX39" fmla="*/ 204883 w 338518"/>
                <a:gd name="connsiteY39" fmla="*/ 98203 h 530828"/>
                <a:gd name="connsiteX40" fmla="*/ 177641 w 338518"/>
                <a:gd name="connsiteY40" fmla="*/ 88678 h 530828"/>
                <a:gd name="connsiteX41" fmla="*/ 152876 w 338518"/>
                <a:gd name="connsiteY41" fmla="*/ 78772 h 530828"/>
                <a:gd name="connsiteX42" fmla="*/ 132017 w 338518"/>
                <a:gd name="connsiteY42" fmla="*/ 74200 h 530828"/>
                <a:gd name="connsiteX43" fmla="*/ 108680 w 338518"/>
                <a:gd name="connsiteY43" fmla="*/ 82677 h 530828"/>
                <a:gd name="connsiteX44" fmla="*/ 93154 w 338518"/>
                <a:gd name="connsiteY44" fmla="*/ 109538 h 530828"/>
                <a:gd name="connsiteX45" fmla="*/ 45815 w 338518"/>
                <a:gd name="connsiteY45" fmla="*/ 95441 h 530828"/>
                <a:gd name="connsiteX46" fmla="*/ 255842 w 338518"/>
                <a:gd name="connsiteY46" fmla="*/ 366808 h 530828"/>
                <a:gd name="connsiteX47" fmla="*/ 217361 w 338518"/>
                <a:gd name="connsiteY47" fmla="*/ 356235 h 530828"/>
                <a:gd name="connsiteX48" fmla="*/ 170402 w 338518"/>
                <a:gd name="connsiteY48" fmla="*/ 351949 h 530828"/>
                <a:gd name="connsiteX49" fmla="*/ 107537 w 338518"/>
                <a:gd name="connsiteY49" fmla="*/ 367475 h 530828"/>
                <a:gd name="connsiteX50" fmla="*/ 84963 w 338518"/>
                <a:gd name="connsiteY50" fmla="*/ 409861 h 530828"/>
                <a:gd name="connsiteX51" fmla="*/ 84963 w 338518"/>
                <a:gd name="connsiteY51" fmla="*/ 411290 h 530828"/>
                <a:gd name="connsiteX52" fmla="*/ 105823 w 338518"/>
                <a:gd name="connsiteY52" fmla="*/ 452247 h 530828"/>
                <a:gd name="connsiteX53" fmla="*/ 157067 w 338518"/>
                <a:gd name="connsiteY53" fmla="*/ 466344 h 530828"/>
                <a:gd name="connsiteX54" fmla="*/ 196310 w 338518"/>
                <a:gd name="connsiteY54" fmla="*/ 460724 h 530828"/>
                <a:gd name="connsiteX55" fmla="*/ 227743 w 338518"/>
                <a:gd name="connsiteY55" fmla="*/ 444818 h 530828"/>
                <a:gd name="connsiteX56" fmla="*/ 248603 w 338518"/>
                <a:gd name="connsiteY56" fmla="*/ 420053 h 530828"/>
                <a:gd name="connsiteX57" fmla="*/ 256032 w 338518"/>
                <a:gd name="connsiteY57" fmla="*/ 387858 h 530828"/>
                <a:gd name="connsiteX58" fmla="*/ 256032 w 338518"/>
                <a:gd name="connsiteY58" fmla="*/ 366617 h 5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8518" h="530828">
                  <a:moveTo>
                    <a:pt x="253651" y="523018"/>
                  </a:moveTo>
                  <a:lnTo>
                    <a:pt x="253651" y="477107"/>
                  </a:lnTo>
                  <a:cubicBezTo>
                    <a:pt x="240887" y="492157"/>
                    <a:pt x="224695" y="504920"/>
                    <a:pt x="204883" y="515303"/>
                  </a:cubicBezTo>
                  <a:cubicBezTo>
                    <a:pt x="185071" y="525685"/>
                    <a:pt x="161068" y="530828"/>
                    <a:pt x="132779" y="530828"/>
                  </a:cubicBezTo>
                  <a:cubicBezTo>
                    <a:pt x="114871" y="530828"/>
                    <a:pt x="97917" y="528352"/>
                    <a:pt x="81915" y="523399"/>
                  </a:cubicBezTo>
                  <a:cubicBezTo>
                    <a:pt x="65913" y="518446"/>
                    <a:pt x="51911" y="511112"/>
                    <a:pt x="39910" y="501491"/>
                  </a:cubicBezTo>
                  <a:cubicBezTo>
                    <a:pt x="27908" y="491871"/>
                    <a:pt x="18193" y="479870"/>
                    <a:pt x="10954" y="465487"/>
                  </a:cubicBezTo>
                  <a:cubicBezTo>
                    <a:pt x="3620" y="451104"/>
                    <a:pt x="0" y="434531"/>
                    <a:pt x="0" y="415671"/>
                  </a:cubicBezTo>
                  <a:lnTo>
                    <a:pt x="0" y="414242"/>
                  </a:lnTo>
                  <a:cubicBezTo>
                    <a:pt x="0" y="393478"/>
                    <a:pt x="3810" y="375476"/>
                    <a:pt x="11335" y="360140"/>
                  </a:cubicBezTo>
                  <a:cubicBezTo>
                    <a:pt x="18860" y="344805"/>
                    <a:pt x="29337" y="332137"/>
                    <a:pt x="42767" y="321945"/>
                  </a:cubicBezTo>
                  <a:cubicBezTo>
                    <a:pt x="56198" y="311849"/>
                    <a:pt x="72200" y="304324"/>
                    <a:pt x="90773" y="299371"/>
                  </a:cubicBezTo>
                  <a:cubicBezTo>
                    <a:pt x="109347" y="294418"/>
                    <a:pt x="129540" y="291941"/>
                    <a:pt x="151162" y="291941"/>
                  </a:cubicBezTo>
                  <a:cubicBezTo>
                    <a:pt x="172784" y="291941"/>
                    <a:pt x="192977" y="293370"/>
                    <a:pt x="208788" y="296228"/>
                  </a:cubicBezTo>
                  <a:cubicBezTo>
                    <a:pt x="224600" y="299085"/>
                    <a:pt x="239744" y="302800"/>
                    <a:pt x="254413" y="307562"/>
                  </a:cubicBezTo>
                  <a:lnTo>
                    <a:pt x="254413" y="300514"/>
                  </a:lnTo>
                  <a:cubicBezTo>
                    <a:pt x="254413" y="274606"/>
                    <a:pt x="246507" y="254794"/>
                    <a:pt x="230696" y="241173"/>
                  </a:cubicBezTo>
                  <a:cubicBezTo>
                    <a:pt x="214884" y="227552"/>
                    <a:pt x="192215" y="220694"/>
                    <a:pt x="162496" y="220694"/>
                  </a:cubicBezTo>
                  <a:cubicBezTo>
                    <a:pt x="141351" y="220694"/>
                    <a:pt x="122492" y="222790"/>
                    <a:pt x="106013" y="227076"/>
                  </a:cubicBezTo>
                  <a:cubicBezTo>
                    <a:pt x="89535" y="231362"/>
                    <a:pt x="72771" y="236982"/>
                    <a:pt x="55817" y="244031"/>
                  </a:cubicBezTo>
                  <a:lnTo>
                    <a:pt x="32480" y="175451"/>
                  </a:lnTo>
                  <a:cubicBezTo>
                    <a:pt x="53150" y="166021"/>
                    <a:pt x="74390" y="158496"/>
                    <a:pt x="96107" y="152876"/>
                  </a:cubicBezTo>
                  <a:cubicBezTo>
                    <a:pt x="117729" y="147257"/>
                    <a:pt x="143923" y="144399"/>
                    <a:pt x="174593" y="144399"/>
                  </a:cubicBezTo>
                  <a:cubicBezTo>
                    <a:pt x="230124" y="144399"/>
                    <a:pt x="271367" y="158210"/>
                    <a:pt x="298228" y="185738"/>
                  </a:cubicBezTo>
                  <a:cubicBezTo>
                    <a:pt x="325088" y="213265"/>
                    <a:pt x="338519" y="252032"/>
                    <a:pt x="338519" y="301943"/>
                  </a:cubicBezTo>
                  <a:lnTo>
                    <a:pt x="338519" y="523113"/>
                  </a:lnTo>
                  <a:lnTo>
                    <a:pt x="253746" y="523113"/>
                  </a:lnTo>
                  <a:close/>
                  <a:moveTo>
                    <a:pt x="45911" y="95441"/>
                  </a:moveTo>
                  <a:cubicBezTo>
                    <a:pt x="53912" y="66675"/>
                    <a:pt x="63722" y="44768"/>
                    <a:pt x="75248" y="29718"/>
                  </a:cubicBezTo>
                  <a:cubicBezTo>
                    <a:pt x="86773" y="14669"/>
                    <a:pt x="103442" y="7144"/>
                    <a:pt x="125063" y="7144"/>
                  </a:cubicBezTo>
                  <a:cubicBezTo>
                    <a:pt x="134969" y="7144"/>
                    <a:pt x="144590" y="8668"/>
                    <a:pt x="154019" y="11716"/>
                  </a:cubicBezTo>
                  <a:cubicBezTo>
                    <a:pt x="163449" y="14764"/>
                    <a:pt x="172498" y="18098"/>
                    <a:pt x="181261" y="21622"/>
                  </a:cubicBezTo>
                  <a:cubicBezTo>
                    <a:pt x="189929" y="25146"/>
                    <a:pt x="198120" y="28385"/>
                    <a:pt x="205645" y="31147"/>
                  </a:cubicBezTo>
                  <a:cubicBezTo>
                    <a:pt x="213170" y="34004"/>
                    <a:pt x="220218" y="35338"/>
                    <a:pt x="226790" y="35338"/>
                  </a:cubicBezTo>
                  <a:cubicBezTo>
                    <a:pt x="237173" y="35338"/>
                    <a:pt x="244888" y="32480"/>
                    <a:pt x="250127" y="26861"/>
                  </a:cubicBezTo>
                  <a:cubicBezTo>
                    <a:pt x="255270" y="21241"/>
                    <a:pt x="260509" y="12287"/>
                    <a:pt x="265652" y="0"/>
                  </a:cubicBezTo>
                  <a:lnTo>
                    <a:pt x="312991" y="14859"/>
                  </a:lnTo>
                  <a:cubicBezTo>
                    <a:pt x="304991" y="43148"/>
                    <a:pt x="295180" y="64770"/>
                    <a:pt x="283655" y="79820"/>
                  </a:cubicBezTo>
                  <a:cubicBezTo>
                    <a:pt x="272129" y="94869"/>
                    <a:pt x="255461" y="102394"/>
                    <a:pt x="233839" y="102394"/>
                  </a:cubicBezTo>
                  <a:cubicBezTo>
                    <a:pt x="223933" y="102394"/>
                    <a:pt x="214313" y="100965"/>
                    <a:pt x="204883" y="98203"/>
                  </a:cubicBezTo>
                  <a:cubicBezTo>
                    <a:pt x="195453" y="95345"/>
                    <a:pt x="186404" y="92202"/>
                    <a:pt x="177641" y="88678"/>
                  </a:cubicBezTo>
                  <a:cubicBezTo>
                    <a:pt x="168878" y="85154"/>
                    <a:pt x="160687" y="81820"/>
                    <a:pt x="152876" y="78772"/>
                  </a:cubicBezTo>
                  <a:cubicBezTo>
                    <a:pt x="145066" y="75724"/>
                    <a:pt x="138113" y="74200"/>
                    <a:pt x="132017" y="74200"/>
                  </a:cubicBezTo>
                  <a:cubicBezTo>
                    <a:pt x="121634" y="74200"/>
                    <a:pt x="113919" y="77057"/>
                    <a:pt x="108680" y="82677"/>
                  </a:cubicBezTo>
                  <a:cubicBezTo>
                    <a:pt x="103537" y="88297"/>
                    <a:pt x="98298" y="97250"/>
                    <a:pt x="93154" y="109538"/>
                  </a:cubicBezTo>
                  <a:lnTo>
                    <a:pt x="45815" y="95441"/>
                  </a:lnTo>
                  <a:close/>
                  <a:moveTo>
                    <a:pt x="255842" y="366808"/>
                  </a:moveTo>
                  <a:cubicBezTo>
                    <a:pt x="244983" y="362522"/>
                    <a:pt x="232124" y="358997"/>
                    <a:pt x="217361" y="356235"/>
                  </a:cubicBezTo>
                  <a:cubicBezTo>
                    <a:pt x="202502" y="353378"/>
                    <a:pt x="186880" y="351949"/>
                    <a:pt x="170402" y="351949"/>
                  </a:cubicBezTo>
                  <a:cubicBezTo>
                    <a:pt x="143542" y="351949"/>
                    <a:pt x="122587" y="357092"/>
                    <a:pt x="107537" y="367475"/>
                  </a:cubicBezTo>
                  <a:cubicBezTo>
                    <a:pt x="92488" y="377857"/>
                    <a:pt x="84963" y="391954"/>
                    <a:pt x="84963" y="409861"/>
                  </a:cubicBezTo>
                  <a:lnTo>
                    <a:pt x="84963" y="411290"/>
                  </a:lnTo>
                  <a:cubicBezTo>
                    <a:pt x="84963" y="429197"/>
                    <a:pt x="91916" y="442817"/>
                    <a:pt x="105823" y="452247"/>
                  </a:cubicBezTo>
                  <a:cubicBezTo>
                    <a:pt x="119729" y="461677"/>
                    <a:pt x="136779" y="466344"/>
                    <a:pt x="157067" y="466344"/>
                  </a:cubicBezTo>
                  <a:cubicBezTo>
                    <a:pt x="171164" y="466344"/>
                    <a:pt x="184309" y="464439"/>
                    <a:pt x="196310" y="460724"/>
                  </a:cubicBezTo>
                  <a:cubicBezTo>
                    <a:pt x="208312" y="456914"/>
                    <a:pt x="218789" y="451676"/>
                    <a:pt x="227743" y="444818"/>
                  </a:cubicBezTo>
                  <a:cubicBezTo>
                    <a:pt x="236696" y="437960"/>
                    <a:pt x="243650" y="429768"/>
                    <a:pt x="248603" y="420053"/>
                  </a:cubicBezTo>
                  <a:cubicBezTo>
                    <a:pt x="253555" y="410432"/>
                    <a:pt x="256032" y="399669"/>
                    <a:pt x="256032" y="387858"/>
                  </a:cubicBezTo>
                  <a:lnTo>
                    <a:pt x="256032" y="366617"/>
                  </a:lnTo>
                  <a:close/>
                </a:path>
              </a:pathLst>
            </a:custGeom>
            <a:solidFill>
              <a:srgbClr val="44505E"/>
            </a:solidFill>
            <a:ln w="9525" cap="flat">
              <a:noFill/>
              <a:prstDash val="solid"/>
              <a:miter/>
            </a:ln>
          </p:spPr>
          <p:txBody>
            <a:bodyPr rtlCol="0" anchor="ctr"/>
            <a:lstStyle/>
            <a:p>
              <a:endParaRPr lang="pt-BR" noProof="0"/>
            </a:p>
          </p:txBody>
        </p:sp>
        <p:sp>
          <p:nvSpPr>
            <p:cNvPr id="18" name="Freeform: Shape 30">
              <a:extLst>
                <a:ext uri="{FF2B5EF4-FFF2-40B4-BE49-F238E27FC236}">
                  <a16:creationId xmlns:a16="http://schemas.microsoft.com/office/drawing/2014/main" id="{26185DDA-308B-01E9-311C-81AD604EA19D}"/>
                </a:ext>
              </a:extLst>
            </p:cNvPr>
            <p:cNvSpPr/>
            <p:nvPr/>
          </p:nvSpPr>
          <p:spPr>
            <a:xfrm>
              <a:off x="6506477" y="699959"/>
              <a:ext cx="100038" cy="97908"/>
            </a:xfrm>
            <a:custGeom>
              <a:avLst/>
              <a:gdLst>
                <a:gd name="connsiteX0" fmla="*/ 197834 w 397954"/>
                <a:gd name="connsiteY0" fmla="*/ 389477 h 389477"/>
                <a:gd name="connsiteX1" fmla="*/ 119063 w 397954"/>
                <a:gd name="connsiteY1" fmla="*/ 374237 h 389477"/>
                <a:gd name="connsiteX2" fmla="*/ 56198 w 397954"/>
                <a:gd name="connsiteY2" fmla="*/ 332899 h 389477"/>
                <a:gd name="connsiteX3" fmla="*/ 14859 w 397954"/>
                <a:gd name="connsiteY3" fmla="*/ 271463 h 389477"/>
                <a:gd name="connsiteX4" fmla="*/ 0 w 397954"/>
                <a:gd name="connsiteY4" fmla="*/ 196501 h 389477"/>
                <a:gd name="connsiteX5" fmla="*/ 0 w 397954"/>
                <a:gd name="connsiteY5" fmla="*/ 195072 h 389477"/>
                <a:gd name="connsiteX6" fmla="*/ 15240 w 397954"/>
                <a:gd name="connsiteY6" fmla="*/ 119444 h 389477"/>
                <a:gd name="connsiteX7" fmla="*/ 56960 w 397954"/>
                <a:gd name="connsiteY7" fmla="*/ 57626 h 389477"/>
                <a:gd name="connsiteX8" fmla="*/ 119825 w 397954"/>
                <a:gd name="connsiteY8" fmla="*/ 15526 h 389477"/>
                <a:gd name="connsiteX9" fmla="*/ 199358 w 397954"/>
                <a:gd name="connsiteY9" fmla="*/ 0 h 389477"/>
                <a:gd name="connsiteX10" fmla="*/ 278892 w 397954"/>
                <a:gd name="connsiteY10" fmla="*/ 15240 h 389477"/>
                <a:gd name="connsiteX11" fmla="*/ 341757 w 397954"/>
                <a:gd name="connsiteY11" fmla="*/ 56959 h 389477"/>
                <a:gd name="connsiteX12" fmla="*/ 383096 w 397954"/>
                <a:gd name="connsiteY12" fmla="*/ 118396 h 389477"/>
                <a:gd name="connsiteX13" fmla="*/ 397955 w 397954"/>
                <a:gd name="connsiteY13" fmla="*/ 193643 h 389477"/>
                <a:gd name="connsiteX14" fmla="*/ 397955 w 397954"/>
                <a:gd name="connsiteY14" fmla="*/ 195072 h 389477"/>
                <a:gd name="connsiteX15" fmla="*/ 382714 w 397954"/>
                <a:gd name="connsiteY15" fmla="*/ 270034 h 389477"/>
                <a:gd name="connsiteX16" fmla="*/ 340995 w 397954"/>
                <a:gd name="connsiteY16" fmla="*/ 331851 h 389477"/>
                <a:gd name="connsiteX17" fmla="*/ 277749 w 397954"/>
                <a:gd name="connsiteY17" fmla="*/ 373856 h 389477"/>
                <a:gd name="connsiteX18" fmla="*/ 197834 w 397954"/>
                <a:gd name="connsiteY18" fmla="*/ 389382 h 389477"/>
                <a:gd name="connsiteX19" fmla="*/ 199263 w 397954"/>
                <a:gd name="connsiteY19" fmla="*/ 315278 h 389477"/>
                <a:gd name="connsiteX20" fmla="*/ 245936 w 397954"/>
                <a:gd name="connsiteY20" fmla="*/ 305753 h 389477"/>
                <a:gd name="connsiteX21" fmla="*/ 281369 w 397954"/>
                <a:gd name="connsiteY21" fmla="*/ 279940 h 389477"/>
                <a:gd name="connsiteX22" fmla="*/ 303848 w 397954"/>
                <a:gd name="connsiteY22" fmla="*/ 242125 h 389477"/>
                <a:gd name="connsiteX23" fmla="*/ 311563 w 397954"/>
                <a:gd name="connsiteY23" fmla="*/ 196501 h 389477"/>
                <a:gd name="connsiteX24" fmla="*/ 311563 w 397954"/>
                <a:gd name="connsiteY24" fmla="*/ 195072 h 389477"/>
                <a:gd name="connsiteX25" fmla="*/ 303181 w 397954"/>
                <a:gd name="connsiteY25" fmla="*/ 148400 h 389477"/>
                <a:gd name="connsiteX26" fmla="*/ 279654 w 397954"/>
                <a:gd name="connsiteY26" fmla="*/ 110204 h 389477"/>
                <a:gd name="connsiteX27" fmla="*/ 243840 w 397954"/>
                <a:gd name="connsiteY27" fmla="*/ 84392 h 389477"/>
                <a:gd name="connsiteX28" fmla="*/ 197834 w 397954"/>
                <a:gd name="connsiteY28" fmla="*/ 74867 h 389477"/>
                <a:gd name="connsiteX29" fmla="*/ 151829 w 397954"/>
                <a:gd name="connsiteY29" fmla="*/ 84392 h 389477"/>
                <a:gd name="connsiteX30" fmla="*/ 116396 w 397954"/>
                <a:gd name="connsiteY30" fmla="*/ 109823 h 389477"/>
                <a:gd name="connsiteX31" fmla="*/ 93916 w 397954"/>
                <a:gd name="connsiteY31" fmla="*/ 147638 h 389477"/>
                <a:gd name="connsiteX32" fmla="*/ 86201 w 397954"/>
                <a:gd name="connsiteY32" fmla="*/ 193548 h 389477"/>
                <a:gd name="connsiteX33" fmla="*/ 86201 w 397954"/>
                <a:gd name="connsiteY33" fmla="*/ 194977 h 389477"/>
                <a:gd name="connsiteX34" fmla="*/ 94583 w 397954"/>
                <a:gd name="connsiteY34" fmla="*/ 241268 h 389477"/>
                <a:gd name="connsiteX35" fmla="*/ 118110 w 397954"/>
                <a:gd name="connsiteY35" fmla="*/ 279463 h 389477"/>
                <a:gd name="connsiteX36" fmla="*/ 153924 w 397954"/>
                <a:gd name="connsiteY36" fmla="*/ 305562 h 389477"/>
                <a:gd name="connsiteX37" fmla="*/ 199263 w 397954"/>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954" h="389477">
                  <a:moveTo>
                    <a:pt x="197834" y="389477"/>
                  </a:moveTo>
                  <a:cubicBezTo>
                    <a:pt x="169545" y="389477"/>
                    <a:pt x="143351" y="384429"/>
                    <a:pt x="119063" y="374237"/>
                  </a:cubicBezTo>
                  <a:cubicBezTo>
                    <a:pt x="94774" y="364141"/>
                    <a:pt x="73819" y="350330"/>
                    <a:pt x="56198" y="332899"/>
                  </a:cubicBezTo>
                  <a:cubicBezTo>
                    <a:pt x="38576" y="315468"/>
                    <a:pt x="24765" y="294989"/>
                    <a:pt x="14859" y="271463"/>
                  </a:cubicBezTo>
                  <a:cubicBezTo>
                    <a:pt x="4953" y="247936"/>
                    <a:pt x="0" y="222980"/>
                    <a:pt x="0" y="196501"/>
                  </a:cubicBezTo>
                  <a:lnTo>
                    <a:pt x="0" y="195072"/>
                  </a:lnTo>
                  <a:cubicBezTo>
                    <a:pt x="0" y="168212"/>
                    <a:pt x="5049" y="143066"/>
                    <a:pt x="15240" y="119444"/>
                  </a:cubicBezTo>
                  <a:cubicBezTo>
                    <a:pt x="25337" y="95917"/>
                    <a:pt x="39243" y="75248"/>
                    <a:pt x="56960" y="57626"/>
                  </a:cubicBezTo>
                  <a:cubicBezTo>
                    <a:pt x="74676" y="39910"/>
                    <a:pt x="95631" y="25908"/>
                    <a:pt x="119825" y="15526"/>
                  </a:cubicBezTo>
                  <a:cubicBezTo>
                    <a:pt x="144113" y="5144"/>
                    <a:pt x="170593" y="0"/>
                    <a:pt x="199358" y="0"/>
                  </a:cubicBezTo>
                  <a:cubicBezTo>
                    <a:pt x="228124" y="0"/>
                    <a:pt x="254604" y="5048"/>
                    <a:pt x="278892" y="15240"/>
                  </a:cubicBezTo>
                  <a:cubicBezTo>
                    <a:pt x="303181" y="25337"/>
                    <a:pt x="324136" y="39243"/>
                    <a:pt x="341757" y="56959"/>
                  </a:cubicBezTo>
                  <a:cubicBezTo>
                    <a:pt x="359379" y="74676"/>
                    <a:pt x="373189" y="95155"/>
                    <a:pt x="383096" y="118396"/>
                  </a:cubicBezTo>
                  <a:cubicBezTo>
                    <a:pt x="393002" y="141732"/>
                    <a:pt x="397955" y="166783"/>
                    <a:pt x="397955" y="193643"/>
                  </a:cubicBezTo>
                  <a:lnTo>
                    <a:pt x="397955" y="195072"/>
                  </a:lnTo>
                  <a:cubicBezTo>
                    <a:pt x="397955" y="221456"/>
                    <a:pt x="392906" y="246412"/>
                    <a:pt x="382714" y="270034"/>
                  </a:cubicBezTo>
                  <a:cubicBezTo>
                    <a:pt x="372618" y="293561"/>
                    <a:pt x="358712" y="314230"/>
                    <a:pt x="340995" y="331851"/>
                  </a:cubicBezTo>
                  <a:cubicBezTo>
                    <a:pt x="323279" y="349472"/>
                    <a:pt x="302229" y="363569"/>
                    <a:pt x="277749" y="373856"/>
                  </a:cubicBezTo>
                  <a:cubicBezTo>
                    <a:pt x="253270" y="384238"/>
                    <a:pt x="226600" y="389382"/>
                    <a:pt x="197834" y="389382"/>
                  </a:cubicBezTo>
                  <a:close/>
                  <a:moveTo>
                    <a:pt x="199263" y="315278"/>
                  </a:moveTo>
                  <a:cubicBezTo>
                    <a:pt x="216598" y="315278"/>
                    <a:pt x="232124" y="312039"/>
                    <a:pt x="245936" y="305753"/>
                  </a:cubicBezTo>
                  <a:cubicBezTo>
                    <a:pt x="259747" y="299371"/>
                    <a:pt x="271558" y="290798"/>
                    <a:pt x="281369" y="279940"/>
                  </a:cubicBezTo>
                  <a:cubicBezTo>
                    <a:pt x="291179" y="269081"/>
                    <a:pt x="298704" y="256508"/>
                    <a:pt x="303848" y="242125"/>
                  </a:cubicBezTo>
                  <a:cubicBezTo>
                    <a:pt x="308991" y="227743"/>
                    <a:pt x="311563" y="212598"/>
                    <a:pt x="311563" y="196501"/>
                  </a:cubicBezTo>
                  <a:lnTo>
                    <a:pt x="311563" y="195072"/>
                  </a:lnTo>
                  <a:cubicBezTo>
                    <a:pt x="311563" y="178594"/>
                    <a:pt x="308706" y="163068"/>
                    <a:pt x="303181" y="148400"/>
                  </a:cubicBezTo>
                  <a:cubicBezTo>
                    <a:pt x="297561" y="133826"/>
                    <a:pt x="289750" y="121063"/>
                    <a:pt x="279654" y="110204"/>
                  </a:cubicBezTo>
                  <a:cubicBezTo>
                    <a:pt x="269557" y="99346"/>
                    <a:pt x="257651" y="90773"/>
                    <a:pt x="243840" y="84392"/>
                  </a:cubicBezTo>
                  <a:cubicBezTo>
                    <a:pt x="230029" y="78010"/>
                    <a:pt x="214694" y="74867"/>
                    <a:pt x="197834" y="74867"/>
                  </a:cubicBezTo>
                  <a:cubicBezTo>
                    <a:pt x="180975" y="74867"/>
                    <a:pt x="165640" y="78010"/>
                    <a:pt x="151829" y="84392"/>
                  </a:cubicBezTo>
                  <a:cubicBezTo>
                    <a:pt x="138017" y="90773"/>
                    <a:pt x="126206" y="99250"/>
                    <a:pt x="116396" y="109823"/>
                  </a:cubicBezTo>
                  <a:cubicBezTo>
                    <a:pt x="106585" y="120396"/>
                    <a:pt x="99060" y="133064"/>
                    <a:pt x="93916" y="147638"/>
                  </a:cubicBezTo>
                  <a:cubicBezTo>
                    <a:pt x="88773" y="162211"/>
                    <a:pt x="86201" y="177546"/>
                    <a:pt x="86201" y="193548"/>
                  </a:cubicBezTo>
                  <a:lnTo>
                    <a:pt x="86201" y="194977"/>
                  </a:lnTo>
                  <a:cubicBezTo>
                    <a:pt x="86201" y="211455"/>
                    <a:pt x="89059" y="226886"/>
                    <a:pt x="94583" y="241268"/>
                  </a:cubicBezTo>
                  <a:cubicBezTo>
                    <a:pt x="100203" y="255651"/>
                    <a:pt x="108014" y="268319"/>
                    <a:pt x="118110" y="279463"/>
                  </a:cubicBezTo>
                  <a:cubicBezTo>
                    <a:pt x="128207" y="290608"/>
                    <a:pt x="140113" y="299275"/>
                    <a:pt x="153924" y="305562"/>
                  </a:cubicBezTo>
                  <a:cubicBezTo>
                    <a:pt x="167735" y="311944"/>
                    <a:pt x="182785"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19" name="Freeform: Shape 31">
              <a:extLst>
                <a:ext uri="{FF2B5EF4-FFF2-40B4-BE49-F238E27FC236}">
                  <a16:creationId xmlns:a16="http://schemas.microsoft.com/office/drawing/2014/main" id="{8409BB54-BA43-1146-7F32-84BB8E0C6393}"/>
                </a:ext>
              </a:extLst>
            </p:cNvPr>
            <p:cNvSpPr/>
            <p:nvPr/>
          </p:nvSpPr>
          <p:spPr>
            <a:xfrm>
              <a:off x="662071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1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7 w 296894"/>
                <a:gd name="connsiteY23" fmla="*/ 42863 h 386714"/>
                <a:gd name="connsiteX24" fmla="*/ 254318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7 w 296894"/>
                <a:gd name="connsiteY30" fmla="*/ 124587 h 386714"/>
                <a:gd name="connsiteX31" fmla="*/ 122682 w 296894"/>
                <a:gd name="connsiteY31" fmla="*/ 138017 h 386714"/>
                <a:gd name="connsiteX32" fmla="*/ 149543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6" y="348901"/>
                    <a:pt x="0" y="330327"/>
                  </a:cubicBezTo>
                  <a:lnTo>
                    <a:pt x="38195" y="272224"/>
                  </a:lnTo>
                  <a:cubicBezTo>
                    <a:pt x="58484" y="287274"/>
                    <a:pt x="79057" y="298704"/>
                    <a:pt x="100013" y="306514"/>
                  </a:cubicBezTo>
                  <a:cubicBezTo>
                    <a:pt x="120968" y="314325"/>
                    <a:pt x="141161" y="318135"/>
                    <a:pt x="160401" y="318135"/>
                  </a:cubicBezTo>
                  <a:cubicBezTo>
                    <a:pt x="179641" y="318135"/>
                    <a:pt x="192977"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1" y="241078"/>
                    <a:pt x="176498" y="237553"/>
                    <a:pt x="166401"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2" y="40195"/>
                    <a:pt x="56864" y="30385"/>
                  </a:cubicBezTo>
                  <a:cubicBezTo>
                    <a:pt x="68866" y="20479"/>
                    <a:pt x="82962" y="12954"/>
                    <a:pt x="99250" y="7810"/>
                  </a:cubicBezTo>
                  <a:cubicBezTo>
                    <a:pt x="115538" y="2667"/>
                    <a:pt x="132779" y="0"/>
                    <a:pt x="151162" y="0"/>
                  </a:cubicBezTo>
                  <a:cubicBezTo>
                    <a:pt x="174688" y="0"/>
                    <a:pt x="198501" y="3810"/>
                    <a:pt x="222504" y="11430"/>
                  </a:cubicBezTo>
                  <a:cubicBezTo>
                    <a:pt x="246507" y="19050"/>
                    <a:pt x="268414" y="29527"/>
                    <a:pt x="288227" y="42863"/>
                  </a:cubicBezTo>
                  <a:lnTo>
                    <a:pt x="254318"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7" y="124587"/>
                  </a:cubicBezTo>
                  <a:cubicBezTo>
                    <a:pt x="108585" y="129540"/>
                    <a:pt x="114871" y="134017"/>
                    <a:pt x="122682" y="138017"/>
                  </a:cubicBezTo>
                  <a:cubicBezTo>
                    <a:pt x="130493" y="142018"/>
                    <a:pt x="139351" y="145732"/>
                    <a:pt x="149543"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696"/>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0" name="Freeform: Shape 32">
              <a:extLst>
                <a:ext uri="{FF2B5EF4-FFF2-40B4-BE49-F238E27FC236}">
                  <a16:creationId xmlns:a16="http://schemas.microsoft.com/office/drawing/2014/main" id="{652B84C0-4758-C680-4099-8EBA42B65179}"/>
                </a:ext>
              </a:extLst>
            </p:cNvPr>
            <p:cNvSpPr/>
            <p:nvPr/>
          </p:nvSpPr>
          <p:spPr>
            <a:xfrm>
              <a:off x="526693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4 w 202977"/>
                <a:gd name="connsiteY17" fmla="*/ 19907 h 239267"/>
                <a:gd name="connsiteX18" fmla="*/ 59246 w 202977"/>
                <a:gd name="connsiteY18" fmla="*/ 5429 h 239267"/>
                <a:gd name="connsiteX19" fmla="*/ 104299 w 202977"/>
                <a:gd name="connsiteY19" fmla="*/ 0 h 239267"/>
                <a:gd name="connsiteX20" fmla="*/ 178880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5 w 202977"/>
                <a:gd name="connsiteY27" fmla="*/ 211169 h 239267"/>
                <a:gd name="connsiteX28" fmla="*/ 122968 w 202977"/>
                <a:gd name="connsiteY28" fmla="*/ 206788 h 239267"/>
                <a:gd name="connsiteX29" fmla="*/ 147257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9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9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3" y="99155"/>
                    <a:pt x="58674" y="95917"/>
                  </a:cubicBezTo>
                  <a:cubicBezTo>
                    <a:pt x="70771" y="92678"/>
                    <a:pt x="84011" y="90964"/>
                    <a:pt x="98584" y="90964"/>
                  </a:cubicBezTo>
                  <a:cubicBezTo>
                    <a:pt x="113157" y="90964"/>
                    <a:pt x="126301" y="91821"/>
                    <a:pt x="137160" y="93631"/>
                  </a:cubicBezTo>
                  <a:cubicBezTo>
                    <a:pt x="148019" y="95440"/>
                    <a:pt x="158687" y="97822"/>
                    <a:pt x="169069" y="100774"/>
                  </a:cubicBezTo>
                  <a:lnTo>
                    <a:pt x="169069" y="93726"/>
                  </a:lnTo>
                  <a:cubicBezTo>
                    <a:pt x="169069" y="73342"/>
                    <a:pt x="163068" y="57912"/>
                    <a:pt x="151162" y="47339"/>
                  </a:cubicBezTo>
                  <a:cubicBezTo>
                    <a:pt x="139256" y="36862"/>
                    <a:pt x="122492" y="31623"/>
                    <a:pt x="100679" y="31623"/>
                  </a:cubicBezTo>
                  <a:cubicBezTo>
                    <a:pt x="86963" y="31623"/>
                    <a:pt x="74581" y="33147"/>
                    <a:pt x="63437" y="36100"/>
                  </a:cubicBezTo>
                  <a:cubicBezTo>
                    <a:pt x="52292" y="39053"/>
                    <a:pt x="41339" y="43053"/>
                    <a:pt x="30671" y="48196"/>
                  </a:cubicBezTo>
                  <a:lnTo>
                    <a:pt x="20384" y="19907"/>
                  </a:lnTo>
                  <a:cubicBezTo>
                    <a:pt x="33147" y="13906"/>
                    <a:pt x="46101" y="9049"/>
                    <a:pt x="59246" y="5429"/>
                  </a:cubicBezTo>
                  <a:cubicBezTo>
                    <a:pt x="72295" y="1810"/>
                    <a:pt x="87344" y="0"/>
                    <a:pt x="104299" y="0"/>
                  </a:cubicBezTo>
                  <a:cubicBezTo>
                    <a:pt x="137065" y="0"/>
                    <a:pt x="161925" y="8477"/>
                    <a:pt x="178880"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99" y="239173"/>
                    <a:pt x="86011" y="239173"/>
                  </a:cubicBezTo>
                  <a:close/>
                  <a:moveTo>
                    <a:pt x="93155" y="211169"/>
                  </a:moveTo>
                  <a:cubicBezTo>
                    <a:pt x="103823" y="211169"/>
                    <a:pt x="113728" y="209740"/>
                    <a:pt x="122968" y="206788"/>
                  </a:cubicBezTo>
                  <a:cubicBezTo>
                    <a:pt x="132207" y="203835"/>
                    <a:pt x="140208" y="199644"/>
                    <a:pt x="147257"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9" y="121444"/>
                  </a:cubicBezTo>
                  <a:cubicBezTo>
                    <a:pt x="129445" y="119348"/>
                    <a:pt x="116776"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244" y="190500"/>
                    <a:pt x="47435" y="195358"/>
                    <a:pt x="52769" y="199263"/>
                  </a:cubicBezTo>
                  <a:cubicBezTo>
                    <a:pt x="58103" y="203073"/>
                    <a:pt x="64294" y="206026"/>
                    <a:pt x="71247" y="208121"/>
                  </a:cubicBezTo>
                  <a:cubicBezTo>
                    <a:pt x="78200" y="210217"/>
                    <a:pt x="85535"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21" name="Freeform: Shape 33">
              <a:extLst>
                <a:ext uri="{FF2B5EF4-FFF2-40B4-BE49-F238E27FC236}">
                  <a16:creationId xmlns:a16="http://schemas.microsoft.com/office/drawing/2014/main" id="{80E6E7E9-34F8-D0E1-2481-E24CF4550FFE}"/>
                </a:ext>
              </a:extLst>
            </p:cNvPr>
            <p:cNvSpPr/>
            <p:nvPr/>
          </p:nvSpPr>
          <p:spPr>
            <a:xfrm>
              <a:off x="5331227"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9" y="303276"/>
                    <a:pt x="71438" y="300895"/>
                  </a:cubicBezTo>
                  <a:cubicBezTo>
                    <a:pt x="63437"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2"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22" name="Freeform: Shape 34">
              <a:extLst>
                <a:ext uri="{FF2B5EF4-FFF2-40B4-BE49-F238E27FC236}">
                  <a16:creationId xmlns:a16="http://schemas.microsoft.com/office/drawing/2014/main" id="{E5B4CF8C-9C03-F8DF-2F70-DDF95ED1D7AF}"/>
                </a:ext>
              </a:extLst>
            </p:cNvPr>
            <p:cNvSpPr/>
            <p:nvPr/>
          </p:nvSpPr>
          <p:spPr>
            <a:xfrm>
              <a:off x="5381845"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191 w 39242"/>
                <a:gd name="connsiteY5" fmla="*/ 88392 h 319182"/>
                <a:gd name="connsiteX6" fmla="*/ 36576 w 39242"/>
                <a:gd name="connsiteY6" fmla="*/ 88392 h 319182"/>
                <a:gd name="connsiteX7" fmla="*/ 36576 w 39242"/>
                <a:gd name="connsiteY7" fmla="*/ 319183 h 319182"/>
                <a:gd name="connsiteX8" fmla="*/ 2191 w 39242"/>
                <a:gd name="connsiteY8" fmla="*/ 319183 h 319182"/>
                <a:gd name="connsiteX9" fmla="*/ 2191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191" y="88392"/>
                  </a:moveTo>
                  <a:lnTo>
                    <a:pt x="36576" y="88392"/>
                  </a:lnTo>
                  <a:lnTo>
                    <a:pt x="36576" y="319183"/>
                  </a:lnTo>
                  <a:lnTo>
                    <a:pt x="2191" y="319183"/>
                  </a:lnTo>
                  <a:lnTo>
                    <a:pt x="2191" y="88392"/>
                  </a:lnTo>
                  <a:close/>
                </a:path>
              </a:pathLst>
            </a:custGeom>
            <a:solidFill>
              <a:srgbClr val="44505E"/>
            </a:solidFill>
            <a:ln w="9525" cap="flat">
              <a:noFill/>
              <a:prstDash val="solid"/>
              <a:miter/>
            </a:ln>
          </p:spPr>
          <p:txBody>
            <a:bodyPr rtlCol="0" anchor="ctr"/>
            <a:lstStyle/>
            <a:p>
              <a:endParaRPr lang="pt-BR" noProof="0"/>
            </a:p>
          </p:txBody>
        </p:sp>
        <p:sp>
          <p:nvSpPr>
            <p:cNvPr id="23" name="Freeform: Shape 35">
              <a:extLst>
                <a:ext uri="{FF2B5EF4-FFF2-40B4-BE49-F238E27FC236}">
                  <a16:creationId xmlns:a16="http://schemas.microsoft.com/office/drawing/2014/main" id="{C09C534A-20AC-B61D-A6AD-1860672D102E}"/>
                </a:ext>
              </a:extLst>
            </p:cNvPr>
            <p:cNvSpPr/>
            <p:nvPr/>
          </p:nvSpPr>
          <p:spPr>
            <a:xfrm>
              <a:off x="5406076"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8" y="303276"/>
                    <a:pt x="71438" y="300895"/>
                  </a:cubicBezTo>
                  <a:cubicBezTo>
                    <a:pt x="63436"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1"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24" name="Freeform: Shape 36">
              <a:extLst>
                <a:ext uri="{FF2B5EF4-FFF2-40B4-BE49-F238E27FC236}">
                  <a16:creationId xmlns:a16="http://schemas.microsoft.com/office/drawing/2014/main" id="{195D6206-1E00-971F-DEE1-3DC501562920}"/>
                </a:ext>
              </a:extLst>
            </p:cNvPr>
            <p:cNvSpPr/>
            <p:nvPr/>
          </p:nvSpPr>
          <p:spPr>
            <a:xfrm>
              <a:off x="5455545" y="925297"/>
              <a:ext cx="50594" cy="59238"/>
            </a:xfrm>
            <a:custGeom>
              <a:avLst/>
              <a:gdLst>
                <a:gd name="connsiteX0" fmla="*/ 88392 w 201263"/>
                <a:gd name="connsiteY0" fmla="*/ 235648 h 235648"/>
                <a:gd name="connsiteX1" fmla="*/ 51149 w 201263"/>
                <a:gd name="connsiteY1" fmla="*/ 228981 h 235648"/>
                <a:gd name="connsiteX2" fmla="*/ 23431 w 201263"/>
                <a:gd name="connsiteY2" fmla="*/ 210026 h 235648"/>
                <a:gd name="connsiteX3" fmla="*/ 6001 w 201263"/>
                <a:gd name="connsiteY3" fmla="*/ 180784 h 235648"/>
                <a:gd name="connsiteX4" fmla="*/ 0 w 201263"/>
                <a:gd name="connsiteY4" fmla="*/ 143256 h 235648"/>
                <a:gd name="connsiteX5" fmla="*/ 0 w 201263"/>
                <a:gd name="connsiteY5" fmla="*/ 0 h 235648"/>
                <a:gd name="connsiteX6" fmla="*/ 34385 w 201263"/>
                <a:gd name="connsiteY6" fmla="*/ 0 h 235648"/>
                <a:gd name="connsiteX7" fmla="*/ 34385 w 201263"/>
                <a:gd name="connsiteY7" fmla="*/ 134493 h 235648"/>
                <a:gd name="connsiteX8" fmla="*/ 50864 w 201263"/>
                <a:gd name="connsiteY8" fmla="*/ 185261 h 235648"/>
                <a:gd name="connsiteX9" fmla="*/ 98203 w 201263"/>
                <a:gd name="connsiteY9" fmla="*/ 203930 h 235648"/>
                <a:gd name="connsiteX10" fmla="*/ 125635 w 201263"/>
                <a:gd name="connsiteY10" fmla="*/ 198787 h 235648"/>
                <a:gd name="connsiteX11" fmla="*/ 147542 w 201263"/>
                <a:gd name="connsiteY11" fmla="*/ 184118 h 235648"/>
                <a:gd name="connsiteX12" fmla="*/ 162020 w 201263"/>
                <a:gd name="connsiteY12" fmla="*/ 161163 h 235648"/>
                <a:gd name="connsiteX13" fmla="*/ 167354 w 201263"/>
                <a:gd name="connsiteY13" fmla="*/ 131826 h 235648"/>
                <a:gd name="connsiteX14" fmla="*/ 167354 w 201263"/>
                <a:gd name="connsiteY14" fmla="*/ 0 h 235648"/>
                <a:gd name="connsiteX15" fmla="*/ 201263 w 201263"/>
                <a:gd name="connsiteY15" fmla="*/ 0 h 235648"/>
                <a:gd name="connsiteX16" fmla="*/ 201263 w 201263"/>
                <a:gd name="connsiteY16" fmla="*/ 230791 h 235648"/>
                <a:gd name="connsiteX17" fmla="*/ 167354 w 201263"/>
                <a:gd name="connsiteY17" fmla="*/ 230791 h 235648"/>
                <a:gd name="connsiteX18" fmla="*/ 167354 w 201263"/>
                <a:gd name="connsiteY18" fmla="*/ 190595 h 235648"/>
                <a:gd name="connsiteX19" fmla="*/ 136969 w 201263"/>
                <a:gd name="connsiteY19" fmla="*/ 222504 h 235648"/>
                <a:gd name="connsiteX20" fmla="*/ 88297 w 201263"/>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263" h="235648">
                  <a:moveTo>
                    <a:pt x="88392" y="235648"/>
                  </a:moveTo>
                  <a:cubicBezTo>
                    <a:pt x="74390" y="235648"/>
                    <a:pt x="62008" y="233363"/>
                    <a:pt x="51149" y="228981"/>
                  </a:cubicBezTo>
                  <a:cubicBezTo>
                    <a:pt x="40291" y="224504"/>
                    <a:pt x="31052" y="218218"/>
                    <a:pt x="23431"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864" y="185261"/>
                  </a:cubicBezTo>
                  <a:cubicBezTo>
                    <a:pt x="61913" y="197739"/>
                    <a:pt x="77629" y="203930"/>
                    <a:pt x="98203" y="203930"/>
                  </a:cubicBezTo>
                  <a:cubicBezTo>
                    <a:pt x="108014" y="203930"/>
                    <a:pt x="117158" y="202216"/>
                    <a:pt x="125635" y="198787"/>
                  </a:cubicBezTo>
                  <a:cubicBezTo>
                    <a:pt x="134112" y="195358"/>
                    <a:pt x="141351" y="190500"/>
                    <a:pt x="147542" y="184118"/>
                  </a:cubicBezTo>
                  <a:cubicBezTo>
                    <a:pt x="153638" y="177736"/>
                    <a:pt x="158496" y="170116"/>
                    <a:pt x="162020" y="161163"/>
                  </a:cubicBezTo>
                  <a:cubicBezTo>
                    <a:pt x="165640" y="152305"/>
                    <a:pt x="167354" y="142494"/>
                    <a:pt x="167354" y="131826"/>
                  </a:cubicBezTo>
                  <a:lnTo>
                    <a:pt x="167354" y="0"/>
                  </a:lnTo>
                  <a:lnTo>
                    <a:pt x="201263" y="0"/>
                  </a:lnTo>
                  <a:lnTo>
                    <a:pt x="201263" y="230791"/>
                  </a:lnTo>
                  <a:lnTo>
                    <a:pt x="167354" y="230791"/>
                  </a:lnTo>
                  <a:lnTo>
                    <a:pt x="167354" y="190595"/>
                  </a:lnTo>
                  <a:cubicBezTo>
                    <a:pt x="159639" y="203073"/>
                    <a:pt x="149447" y="213741"/>
                    <a:pt x="136969" y="222504"/>
                  </a:cubicBezTo>
                  <a:cubicBezTo>
                    <a:pt x="124492" y="231267"/>
                    <a:pt x="108299" y="235648"/>
                    <a:pt x="88297" y="235648"/>
                  </a:cubicBezTo>
                  <a:close/>
                </a:path>
              </a:pathLst>
            </a:custGeom>
            <a:solidFill>
              <a:srgbClr val="44505E"/>
            </a:solidFill>
            <a:ln w="9525" cap="flat">
              <a:noFill/>
              <a:prstDash val="solid"/>
              <a:miter/>
            </a:ln>
          </p:spPr>
          <p:txBody>
            <a:bodyPr rtlCol="0" anchor="ctr"/>
            <a:lstStyle/>
            <a:p>
              <a:endParaRPr lang="pt-BR" noProof="0"/>
            </a:p>
          </p:txBody>
        </p:sp>
        <p:sp>
          <p:nvSpPr>
            <p:cNvPr id="25" name="Freeform: Shape 37">
              <a:extLst>
                <a:ext uri="{FF2B5EF4-FFF2-40B4-BE49-F238E27FC236}">
                  <a16:creationId xmlns:a16="http://schemas.microsoft.com/office/drawing/2014/main" id="{E74C3D8E-5EDD-CA18-26F4-059C60774FA5}"/>
                </a:ext>
              </a:extLst>
            </p:cNvPr>
            <p:cNvSpPr/>
            <p:nvPr/>
          </p:nvSpPr>
          <p:spPr>
            <a:xfrm>
              <a:off x="5522205" y="901353"/>
              <a:ext cx="58567" cy="83182"/>
            </a:xfrm>
            <a:custGeom>
              <a:avLst/>
              <a:gdLst>
                <a:gd name="connsiteX0" fmla="*/ 110204 w 232981"/>
                <a:gd name="connsiteY0" fmla="*/ 330898 h 330898"/>
                <a:gd name="connsiteX1" fmla="*/ 69628 w 232981"/>
                <a:gd name="connsiteY1" fmla="*/ 322897 h 330898"/>
                <a:gd name="connsiteX2" fmla="*/ 34385 w 232981"/>
                <a:gd name="connsiteY2" fmla="*/ 299466 h 330898"/>
                <a:gd name="connsiteX3" fmla="*/ 9334 w 232981"/>
                <a:gd name="connsiteY3" fmla="*/ 261938 h 330898"/>
                <a:gd name="connsiteX4" fmla="*/ 0 w 232981"/>
                <a:gd name="connsiteY4" fmla="*/ 211264 h 330898"/>
                <a:gd name="connsiteX5" fmla="*/ 0 w 232981"/>
                <a:gd name="connsiteY5" fmla="*/ 210407 h 330898"/>
                <a:gd name="connsiteX6" fmla="*/ 9334 w 232981"/>
                <a:gd name="connsiteY6" fmla="*/ 159925 h 330898"/>
                <a:gd name="connsiteX7" fmla="*/ 34385 w 232981"/>
                <a:gd name="connsiteY7" fmla="*/ 122206 h 330898"/>
                <a:gd name="connsiteX8" fmla="*/ 69628 w 232981"/>
                <a:gd name="connsiteY8" fmla="*/ 98488 h 330898"/>
                <a:gd name="connsiteX9" fmla="*/ 110204 w 232981"/>
                <a:gd name="connsiteY9" fmla="*/ 90202 h 330898"/>
                <a:gd name="connsiteX10" fmla="*/ 139636 w 232981"/>
                <a:gd name="connsiteY10" fmla="*/ 94202 h 330898"/>
                <a:gd name="connsiteX11" fmla="*/ 163735 w 232981"/>
                <a:gd name="connsiteY11" fmla="*/ 104870 h 330898"/>
                <a:gd name="connsiteX12" fmla="*/ 183166 w 232981"/>
                <a:gd name="connsiteY12" fmla="*/ 120491 h 330898"/>
                <a:gd name="connsiteX13" fmla="*/ 198596 w 232981"/>
                <a:gd name="connsiteY13" fmla="*/ 139255 h 330898"/>
                <a:gd name="connsiteX14" fmla="*/ 198596 w 232981"/>
                <a:gd name="connsiteY14" fmla="*/ 0 h 330898"/>
                <a:gd name="connsiteX15" fmla="*/ 232981 w 232981"/>
                <a:gd name="connsiteY15" fmla="*/ 0 h 330898"/>
                <a:gd name="connsiteX16" fmla="*/ 232981 w 232981"/>
                <a:gd name="connsiteY16" fmla="*/ 325850 h 330898"/>
                <a:gd name="connsiteX17" fmla="*/ 198596 w 232981"/>
                <a:gd name="connsiteY17" fmla="*/ 325850 h 330898"/>
                <a:gd name="connsiteX18" fmla="*/ 198596 w 232981"/>
                <a:gd name="connsiteY18" fmla="*/ 279463 h 330898"/>
                <a:gd name="connsiteX19" fmla="*/ 182785 w 232981"/>
                <a:gd name="connsiteY19" fmla="*/ 299085 h 330898"/>
                <a:gd name="connsiteX20" fmla="*/ 163354 w 232981"/>
                <a:gd name="connsiteY20" fmla="*/ 315658 h 330898"/>
                <a:gd name="connsiteX21" fmla="*/ 139446 w 232981"/>
                <a:gd name="connsiteY21" fmla="*/ 326803 h 330898"/>
                <a:gd name="connsiteX22" fmla="*/ 110204 w 232981"/>
                <a:gd name="connsiteY22" fmla="*/ 330803 h 330898"/>
                <a:gd name="connsiteX23" fmla="*/ 116491 w 232981"/>
                <a:gd name="connsiteY23" fmla="*/ 300133 h 330898"/>
                <a:gd name="connsiteX24" fmla="*/ 147542 w 232981"/>
                <a:gd name="connsiteY24" fmla="*/ 293656 h 330898"/>
                <a:gd name="connsiteX25" fmla="*/ 174307 w 232981"/>
                <a:gd name="connsiteY25" fmla="*/ 275368 h 330898"/>
                <a:gd name="connsiteX26" fmla="*/ 193072 w 232981"/>
                <a:gd name="connsiteY26" fmla="*/ 247269 h 330898"/>
                <a:gd name="connsiteX27" fmla="*/ 200025 w 232981"/>
                <a:gd name="connsiteY27" fmla="*/ 210883 h 330898"/>
                <a:gd name="connsiteX28" fmla="*/ 200025 w 232981"/>
                <a:gd name="connsiteY28" fmla="*/ 210026 h 330898"/>
                <a:gd name="connsiteX29" fmla="*/ 193072 w 232981"/>
                <a:gd name="connsiteY29" fmla="*/ 173641 h 330898"/>
                <a:gd name="connsiteX30" fmla="*/ 174307 w 232981"/>
                <a:gd name="connsiteY30" fmla="*/ 145732 h 330898"/>
                <a:gd name="connsiteX31" fmla="*/ 147542 w 232981"/>
                <a:gd name="connsiteY31" fmla="*/ 127635 h 330898"/>
                <a:gd name="connsiteX32" fmla="*/ 116491 w 232981"/>
                <a:gd name="connsiteY32" fmla="*/ 121158 h 330898"/>
                <a:gd name="connsiteX33" fmla="*/ 84772 w 232981"/>
                <a:gd name="connsiteY33" fmla="*/ 127159 h 330898"/>
                <a:gd name="connsiteX34" fmla="*/ 59150 w 232981"/>
                <a:gd name="connsiteY34" fmla="*/ 144589 h 330898"/>
                <a:gd name="connsiteX35" fmla="*/ 41719 w 232981"/>
                <a:gd name="connsiteY35" fmla="*/ 172498 h 330898"/>
                <a:gd name="connsiteX36" fmla="*/ 35242 w 232981"/>
                <a:gd name="connsiteY36" fmla="*/ 210026 h 330898"/>
                <a:gd name="connsiteX37" fmla="*/ 35242 w 232981"/>
                <a:gd name="connsiteY37" fmla="*/ 210883 h 330898"/>
                <a:gd name="connsiteX38" fmla="*/ 41719 w 232981"/>
                <a:gd name="connsiteY38" fmla="*/ 247936 h 330898"/>
                <a:gd name="connsiteX39" fmla="*/ 59341 w 232981"/>
                <a:gd name="connsiteY39" fmla="*/ 276034 h 330898"/>
                <a:gd name="connsiteX40" fmla="*/ 85249 w 232981"/>
                <a:gd name="connsiteY40" fmla="*/ 293941 h 330898"/>
                <a:gd name="connsiteX41" fmla="*/ 116491 w 23298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30898">
                  <a:moveTo>
                    <a:pt x="110204" y="330898"/>
                  </a:moveTo>
                  <a:cubicBezTo>
                    <a:pt x="96202" y="330898"/>
                    <a:pt x="82677" y="328231"/>
                    <a:pt x="69628" y="322897"/>
                  </a:cubicBezTo>
                  <a:cubicBezTo>
                    <a:pt x="56578" y="317563"/>
                    <a:pt x="44767" y="309753"/>
                    <a:pt x="34385" y="299466"/>
                  </a:cubicBezTo>
                  <a:cubicBezTo>
                    <a:pt x="24003" y="289179"/>
                    <a:pt x="15621" y="276701"/>
                    <a:pt x="9334" y="261938"/>
                  </a:cubicBezTo>
                  <a:cubicBezTo>
                    <a:pt x="3048" y="247174"/>
                    <a:pt x="0" y="230314"/>
                    <a:pt x="0" y="211264"/>
                  </a:cubicBezTo>
                  <a:lnTo>
                    <a:pt x="0" y="210407"/>
                  </a:lnTo>
                  <a:cubicBezTo>
                    <a:pt x="0" y="191643"/>
                    <a:pt x="3143" y="174879"/>
                    <a:pt x="9334" y="159925"/>
                  </a:cubicBezTo>
                  <a:cubicBezTo>
                    <a:pt x="15621" y="145066"/>
                    <a:pt x="23908" y="132493"/>
                    <a:pt x="34385" y="122206"/>
                  </a:cubicBezTo>
                  <a:cubicBezTo>
                    <a:pt x="44767" y="111919"/>
                    <a:pt x="56578" y="104013"/>
                    <a:pt x="69628" y="98488"/>
                  </a:cubicBezTo>
                  <a:cubicBezTo>
                    <a:pt x="82677" y="92964"/>
                    <a:pt x="96298" y="90202"/>
                    <a:pt x="110204" y="90202"/>
                  </a:cubicBezTo>
                  <a:cubicBezTo>
                    <a:pt x="120967" y="90202"/>
                    <a:pt x="130778" y="91535"/>
                    <a:pt x="139636" y="94202"/>
                  </a:cubicBezTo>
                  <a:cubicBezTo>
                    <a:pt x="148590" y="96869"/>
                    <a:pt x="156591" y="100489"/>
                    <a:pt x="163735" y="104870"/>
                  </a:cubicBezTo>
                  <a:cubicBezTo>
                    <a:pt x="170878" y="109347"/>
                    <a:pt x="177356" y="114586"/>
                    <a:pt x="183166" y="120491"/>
                  </a:cubicBezTo>
                  <a:cubicBezTo>
                    <a:pt x="188976" y="126492"/>
                    <a:pt x="194119" y="132683"/>
                    <a:pt x="198596" y="139255"/>
                  </a:cubicBezTo>
                  <a:lnTo>
                    <a:pt x="198596" y="0"/>
                  </a:lnTo>
                  <a:lnTo>
                    <a:pt x="232981" y="0"/>
                  </a:lnTo>
                  <a:lnTo>
                    <a:pt x="232981" y="325850"/>
                  </a:lnTo>
                  <a:lnTo>
                    <a:pt x="198596" y="325850"/>
                  </a:lnTo>
                  <a:lnTo>
                    <a:pt x="198596" y="279463"/>
                  </a:lnTo>
                  <a:cubicBezTo>
                    <a:pt x="193834" y="286321"/>
                    <a:pt x="188595" y="292894"/>
                    <a:pt x="182785" y="299085"/>
                  </a:cubicBezTo>
                  <a:cubicBezTo>
                    <a:pt x="176974" y="305371"/>
                    <a:pt x="170498" y="310896"/>
                    <a:pt x="163354" y="315658"/>
                  </a:cubicBezTo>
                  <a:cubicBezTo>
                    <a:pt x="156210" y="320421"/>
                    <a:pt x="148209" y="324136"/>
                    <a:pt x="139446" y="326803"/>
                  </a:cubicBezTo>
                  <a:cubicBezTo>
                    <a:pt x="130683" y="329470"/>
                    <a:pt x="120967" y="330803"/>
                    <a:pt x="110204" y="330803"/>
                  </a:cubicBezTo>
                  <a:close/>
                  <a:moveTo>
                    <a:pt x="116491" y="300133"/>
                  </a:moveTo>
                  <a:cubicBezTo>
                    <a:pt x="127159" y="300133"/>
                    <a:pt x="137541" y="297942"/>
                    <a:pt x="147542" y="293656"/>
                  </a:cubicBezTo>
                  <a:cubicBezTo>
                    <a:pt x="157544" y="289369"/>
                    <a:pt x="166402" y="283273"/>
                    <a:pt x="174307" y="275368"/>
                  </a:cubicBezTo>
                  <a:cubicBezTo>
                    <a:pt x="182213" y="267462"/>
                    <a:pt x="188404" y="258127"/>
                    <a:pt x="193072" y="247269"/>
                  </a:cubicBezTo>
                  <a:cubicBezTo>
                    <a:pt x="197644" y="236410"/>
                    <a:pt x="200025" y="224314"/>
                    <a:pt x="200025" y="210883"/>
                  </a:cubicBezTo>
                  <a:lnTo>
                    <a:pt x="200025" y="210026"/>
                  </a:lnTo>
                  <a:cubicBezTo>
                    <a:pt x="200025" y="196596"/>
                    <a:pt x="197739" y="184499"/>
                    <a:pt x="193072" y="173641"/>
                  </a:cubicBezTo>
                  <a:cubicBezTo>
                    <a:pt x="188500" y="162782"/>
                    <a:pt x="182213" y="153448"/>
                    <a:pt x="174307" y="145732"/>
                  </a:cubicBezTo>
                  <a:cubicBezTo>
                    <a:pt x="166402" y="138017"/>
                    <a:pt x="157448" y="132016"/>
                    <a:pt x="147542" y="127635"/>
                  </a:cubicBezTo>
                  <a:cubicBezTo>
                    <a:pt x="137541" y="123349"/>
                    <a:pt x="127254" y="121158"/>
                    <a:pt x="116491" y="121158"/>
                  </a:cubicBezTo>
                  <a:cubicBezTo>
                    <a:pt x="105156" y="121158"/>
                    <a:pt x="94583" y="123158"/>
                    <a:pt x="84772" y="127159"/>
                  </a:cubicBezTo>
                  <a:cubicBezTo>
                    <a:pt x="74962" y="131159"/>
                    <a:pt x="66389" y="136969"/>
                    <a:pt x="59150" y="144589"/>
                  </a:cubicBezTo>
                  <a:cubicBezTo>
                    <a:pt x="51816" y="152114"/>
                    <a:pt x="46101" y="161449"/>
                    <a:pt x="41719" y="172498"/>
                  </a:cubicBezTo>
                  <a:cubicBezTo>
                    <a:pt x="37433" y="183451"/>
                    <a:pt x="35242" y="196024"/>
                    <a:pt x="35242" y="210026"/>
                  </a:cubicBezTo>
                  <a:lnTo>
                    <a:pt x="35242" y="210883"/>
                  </a:lnTo>
                  <a:cubicBezTo>
                    <a:pt x="35242" y="224599"/>
                    <a:pt x="37433" y="236982"/>
                    <a:pt x="41719" y="247936"/>
                  </a:cubicBezTo>
                  <a:cubicBezTo>
                    <a:pt x="46006" y="258984"/>
                    <a:pt x="51911" y="268319"/>
                    <a:pt x="59341" y="276034"/>
                  </a:cubicBezTo>
                  <a:cubicBezTo>
                    <a:pt x="66770" y="283750"/>
                    <a:pt x="75438" y="289750"/>
                    <a:pt x="85249" y="293941"/>
                  </a:cubicBezTo>
                  <a:cubicBezTo>
                    <a:pt x="95059" y="298132"/>
                    <a:pt x="105442" y="300228"/>
                    <a:pt x="116491" y="300228"/>
                  </a:cubicBezTo>
                  <a:close/>
                </a:path>
              </a:pathLst>
            </a:custGeom>
            <a:solidFill>
              <a:srgbClr val="44505E"/>
            </a:solidFill>
            <a:ln w="9525" cap="flat">
              <a:noFill/>
              <a:prstDash val="solid"/>
              <a:miter/>
            </a:ln>
          </p:spPr>
          <p:txBody>
            <a:bodyPr rtlCol="0" anchor="ctr"/>
            <a:lstStyle/>
            <a:p>
              <a:endParaRPr lang="pt-BR" noProof="0"/>
            </a:p>
          </p:txBody>
        </p:sp>
        <p:sp>
          <p:nvSpPr>
            <p:cNvPr id="26" name="Freeform: Shape 38">
              <a:extLst>
                <a:ext uri="{FF2B5EF4-FFF2-40B4-BE49-F238E27FC236}">
                  <a16:creationId xmlns:a16="http://schemas.microsoft.com/office/drawing/2014/main" id="{F8CDE506-2FC7-48FD-3E93-BE60DC87306F}"/>
                </a:ext>
              </a:extLst>
            </p:cNvPr>
            <p:cNvSpPr/>
            <p:nvPr/>
          </p:nvSpPr>
          <p:spPr>
            <a:xfrm>
              <a:off x="5596504"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6963 w 218217"/>
                <a:gd name="connsiteY3" fmla="*/ 206026 h 241077"/>
                <a:gd name="connsiteX4" fmla="*/ 116015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8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1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452 w 218217"/>
                <a:gd name="connsiteY25" fmla="*/ 106299 h 241077"/>
                <a:gd name="connsiteX26" fmla="*/ 176784 w 218217"/>
                <a:gd name="connsiteY26" fmla="*/ 76771 h 241077"/>
                <a:gd name="connsiteX27" fmla="*/ 162306 w 218217"/>
                <a:gd name="connsiteY27" fmla="*/ 52101 h 241077"/>
                <a:gd name="connsiteX28" fmla="*/ 140018 w 218217"/>
                <a:gd name="connsiteY28" fmla="*/ 35242 h 241077"/>
                <a:gd name="connsiteX29" fmla="*/ 109919 w 218217"/>
                <a:gd name="connsiteY29" fmla="*/ 29051 h 241077"/>
                <a:gd name="connsiteX30" fmla="*/ 82201 w 218217"/>
                <a:gd name="connsiteY30" fmla="*/ 34766 h 241077"/>
                <a:gd name="connsiteX31" fmla="*/ 59436 w 218217"/>
                <a:gd name="connsiteY31" fmla="*/ 50959 h 241077"/>
                <a:gd name="connsiteX32" fmla="*/ 43148 w 218217"/>
                <a:gd name="connsiteY32" fmla="*/ 75628 h 241077"/>
                <a:gd name="connsiteX33" fmla="*/ 34862 w 218217"/>
                <a:gd name="connsiteY33" fmla="*/ 106204 h 241077"/>
                <a:gd name="connsiteX34" fmla="*/ 183547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724" y="202597"/>
                    <a:pt x="86963" y="206026"/>
                  </a:cubicBezTo>
                  <a:cubicBezTo>
                    <a:pt x="96203" y="209455"/>
                    <a:pt x="105823" y="211169"/>
                    <a:pt x="116015" y="211169"/>
                  </a:cubicBezTo>
                  <a:cubicBezTo>
                    <a:pt x="132112" y="211169"/>
                    <a:pt x="145828" y="208216"/>
                    <a:pt x="157353" y="202216"/>
                  </a:cubicBezTo>
                  <a:cubicBezTo>
                    <a:pt x="168783" y="196310"/>
                    <a:pt x="179261" y="188404"/>
                    <a:pt x="188786" y="178594"/>
                  </a:cubicBezTo>
                  <a:lnTo>
                    <a:pt x="210217" y="197834"/>
                  </a:lnTo>
                  <a:cubicBezTo>
                    <a:pt x="198596" y="210979"/>
                    <a:pt x="185357" y="221361"/>
                    <a:pt x="170498" y="229267"/>
                  </a:cubicBezTo>
                  <a:cubicBezTo>
                    <a:pt x="155639"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679" y="0"/>
                    <a:pt x="110681"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452" y="106299"/>
                  </a:moveTo>
                  <a:cubicBezTo>
                    <a:pt x="182594" y="95917"/>
                    <a:pt x="180308" y="86106"/>
                    <a:pt x="176784" y="76771"/>
                  </a:cubicBezTo>
                  <a:cubicBezTo>
                    <a:pt x="173165" y="67437"/>
                    <a:pt x="168402" y="59245"/>
                    <a:pt x="162306" y="52101"/>
                  </a:cubicBezTo>
                  <a:cubicBezTo>
                    <a:pt x="156210" y="44958"/>
                    <a:pt x="148781" y="39338"/>
                    <a:pt x="140018" y="35242"/>
                  </a:cubicBezTo>
                  <a:cubicBezTo>
                    <a:pt x="131254" y="31147"/>
                    <a:pt x="121158" y="29051"/>
                    <a:pt x="109919" y="29051"/>
                  </a:cubicBezTo>
                  <a:cubicBezTo>
                    <a:pt x="100108" y="29051"/>
                    <a:pt x="90869" y="30956"/>
                    <a:pt x="82201" y="34766"/>
                  </a:cubicBezTo>
                  <a:cubicBezTo>
                    <a:pt x="73533" y="38671"/>
                    <a:pt x="66008" y="44005"/>
                    <a:pt x="59436" y="50959"/>
                  </a:cubicBezTo>
                  <a:cubicBezTo>
                    <a:pt x="52864" y="57912"/>
                    <a:pt x="47435" y="66103"/>
                    <a:pt x="43148" y="75628"/>
                  </a:cubicBezTo>
                  <a:cubicBezTo>
                    <a:pt x="38862" y="85058"/>
                    <a:pt x="36100" y="95345"/>
                    <a:pt x="34862" y="106204"/>
                  </a:cubicBezTo>
                  <a:lnTo>
                    <a:pt x="183547" y="106204"/>
                  </a:lnTo>
                  <a:close/>
                </a:path>
              </a:pathLst>
            </a:custGeom>
            <a:solidFill>
              <a:srgbClr val="44505E"/>
            </a:solidFill>
            <a:ln w="9525" cap="flat">
              <a:noFill/>
              <a:prstDash val="solid"/>
              <a:miter/>
            </a:ln>
          </p:spPr>
          <p:txBody>
            <a:bodyPr rtlCol="0" anchor="ctr"/>
            <a:lstStyle/>
            <a:p>
              <a:endParaRPr lang="pt-BR" noProof="0"/>
            </a:p>
          </p:txBody>
        </p:sp>
        <p:sp>
          <p:nvSpPr>
            <p:cNvPr id="27" name="Freeform: Shape 39">
              <a:extLst>
                <a:ext uri="{FF2B5EF4-FFF2-40B4-BE49-F238E27FC236}">
                  <a16:creationId xmlns:a16="http://schemas.microsoft.com/office/drawing/2014/main" id="{D0C22490-0D3D-5401-C66E-8B751E00F878}"/>
                </a:ext>
              </a:extLst>
            </p:cNvPr>
            <p:cNvSpPr/>
            <p:nvPr/>
          </p:nvSpPr>
          <p:spPr>
            <a:xfrm>
              <a:off x="5661680" y="924268"/>
              <a:ext cx="44656" cy="60195"/>
            </a:xfrm>
            <a:custGeom>
              <a:avLst/>
              <a:gdLst>
                <a:gd name="connsiteX0" fmla="*/ 95536 w 177641"/>
                <a:gd name="connsiteY0" fmla="*/ 239268 h 239458"/>
                <a:gd name="connsiteX1" fmla="*/ 45053 w 177641"/>
                <a:gd name="connsiteY1" fmla="*/ 230124 h 239458"/>
                <a:gd name="connsiteX2" fmla="*/ 0 w 177641"/>
                <a:gd name="connsiteY2" fmla="*/ 205359 h 239458"/>
                <a:gd name="connsiteX3" fmla="*/ 17431 w 177641"/>
                <a:gd name="connsiteY3" fmla="*/ 180785 h 239458"/>
                <a:gd name="connsiteX4" fmla="*/ 56483 w 177641"/>
                <a:gd name="connsiteY4" fmla="*/ 202692 h 239458"/>
                <a:gd name="connsiteX5" fmla="*/ 97346 w 177641"/>
                <a:gd name="connsiteY5" fmla="*/ 210217 h 239458"/>
                <a:gd name="connsiteX6" fmla="*/ 131731 w 177641"/>
                <a:gd name="connsiteY6" fmla="*/ 200406 h 239458"/>
                <a:gd name="connsiteX7" fmla="*/ 145161 w 177641"/>
                <a:gd name="connsiteY7" fmla="*/ 173641 h 239458"/>
                <a:gd name="connsiteX8" fmla="*/ 145161 w 177641"/>
                <a:gd name="connsiteY8" fmla="*/ 172784 h 239458"/>
                <a:gd name="connsiteX9" fmla="*/ 140494 w 177641"/>
                <a:gd name="connsiteY9" fmla="*/ 158020 h 239458"/>
                <a:gd name="connsiteX10" fmla="*/ 127730 w 177641"/>
                <a:gd name="connsiteY10" fmla="*/ 147066 h 239458"/>
                <a:gd name="connsiteX11" fmla="*/ 109157 w 177641"/>
                <a:gd name="connsiteY11" fmla="*/ 138779 h 239458"/>
                <a:gd name="connsiteX12" fmla="*/ 87535 w 177641"/>
                <a:gd name="connsiteY12" fmla="*/ 132112 h 239458"/>
                <a:gd name="connsiteX13" fmla="*/ 60484 w 177641"/>
                <a:gd name="connsiteY13" fmla="*/ 123444 h 239458"/>
                <a:gd name="connsiteX14" fmla="*/ 35909 w 177641"/>
                <a:gd name="connsiteY14" fmla="*/ 111633 h 239458"/>
                <a:gd name="connsiteX15" fmla="*/ 18098 w 177641"/>
                <a:gd name="connsiteY15" fmla="*/ 93726 h 239458"/>
                <a:gd name="connsiteX16" fmla="*/ 11144 w 177641"/>
                <a:gd name="connsiteY16" fmla="*/ 66961 h 239458"/>
                <a:gd name="connsiteX17" fmla="*/ 11144 w 177641"/>
                <a:gd name="connsiteY17" fmla="*/ 66008 h 239458"/>
                <a:gd name="connsiteX18" fmla="*/ 16954 w 177641"/>
                <a:gd name="connsiteY18" fmla="*/ 39053 h 239458"/>
                <a:gd name="connsiteX19" fmla="*/ 33242 w 177641"/>
                <a:gd name="connsiteY19" fmla="*/ 18098 h 239458"/>
                <a:gd name="connsiteX20" fmla="*/ 58293 w 177641"/>
                <a:gd name="connsiteY20" fmla="*/ 4667 h 239458"/>
                <a:gd name="connsiteX21" fmla="*/ 89725 w 177641"/>
                <a:gd name="connsiteY21" fmla="*/ 0 h 239458"/>
                <a:gd name="connsiteX22" fmla="*/ 133064 w 177641"/>
                <a:gd name="connsiteY22" fmla="*/ 6953 h 239458"/>
                <a:gd name="connsiteX23" fmla="*/ 172784 w 177641"/>
                <a:gd name="connsiteY23" fmla="*/ 25527 h 239458"/>
                <a:gd name="connsiteX24" fmla="*/ 157163 w 177641"/>
                <a:gd name="connsiteY24" fmla="*/ 51435 h 239458"/>
                <a:gd name="connsiteX25" fmla="*/ 123444 w 177641"/>
                <a:gd name="connsiteY25" fmla="*/ 35147 h 239458"/>
                <a:gd name="connsiteX26" fmla="*/ 88868 w 177641"/>
                <a:gd name="connsiteY26" fmla="*/ 29146 h 239458"/>
                <a:gd name="connsiteX27" fmla="*/ 56293 w 177641"/>
                <a:gd name="connsiteY27" fmla="*/ 38767 h 239458"/>
                <a:gd name="connsiteX28" fmla="*/ 44196 w 177641"/>
                <a:gd name="connsiteY28" fmla="*/ 62675 h 239458"/>
                <a:gd name="connsiteX29" fmla="*/ 44196 w 177641"/>
                <a:gd name="connsiteY29" fmla="*/ 63627 h 239458"/>
                <a:gd name="connsiteX30" fmla="*/ 49149 w 177641"/>
                <a:gd name="connsiteY30" fmla="*/ 77724 h 239458"/>
                <a:gd name="connsiteX31" fmla="*/ 62294 w 177641"/>
                <a:gd name="connsiteY31" fmla="*/ 88202 h 239458"/>
                <a:gd name="connsiteX32" fmla="*/ 81248 w 177641"/>
                <a:gd name="connsiteY32" fmla="*/ 96203 h 239458"/>
                <a:gd name="connsiteX33" fmla="*/ 103537 w 177641"/>
                <a:gd name="connsiteY33" fmla="*/ 103346 h 239458"/>
                <a:gd name="connsiteX34" fmla="*/ 130112 w 177641"/>
                <a:gd name="connsiteY34" fmla="*/ 112300 h 239458"/>
                <a:gd name="connsiteX35" fmla="*/ 154019 w 177641"/>
                <a:gd name="connsiteY35" fmla="*/ 124778 h 239458"/>
                <a:gd name="connsiteX36" fmla="*/ 171164 w 177641"/>
                <a:gd name="connsiteY36" fmla="*/ 143066 h 239458"/>
                <a:gd name="connsiteX37" fmla="*/ 177641 w 177641"/>
                <a:gd name="connsiteY37" fmla="*/ 169450 h 239458"/>
                <a:gd name="connsiteX38" fmla="*/ 177641 w 177641"/>
                <a:gd name="connsiteY38" fmla="*/ 170307 h 239458"/>
                <a:gd name="connsiteX39" fmla="*/ 171164 w 177641"/>
                <a:gd name="connsiteY39" fmla="*/ 199549 h 239458"/>
                <a:gd name="connsiteX40" fmla="*/ 153734 w 177641"/>
                <a:gd name="connsiteY40" fmla="*/ 221171 h 239458"/>
                <a:gd name="connsiteX41" fmla="*/ 127825 w 177641"/>
                <a:gd name="connsiteY41" fmla="*/ 234791 h 239458"/>
                <a:gd name="connsiteX42" fmla="*/ 95441 w 177641"/>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641" h="239458">
                  <a:moveTo>
                    <a:pt x="95536" y="239268"/>
                  </a:moveTo>
                  <a:cubicBezTo>
                    <a:pt x="78867" y="239268"/>
                    <a:pt x="62008" y="236220"/>
                    <a:pt x="45053" y="230124"/>
                  </a:cubicBezTo>
                  <a:cubicBezTo>
                    <a:pt x="28099" y="224028"/>
                    <a:pt x="13049" y="215741"/>
                    <a:pt x="0" y="205359"/>
                  </a:cubicBezTo>
                  <a:lnTo>
                    <a:pt x="17431" y="180785"/>
                  </a:lnTo>
                  <a:cubicBezTo>
                    <a:pt x="29908"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542" y="162211"/>
                    <a:pt x="140494" y="158020"/>
                  </a:cubicBezTo>
                  <a:cubicBezTo>
                    <a:pt x="137350" y="153829"/>
                    <a:pt x="133160" y="150209"/>
                    <a:pt x="127730" y="147066"/>
                  </a:cubicBezTo>
                  <a:cubicBezTo>
                    <a:pt x="122396" y="143923"/>
                    <a:pt x="116205" y="141161"/>
                    <a:pt x="109157" y="138779"/>
                  </a:cubicBezTo>
                  <a:cubicBezTo>
                    <a:pt x="102203" y="136398"/>
                    <a:pt x="94964" y="134207"/>
                    <a:pt x="87535" y="132112"/>
                  </a:cubicBezTo>
                  <a:cubicBezTo>
                    <a:pt x="78581" y="129445"/>
                    <a:pt x="69628" y="126492"/>
                    <a:pt x="60484" y="123444"/>
                  </a:cubicBezTo>
                  <a:cubicBezTo>
                    <a:pt x="51435" y="120301"/>
                    <a:pt x="43244" y="116396"/>
                    <a:pt x="35909" y="111633"/>
                  </a:cubicBezTo>
                  <a:cubicBezTo>
                    <a:pt x="28575" y="106871"/>
                    <a:pt x="22670" y="100870"/>
                    <a:pt x="18098" y="93726"/>
                  </a:cubicBezTo>
                  <a:cubicBezTo>
                    <a:pt x="13525" y="86582"/>
                    <a:pt x="11144" y="77629"/>
                    <a:pt x="11144" y="66961"/>
                  </a:cubicBezTo>
                  <a:lnTo>
                    <a:pt x="11144" y="66008"/>
                  </a:lnTo>
                  <a:cubicBezTo>
                    <a:pt x="11144" y="56198"/>
                    <a:pt x="13049" y="47149"/>
                    <a:pt x="16954" y="39053"/>
                  </a:cubicBezTo>
                  <a:cubicBezTo>
                    <a:pt x="20860" y="30861"/>
                    <a:pt x="26289" y="23908"/>
                    <a:pt x="33242" y="18098"/>
                  </a:cubicBezTo>
                  <a:cubicBezTo>
                    <a:pt x="40196" y="12287"/>
                    <a:pt x="48578" y="7811"/>
                    <a:pt x="58293" y="4667"/>
                  </a:cubicBezTo>
                  <a:cubicBezTo>
                    <a:pt x="67913" y="1524"/>
                    <a:pt x="78486" y="0"/>
                    <a:pt x="89725" y="0"/>
                  </a:cubicBezTo>
                  <a:cubicBezTo>
                    <a:pt x="104013" y="0"/>
                    <a:pt x="118396" y="2286"/>
                    <a:pt x="133064" y="6953"/>
                  </a:cubicBezTo>
                  <a:cubicBezTo>
                    <a:pt x="147638" y="11621"/>
                    <a:pt x="160877" y="17717"/>
                    <a:pt x="172784" y="25527"/>
                  </a:cubicBezTo>
                  <a:lnTo>
                    <a:pt x="157163" y="51435"/>
                  </a:lnTo>
                  <a:cubicBezTo>
                    <a:pt x="146399" y="44577"/>
                    <a:pt x="135255" y="39148"/>
                    <a:pt x="123444" y="35147"/>
                  </a:cubicBezTo>
                  <a:cubicBezTo>
                    <a:pt x="111728" y="31147"/>
                    <a:pt x="100203" y="29146"/>
                    <a:pt x="88868" y="29146"/>
                  </a:cubicBezTo>
                  <a:cubicBezTo>
                    <a:pt x="75152" y="29146"/>
                    <a:pt x="64294" y="32385"/>
                    <a:pt x="56293" y="38767"/>
                  </a:cubicBezTo>
                  <a:cubicBezTo>
                    <a:pt x="48292" y="45149"/>
                    <a:pt x="44196" y="53150"/>
                    <a:pt x="44196" y="62675"/>
                  </a:cubicBezTo>
                  <a:lnTo>
                    <a:pt x="44196" y="63627"/>
                  </a:lnTo>
                  <a:cubicBezTo>
                    <a:pt x="44196" y="68961"/>
                    <a:pt x="45815" y="73628"/>
                    <a:pt x="49149" y="77724"/>
                  </a:cubicBezTo>
                  <a:cubicBezTo>
                    <a:pt x="52388" y="81725"/>
                    <a:pt x="56769" y="85249"/>
                    <a:pt x="62294" y="88202"/>
                  </a:cubicBezTo>
                  <a:cubicBezTo>
                    <a:pt x="67818" y="91154"/>
                    <a:pt x="74104" y="93821"/>
                    <a:pt x="81248" y="96203"/>
                  </a:cubicBezTo>
                  <a:cubicBezTo>
                    <a:pt x="88392" y="98584"/>
                    <a:pt x="95821" y="100965"/>
                    <a:pt x="103537" y="103346"/>
                  </a:cubicBezTo>
                  <a:cubicBezTo>
                    <a:pt x="112490" y="106013"/>
                    <a:pt x="121349" y="108966"/>
                    <a:pt x="130112" y="112300"/>
                  </a:cubicBezTo>
                  <a:cubicBezTo>
                    <a:pt x="138875" y="115538"/>
                    <a:pt x="146875" y="119729"/>
                    <a:pt x="154019" y="124778"/>
                  </a:cubicBezTo>
                  <a:cubicBezTo>
                    <a:pt x="161163" y="129826"/>
                    <a:pt x="166878" y="135922"/>
                    <a:pt x="171164" y="143066"/>
                  </a:cubicBezTo>
                  <a:cubicBezTo>
                    <a:pt x="175450" y="150209"/>
                    <a:pt x="177641" y="158972"/>
                    <a:pt x="177641" y="169450"/>
                  </a:cubicBezTo>
                  <a:lnTo>
                    <a:pt x="177641" y="170307"/>
                  </a:lnTo>
                  <a:cubicBezTo>
                    <a:pt x="177641" y="181356"/>
                    <a:pt x="175450" y="191071"/>
                    <a:pt x="171164" y="199549"/>
                  </a:cubicBezTo>
                  <a:cubicBezTo>
                    <a:pt x="166878" y="208026"/>
                    <a:pt x="161068" y="215265"/>
                    <a:pt x="153734" y="221171"/>
                  </a:cubicBezTo>
                  <a:cubicBezTo>
                    <a:pt x="146495" y="227171"/>
                    <a:pt x="137827" y="231648"/>
                    <a:pt x="127825" y="234791"/>
                  </a:cubicBezTo>
                  <a:cubicBezTo>
                    <a:pt x="117824" y="237935"/>
                    <a:pt x="107061" y="239459"/>
                    <a:pt x="95441" y="239459"/>
                  </a:cubicBezTo>
                  <a:close/>
                </a:path>
              </a:pathLst>
            </a:custGeom>
            <a:solidFill>
              <a:srgbClr val="44505E"/>
            </a:solidFill>
            <a:ln w="9525" cap="flat">
              <a:noFill/>
              <a:prstDash val="solid"/>
              <a:miter/>
            </a:ln>
          </p:spPr>
          <p:txBody>
            <a:bodyPr rtlCol="0" anchor="ctr"/>
            <a:lstStyle/>
            <a:p>
              <a:endParaRPr lang="pt-BR" noProof="0"/>
            </a:p>
          </p:txBody>
        </p:sp>
        <p:sp>
          <p:nvSpPr>
            <p:cNvPr id="28" name="Freeform: Shape 40">
              <a:extLst>
                <a:ext uri="{FF2B5EF4-FFF2-40B4-BE49-F238E27FC236}">
                  <a16:creationId xmlns:a16="http://schemas.microsoft.com/office/drawing/2014/main" id="{F7E42C72-5B68-DAF3-4700-EB4729196A32}"/>
                </a:ext>
              </a:extLst>
            </p:cNvPr>
            <p:cNvSpPr/>
            <p:nvPr/>
          </p:nvSpPr>
          <p:spPr>
            <a:xfrm>
              <a:off x="5752668" y="924028"/>
              <a:ext cx="58567" cy="77196"/>
            </a:xfrm>
            <a:custGeom>
              <a:avLst/>
              <a:gdLst>
                <a:gd name="connsiteX0" fmla="*/ 198596 w 232981"/>
                <a:gd name="connsiteY0" fmla="*/ 189357 h 307085"/>
                <a:gd name="connsiteX1" fmla="*/ 182785 w 232981"/>
                <a:gd name="connsiteY1" fmla="*/ 208978 h 307085"/>
                <a:gd name="connsiteX2" fmla="*/ 163354 w 232981"/>
                <a:gd name="connsiteY2" fmla="*/ 225552 h 307085"/>
                <a:gd name="connsiteX3" fmla="*/ 139446 w 232981"/>
                <a:gd name="connsiteY3" fmla="*/ 236696 h 307085"/>
                <a:gd name="connsiteX4" fmla="*/ 110204 w 232981"/>
                <a:gd name="connsiteY4" fmla="*/ 240697 h 307085"/>
                <a:gd name="connsiteX5" fmla="*/ 69628 w 232981"/>
                <a:gd name="connsiteY5" fmla="*/ 232696 h 307085"/>
                <a:gd name="connsiteX6" fmla="*/ 34385 w 232981"/>
                <a:gd name="connsiteY6" fmla="*/ 209264 h 307085"/>
                <a:gd name="connsiteX7" fmla="*/ 9335 w 232981"/>
                <a:gd name="connsiteY7" fmla="*/ 171736 h 307085"/>
                <a:gd name="connsiteX8" fmla="*/ 0 w 232981"/>
                <a:gd name="connsiteY8" fmla="*/ 121063 h 307085"/>
                <a:gd name="connsiteX9" fmla="*/ 0 w 232981"/>
                <a:gd name="connsiteY9" fmla="*/ 120205 h 307085"/>
                <a:gd name="connsiteX10" fmla="*/ 9335 w 232981"/>
                <a:gd name="connsiteY10" fmla="*/ 69723 h 307085"/>
                <a:gd name="connsiteX11" fmla="*/ 34385 w 232981"/>
                <a:gd name="connsiteY11" fmla="*/ 32004 h 307085"/>
                <a:gd name="connsiteX12" fmla="*/ 69628 w 232981"/>
                <a:gd name="connsiteY12" fmla="*/ 8287 h 307085"/>
                <a:gd name="connsiteX13" fmla="*/ 110204 w 232981"/>
                <a:gd name="connsiteY13" fmla="*/ 0 h 307085"/>
                <a:gd name="connsiteX14" fmla="*/ 139637 w 232981"/>
                <a:gd name="connsiteY14" fmla="*/ 4000 h 307085"/>
                <a:gd name="connsiteX15" fmla="*/ 163735 w 232981"/>
                <a:gd name="connsiteY15" fmla="*/ 14668 h 307085"/>
                <a:gd name="connsiteX16" fmla="*/ 183166 w 232981"/>
                <a:gd name="connsiteY16" fmla="*/ 30289 h 307085"/>
                <a:gd name="connsiteX17" fmla="*/ 198596 w 232981"/>
                <a:gd name="connsiteY17" fmla="*/ 49054 h 307085"/>
                <a:gd name="connsiteX18" fmla="*/ 198596 w 232981"/>
                <a:gd name="connsiteY18" fmla="*/ 4858 h 307085"/>
                <a:gd name="connsiteX19" fmla="*/ 232982 w 232981"/>
                <a:gd name="connsiteY19" fmla="*/ 4858 h 307085"/>
                <a:gd name="connsiteX20" fmla="*/ 232982 w 232981"/>
                <a:gd name="connsiteY20" fmla="*/ 307086 h 307085"/>
                <a:gd name="connsiteX21" fmla="*/ 198596 w 232981"/>
                <a:gd name="connsiteY21" fmla="*/ 307086 h 307085"/>
                <a:gd name="connsiteX22" fmla="*/ 198596 w 232981"/>
                <a:gd name="connsiteY22" fmla="*/ 189262 h 307085"/>
                <a:gd name="connsiteX23" fmla="*/ 116491 w 232981"/>
                <a:gd name="connsiteY23" fmla="*/ 209931 h 307085"/>
                <a:gd name="connsiteX24" fmla="*/ 147542 w 232981"/>
                <a:gd name="connsiteY24" fmla="*/ 203454 h 307085"/>
                <a:gd name="connsiteX25" fmla="*/ 174308 w 232981"/>
                <a:gd name="connsiteY25" fmla="*/ 185166 h 307085"/>
                <a:gd name="connsiteX26" fmla="*/ 193072 w 232981"/>
                <a:gd name="connsiteY26" fmla="*/ 157067 h 307085"/>
                <a:gd name="connsiteX27" fmla="*/ 200025 w 232981"/>
                <a:gd name="connsiteY27" fmla="*/ 120682 h 307085"/>
                <a:gd name="connsiteX28" fmla="*/ 200025 w 232981"/>
                <a:gd name="connsiteY28" fmla="*/ 119824 h 307085"/>
                <a:gd name="connsiteX29" fmla="*/ 193072 w 232981"/>
                <a:gd name="connsiteY29" fmla="*/ 83439 h 307085"/>
                <a:gd name="connsiteX30" fmla="*/ 174308 w 232981"/>
                <a:gd name="connsiteY30" fmla="*/ 55531 h 307085"/>
                <a:gd name="connsiteX31" fmla="*/ 147542 w 232981"/>
                <a:gd name="connsiteY31" fmla="*/ 37433 h 307085"/>
                <a:gd name="connsiteX32" fmla="*/ 116491 w 232981"/>
                <a:gd name="connsiteY32" fmla="*/ 30956 h 307085"/>
                <a:gd name="connsiteX33" fmla="*/ 84773 w 232981"/>
                <a:gd name="connsiteY33" fmla="*/ 36957 h 307085"/>
                <a:gd name="connsiteX34" fmla="*/ 59150 w 232981"/>
                <a:gd name="connsiteY34" fmla="*/ 54388 h 307085"/>
                <a:gd name="connsiteX35" fmla="*/ 41720 w 232981"/>
                <a:gd name="connsiteY35" fmla="*/ 82296 h 307085"/>
                <a:gd name="connsiteX36" fmla="*/ 35242 w 232981"/>
                <a:gd name="connsiteY36" fmla="*/ 119824 h 307085"/>
                <a:gd name="connsiteX37" fmla="*/ 35242 w 232981"/>
                <a:gd name="connsiteY37" fmla="*/ 120682 h 307085"/>
                <a:gd name="connsiteX38" fmla="*/ 41720 w 232981"/>
                <a:gd name="connsiteY38" fmla="*/ 157734 h 307085"/>
                <a:gd name="connsiteX39" fmla="*/ 59341 w 232981"/>
                <a:gd name="connsiteY39" fmla="*/ 185833 h 307085"/>
                <a:gd name="connsiteX40" fmla="*/ 85249 w 232981"/>
                <a:gd name="connsiteY40" fmla="*/ 203740 h 307085"/>
                <a:gd name="connsiteX41" fmla="*/ 116491 w 232981"/>
                <a:gd name="connsiteY41" fmla="*/ 210026 h 30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07085">
                  <a:moveTo>
                    <a:pt x="198596" y="189357"/>
                  </a:moveTo>
                  <a:cubicBezTo>
                    <a:pt x="193834" y="196215"/>
                    <a:pt x="188595" y="202787"/>
                    <a:pt x="182785" y="208978"/>
                  </a:cubicBezTo>
                  <a:cubicBezTo>
                    <a:pt x="176975" y="215265"/>
                    <a:pt x="170498" y="220789"/>
                    <a:pt x="163354" y="225552"/>
                  </a:cubicBezTo>
                  <a:cubicBezTo>
                    <a:pt x="156210" y="230314"/>
                    <a:pt x="148209" y="234029"/>
                    <a:pt x="139446" y="236696"/>
                  </a:cubicBezTo>
                  <a:cubicBezTo>
                    <a:pt x="130683" y="239363"/>
                    <a:pt x="120967" y="240697"/>
                    <a:pt x="110204" y="240697"/>
                  </a:cubicBezTo>
                  <a:cubicBezTo>
                    <a:pt x="96203" y="240697"/>
                    <a:pt x="82677" y="238030"/>
                    <a:pt x="69628" y="232696"/>
                  </a:cubicBezTo>
                  <a:cubicBezTo>
                    <a:pt x="56579" y="227362"/>
                    <a:pt x="44767" y="219551"/>
                    <a:pt x="34385" y="209264"/>
                  </a:cubicBezTo>
                  <a:cubicBezTo>
                    <a:pt x="24003" y="198977"/>
                    <a:pt x="15621" y="186499"/>
                    <a:pt x="9335" y="171736"/>
                  </a:cubicBezTo>
                  <a:cubicBezTo>
                    <a:pt x="3048" y="156972"/>
                    <a:pt x="0" y="140113"/>
                    <a:pt x="0" y="121063"/>
                  </a:cubicBezTo>
                  <a:lnTo>
                    <a:pt x="0" y="120205"/>
                  </a:lnTo>
                  <a:cubicBezTo>
                    <a:pt x="0" y="101441"/>
                    <a:pt x="3143" y="84677"/>
                    <a:pt x="9335" y="69723"/>
                  </a:cubicBezTo>
                  <a:cubicBezTo>
                    <a:pt x="15621" y="54864"/>
                    <a:pt x="23908" y="42291"/>
                    <a:pt x="34385" y="32004"/>
                  </a:cubicBezTo>
                  <a:cubicBezTo>
                    <a:pt x="44767" y="21717"/>
                    <a:pt x="56579" y="13811"/>
                    <a:pt x="69628" y="8287"/>
                  </a:cubicBezTo>
                  <a:cubicBezTo>
                    <a:pt x="82677" y="2762"/>
                    <a:pt x="96298" y="0"/>
                    <a:pt x="110204" y="0"/>
                  </a:cubicBezTo>
                  <a:cubicBezTo>
                    <a:pt x="120967" y="0"/>
                    <a:pt x="130778" y="1333"/>
                    <a:pt x="139637" y="4000"/>
                  </a:cubicBezTo>
                  <a:cubicBezTo>
                    <a:pt x="148590" y="6667"/>
                    <a:pt x="156591" y="10287"/>
                    <a:pt x="163735" y="14668"/>
                  </a:cubicBezTo>
                  <a:cubicBezTo>
                    <a:pt x="170879" y="19145"/>
                    <a:pt x="177356" y="24384"/>
                    <a:pt x="183166" y="30289"/>
                  </a:cubicBezTo>
                  <a:cubicBezTo>
                    <a:pt x="188976" y="36290"/>
                    <a:pt x="194120" y="42481"/>
                    <a:pt x="198596" y="49054"/>
                  </a:cubicBezTo>
                  <a:lnTo>
                    <a:pt x="198596" y="4858"/>
                  </a:lnTo>
                  <a:lnTo>
                    <a:pt x="232982" y="4858"/>
                  </a:lnTo>
                  <a:lnTo>
                    <a:pt x="232982" y="307086"/>
                  </a:lnTo>
                  <a:lnTo>
                    <a:pt x="198596" y="307086"/>
                  </a:lnTo>
                  <a:lnTo>
                    <a:pt x="198596" y="189262"/>
                  </a:lnTo>
                  <a:close/>
                  <a:moveTo>
                    <a:pt x="116491" y="209931"/>
                  </a:moveTo>
                  <a:cubicBezTo>
                    <a:pt x="127159" y="209931"/>
                    <a:pt x="137541" y="207740"/>
                    <a:pt x="147542" y="203454"/>
                  </a:cubicBezTo>
                  <a:cubicBezTo>
                    <a:pt x="157544" y="199168"/>
                    <a:pt x="166402" y="193072"/>
                    <a:pt x="174308" y="185166"/>
                  </a:cubicBezTo>
                  <a:cubicBezTo>
                    <a:pt x="182213" y="177260"/>
                    <a:pt x="188404" y="167926"/>
                    <a:pt x="193072" y="157067"/>
                  </a:cubicBezTo>
                  <a:cubicBezTo>
                    <a:pt x="197739" y="146209"/>
                    <a:pt x="200025" y="134112"/>
                    <a:pt x="200025" y="120682"/>
                  </a:cubicBezTo>
                  <a:lnTo>
                    <a:pt x="200025" y="119824"/>
                  </a:lnTo>
                  <a:cubicBezTo>
                    <a:pt x="200025" y="106394"/>
                    <a:pt x="197739" y="94297"/>
                    <a:pt x="193072" y="83439"/>
                  </a:cubicBezTo>
                  <a:cubicBezTo>
                    <a:pt x="188500" y="72580"/>
                    <a:pt x="182213" y="63246"/>
                    <a:pt x="174308" y="55531"/>
                  </a:cubicBezTo>
                  <a:cubicBezTo>
                    <a:pt x="166402" y="47815"/>
                    <a:pt x="157544" y="41815"/>
                    <a:pt x="147542" y="37433"/>
                  </a:cubicBezTo>
                  <a:cubicBezTo>
                    <a:pt x="137541" y="33147"/>
                    <a:pt x="127254" y="30956"/>
                    <a:pt x="116491" y="30956"/>
                  </a:cubicBezTo>
                  <a:cubicBezTo>
                    <a:pt x="105156" y="30956"/>
                    <a:pt x="94583" y="32956"/>
                    <a:pt x="84773" y="36957"/>
                  </a:cubicBezTo>
                  <a:cubicBezTo>
                    <a:pt x="74962" y="40957"/>
                    <a:pt x="66389" y="46767"/>
                    <a:pt x="59150" y="54388"/>
                  </a:cubicBezTo>
                  <a:cubicBezTo>
                    <a:pt x="51816" y="61913"/>
                    <a:pt x="46101" y="71247"/>
                    <a:pt x="41720" y="82296"/>
                  </a:cubicBezTo>
                  <a:cubicBezTo>
                    <a:pt x="37433" y="93250"/>
                    <a:pt x="35242" y="105823"/>
                    <a:pt x="35242" y="119824"/>
                  </a:cubicBezTo>
                  <a:lnTo>
                    <a:pt x="35242" y="120682"/>
                  </a:lnTo>
                  <a:cubicBezTo>
                    <a:pt x="35242" y="134398"/>
                    <a:pt x="37433" y="146780"/>
                    <a:pt x="41720" y="157734"/>
                  </a:cubicBezTo>
                  <a:cubicBezTo>
                    <a:pt x="46006" y="168783"/>
                    <a:pt x="51911" y="178117"/>
                    <a:pt x="59341" y="185833"/>
                  </a:cubicBezTo>
                  <a:cubicBezTo>
                    <a:pt x="66770" y="193548"/>
                    <a:pt x="75438" y="199549"/>
                    <a:pt x="85249" y="203740"/>
                  </a:cubicBezTo>
                  <a:cubicBezTo>
                    <a:pt x="95060" y="207931"/>
                    <a:pt x="105442" y="210026"/>
                    <a:pt x="116491" y="210026"/>
                  </a:cubicBezTo>
                  <a:close/>
                </a:path>
              </a:pathLst>
            </a:custGeom>
            <a:solidFill>
              <a:srgbClr val="44505E"/>
            </a:solidFill>
            <a:ln w="9525" cap="flat">
              <a:noFill/>
              <a:prstDash val="solid"/>
              <a:miter/>
            </a:ln>
          </p:spPr>
          <p:txBody>
            <a:bodyPr rtlCol="0" anchor="ctr"/>
            <a:lstStyle/>
            <a:p>
              <a:endParaRPr lang="pt-BR" noProof="0"/>
            </a:p>
          </p:txBody>
        </p:sp>
        <p:sp>
          <p:nvSpPr>
            <p:cNvPr id="29" name="Freeform: Shape 41">
              <a:extLst>
                <a:ext uri="{FF2B5EF4-FFF2-40B4-BE49-F238E27FC236}">
                  <a16:creationId xmlns:a16="http://schemas.microsoft.com/office/drawing/2014/main" id="{26E07E14-602D-17C8-015D-5C55D7BC0EEA}"/>
                </a:ext>
              </a:extLst>
            </p:cNvPr>
            <p:cNvSpPr/>
            <p:nvPr/>
          </p:nvSpPr>
          <p:spPr>
            <a:xfrm>
              <a:off x="5829624" y="925297"/>
              <a:ext cx="50618" cy="59238"/>
            </a:xfrm>
            <a:custGeom>
              <a:avLst/>
              <a:gdLst>
                <a:gd name="connsiteX0" fmla="*/ 88392 w 201358"/>
                <a:gd name="connsiteY0" fmla="*/ 235648 h 235648"/>
                <a:gd name="connsiteX1" fmla="*/ 51149 w 201358"/>
                <a:gd name="connsiteY1" fmla="*/ 228981 h 235648"/>
                <a:gd name="connsiteX2" fmla="*/ 23432 w 201358"/>
                <a:gd name="connsiteY2" fmla="*/ 210026 h 235648"/>
                <a:gd name="connsiteX3" fmla="*/ 6001 w 201358"/>
                <a:gd name="connsiteY3" fmla="*/ 180784 h 235648"/>
                <a:gd name="connsiteX4" fmla="*/ 0 w 201358"/>
                <a:gd name="connsiteY4" fmla="*/ 143256 h 235648"/>
                <a:gd name="connsiteX5" fmla="*/ 0 w 201358"/>
                <a:gd name="connsiteY5" fmla="*/ 0 h 235648"/>
                <a:gd name="connsiteX6" fmla="*/ 34385 w 201358"/>
                <a:gd name="connsiteY6" fmla="*/ 0 h 235648"/>
                <a:gd name="connsiteX7" fmla="*/ 34385 w 201358"/>
                <a:gd name="connsiteY7" fmla="*/ 134493 h 235648"/>
                <a:gd name="connsiteX8" fmla="*/ 50959 w 201358"/>
                <a:gd name="connsiteY8" fmla="*/ 185261 h 235648"/>
                <a:gd name="connsiteX9" fmla="*/ 98298 w 201358"/>
                <a:gd name="connsiteY9" fmla="*/ 203930 h 235648"/>
                <a:gd name="connsiteX10" fmla="*/ 125730 w 201358"/>
                <a:gd name="connsiteY10" fmla="*/ 198787 h 235648"/>
                <a:gd name="connsiteX11" fmla="*/ 147638 w 201358"/>
                <a:gd name="connsiteY11" fmla="*/ 184118 h 235648"/>
                <a:gd name="connsiteX12" fmla="*/ 162116 w 201358"/>
                <a:gd name="connsiteY12" fmla="*/ 161163 h 235648"/>
                <a:gd name="connsiteX13" fmla="*/ 167450 w 201358"/>
                <a:gd name="connsiteY13" fmla="*/ 131826 h 235648"/>
                <a:gd name="connsiteX14" fmla="*/ 167450 w 201358"/>
                <a:gd name="connsiteY14" fmla="*/ 0 h 235648"/>
                <a:gd name="connsiteX15" fmla="*/ 201359 w 201358"/>
                <a:gd name="connsiteY15" fmla="*/ 0 h 235648"/>
                <a:gd name="connsiteX16" fmla="*/ 201359 w 201358"/>
                <a:gd name="connsiteY16" fmla="*/ 230791 h 235648"/>
                <a:gd name="connsiteX17" fmla="*/ 167450 w 201358"/>
                <a:gd name="connsiteY17" fmla="*/ 230791 h 235648"/>
                <a:gd name="connsiteX18" fmla="*/ 167450 w 201358"/>
                <a:gd name="connsiteY18" fmla="*/ 190595 h 235648"/>
                <a:gd name="connsiteX19" fmla="*/ 137065 w 201358"/>
                <a:gd name="connsiteY19" fmla="*/ 222504 h 235648"/>
                <a:gd name="connsiteX20" fmla="*/ 88392 w 201358"/>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358" h="235648">
                  <a:moveTo>
                    <a:pt x="88392" y="235648"/>
                  </a:moveTo>
                  <a:cubicBezTo>
                    <a:pt x="74390" y="235648"/>
                    <a:pt x="62008" y="233363"/>
                    <a:pt x="51149" y="228981"/>
                  </a:cubicBezTo>
                  <a:cubicBezTo>
                    <a:pt x="40291" y="224504"/>
                    <a:pt x="31052" y="218218"/>
                    <a:pt x="23432"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959" y="185261"/>
                  </a:cubicBezTo>
                  <a:cubicBezTo>
                    <a:pt x="61913" y="197739"/>
                    <a:pt x="77724" y="203930"/>
                    <a:pt x="98298" y="203930"/>
                  </a:cubicBezTo>
                  <a:cubicBezTo>
                    <a:pt x="108109" y="203930"/>
                    <a:pt x="117253" y="202216"/>
                    <a:pt x="125730" y="198787"/>
                  </a:cubicBezTo>
                  <a:cubicBezTo>
                    <a:pt x="134207" y="195358"/>
                    <a:pt x="141446" y="190500"/>
                    <a:pt x="147638" y="184118"/>
                  </a:cubicBezTo>
                  <a:cubicBezTo>
                    <a:pt x="153734" y="177736"/>
                    <a:pt x="158591" y="170116"/>
                    <a:pt x="162116" y="161163"/>
                  </a:cubicBezTo>
                  <a:cubicBezTo>
                    <a:pt x="165735" y="152305"/>
                    <a:pt x="167450" y="142494"/>
                    <a:pt x="167450" y="131826"/>
                  </a:cubicBezTo>
                  <a:lnTo>
                    <a:pt x="167450" y="0"/>
                  </a:lnTo>
                  <a:lnTo>
                    <a:pt x="201359" y="0"/>
                  </a:lnTo>
                  <a:lnTo>
                    <a:pt x="201359" y="230791"/>
                  </a:lnTo>
                  <a:lnTo>
                    <a:pt x="167450" y="230791"/>
                  </a:lnTo>
                  <a:lnTo>
                    <a:pt x="167450" y="190595"/>
                  </a:lnTo>
                  <a:cubicBezTo>
                    <a:pt x="159734" y="203073"/>
                    <a:pt x="149543" y="213741"/>
                    <a:pt x="137065" y="222504"/>
                  </a:cubicBezTo>
                  <a:cubicBezTo>
                    <a:pt x="124587" y="231267"/>
                    <a:pt x="108395" y="235648"/>
                    <a:pt x="88392" y="235648"/>
                  </a:cubicBezTo>
                  <a:close/>
                </a:path>
              </a:pathLst>
            </a:custGeom>
            <a:solidFill>
              <a:srgbClr val="44505E"/>
            </a:solidFill>
            <a:ln w="9525" cap="flat">
              <a:noFill/>
              <a:prstDash val="solid"/>
              <a:miter/>
            </a:ln>
          </p:spPr>
          <p:txBody>
            <a:bodyPr rtlCol="0" anchor="ctr"/>
            <a:lstStyle/>
            <a:p>
              <a:endParaRPr lang="pt-BR" noProof="0"/>
            </a:p>
          </p:txBody>
        </p:sp>
        <p:sp>
          <p:nvSpPr>
            <p:cNvPr id="30" name="Freeform: Shape 42">
              <a:extLst>
                <a:ext uri="{FF2B5EF4-FFF2-40B4-BE49-F238E27FC236}">
                  <a16:creationId xmlns:a16="http://schemas.microsoft.com/office/drawing/2014/main" id="{B7B99DDD-92A6-BF15-AD82-EE40673A94CB}"/>
                </a:ext>
              </a:extLst>
            </p:cNvPr>
            <p:cNvSpPr/>
            <p:nvPr/>
          </p:nvSpPr>
          <p:spPr>
            <a:xfrm>
              <a:off x="5896069"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7059 w 218217"/>
                <a:gd name="connsiteY3" fmla="*/ 206026 h 241077"/>
                <a:gd name="connsiteX4" fmla="*/ 116110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7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0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356 w 218217"/>
                <a:gd name="connsiteY25" fmla="*/ 106299 h 241077"/>
                <a:gd name="connsiteX26" fmla="*/ 176689 w 218217"/>
                <a:gd name="connsiteY26" fmla="*/ 76771 h 241077"/>
                <a:gd name="connsiteX27" fmla="*/ 162211 w 218217"/>
                <a:gd name="connsiteY27" fmla="*/ 52101 h 241077"/>
                <a:gd name="connsiteX28" fmla="*/ 139922 w 218217"/>
                <a:gd name="connsiteY28" fmla="*/ 35242 h 241077"/>
                <a:gd name="connsiteX29" fmla="*/ 109823 w 218217"/>
                <a:gd name="connsiteY29" fmla="*/ 29051 h 241077"/>
                <a:gd name="connsiteX30" fmla="*/ 82105 w 218217"/>
                <a:gd name="connsiteY30" fmla="*/ 34766 h 241077"/>
                <a:gd name="connsiteX31" fmla="*/ 59341 w 218217"/>
                <a:gd name="connsiteY31" fmla="*/ 50959 h 241077"/>
                <a:gd name="connsiteX32" fmla="*/ 43053 w 218217"/>
                <a:gd name="connsiteY32" fmla="*/ 75628 h 241077"/>
                <a:gd name="connsiteX33" fmla="*/ 34766 w 218217"/>
                <a:gd name="connsiteY33" fmla="*/ 106204 h 241077"/>
                <a:gd name="connsiteX34" fmla="*/ 183356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819" y="202597"/>
                    <a:pt x="87059" y="206026"/>
                  </a:cubicBezTo>
                  <a:cubicBezTo>
                    <a:pt x="96298" y="209455"/>
                    <a:pt x="105918" y="211169"/>
                    <a:pt x="116110" y="211169"/>
                  </a:cubicBezTo>
                  <a:cubicBezTo>
                    <a:pt x="132207" y="211169"/>
                    <a:pt x="145923" y="208216"/>
                    <a:pt x="157353" y="202216"/>
                  </a:cubicBezTo>
                  <a:cubicBezTo>
                    <a:pt x="168783" y="196310"/>
                    <a:pt x="179261" y="188404"/>
                    <a:pt x="188786" y="178594"/>
                  </a:cubicBezTo>
                  <a:lnTo>
                    <a:pt x="210217" y="197834"/>
                  </a:lnTo>
                  <a:cubicBezTo>
                    <a:pt x="198596" y="210979"/>
                    <a:pt x="185356" y="221361"/>
                    <a:pt x="170497" y="229267"/>
                  </a:cubicBezTo>
                  <a:cubicBezTo>
                    <a:pt x="155638"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583" y="0"/>
                    <a:pt x="110680"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356" y="106299"/>
                  </a:moveTo>
                  <a:cubicBezTo>
                    <a:pt x="182499" y="95917"/>
                    <a:pt x="180213" y="86106"/>
                    <a:pt x="176689" y="76771"/>
                  </a:cubicBezTo>
                  <a:cubicBezTo>
                    <a:pt x="173069" y="67437"/>
                    <a:pt x="168307" y="59245"/>
                    <a:pt x="162211" y="52101"/>
                  </a:cubicBezTo>
                  <a:cubicBezTo>
                    <a:pt x="156115" y="44958"/>
                    <a:pt x="148685" y="39338"/>
                    <a:pt x="139922" y="35242"/>
                  </a:cubicBezTo>
                  <a:cubicBezTo>
                    <a:pt x="131159" y="31147"/>
                    <a:pt x="121063" y="29051"/>
                    <a:pt x="109823" y="29051"/>
                  </a:cubicBezTo>
                  <a:cubicBezTo>
                    <a:pt x="100013" y="29051"/>
                    <a:pt x="90773" y="30956"/>
                    <a:pt x="82105" y="34766"/>
                  </a:cubicBezTo>
                  <a:cubicBezTo>
                    <a:pt x="73438" y="38671"/>
                    <a:pt x="65913" y="44005"/>
                    <a:pt x="59341" y="50959"/>
                  </a:cubicBezTo>
                  <a:cubicBezTo>
                    <a:pt x="52769" y="57912"/>
                    <a:pt x="47339" y="66103"/>
                    <a:pt x="43053" y="75628"/>
                  </a:cubicBezTo>
                  <a:cubicBezTo>
                    <a:pt x="38767" y="85058"/>
                    <a:pt x="36004" y="95345"/>
                    <a:pt x="34766" y="106204"/>
                  </a:cubicBezTo>
                  <a:lnTo>
                    <a:pt x="183356" y="106204"/>
                  </a:lnTo>
                  <a:close/>
                </a:path>
              </a:pathLst>
            </a:custGeom>
            <a:solidFill>
              <a:srgbClr val="44505E"/>
            </a:solidFill>
            <a:ln w="9525" cap="flat">
              <a:noFill/>
              <a:prstDash val="solid"/>
              <a:miter/>
            </a:ln>
          </p:spPr>
          <p:txBody>
            <a:bodyPr rtlCol="0" anchor="ctr"/>
            <a:lstStyle/>
            <a:p>
              <a:endParaRPr lang="pt-BR" noProof="0"/>
            </a:p>
          </p:txBody>
        </p:sp>
        <p:sp>
          <p:nvSpPr>
            <p:cNvPr id="31" name="Freeform: Shape 43">
              <a:extLst>
                <a:ext uri="{FF2B5EF4-FFF2-40B4-BE49-F238E27FC236}">
                  <a16:creationId xmlns:a16="http://schemas.microsoft.com/office/drawing/2014/main" id="{48DF8539-3D2D-EBE2-514B-FCA6AC00AD27}"/>
                </a:ext>
              </a:extLst>
            </p:cNvPr>
            <p:cNvSpPr/>
            <p:nvPr/>
          </p:nvSpPr>
          <p:spPr>
            <a:xfrm>
              <a:off x="5994910" y="924268"/>
              <a:ext cx="44680" cy="60195"/>
            </a:xfrm>
            <a:custGeom>
              <a:avLst/>
              <a:gdLst>
                <a:gd name="connsiteX0" fmla="*/ 95536 w 177736"/>
                <a:gd name="connsiteY0" fmla="*/ 239268 h 239458"/>
                <a:gd name="connsiteX1" fmla="*/ 45053 w 177736"/>
                <a:gd name="connsiteY1" fmla="*/ 230124 h 239458"/>
                <a:gd name="connsiteX2" fmla="*/ 0 w 177736"/>
                <a:gd name="connsiteY2" fmla="*/ 205359 h 239458"/>
                <a:gd name="connsiteX3" fmla="*/ 17431 w 177736"/>
                <a:gd name="connsiteY3" fmla="*/ 180785 h 239458"/>
                <a:gd name="connsiteX4" fmla="*/ 56483 w 177736"/>
                <a:gd name="connsiteY4" fmla="*/ 202692 h 239458"/>
                <a:gd name="connsiteX5" fmla="*/ 97346 w 177736"/>
                <a:gd name="connsiteY5" fmla="*/ 210217 h 239458"/>
                <a:gd name="connsiteX6" fmla="*/ 131731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730 w 177736"/>
                <a:gd name="connsiteY10" fmla="*/ 147066 h 239458"/>
                <a:gd name="connsiteX11" fmla="*/ 109252 w 177736"/>
                <a:gd name="connsiteY11" fmla="*/ 138779 h 239458"/>
                <a:gd name="connsiteX12" fmla="*/ 87630 w 177736"/>
                <a:gd name="connsiteY12" fmla="*/ 132112 h 239458"/>
                <a:gd name="connsiteX13" fmla="*/ 60674 w 177736"/>
                <a:gd name="connsiteY13" fmla="*/ 123444 h 239458"/>
                <a:gd name="connsiteX14" fmla="*/ 36100 w 177736"/>
                <a:gd name="connsiteY14" fmla="*/ 111633 h 239458"/>
                <a:gd name="connsiteX15" fmla="*/ 18193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60 w 177736"/>
                <a:gd name="connsiteY22" fmla="*/ 6953 h 239458"/>
                <a:gd name="connsiteX23" fmla="*/ 172879 w 177736"/>
                <a:gd name="connsiteY23" fmla="*/ 25527 h 239458"/>
                <a:gd name="connsiteX24" fmla="*/ 157258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4 w 177736"/>
                <a:gd name="connsiteY32" fmla="*/ 96203 h 239458"/>
                <a:gd name="connsiteX33" fmla="*/ 103632 w 177736"/>
                <a:gd name="connsiteY33" fmla="*/ 103346 h 239458"/>
                <a:gd name="connsiteX34" fmla="*/ 130207 w 177736"/>
                <a:gd name="connsiteY34" fmla="*/ 112300 h 239458"/>
                <a:gd name="connsiteX35" fmla="*/ 154114 w 177736"/>
                <a:gd name="connsiteY35" fmla="*/ 124778 h 239458"/>
                <a:gd name="connsiteX36" fmla="*/ 171260 w 177736"/>
                <a:gd name="connsiteY36" fmla="*/ 143066 h 239458"/>
                <a:gd name="connsiteX37" fmla="*/ 177737 w 177736"/>
                <a:gd name="connsiteY37" fmla="*/ 169450 h 239458"/>
                <a:gd name="connsiteX38" fmla="*/ 177737 w 177736"/>
                <a:gd name="connsiteY38" fmla="*/ 170307 h 239458"/>
                <a:gd name="connsiteX39" fmla="*/ 171260 w 177736"/>
                <a:gd name="connsiteY39" fmla="*/ 199549 h 239458"/>
                <a:gd name="connsiteX40" fmla="*/ 153829 w 177736"/>
                <a:gd name="connsiteY40" fmla="*/ 221171 h 239458"/>
                <a:gd name="connsiteX41" fmla="*/ 127921 w 177736"/>
                <a:gd name="connsiteY41" fmla="*/ 234791 h 239458"/>
                <a:gd name="connsiteX42" fmla="*/ 95536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6" y="239268"/>
                  </a:moveTo>
                  <a:cubicBezTo>
                    <a:pt x="78867" y="239268"/>
                    <a:pt x="62008" y="236220"/>
                    <a:pt x="45053" y="230124"/>
                  </a:cubicBezTo>
                  <a:cubicBezTo>
                    <a:pt x="28099" y="224028"/>
                    <a:pt x="13049" y="215741"/>
                    <a:pt x="0" y="205359"/>
                  </a:cubicBezTo>
                  <a:lnTo>
                    <a:pt x="17431" y="180785"/>
                  </a:lnTo>
                  <a:cubicBezTo>
                    <a:pt x="29909"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637" y="162211"/>
                    <a:pt x="140494" y="158020"/>
                  </a:cubicBezTo>
                  <a:cubicBezTo>
                    <a:pt x="137351" y="153829"/>
                    <a:pt x="133160" y="150209"/>
                    <a:pt x="127730" y="147066"/>
                  </a:cubicBezTo>
                  <a:cubicBezTo>
                    <a:pt x="122396" y="143923"/>
                    <a:pt x="116205" y="141161"/>
                    <a:pt x="109252" y="138779"/>
                  </a:cubicBezTo>
                  <a:cubicBezTo>
                    <a:pt x="102299" y="136398"/>
                    <a:pt x="95060" y="134207"/>
                    <a:pt x="87630" y="132112"/>
                  </a:cubicBezTo>
                  <a:cubicBezTo>
                    <a:pt x="78677" y="129445"/>
                    <a:pt x="69723" y="126492"/>
                    <a:pt x="60674" y="123444"/>
                  </a:cubicBezTo>
                  <a:cubicBezTo>
                    <a:pt x="51626" y="120301"/>
                    <a:pt x="43434" y="116396"/>
                    <a:pt x="36100" y="111633"/>
                  </a:cubicBezTo>
                  <a:cubicBezTo>
                    <a:pt x="28766" y="106871"/>
                    <a:pt x="22860" y="100870"/>
                    <a:pt x="18193" y="93726"/>
                  </a:cubicBezTo>
                  <a:cubicBezTo>
                    <a:pt x="13621" y="86582"/>
                    <a:pt x="11239" y="77629"/>
                    <a:pt x="11239" y="66961"/>
                  </a:cubicBezTo>
                  <a:lnTo>
                    <a:pt x="11239" y="66008"/>
                  </a:lnTo>
                  <a:cubicBezTo>
                    <a:pt x="11239" y="56198"/>
                    <a:pt x="13145" y="47149"/>
                    <a:pt x="17050" y="39053"/>
                  </a:cubicBezTo>
                  <a:cubicBezTo>
                    <a:pt x="20860" y="30861"/>
                    <a:pt x="26289" y="23908"/>
                    <a:pt x="33338" y="18098"/>
                  </a:cubicBezTo>
                  <a:cubicBezTo>
                    <a:pt x="40291" y="12287"/>
                    <a:pt x="48673" y="7811"/>
                    <a:pt x="58388" y="4667"/>
                  </a:cubicBezTo>
                  <a:cubicBezTo>
                    <a:pt x="68009" y="1524"/>
                    <a:pt x="78581" y="0"/>
                    <a:pt x="89821" y="0"/>
                  </a:cubicBezTo>
                  <a:cubicBezTo>
                    <a:pt x="104108" y="0"/>
                    <a:pt x="118491" y="2286"/>
                    <a:pt x="133160" y="6953"/>
                  </a:cubicBezTo>
                  <a:cubicBezTo>
                    <a:pt x="147733" y="11621"/>
                    <a:pt x="160972" y="17717"/>
                    <a:pt x="172879" y="25527"/>
                  </a:cubicBezTo>
                  <a:lnTo>
                    <a:pt x="157258" y="51435"/>
                  </a:lnTo>
                  <a:cubicBezTo>
                    <a:pt x="146495" y="44577"/>
                    <a:pt x="135350" y="39148"/>
                    <a:pt x="123539" y="35147"/>
                  </a:cubicBezTo>
                  <a:cubicBezTo>
                    <a:pt x="111824" y="31147"/>
                    <a:pt x="100298" y="29146"/>
                    <a:pt x="88963" y="29146"/>
                  </a:cubicBezTo>
                  <a:cubicBezTo>
                    <a:pt x="75247" y="29146"/>
                    <a:pt x="64389" y="32385"/>
                    <a:pt x="56388" y="38767"/>
                  </a:cubicBezTo>
                  <a:cubicBezTo>
                    <a:pt x="48387" y="45149"/>
                    <a:pt x="44291" y="53150"/>
                    <a:pt x="44291" y="62675"/>
                  </a:cubicBezTo>
                  <a:lnTo>
                    <a:pt x="44291" y="63627"/>
                  </a:lnTo>
                  <a:cubicBezTo>
                    <a:pt x="44291" y="68961"/>
                    <a:pt x="45911" y="73628"/>
                    <a:pt x="49244" y="77724"/>
                  </a:cubicBezTo>
                  <a:cubicBezTo>
                    <a:pt x="52483" y="81725"/>
                    <a:pt x="56960" y="85249"/>
                    <a:pt x="62389" y="88202"/>
                  </a:cubicBezTo>
                  <a:cubicBezTo>
                    <a:pt x="67913" y="91154"/>
                    <a:pt x="74200" y="93821"/>
                    <a:pt x="81344" y="96203"/>
                  </a:cubicBezTo>
                  <a:cubicBezTo>
                    <a:pt x="88487" y="98584"/>
                    <a:pt x="95917" y="100965"/>
                    <a:pt x="103632" y="103346"/>
                  </a:cubicBezTo>
                  <a:cubicBezTo>
                    <a:pt x="112586" y="106013"/>
                    <a:pt x="121444" y="108966"/>
                    <a:pt x="130207" y="112300"/>
                  </a:cubicBezTo>
                  <a:cubicBezTo>
                    <a:pt x="138970" y="115538"/>
                    <a:pt x="146971" y="119729"/>
                    <a:pt x="154114" y="124778"/>
                  </a:cubicBezTo>
                  <a:cubicBezTo>
                    <a:pt x="161258" y="129826"/>
                    <a:pt x="166973" y="135922"/>
                    <a:pt x="171260" y="143066"/>
                  </a:cubicBezTo>
                  <a:cubicBezTo>
                    <a:pt x="175546" y="150209"/>
                    <a:pt x="177737" y="158972"/>
                    <a:pt x="177737" y="169450"/>
                  </a:cubicBezTo>
                  <a:lnTo>
                    <a:pt x="177737" y="170307"/>
                  </a:lnTo>
                  <a:cubicBezTo>
                    <a:pt x="177737" y="181356"/>
                    <a:pt x="175546" y="191071"/>
                    <a:pt x="171260" y="199549"/>
                  </a:cubicBezTo>
                  <a:cubicBezTo>
                    <a:pt x="166973" y="208026"/>
                    <a:pt x="161163" y="215265"/>
                    <a:pt x="153829" y="221171"/>
                  </a:cubicBezTo>
                  <a:cubicBezTo>
                    <a:pt x="146495" y="227171"/>
                    <a:pt x="137922" y="231648"/>
                    <a:pt x="127921" y="234791"/>
                  </a:cubicBezTo>
                  <a:cubicBezTo>
                    <a:pt x="117920" y="237935"/>
                    <a:pt x="107156" y="239459"/>
                    <a:pt x="95536" y="239459"/>
                  </a:cubicBezTo>
                  <a:close/>
                </a:path>
              </a:pathLst>
            </a:custGeom>
            <a:solidFill>
              <a:srgbClr val="44505E"/>
            </a:solidFill>
            <a:ln w="9525" cap="flat">
              <a:noFill/>
              <a:prstDash val="solid"/>
              <a:miter/>
            </a:ln>
          </p:spPr>
          <p:txBody>
            <a:bodyPr rtlCol="0" anchor="ctr"/>
            <a:lstStyle/>
            <a:p>
              <a:endParaRPr lang="pt-BR" noProof="0"/>
            </a:p>
          </p:txBody>
        </p:sp>
        <p:sp>
          <p:nvSpPr>
            <p:cNvPr id="32" name="Freeform: Shape 44">
              <a:extLst>
                <a:ext uri="{FF2B5EF4-FFF2-40B4-BE49-F238E27FC236}">
                  <a16:creationId xmlns:a16="http://schemas.microsoft.com/office/drawing/2014/main" id="{69B9F6FC-D92D-1D1D-BB5B-9F048F28346B}"/>
                </a:ext>
              </a:extLst>
            </p:cNvPr>
            <p:cNvSpPr/>
            <p:nvPr/>
          </p:nvSpPr>
          <p:spPr>
            <a:xfrm>
              <a:off x="605122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4 w 202977"/>
                <a:gd name="connsiteY30" fmla="*/ 174593 h 239267"/>
                <a:gd name="connsiteX31" fmla="*/ 169735 w 202977"/>
                <a:gd name="connsiteY31" fmla="*/ 149447 h 239267"/>
                <a:gd name="connsiteX32" fmla="*/ 169735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0" y="90964"/>
                    <a:pt x="98584" y="90964"/>
                  </a:cubicBezTo>
                  <a:cubicBezTo>
                    <a:pt x="113157" y="90964"/>
                    <a:pt x="126301"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1" y="33147"/>
                    <a:pt x="63436" y="36100"/>
                  </a:cubicBezTo>
                  <a:cubicBezTo>
                    <a:pt x="52292" y="39053"/>
                    <a:pt x="41338" y="43053"/>
                    <a:pt x="30671" y="48196"/>
                  </a:cubicBezTo>
                  <a:lnTo>
                    <a:pt x="20383" y="19907"/>
                  </a:lnTo>
                  <a:cubicBezTo>
                    <a:pt x="33147" y="13906"/>
                    <a:pt x="46101" y="9049"/>
                    <a:pt x="59246" y="5429"/>
                  </a:cubicBezTo>
                  <a:cubicBezTo>
                    <a:pt x="72295"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1" y="239173"/>
                  </a:cubicBezTo>
                  <a:close/>
                  <a:moveTo>
                    <a:pt x="93154" y="211169"/>
                  </a:moveTo>
                  <a:cubicBezTo>
                    <a:pt x="103822" y="211169"/>
                    <a:pt x="113728" y="209740"/>
                    <a:pt x="122967" y="206788"/>
                  </a:cubicBezTo>
                  <a:cubicBezTo>
                    <a:pt x="132207" y="203835"/>
                    <a:pt x="140208" y="199644"/>
                    <a:pt x="147256" y="194120"/>
                  </a:cubicBezTo>
                  <a:cubicBezTo>
                    <a:pt x="154209" y="188595"/>
                    <a:pt x="159734" y="182118"/>
                    <a:pt x="163734" y="174593"/>
                  </a:cubicBezTo>
                  <a:cubicBezTo>
                    <a:pt x="167735" y="167068"/>
                    <a:pt x="169735" y="158687"/>
                    <a:pt x="169735" y="149447"/>
                  </a:cubicBezTo>
                  <a:lnTo>
                    <a:pt x="169735" y="128111"/>
                  </a:lnTo>
                  <a:cubicBezTo>
                    <a:pt x="161163" y="125730"/>
                    <a:pt x="151352" y="123539"/>
                    <a:pt x="140398" y="121444"/>
                  </a:cubicBezTo>
                  <a:cubicBezTo>
                    <a:pt x="129445" y="119348"/>
                    <a:pt x="116872"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33" name="Freeform: Shape 45">
              <a:extLst>
                <a:ext uri="{FF2B5EF4-FFF2-40B4-BE49-F238E27FC236}">
                  <a16:creationId xmlns:a16="http://schemas.microsoft.com/office/drawing/2014/main" id="{3B502376-5848-1145-9D77-3A7451355054}"/>
                </a:ext>
              </a:extLst>
            </p:cNvPr>
            <p:cNvSpPr/>
            <p:nvPr/>
          </p:nvSpPr>
          <p:spPr>
            <a:xfrm>
              <a:off x="6121359" y="901377"/>
              <a:ext cx="8644" cy="81913"/>
            </a:xfrm>
            <a:custGeom>
              <a:avLst/>
              <a:gdLst>
                <a:gd name="connsiteX0" fmla="*/ 0 w 34385"/>
                <a:gd name="connsiteY0" fmla="*/ 0 h 325850"/>
                <a:gd name="connsiteX1" fmla="*/ 34385 w 34385"/>
                <a:gd name="connsiteY1" fmla="*/ 0 h 325850"/>
                <a:gd name="connsiteX2" fmla="*/ 34385 w 34385"/>
                <a:gd name="connsiteY2" fmla="*/ 325850 h 325850"/>
                <a:gd name="connsiteX3" fmla="*/ 0 w 34385"/>
                <a:gd name="connsiteY3" fmla="*/ 325850 h 325850"/>
                <a:gd name="connsiteX4" fmla="*/ 0 w 34385"/>
                <a:gd name="connsiteY4" fmla="*/ 0 h 32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 h="325850">
                  <a:moveTo>
                    <a:pt x="0" y="0"/>
                  </a:moveTo>
                  <a:lnTo>
                    <a:pt x="34385" y="0"/>
                  </a:lnTo>
                  <a:lnTo>
                    <a:pt x="34385" y="325850"/>
                  </a:lnTo>
                  <a:lnTo>
                    <a:pt x="0" y="325850"/>
                  </a:lnTo>
                  <a:lnTo>
                    <a:pt x="0" y="0"/>
                  </a:lnTo>
                  <a:close/>
                </a:path>
              </a:pathLst>
            </a:custGeom>
            <a:solidFill>
              <a:srgbClr val="44505E"/>
            </a:solidFill>
            <a:ln w="9525" cap="flat">
              <a:noFill/>
              <a:prstDash val="solid"/>
              <a:miter/>
            </a:ln>
          </p:spPr>
          <p:txBody>
            <a:bodyPr rtlCol="0" anchor="ctr"/>
            <a:lstStyle/>
            <a:p>
              <a:endParaRPr lang="pt-BR" noProof="0"/>
            </a:p>
          </p:txBody>
        </p:sp>
        <p:sp>
          <p:nvSpPr>
            <p:cNvPr id="34" name="Freeform: Shape 46">
              <a:extLst>
                <a:ext uri="{FF2B5EF4-FFF2-40B4-BE49-F238E27FC236}">
                  <a16:creationId xmlns:a16="http://schemas.microsoft.com/office/drawing/2014/main" id="{BE04C1D6-C82A-766F-68D5-C3F335E1E29C}"/>
                </a:ext>
              </a:extLst>
            </p:cNvPr>
            <p:cNvSpPr/>
            <p:nvPr/>
          </p:nvSpPr>
          <p:spPr>
            <a:xfrm>
              <a:off x="6144346" y="925273"/>
              <a:ext cx="58016" cy="58448"/>
            </a:xfrm>
            <a:custGeom>
              <a:avLst/>
              <a:gdLst>
                <a:gd name="connsiteX0" fmla="*/ 95 w 230790"/>
                <a:gd name="connsiteY0" fmla="*/ 0 h 232505"/>
                <a:gd name="connsiteX1" fmla="*/ 38005 w 230790"/>
                <a:gd name="connsiteY1" fmla="*/ 0 h 232505"/>
                <a:gd name="connsiteX2" fmla="*/ 115634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4"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35" name="Freeform: Shape 47">
              <a:extLst>
                <a:ext uri="{FF2B5EF4-FFF2-40B4-BE49-F238E27FC236}">
                  <a16:creationId xmlns:a16="http://schemas.microsoft.com/office/drawing/2014/main" id="{004147CD-4518-02AB-6E0F-B3C74681FB2D}"/>
                </a:ext>
              </a:extLst>
            </p:cNvPr>
            <p:cNvSpPr/>
            <p:nvPr/>
          </p:nvSpPr>
          <p:spPr>
            <a:xfrm>
              <a:off x="621155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8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338 w 202977"/>
                <a:gd name="connsiteY36" fmla="*/ 164497 h 239267"/>
                <a:gd name="connsiteX37" fmla="*/ 35338 w 202977"/>
                <a:gd name="connsiteY37" fmla="*/ 165449 h 239267"/>
                <a:gd name="connsiteX38" fmla="*/ 40005 w 202977"/>
                <a:gd name="connsiteY38" fmla="*/ 184785 h 239267"/>
                <a:gd name="connsiteX39" fmla="*/ 52673 w 202977"/>
                <a:gd name="connsiteY39" fmla="*/ 199263 h 239267"/>
                <a:gd name="connsiteX40" fmla="*/ 71152 w 202977"/>
                <a:gd name="connsiteY40" fmla="*/ 208121 h 239267"/>
                <a:gd name="connsiteX41" fmla="*/ 93154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438" y="239268"/>
                    <a:pt x="64961"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1" y="90964"/>
                    <a:pt x="98584" y="90964"/>
                  </a:cubicBezTo>
                  <a:cubicBezTo>
                    <a:pt x="113157" y="90964"/>
                    <a:pt x="126302" y="91821"/>
                    <a:pt x="137160" y="93631"/>
                  </a:cubicBezTo>
                  <a:cubicBezTo>
                    <a:pt x="148019" y="95440"/>
                    <a:pt x="158687" y="97822"/>
                    <a:pt x="169069" y="100774"/>
                  </a:cubicBezTo>
                  <a:lnTo>
                    <a:pt x="169069" y="93726"/>
                  </a:lnTo>
                  <a:cubicBezTo>
                    <a:pt x="169069" y="73342"/>
                    <a:pt x="163068" y="57912"/>
                    <a:pt x="151162" y="47339"/>
                  </a:cubicBezTo>
                  <a:cubicBezTo>
                    <a:pt x="139255" y="36862"/>
                    <a:pt x="122491" y="31623"/>
                    <a:pt x="100679" y="31623"/>
                  </a:cubicBezTo>
                  <a:cubicBezTo>
                    <a:pt x="86963" y="31623"/>
                    <a:pt x="74581" y="33147"/>
                    <a:pt x="63437" y="36100"/>
                  </a:cubicBezTo>
                  <a:cubicBezTo>
                    <a:pt x="52292" y="39053"/>
                    <a:pt x="41338" y="43053"/>
                    <a:pt x="30671" y="48196"/>
                  </a:cubicBezTo>
                  <a:lnTo>
                    <a:pt x="20383" y="19907"/>
                  </a:lnTo>
                  <a:cubicBezTo>
                    <a:pt x="33147" y="13906"/>
                    <a:pt x="46101" y="9049"/>
                    <a:pt x="59246" y="5429"/>
                  </a:cubicBezTo>
                  <a:cubicBezTo>
                    <a:pt x="72390"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04" y="239173"/>
                    <a:pt x="86011" y="239173"/>
                  </a:cubicBezTo>
                  <a:close/>
                  <a:moveTo>
                    <a:pt x="93154" y="211169"/>
                  </a:moveTo>
                  <a:cubicBezTo>
                    <a:pt x="103822" y="211169"/>
                    <a:pt x="113824" y="209740"/>
                    <a:pt x="122968" y="206788"/>
                  </a:cubicBezTo>
                  <a:cubicBezTo>
                    <a:pt x="132112"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5" y="119348"/>
                    <a:pt x="116777" y="118300"/>
                    <a:pt x="102584" y="118300"/>
                  </a:cubicBezTo>
                  <a:cubicBezTo>
                    <a:pt x="81248" y="118300"/>
                    <a:pt x="64675" y="122491"/>
                    <a:pt x="52959" y="130969"/>
                  </a:cubicBezTo>
                  <a:cubicBezTo>
                    <a:pt x="41243" y="139446"/>
                    <a:pt x="35338" y="150590"/>
                    <a:pt x="35338" y="164497"/>
                  </a:cubicBezTo>
                  <a:lnTo>
                    <a:pt x="35338" y="165449"/>
                  </a:lnTo>
                  <a:cubicBezTo>
                    <a:pt x="35338" y="172498"/>
                    <a:pt x="36862" y="178975"/>
                    <a:pt x="40005" y="184785"/>
                  </a:cubicBezTo>
                  <a:cubicBezTo>
                    <a:pt x="43148" y="190500"/>
                    <a:pt x="47339" y="195358"/>
                    <a:pt x="52673" y="199263"/>
                  </a:cubicBezTo>
                  <a:cubicBezTo>
                    <a:pt x="58007" y="203073"/>
                    <a:pt x="64198" y="206026"/>
                    <a:pt x="71152" y="208121"/>
                  </a:cubicBezTo>
                  <a:cubicBezTo>
                    <a:pt x="78105" y="210217"/>
                    <a:pt x="85439" y="211169"/>
                    <a:pt x="93154" y="211169"/>
                  </a:cubicBezTo>
                  <a:close/>
                </a:path>
              </a:pathLst>
            </a:custGeom>
            <a:solidFill>
              <a:srgbClr val="44505E"/>
            </a:solidFill>
            <a:ln w="9525" cap="flat">
              <a:noFill/>
              <a:prstDash val="solid"/>
              <a:miter/>
            </a:ln>
          </p:spPr>
          <p:txBody>
            <a:bodyPr rtlCol="0" anchor="ctr"/>
            <a:lstStyle/>
            <a:p>
              <a:endParaRPr lang="pt-BR" noProof="0"/>
            </a:p>
          </p:txBody>
        </p:sp>
        <p:sp>
          <p:nvSpPr>
            <p:cNvPr id="36" name="Freeform: Shape 48">
              <a:extLst>
                <a:ext uri="{FF2B5EF4-FFF2-40B4-BE49-F238E27FC236}">
                  <a16:creationId xmlns:a16="http://schemas.microsoft.com/office/drawing/2014/main" id="{3677ED6B-EB4B-0B66-F5BD-7FB30299431F}"/>
                </a:ext>
              </a:extLst>
            </p:cNvPr>
            <p:cNvSpPr/>
            <p:nvPr/>
          </p:nvSpPr>
          <p:spPr>
            <a:xfrm>
              <a:off x="6280899" y="923980"/>
              <a:ext cx="87995" cy="59238"/>
            </a:xfrm>
            <a:custGeom>
              <a:avLst/>
              <a:gdLst>
                <a:gd name="connsiteX0" fmla="*/ 0 w 350043"/>
                <a:gd name="connsiteY0" fmla="*/ 5144 h 235648"/>
                <a:gd name="connsiteX1" fmla="*/ 34385 w 350043"/>
                <a:gd name="connsiteY1" fmla="*/ 5144 h 235648"/>
                <a:gd name="connsiteX2" fmla="*/ 34385 w 350043"/>
                <a:gd name="connsiteY2" fmla="*/ 44005 h 235648"/>
                <a:gd name="connsiteX3" fmla="*/ 47149 w 350043"/>
                <a:gd name="connsiteY3" fmla="*/ 27432 h 235648"/>
                <a:gd name="connsiteX4" fmla="*/ 62960 w 350043"/>
                <a:gd name="connsiteY4" fmla="*/ 13335 h 235648"/>
                <a:gd name="connsiteX5" fmla="*/ 83058 w 350043"/>
                <a:gd name="connsiteY5" fmla="*/ 3715 h 235648"/>
                <a:gd name="connsiteX6" fmla="*/ 108966 w 350043"/>
                <a:gd name="connsiteY6" fmla="*/ 95 h 235648"/>
                <a:gd name="connsiteX7" fmla="*/ 155448 w 350043"/>
                <a:gd name="connsiteY7" fmla="*/ 13240 h 235648"/>
                <a:gd name="connsiteX8" fmla="*/ 183166 w 350043"/>
                <a:gd name="connsiteY8" fmla="*/ 46006 h 235648"/>
                <a:gd name="connsiteX9" fmla="*/ 197168 w 350043"/>
                <a:gd name="connsiteY9" fmla="*/ 28194 h 235648"/>
                <a:gd name="connsiteX10" fmla="*/ 214789 w 350043"/>
                <a:gd name="connsiteY10" fmla="*/ 13430 h 235648"/>
                <a:gd name="connsiteX11" fmla="*/ 236887 w 350043"/>
                <a:gd name="connsiteY11" fmla="*/ 3620 h 235648"/>
                <a:gd name="connsiteX12" fmla="*/ 264319 w 350043"/>
                <a:gd name="connsiteY12" fmla="*/ 0 h 235648"/>
                <a:gd name="connsiteX13" fmla="*/ 327279 w 350043"/>
                <a:gd name="connsiteY13" fmla="*/ 24765 h 235648"/>
                <a:gd name="connsiteX14" fmla="*/ 350044 w 350043"/>
                <a:gd name="connsiteY14" fmla="*/ 92773 h 235648"/>
                <a:gd name="connsiteX15" fmla="*/ 350044 w 350043"/>
                <a:gd name="connsiteY15" fmla="*/ 235648 h 235648"/>
                <a:gd name="connsiteX16" fmla="*/ 315659 w 350043"/>
                <a:gd name="connsiteY16" fmla="*/ 235648 h 235648"/>
                <a:gd name="connsiteX17" fmla="*/ 315659 w 350043"/>
                <a:gd name="connsiteY17" fmla="*/ 101155 h 235648"/>
                <a:gd name="connsiteX18" fmla="*/ 299847 w 350043"/>
                <a:gd name="connsiteY18" fmla="*/ 49721 h 235648"/>
                <a:gd name="connsiteX19" fmla="*/ 255937 w 350043"/>
                <a:gd name="connsiteY19" fmla="*/ 31718 h 235648"/>
                <a:gd name="connsiteX20" fmla="*/ 231362 w 350043"/>
                <a:gd name="connsiteY20" fmla="*/ 36386 h 235648"/>
                <a:gd name="connsiteX21" fmla="*/ 211074 w 350043"/>
                <a:gd name="connsiteY21" fmla="*/ 50197 h 235648"/>
                <a:gd name="connsiteX22" fmla="*/ 197263 w 350043"/>
                <a:gd name="connsiteY22" fmla="*/ 72676 h 235648"/>
                <a:gd name="connsiteX23" fmla="*/ 192119 w 350043"/>
                <a:gd name="connsiteY23" fmla="*/ 102965 h 235648"/>
                <a:gd name="connsiteX24" fmla="*/ 192119 w 350043"/>
                <a:gd name="connsiteY24" fmla="*/ 235648 h 235648"/>
                <a:gd name="connsiteX25" fmla="*/ 158210 w 350043"/>
                <a:gd name="connsiteY25" fmla="*/ 235648 h 235648"/>
                <a:gd name="connsiteX26" fmla="*/ 158210 w 350043"/>
                <a:gd name="connsiteY26" fmla="*/ 100298 h 235648"/>
                <a:gd name="connsiteX27" fmla="*/ 142399 w 350043"/>
                <a:gd name="connsiteY27" fmla="*/ 49721 h 235648"/>
                <a:gd name="connsiteX28" fmla="*/ 98870 w 350043"/>
                <a:gd name="connsiteY28" fmla="*/ 31718 h 235648"/>
                <a:gd name="connsiteX29" fmla="*/ 73438 w 350043"/>
                <a:gd name="connsiteY29" fmla="*/ 37052 h 235648"/>
                <a:gd name="connsiteX30" fmla="*/ 53150 w 350043"/>
                <a:gd name="connsiteY30" fmla="*/ 52197 h 235648"/>
                <a:gd name="connsiteX31" fmla="*/ 39529 w 350043"/>
                <a:gd name="connsiteY31" fmla="*/ 75152 h 235648"/>
                <a:gd name="connsiteX32" fmla="*/ 34576 w 350043"/>
                <a:gd name="connsiteY32" fmla="*/ 104299 h 235648"/>
                <a:gd name="connsiteX33" fmla="*/ 34576 w 350043"/>
                <a:gd name="connsiteY33" fmla="*/ 235648 h 235648"/>
                <a:gd name="connsiteX34" fmla="*/ 190 w 350043"/>
                <a:gd name="connsiteY34" fmla="*/ 235648 h 235648"/>
                <a:gd name="connsiteX35" fmla="*/ 190 w 350043"/>
                <a:gd name="connsiteY35" fmla="*/ 485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0043" h="235648">
                  <a:moveTo>
                    <a:pt x="0" y="5144"/>
                  </a:moveTo>
                  <a:lnTo>
                    <a:pt x="34385" y="5144"/>
                  </a:lnTo>
                  <a:lnTo>
                    <a:pt x="34385" y="44005"/>
                  </a:lnTo>
                  <a:cubicBezTo>
                    <a:pt x="38290" y="38386"/>
                    <a:pt x="42481" y="32861"/>
                    <a:pt x="47149" y="27432"/>
                  </a:cubicBezTo>
                  <a:cubicBezTo>
                    <a:pt x="51721" y="22098"/>
                    <a:pt x="57055" y="17431"/>
                    <a:pt x="62960" y="13335"/>
                  </a:cubicBezTo>
                  <a:cubicBezTo>
                    <a:pt x="68866" y="9335"/>
                    <a:pt x="75629" y="6096"/>
                    <a:pt x="83058" y="3715"/>
                  </a:cubicBezTo>
                  <a:cubicBezTo>
                    <a:pt x="90488" y="1334"/>
                    <a:pt x="99155" y="95"/>
                    <a:pt x="108966" y="95"/>
                  </a:cubicBezTo>
                  <a:cubicBezTo>
                    <a:pt x="127730" y="95"/>
                    <a:pt x="143161" y="4477"/>
                    <a:pt x="155448" y="13240"/>
                  </a:cubicBezTo>
                  <a:cubicBezTo>
                    <a:pt x="167640" y="22003"/>
                    <a:pt x="176879" y="32956"/>
                    <a:pt x="183166" y="46006"/>
                  </a:cubicBezTo>
                  <a:cubicBezTo>
                    <a:pt x="187357" y="39719"/>
                    <a:pt x="192024" y="33814"/>
                    <a:pt x="197168" y="28194"/>
                  </a:cubicBezTo>
                  <a:cubicBezTo>
                    <a:pt x="202406" y="22574"/>
                    <a:pt x="208217" y="17621"/>
                    <a:pt x="214789" y="13430"/>
                  </a:cubicBezTo>
                  <a:cubicBezTo>
                    <a:pt x="221361" y="9239"/>
                    <a:pt x="228695" y="6001"/>
                    <a:pt x="236887" y="3620"/>
                  </a:cubicBezTo>
                  <a:cubicBezTo>
                    <a:pt x="245078" y="1238"/>
                    <a:pt x="254222" y="0"/>
                    <a:pt x="264319" y="0"/>
                  </a:cubicBezTo>
                  <a:cubicBezTo>
                    <a:pt x="291084" y="0"/>
                    <a:pt x="312039" y="8287"/>
                    <a:pt x="327279" y="24765"/>
                  </a:cubicBezTo>
                  <a:cubicBezTo>
                    <a:pt x="342519" y="41243"/>
                    <a:pt x="350044" y="63913"/>
                    <a:pt x="350044" y="92773"/>
                  </a:cubicBezTo>
                  <a:lnTo>
                    <a:pt x="350044" y="235648"/>
                  </a:lnTo>
                  <a:lnTo>
                    <a:pt x="315659" y="235648"/>
                  </a:lnTo>
                  <a:lnTo>
                    <a:pt x="315659" y="101155"/>
                  </a:lnTo>
                  <a:cubicBezTo>
                    <a:pt x="315659" y="78867"/>
                    <a:pt x="310420" y="61722"/>
                    <a:pt x="299847" y="49721"/>
                  </a:cubicBezTo>
                  <a:cubicBezTo>
                    <a:pt x="289274" y="37719"/>
                    <a:pt x="274606" y="31718"/>
                    <a:pt x="255937" y="31718"/>
                  </a:cubicBezTo>
                  <a:cubicBezTo>
                    <a:pt x="247269" y="31718"/>
                    <a:pt x="239078" y="33242"/>
                    <a:pt x="231362" y="36386"/>
                  </a:cubicBezTo>
                  <a:cubicBezTo>
                    <a:pt x="223647" y="39529"/>
                    <a:pt x="216884" y="44101"/>
                    <a:pt x="211074" y="50197"/>
                  </a:cubicBezTo>
                  <a:cubicBezTo>
                    <a:pt x="205264" y="56293"/>
                    <a:pt x="200692" y="63818"/>
                    <a:pt x="197263" y="72676"/>
                  </a:cubicBezTo>
                  <a:cubicBezTo>
                    <a:pt x="193834" y="81629"/>
                    <a:pt x="192119" y="91726"/>
                    <a:pt x="192119" y="102965"/>
                  </a:cubicBezTo>
                  <a:lnTo>
                    <a:pt x="192119" y="235648"/>
                  </a:lnTo>
                  <a:lnTo>
                    <a:pt x="158210" y="235648"/>
                  </a:lnTo>
                  <a:lnTo>
                    <a:pt x="158210" y="100298"/>
                  </a:lnTo>
                  <a:cubicBezTo>
                    <a:pt x="158210" y="78677"/>
                    <a:pt x="152971" y="61817"/>
                    <a:pt x="142399" y="49721"/>
                  </a:cubicBezTo>
                  <a:cubicBezTo>
                    <a:pt x="131826" y="37719"/>
                    <a:pt x="117348" y="31718"/>
                    <a:pt x="98870" y="31718"/>
                  </a:cubicBezTo>
                  <a:cubicBezTo>
                    <a:pt x="89630" y="31718"/>
                    <a:pt x="81153" y="33528"/>
                    <a:pt x="73438" y="37052"/>
                  </a:cubicBezTo>
                  <a:cubicBezTo>
                    <a:pt x="65722" y="40672"/>
                    <a:pt x="58960" y="45720"/>
                    <a:pt x="53150" y="52197"/>
                  </a:cubicBezTo>
                  <a:cubicBezTo>
                    <a:pt x="47339" y="58769"/>
                    <a:pt x="42767" y="66389"/>
                    <a:pt x="39529" y="75152"/>
                  </a:cubicBezTo>
                  <a:cubicBezTo>
                    <a:pt x="36290" y="83915"/>
                    <a:pt x="34576" y="93631"/>
                    <a:pt x="34576" y="104299"/>
                  </a:cubicBezTo>
                  <a:lnTo>
                    <a:pt x="34576" y="235648"/>
                  </a:lnTo>
                  <a:lnTo>
                    <a:pt x="190" y="235648"/>
                  </a:lnTo>
                  <a:lnTo>
                    <a:pt x="190" y="4858"/>
                  </a:lnTo>
                  <a:close/>
                </a:path>
              </a:pathLst>
            </a:custGeom>
            <a:solidFill>
              <a:srgbClr val="44505E"/>
            </a:solidFill>
            <a:ln w="9525" cap="flat">
              <a:noFill/>
              <a:prstDash val="solid"/>
              <a:miter/>
            </a:ln>
          </p:spPr>
          <p:txBody>
            <a:bodyPr rtlCol="0" anchor="ctr"/>
            <a:lstStyle/>
            <a:p>
              <a:endParaRPr lang="pt-BR" noProof="0"/>
            </a:p>
          </p:txBody>
        </p:sp>
        <p:sp>
          <p:nvSpPr>
            <p:cNvPr id="37" name="Freeform: Shape 49">
              <a:extLst>
                <a:ext uri="{FF2B5EF4-FFF2-40B4-BE49-F238E27FC236}">
                  <a16:creationId xmlns:a16="http://schemas.microsoft.com/office/drawing/2014/main" id="{32FAAEB2-D68D-0F3B-ABC1-5622147DCED8}"/>
                </a:ext>
              </a:extLst>
            </p:cNvPr>
            <p:cNvSpPr/>
            <p:nvPr/>
          </p:nvSpPr>
          <p:spPr>
            <a:xfrm>
              <a:off x="6415537" y="925273"/>
              <a:ext cx="58016" cy="58448"/>
            </a:xfrm>
            <a:custGeom>
              <a:avLst/>
              <a:gdLst>
                <a:gd name="connsiteX0" fmla="*/ 95 w 230790"/>
                <a:gd name="connsiteY0" fmla="*/ 0 h 232505"/>
                <a:gd name="connsiteX1" fmla="*/ 38005 w 230790"/>
                <a:gd name="connsiteY1" fmla="*/ 0 h 232505"/>
                <a:gd name="connsiteX2" fmla="*/ 115633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3"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38" name="Freeform: Shape 50">
              <a:extLst>
                <a:ext uri="{FF2B5EF4-FFF2-40B4-BE49-F238E27FC236}">
                  <a16:creationId xmlns:a16="http://schemas.microsoft.com/office/drawing/2014/main" id="{51F6D878-0427-114C-DA99-FC1778840BFC}"/>
                </a:ext>
              </a:extLst>
            </p:cNvPr>
            <p:cNvSpPr/>
            <p:nvPr/>
          </p:nvSpPr>
          <p:spPr>
            <a:xfrm>
              <a:off x="6487369"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286 w 39242"/>
                <a:gd name="connsiteY5" fmla="*/ 88392 h 319182"/>
                <a:gd name="connsiteX6" fmla="*/ 36671 w 39242"/>
                <a:gd name="connsiteY6" fmla="*/ 88392 h 319182"/>
                <a:gd name="connsiteX7" fmla="*/ 36671 w 39242"/>
                <a:gd name="connsiteY7" fmla="*/ 319183 h 319182"/>
                <a:gd name="connsiteX8" fmla="*/ 2286 w 39242"/>
                <a:gd name="connsiteY8" fmla="*/ 319183 h 319182"/>
                <a:gd name="connsiteX9" fmla="*/ 2286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286" y="88392"/>
                  </a:moveTo>
                  <a:lnTo>
                    <a:pt x="36671" y="88392"/>
                  </a:lnTo>
                  <a:lnTo>
                    <a:pt x="36671" y="319183"/>
                  </a:lnTo>
                  <a:lnTo>
                    <a:pt x="2286" y="319183"/>
                  </a:lnTo>
                  <a:lnTo>
                    <a:pt x="2286" y="88392"/>
                  </a:lnTo>
                  <a:close/>
                </a:path>
              </a:pathLst>
            </a:custGeom>
            <a:solidFill>
              <a:srgbClr val="44505E"/>
            </a:solidFill>
            <a:ln w="9525" cap="flat">
              <a:noFill/>
              <a:prstDash val="solid"/>
              <a:miter/>
            </a:ln>
          </p:spPr>
          <p:txBody>
            <a:bodyPr rtlCol="0" anchor="ctr"/>
            <a:lstStyle/>
            <a:p>
              <a:endParaRPr lang="pt-BR" noProof="0"/>
            </a:p>
          </p:txBody>
        </p:sp>
        <p:sp>
          <p:nvSpPr>
            <p:cNvPr id="39" name="Freeform: Shape 51">
              <a:extLst>
                <a:ext uri="{FF2B5EF4-FFF2-40B4-BE49-F238E27FC236}">
                  <a16:creationId xmlns:a16="http://schemas.microsoft.com/office/drawing/2014/main" id="{DCFB5AB8-E0D3-B0D1-23E2-85AB7CBBED63}"/>
                </a:ext>
              </a:extLst>
            </p:cNvPr>
            <p:cNvSpPr/>
            <p:nvPr/>
          </p:nvSpPr>
          <p:spPr>
            <a:xfrm>
              <a:off x="6513253" y="901353"/>
              <a:ext cx="58615" cy="83182"/>
            </a:xfrm>
            <a:custGeom>
              <a:avLst/>
              <a:gdLst>
                <a:gd name="connsiteX0" fmla="*/ 110394 w 233171"/>
                <a:gd name="connsiteY0" fmla="*/ 330898 h 330898"/>
                <a:gd name="connsiteX1" fmla="*/ 69723 w 233171"/>
                <a:gd name="connsiteY1" fmla="*/ 322897 h 330898"/>
                <a:gd name="connsiteX2" fmla="*/ 34480 w 233171"/>
                <a:gd name="connsiteY2" fmla="*/ 299466 h 330898"/>
                <a:gd name="connsiteX3" fmla="*/ 9430 w 233171"/>
                <a:gd name="connsiteY3" fmla="*/ 261938 h 330898"/>
                <a:gd name="connsiteX4" fmla="*/ 0 w 233171"/>
                <a:gd name="connsiteY4" fmla="*/ 211264 h 330898"/>
                <a:gd name="connsiteX5" fmla="*/ 0 w 233171"/>
                <a:gd name="connsiteY5" fmla="*/ 210407 h 330898"/>
                <a:gd name="connsiteX6" fmla="*/ 9430 w 233171"/>
                <a:gd name="connsiteY6" fmla="*/ 159925 h 330898"/>
                <a:gd name="connsiteX7" fmla="*/ 34480 w 233171"/>
                <a:gd name="connsiteY7" fmla="*/ 122206 h 330898"/>
                <a:gd name="connsiteX8" fmla="*/ 69723 w 233171"/>
                <a:gd name="connsiteY8" fmla="*/ 98488 h 330898"/>
                <a:gd name="connsiteX9" fmla="*/ 110394 w 233171"/>
                <a:gd name="connsiteY9" fmla="*/ 90202 h 330898"/>
                <a:gd name="connsiteX10" fmla="*/ 139827 w 233171"/>
                <a:gd name="connsiteY10" fmla="*/ 94202 h 330898"/>
                <a:gd name="connsiteX11" fmla="*/ 163925 w 233171"/>
                <a:gd name="connsiteY11" fmla="*/ 104870 h 330898"/>
                <a:gd name="connsiteX12" fmla="*/ 183356 w 233171"/>
                <a:gd name="connsiteY12" fmla="*/ 120491 h 330898"/>
                <a:gd name="connsiteX13" fmla="*/ 198787 w 233171"/>
                <a:gd name="connsiteY13" fmla="*/ 139255 h 330898"/>
                <a:gd name="connsiteX14" fmla="*/ 198787 w 233171"/>
                <a:gd name="connsiteY14" fmla="*/ 0 h 330898"/>
                <a:gd name="connsiteX15" fmla="*/ 233172 w 233171"/>
                <a:gd name="connsiteY15" fmla="*/ 0 h 330898"/>
                <a:gd name="connsiteX16" fmla="*/ 233172 w 233171"/>
                <a:gd name="connsiteY16" fmla="*/ 325850 h 330898"/>
                <a:gd name="connsiteX17" fmla="*/ 198787 w 233171"/>
                <a:gd name="connsiteY17" fmla="*/ 325850 h 330898"/>
                <a:gd name="connsiteX18" fmla="*/ 198787 w 233171"/>
                <a:gd name="connsiteY18" fmla="*/ 279463 h 330898"/>
                <a:gd name="connsiteX19" fmla="*/ 182975 w 233171"/>
                <a:gd name="connsiteY19" fmla="*/ 299085 h 330898"/>
                <a:gd name="connsiteX20" fmla="*/ 163544 w 233171"/>
                <a:gd name="connsiteY20" fmla="*/ 315658 h 330898"/>
                <a:gd name="connsiteX21" fmla="*/ 139636 w 233171"/>
                <a:gd name="connsiteY21" fmla="*/ 326803 h 330898"/>
                <a:gd name="connsiteX22" fmla="*/ 110394 w 233171"/>
                <a:gd name="connsiteY22" fmla="*/ 330803 h 330898"/>
                <a:gd name="connsiteX23" fmla="*/ 116681 w 233171"/>
                <a:gd name="connsiteY23" fmla="*/ 300133 h 330898"/>
                <a:gd name="connsiteX24" fmla="*/ 147733 w 233171"/>
                <a:gd name="connsiteY24" fmla="*/ 293656 h 330898"/>
                <a:gd name="connsiteX25" fmla="*/ 174498 w 233171"/>
                <a:gd name="connsiteY25" fmla="*/ 275368 h 330898"/>
                <a:gd name="connsiteX26" fmla="*/ 193262 w 233171"/>
                <a:gd name="connsiteY26" fmla="*/ 247269 h 330898"/>
                <a:gd name="connsiteX27" fmla="*/ 200216 w 233171"/>
                <a:gd name="connsiteY27" fmla="*/ 210883 h 330898"/>
                <a:gd name="connsiteX28" fmla="*/ 200216 w 233171"/>
                <a:gd name="connsiteY28" fmla="*/ 210026 h 330898"/>
                <a:gd name="connsiteX29" fmla="*/ 193262 w 233171"/>
                <a:gd name="connsiteY29" fmla="*/ 173641 h 330898"/>
                <a:gd name="connsiteX30" fmla="*/ 174498 w 233171"/>
                <a:gd name="connsiteY30" fmla="*/ 145732 h 330898"/>
                <a:gd name="connsiteX31" fmla="*/ 147733 w 233171"/>
                <a:gd name="connsiteY31" fmla="*/ 127635 h 330898"/>
                <a:gd name="connsiteX32" fmla="*/ 116681 w 233171"/>
                <a:gd name="connsiteY32" fmla="*/ 121158 h 330898"/>
                <a:gd name="connsiteX33" fmla="*/ 84963 w 233171"/>
                <a:gd name="connsiteY33" fmla="*/ 127159 h 330898"/>
                <a:gd name="connsiteX34" fmla="*/ 59341 w 233171"/>
                <a:gd name="connsiteY34" fmla="*/ 144589 h 330898"/>
                <a:gd name="connsiteX35" fmla="*/ 41910 w 233171"/>
                <a:gd name="connsiteY35" fmla="*/ 172498 h 330898"/>
                <a:gd name="connsiteX36" fmla="*/ 35433 w 233171"/>
                <a:gd name="connsiteY36" fmla="*/ 210026 h 330898"/>
                <a:gd name="connsiteX37" fmla="*/ 35433 w 233171"/>
                <a:gd name="connsiteY37" fmla="*/ 210883 h 330898"/>
                <a:gd name="connsiteX38" fmla="*/ 41910 w 233171"/>
                <a:gd name="connsiteY38" fmla="*/ 247936 h 330898"/>
                <a:gd name="connsiteX39" fmla="*/ 59531 w 233171"/>
                <a:gd name="connsiteY39" fmla="*/ 276034 h 330898"/>
                <a:gd name="connsiteX40" fmla="*/ 85439 w 233171"/>
                <a:gd name="connsiteY40" fmla="*/ 293941 h 330898"/>
                <a:gd name="connsiteX41" fmla="*/ 116681 w 23317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3171" h="330898">
                  <a:moveTo>
                    <a:pt x="110394" y="330898"/>
                  </a:moveTo>
                  <a:cubicBezTo>
                    <a:pt x="96393" y="330898"/>
                    <a:pt x="82868" y="328231"/>
                    <a:pt x="69723" y="322897"/>
                  </a:cubicBezTo>
                  <a:cubicBezTo>
                    <a:pt x="56674" y="317563"/>
                    <a:pt x="44863" y="309753"/>
                    <a:pt x="34480" y="299466"/>
                  </a:cubicBezTo>
                  <a:cubicBezTo>
                    <a:pt x="24003" y="289179"/>
                    <a:pt x="15716" y="276701"/>
                    <a:pt x="9430" y="261938"/>
                  </a:cubicBezTo>
                  <a:cubicBezTo>
                    <a:pt x="3143" y="247174"/>
                    <a:pt x="0" y="230314"/>
                    <a:pt x="0" y="211264"/>
                  </a:cubicBezTo>
                  <a:lnTo>
                    <a:pt x="0" y="210407"/>
                  </a:lnTo>
                  <a:cubicBezTo>
                    <a:pt x="0" y="191643"/>
                    <a:pt x="3143" y="174879"/>
                    <a:pt x="9430" y="159925"/>
                  </a:cubicBezTo>
                  <a:cubicBezTo>
                    <a:pt x="15716" y="145066"/>
                    <a:pt x="24003" y="132493"/>
                    <a:pt x="34480" y="122206"/>
                  </a:cubicBezTo>
                  <a:cubicBezTo>
                    <a:pt x="44863" y="111919"/>
                    <a:pt x="56674" y="104013"/>
                    <a:pt x="69723" y="98488"/>
                  </a:cubicBezTo>
                  <a:cubicBezTo>
                    <a:pt x="82868" y="92964"/>
                    <a:pt x="96393" y="90202"/>
                    <a:pt x="110394" y="90202"/>
                  </a:cubicBezTo>
                  <a:cubicBezTo>
                    <a:pt x="121158" y="90202"/>
                    <a:pt x="130969" y="91535"/>
                    <a:pt x="139827" y="94202"/>
                  </a:cubicBezTo>
                  <a:cubicBezTo>
                    <a:pt x="148780" y="96869"/>
                    <a:pt x="156782" y="100489"/>
                    <a:pt x="163925" y="104870"/>
                  </a:cubicBezTo>
                  <a:cubicBezTo>
                    <a:pt x="171069" y="109347"/>
                    <a:pt x="177546" y="114586"/>
                    <a:pt x="183356" y="120491"/>
                  </a:cubicBezTo>
                  <a:cubicBezTo>
                    <a:pt x="189166" y="126492"/>
                    <a:pt x="194310" y="132683"/>
                    <a:pt x="198787" y="139255"/>
                  </a:cubicBezTo>
                  <a:lnTo>
                    <a:pt x="198787" y="0"/>
                  </a:lnTo>
                  <a:lnTo>
                    <a:pt x="233172" y="0"/>
                  </a:lnTo>
                  <a:lnTo>
                    <a:pt x="233172" y="325850"/>
                  </a:lnTo>
                  <a:lnTo>
                    <a:pt x="198787" y="325850"/>
                  </a:lnTo>
                  <a:lnTo>
                    <a:pt x="198787" y="279463"/>
                  </a:lnTo>
                  <a:cubicBezTo>
                    <a:pt x="194024" y="286321"/>
                    <a:pt x="188786" y="292894"/>
                    <a:pt x="182975" y="299085"/>
                  </a:cubicBezTo>
                  <a:cubicBezTo>
                    <a:pt x="177165" y="305371"/>
                    <a:pt x="170688" y="310896"/>
                    <a:pt x="163544" y="315658"/>
                  </a:cubicBezTo>
                  <a:cubicBezTo>
                    <a:pt x="156400" y="320421"/>
                    <a:pt x="148494" y="324136"/>
                    <a:pt x="139636" y="326803"/>
                  </a:cubicBezTo>
                  <a:cubicBezTo>
                    <a:pt x="130873" y="329470"/>
                    <a:pt x="121158" y="330803"/>
                    <a:pt x="110394" y="330803"/>
                  </a:cubicBezTo>
                  <a:close/>
                  <a:moveTo>
                    <a:pt x="116681" y="300133"/>
                  </a:moveTo>
                  <a:cubicBezTo>
                    <a:pt x="127445" y="300133"/>
                    <a:pt x="137732" y="297942"/>
                    <a:pt x="147733" y="293656"/>
                  </a:cubicBezTo>
                  <a:cubicBezTo>
                    <a:pt x="157734" y="289369"/>
                    <a:pt x="166592" y="283273"/>
                    <a:pt x="174498" y="275368"/>
                  </a:cubicBezTo>
                  <a:cubicBezTo>
                    <a:pt x="182404" y="267462"/>
                    <a:pt x="188595" y="258127"/>
                    <a:pt x="193262" y="247269"/>
                  </a:cubicBezTo>
                  <a:cubicBezTo>
                    <a:pt x="197834" y="236410"/>
                    <a:pt x="200216" y="224314"/>
                    <a:pt x="200216" y="210883"/>
                  </a:cubicBezTo>
                  <a:lnTo>
                    <a:pt x="200216" y="210026"/>
                  </a:lnTo>
                  <a:cubicBezTo>
                    <a:pt x="200216" y="196596"/>
                    <a:pt x="197929" y="184499"/>
                    <a:pt x="193262" y="173641"/>
                  </a:cubicBezTo>
                  <a:cubicBezTo>
                    <a:pt x="188595" y="162782"/>
                    <a:pt x="182404" y="153448"/>
                    <a:pt x="174498" y="145732"/>
                  </a:cubicBezTo>
                  <a:cubicBezTo>
                    <a:pt x="166592" y="138017"/>
                    <a:pt x="157639" y="132016"/>
                    <a:pt x="147733" y="127635"/>
                  </a:cubicBezTo>
                  <a:cubicBezTo>
                    <a:pt x="137732" y="123349"/>
                    <a:pt x="127445" y="121158"/>
                    <a:pt x="116681" y="121158"/>
                  </a:cubicBezTo>
                  <a:cubicBezTo>
                    <a:pt x="105346" y="121158"/>
                    <a:pt x="94774" y="123158"/>
                    <a:pt x="84963" y="127159"/>
                  </a:cubicBezTo>
                  <a:cubicBezTo>
                    <a:pt x="75152" y="131159"/>
                    <a:pt x="66580" y="136969"/>
                    <a:pt x="59341" y="144589"/>
                  </a:cubicBezTo>
                  <a:cubicBezTo>
                    <a:pt x="52007" y="152114"/>
                    <a:pt x="46291" y="161449"/>
                    <a:pt x="41910" y="172498"/>
                  </a:cubicBezTo>
                  <a:cubicBezTo>
                    <a:pt x="37624" y="183451"/>
                    <a:pt x="35433" y="196024"/>
                    <a:pt x="35433" y="210026"/>
                  </a:cubicBezTo>
                  <a:lnTo>
                    <a:pt x="35433" y="210883"/>
                  </a:lnTo>
                  <a:cubicBezTo>
                    <a:pt x="35433" y="224599"/>
                    <a:pt x="37624" y="236982"/>
                    <a:pt x="41910" y="247936"/>
                  </a:cubicBezTo>
                  <a:cubicBezTo>
                    <a:pt x="46196" y="258984"/>
                    <a:pt x="52101" y="268319"/>
                    <a:pt x="59531" y="276034"/>
                  </a:cubicBezTo>
                  <a:cubicBezTo>
                    <a:pt x="66960" y="283750"/>
                    <a:pt x="75629" y="289750"/>
                    <a:pt x="85439" y="293941"/>
                  </a:cubicBezTo>
                  <a:cubicBezTo>
                    <a:pt x="95250" y="298132"/>
                    <a:pt x="105632" y="300228"/>
                    <a:pt x="116681" y="300228"/>
                  </a:cubicBezTo>
                  <a:close/>
                </a:path>
              </a:pathLst>
            </a:custGeom>
            <a:solidFill>
              <a:srgbClr val="44505E"/>
            </a:solidFill>
            <a:ln w="9525" cap="flat">
              <a:noFill/>
              <a:prstDash val="solid"/>
              <a:miter/>
            </a:ln>
          </p:spPr>
          <p:txBody>
            <a:bodyPr rtlCol="0" anchor="ctr"/>
            <a:lstStyle/>
            <a:p>
              <a:endParaRPr lang="pt-BR" noProof="0"/>
            </a:p>
          </p:txBody>
        </p:sp>
        <p:sp>
          <p:nvSpPr>
            <p:cNvPr id="40" name="Freeform: Shape 52">
              <a:extLst>
                <a:ext uri="{FF2B5EF4-FFF2-40B4-BE49-F238E27FC236}">
                  <a16:creationId xmlns:a16="http://schemas.microsoft.com/office/drawing/2014/main" id="{07BB4AFA-06D5-0FCA-2FAC-388A1B0E3F65}"/>
                </a:ext>
              </a:extLst>
            </p:cNvPr>
            <p:cNvSpPr/>
            <p:nvPr/>
          </p:nvSpPr>
          <p:spPr>
            <a:xfrm>
              <a:off x="6586762"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0 w 202977"/>
                <a:gd name="connsiteY16" fmla="*/ 48196 h 239267"/>
                <a:gd name="connsiteX17" fmla="*/ 20383 w 202977"/>
                <a:gd name="connsiteY17" fmla="*/ 19907 h 239267"/>
                <a:gd name="connsiteX18" fmla="*/ 59245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0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1"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675" y="92678"/>
                    <a:pt x="84011" y="90964"/>
                    <a:pt x="98584" y="90964"/>
                  </a:cubicBezTo>
                  <a:cubicBezTo>
                    <a:pt x="113157" y="90964"/>
                    <a:pt x="126302"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0" y="33147"/>
                    <a:pt x="63436" y="36100"/>
                  </a:cubicBezTo>
                  <a:cubicBezTo>
                    <a:pt x="52292" y="39053"/>
                    <a:pt x="41338" y="43053"/>
                    <a:pt x="30670" y="48196"/>
                  </a:cubicBezTo>
                  <a:lnTo>
                    <a:pt x="20383" y="19907"/>
                  </a:lnTo>
                  <a:cubicBezTo>
                    <a:pt x="33147" y="13906"/>
                    <a:pt x="46101" y="9049"/>
                    <a:pt x="59245" y="5429"/>
                  </a:cubicBezTo>
                  <a:cubicBezTo>
                    <a:pt x="72294" y="1810"/>
                    <a:pt x="87344" y="0"/>
                    <a:pt x="104299" y="0"/>
                  </a:cubicBezTo>
                  <a:cubicBezTo>
                    <a:pt x="137064" y="0"/>
                    <a:pt x="161925" y="8477"/>
                    <a:pt x="178879" y="25432"/>
                  </a:cubicBezTo>
                  <a:cubicBezTo>
                    <a:pt x="194976"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0" y="239173"/>
                  </a:cubicBezTo>
                  <a:close/>
                  <a:moveTo>
                    <a:pt x="93154" y="211169"/>
                  </a:moveTo>
                  <a:cubicBezTo>
                    <a:pt x="103822" y="211169"/>
                    <a:pt x="113729" y="209740"/>
                    <a:pt x="122967" y="206788"/>
                  </a:cubicBezTo>
                  <a:cubicBezTo>
                    <a:pt x="132207"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4" y="119348"/>
                    <a:pt x="116871"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41" name="Freeform: Shape 53">
              <a:extLst>
                <a:ext uri="{FF2B5EF4-FFF2-40B4-BE49-F238E27FC236}">
                  <a16:creationId xmlns:a16="http://schemas.microsoft.com/office/drawing/2014/main" id="{BA27E18E-40DF-F1F5-75C3-8ACEEA37EB11}"/>
                </a:ext>
              </a:extLst>
            </p:cNvPr>
            <p:cNvSpPr/>
            <p:nvPr/>
          </p:nvSpPr>
          <p:spPr>
            <a:xfrm>
              <a:off x="6651291" y="924268"/>
              <a:ext cx="44680" cy="60195"/>
            </a:xfrm>
            <a:custGeom>
              <a:avLst/>
              <a:gdLst>
                <a:gd name="connsiteX0" fmla="*/ 95535 w 177736"/>
                <a:gd name="connsiteY0" fmla="*/ 239268 h 239458"/>
                <a:gd name="connsiteX1" fmla="*/ 45053 w 177736"/>
                <a:gd name="connsiteY1" fmla="*/ 230124 h 239458"/>
                <a:gd name="connsiteX2" fmla="*/ 0 w 177736"/>
                <a:gd name="connsiteY2" fmla="*/ 205359 h 239458"/>
                <a:gd name="connsiteX3" fmla="*/ 17430 w 177736"/>
                <a:gd name="connsiteY3" fmla="*/ 180785 h 239458"/>
                <a:gd name="connsiteX4" fmla="*/ 56483 w 177736"/>
                <a:gd name="connsiteY4" fmla="*/ 202692 h 239458"/>
                <a:gd name="connsiteX5" fmla="*/ 97345 w 177736"/>
                <a:gd name="connsiteY5" fmla="*/ 210217 h 239458"/>
                <a:gd name="connsiteX6" fmla="*/ 131730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825 w 177736"/>
                <a:gd name="connsiteY10" fmla="*/ 147066 h 239458"/>
                <a:gd name="connsiteX11" fmla="*/ 109251 w 177736"/>
                <a:gd name="connsiteY11" fmla="*/ 138779 h 239458"/>
                <a:gd name="connsiteX12" fmla="*/ 87630 w 177736"/>
                <a:gd name="connsiteY12" fmla="*/ 132112 h 239458"/>
                <a:gd name="connsiteX13" fmla="*/ 60579 w 177736"/>
                <a:gd name="connsiteY13" fmla="*/ 123444 h 239458"/>
                <a:gd name="connsiteX14" fmla="*/ 36004 w 177736"/>
                <a:gd name="connsiteY14" fmla="*/ 111633 h 239458"/>
                <a:gd name="connsiteX15" fmla="*/ 18192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59 w 177736"/>
                <a:gd name="connsiteY22" fmla="*/ 6953 h 239458"/>
                <a:gd name="connsiteX23" fmla="*/ 172878 w 177736"/>
                <a:gd name="connsiteY23" fmla="*/ 25527 h 239458"/>
                <a:gd name="connsiteX24" fmla="*/ 157257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3 w 177736"/>
                <a:gd name="connsiteY32" fmla="*/ 96203 h 239458"/>
                <a:gd name="connsiteX33" fmla="*/ 103631 w 177736"/>
                <a:gd name="connsiteY33" fmla="*/ 103346 h 239458"/>
                <a:gd name="connsiteX34" fmla="*/ 130207 w 177736"/>
                <a:gd name="connsiteY34" fmla="*/ 112300 h 239458"/>
                <a:gd name="connsiteX35" fmla="*/ 154114 w 177736"/>
                <a:gd name="connsiteY35" fmla="*/ 124778 h 239458"/>
                <a:gd name="connsiteX36" fmla="*/ 171259 w 177736"/>
                <a:gd name="connsiteY36" fmla="*/ 143066 h 239458"/>
                <a:gd name="connsiteX37" fmla="*/ 177736 w 177736"/>
                <a:gd name="connsiteY37" fmla="*/ 169450 h 239458"/>
                <a:gd name="connsiteX38" fmla="*/ 177736 w 177736"/>
                <a:gd name="connsiteY38" fmla="*/ 170307 h 239458"/>
                <a:gd name="connsiteX39" fmla="*/ 171259 w 177736"/>
                <a:gd name="connsiteY39" fmla="*/ 199549 h 239458"/>
                <a:gd name="connsiteX40" fmla="*/ 153828 w 177736"/>
                <a:gd name="connsiteY40" fmla="*/ 221171 h 239458"/>
                <a:gd name="connsiteX41" fmla="*/ 127921 w 177736"/>
                <a:gd name="connsiteY41" fmla="*/ 234791 h 239458"/>
                <a:gd name="connsiteX42" fmla="*/ 95535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5" y="239268"/>
                  </a:moveTo>
                  <a:cubicBezTo>
                    <a:pt x="78867" y="239268"/>
                    <a:pt x="62007" y="236220"/>
                    <a:pt x="45053" y="230124"/>
                  </a:cubicBezTo>
                  <a:cubicBezTo>
                    <a:pt x="28098" y="224028"/>
                    <a:pt x="13049" y="215741"/>
                    <a:pt x="0" y="205359"/>
                  </a:cubicBezTo>
                  <a:lnTo>
                    <a:pt x="17430" y="180785"/>
                  </a:lnTo>
                  <a:cubicBezTo>
                    <a:pt x="29908" y="190310"/>
                    <a:pt x="42957" y="197644"/>
                    <a:pt x="56483" y="202692"/>
                  </a:cubicBezTo>
                  <a:cubicBezTo>
                    <a:pt x="70009" y="207740"/>
                    <a:pt x="83629" y="210217"/>
                    <a:pt x="97345" y="210217"/>
                  </a:cubicBezTo>
                  <a:cubicBezTo>
                    <a:pt x="111061" y="210217"/>
                    <a:pt x="122777" y="206978"/>
                    <a:pt x="131730" y="200406"/>
                  </a:cubicBezTo>
                  <a:cubicBezTo>
                    <a:pt x="140684" y="193834"/>
                    <a:pt x="145161" y="184976"/>
                    <a:pt x="145161" y="173641"/>
                  </a:cubicBezTo>
                  <a:lnTo>
                    <a:pt x="145161" y="172784"/>
                  </a:lnTo>
                  <a:cubicBezTo>
                    <a:pt x="145161" y="167164"/>
                    <a:pt x="143541" y="162211"/>
                    <a:pt x="140494" y="158020"/>
                  </a:cubicBezTo>
                  <a:cubicBezTo>
                    <a:pt x="137350" y="153829"/>
                    <a:pt x="133159" y="150209"/>
                    <a:pt x="127825" y="147066"/>
                  </a:cubicBezTo>
                  <a:cubicBezTo>
                    <a:pt x="122491" y="143923"/>
                    <a:pt x="116300" y="141161"/>
                    <a:pt x="109251" y="138779"/>
                  </a:cubicBezTo>
                  <a:cubicBezTo>
                    <a:pt x="102298" y="136398"/>
                    <a:pt x="95059" y="134207"/>
                    <a:pt x="87630" y="132112"/>
                  </a:cubicBezTo>
                  <a:cubicBezTo>
                    <a:pt x="78676" y="129445"/>
                    <a:pt x="69722" y="126492"/>
                    <a:pt x="60579" y="123444"/>
                  </a:cubicBezTo>
                  <a:cubicBezTo>
                    <a:pt x="51530" y="120301"/>
                    <a:pt x="43339" y="116396"/>
                    <a:pt x="36004" y="111633"/>
                  </a:cubicBezTo>
                  <a:cubicBezTo>
                    <a:pt x="28670" y="106871"/>
                    <a:pt x="22764" y="100870"/>
                    <a:pt x="18192" y="93726"/>
                  </a:cubicBezTo>
                  <a:cubicBezTo>
                    <a:pt x="13525" y="86582"/>
                    <a:pt x="11239" y="77629"/>
                    <a:pt x="11239" y="66961"/>
                  </a:cubicBezTo>
                  <a:lnTo>
                    <a:pt x="11239" y="66008"/>
                  </a:lnTo>
                  <a:cubicBezTo>
                    <a:pt x="11239" y="56198"/>
                    <a:pt x="13144" y="47149"/>
                    <a:pt x="17050" y="39053"/>
                  </a:cubicBezTo>
                  <a:cubicBezTo>
                    <a:pt x="20955" y="30861"/>
                    <a:pt x="26384" y="23908"/>
                    <a:pt x="33338" y="18098"/>
                  </a:cubicBezTo>
                  <a:cubicBezTo>
                    <a:pt x="40291" y="12287"/>
                    <a:pt x="48673" y="7811"/>
                    <a:pt x="58388" y="4667"/>
                  </a:cubicBezTo>
                  <a:cubicBezTo>
                    <a:pt x="68008" y="1524"/>
                    <a:pt x="78581" y="0"/>
                    <a:pt x="89821" y="0"/>
                  </a:cubicBezTo>
                  <a:cubicBezTo>
                    <a:pt x="104108" y="0"/>
                    <a:pt x="118586" y="2286"/>
                    <a:pt x="133159" y="6953"/>
                  </a:cubicBezTo>
                  <a:cubicBezTo>
                    <a:pt x="147732" y="11621"/>
                    <a:pt x="160972" y="17717"/>
                    <a:pt x="172878" y="25527"/>
                  </a:cubicBezTo>
                  <a:lnTo>
                    <a:pt x="157257" y="51435"/>
                  </a:lnTo>
                  <a:cubicBezTo>
                    <a:pt x="146494" y="44577"/>
                    <a:pt x="135255" y="39148"/>
                    <a:pt x="123539" y="35147"/>
                  </a:cubicBezTo>
                  <a:cubicBezTo>
                    <a:pt x="111823" y="31147"/>
                    <a:pt x="100203" y="29146"/>
                    <a:pt x="88963" y="29146"/>
                  </a:cubicBezTo>
                  <a:cubicBezTo>
                    <a:pt x="75247" y="29146"/>
                    <a:pt x="64389" y="32385"/>
                    <a:pt x="56388" y="38767"/>
                  </a:cubicBezTo>
                  <a:cubicBezTo>
                    <a:pt x="48291" y="45149"/>
                    <a:pt x="44291" y="53150"/>
                    <a:pt x="44291" y="62675"/>
                  </a:cubicBezTo>
                  <a:lnTo>
                    <a:pt x="44291" y="63627"/>
                  </a:lnTo>
                  <a:cubicBezTo>
                    <a:pt x="44291" y="68961"/>
                    <a:pt x="45910" y="73628"/>
                    <a:pt x="49244" y="77724"/>
                  </a:cubicBezTo>
                  <a:cubicBezTo>
                    <a:pt x="52482" y="81725"/>
                    <a:pt x="56864" y="85249"/>
                    <a:pt x="62389" y="88202"/>
                  </a:cubicBezTo>
                  <a:cubicBezTo>
                    <a:pt x="67913" y="91154"/>
                    <a:pt x="74200" y="93821"/>
                    <a:pt x="81343" y="96203"/>
                  </a:cubicBezTo>
                  <a:cubicBezTo>
                    <a:pt x="88487" y="98584"/>
                    <a:pt x="95916" y="100965"/>
                    <a:pt x="103631" y="103346"/>
                  </a:cubicBezTo>
                  <a:cubicBezTo>
                    <a:pt x="112585" y="106013"/>
                    <a:pt x="121444" y="108966"/>
                    <a:pt x="130207" y="112300"/>
                  </a:cubicBezTo>
                  <a:cubicBezTo>
                    <a:pt x="138969" y="115538"/>
                    <a:pt x="146971" y="119729"/>
                    <a:pt x="154114" y="124778"/>
                  </a:cubicBezTo>
                  <a:cubicBezTo>
                    <a:pt x="161258" y="129826"/>
                    <a:pt x="166973" y="135922"/>
                    <a:pt x="171259" y="143066"/>
                  </a:cubicBezTo>
                  <a:cubicBezTo>
                    <a:pt x="175546" y="150209"/>
                    <a:pt x="177736" y="158972"/>
                    <a:pt x="177736" y="169450"/>
                  </a:cubicBezTo>
                  <a:lnTo>
                    <a:pt x="177736" y="170307"/>
                  </a:lnTo>
                  <a:cubicBezTo>
                    <a:pt x="177736" y="181356"/>
                    <a:pt x="175546" y="191071"/>
                    <a:pt x="171259" y="199549"/>
                  </a:cubicBezTo>
                  <a:cubicBezTo>
                    <a:pt x="166973" y="208026"/>
                    <a:pt x="161163" y="215265"/>
                    <a:pt x="153828" y="221171"/>
                  </a:cubicBezTo>
                  <a:cubicBezTo>
                    <a:pt x="146589" y="227171"/>
                    <a:pt x="137922" y="231648"/>
                    <a:pt x="127921" y="234791"/>
                  </a:cubicBezTo>
                  <a:cubicBezTo>
                    <a:pt x="117919" y="237935"/>
                    <a:pt x="107156" y="239459"/>
                    <a:pt x="95535" y="239459"/>
                  </a:cubicBezTo>
                  <a:close/>
                </a:path>
              </a:pathLst>
            </a:custGeom>
            <a:solidFill>
              <a:srgbClr val="44505E"/>
            </a:solidFill>
            <a:ln w="9525" cap="flat">
              <a:noFill/>
              <a:prstDash val="solid"/>
              <a:miter/>
            </a:ln>
          </p:spPr>
          <p:txBody>
            <a:bodyPr rtlCol="0" anchor="ctr"/>
            <a:lstStyle/>
            <a:p>
              <a:endParaRPr lang="pt-BR" noProof="0"/>
            </a:p>
          </p:txBody>
        </p:sp>
        <p:sp>
          <p:nvSpPr>
            <p:cNvPr id="42" name="Freeform: Shape 54">
              <a:extLst>
                <a:ext uri="{FF2B5EF4-FFF2-40B4-BE49-F238E27FC236}">
                  <a16:creationId xmlns:a16="http://schemas.microsoft.com/office/drawing/2014/main" id="{B389CFFC-74A4-3B99-ECFF-9D5BB6A9FBD2}"/>
                </a:ext>
              </a:extLst>
            </p:cNvPr>
            <p:cNvSpPr/>
            <p:nvPr/>
          </p:nvSpPr>
          <p:spPr>
            <a:xfrm>
              <a:off x="5250320" y="846952"/>
              <a:ext cx="1459036" cy="16186"/>
            </a:xfrm>
            <a:custGeom>
              <a:avLst/>
              <a:gdLst>
                <a:gd name="connsiteX0" fmla="*/ 0 w 5804058"/>
                <a:gd name="connsiteY0" fmla="*/ 0 h 64388"/>
                <a:gd name="connsiteX1" fmla="*/ 5804059 w 5804058"/>
                <a:gd name="connsiteY1" fmla="*/ 0 h 64388"/>
                <a:gd name="connsiteX2" fmla="*/ 5804059 w 5804058"/>
                <a:gd name="connsiteY2" fmla="*/ 64389 h 64388"/>
                <a:gd name="connsiteX3" fmla="*/ 0 w 5804058"/>
                <a:gd name="connsiteY3" fmla="*/ 64389 h 64388"/>
              </a:gdLst>
              <a:ahLst/>
              <a:cxnLst>
                <a:cxn ang="0">
                  <a:pos x="connsiteX0" y="connsiteY0"/>
                </a:cxn>
                <a:cxn ang="0">
                  <a:pos x="connsiteX1" y="connsiteY1"/>
                </a:cxn>
                <a:cxn ang="0">
                  <a:pos x="connsiteX2" y="connsiteY2"/>
                </a:cxn>
                <a:cxn ang="0">
                  <a:pos x="connsiteX3" y="connsiteY3"/>
                </a:cxn>
              </a:cxnLst>
              <a:rect l="l" t="t" r="r" b="b"/>
              <a:pathLst>
                <a:path w="5804058" h="64388">
                  <a:moveTo>
                    <a:pt x="0" y="0"/>
                  </a:moveTo>
                  <a:lnTo>
                    <a:pt x="5804059" y="0"/>
                  </a:lnTo>
                  <a:lnTo>
                    <a:pt x="5804059" y="64389"/>
                  </a:lnTo>
                  <a:lnTo>
                    <a:pt x="0" y="64389"/>
                  </a:lnTo>
                  <a:close/>
                </a:path>
              </a:pathLst>
            </a:custGeom>
            <a:solidFill>
              <a:srgbClr val="44505E"/>
            </a:solidFill>
            <a:ln w="9525" cap="flat">
              <a:noFill/>
              <a:prstDash val="solid"/>
              <a:miter/>
            </a:ln>
          </p:spPr>
          <p:txBody>
            <a:bodyPr rtlCol="0" anchor="ctr"/>
            <a:lstStyle/>
            <a:p>
              <a:endParaRPr lang="pt-BR" noProof="0"/>
            </a:p>
          </p:txBody>
        </p:sp>
        <p:sp>
          <p:nvSpPr>
            <p:cNvPr id="43" name="Freeform: Shape 55">
              <a:extLst>
                <a:ext uri="{FF2B5EF4-FFF2-40B4-BE49-F238E27FC236}">
                  <a16:creationId xmlns:a16="http://schemas.microsoft.com/office/drawing/2014/main" id="{667D0B61-8CA3-3E93-800D-A2040F15AAB5}"/>
                </a:ext>
              </a:extLst>
            </p:cNvPr>
            <p:cNvSpPr/>
            <p:nvPr/>
          </p:nvSpPr>
          <p:spPr>
            <a:xfrm>
              <a:off x="6902633" y="268821"/>
              <a:ext cx="273418" cy="601046"/>
            </a:xfrm>
            <a:custGeom>
              <a:avLst/>
              <a:gdLst>
                <a:gd name="connsiteX0" fmla="*/ 0 w 1087659"/>
                <a:gd name="connsiteY0" fmla="*/ 210979 h 2390965"/>
                <a:gd name="connsiteX1" fmla="*/ 125063 w 1087659"/>
                <a:gd name="connsiteY1" fmla="*/ 103442 h 2390965"/>
                <a:gd name="connsiteX2" fmla="*/ 250031 w 1087659"/>
                <a:gd name="connsiteY2" fmla="*/ 210979 h 2390965"/>
                <a:gd name="connsiteX3" fmla="*/ 250031 w 1087659"/>
                <a:gd name="connsiteY3" fmla="*/ 1922717 h 2390965"/>
                <a:gd name="connsiteX4" fmla="*/ 249841 w 1087659"/>
                <a:gd name="connsiteY4" fmla="*/ 1922717 h 2390965"/>
                <a:gd name="connsiteX5" fmla="*/ 249841 w 1087659"/>
                <a:gd name="connsiteY5" fmla="*/ 1925955 h 2390965"/>
                <a:gd name="connsiteX6" fmla="*/ 333756 w 1087659"/>
                <a:gd name="connsiteY6" fmla="*/ 2100263 h 2390965"/>
                <a:gd name="connsiteX7" fmla="*/ 335566 w 1087659"/>
                <a:gd name="connsiteY7" fmla="*/ 2101787 h 2390965"/>
                <a:gd name="connsiteX8" fmla="*/ 336042 w 1087659"/>
                <a:gd name="connsiteY8" fmla="*/ 2102168 h 2390965"/>
                <a:gd name="connsiteX9" fmla="*/ 543877 w 1087659"/>
                <a:gd name="connsiteY9" fmla="*/ 2175891 h 2390965"/>
                <a:gd name="connsiteX10" fmla="*/ 749998 w 1087659"/>
                <a:gd name="connsiteY10" fmla="*/ 2103692 h 2390965"/>
                <a:gd name="connsiteX11" fmla="*/ 751713 w 1087659"/>
                <a:gd name="connsiteY11" fmla="*/ 2102168 h 2390965"/>
                <a:gd name="connsiteX12" fmla="*/ 752189 w 1087659"/>
                <a:gd name="connsiteY12" fmla="*/ 2101787 h 2390965"/>
                <a:gd name="connsiteX13" fmla="*/ 837819 w 1087659"/>
                <a:gd name="connsiteY13" fmla="*/ 1922812 h 2390965"/>
                <a:gd name="connsiteX14" fmla="*/ 837819 w 1087659"/>
                <a:gd name="connsiteY14" fmla="*/ 107537 h 2390965"/>
                <a:gd name="connsiteX15" fmla="*/ 962787 w 1087659"/>
                <a:gd name="connsiteY15" fmla="*/ 0 h 2390965"/>
                <a:gd name="connsiteX16" fmla="*/ 1087660 w 1087659"/>
                <a:gd name="connsiteY16" fmla="*/ 107537 h 2390965"/>
                <a:gd name="connsiteX17" fmla="*/ 1087660 w 1087659"/>
                <a:gd name="connsiteY17" fmla="*/ 1922621 h 2390965"/>
                <a:gd name="connsiteX18" fmla="*/ 928307 w 1087659"/>
                <a:gd name="connsiteY18" fmla="*/ 2253234 h 2390965"/>
                <a:gd name="connsiteX19" fmla="*/ 928116 w 1087659"/>
                <a:gd name="connsiteY19" fmla="*/ 2253424 h 2390965"/>
                <a:gd name="connsiteX20" fmla="*/ 927830 w 1087659"/>
                <a:gd name="connsiteY20" fmla="*/ 2253710 h 2390965"/>
                <a:gd name="connsiteX21" fmla="*/ 927354 w 1087659"/>
                <a:gd name="connsiteY21" fmla="*/ 2254187 h 2390965"/>
                <a:gd name="connsiteX22" fmla="*/ 543783 w 1087659"/>
                <a:gd name="connsiteY22" fmla="*/ 2390966 h 2390965"/>
                <a:gd name="connsiteX23" fmla="*/ 159734 w 1087659"/>
                <a:gd name="connsiteY23" fmla="*/ 2253710 h 2390965"/>
                <a:gd name="connsiteX24" fmla="*/ 159734 w 1087659"/>
                <a:gd name="connsiteY24" fmla="*/ 2253424 h 2390965"/>
                <a:gd name="connsiteX25" fmla="*/ 159353 w 1087659"/>
                <a:gd name="connsiteY25" fmla="*/ 2253234 h 2390965"/>
                <a:gd name="connsiteX26" fmla="*/ 158877 w 1087659"/>
                <a:gd name="connsiteY26" fmla="*/ 2252948 h 2390965"/>
                <a:gd name="connsiteX27" fmla="*/ 0 w 1087659"/>
                <a:gd name="connsiteY27" fmla="*/ 1922621 h 2390965"/>
                <a:gd name="connsiteX28" fmla="*/ 0 w 1087659"/>
                <a:gd name="connsiteY28" fmla="*/ 1922621 h 2390965"/>
                <a:gd name="connsiteX29" fmla="*/ 0 w 1087659"/>
                <a:gd name="connsiteY29" fmla="*/ 210979 h 239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87659" h="2390965">
                  <a:moveTo>
                    <a:pt x="0" y="210979"/>
                  </a:moveTo>
                  <a:cubicBezTo>
                    <a:pt x="0" y="151638"/>
                    <a:pt x="56007" y="103442"/>
                    <a:pt x="125063" y="103442"/>
                  </a:cubicBezTo>
                  <a:cubicBezTo>
                    <a:pt x="194120" y="103442"/>
                    <a:pt x="250031" y="151638"/>
                    <a:pt x="250031" y="210979"/>
                  </a:cubicBezTo>
                  <a:lnTo>
                    <a:pt x="250031" y="1922717"/>
                  </a:lnTo>
                  <a:lnTo>
                    <a:pt x="249841" y="1922717"/>
                  </a:lnTo>
                  <a:lnTo>
                    <a:pt x="249841" y="1925955"/>
                  </a:lnTo>
                  <a:cubicBezTo>
                    <a:pt x="250793" y="1994059"/>
                    <a:pt x="282797" y="2055495"/>
                    <a:pt x="333756" y="2100263"/>
                  </a:cubicBezTo>
                  <a:lnTo>
                    <a:pt x="335566" y="2101787"/>
                  </a:lnTo>
                  <a:lnTo>
                    <a:pt x="336042" y="2102168"/>
                  </a:lnTo>
                  <a:cubicBezTo>
                    <a:pt x="388906" y="2147697"/>
                    <a:pt x="462343" y="2175891"/>
                    <a:pt x="543877" y="2175891"/>
                  </a:cubicBezTo>
                  <a:cubicBezTo>
                    <a:pt x="625411" y="2175891"/>
                    <a:pt x="697420" y="2148364"/>
                    <a:pt x="749998" y="2103692"/>
                  </a:cubicBezTo>
                  <a:lnTo>
                    <a:pt x="751713" y="2102168"/>
                  </a:lnTo>
                  <a:lnTo>
                    <a:pt x="752189" y="2101787"/>
                  </a:lnTo>
                  <a:cubicBezTo>
                    <a:pt x="805053" y="2056352"/>
                    <a:pt x="837819" y="1993011"/>
                    <a:pt x="837819" y="1922812"/>
                  </a:cubicBezTo>
                  <a:lnTo>
                    <a:pt x="837819" y="107537"/>
                  </a:lnTo>
                  <a:cubicBezTo>
                    <a:pt x="837819" y="48196"/>
                    <a:pt x="893731" y="0"/>
                    <a:pt x="962787" y="0"/>
                  </a:cubicBezTo>
                  <a:cubicBezTo>
                    <a:pt x="1031843" y="0"/>
                    <a:pt x="1087660" y="48196"/>
                    <a:pt x="1087660" y="107537"/>
                  </a:cubicBezTo>
                  <a:lnTo>
                    <a:pt x="1087660" y="1922621"/>
                  </a:lnTo>
                  <a:cubicBezTo>
                    <a:pt x="1087660" y="2051399"/>
                    <a:pt x="1026795" y="2168366"/>
                    <a:pt x="928307" y="2253234"/>
                  </a:cubicBezTo>
                  <a:lnTo>
                    <a:pt x="928116" y="2253424"/>
                  </a:lnTo>
                  <a:lnTo>
                    <a:pt x="927830" y="2253710"/>
                  </a:lnTo>
                  <a:lnTo>
                    <a:pt x="927354" y="2254187"/>
                  </a:lnTo>
                  <a:cubicBezTo>
                    <a:pt x="828770" y="2338673"/>
                    <a:pt x="693134" y="2390966"/>
                    <a:pt x="543783" y="2390966"/>
                  </a:cubicBezTo>
                  <a:cubicBezTo>
                    <a:pt x="394430" y="2390966"/>
                    <a:pt x="258413" y="2338483"/>
                    <a:pt x="159734" y="2253710"/>
                  </a:cubicBezTo>
                  <a:lnTo>
                    <a:pt x="159734" y="2253424"/>
                  </a:lnTo>
                  <a:cubicBezTo>
                    <a:pt x="159734" y="2253424"/>
                    <a:pt x="159353" y="2253234"/>
                    <a:pt x="159353" y="2253234"/>
                  </a:cubicBezTo>
                  <a:lnTo>
                    <a:pt x="158877" y="2252948"/>
                  </a:lnTo>
                  <a:cubicBezTo>
                    <a:pt x="60770" y="2167985"/>
                    <a:pt x="0" y="2051304"/>
                    <a:pt x="0" y="1922621"/>
                  </a:cubicBezTo>
                  <a:lnTo>
                    <a:pt x="0" y="1922621"/>
                  </a:lnTo>
                  <a:lnTo>
                    <a:pt x="0" y="210979"/>
                  </a:lnTo>
                  <a:close/>
                </a:path>
              </a:pathLst>
            </a:custGeom>
            <a:solidFill>
              <a:srgbClr val="8FC640"/>
            </a:solidFill>
            <a:ln w="9525" cap="flat">
              <a:noFill/>
              <a:prstDash val="solid"/>
              <a:miter/>
            </a:ln>
          </p:spPr>
          <p:txBody>
            <a:bodyPr rtlCol="0" anchor="ctr"/>
            <a:lstStyle/>
            <a:p>
              <a:endParaRPr lang="pt-BR" noProof="0"/>
            </a:p>
          </p:txBody>
        </p:sp>
        <p:sp>
          <p:nvSpPr>
            <p:cNvPr id="44" name="Freeform: Shape 56">
              <a:extLst>
                <a:ext uri="{FF2B5EF4-FFF2-40B4-BE49-F238E27FC236}">
                  <a16:creationId xmlns:a16="http://schemas.microsoft.com/office/drawing/2014/main" id="{EF349BD8-62D3-F954-761E-5C7A36522455}"/>
                </a:ext>
              </a:extLst>
            </p:cNvPr>
            <p:cNvSpPr/>
            <p:nvPr/>
          </p:nvSpPr>
          <p:spPr>
            <a:xfrm>
              <a:off x="7013590" y="213965"/>
              <a:ext cx="54018" cy="562280"/>
            </a:xfrm>
            <a:custGeom>
              <a:avLst/>
              <a:gdLst>
                <a:gd name="connsiteX0" fmla="*/ 0 w 214883"/>
                <a:gd name="connsiteY0" fmla="*/ 107537 h 2236755"/>
                <a:gd name="connsiteX1" fmla="*/ 107537 w 214883"/>
                <a:gd name="connsiteY1" fmla="*/ 0 h 2236755"/>
                <a:gd name="connsiteX2" fmla="*/ 214884 w 214883"/>
                <a:gd name="connsiteY2" fmla="*/ 107537 h 2236755"/>
                <a:gd name="connsiteX3" fmla="*/ 214884 w 214883"/>
                <a:gd name="connsiteY3" fmla="*/ 2129219 h 2236755"/>
                <a:gd name="connsiteX4" fmla="*/ 107537 w 214883"/>
                <a:gd name="connsiteY4" fmla="*/ 2236756 h 2236755"/>
                <a:gd name="connsiteX5" fmla="*/ 0 w 214883"/>
                <a:gd name="connsiteY5" fmla="*/ 2129219 h 2236755"/>
                <a:gd name="connsiteX6" fmla="*/ 0 w 214883"/>
                <a:gd name="connsiteY6" fmla="*/ 107537 h 223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 h="2236755">
                  <a:moveTo>
                    <a:pt x="0" y="107537"/>
                  </a:moveTo>
                  <a:cubicBezTo>
                    <a:pt x="0" y="48197"/>
                    <a:pt x="48101" y="0"/>
                    <a:pt x="107537" y="0"/>
                  </a:cubicBezTo>
                  <a:cubicBezTo>
                    <a:pt x="166973" y="0"/>
                    <a:pt x="214884" y="48197"/>
                    <a:pt x="214884" y="107537"/>
                  </a:cubicBezTo>
                  <a:lnTo>
                    <a:pt x="214884" y="2129219"/>
                  </a:lnTo>
                  <a:cubicBezTo>
                    <a:pt x="214884" y="2188559"/>
                    <a:pt x="166782" y="2236756"/>
                    <a:pt x="107537" y="2236756"/>
                  </a:cubicBezTo>
                  <a:cubicBezTo>
                    <a:pt x="48291" y="2236756"/>
                    <a:pt x="0" y="2188559"/>
                    <a:pt x="0" y="2129219"/>
                  </a:cubicBezTo>
                  <a:lnTo>
                    <a:pt x="0" y="107537"/>
                  </a:lnTo>
                  <a:close/>
                </a:path>
              </a:pathLst>
            </a:custGeom>
            <a:solidFill>
              <a:srgbClr val="3698B0"/>
            </a:solidFill>
            <a:ln w="9525" cap="flat">
              <a:noFill/>
              <a:prstDash val="solid"/>
              <a:miter/>
            </a:ln>
          </p:spPr>
          <p:txBody>
            <a:bodyPr rtlCol="0" anchor="ctr"/>
            <a:lstStyle/>
            <a:p>
              <a:endParaRPr lang="pt-BR" noProof="0"/>
            </a:p>
          </p:txBody>
        </p:sp>
        <p:sp>
          <p:nvSpPr>
            <p:cNvPr id="45" name="Freeform: Shape 57">
              <a:extLst>
                <a:ext uri="{FF2B5EF4-FFF2-40B4-BE49-F238E27FC236}">
                  <a16:creationId xmlns:a16="http://schemas.microsoft.com/office/drawing/2014/main" id="{BF5C2DCA-6986-EED8-DB9D-E024CB44BBB2}"/>
                </a:ext>
              </a:extLst>
            </p:cNvPr>
            <p:cNvSpPr/>
            <p:nvPr/>
          </p:nvSpPr>
          <p:spPr>
            <a:xfrm>
              <a:off x="6795770" y="332991"/>
              <a:ext cx="485994" cy="649437"/>
            </a:xfrm>
            <a:custGeom>
              <a:avLst/>
              <a:gdLst>
                <a:gd name="connsiteX0" fmla="*/ 1933290 w 1933289"/>
                <a:gd name="connsiteY0" fmla="*/ 138017 h 2583465"/>
                <a:gd name="connsiteX1" fmla="*/ 1933290 w 1933289"/>
                <a:gd name="connsiteY1" fmla="*/ 1734122 h 2583465"/>
                <a:gd name="connsiteX2" fmla="*/ 1796606 w 1933289"/>
                <a:gd name="connsiteY2" fmla="*/ 2229136 h 2583465"/>
                <a:gd name="connsiteX3" fmla="*/ 977742 w 1933289"/>
                <a:gd name="connsiteY3" fmla="*/ 2583466 h 2583465"/>
                <a:gd name="connsiteX4" fmla="*/ 955357 w 1933289"/>
                <a:gd name="connsiteY4" fmla="*/ 2583466 h 2583465"/>
                <a:gd name="connsiteX5" fmla="*/ 136589 w 1933289"/>
                <a:gd name="connsiteY5" fmla="*/ 2229136 h 2583465"/>
                <a:gd name="connsiteX6" fmla="*/ 0 w 1933289"/>
                <a:gd name="connsiteY6" fmla="*/ 1734122 h 2583465"/>
                <a:gd name="connsiteX7" fmla="*/ 0 w 1933289"/>
                <a:gd name="connsiteY7" fmla="*/ 794194 h 2583465"/>
                <a:gd name="connsiteX8" fmla="*/ 137827 w 1933289"/>
                <a:gd name="connsiteY8" fmla="*/ 656273 h 2583465"/>
                <a:gd name="connsiteX9" fmla="*/ 275463 w 1933289"/>
                <a:gd name="connsiteY9" fmla="*/ 794194 h 2583465"/>
                <a:gd name="connsiteX10" fmla="*/ 275463 w 1933289"/>
                <a:gd name="connsiteY10" fmla="*/ 1734122 h 2583465"/>
                <a:gd name="connsiteX11" fmla="*/ 354235 w 1933289"/>
                <a:gd name="connsiteY11" fmla="*/ 2059686 h 2583465"/>
                <a:gd name="connsiteX12" fmla="*/ 958215 w 1933289"/>
                <a:gd name="connsiteY12" fmla="*/ 2307527 h 2583465"/>
                <a:gd name="connsiteX13" fmla="*/ 974789 w 1933289"/>
                <a:gd name="connsiteY13" fmla="*/ 2307527 h 2583465"/>
                <a:gd name="connsiteX14" fmla="*/ 1578959 w 1933289"/>
                <a:gd name="connsiteY14" fmla="*/ 2059686 h 2583465"/>
                <a:gd name="connsiteX15" fmla="*/ 1657636 w 1933289"/>
                <a:gd name="connsiteY15" fmla="*/ 1734122 h 2583465"/>
                <a:gd name="connsiteX16" fmla="*/ 1657636 w 1933289"/>
                <a:gd name="connsiteY16" fmla="*/ 138017 h 2583465"/>
                <a:gd name="connsiteX17" fmla="*/ 1795463 w 1933289"/>
                <a:gd name="connsiteY17" fmla="*/ 0 h 2583465"/>
                <a:gd name="connsiteX18" fmla="*/ 1933290 w 1933289"/>
                <a:gd name="connsiteY18" fmla="*/ 138017 h 25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3289" h="2583465">
                  <a:moveTo>
                    <a:pt x="1933290" y="138017"/>
                  </a:moveTo>
                  <a:lnTo>
                    <a:pt x="1933290" y="1734122"/>
                  </a:lnTo>
                  <a:cubicBezTo>
                    <a:pt x="1933290" y="1870996"/>
                    <a:pt x="1919002" y="2071211"/>
                    <a:pt x="1796606" y="2229136"/>
                  </a:cubicBezTo>
                  <a:cubicBezTo>
                    <a:pt x="1634395" y="2438305"/>
                    <a:pt x="1432084" y="2578703"/>
                    <a:pt x="977742" y="2583466"/>
                  </a:cubicBezTo>
                  <a:lnTo>
                    <a:pt x="955357" y="2583466"/>
                  </a:lnTo>
                  <a:cubicBezTo>
                    <a:pt x="501015" y="2578703"/>
                    <a:pt x="298704" y="2438400"/>
                    <a:pt x="136589" y="2229136"/>
                  </a:cubicBezTo>
                  <a:cubicBezTo>
                    <a:pt x="14192" y="2071211"/>
                    <a:pt x="0" y="1870996"/>
                    <a:pt x="0" y="1734122"/>
                  </a:cubicBezTo>
                  <a:lnTo>
                    <a:pt x="0" y="794194"/>
                  </a:lnTo>
                  <a:cubicBezTo>
                    <a:pt x="0" y="718185"/>
                    <a:pt x="61436" y="656273"/>
                    <a:pt x="137827" y="656273"/>
                  </a:cubicBezTo>
                  <a:cubicBezTo>
                    <a:pt x="214217" y="656273"/>
                    <a:pt x="275463" y="718185"/>
                    <a:pt x="275463" y="794194"/>
                  </a:cubicBezTo>
                  <a:lnTo>
                    <a:pt x="275463" y="1734122"/>
                  </a:lnTo>
                  <a:cubicBezTo>
                    <a:pt x="275463" y="1887188"/>
                    <a:pt x="300324" y="1990630"/>
                    <a:pt x="354235" y="2059686"/>
                  </a:cubicBezTo>
                  <a:cubicBezTo>
                    <a:pt x="476250" y="2217611"/>
                    <a:pt x="609791" y="2304479"/>
                    <a:pt x="958215" y="2307527"/>
                  </a:cubicBezTo>
                  <a:lnTo>
                    <a:pt x="974789" y="2307527"/>
                  </a:lnTo>
                  <a:cubicBezTo>
                    <a:pt x="1323499" y="2304479"/>
                    <a:pt x="1456563" y="2217611"/>
                    <a:pt x="1578959" y="2059686"/>
                  </a:cubicBezTo>
                  <a:cubicBezTo>
                    <a:pt x="1632490" y="1990630"/>
                    <a:pt x="1657636" y="1887093"/>
                    <a:pt x="1657636" y="1734122"/>
                  </a:cubicBezTo>
                  <a:lnTo>
                    <a:pt x="1657636" y="138017"/>
                  </a:lnTo>
                  <a:cubicBezTo>
                    <a:pt x="1657636" y="61531"/>
                    <a:pt x="1719453" y="0"/>
                    <a:pt x="1795463" y="0"/>
                  </a:cubicBezTo>
                  <a:cubicBezTo>
                    <a:pt x="1871472" y="0"/>
                    <a:pt x="1933290" y="61531"/>
                    <a:pt x="1933290" y="138017"/>
                  </a:cubicBezTo>
                </a:path>
              </a:pathLst>
            </a:custGeom>
            <a:solidFill>
              <a:srgbClr val="49306E"/>
            </a:solidFill>
            <a:ln w="9525" cap="flat">
              <a:noFill/>
              <a:prstDash val="solid"/>
              <a:miter/>
            </a:ln>
          </p:spPr>
          <p:txBody>
            <a:bodyPr rtlCol="0" anchor="ctr"/>
            <a:lstStyle/>
            <a:p>
              <a:endParaRPr lang="pt-BR" noProof="0"/>
            </a:p>
          </p:txBody>
        </p:sp>
      </p:grpSp>
      <p:sp>
        <p:nvSpPr>
          <p:cNvPr id="46" name="Título 1">
            <a:extLst>
              <a:ext uri="{FF2B5EF4-FFF2-40B4-BE49-F238E27FC236}">
                <a16:creationId xmlns:a16="http://schemas.microsoft.com/office/drawing/2014/main" id="{E0274FC7-0227-AE60-8CA7-072793080FCA}"/>
              </a:ext>
            </a:extLst>
          </p:cNvPr>
          <p:cNvSpPr txBox="1">
            <a:spLocks/>
          </p:cNvSpPr>
          <p:nvPr/>
        </p:nvSpPr>
        <p:spPr>
          <a:xfrm>
            <a:off x="2292586" y="22669"/>
            <a:ext cx="10058400" cy="631231"/>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pt-BR" sz="3600" b="1">
                <a:solidFill>
                  <a:srgbClr val="3299B1"/>
                </a:solidFill>
                <a:latin typeface="Agency FB" panose="020B0503020202020204" pitchFamily="34" charset="0"/>
              </a:rPr>
              <a:t>Considerações IPCSL e ITU</a:t>
            </a:r>
          </a:p>
        </p:txBody>
      </p:sp>
      <p:sp>
        <p:nvSpPr>
          <p:cNvPr id="95" name="Google Shape;97;p15">
            <a:extLst>
              <a:ext uri="{FF2B5EF4-FFF2-40B4-BE49-F238E27FC236}">
                <a16:creationId xmlns:a16="http://schemas.microsoft.com/office/drawing/2014/main" id="{53012AE8-9A12-DAE0-3240-659628730F95}"/>
              </a:ext>
            </a:extLst>
          </p:cNvPr>
          <p:cNvSpPr txBox="1">
            <a:spLocks/>
          </p:cNvSpPr>
          <p:nvPr/>
        </p:nvSpPr>
        <p:spPr>
          <a:xfrm>
            <a:off x="575156" y="884743"/>
            <a:ext cx="11060584" cy="4814193"/>
          </a:xfrm>
          <a:prstGeom prst="rect">
            <a:avLst/>
          </a:prstGeom>
          <a:noFill/>
          <a:ln>
            <a:noFill/>
          </a:ln>
        </p:spPr>
        <p:txBody>
          <a:bodyPr spcFirstLastPara="1" wrap="square" lIns="91425" tIns="45700" rIns="91425" bIns="4570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215265" algn="just">
              <a:buClr>
                <a:schemeClr val="dk1"/>
              </a:buClr>
              <a:buSzPct val="100000"/>
            </a:pPr>
            <a:r>
              <a:rPr lang="pt-BR" sz="2400" b="1" dirty="0"/>
              <a:t>Início dos sintomas:</a:t>
            </a:r>
            <a:r>
              <a:rPr lang="pt-BR" sz="2400" dirty="0"/>
              <a:t> sintomas no </a:t>
            </a:r>
            <a:r>
              <a:rPr lang="pt-BR" sz="2400" b="1" dirty="0"/>
              <a:t>D1 da admissão ou da inserção do dispositivo</a:t>
            </a:r>
            <a:r>
              <a:rPr lang="pt-BR" sz="2400" dirty="0"/>
              <a:t> não permitem atribuição à unidade ou ao dispositivo </a:t>
            </a:r>
            <a:r>
              <a:rPr lang="pt-BR" sz="2400" dirty="0">
                <a:sym typeface="Wingdings" panose="05000000000000000000" pitchFamily="2" charset="2"/>
              </a:rPr>
              <a:t> Importância da avaliação e registro da equipe assistencial</a:t>
            </a:r>
          </a:p>
          <a:p>
            <a:pPr indent="-215265" algn="just">
              <a:buClr>
                <a:srgbClr val="000000"/>
              </a:buClr>
              <a:buSzPct val="100000"/>
            </a:pPr>
            <a:endParaRPr lang="pt-BR" sz="2400" dirty="0"/>
          </a:p>
          <a:p>
            <a:pPr algn="just">
              <a:buClr>
                <a:srgbClr val="000000"/>
              </a:buClr>
              <a:buSzPct val="100000"/>
            </a:pPr>
            <a:r>
              <a:rPr lang="pt-BR" sz="2400" b="1" dirty="0"/>
              <a:t>Registro na admissão:</a:t>
            </a:r>
            <a:r>
              <a:rPr lang="pt-BR" sz="2400" dirty="0"/>
              <a:t> documentar </a:t>
            </a:r>
            <a:r>
              <a:rPr lang="pt-BR" sz="2400" b="1" dirty="0"/>
              <a:t>sinais e sintomas</a:t>
            </a:r>
            <a:r>
              <a:rPr lang="pt-BR" sz="2400" dirty="0"/>
              <a:t> para evitar atribuição indevida à UTI.</a:t>
            </a:r>
          </a:p>
          <a:p>
            <a:pPr indent="-215265" algn="just">
              <a:buClr>
                <a:prstClr val="black"/>
              </a:buClr>
              <a:buSzPct val="100000"/>
            </a:pPr>
            <a:endParaRPr lang="pt-BR" sz="2400" b="1" dirty="0"/>
          </a:p>
          <a:p>
            <a:pPr algn="just">
              <a:buClr>
                <a:srgbClr val="000000"/>
              </a:buClr>
              <a:buSzPct val="100000"/>
            </a:pPr>
            <a:r>
              <a:rPr lang="pt-BR" sz="2400" b="1" dirty="0"/>
              <a:t>Critério clínico ≠ critério epidemiológico:</a:t>
            </a:r>
            <a:r>
              <a:rPr lang="pt-BR" sz="2400" dirty="0"/>
              <a:t> diagnóstico clínico isolado </a:t>
            </a:r>
            <a:r>
              <a:rPr lang="pt-BR" sz="2400" b="1" dirty="0"/>
              <a:t>não define IRAS</a:t>
            </a:r>
            <a:r>
              <a:rPr lang="pt-BR" sz="2400" dirty="0"/>
              <a:t>.</a:t>
            </a:r>
          </a:p>
          <a:p>
            <a:pPr indent="-215265" algn="just">
              <a:buClr>
                <a:prstClr val="black"/>
              </a:buClr>
              <a:buSzPct val="100000"/>
            </a:pPr>
            <a:endParaRPr lang="pt-BR" sz="2400" dirty="0"/>
          </a:p>
          <a:p>
            <a:pPr algn="just">
              <a:buClr>
                <a:schemeClr val="dk1"/>
              </a:buClr>
              <a:buSzPct val="100000"/>
            </a:pPr>
            <a:r>
              <a:rPr lang="pt-BR" sz="2400" b="1" dirty="0"/>
              <a:t>Tempo do dispositivo:</a:t>
            </a:r>
            <a:r>
              <a:rPr lang="pt-BR" sz="2400" dirty="0"/>
              <a:t> verificar </a:t>
            </a:r>
            <a:r>
              <a:rPr lang="pt-BR" sz="2400" b="1" dirty="0"/>
              <a:t>data de inserção e retirada</a:t>
            </a:r>
            <a:r>
              <a:rPr lang="pt-BR" sz="2400" dirty="0"/>
              <a:t> antes de classificar como IRAS associada.</a:t>
            </a:r>
          </a:p>
          <a:p>
            <a:pPr indent="-215265" algn="just">
              <a:buClr>
                <a:prstClr val="black"/>
              </a:buClr>
              <a:buSzPct val="100000"/>
            </a:pPr>
            <a:endParaRPr lang="pt-BR" sz="2400" dirty="0"/>
          </a:p>
          <a:p>
            <a:pPr indent="-215265" algn="just">
              <a:buClr>
                <a:schemeClr val="dk1"/>
              </a:buClr>
              <a:buSzPct val="100000"/>
            </a:pPr>
            <a:r>
              <a:rPr lang="pt-BR" sz="2400" b="1" dirty="0"/>
              <a:t>IPCSL por contaminante de pele:  </a:t>
            </a:r>
            <a:r>
              <a:rPr lang="pt-BR" sz="2400" dirty="0"/>
              <a:t>requer 2 hemoculturas </a:t>
            </a:r>
            <a:endParaRPr lang="pt-BR" sz="2400" b="1" dirty="0"/>
          </a:p>
        </p:txBody>
      </p:sp>
    </p:spTree>
    <p:extLst>
      <p:ext uri="{BB962C8B-B14F-4D97-AF65-F5344CB8AC3E}">
        <p14:creationId xmlns:p14="http://schemas.microsoft.com/office/powerpoint/2010/main" val="246314627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593750-A2C5-FB18-3DFD-5D1F8842152A}"/>
            </a:ext>
          </a:extLst>
        </p:cNvPr>
        <p:cNvGrpSpPr/>
        <p:nvPr/>
      </p:nvGrpSpPr>
      <p:grpSpPr>
        <a:xfrm>
          <a:off x="0" y="0"/>
          <a:ext cx="0" cy="0"/>
          <a:chOff x="0" y="0"/>
          <a:chExt cx="0" cy="0"/>
        </a:xfrm>
      </p:grpSpPr>
      <p:grpSp>
        <p:nvGrpSpPr>
          <p:cNvPr id="2" name="Group 12">
            <a:extLst>
              <a:ext uri="{FF2B5EF4-FFF2-40B4-BE49-F238E27FC236}">
                <a16:creationId xmlns:a16="http://schemas.microsoft.com/office/drawing/2014/main" id="{96374A6E-A54A-6F9C-0A83-57C4EEA21FF2}"/>
              </a:ext>
            </a:extLst>
          </p:cNvPr>
          <p:cNvGrpSpPr/>
          <p:nvPr/>
        </p:nvGrpSpPr>
        <p:grpSpPr>
          <a:xfrm>
            <a:off x="304800" y="249455"/>
            <a:ext cx="1193800" cy="462985"/>
            <a:chOff x="5245100" y="211355"/>
            <a:chExt cx="2036664" cy="789869"/>
          </a:xfrm>
        </p:grpSpPr>
        <p:sp>
          <p:nvSpPr>
            <p:cNvPr id="3" name="Freeform: Shape 13">
              <a:extLst>
                <a:ext uri="{FF2B5EF4-FFF2-40B4-BE49-F238E27FC236}">
                  <a16:creationId xmlns:a16="http://schemas.microsoft.com/office/drawing/2014/main" id="{083EB347-5076-B994-DCFD-9951A699F1A5}"/>
                </a:ext>
              </a:extLst>
            </p:cNvPr>
            <p:cNvSpPr/>
            <p:nvPr/>
          </p:nvSpPr>
          <p:spPr>
            <a:xfrm>
              <a:off x="5245100" y="308520"/>
              <a:ext cx="247894" cy="322815"/>
            </a:xfrm>
            <a:custGeom>
              <a:avLst/>
              <a:gdLst>
                <a:gd name="connsiteX0" fmla="*/ 529590 w 986123"/>
                <a:gd name="connsiteY0" fmla="*/ 1284160 h 1284160"/>
                <a:gd name="connsiteX1" fmla="*/ 249650 w 986123"/>
                <a:gd name="connsiteY1" fmla="*/ 1235107 h 1284160"/>
                <a:gd name="connsiteX2" fmla="*/ 0 w 986123"/>
                <a:gd name="connsiteY2" fmla="*/ 1084421 h 1284160"/>
                <a:gd name="connsiteX3" fmla="*/ 162306 w 986123"/>
                <a:gd name="connsiteY3" fmla="*/ 890016 h 1284160"/>
                <a:gd name="connsiteX4" fmla="*/ 337947 w 986123"/>
                <a:gd name="connsiteY4" fmla="*/ 1000601 h 1284160"/>
                <a:gd name="connsiteX5" fmla="*/ 535019 w 986123"/>
                <a:gd name="connsiteY5" fmla="*/ 1041654 h 1284160"/>
                <a:gd name="connsiteX6" fmla="*/ 667893 w 986123"/>
                <a:gd name="connsiteY6" fmla="*/ 1010412 h 1284160"/>
                <a:gd name="connsiteX7" fmla="*/ 715137 w 986123"/>
                <a:gd name="connsiteY7" fmla="*/ 923925 h 1284160"/>
                <a:gd name="connsiteX8" fmla="*/ 715137 w 986123"/>
                <a:gd name="connsiteY8" fmla="*/ 920305 h 1284160"/>
                <a:gd name="connsiteX9" fmla="*/ 705326 w 986123"/>
                <a:gd name="connsiteY9" fmla="*/ 873062 h 1284160"/>
                <a:gd name="connsiteX10" fmla="*/ 667798 w 986123"/>
                <a:gd name="connsiteY10" fmla="*/ 834676 h 1284160"/>
                <a:gd name="connsiteX11" fmla="*/ 590931 w 986123"/>
                <a:gd name="connsiteY11" fmla="*/ 798957 h 1284160"/>
                <a:gd name="connsiteX12" fmla="*/ 463106 w 986123"/>
                <a:gd name="connsiteY12" fmla="*/ 761524 h 1284160"/>
                <a:gd name="connsiteX13" fmla="*/ 291465 w 986123"/>
                <a:gd name="connsiteY13" fmla="*/ 709803 h 1284160"/>
                <a:gd name="connsiteX14" fmla="*/ 160973 w 986123"/>
                <a:gd name="connsiteY14" fmla="*/ 639318 h 1284160"/>
                <a:gd name="connsiteX15" fmla="*/ 77819 w 986123"/>
                <a:gd name="connsiteY15" fmla="*/ 535019 h 1284160"/>
                <a:gd name="connsiteX16" fmla="*/ 48292 w 986123"/>
                <a:gd name="connsiteY16" fmla="*/ 379857 h 1284160"/>
                <a:gd name="connsiteX17" fmla="*/ 48292 w 986123"/>
                <a:gd name="connsiteY17" fmla="*/ 376238 h 1284160"/>
                <a:gd name="connsiteX18" fmla="*/ 80201 w 986123"/>
                <a:gd name="connsiteY18" fmla="*/ 222028 h 1284160"/>
                <a:gd name="connsiteX19" fmla="*/ 169640 w 986123"/>
                <a:gd name="connsiteY19" fmla="*/ 103441 h 1284160"/>
                <a:gd name="connsiteX20" fmla="*/ 307181 w 986123"/>
                <a:gd name="connsiteY20" fmla="*/ 26765 h 1284160"/>
                <a:gd name="connsiteX21" fmla="*/ 483394 w 986123"/>
                <a:gd name="connsiteY21" fmla="*/ 0 h 1284160"/>
                <a:gd name="connsiteX22" fmla="*/ 735711 w 986123"/>
                <a:gd name="connsiteY22" fmla="*/ 41053 h 1284160"/>
                <a:gd name="connsiteX23" fmla="*/ 946976 w 986123"/>
                <a:gd name="connsiteY23" fmla="*/ 158687 h 1284160"/>
                <a:gd name="connsiteX24" fmla="*/ 804291 w 986123"/>
                <a:gd name="connsiteY24" fmla="*/ 365569 h 1284160"/>
                <a:gd name="connsiteX25" fmla="*/ 640271 w 986123"/>
                <a:gd name="connsiteY25" fmla="*/ 275558 h 1284160"/>
                <a:gd name="connsiteX26" fmla="*/ 479774 w 986123"/>
                <a:gd name="connsiteY26" fmla="*/ 242602 h 1284160"/>
                <a:gd name="connsiteX27" fmla="*/ 359378 w 986123"/>
                <a:gd name="connsiteY27" fmla="*/ 273844 h 1284160"/>
                <a:gd name="connsiteX28" fmla="*/ 319278 w 986123"/>
                <a:gd name="connsiteY28" fmla="*/ 351377 h 1284160"/>
                <a:gd name="connsiteX29" fmla="*/ 319278 w 986123"/>
                <a:gd name="connsiteY29" fmla="*/ 354997 h 1284160"/>
                <a:gd name="connsiteX30" fmla="*/ 330899 w 986123"/>
                <a:gd name="connsiteY30" fmla="*/ 407575 h 1284160"/>
                <a:gd name="connsiteX31" fmla="*/ 372904 w 986123"/>
                <a:gd name="connsiteY31" fmla="*/ 447675 h 1284160"/>
                <a:gd name="connsiteX32" fmla="*/ 456057 w 986123"/>
                <a:gd name="connsiteY32" fmla="*/ 481489 h 1284160"/>
                <a:gd name="connsiteX33" fmla="*/ 589217 w 986123"/>
                <a:gd name="connsiteY33" fmla="*/ 518922 h 1284160"/>
                <a:gd name="connsiteX34" fmla="*/ 758190 w 986123"/>
                <a:gd name="connsiteY34" fmla="*/ 575120 h 1284160"/>
                <a:gd name="connsiteX35" fmla="*/ 883349 w 986123"/>
                <a:gd name="connsiteY35" fmla="*/ 649986 h 1284160"/>
                <a:gd name="connsiteX36" fmla="*/ 960215 w 986123"/>
                <a:gd name="connsiteY36" fmla="*/ 752570 h 1284160"/>
                <a:gd name="connsiteX37" fmla="*/ 986123 w 986123"/>
                <a:gd name="connsiteY37" fmla="*/ 893445 h 1284160"/>
                <a:gd name="connsiteX38" fmla="*/ 986123 w 986123"/>
                <a:gd name="connsiteY38" fmla="*/ 897064 h 1284160"/>
                <a:gd name="connsiteX39" fmla="*/ 952500 w 986123"/>
                <a:gd name="connsiteY39" fmla="*/ 1062038 h 1284160"/>
                <a:gd name="connsiteX40" fmla="*/ 858584 w 986123"/>
                <a:gd name="connsiteY40" fmla="*/ 1183291 h 1284160"/>
                <a:gd name="connsiteX41" fmla="*/ 714851 w 986123"/>
                <a:gd name="connsiteY41" fmla="*/ 1258157 h 1284160"/>
                <a:gd name="connsiteX42" fmla="*/ 529685 w 986123"/>
                <a:gd name="connsiteY42" fmla="*/ 1284065 h 128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6123" h="1284160">
                  <a:moveTo>
                    <a:pt x="529590" y="1284160"/>
                  </a:moveTo>
                  <a:cubicBezTo>
                    <a:pt x="434435" y="1284160"/>
                    <a:pt x="341186" y="1267777"/>
                    <a:pt x="249650" y="1235107"/>
                  </a:cubicBezTo>
                  <a:cubicBezTo>
                    <a:pt x="158115" y="1202436"/>
                    <a:pt x="74867" y="1152239"/>
                    <a:pt x="0" y="1084421"/>
                  </a:cubicBezTo>
                  <a:lnTo>
                    <a:pt x="162306" y="890016"/>
                  </a:lnTo>
                  <a:cubicBezTo>
                    <a:pt x="219361" y="936403"/>
                    <a:pt x="277844" y="973264"/>
                    <a:pt x="337947" y="1000601"/>
                  </a:cubicBezTo>
                  <a:cubicBezTo>
                    <a:pt x="397955" y="1027938"/>
                    <a:pt x="463677" y="1041654"/>
                    <a:pt x="535019" y="1041654"/>
                  </a:cubicBezTo>
                  <a:cubicBezTo>
                    <a:pt x="592074" y="1041654"/>
                    <a:pt x="636365" y="1031272"/>
                    <a:pt x="667893" y="1010412"/>
                  </a:cubicBezTo>
                  <a:cubicBezTo>
                    <a:pt x="699421" y="989647"/>
                    <a:pt x="715137" y="960787"/>
                    <a:pt x="715137" y="923925"/>
                  </a:cubicBezTo>
                  <a:lnTo>
                    <a:pt x="715137" y="920305"/>
                  </a:lnTo>
                  <a:cubicBezTo>
                    <a:pt x="715137" y="902494"/>
                    <a:pt x="711803" y="886777"/>
                    <a:pt x="705326" y="873062"/>
                  </a:cubicBezTo>
                  <a:cubicBezTo>
                    <a:pt x="698754" y="859441"/>
                    <a:pt x="686276" y="846582"/>
                    <a:pt x="667798" y="834676"/>
                  </a:cubicBezTo>
                  <a:cubicBezTo>
                    <a:pt x="649319" y="822770"/>
                    <a:pt x="623697" y="810863"/>
                    <a:pt x="590931" y="798957"/>
                  </a:cubicBezTo>
                  <a:cubicBezTo>
                    <a:pt x="558165" y="787146"/>
                    <a:pt x="515493" y="774573"/>
                    <a:pt x="463106" y="761524"/>
                  </a:cubicBezTo>
                  <a:cubicBezTo>
                    <a:pt x="399955" y="746093"/>
                    <a:pt x="342710" y="728853"/>
                    <a:pt x="291465" y="709803"/>
                  </a:cubicBezTo>
                  <a:cubicBezTo>
                    <a:pt x="240221" y="690753"/>
                    <a:pt x="196691" y="667322"/>
                    <a:pt x="160973" y="639318"/>
                  </a:cubicBezTo>
                  <a:cubicBezTo>
                    <a:pt x="125159" y="611410"/>
                    <a:pt x="97536" y="576644"/>
                    <a:pt x="77819" y="535019"/>
                  </a:cubicBezTo>
                  <a:cubicBezTo>
                    <a:pt x="58103" y="493395"/>
                    <a:pt x="48292" y="441674"/>
                    <a:pt x="48292" y="379857"/>
                  </a:cubicBezTo>
                  <a:lnTo>
                    <a:pt x="48292" y="376238"/>
                  </a:lnTo>
                  <a:cubicBezTo>
                    <a:pt x="48292" y="319183"/>
                    <a:pt x="58865" y="267748"/>
                    <a:pt x="80201" y="222028"/>
                  </a:cubicBezTo>
                  <a:cubicBezTo>
                    <a:pt x="101441" y="176308"/>
                    <a:pt x="131255" y="136779"/>
                    <a:pt x="169640" y="103441"/>
                  </a:cubicBezTo>
                  <a:cubicBezTo>
                    <a:pt x="208026" y="70199"/>
                    <a:pt x="253841" y="44577"/>
                    <a:pt x="307181" y="26765"/>
                  </a:cubicBezTo>
                  <a:cubicBezTo>
                    <a:pt x="360426" y="8953"/>
                    <a:pt x="419195" y="0"/>
                    <a:pt x="483394" y="0"/>
                  </a:cubicBezTo>
                  <a:cubicBezTo>
                    <a:pt x="574929" y="0"/>
                    <a:pt x="659035" y="13716"/>
                    <a:pt x="735711" y="41053"/>
                  </a:cubicBezTo>
                  <a:cubicBezTo>
                    <a:pt x="812387" y="68389"/>
                    <a:pt x="882777" y="107632"/>
                    <a:pt x="946976" y="158687"/>
                  </a:cubicBezTo>
                  <a:lnTo>
                    <a:pt x="804291" y="365569"/>
                  </a:lnTo>
                  <a:cubicBezTo>
                    <a:pt x="748379" y="327565"/>
                    <a:pt x="693706" y="297561"/>
                    <a:pt x="640271" y="275558"/>
                  </a:cubicBezTo>
                  <a:cubicBezTo>
                    <a:pt x="586740" y="253555"/>
                    <a:pt x="533305" y="242602"/>
                    <a:pt x="479774" y="242602"/>
                  </a:cubicBezTo>
                  <a:cubicBezTo>
                    <a:pt x="426244" y="242602"/>
                    <a:pt x="386144" y="252984"/>
                    <a:pt x="359378" y="273844"/>
                  </a:cubicBezTo>
                  <a:cubicBezTo>
                    <a:pt x="332613" y="294608"/>
                    <a:pt x="319278" y="320516"/>
                    <a:pt x="319278" y="351377"/>
                  </a:cubicBezTo>
                  <a:lnTo>
                    <a:pt x="319278" y="354997"/>
                  </a:lnTo>
                  <a:cubicBezTo>
                    <a:pt x="319278" y="375190"/>
                    <a:pt x="323183" y="392716"/>
                    <a:pt x="330899" y="407575"/>
                  </a:cubicBezTo>
                  <a:cubicBezTo>
                    <a:pt x="338614" y="422434"/>
                    <a:pt x="352616" y="435864"/>
                    <a:pt x="372904" y="447675"/>
                  </a:cubicBezTo>
                  <a:cubicBezTo>
                    <a:pt x="393192" y="459581"/>
                    <a:pt x="420910" y="470821"/>
                    <a:pt x="456057" y="481489"/>
                  </a:cubicBezTo>
                  <a:cubicBezTo>
                    <a:pt x="491204" y="492157"/>
                    <a:pt x="535591" y="504730"/>
                    <a:pt x="589217" y="518922"/>
                  </a:cubicBezTo>
                  <a:cubicBezTo>
                    <a:pt x="652367" y="535591"/>
                    <a:pt x="708660" y="554260"/>
                    <a:pt x="758190" y="575120"/>
                  </a:cubicBezTo>
                  <a:cubicBezTo>
                    <a:pt x="807625" y="595979"/>
                    <a:pt x="849344" y="620935"/>
                    <a:pt x="883349" y="649986"/>
                  </a:cubicBezTo>
                  <a:cubicBezTo>
                    <a:pt x="917353" y="679132"/>
                    <a:pt x="942975" y="713327"/>
                    <a:pt x="960215" y="752570"/>
                  </a:cubicBezTo>
                  <a:cubicBezTo>
                    <a:pt x="977456" y="791813"/>
                    <a:pt x="986123" y="838772"/>
                    <a:pt x="986123" y="893445"/>
                  </a:cubicBezTo>
                  <a:lnTo>
                    <a:pt x="986123" y="897064"/>
                  </a:lnTo>
                  <a:cubicBezTo>
                    <a:pt x="986123" y="958882"/>
                    <a:pt x="974884" y="1013841"/>
                    <a:pt x="952500" y="1062038"/>
                  </a:cubicBezTo>
                  <a:cubicBezTo>
                    <a:pt x="930021" y="1110139"/>
                    <a:pt x="898779" y="1150620"/>
                    <a:pt x="858584" y="1183291"/>
                  </a:cubicBezTo>
                  <a:cubicBezTo>
                    <a:pt x="818388" y="1216057"/>
                    <a:pt x="770477" y="1241012"/>
                    <a:pt x="714851" y="1258157"/>
                  </a:cubicBezTo>
                  <a:cubicBezTo>
                    <a:pt x="659130" y="1275398"/>
                    <a:pt x="597503" y="1284065"/>
                    <a:pt x="529685" y="1284065"/>
                  </a:cubicBezTo>
                  <a:close/>
                </a:path>
              </a:pathLst>
            </a:custGeom>
            <a:solidFill>
              <a:srgbClr val="44505E"/>
            </a:solidFill>
            <a:ln w="9525" cap="flat">
              <a:noFill/>
              <a:prstDash val="solid"/>
              <a:miter/>
            </a:ln>
          </p:spPr>
          <p:txBody>
            <a:bodyPr rtlCol="0" anchor="ctr"/>
            <a:lstStyle/>
            <a:p>
              <a:endParaRPr lang="pt-BR" noProof="0"/>
            </a:p>
          </p:txBody>
        </p:sp>
        <p:sp>
          <p:nvSpPr>
            <p:cNvPr id="4" name="Freeform: Shape 16">
              <a:extLst>
                <a:ext uri="{FF2B5EF4-FFF2-40B4-BE49-F238E27FC236}">
                  <a16:creationId xmlns:a16="http://schemas.microsoft.com/office/drawing/2014/main" id="{B269CBC1-8788-FE1D-DA3D-B66AE11852BE}"/>
                </a:ext>
              </a:extLst>
            </p:cNvPr>
            <p:cNvSpPr/>
            <p:nvPr/>
          </p:nvSpPr>
          <p:spPr>
            <a:xfrm>
              <a:off x="5492084" y="310867"/>
              <a:ext cx="332584" cy="315991"/>
            </a:xfrm>
            <a:custGeom>
              <a:avLst/>
              <a:gdLst>
                <a:gd name="connsiteX0" fmla="*/ 534924 w 1323022"/>
                <a:gd name="connsiteY0" fmla="*/ 0 h 1257014"/>
                <a:gd name="connsiteX1" fmla="*/ 788099 w 1323022"/>
                <a:gd name="connsiteY1" fmla="*/ 0 h 1257014"/>
                <a:gd name="connsiteX2" fmla="*/ 1323023 w 1323022"/>
                <a:gd name="connsiteY2" fmla="*/ 1257014 h 1257014"/>
                <a:gd name="connsiteX3" fmla="*/ 1035939 w 1323022"/>
                <a:gd name="connsiteY3" fmla="*/ 1257014 h 1257014"/>
                <a:gd name="connsiteX4" fmla="*/ 921829 w 1323022"/>
                <a:gd name="connsiteY4" fmla="*/ 977075 h 1257014"/>
                <a:gd name="connsiteX5" fmla="*/ 394049 w 1323022"/>
                <a:gd name="connsiteY5" fmla="*/ 977075 h 1257014"/>
                <a:gd name="connsiteX6" fmla="*/ 279940 w 1323022"/>
                <a:gd name="connsiteY6" fmla="*/ 1257014 h 1257014"/>
                <a:gd name="connsiteX7" fmla="*/ 0 w 1323022"/>
                <a:gd name="connsiteY7" fmla="*/ 1257014 h 1257014"/>
                <a:gd name="connsiteX8" fmla="*/ 534924 w 1323022"/>
                <a:gd name="connsiteY8" fmla="*/ 0 h 1257014"/>
                <a:gd name="connsiteX9" fmla="*/ 823817 w 1323022"/>
                <a:gd name="connsiteY9" fmla="*/ 734568 h 1257014"/>
                <a:gd name="connsiteX10" fmla="*/ 657987 w 1323022"/>
                <a:gd name="connsiteY10" fmla="*/ 329851 h 1257014"/>
                <a:gd name="connsiteX11" fmla="*/ 492157 w 1323022"/>
                <a:gd name="connsiteY11" fmla="*/ 734568 h 1257014"/>
                <a:gd name="connsiteX12" fmla="*/ 823817 w 1323022"/>
                <a:gd name="connsiteY12" fmla="*/ 734568 h 125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022" h="1257014">
                  <a:moveTo>
                    <a:pt x="534924" y="0"/>
                  </a:moveTo>
                  <a:lnTo>
                    <a:pt x="788099" y="0"/>
                  </a:lnTo>
                  <a:lnTo>
                    <a:pt x="1323023" y="1257014"/>
                  </a:lnTo>
                  <a:lnTo>
                    <a:pt x="1035939" y="1257014"/>
                  </a:lnTo>
                  <a:lnTo>
                    <a:pt x="921829" y="977075"/>
                  </a:lnTo>
                  <a:lnTo>
                    <a:pt x="394049" y="977075"/>
                  </a:lnTo>
                  <a:lnTo>
                    <a:pt x="279940" y="1257014"/>
                  </a:lnTo>
                  <a:lnTo>
                    <a:pt x="0" y="1257014"/>
                  </a:lnTo>
                  <a:lnTo>
                    <a:pt x="534924" y="0"/>
                  </a:lnTo>
                  <a:close/>
                  <a:moveTo>
                    <a:pt x="823817" y="734568"/>
                  </a:moveTo>
                  <a:lnTo>
                    <a:pt x="657987" y="329851"/>
                  </a:lnTo>
                  <a:lnTo>
                    <a:pt x="492157" y="734568"/>
                  </a:lnTo>
                  <a:lnTo>
                    <a:pt x="823817" y="734568"/>
                  </a:lnTo>
                  <a:close/>
                </a:path>
              </a:pathLst>
            </a:custGeom>
            <a:solidFill>
              <a:srgbClr val="44505E"/>
            </a:solidFill>
            <a:ln w="9525" cap="flat">
              <a:noFill/>
              <a:prstDash val="solid"/>
              <a:miter/>
            </a:ln>
          </p:spPr>
          <p:txBody>
            <a:bodyPr rtlCol="0" anchor="ctr"/>
            <a:lstStyle/>
            <a:p>
              <a:endParaRPr lang="pt-BR" noProof="0"/>
            </a:p>
          </p:txBody>
        </p:sp>
        <p:sp>
          <p:nvSpPr>
            <p:cNvPr id="5" name="Freeform: Shape 17">
              <a:extLst>
                <a:ext uri="{FF2B5EF4-FFF2-40B4-BE49-F238E27FC236}">
                  <a16:creationId xmlns:a16="http://schemas.microsoft.com/office/drawing/2014/main" id="{5193A2FD-9052-D700-708D-BAA2CECC8896}"/>
                </a:ext>
              </a:extLst>
            </p:cNvPr>
            <p:cNvSpPr/>
            <p:nvPr/>
          </p:nvSpPr>
          <p:spPr>
            <a:xfrm>
              <a:off x="5834078" y="211355"/>
              <a:ext cx="273442" cy="420435"/>
            </a:xfrm>
            <a:custGeom>
              <a:avLst/>
              <a:gdLst>
                <a:gd name="connsiteX0" fmla="*/ 540258 w 1087754"/>
                <a:gd name="connsiteY0" fmla="*/ 1672495 h 1672494"/>
                <a:gd name="connsiteX1" fmla="*/ 144399 w 1087754"/>
                <a:gd name="connsiteY1" fmla="*/ 1533430 h 1672494"/>
                <a:gd name="connsiteX2" fmla="*/ 0 w 1087754"/>
                <a:gd name="connsiteY2" fmla="*/ 1117949 h 1672494"/>
                <a:gd name="connsiteX3" fmla="*/ 0 w 1087754"/>
                <a:gd name="connsiteY3" fmla="*/ 404717 h 1672494"/>
                <a:gd name="connsiteX4" fmla="*/ 274606 w 1087754"/>
                <a:gd name="connsiteY4" fmla="*/ 404717 h 1672494"/>
                <a:gd name="connsiteX5" fmla="*/ 274606 w 1087754"/>
                <a:gd name="connsiteY5" fmla="*/ 1110806 h 1672494"/>
                <a:gd name="connsiteX6" fmla="*/ 345948 w 1087754"/>
                <a:gd name="connsiteY6" fmla="*/ 1341692 h 1672494"/>
                <a:gd name="connsiteX7" fmla="*/ 543877 w 1087754"/>
                <a:gd name="connsiteY7" fmla="*/ 1419225 h 1672494"/>
                <a:gd name="connsiteX8" fmla="*/ 741807 w 1087754"/>
                <a:gd name="connsiteY8" fmla="*/ 1344359 h 1672494"/>
                <a:gd name="connsiteX9" fmla="*/ 813149 w 1087754"/>
                <a:gd name="connsiteY9" fmla="*/ 1119664 h 1672494"/>
                <a:gd name="connsiteX10" fmla="*/ 813149 w 1087754"/>
                <a:gd name="connsiteY10" fmla="*/ 404717 h 1672494"/>
                <a:gd name="connsiteX11" fmla="*/ 1087755 w 1087754"/>
                <a:gd name="connsiteY11" fmla="*/ 404717 h 1672494"/>
                <a:gd name="connsiteX12" fmla="*/ 1087755 w 1087754"/>
                <a:gd name="connsiteY12" fmla="*/ 1108996 h 1672494"/>
                <a:gd name="connsiteX13" fmla="*/ 1049369 w 1087754"/>
                <a:gd name="connsiteY13" fmla="*/ 1356836 h 1672494"/>
                <a:gd name="connsiteX14" fmla="*/ 939737 w 1087754"/>
                <a:gd name="connsiteY14" fmla="*/ 1532477 h 1672494"/>
                <a:gd name="connsiteX15" fmla="*/ 766763 w 1087754"/>
                <a:gd name="connsiteY15" fmla="*/ 1637729 h 1672494"/>
                <a:gd name="connsiteX16" fmla="*/ 540353 w 1087754"/>
                <a:gd name="connsiteY16" fmla="*/ 1672495 h 1672494"/>
                <a:gd name="connsiteX17" fmla="*/ 622268 w 1087754"/>
                <a:gd name="connsiteY17" fmla="*/ 0 h 1672494"/>
                <a:gd name="connsiteX18" fmla="*/ 855821 w 1087754"/>
                <a:gd name="connsiteY18" fmla="*/ 101632 h 1672494"/>
                <a:gd name="connsiteX19" fmla="*/ 627602 w 1087754"/>
                <a:gd name="connsiteY19" fmla="*/ 315563 h 1672494"/>
                <a:gd name="connsiteX20" fmla="*/ 420719 w 1087754"/>
                <a:gd name="connsiteY20" fmla="*/ 315563 h 1672494"/>
                <a:gd name="connsiteX21" fmla="*/ 622268 w 1087754"/>
                <a:gd name="connsiteY21" fmla="*/ 0 h 16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754" h="1672494">
                  <a:moveTo>
                    <a:pt x="540258" y="1672495"/>
                  </a:moveTo>
                  <a:cubicBezTo>
                    <a:pt x="372618" y="1672495"/>
                    <a:pt x="240697" y="1626108"/>
                    <a:pt x="144399" y="1533430"/>
                  </a:cubicBezTo>
                  <a:cubicBezTo>
                    <a:pt x="48101" y="1440752"/>
                    <a:pt x="0" y="1302258"/>
                    <a:pt x="0" y="1117949"/>
                  </a:cubicBezTo>
                  <a:lnTo>
                    <a:pt x="0" y="404717"/>
                  </a:lnTo>
                  <a:lnTo>
                    <a:pt x="274606" y="404717"/>
                  </a:lnTo>
                  <a:lnTo>
                    <a:pt x="274606" y="1110806"/>
                  </a:lnTo>
                  <a:cubicBezTo>
                    <a:pt x="274606" y="1213009"/>
                    <a:pt x="298418" y="1289971"/>
                    <a:pt x="345948" y="1341692"/>
                  </a:cubicBezTo>
                  <a:cubicBezTo>
                    <a:pt x="393478" y="1393412"/>
                    <a:pt x="459486" y="1419225"/>
                    <a:pt x="543877" y="1419225"/>
                  </a:cubicBezTo>
                  <a:cubicBezTo>
                    <a:pt x="628269" y="1419225"/>
                    <a:pt x="694277" y="1394270"/>
                    <a:pt x="741807" y="1344359"/>
                  </a:cubicBezTo>
                  <a:cubicBezTo>
                    <a:pt x="789337" y="1294448"/>
                    <a:pt x="813149" y="1219581"/>
                    <a:pt x="813149" y="1119664"/>
                  </a:cubicBezTo>
                  <a:lnTo>
                    <a:pt x="813149" y="404717"/>
                  </a:lnTo>
                  <a:lnTo>
                    <a:pt x="1087755" y="404717"/>
                  </a:lnTo>
                  <a:lnTo>
                    <a:pt x="1087755" y="1108996"/>
                  </a:lnTo>
                  <a:cubicBezTo>
                    <a:pt x="1087755" y="1204151"/>
                    <a:pt x="1074992" y="1286732"/>
                    <a:pt x="1049369" y="1356836"/>
                  </a:cubicBezTo>
                  <a:cubicBezTo>
                    <a:pt x="1023747" y="1426940"/>
                    <a:pt x="987266" y="1485519"/>
                    <a:pt x="939737" y="1532477"/>
                  </a:cubicBezTo>
                  <a:cubicBezTo>
                    <a:pt x="892207" y="1579436"/>
                    <a:pt x="834485" y="1614488"/>
                    <a:pt x="766763" y="1637729"/>
                  </a:cubicBezTo>
                  <a:cubicBezTo>
                    <a:pt x="699040" y="1660874"/>
                    <a:pt x="623507" y="1672495"/>
                    <a:pt x="540353" y="1672495"/>
                  </a:cubicBezTo>
                  <a:close/>
                  <a:moveTo>
                    <a:pt x="622268" y="0"/>
                  </a:moveTo>
                  <a:lnTo>
                    <a:pt x="855821" y="101632"/>
                  </a:lnTo>
                  <a:lnTo>
                    <a:pt x="627602" y="315563"/>
                  </a:lnTo>
                  <a:lnTo>
                    <a:pt x="420719" y="315563"/>
                  </a:lnTo>
                  <a:lnTo>
                    <a:pt x="622268" y="0"/>
                  </a:lnTo>
                  <a:close/>
                </a:path>
              </a:pathLst>
            </a:custGeom>
            <a:solidFill>
              <a:srgbClr val="44505E"/>
            </a:solidFill>
            <a:ln w="9525" cap="flat">
              <a:noFill/>
              <a:prstDash val="solid"/>
              <a:miter/>
            </a:ln>
          </p:spPr>
          <p:txBody>
            <a:bodyPr rtlCol="0" anchor="ctr"/>
            <a:lstStyle/>
            <a:p>
              <a:endParaRPr lang="pt-BR" noProof="0"/>
            </a:p>
          </p:txBody>
        </p:sp>
        <p:sp>
          <p:nvSpPr>
            <p:cNvPr id="6" name="Freeform: Shape 18">
              <a:extLst>
                <a:ext uri="{FF2B5EF4-FFF2-40B4-BE49-F238E27FC236}">
                  <a16:creationId xmlns:a16="http://schemas.microsoft.com/office/drawing/2014/main" id="{E4D0CB45-6E6E-007D-4E28-F09AC6D67B77}"/>
                </a:ext>
              </a:extLst>
            </p:cNvPr>
            <p:cNvSpPr/>
            <p:nvPr/>
          </p:nvSpPr>
          <p:spPr>
            <a:xfrm>
              <a:off x="6143795" y="313094"/>
              <a:ext cx="289101" cy="313764"/>
            </a:xfrm>
            <a:custGeom>
              <a:avLst/>
              <a:gdLst>
                <a:gd name="connsiteX0" fmla="*/ 0 w 1150048"/>
                <a:gd name="connsiteY0" fmla="*/ 0 h 1248155"/>
                <a:gd name="connsiteX1" fmla="*/ 486728 w 1150048"/>
                <a:gd name="connsiteY1" fmla="*/ 0 h 1248155"/>
                <a:gd name="connsiteX2" fmla="*/ 755047 w 1150048"/>
                <a:gd name="connsiteY2" fmla="*/ 47244 h 1248155"/>
                <a:gd name="connsiteX3" fmla="*/ 965454 w 1150048"/>
                <a:gd name="connsiteY3" fmla="*/ 178308 h 1248155"/>
                <a:gd name="connsiteX4" fmla="*/ 1101852 w 1150048"/>
                <a:gd name="connsiteY4" fmla="*/ 375380 h 1248155"/>
                <a:gd name="connsiteX5" fmla="*/ 1150049 w 1150048"/>
                <a:gd name="connsiteY5" fmla="*/ 620554 h 1248155"/>
                <a:gd name="connsiteX6" fmla="*/ 1150049 w 1150048"/>
                <a:gd name="connsiteY6" fmla="*/ 624173 h 1248155"/>
                <a:gd name="connsiteX7" fmla="*/ 1101852 w 1150048"/>
                <a:gd name="connsiteY7" fmla="*/ 870204 h 1248155"/>
                <a:gd name="connsiteX8" fmla="*/ 965454 w 1150048"/>
                <a:gd name="connsiteY8" fmla="*/ 1068134 h 1248155"/>
                <a:gd name="connsiteX9" fmla="*/ 755047 w 1150048"/>
                <a:gd name="connsiteY9" fmla="*/ 1200055 h 1248155"/>
                <a:gd name="connsiteX10" fmla="*/ 486728 w 1150048"/>
                <a:gd name="connsiteY10" fmla="*/ 1248156 h 1248155"/>
                <a:gd name="connsiteX11" fmla="*/ 0 w 1150048"/>
                <a:gd name="connsiteY11" fmla="*/ 1248156 h 1248155"/>
                <a:gd name="connsiteX12" fmla="*/ 0 w 1150048"/>
                <a:gd name="connsiteY12" fmla="*/ 0 h 1248155"/>
                <a:gd name="connsiteX13" fmla="*/ 486728 w 1150048"/>
                <a:gd name="connsiteY13" fmla="*/ 1000315 h 1248155"/>
                <a:gd name="connsiteX14" fmla="*/ 640080 w 1150048"/>
                <a:gd name="connsiteY14" fmla="*/ 973550 h 1248155"/>
                <a:gd name="connsiteX15" fmla="*/ 758667 w 1150048"/>
                <a:gd name="connsiteY15" fmla="*/ 896874 h 1248155"/>
                <a:gd name="connsiteX16" fmla="*/ 835343 w 1150048"/>
                <a:gd name="connsiteY16" fmla="*/ 779240 h 1248155"/>
                <a:gd name="connsiteX17" fmla="*/ 862965 w 1150048"/>
                <a:gd name="connsiteY17" fmla="*/ 627698 h 1248155"/>
                <a:gd name="connsiteX18" fmla="*/ 862965 w 1150048"/>
                <a:gd name="connsiteY18" fmla="*/ 624078 h 1248155"/>
                <a:gd name="connsiteX19" fmla="*/ 835343 w 1150048"/>
                <a:gd name="connsiteY19" fmla="*/ 472535 h 1248155"/>
                <a:gd name="connsiteX20" fmla="*/ 758667 w 1150048"/>
                <a:gd name="connsiteY20" fmla="*/ 353092 h 1248155"/>
                <a:gd name="connsiteX21" fmla="*/ 640080 w 1150048"/>
                <a:gd name="connsiteY21" fmla="*/ 275558 h 1248155"/>
                <a:gd name="connsiteX22" fmla="*/ 486728 w 1150048"/>
                <a:gd name="connsiteY22" fmla="*/ 247936 h 1248155"/>
                <a:gd name="connsiteX23" fmla="*/ 274511 w 1150048"/>
                <a:gd name="connsiteY23" fmla="*/ 247936 h 1248155"/>
                <a:gd name="connsiteX24" fmla="*/ 274511 w 1150048"/>
                <a:gd name="connsiteY24" fmla="*/ 1000411 h 1248155"/>
                <a:gd name="connsiteX25" fmla="*/ 486728 w 1150048"/>
                <a:gd name="connsiteY25" fmla="*/ 1000411 h 124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50048" h="1248155">
                  <a:moveTo>
                    <a:pt x="0" y="0"/>
                  </a:moveTo>
                  <a:lnTo>
                    <a:pt x="486728" y="0"/>
                  </a:lnTo>
                  <a:cubicBezTo>
                    <a:pt x="584168" y="0"/>
                    <a:pt x="673608" y="15811"/>
                    <a:pt x="755047" y="47244"/>
                  </a:cubicBezTo>
                  <a:cubicBezTo>
                    <a:pt x="836486" y="78772"/>
                    <a:pt x="906590" y="122396"/>
                    <a:pt x="965454" y="178308"/>
                  </a:cubicBezTo>
                  <a:cubicBezTo>
                    <a:pt x="1024319" y="234220"/>
                    <a:pt x="1069753" y="299847"/>
                    <a:pt x="1101852" y="375380"/>
                  </a:cubicBezTo>
                  <a:cubicBezTo>
                    <a:pt x="1133951" y="450914"/>
                    <a:pt x="1150049" y="532543"/>
                    <a:pt x="1150049" y="620554"/>
                  </a:cubicBezTo>
                  <a:lnTo>
                    <a:pt x="1150049" y="624173"/>
                  </a:lnTo>
                  <a:cubicBezTo>
                    <a:pt x="1150049" y="712184"/>
                    <a:pt x="1133951" y="794195"/>
                    <a:pt x="1101852" y="870204"/>
                  </a:cubicBezTo>
                  <a:cubicBezTo>
                    <a:pt x="1069753" y="946309"/>
                    <a:pt x="1024319" y="1012222"/>
                    <a:pt x="965454" y="1068134"/>
                  </a:cubicBezTo>
                  <a:cubicBezTo>
                    <a:pt x="906590" y="1124045"/>
                    <a:pt x="836486" y="1167956"/>
                    <a:pt x="755047" y="1200055"/>
                  </a:cubicBezTo>
                  <a:cubicBezTo>
                    <a:pt x="673608" y="1232154"/>
                    <a:pt x="584168" y="1248156"/>
                    <a:pt x="486728" y="1248156"/>
                  </a:cubicBezTo>
                  <a:lnTo>
                    <a:pt x="0" y="1248156"/>
                  </a:lnTo>
                  <a:lnTo>
                    <a:pt x="0" y="0"/>
                  </a:lnTo>
                  <a:close/>
                  <a:moveTo>
                    <a:pt x="486728" y="1000315"/>
                  </a:moveTo>
                  <a:cubicBezTo>
                    <a:pt x="542639" y="1000315"/>
                    <a:pt x="593693" y="991457"/>
                    <a:pt x="640080" y="973550"/>
                  </a:cubicBezTo>
                  <a:cubicBezTo>
                    <a:pt x="686467" y="955739"/>
                    <a:pt x="725900" y="930211"/>
                    <a:pt x="758667" y="896874"/>
                  </a:cubicBezTo>
                  <a:cubicBezTo>
                    <a:pt x="791337" y="863632"/>
                    <a:pt x="816864" y="824389"/>
                    <a:pt x="835343" y="779240"/>
                  </a:cubicBezTo>
                  <a:cubicBezTo>
                    <a:pt x="853726" y="734092"/>
                    <a:pt x="862965" y="683609"/>
                    <a:pt x="862965" y="627698"/>
                  </a:cubicBezTo>
                  <a:lnTo>
                    <a:pt x="862965" y="624078"/>
                  </a:lnTo>
                  <a:cubicBezTo>
                    <a:pt x="862965" y="569404"/>
                    <a:pt x="853726" y="518827"/>
                    <a:pt x="835343" y="472535"/>
                  </a:cubicBezTo>
                  <a:cubicBezTo>
                    <a:pt x="816864" y="426149"/>
                    <a:pt x="791337" y="386334"/>
                    <a:pt x="758667" y="353092"/>
                  </a:cubicBezTo>
                  <a:cubicBezTo>
                    <a:pt x="725996" y="319849"/>
                    <a:pt x="686467" y="293941"/>
                    <a:pt x="640080" y="275558"/>
                  </a:cubicBezTo>
                  <a:cubicBezTo>
                    <a:pt x="593693" y="257175"/>
                    <a:pt x="542639" y="247936"/>
                    <a:pt x="486728" y="247936"/>
                  </a:cubicBezTo>
                  <a:lnTo>
                    <a:pt x="274511" y="247936"/>
                  </a:lnTo>
                  <a:lnTo>
                    <a:pt x="274511" y="1000411"/>
                  </a:lnTo>
                  <a:lnTo>
                    <a:pt x="486728" y="1000411"/>
                  </a:lnTo>
                  <a:close/>
                </a:path>
              </a:pathLst>
            </a:custGeom>
            <a:solidFill>
              <a:srgbClr val="44505E"/>
            </a:solidFill>
            <a:ln w="9525" cap="flat">
              <a:noFill/>
              <a:prstDash val="solid"/>
              <a:miter/>
            </a:ln>
          </p:spPr>
          <p:txBody>
            <a:bodyPr rtlCol="0" anchor="ctr"/>
            <a:lstStyle/>
            <a:p>
              <a:endParaRPr lang="pt-BR" noProof="0"/>
            </a:p>
          </p:txBody>
        </p:sp>
        <p:sp>
          <p:nvSpPr>
            <p:cNvPr id="7" name="Freeform: Shape 19">
              <a:extLst>
                <a:ext uri="{FF2B5EF4-FFF2-40B4-BE49-F238E27FC236}">
                  <a16:creationId xmlns:a16="http://schemas.microsoft.com/office/drawing/2014/main" id="{3FF598DD-CF0B-CC4F-BD6C-E508C72AAD14}"/>
                </a:ext>
              </a:extLst>
            </p:cNvPr>
            <p:cNvSpPr/>
            <p:nvPr/>
          </p:nvSpPr>
          <p:spPr>
            <a:xfrm>
              <a:off x="6460217" y="313094"/>
              <a:ext cx="238459" cy="313788"/>
            </a:xfrm>
            <a:custGeom>
              <a:avLst/>
              <a:gdLst>
                <a:gd name="connsiteX0" fmla="*/ 95 w 948594"/>
                <a:gd name="connsiteY0" fmla="*/ 0 h 1248251"/>
                <a:gd name="connsiteX1" fmla="*/ 939737 w 948594"/>
                <a:gd name="connsiteY1" fmla="*/ 0 h 1248251"/>
                <a:gd name="connsiteX2" fmla="*/ 939737 w 948594"/>
                <a:gd name="connsiteY2" fmla="*/ 244316 h 1248251"/>
                <a:gd name="connsiteX3" fmla="*/ 271081 w 948594"/>
                <a:gd name="connsiteY3" fmla="*/ 244316 h 1248251"/>
                <a:gd name="connsiteX4" fmla="*/ 271081 w 948594"/>
                <a:gd name="connsiteY4" fmla="*/ 497491 h 1248251"/>
                <a:gd name="connsiteX5" fmla="*/ 859441 w 948594"/>
                <a:gd name="connsiteY5" fmla="*/ 497491 h 1248251"/>
                <a:gd name="connsiteX6" fmla="*/ 859441 w 948594"/>
                <a:gd name="connsiteY6" fmla="*/ 741807 h 1248251"/>
                <a:gd name="connsiteX7" fmla="*/ 271081 w 948594"/>
                <a:gd name="connsiteY7" fmla="*/ 741807 h 1248251"/>
                <a:gd name="connsiteX8" fmla="*/ 271081 w 948594"/>
                <a:gd name="connsiteY8" fmla="*/ 1003935 h 1248251"/>
                <a:gd name="connsiteX9" fmla="*/ 948595 w 948594"/>
                <a:gd name="connsiteY9" fmla="*/ 1003935 h 1248251"/>
                <a:gd name="connsiteX10" fmla="*/ 948595 w 948594"/>
                <a:gd name="connsiteY10" fmla="*/ 1248251 h 1248251"/>
                <a:gd name="connsiteX11" fmla="*/ 0 w 948594"/>
                <a:gd name="connsiteY11" fmla="*/ 1248251 h 1248251"/>
                <a:gd name="connsiteX12" fmla="*/ 0 w 948594"/>
                <a:gd name="connsiteY12" fmla="*/ 0 h 124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594" h="1248251">
                  <a:moveTo>
                    <a:pt x="95" y="0"/>
                  </a:moveTo>
                  <a:lnTo>
                    <a:pt x="939737" y="0"/>
                  </a:lnTo>
                  <a:lnTo>
                    <a:pt x="939737" y="244316"/>
                  </a:lnTo>
                  <a:lnTo>
                    <a:pt x="271081" y="244316"/>
                  </a:lnTo>
                  <a:lnTo>
                    <a:pt x="271081" y="497491"/>
                  </a:lnTo>
                  <a:lnTo>
                    <a:pt x="859441" y="497491"/>
                  </a:lnTo>
                  <a:lnTo>
                    <a:pt x="859441" y="741807"/>
                  </a:lnTo>
                  <a:lnTo>
                    <a:pt x="271081" y="741807"/>
                  </a:lnTo>
                  <a:lnTo>
                    <a:pt x="271081" y="1003935"/>
                  </a:lnTo>
                  <a:lnTo>
                    <a:pt x="948595" y="1003935"/>
                  </a:lnTo>
                  <a:lnTo>
                    <a:pt x="948595" y="1248251"/>
                  </a:lnTo>
                  <a:lnTo>
                    <a:pt x="0" y="1248251"/>
                  </a:lnTo>
                  <a:lnTo>
                    <a:pt x="0" y="0"/>
                  </a:lnTo>
                  <a:close/>
                </a:path>
              </a:pathLst>
            </a:custGeom>
            <a:solidFill>
              <a:srgbClr val="44505E"/>
            </a:solidFill>
            <a:ln w="9525" cap="flat">
              <a:noFill/>
              <a:prstDash val="solid"/>
              <a:miter/>
            </a:ln>
          </p:spPr>
          <p:txBody>
            <a:bodyPr rtlCol="0" anchor="ctr"/>
            <a:lstStyle/>
            <a:p>
              <a:endParaRPr lang="pt-BR" noProof="0"/>
            </a:p>
          </p:txBody>
        </p:sp>
        <p:sp>
          <p:nvSpPr>
            <p:cNvPr id="8" name="Freeform: Shape 20">
              <a:extLst>
                <a:ext uri="{FF2B5EF4-FFF2-40B4-BE49-F238E27FC236}">
                  <a16:creationId xmlns:a16="http://schemas.microsoft.com/office/drawing/2014/main" id="{627CFEFB-65FB-77E4-67FD-C9B78E73F39D}"/>
                </a:ext>
              </a:extLst>
            </p:cNvPr>
            <p:cNvSpPr/>
            <p:nvPr/>
          </p:nvSpPr>
          <p:spPr>
            <a:xfrm>
              <a:off x="5253193" y="699983"/>
              <a:ext cx="90796" cy="97883"/>
            </a:xfrm>
            <a:custGeom>
              <a:avLst/>
              <a:gdLst>
                <a:gd name="connsiteX0" fmla="*/ 191548 w 361187"/>
                <a:gd name="connsiteY0" fmla="*/ 389382 h 389381"/>
                <a:gd name="connsiteX1" fmla="*/ 116300 w 361187"/>
                <a:gd name="connsiteY1" fmla="*/ 375285 h 389381"/>
                <a:gd name="connsiteX2" fmla="*/ 55531 w 361187"/>
                <a:gd name="connsiteY2" fmla="*/ 335756 h 389381"/>
                <a:gd name="connsiteX3" fmla="*/ 14859 w 361187"/>
                <a:gd name="connsiteY3" fmla="*/ 274606 h 389381"/>
                <a:gd name="connsiteX4" fmla="*/ 0 w 361187"/>
                <a:gd name="connsiteY4" fmla="*/ 195834 h 389381"/>
                <a:gd name="connsiteX5" fmla="*/ 0 w 361187"/>
                <a:gd name="connsiteY5" fmla="*/ 194405 h 389381"/>
                <a:gd name="connsiteX6" fmla="*/ 13430 w 361187"/>
                <a:gd name="connsiteY6" fmla="*/ 118777 h 389381"/>
                <a:gd name="connsiteX7" fmla="*/ 51245 w 361187"/>
                <a:gd name="connsiteY7" fmla="*/ 56959 h 389381"/>
                <a:gd name="connsiteX8" fmla="*/ 108871 w 361187"/>
                <a:gd name="connsiteY8" fmla="*/ 15240 h 389381"/>
                <a:gd name="connsiteX9" fmla="*/ 182404 w 361187"/>
                <a:gd name="connsiteY9" fmla="*/ 0 h 389381"/>
                <a:gd name="connsiteX10" fmla="*/ 260509 w 361187"/>
                <a:gd name="connsiteY10" fmla="*/ 16288 h 389381"/>
                <a:gd name="connsiteX11" fmla="*/ 316325 w 361187"/>
                <a:gd name="connsiteY11" fmla="*/ 60103 h 389381"/>
                <a:gd name="connsiteX12" fmla="*/ 349853 w 361187"/>
                <a:gd name="connsiteY12" fmla="*/ 124015 h 389381"/>
                <a:gd name="connsiteX13" fmla="*/ 361188 w 361187"/>
                <a:gd name="connsiteY13" fmla="*/ 200692 h 389381"/>
                <a:gd name="connsiteX14" fmla="*/ 360807 w 361187"/>
                <a:gd name="connsiteY14" fmla="*/ 212312 h 389381"/>
                <a:gd name="connsiteX15" fmla="*/ 359759 w 361187"/>
                <a:gd name="connsiteY15" fmla="*/ 224695 h 389381"/>
                <a:gd name="connsiteX16" fmla="*/ 85534 w 361187"/>
                <a:gd name="connsiteY16" fmla="*/ 224695 h 389381"/>
                <a:gd name="connsiteX17" fmla="*/ 121920 w 361187"/>
                <a:gd name="connsiteY17" fmla="*/ 294989 h 389381"/>
                <a:gd name="connsiteX18" fmla="*/ 192977 w 361187"/>
                <a:gd name="connsiteY18" fmla="*/ 319373 h 389381"/>
                <a:gd name="connsiteX19" fmla="*/ 248126 w 361187"/>
                <a:gd name="connsiteY19" fmla="*/ 308038 h 389381"/>
                <a:gd name="connsiteX20" fmla="*/ 294037 w 361187"/>
                <a:gd name="connsiteY20" fmla="*/ 274796 h 389381"/>
                <a:gd name="connsiteX21" fmla="*/ 344234 w 361187"/>
                <a:gd name="connsiteY21" fmla="*/ 319278 h 389381"/>
                <a:gd name="connsiteX22" fmla="*/ 280226 w 361187"/>
                <a:gd name="connsiteY22" fmla="*/ 370141 h 389381"/>
                <a:gd name="connsiteX23" fmla="*/ 191548 w 361187"/>
                <a:gd name="connsiteY23" fmla="*/ 389191 h 389381"/>
                <a:gd name="connsiteX24" fmla="*/ 276320 w 361187"/>
                <a:gd name="connsiteY24" fmla="*/ 168211 h 389381"/>
                <a:gd name="connsiteX25" fmla="*/ 267176 w 361187"/>
                <a:gd name="connsiteY25" fmla="*/ 129730 h 389381"/>
                <a:gd name="connsiteX26" fmla="*/ 248126 w 361187"/>
                <a:gd name="connsiteY26" fmla="*/ 98679 h 389381"/>
                <a:gd name="connsiteX27" fmla="*/ 219551 w 361187"/>
                <a:gd name="connsiteY27" fmla="*/ 77819 h 389381"/>
                <a:gd name="connsiteX28" fmla="*/ 181737 w 361187"/>
                <a:gd name="connsiteY28" fmla="*/ 70009 h 389381"/>
                <a:gd name="connsiteX29" fmla="*/ 116396 w 361187"/>
                <a:gd name="connsiteY29" fmla="*/ 97250 h 389381"/>
                <a:gd name="connsiteX30" fmla="*/ 84963 w 361187"/>
                <a:gd name="connsiteY30" fmla="*/ 168307 h 389381"/>
                <a:gd name="connsiteX31" fmla="*/ 276511 w 361187"/>
                <a:gd name="connsiteY31" fmla="*/ 168307 h 38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187" h="389381">
                  <a:moveTo>
                    <a:pt x="191548" y="389382"/>
                  </a:moveTo>
                  <a:cubicBezTo>
                    <a:pt x="164687" y="389382"/>
                    <a:pt x="139637" y="384715"/>
                    <a:pt x="116300" y="375285"/>
                  </a:cubicBezTo>
                  <a:cubicBezTo>
                    <a:pt x="92964" y="365855"/>
                    <a:pt x="72771" y="352711"/>
                    <a:pt x="55531" y="335756"/>
                  </a:cubicBezTo>
                  <a:cubicBezTo>
                    <a:pt x="38291" y="318802"/>
                    <a:pt x="24765" y="298418"/>
                    <a:pt x="14859" y="274606"/>
                  </a:cubicBezTo>
                  <a:cubicBezTo>
                    <a:pt x="4953" y="250793"/>
                    <a:pt x="0" y="224599"/>
                    <a:pt x="0" y="195834"/>
                  </a:cubicBezTo>
                  <a:lnTo>
                    <a:pt x="0" y="194405"/>
                  </a:lnTo>
                  <a:cubicBezTo>
                    <a:pt x="0" y="167545"/>
                    <a:pt x="4477" y="142399"/>
                    <a:pt x="13430" y="118777"/>
                  </a:cubicBezTo>
                  <a:cubicBezTo>
                    <a:pt x="22384" y="95250"/>
                    <a:pt x="34957" y="74581"/>
                    <a:pt x="51245" y="56959"/>
                  </a:cubicBezTo>
                  <a:cubicBezTo>
                    <a:pt x="67532" y="39338"/>
                    <a:pt x="86677" y="25432"/>
                    <a:pt x="108871" y="15240"/>
                  </a:cubicBezTo>
                  <a:cubicBezTo>
                    <a:pt x="131064" y="5143"/>
                    <a:pt x="155543" y="0"/>
                    <a:pt x="182404" y="0"/>
                  </a:cubicBezTo>
                  <a:cubicBezTo>
                    <a:pt x="212122" y="0"/>
                    <a:pt x="238125" y="5429"/>
                    <a:pt x="260509" y="16288"/>
                  </a:cubicBezTo>
                  <a:cubicBezTo>
                    <a:pt x="282893" y="27146"/>
                    <a:pt x="301466" y="41719"/>
                    <a:pt x="316325" y="60103"/>
                  </a:cubicBezTo>
                  <a:cubicBezTo>
                    <a:pt x="331184" y="78486"/>
                    <a:pt x="342329" y="99822"/>
                    <a:pt x="349853" y="124015"/>
                  </a:cubicBezTo>
                  <a:cubicBezTo>
                    <a:pt x="357378" y="148304"/>
                    <a:pt x="361188" y="173831"/>
                    <a:pt x="361188" y="200692"/>
                  </a:cubicBezTo>
                  <a:cubicBezTo>
                    <a:pt x="361188" y="204502"/>
                    <a:pt x="361093" y="208312"/>
                    <a:pt x="360807" y="212312"/>
                  </a:cubicBezTo>
                  <a:cubicBezTo>
                    <a:pt x="360521" y="216313"/>
                    <a:pt x="360236" y="220409"/>
                    <a:pt x="359759" y="224695"/>
                  </a:cubicBezTo>
                  <a:lnTo>
                    <a:pt x="85534" y="224695"/>
                  </a:lnTo>
                  <a:cubicBezTo>
                    <a:pt x="90202" y="255365"/>
                    <a:pt x="102394" y="278797"/>
                    <a:pt x="121920" y="294989"/>
                  </a:cubicBezTo>
                  <a:cubicBezTo>
                    <a:pt x="141446" y="311277"/>
                    <a:pt x="165164" y="319373"/>
                    <a:pt x="192977" y="319373"/>
                  </a:cubicBezTo>
                  <a:cubicBezTo>
                    <a:pt x="214217" y="319373"/>
                    <a:pt x="232505" y="315563"/>
                    <a:pt x="248126" y="308038"/>
                  </a:cubicBezTo>
                  <a:cubicBezTo>
                    <a:pt x="263652" y="300514"/>
                    <a:pt x="278987" y="289465"/>
                    <a:pt x="294037" y="274796"/>
                  </a:cubicBezTo>
                  <a:lnTo>
                    <a:pt x="344234" y="319278"/>
                  </a:lnTo>
                  <a:cubicBezTo>
                    <a:pt x="326327" y="340519"/>
                    <a:pt x="304991" y="357473"/>
                    <a:pt x="280226" y="370141"/>
                  </a:cubicBezTo>
                  <a:cubicBezTo>
                    <a:pt x="255461" y="382810"/>
                    <a:pt x="225933" y="389191"/>
                    <a:pt x="191548" y="389191"/>
                  </a:cubicBezTo>
                  <a:close/>
                  <a:moveTo>
                    <a:pt x="276320" y="168211"/>
                  </a:moveTo>
                  <a:cubicBezTo>
                    <a:pt x="274892" y="154591"/>
                    <a:pt x="271844" y="141732"/>
                    <a:pt x="267176" y="129730"/>
                  </a:cubicBezTo>
                  <a:cubicBezTo>
                    <a:pt x="262414" y="117729"/>
                    <a:pt x="256127" y="107347"/>
                    <a:pt x="248126" y="98679"/>
                  </a:cubicBezTo>
                  <a:cubicBezTo>
                    <a:pt x="240125" y="89916"/>
                    <a:pt x="230600" y="82963"/>
                    <a:pt x="219551" y="77819"/>
                  </a:cubicBezTo>
                  <a:cubicBezTo>
                    <a:pt x="208502" y="72676"/>
                    <a:pt x="195834" y="70009"/>
                    <a:pt x="181737" y="70009"/>
                  </a:cubicBezTo>
                  <a:cubicBezTo>
                    <a:pt x="155353" y="70009"/>
                    <a:pt x="133541" y="79057"/>
                    <a:pt x="116396" y="97250"/>
                  </a:cubicBezTo>
                  <a:cubicBezTo>
                    <a:pt x="99155" y="115348"/>
                    <a:pt x="88678" y="139065"/>
                    <a:pt x="84963" y="168307"/>
                  </a:cubicBezTo>
                  <a:lnTo>
                    <a:pt x="276511" y="168307"/>
                  </a:lnTo>
                  <a:close/>
                </a:path>
              </a:pathLst>
            </a:custGeom>
            <a:solidFill>
              <a:srgbClr val="44505E"/>
            </a:solidFill>
            <a:ln w="9525" cap="flat">
              <a:noFill/>
              <a:prstDash val="solid"/>
              <a:miter/>
            </a:ln>
          </p:spPr>
          <p:txBody>
            <a:bodyPr rtlCol="0" anchor="ctr"/>
            <a:lstStyle/>
            <a:p>
              <a:endParaRPr lang="pt-BR" noProof="0"/>
            </a:p>
          </p:txBody>
        </p:sp>
        <p:sp>
          <p:nvSpPr>
            <p:cNvPr id="9" name="Freeform: Shape 21">
              <a:extLst>
                <a:ext uri="{FF2B5EF4-FFF2-40B4-BE49-F238E27FC236}">
                  <a16:creationId xmlns:a16="http://schemas.microsoft.com/office/drawing/2014/main" id="{CD4771FF-BD0D-4889-AE03-00C0A573C0A9}"/>
                </a:ext>
              </a:extLst>
            </p:cNvPr>
            <p:cNvSpPr/>
            <p:nvPr/>
          </p:nvSpPr>
          <p:spPr>
            <a:xfrm>
              <a:off x="5365659"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5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8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3 w 568166"/>
                <a:gd name="connsiteY21" fmla="*/ 381000 h 381000"/>
                <a:gd name="connsiteX22" fmla="*/ 240983 w 568166"/>
                <a:gd name="connsiteY22" fmla="*/ 168783 h 381000"/>
                <a:gd name="connsiteX23" fmla="*/ 221266 w 568166"/>
                <a:gd name="connsiteY23" fmla="*/ 101822 h 381000"/>
                <a:gd name="connsiteX24" fmla="*/ 165640 w 568166"/>
                <a:gd name="connsiteY24" fmla="*/ 78581 h 381000"/>
                <a:gd name="connsiteX25" fmla="*/ 108014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70" y="48196"/>
                    <a:pt x="105918" y="40576"/>
                  </a:cubicBezTo>
                  <a:cubicBezTo>
                    <a:pt x="112967" y="32956"/>
                    <a:pt x="121063" y="26099"/>
                    <a:pt x="130207" y="19907"/>
                  </a:cubicBezTo>
                  <a:cubicBezTo>
                    <a:pt x="139351" y="13716"/>
                    <a:pt x="149733" y="8858"/>
                    <a:pt x="161163" y="5334"/>
                  </a:cubicBezTo>
                  <a:cubicBezTo>
                    <a:pt x="172688" y="1714"/>
                    <a:pt x="185452" y="0"/>
                    <a:pt x="199549" y="0"/>
                  </a:cubicBezTo>
                  <a:cubicBezTo>
                    <a:pt x="226314" y="0"/>
                    <a:pt x="248984" y="6096"/>
                    <a:pt x="267557" y="18193"/>
                  </a:cubicBezTo>
                  <a:cubicBezTo>
                    <a:pt x="286131" y="30289"/>
                    <a:pt x="300323" y="46387"/>
                    <a:pt x="310134" y="66294"/>
                  </a:cubicBezTo>
                  <a:cubicBezTo>
                    <a:pt x="325279" y="46387"/>
                    <a:pt x="343091" y="30289"/>
                    <a:pt x="363665" y="18193"/>
                  </a:cubicBezTo>
                  <a:cubicBezTo>
                    <a:pt x="384239" y="6096"/>
                    <a:pt x="408718" y="0"/>
                    <a:pt x="437007" y="0"/>
                  </a:cubicBezTo>
                  <a:cubicBezTo>
                    <a:pt x="478060"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8" y="78486"/>
                  </a:cubicBezTo>
                  <a:cubicBezTo>
                    <a:pt x="382810" y="78486"/>
                    <a:pt x="364141" y="86392"/>
                    <a:pt x="349377" y="102108"/>
                  </a:cubicBezTo>
                  <a:cubicBezTo>
                    <a:pt x="334613" y="117824"/>
                    <a:pt x="327184" y="140779"/>
                    <a:pt x="327184" y="170879"/>
                  </a:cubicBezTo>
                  <a:lnTo>
                    <a:pt x="327184" y="381000"/>
                  </a:lnTo>
                  <a:lnTo>
                    <a:pt x="240983" y="381000"/>
                  </a:lnTo>
                  <a:lnTo>
                    <a:pt x="240983" y="168783"/>
                  </a:lnTo>
                  <a:cubicBezTo>
                    <a:pt x="240983" y="139637"/>
                    <a:pt x="234410" y="117348"/>
                    <a:pt x="221266" y="101822"/>
                  </a:cubicBezTo>
                  <a:cubicBezTo>
                    <a:pt x="208121" y="86296"/>
                    <a:pt x="189643" y="78581"/>
                    <a:pt x="165640" y="78581"/>
                  </a:cubicBezTo>
                  <a:cubicBezTo>
                    <a:pt x="141637" y="78581"/>
                    <a:pt x="122492" y="86773"/>
                    <a:pt x="108014"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10" name="Freeform: Shape 22">
              <a:extLst>
                <a:ext uri="{FF2B5EF4-FFF2-40B4-BE49-F238E27FC236}">
                  <a16:creationId xmlns:a16="http://schemas.microsoft.com/office/drawing/2014/main" id="{882E40CF-2478-5254-B6E9-09CC4ACA45DA}"/>
                </a:ext>
              </a:extLst>
            </p:cNvPr>
            <p:cNvSpPr/>
            <p:nvPr/>
          </p:nvSpPr>
          <p:spPr>
            <a:xfrm>
              <a:off x="5587693" y="700007"/>
              <a:ext cx="84211" cy="95752"/>
            </a:xfrm>
            <a:custGeom>
              <a:avLst/>
              <a:gdLst>
                <a:gd name="connsiteX0" fmla="*/ 95 w 334994"/>
                <a:gd name="connsiteY0" fmla="*/ 7715 h 380904"/>
                <a:gd name="connsiteX1" fmla="*/ 86296 w 334994"/>
                <a:gd name="connsiteY1" fmla="*/ 7715 h 380904"/>
                <a:gd name="connsiteX2" fmla="*/ 86296 w 334994"/>
                <a:gd name="connsiteY2" fmla="*/ 66294 h 380904"/>
                <a:gd name="connsiteX3" fmla="*/ 106394 w 334994"/>
                <a:gd name="connsiteY3" fmla="*/ 40958 h 380904"/>
                <a:gd name="connsiteX4" fmla="*/ 131731 w 334994"/>
                <a:gd name="connsiteY4" fmla="*/ 19907 h 380904"/>
                <a:gd name="connsiteX5" fmla="*/ 163449 w 334994"/>
                <a:gd name="connsiteY5" fmla="*/ 5334 h 380904"/>
                <a:gd name="connsiteX6" fmla="*/ 202597 w 334994"/>
                <a:gd name="connsiteY6" fmla="*/ 0 h 380904"/>
                <a:gd name="connsiteX7" fmla="*/ 300514 w 334994"/>
                <a:gd name="connsiteY7" fmla="*/ 38862 h 380904"/>
                <a:gd name="connsiteX8" fmla="*/ 334994 w 334994"/>
                <a:gd name="connsiteY8" fmla="*/ 143446 h 380904"/>
                <a:gd name="connsiteX9" fmla="*/ 334994 w 334994"/>
                <a:gd name="connsiteY9" fmla="*/ 380905 h 380904"/>
                <a:gd name="connsiteX10" fmla="*/ 248793 w 334994"/>
                <a:gd name="connsiteY10" fmla="*/ 380905 h 380904"/>
                <a:gd name="connsiteX11" fmla="*/ 248793 w 334994"/>
                <a:gd name="connsiteY11" fmla="*/ 169450 h 380904"/>
                <a:gd name="connsiteX12" fmla="*/ 228124 w 334994"/>
                <a:gd name="connsiteY12" fmla="*/ 102108 h 380904"/>
                <a:gd name="connsiteX13" fmla="*/ 169640 w 334994"/>
                <a:gd name="connsiteY13" fmla="*/ 78486 h 380904"/>
                <a:gd name="connsiteX14" fmla="*/ 109347 w 334994"/>
                <a:gd name="connsiteY14" fmla="*/ 102775 h 380904"/>
                <a:gd name="connsiteX15" fmla="*/ 86201 w 334994"/>
                <a:gd name="connsiteY15" fmla="*/ 170783 h 380904"/>
                <a:gd name="connsiteX16" fmla="*/ 86201 w 334994"/>
                <a:gd name="connsiteY16" fmla="*/ 380905 h 380904"/>
                <a:gd name="connsiteX17" fmla="*/ 0 w 334994"/>
                <a:gd name="connsiteY17" fmla="*/ 380905 h 380904"/>
                <a:gd name="connsiteX18" fmla="*/ 0 w 334994"/>
                <a:gd name="connsiteY18" fmla="*/ 7810 h 38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94" h="380904">
                  <a:moveTo>
                    <a:pt x="95" y="7715"/>
                  </a:moveTo>
                  <a:lnTo>
                    <a:pt x="86296" y="7715"/>
                  </a:lnTo>
                  <a:lnTo>
                    <a:pt x="86296" y="66294"/>
                  </a:lnTo>
                  <a:cubicBezTo>
                    <a:pt x="92392" y="57245"/>
                    <a:pt x="99060" y="48863"/>
                    <a:pt x="106394" y="40958"/>
                  </a:cubicBezTo>
                  <a:cubicBezTo>
                    <a:pt x="113633" y="33147"/>
                    <a:pt x="122110" y="26099"/>
                    <a:pt x="131731" y="19907"/>
                  </a:cubicBezTo>
                  <a:cubicBezTo>
                    <a:pt x="141351" y="13716"/>
                    <a:pt x="151924" y="8858"/>
                    <a:pt x="163449" y="5334"/>
                  </a:cubicBezTo>
                  <a:cubicBezTo>
                    <a:pt x="174974" y="1714"/>
                    <a:pt x="188024" y="0"/>
                    <a:pt x="202597" y="0"/>
                  </a:cubicBezTo>
                  <a:cubicBezTo>
                    <a:pt x="244888" y="0"/>
                    <a:pt x="277559" y="12954"/>
                    <a:pt x="300514" y="38862"/>
                  </a:cubicBezTo>
                  <a:cubicBezTo>
                    <a:pt x="323564" y="64770"/>
                    <a:pt x="334994" y="99631"/>
                    <a:pt x="334994" y="143446"/>
                  </a:cubicBezTo>
                  <a:lnTo>
                    <a:pt x="334994" y="380905"/>
                  </a:lnTo>
                  <a:lnTo>
                    <a:pt x="248793" y="380905"/>
                  </a:lnTo>
                  <a:lnTo>
                    <a:pt x="248793" y="169450"/>
                  </a:lnTo>
                  <a:cubicBezTo>
                    <a:pt x="248793" y="140303"/>
                    <a:pt x="241935" y="117824"/>
                    <a:pt x="228124" y="102108"/>
                  </a:cubicBezTo>
                  <a:cubicBezTo>
                    <a:pt x="214313" y="86392"/>
                    <a:pt x="194881" y="78486"/>
                    <a:pt x="169640" y="78486"/>
                  </a:cubicBezTo>
                  <a:cubicBezTo>
                    <a:pt x="144399" y="78486"/>
                    <a:pt x="124777" y="86582"/>
                    <a:pt x="109347" y="102775"/>
                  </a:cubicBezTo>
                  <a:cubicBezTo>
                    <a:pt x="93917" y="118967"/>
                    <a:pt x="86201" y="141637"/>
                    <a:pt x="86201" y="170783"/>
                  </a:cubicBezTo>
                  <a:lnTo>
                    <a:pt x="86201" y="380905"/>
                  </a:lnTo>
                  <a:lnTo>
                    <a:pt x="0" y="380905"/>
                  </a:lnTo>
                  <a:lnTo>
                    <a:pt x="0" y="7810"/>
                  </a:lnTo>
                  <a:close/>
                </a:path>
              </a:pathLst>
            </a:custGeom>
            <a:solidFill>
              <a:srgbClr val="44505E"/>
            </a:solidFill>
            <a:ln w="9525" cap="flat">
              <a:noFill/>
              <a:prstDash val="solid"/>
              <a:miter/>
            </a:ln>
          </p:spPr>
          <p:txBody>
            <a:bodyPr rtlCol="0" anchor="ctr"/>
            <a:lstStyle/>
            <a:p>
              <a:endParaRPr lang="pt-BR" noProof="0"/>
            </a:p>
          </p:txBody>
        </p:sp>
        <p:sp>
          <p:nvSpPr>
            <p:cNvPr id="11" name="Freeform: Shape 23">
              <a:extLst>
                <a:ext uri="{FF2B5EF4-FFF2-40B4-BE49-F238E27FC236}">
                  <a16:creationId xmlns:a16="http://schemas.microsoft.com/office/drawing/2014/main" id="{FE388B1E-6939-14C3-FE1C-7686C6238796}"/>
                </a:ext>
              </a:extLst>
            </p:cNvPr>
            <p:cNvSpPr/>
            <p:nvPr/>
          </p:nvSpPr>
          <p:spPr>
            <a:xfrm>
              <a:off x="5692712" y="699959"/>
              <a:ext cx="100015" cy="97908"/>
            </a:xfrm>
            <a:custGeom>
              <a:avLst/>
              <a:gdLst>
                <a:gd name="connsiteX0" fmla="*/ 197834 w 397859"/>
                <a:gd name="connsiteY0" fmla="*/ 389477 h 389477"/>
                <a:gd name="connsiteX1" fmla="*/ 119063 w 397859"/>
                <a:gd name="connsiteY1" fmla="*/ 374237 h 389477"/>
                <a:gd name="connsiteX2" fmla="*/ 56197 w 397859"/>
                <a:gd name="connsiteY2" fmla="*/ 332899 h 389477"/>
                <a:gd name="connsiteX3" fmla="*/ 14859 w 397859"/>
                <a:gd name="connsiteY3" fmla="*/ 271463 h 389477"/>
                <a:gd name="connsiteX4" fmla="*/ 0 w 397859"/>
                <a:gd name="connsiteY4" fmla="*/ 196501 h 389477"/>
                <a:gd name="connsiteX5" fmla="*/ 0 w 397859"/>
                <a:gd name="connsiteY5" fmla="*/ 195072 h 389477"/>
                <a:gd name="connsiteX6" fmla="*/ 15145 w 397859"/>
                <a:gd name="connsiteY6" fmla="*/ 119444 h 389477"/>
                <a:gd name="connsiteX7" fmla="*/ 56864 w 397859"/>
                <a:gd name="connsiteY7" fmla="*/ 57626 h 389477"/>
                <a:gd name="connsiteX8" fmla="*/ 119729 w 397859"/>
                <a:gd name="connsiteY8" fmla="*/ 15526 h 389477"/>
                <a:gd name="connsiteX9" fmla="*/ 199263 w 397859"/>
                <a:gd name="connsiteY9" fmla="*/ 0 h 389477"/>
                <a:gd name="connsiteX10" fmla="*/ 278797 w 397859"/>
                <a:gd name="connsiteY10" fmla="*/ 15240 h 389477"/>
                <a:gd name="connsiteX11" fmla="*/ 341662 w 397859"/>
                <a:gd name="connsiteY11" fmla="*/ 56959 h 389477"/>
                <a:gd name="connsiteX12" fmla="*/ 383000 w 397859"/>
                <a:gd name="connsiteY12" fmla="*/ 118396 h 389477"/>
                <a:gd name="connsiteX13" fmla="*/ 397859 w 397859"/>
                <a:gd name="connsiteY13" fmla="*/ 193643 h 389477"/>
                <a:gd name="connsiteX14" fmla="*/ 397859 w 397859"/>
                <a:gd name="connsiteY14" fmla="*/ 195072 h 389477"/>
                <a:gd name="connsiteX15" fmla="*/ 382619 w 397859"/>
                <a:gd name="connsiteY15" fmla="*/ 270034 h 389477"/>
                <a:gd name="connsiteX16" fmla="*/ 340900 w 397859"/>
                <a:gd name="connsiteY16" fmla="*/ 331851 h 389477"/>
                <a:gd name="connsiteX17" fmla="*/ 277654 w 397859"/>
                <a:gd name="connsiteY17" fmla="*/ 373856 h 389477"/>
                <a:gd name="connsiteX18" fmla="*/ 197834 w 397859"/>
                <a:gd name="connsiteY18" fmla="*/ 389382 h 389477"/>
                <a:gd name="connsiteX19" fmla="*/ 199263 w 397859"/>
                <a:gd name="connsiteY19" fmla="*/ 315278 h 389477"/>
                <a:gd name="connsiteX20" fmla="*/ 245935 w 397859"/>
                <a:gd name="connsiteY20" fmla="*/ 305753 h 389477"/>
                <a:gd name="connsiteX21" fmla="*/ 281368 w 397859"/>
                <a:gd name="connsiteY21" fmla="*/ 279940 h 389477"/>
                <a:gd name="connsiteX22" fmla="*/ 303847 w 397859"/>
                <a:gd name="connsiteY22" fmla="*/ 242125 h 389477"/>
                <a:gd name="connsiteX23" fmla="*/ 311563 w 397859"/>
                <a:gd name="connsiteY23" fmla="*/ 196501 h 389477"/>
                <a:gd name="connsiteX24" fmla="*/ 311563 w 397859"/>
                <a:gd name="connsiteY24" fmla="*/ 195072 h 389477"/>
                <a:gd name="connsiteX25" fmla="*/ 303181 w 397859"/>
                <a:gd name="connsiteY25" fmla="*/ 148400 h 389477"/>
                <a:gd name="connsiteX26" fmla="*/ 279654 w 397859"/>
                <a:gd name="connsiteY26" fmla="*/ 110204 h 389477"/>
                <a:gd name="connsiteX27" fmla="*/ 243840 w 397859"/>
                <a:gd name="connsiteY27" fmla="*/ 84392 h 389477"/>
                <a:gd name="connsiteX28" fmla="*/ 197834 w 397859"/>
                <a:gd name="connsiteY28" fmla="*/ 74867 h 389477"/>
                <a:gd name="connsiteX29" fmla="*/ 151829 w 397859"/>
                <a:gd name="connsiteY29" fmla="*/ 84392 h 389477"/>
                <a:gd name="connsiteX30" fmla="*/ 116396 w 397859"/>
                <a:gd name="connsiteY30" fmla="*/ 109823 h 389477"/>
                <a:gd name="connsiteX31" fmla="*/ 93917 w 397859"/>
                <a:gd name="connsiteY31" fmla="*/ 147638 h 389477"/>
                <a:gd name="connsiteX32" fmla="*/ 86201 w 397859"/>
                <a:gd name="connsiteY32" fmla="*/ 193548 h 389477"/>
                <a:gd name="connsiteX33" fmla="*/ 86201 w 397859"/>
                <a:gd name="connsiteY33" fmla="*/ 194977 h 389477"/>
                <a:gd name="connsiteX34" fmla="*/ 94583 w 397859"/>
                <a:gd name="connsiteY34" fmla="*/ 241268 h 389477"/>
                <a:gd name="connsiteX35" fmla="*/ 118110 w 397859"/>
                <a:gd name="connsiteY35" fmla="*/ 279463 h 389477"/>
                <a:gd name="connsiteX36" fmla="*/ 153924 w 397859"/>
                <a:gd name="connsiteY36" fmla="*/ 305562 h 389477"/>
                <a:gd name="connsiteX37" fmla="*/ 199263 w 397859"/>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859" h="389477">
                  <a:moveTo>
                    <a:pt x="197834" y="389477"/>
                  </a:moveTo>
                  <a:cubicBezTo>
                    <a:pt x="169545" y="389477"/>
                    <a:pt x="143351" y="384429"/>
                    <a:pt x="119063" y="374237"/>
                  </a:cubicBezTo>
                  <a:cubicBezTo>
                    <a:pt x="94774" y="364141"/>
                    <a:pt x="73819" y="350330"/>
                    <a:pt x="56197" y="332899"/>
                  </a:cubicBezTo>
                  <a:cubicBezTo>
                    <a:pt x="38481" y="315468"/>
                    <a:pt x="24765" y="294989"/>
                    <a:pt x="14859" y="271463"/>
                  </a:cubicBezTo>
                  <a:cubicBezTo>
                    <a:pt x="4953" y="247936"/>
                    <a:pt x="0" y="222980"/>
                    <a:pt x="0" y="196501"/>
                  </a:cubicBezTo>
                  <a:lnTo>
                    <a:pt x="0" y="195072"/>
                  </a:lnTo>
                  <a:cubicBezTo>
                    <a:pt x="0" y="168212"/>
                    <a:pt x="5048" y="143066"/>
                    <a:pt x="15145" y="119444"/>
                  </a:cubicBezTo>
                  <a:cubicBezTo>
                    <a:pt x="25241" y="95917"/>
                    <a:pt x="39148" y="75248"/>
                    <a:pt x="56864" y="57626"/>
                  </a:cubicBezTo>
                  <a:cubicBezTo>
                    <a:pt x="74581" y="39910"/>
                    <a:pt x="95536" y="25908"/>
                    <a:pt x="119729" y="15526"/>
                  </a:cubicBezTo>
                  <a:cubicBezTo>
                    <a:pt x="144018" y="5144"/>
                    <a:pt x="170497" y="0"/>
                    <a:pt x="199263" y="0"/>
                  </a:cubicBezTo>
                  <a:cubicBezTo>
                    <a:pt x="228029" y="0"/>
                    <a:pt x="254508" y="5048"/>
                    <a:pt x="278797" y="15240"/>
                  </a:cubicBezTo>
                  <a:cubicBezTo>
                    <a:pt x="303085" y="25337"/>
                    <a:pt x="324041" y="39243"/>
                    <a:pt x="341662" y="56959"/>
                  </a:cubicBezTo>
                  <a:cubicBezTo>
                    <a:pt x="359378" y="74676"/>
                    <a:pt x="373094" y="95155"/>
                    <a:pt x="383000" y="118396"/>
                  </a:cubicBezTo>
                  <a:cubicBezTo>
                    <a:pt x="392906" y="141732"/>
                    <a:pt x="397859" y="166783"/>
                    <a:pt x="397859" y="193643"/>
                  </a:cubicBezTo>
                  <a:lnTo>
                    <a:pt x="397859" y="195072"/>
                  </a:lnTo>
                  <a:cubicBezTo>
                    <a:pt x="397859" y="221456"/>
                    <a:pt x="392811" y="246412"/>
                    <a:pt x="382619" y="270034"/>
                  </a:cubicBezTo>
                  <a:cubicBezTo>
                    <a:pt x="372523" y="293561"/>
                    <a:pt x="358616" y="314230"/>
                    <a:pt x="340900" y="331851"/>
                  </a:cubicBezTo>
                  <a:cubicBezTo>
                    <a:pt x="323183" y="349472"/>
                    <a:pt x="302133" y="363569"/>
                    <a:pt x="277654" y="373856"/>
                  </a:cubicBezTo>
                  <a:cubicBezTo>
                    <a:pt x="253175" y="384238"/>
                    <a:pt x="226504" y="389382"/>
                    <a:pt x="197834" y="389382"/>
                  </a:cubicBezTo>
                  <a:close/>
                  <a:moveTo>
                    <a:pt x="199263" y="315278"/>
                  </a:moveTo>
                  <a:cubicBezTo>
                    <a:pt x="216598" y="315278"/>
                    <a:pt x="232124" y="312039"/>
                    <a:pt x="245935" y="305753"/>
                  </a:cubicBezTo>
                  <a:cubicBezTo>
                    <a:pt x="259747" y="299371"/>
                    <a:pt x="271558" y="290798"/>
                    <a:pt x="281368" y="279940"/>
                  </a:cubicBezTo>
                  <a:cubicBezTo>
                    <a:pt x="291179" y="269081"/>
                    <a:pt x="298704" y="256508"/>
                    <a:pt x="303847" y="242125"/>
                  </a:cubicBezTo>
                  <a:cubicBezTo>
                    <a:pt x="308991" y="227743"/>
                    <a:pt x="311563" y="212598"/>
                    <a:pt x="311563" y="196501"/>
                  </a:cubicBezTo>
                  <a:lnTo>
                    <a:pt x="311563" y="195072"/>
                  </a:lnTo>
                  <a:cubicBezTo>
                    <a:pt x="311563" y="178594"/>
                    <a:pt x="308800" y="163068"/>
                    <a:pt x="303181" y="148400"/>
                  </a:cubicBezTo>
                  <a:cubicBezTo>
                    <a:pt x="297561" y="133826"/>
                    <a:pt x="289750" y="121063"/>
                    <a:pt x="279654" y="110204"/>
                  </a:cubicBezTo>
                  <a:cubicBezTo>
                    <a:pt x="269558" y="99346"/>
                    <a:pt x="257651" y="90773"/>
                    <a:pt x="243840" y="84392"/>
                  </a:cubicBezTo>
                  <a:cubicBezTo>
                    <a:pt x="230029" y="78010"/>
                    <a:pt x="214693" y="74867"/>
                    <a:pt x="197834" y="74867"/>
                  </a:cubicBezTo>
                  <a:cubicBezTo>
                    <a:pt x="180975" y="74867"/>
                    <a:pt x="165640" y="78010"/>
                    <a:pt x="151829" y="84392"/>
                  </a:cubicBezTo>
                  <a:cubicBezTo>
                    <a:pt x="138017" y="90773"/>
                    <a:pt x="126206" y="99250"/>
                    <a:pt x="116396" y="109823"/>
                  </a:cubicBezTo>
                  <a:cubicBezTo>
                    <a:pt x="106585" y="120396"/>
                    <a:pt x="99060" y="133064"/>
                    <a:pt x="93917" y="147638"/>
                  </a:cubicBezTo>
                  <a:cubicBezTo>
                    <a:pt x="88773" y="162211"/>
                    <a:pt x="86201" y="177546"/>
                    <a:pt x="86201" y="193548"/>
                  </a:cubicBezTo>
                  <a:lnTo>
                    <a:pt x="86201" y="194977"/>
                  </a:lnTo>
                  <a:cubicBezTo>
                    <a:pt x="86201" y="211455"/>
                    <a:pt x="88963" y="226886"/>
                    <a:pt x="94583" y="241268"/>
                  </a:cubicBezTo>
                  <a:cubicBezTo>
                    <a:pt x="100203" y="255651"/>
                    <a:pt x="108013" y="268319"/>
                    <a:pt x="118110" y="279463"/>
                  </a:cubicBezTo>
                  <a:cubicBezTo>
                    <a:pt x="128206" y="290513"/>
                    <a:pt x="140113" y="299275"/>
                    <a:pt x="153924" y="305562"/>
                  </a:cubicBezTo>
                  <a:cubicBezTo>
                    <a:pt x="167735" y="311944"/>
                    <a:pt x="182880"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12" name="Freeform: Shape 24">
              <a:extLst>
                <a:ext uri="{FF2B5EF4-FFF2-40B4-BE49-F238E27FC236}">
                  <a16:creationId xmlns:a16="http://schemas.microsoft.com/office/drawing/2014/main" id="{260954E4-426A-F95A-2EE8-CA3243321989}"/>
                </a:ext>
              </a:extLst>
            </p:cNvPr>
            <p:cNvSpPr/>
            <p:nvPr/>
          </p:nvSpPr>
          <p:spPr>
            <a:xfrm>
              <a:off x="5806925"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2 w 296894"/>
                <a:gd name="connsiteY36" fmla="*/ 224980 h 386714"/>
                <a:gd name="connsiteX37" fmla="*/ 296894 w 296894"/>
                <a:gd name="connsiteY37" fmla="*/ 267938 h 386714"/>
                <a:gd name="connsiteX38" fmla="*/ 296894 w 296894"/>
                <a:gd name="connsiteY38" fmla="*/ 269367 h 386714"/>
                <a:gd name="connsiteX39" fmla="*/ 286322 w 296894"/>
                <a:gd name="connsiteY39" fmla="*/ 320897 h 386714"/>
                <a:gd name="connsiteX40" fmla="*/ 256984 w 296894"/>
                <a:gd name="connsiteY40" fmla="*/ 357188 h 386714"/>
                <a:gd name="connsiteX41" fmla="*/ 212789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8" y="298704"/>
                    <a:pt x="100013" y="306514"/>
                  </a:cubicBezTo>
                  <a:cubicBezTo>
                    <a:pt x="120967" y="314325"/>
                    <a:pt x="141161" y="318135"/>
                    <a:pt x="160401" y="318135"/>
                  </a:cubicBezTo>
                  <a:cubicBezTo>
                    <a:pt x="179642" y="318135"/>
                    <a:pt x="192976"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2" y="241078"/>
                    <a:pt x="176498" y="237553"/>
                    <a:pt x="166402" y="234220"/>
                  </a:cubicBezTo>
                  <a:cubicBezTo>
                    <a:pt x="156305" y="230886"/>
                    <a:pt x="145733" y="227647"/>
                    <a:pt x="134969" y="224314"/>
                  </a:cubicBezTo>
                  <a:cubicBezTo>
                    <a:pt x="121253" y="220599"/>
                    <a:pt x="107537" y="216122"/>
                    <a:pt x="93631" y="210884"/>
                  </a:cubicBezTo>
                  <a:cubicBezTo>
                    <a:pt x="79724" y="205740"/>
                    <a:pt x="67246" y="198977"/>
                    <a:pt x="56197" y="190786"/>
                  </a:cubicBezTo>
                  <a:cubicBezTo>
                    <a:pt x="45149" y="182594"/>
                    <a:pt x="36100" y="172307"/>
                    <a:pt x="28956" y="160115"/>
                  </a:cubicBezTo>
                  <a:cubicBezTo>
                    <a:pt x="21908"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5"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7" y="156210"/>
                    <a:pt x="180975" y="159448"/>
                  </a:cubicBezTo>
                  <a:cubicBezTo>
                    <a:pt x="194596" y="163639"/>
                    <a:pt x="208312" y="168592"/>
                    <a:pt x="222028" y="174212"/>
                  </a:cubicBezTo>
                  <a:cubicBezTo>
                    <a:pt x="235649" y="179832"/>
                    <a:pt x="248031" y="186785"/>
                    <a:pt x="259080" y="194977"/>
                  </a:cubicBezTo>
                  <a:cubicBezTo>
                    <a:pt x="270129" y="203168"/>
                    <a:pt x="279273" y="213169"/>
                    <a:pt x="286322" y="224980"/>
                  </a:cubicBezTo>
                  <a:cubicBezTo>
                    <a:pt x="293370" y="236696"/>
                    <a:pt x="296894" y="251079"/>
                    <a:pt x="296894" y="267938"/>
                  </a:cubicBezTo>
                  <a:lnTo>
                    <a:pt x="296894" y="269367"/>
                  </a:lnTo>
                  <a:cubicBezTo>
                    <a:pt x="296894" y="289084"/>
                    <a:pt x="293370" y="306229"/>
                    <a:pt x="286322" y="320897"/>
                  </a:cubicBezTo>
                  <a:cubicBezTo>
                    <a:pt x="279273" y="335470"/>
                    <a:pt x="269462" y="347567"/>
                    <a:pt x="256984" y="357188"/>
                  </a:cubicBezTo>
                  <a:cubicBezTo>
                    <a:pt x="244507" y="366808"/>
                    <a:pt x="229743" y="374142"/>
                    <a:pt x="212789"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13" name="Freeform: Shape 25">
              <a:extLst>
                <a:ext uri="{FF2B5EF4-FFF2-40B4-BE49-F238E27FC236}">
                  <a16:creationId xmlns:a16="http://schemas.microsoft.com/office/drawing/2014/main" id="{BA8CBCA8-FD5C-2D4E-8175-57CF4D9B57FE}"/>
                </a:ext>
              </a:extLst>
            </p:cNvPr>
            <p:cNvSpPr/>
            <p:nvPr/>
          </p:nvSpPr>
          <p:spPr>
            <a:xfrm>
              <a:off x="589573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6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160" y="318135"/>
                    <a:pt x="160401" y="318135"/>
                  </a:cubicBezTo>
                  <a:cubicBezTo>
                    <a:pt x="179641" y="318135"/>
                    <a:pt x="192976"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4"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792"/>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14" name="Freeform: Shape 26">
              <a:extLst>
                <a:ext uri="{FF2B5EF4-FFF2-40B4-BE49-F238E27FC236}">
                  <a16:creationId xmlns:a16="http://schemas.microsoft.com/office/drawing/2014/main" id="{4610BBD8-0AAF-917D-E1C2-3D4FC22D671A}"/>
                </a:ext>
              </a:extLst>
            </p:cNvPr>
            <p:cNvSpPr/>
            <p:nvPr/>
          </p:nvSpPr>
          <p:spPr>
            <a:xfrm>
              <a:off x="5985812" y="700558"/>
              <a:ext cx="85097" cy="97141"/>
            </a:xfrm>
            <a:custGeom>
              <a:avLst/>
              <a:gdLst>
                <a:gd name="connsiteX0" fmla="*/ 253651 w 338518"/>
                <a:gd name="connsiteY0" fmla="*/ 378619 h 386429"/>
                <a:gd name="connsiteX1" fmla="*/ 253651 w 338518"/>
                <a:gd name="connsiteY1" fmla="*/ 332708 h 386429"/>
                <a:gd name="connsiteX2" fmla="*/ 204883 w 338518"/>
                <a:gd name="connsiteY2" fmla="*/ 370904 h 386429"/>
                <a:gd name="connsiteX3" fmla="*/ 132779 w 338518"/>
                <a:gd name="connsiteY3" fmla="*/ 386429 h 386429"/>
                <a:gd name="connsiteX4" fmla="*/ 81915 w 338518"/>
                <a:gd name="connsiteY4" fmla="*/ 379000 h 386429"/>
                <a:gd name="connsiteX5" fmla="*/ 39910 w 338518"/>
                <a:gd name="connsiteY5" fmla="*/ 357092 h 386429"/>
                <a:gd name="connsiteX6" fmla="*/ 10954 w 338518"/>
                <a:gd name="connsiteY6" fmla="*/ 321088 h 386429"/>
                <a:gd name="connsiteX7" fmla="*/ 0 w 338518"/>
                <a:gd name="connsiteY7" fmla="*/ 271272 h 386429"/>
                <a:gd name="connsiteX8" fmla="*/ 0 w 338518"/>
                <a:gd name="connsiteY8" fmla="*/ 269843 h 386429"/>
                <a:gd name="connsiteX9" fmla="*/ 11335 w 338518"/>
                <a:gd name="connsiteY9" fmla="*/ 215741 h 386429"/>
                <a:gd name="connsiteX10" fmla="*/ 42767 w 338518"/>
                <a:gd name="connsiteY10" fmla="*/ 177546 h 386429"/>
                <a:gd name="connsiteX11" fmla="*/ 90773 w 338518"/>
                <a:gd name="connsiteY11" fmla="*/ 154972 h 386429"/>
                <a:gd name="connsiteX12" fmla="*/ 151162 w 338518"/>
                <a:gd name="connsiteY12" fmla="*/ 147542 h 386429"/>
                <a:gd name="connsiteX13" fmla="*/ 208788 w 338518"/>
                <a:gd name="connsiteY13" fmla="*/ 151829 h 386429"/>
                <a:gd name="connsiteX14" fmla="*/ 254413 w 338518"/>
                <a:gd name="connsiteY14" fmla="*/ 163163 h 386429"/>
                <a:gd name="connsiteX15" fmla="*/ 254413 w 338518"/>
                <a:gd name="connsiteY15" fmla="*/ 156115 h 386429"/>
                <a:gd name="connsiteX16" fmla="*/ 230696 w 338518"/>
                <a:gd name="connsiteY16" fmla="*/ 96774 h 386429"/>
                <a:gd name="connsiteX17" fmla="*/ 162496 w 338518"/>
                <a:gd name="connsiteY17" fmla="*/ 76295 h 386429"/>
                <a:gd name="connsiteX18" fmla="*/ 106013 w 338518"/>
                <a:gd name="connsiteY18" fmla="*/ 82677 h 386429"/>
                <a:gd name="connsiteX19" fmla="*/ 55816 w 338518"/>
                <a:gd name="connsiteY19" fmla="*/ 99632 h 386429"/>
                <a:gd name="connsiteX20" fmla="*/ 32480 w 338518"/>
                <a:gd name="connsiteY20" fmla="*/ 31052 h 386429"/>
                <a:gd name="connsiteX21" fmla="*/ 96107 w 338518"/>
                <a:gd name="connsiteY21" fmla="*/ 8477 h 386429"/>
                <a:gd name="connsiteX22" fmla="*/ 174593 w 338518"/>
                <a:gd name="connsiteY22" fmla="*/ 0 h 386429"/>
                <a:gd name="connsiteX23" fmla="*/ 298228 w 338518"/>
                <a:gd name="connsiteY23" fmla="*/ 41338 h 386429"/>
                <a:gd name="connsiteX24" fmla="*/ 338519 w 338518"/>
                <a:gd name="connsiteY24" fmla="*/ 157544 h 386429"/>
                <a:gd name="connsiteX25" fmla="*/ 338519 w 338518"/>
                <a:gd name="connsiteY25" fmla="*/ 378714 h 386429"/>
                <a:gd name="connsiteX26" fmla="*/ 253746 w 338518"/>
                <a:gd name="connsiteY26" fmla="*/ 378714 h 386429"/>
                <a:gd name="connsiteX27" fmla="*/ 255746 w 338518"/>
                <a:gd name="connsiteY27" fmla="*/ 222409 h 386429"/>
                <a:gd name="connsiteX28" fmla="*/ 217265 w 338518"/>
                <a:gd name="connsiteY28" fmla="*/ 211836 h 386429"/>
                <a:gd name="connsiteX29" fmla="*/ 170307 w 338518"/>
                <a:gd name="connsiteY29" fmla="*/ 207550 h 386429"/>
                <a:gd name="connsiteX30" fmla="*/ 107442 w 338518"/>
                <a:gd name="connsiteY30" fmla="*/ 223075 h 386429"/>
                <a:gd name="connsiteX31" fmla="*/ 84868 w 338518"/>
                <a:gd name="connsiteY31" fmla="*/ 265462 h 386429"/>
                <a:gd name="connsiteX32" fmla="*/ 84868 w 338518"/>
                <a:gd name="connsiteY32" fmla="*/ 266891 h 386429"/>
                <a:gd name="connsiteX33" fmla="*/ 105728 w 338518"/>
                <a:gd name="connsiteY33" fmla="*/ 307848 h 386429"/>
                <a:gd name="connsiteX34" fmla="*/ 156972 w 338518"/>
                <a:gd name="connsiteY34" fmla="*/ 321945 h 386429"/>
                <a:gd name="connsiteX35" fmla="*/ 196215 w 338518"/>
                <a:gd name="connsiteY35" fmla="*/ 316325 h 386429"/>
                <a:gd name="connsiteX36" fmla="*/ 227647 w 338518"/>
                <a:gd name="connsiteY36" fmla="*/ 300419 h 386429"/>
                <a:gd name="connsiteX37" fmla="*/ 248507 w 338518"/>
                <a:gd name="connsiteY37" fmla="*/ 275654 h 386429"/>
                <a:gd name="connsiteX38" fmla="*/ 255937 w 338518"/>
                <a:gd name="connsiteY38" fmla="*/ 243459 h 386429"/>
                <a:gd name="connsiteX39" fmla="*/ 255937 w 338518"/>
                <a:gd name="connsiteY39" fmla="*/ 222218 h 3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8518" h="386429">
                  <a:moveTo>
                    <a:pt x="253651" y="378619"/>
                  </a:moveTo>
                  <a:lnTo>
                    <a:pt x="253651" y="332708"/>
                  </a:lnTo>
                  <a:cubicBezTo>
                    <a:pt x="240887" y="347758"/>
                    <a:pt x="224695" y="360521"/>
                    <a:pt x="204883" y="370904"/>
                  </a:cubicBezTo>
                  <a:cubicBezTo>
                    <a:pt x="185071" y="381286"/>
                    <a:pt x="161068" y="386429"/>
                    <a:pt x="132779" y="386429"/>
                  </a:cubicBezTo>
                  <a:cubicBezTo>
                    <a:pt x="114871" y="386429"/>
                    <a:pt x="97917" y="383953"/>
                    <a:pt x="81915" y="379000"/>
                  </a:cubicBezTo>
                  <a:cubicBezTo>
                    <a:pt x="65913" y="374047"/>
                    <a:pt x="51911" y="366713"/>
                    <a:pt x="39910" y="357092"/>
                  </a:cubicBezTo>
                  <a:cubicBezTo>
                    <a:pt x="27908" y="347472"/>
                    <a:pt x="18193" y="335471"/>
                    <a:pt x="10954" y="321088"/>
                  </a:cubicBezTo>
                  <a:cubicBezTo>
                    <a:pt x="3620" y="306705"/>
                    <a:pt x="0" y="290132"/>
                    <a:pt x="0" y="271272"/>
                  </a:cubicBezTo>
                  <a:lnTo>
                    <a:pt x="0" y="269843"/>
                  </a:lnTo>
                  <a:cubicBezTo>
                    <a:pt x="0" y="249079"/>
                    <a:pt x="3810" y="231077"/>
                    <a:pt x="11335" y="215741"/>
                  </a:cubicBezTo>
                  <a:cubicBezTo>
                    <a:pt x="18859" y="200406"/>
                    <a:pt x="29337" y="187738"/>
                    <a:pt x="42767" y="177546"/>
                  </a:cubicBezTo>
                  <a:cubicBezTo>
                    <a:pt x="56197" y="167450"/>
                    <a:pt x="72199" y="159925"/>
                    <a:pt x="90773" y="154972"/>
                  </a:cubicBezTo>
                  <a:cubicBezTo>
                    <a:pt x="109347" y="150019"/>
                    <a:pt x="129540" y="147542"/>
                    <a:pt x="151162" y="147542"/>
                  </a:cubicBezTo>
                  <a:cubicBezTo>
                    <a:pt x="172783" y="147542"/>
                    <a:pt x="192976" y="148971"/>
                    <a:pt x="208788" y="151829"/>
                  </a:cubicBezTo>
                  <a:cubicBezTo>
                    <a:pt x="224599" y="154686"/>
                    <a:pt x="239744" y="158401"/>
                    <a:pt x="254413" y="163163"/>
                  </a:cubicBezTo>
                  <a:lnTo>
                    <a:pt x="254413" y="156115"/>
                  </a:lnTo>
                  <a:cubicBezTo>
                    <a:pt x="254413" y="130207"/>
                    <a:pt x="246507" y="110395"/>
                    <a:pt x="230696" y="96774"/>
                  </a:cubicBezTo>
                  <a:cubicBezTo>
                    <a:pt x="214884" y="83153"/>
                    <a:pt x="192214" y="76295"/>
                    <a:pt x="162496" y="76295"/>
                  </a:cubicBezTo>
                  <a:cubicBezTo>
                    <a:pt x="141351" y="76295"/>
                    <a:pt x="122491" y="78391"/>
                    <a:pt x="106013" y="82677"/>
                  </a:cubicBezTo>
                  <a:cubicBezTo>
                    <a:pt x="89535" y="86963"/>
                    <a:pt x="72771" y="92583"/>
                    <a:pt x="55816" y="99632"/>
                  </a:cubicBezTo>
                  <a:lnTo>
                    <a:pt x="32480" y="31052"/>
                  </a:lnTo>
                  <a:cubicBezTo>
                    <a:pt x="53149" y="21622"/>
                    <a:pt x="74390" y="14097"/>
                    <a:pt x="96107" y="8477"/>
                  </a:cubicBezTo>
                  <a:cubicBezTo>
                    <a:pt x="117729" y="2858"/>
                    <a:pt x="143923" y="0"/>
                    <a:pt x="174593" y="0"/>
                  </a:cubicBezTo>
                  <a:cubicBezTo>
                    <a:pt x="230124" y="0"/>
                    <a:pt x="271367" y="13811"/>
                    <a:pt x="298228" y="41338"/>
                  </a:cubicBezTo>
                  <a:cubicBezTo>
                    <a:pt x="325088" y="68866"/>
                    <a:pt x="338519" y="107633"/>
                    <a:pt x="338519" y="157544"/>
                  </a:cubicBezTo>
                  <a:lnTo>
                    <a:pt x="338519" y="378714"/>
                  </a:lnTo>
                  <a:lnTo>
                    <a:pt x="253746" y="378714"/>
                  </a:lnTo>
                  <a:close/>
                  <a:moveTo>
                    <a:pt x="255746" y="222409"/>
                  </a:moveTo>
                  <a:cubicBezTo>
                    <a:pt x="244888" y="218123"/>
                    <a:pt x="232029" y="214598"/>
                    <a:pt x="217265" y="211836"/>
                  </a:cubicBezTo>
                  <a:cubicBezTo>
                    <a:pt x="202406" y="208979"/>
                    <a:pt x="186785" y="207550"/>
                    <a:pt x="170307" y="207550"/>
                  </a:cubicBezTo>
                  <a:cubicBezTo>
                    <a:pt x="143446" y="207550"/>
                    <a:pt x="122491" y="212693"/>
                    <a:pt x="107442" y="223075"/>
                  </a:cubicBezTo>
                  <a:cubicBezTo>
                    <a:pt x="92392" y="233458"/>
                    <a:pt x="84868" y="247555"/>
                    <a:pt x="84868" y="265462"/>
                  </a:cubicBezTo>
                  <a:lnTo>
                    <a:pt x="84868" y="266891"/>
                  </a:lnTo>
                  <a:cubicBezTo>
                    <a:pt x="84868" y="284798"/>
                    <a:pt x="91821" y="298418"/>
                    <a:pt x="105728" y="307848"/>
                  </a:cubicBezTo>
                  <a:cubicBezTo>
                    <a:pt x="119634" y="317278"/>
                    <a:pt x="136684" y="321945"/>
                    <a:pt x="156972" y="321945"/>
                  </a:cubicBezTo>
                  <a:cubicBezTo>
                    <a:pt x="171069" y="321945"/>
                    <a:pt x="184213" y="320040"/>
                    <a:pt x="196215" y="316325"/>
                  </a:cubicBezTo>
                  <a:cubicBezTo>
                    <a:pt x="208216" y="312515"/>
                    <a:pt x="218694" y="307277"/>
                    <a:pt x="227647" y="300419"/>
                  </a:cubicBezTo>
                  <a:cubicBezTo>
                    <a:pt x="236601" y="293561"/>
                    <a:pt x="243554" y="285369"/>
                    <a:pt x="248507" y="275654"/>
                  </a:cubicBezTo>
                  <a:cubicBezTo>
                    <a:pt x="253460" y="266033"/>
                    <a:pt x="255937" y="255270"/>
                    <a:pt x="255937" y="243459"/>
                  </a:cubicBezTo>
                  <a:lnTo>
                    <a:pt x="255937" y="222218"/>
                  </a:lnTo>
                  <a:close/>
                </a:path>
              </a:pathLst>
            </a:custGeom>
            <a:solidFill>
              <a:srgbClr val="44505E"/>
            </a:solidFill>
            <a:ln w="9525" cap="flat">
              <a:noFill/>
              <a:prstDash val="solid"/>
              <a:miter/>
            </a:ln>
          </p:spPr>
          <p:txBody>
            <a:bodyPr rtlCol="0" anchor="ctr"/>
            <a:lstStyle/>
            <a:p>
              <a:endParaRPr lang="pt-BR" noProof="0"/>
            </a:p>
          </p:txBody>
        </p:sp>
        <p:sp>
          <p:nvSpPr>
            <p:cNvPr id="15" name="Freeform: Shape 27">
              <a:extLst>
                <a:ext uri="{FF2B5EF4-FFF2-40B4-BE49-F238E27FC236}">
                  <a16:creationId xmlns:a16="http://schemas.microsoft.com/office/drawing/2014/main" id="{2EF050AE-3BF4-8D4A-91D3-C5A270B749EA}"/>
                </a:ext>
              </a:extLst>
            </p:cNvPr>
            <p:cNvSpPr/>
            <p:nvPr/>
          </p:nvSpPr>
          <p:spPr>
            <a:xfrm>
              <a:off x="6088843" y="700318"/>
              <a:ext cx="74610" cy="97213"/>
            </a:xfrm>
            <a:custGeom>
              <a:avLst/>
              <a:gdLst>
                <a:gd name="connsiteX0" fmla="*/ 158305 w 296799"/>
                <a:gd name="connsiteY0" fmla="*/ 386715 h 386714"/>
                <a:gd name="connsiteX1" fmla="*/ 76676 w 296799"/>
                <a:gd name="connsiteY1" fmla="*/ 372427 h 386714"/>
                <a:gd name="connsiteX2" fmla="*/ 0 w 296799"/>
                <a:gd name="connsiteY2" fmla="*/ 330327 h 386714"/>
                <a:gd name="connsiteX3" fmla="*/ 38195 w 296799"/>
                <a:gd name="connsiteY3" fmla="*/ 272224 h 386714"/>
                <a:gd name="connsiteX4" fmla="*/ 100013 w 296799"/>
                <a:gd name="connsiteY4" fmla="*/ 306514 h 386714"/>
                <a:gd name="connsiteX5" fmla="*/ 160401 w 296799"/>
                <a:gd name="connsiteY5" fmla="*/ 318135 h 386714"/>
                <a:gd name="connsiteX6" fmla="*/ 203168 w 296799"/>
                <a:gd name="connsiteY6" fmla="*/ 307181 h 386714"/>
                <a:gd name="connsiteX7" fmla="*/ 218408 w 296799"/>
                <a:gd name="connsiteY7" fmla="*/ 277939 h 386714"/>
                <a:gd name="connsiteX8" fmla="*/ 218408 w 296799"/>
                <a:gd name="connsiteY8" fmla="*/ 276511 h 386714"/>
                <a:gd name="connsiteX9" fmla="*/ 211646 w 296799"/>
                <a:gd name="connsiteY9" fmla="*/ 258223 h 386714"/>
                <a:gd name="connsiteX10" fmla="*/ 193262 w 296799"/>
                <a:gd name="connsiteY10" fmla="*/ 244792 h 386714"/>
                <a:gd name="connsiteX11" fmla="*/ 166402 w 296799"/>
                <a:gd name="connsiteY11" fmla="*/ 234220 h 386714"/>
                <a:gd name="connsiteX12" fmla="*/ 134969 w 296799"/>
                <a:gd name="connsiteY12" fmla="*/ 224314 h 386714"/>
                <a:gd name="connsiteX13" fmla="*/ 93631 w 296799"/>
                <a:gd name="connsiteY13" fmla="*/ 210884 h 386714"/>
                <a:gd name="connsiteX14" fmla="*/ 56197 w 296799"/>
                <a:gd name="connsiteY14" fmla="*/ 190786 h 386714"/>
                <a:gd name="connsiteX15" fmla="*/ 28956 w 296799"/>
                <a:gd name="connsiteY15" fmla="*/ 160115 h 386714"/>
                <a:gd name="connsiteX16" fmla="*/ 18383 w 296799"/>
                <a:gd name="connsiteY16" fmla="*/ 114967 h 386714"/>
                <a:gd name="connsiteX17" fmla="*/ 18383 w 296799"/>
                <a:gd name="connsiteY17" fmla="*/ 113538 h 386714"/>
                <a:gd name="connsiteX18" fmla="*/ 28575 w 296799"/>
                <a:gd name="connsiteY18" fmla="*/ 66294 h 386714"/>
                <a:gd name="connsiteX19" fmla="*/ 56864 w 296799"/>
                <a:gd name="connsiteY19" fmla="*/ 30385 h 386714"/>
                <a:gd name="connsiteX20" fmla="*/ 99250 w 296799"/>
                <a:gd name="connsiteY20" fmla="*/ 7810 h 386714"/>
                <a:gd name="connsiteX21" fmla="*/ 151162 w 296799"/>
                <a:gd name="connsiteY21" fmla="*/ 0 h 386714"/>
                <a:gd name="connsiteX22" fmla="*/ 222504 w 296799"/>
                <a:gd name="connsiteY22" fmla="*/ 11430 h 386714"/>
                <a:gd name="connsiteX23" fmla="*/ 288227 w 296799"/>
                <a:gd name="connsiteY23" fmla="*/ 42863 h 386714"/>
                <a:gd name="connsiteX24" fmla="*/ 254317 w 296799"/>
                <a:gd name="connsiteY24" fmla="*/ 103918 h 386714"/>
                <a:gd name="connsiteX25" fmla="*/ 199930 w 296799"/>
                <a:gd name="connsiteY25" fmla="*/ 78105 h 386714"/>
                <a:gd name="connsiteX26" fmla="*/ 149066 w 296799"/>
                <a:gd name="connsiteY26" fmla="*/ 68580 h 386714"/>
                <a:gd name="connsiteX27" fmla="*/ 110585 w 296799"/>
                <a:gd name="connsiteY27" fmla="*/ 79153 h 386714"/>
                <a:gd name="connsiteX28" fmla="*/ 96774 w 296799"/>
                <a:gd name="connsiteY28" fmla="*/ 105918 h 386714"/>
                <a:gd name="connsiteX29" fmla="*/ 96774 w 296799"/>
                <a:gd name="connsiteY29" fmla="*/ 107347 h 386714"/>
                <a:gd name="connsiteX30" fmla="*/ 103822 w 296799"/>
                <a:gd name="connsiteY30" fmla="*/ 124587 h 386714"/>
                <a:gd name="connsiteX31" fmla="*/ 122587 w 296799"/>
                <a:gd name="connsiteY31" fmla="*/ 138017 h 386714"/>
                <a:gd name="connsiteX32" fmla="*/ 149447 w 296799"/>
                <a:gd name="connsiteY32" fmla="*/ 149257 h 386714"/>
                <a:gd name="connsiteX33" fmla="*/ 180880 w 296799"/>
                <a:gd name="connsiteY33" fmla="*/ 159448 h 386714"/>
                <a:gd name="connsiteX34" fmla="*/ 221837 w 296799"/>
                <a:gd name="connsiteY34" fmla="*/ 174212 h 386714"/>
                <a:gd name="connsiteX35" fmla="*/ 258985 w 296799"/>
                <a:gd name="connsiteY35" fmla="*/ 194977 h 386714"/>
                <a:gd name="connsiteX36" fmla="*/ 286226 w 296799"/>
                <a:gd name="connsiteY36" fmla="*/ 224980 h 386714"/>
                <a:gd name="connsiteX37" fmla="*/ 296799 w 296799"/>
                <a:gd name="connsiteY37" fmla="*/ 267938 h 386714"/>
                <a:gd name="connsiteX38" fmla="*/ 296799 w 296799"/>
                <a:gd name="connsiteY38" fmla="*/ 269367 h 386714"/>
                <a:gd name="connsiteX39" fmla="*/ 286226 w 296799"/>
                <a:gd name="connsiteY39" fmla="*/ 320897 h 386714"/>
                <a:gd name="connsiteX40" fmla="*/ 256889 w 296799"/>
                <a:gd name="connsiteY40" fmla="*/ 357188 h 386714"/>
                <a:gd name="connsiteX41" fmla="*/ 212693 w 296799"/>
                <a:gd name="connsiteY41" fmla="*/ 379095 h 386714"/>
                <a:gd name="connsiteX42" fmla="*/ 158305 w 296799"/>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799"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065" y="318135"/>
                    <a:pt x="160401" y="318135"/>
                  </a:cubicBezTo>
                  <a:cubicBezTo>
                    <a:pt x="179737" y="318135"/>
                    <a:pt x="193072"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828" y="227647"/>
                    <a:pt x="134969" y="224314"/>
                  </a:cubicBezTo>
                  <a:cubicBezTo>
                    <a:pt x="121348" y="220599"/>
                    <a:pt x="107537" y="216122"/>
                    <a:pt x="93631" y="210884"/>
                  </a:cubicBezTo>
                  <a:cubicBezTo>
                    <a:pt x="79724" y="205740"/>
                    <a:pt x="67246" y="198977"/>
                    <a:pt x="56197" y="190786"/>
                  </a:cubicBezTo>
                  <a:cubicBezTo>
                    <a:pt x="45148" y="182594"/>
                    <a:pt x="36004"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874" y="0"/>
                    <a:pt x="151162" y="0"/>
                  </a:cubicBezTo>
                  <a:cubicBezTo>
                    <a:pt x="174688" y="0"/>
                    <a:pt x="198501" y="3810"/>
                    <a:pt x="222504" y="11430"/>
                  </a:cubicBezTo>
                  <a:cubicBezTo>
                    <a:pt x="246507" y="19050"/>
                    <a:pt x="268414" y="29527"/>
                    <a:pt x="288227" y="42863"/>
                  </a:cubicBezTo>
                  <a:lnTo>
                    <a:pt x="254317"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774" y="95155"/>
                    <a:pt x="96774" y="105918"/>
                  </a:cubicBezTo>
                  <a:lnTo>
                    <a:pt x="96774" y="107347"/>
                  </a:lnTo>
                  <a:cubicBezTo>
                    <a:pt x="96774" y="113919"/>
                    <a:pt x="99155" y="119634"/>
                    <a:pt x="103822" y="124587"/>
                  </a:cubicBezTo>
                  <a:cubicBezTo>
                    <a:pt x="108490" y="129540"/>
                    <a:pt x="114776" y="134017"/>
                    <a:pt x="122587" y="138017"/>
                  </a:cubicBezTo>
                  <a:cubicBezTo>
                    <a:pt x="130397" y="142018"/>
                    <a:pt x="139351" y="145732"/>
                    <a:pt x="149447" y="149257"/>
                  </a:cubicBezTo>
                  <a:cubicBezTo>
                    <a:pt x="159544" y="152781"/>
                    <a:pt x="170021" y="156210"/>
                    <a:pt x="180880" y="159448"/>
                  </a:cubicBezTo>
                  <a:cubicBezTo>
                    <a:pt x="194500" y="163639"/>
                    <a:pt x="208216" y="168592"/>
                    <a:pt x="221837" y="174212"/>
                  </a:cubicBezTo>
                  <a:cubicBezTo>
                    <a:pt x="235458" y="179832"/>
                    <a:pt x="247840" y="186785"/>
                    <a:pt x="258985" y="194977"/>
                  </a:cubicBezTo>
                  <a:cubicBezTo>
                    <a:pt x="270034" y="203168"/>
                    <a:pt x="279178" y="213169"/>
                    <a:pt x="286226" y="224980"/>
                  </a:cubicBezTo>
                  <a:cubicBezTo>
                    <a:pt x="293275" y="236696"/>
                    <a:pt x="296799" y="251079"/>
                    <a:pt x="296799" y="267938"/>
                  </a:cubicBezTo>
                  <a:lnTo>
                    <a:pt x="296799" y="269367"/>
                  </a:lnTo>
                  <a:cubicBezTo>
                    <a:pt x="296799" y="289084"/>
                    <a:pt x="293275" y="306229"/>
                    <a:pt x="286226" y="320897"/>
                  </a:cubicBezTo>
                  <a:cubicBezTo>
                    <a:pt x="279178" y="335470"/>
                    <a:pt x="269367" y="347567"/>
                    <a:pt x="256889" y="357188"/>
                  </a:cubicBezTo>
                  <a:cubicBezTo>
                    <a:pt x="244412" y="366808"/>
                    <a:pt x="229648" y="374142"/>
                    <a:pt x="212693" y="379095"/>
                  </a:cubicBezTo>
                  <a:cubicBezTo>
                    <a:pt x="195739" y="384048"/>
                    <a:pt x="177641" y="386524"/>
                    <a:pt x="158305" y="386524"/>
                  </a:cubicBezTo>
                  <a:close/>
                </a:path>
              </a:pathLst>
            </a:custGeom>
            <a:solidFill>
              <a:srgbClr val="44505E"/>
            </a:solidFill>
            <a:ln w="9525" cap="flat">
              <a:noFill/>
              <a:prstDash val="solid"/>
              <a:miter/>
            </a:ln>
          </p:spPr>
          <p:txBody>
            <a:bodyPr rtlCol="0" anchor="ctr"/>
            <a:lstStyle/>
            <a:p>
              <a:endParaRPr lang="pt-BR" noProof="0"/>
            </a:p>
          </p:txBody>
        </p:sp>
        <p:sp>
          <p:nvSpPr>
            <p:cNvPr id="16" name="Freeform: Shape 28">
              <a:extLst>
                <a:ext uri="{FF2B5EF4-FFF2-40B4-BE49-F238E27FC236}">
                  <a16:creationId xmlns:a16="http://schemas.microsoft.com/office/drawing/2014/main" id="{834503C8-C9CB-1B06-A136-93624D4935B7}"/>
                </a:ext>
              </a:extLst>
            </p:cNvPr>
            <p:cNvSpPr/>
            <p:nvPr/>
          </p:nvSpPr>
          <p:spPr>
            <a:xfrm>
              <a:off x="6238590"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4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7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2 w 568166"/>
                <a:gd name="connsiteY21" fmla="*/ 381000 h 381000"/>
                <a:gd name="connsiteX22" fmla="*/ 240982 w 568166"/>
                <a:gd name="connsiteY22" fmla="*/ 168783 h 381000"/>
                <a:gd name="connsiteX23" fmla="*/ 221266 w 568166"/>
                <a:gd name="connsiteY23" fmla="*/ 101822 h 381000"/>
                <a:gd name="connsiteX24" fmla="*/ 165640 w 568166"/>
                <a:gd name="connsiteY24" fmla="*/ 78581 h 381000"/>
                <a:gd name="connsiteX25" fmla="*/ 108013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69" y="48196"/>
                    <a:pt x="105918" y="40576"/>
                  </a:cubicBezTo>
                  <a:cubicBezTo>
                    <a:pt x="112966" y="32956"/>
                    <a:pt x="121063" y="26099"/>
                    <a:pt x="130207" y="19907"/>
                  </a:cubicBezTo>
                  <a:cubicBezTo>
                    <a:pt x="139351" y="13716"/>
                    <a:pt x="149638" y="8858"/>
                    <a:pt x="161163" y="5334"/>
                  </a:cubicBezTo>
                  <a:cubicBezTo>
                    <a:pt x="172688" y="1714"/>
                    <a:pt x="185452" y="0"/>
                    <a:pt x="199549" y="0"/>
                  </a:cubicBezTo>
                  <a:cubicBezTo>
                    <a:pt x="226314" y="0"/>
                    <a:pt x="248983" y="6096"/>
                    <a:pt x="267557" y="18193"/>
                  </a:cubicBezTo>
                  <a:cubicBezTo>
                    <a:pt x="286131" y="30289"/>
                    <a:pt x="300323" y="46387"/>
                    <a:pt x="310134" y="66294"/>
                  </a:cubicBezTo>
                  <a:cubicBezTo>
                    <a:pt x="325279" y="46387"/>
                    <a:pt x="343090" y="30289"/>
                    <a:pt x="363664" y="18193"/>
                  </a:cubicBezTo>
                  <a:cubicBezTo>
                    <a:pt x="384238" y="6096"/>
                    <a:pt x="408718" y="0"/>
                    <a:pt x="437007" y="0"/>
                  </a:cubicBezTo>
                  <a:cubicBezTo>
                    <a:pt x="478155"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7" y="78486"/>
                  </a:cubicBezTo>
                  <a:cubicBezTo>
                    <a:pt x="382809" y="78486"/>
                    <a:pt x="364141" y="86392"/>
                    <a:pt x="349377" y="102108"/>
                  </a:cubicBezTo>
                  <a:cubicBezTo>
                    <a:pt x="334613" y="117824"/>
                    <a:pt x="327184" y="140779"/>
                    <a:pt x="327184" y="170879"/>
                  </a:cubicBezTo>
                  <a:lnTo>
                    <a:pt x="327184" y="381000"/>
                  </a:lnTo>
                  <a:lnTo>
                    <a:pt x="240982" y="381000"/>
                  </a:lnTo>
                  <a:lnTo>
                    <a:pt x="240982" y="168783"/>
                  </a:lnTo>
                  <a:cubicBezTo>
                    <a:pt x="240982" y="139637"/>
                    <a:pt x="234410" y="117348"/>
                    <a:pt x="221266" y="101822"/>
                  </a:cubicBezTo>
                  <a:cubicBezTo>
                    <a:pt x="208121" y="86296"/>
                    <a:pt x="189547" y="78581"/>
                    <a:pt x="165640" y="78581"/>
                  </a:cubicBezTo>
                  <a:cubicBezTo>
                    <a:pt x="141732" y="78581"/>
                    <a:pt x="122491" y="86773"/>
                    <a:pt x="108013"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17" name="Freeform: Shape 29">
              <a:extLst>
                <a:ext uri="{FF2B5EF4-FFF2-40B4-BE49-F238E27FC236}">
                  <a16:creationId xmlns:a16="http://schemas.microsoft.com/office/drawing/2014/main" id="{528F6C15-41A4-DE80-1E45-333FF3EFF0AA}"/>
                </a:ext>
              </a:extLst>
            </p:cNvPr>
            <p:cNvSpPr/>
            <p:nvPr/>
          </p:nvSpPr>
          <p:spPr>
            <a:xfrm>
              <a:off x="6400979" y="664258"/>
              <a:ext cx="85097" cy="133441"/>
            </a:xfrm>
            <a:custGeom>
              <a:avLst/>
              <a:gdLst>
                <a:gd name="connsiteX0" fmla="*/ 253651 w 338518"/>
                <a:gd name="connsiteY0" fmla="*/ 523018 h 530828"/>
                <a:gd name="connsiteX1" fmla="*/ 253651 w 338518"/>
                <a:gd name="connsiteY1" fmla="*/ 477107 h 530828"/>
                <a:gd name="connsiteX2" fmla="*/ 204883 w 338518"/>
                <a:gd name="connsiteY2" fmla="*/ 515303 h 530828"/>
                <a:gd name="connsiteX3" fmla="*/ 132779 w 338518"/>
                <a:gd name="connsiteY3" fmla="*/ 530828 h 530828"/>
                <a:gd name="connsiteX4" fmla="*/ 81915 w 338518"/>
                <a:gd name="connsiteY4" fmla="*/ 523399 h 530828"/>
                <a:gd name="connsiteX5" fmla="*/ 39910 w 338518"/>
                <a:gd name="connsiteY5" fmla="*/ 501491 h 530828"/>
                <a:gd name="connsiteX6" fmla="*/ 10954 w 338518"/>
                <a:gd name="connsiteY6" fmla="*/ 465487 h 530828"/>
                <a:gd name="connsiteX7" fmla="*/ 0 w 338518"/>
                <a:gd name="connsiteY7" fmla="*/ 415671 h 530828"/>
                <a:gd name="connsiteX8" fmla="*/ 0 w 338518"/>
                <a:gd name="connsiteY8" fmla="*/ 414242 h 530828"/>
                <a:gd name="connsiteX9" fmla="*/ 11335 w 338518"/>
                <a:gd name="connsiteY9" fmla="*/ 360140 h 530828"/>
                <a:gd name="connsiteX10" fmla="*/ 42767 w 338518"/>
                <a:gd name="connsiteY10" fmla="*/ 321945 h 530828"/>
                <a:gd name="connsiteX11" fmla="*/ 90773 w 338518"/>
                <a:gd name="connsiteY11" fmla="*/ 299371 h 530828"/>
                <a:gd name="connsiteX12" fmla="*/ 151162 w 338518"/>
                <a:gd name="connsiteY12" fmla="*/ 291941 h 530828"/>
                <a:gd name="connsiteX13" fmla="*/ 208788 w 338518"/>
                <a:gd name="connsiteY13" fmla="*/ 296228 h 530828"/>
                <a:gd name="connsiteX14" fmla="*/ 254413 w 338518"/>
                <a:gd name="connsiteY14" fmla="*/ 307562 h 530828"/>
                <a:gd name="connsiteX15" fmla="*/ 254413 w 338518"/>
                <a:gd name="connsiteY15" fmla="*/ 300514 h 530828"/>
                <a:gd name="connsiteX16" fmla="*/ 230696 w 338518"/>
                <a:gd name="connsiteY16" fmla="*/ 241173 h 530828"/>
                <a:gd name="connsiteX17" fmla="*/ 162496 w 338518"/>
                <a:gd name="connsiteY17" fmla="*/ 220694 h 530828"/>
                <a:gd name="connsiteX18" fmla="*/ 106013 w 338518"/>
                <a:gd name="connsiteY18" fmla="*/ 227076 h 530828"/>
                <a:gd name="connsiteX19" fmla="*/ 55817 w 338518"/>
                <a:gd name="connsiteY19" fmla="*/ 244031 h 530828"/>
                <a:gd name="connsiteX20" fmla="*/ 32480 w 338518"/>
                <a:gd name="connsiteY20" fmla="*/ 175451 h 530828"/>
                <a:gd name="connsiteX21" fmla="*/ 96107 w 338518"/>
                <a:gd name="connsiteY21" fmla="*/ 152876 h 530828"/>
                <a:gd name="connsiteX22" fmla="*/ 174593 w 338518"/>
                <a:gd name="connsiteY22" fmla="*/ 144399 h 530828"/>
                <a:gd name="connsiteX23" fmla="*/ 298228 w 338518"/>
                <a:gd name="connsiteY23" fmla="*/ 185738 h 530828"/>
                <a:gd name="connsiteX24" fmla="*/ 338519 w 338518"/>
                <a:gd name="connsiteY24" fmla="*/ 301943 h 530828"/>
                <a:gd name="connsiteX25" fmla="*/ 338519 w 338518"/>
                <a:gd name="connsiteY25" fmla="*/ 523113 h 530828"/>
                <a:gd name="connsiteX26" fmla="*/ 253746 w 338518"/>
                <a:gd name="connsiteY26" fmla="*/ 523113 h 530828"/>
                <a:gd name="connsiteX27" fmla="*/ 45911 w 338518"/>
                <a:gd name="connsiteY27" fmla="*/ 95441 h 530828"/>
                <a:gd name="connsiteX28" fmla="*/ 75248 w 338518"/>
                <a:gd name="connsiteY28" fmla="*/ 29718 h 530828"/>
                <a:gd name="connsiteX29" fmla="*/ 125063 w 338518"/>
                <a:gd name="connsiteY29" fmla="*/ 7144 h 530828"/>
                <a:gd name="connsiteX30" fmla="*/ 154019 w 338518"/>
                <a:gd name="connsiteY30" fmla="*/ 11716 h 530828"/>
                <a:gd name="connsiteX31" fmla="*/ 181261 w 338518"/>
                <a:gd name="connsiteY31" fmla="*/ 21622 h 530828"/>
                <a:gd name="connsiteX32" fmla="*/ 205645 w 338518"/>
                <a:gd name="connsiteY32" fmla="*/ 31147 h 530828"/>
                <a:gd name="connsiteX33" fmla="*/ 226790 w 338518"/>
                <a:gd name="connsiteY33" fmla="*/ 35338 h 530828"/>
                <a:gd name="connsiteX34" fmla="*/ 250127 w 338518"/>
                <a:gd name="connsiteY34" fmla="*/ 26861 h 530828"/>
                <a:gd name="connsiteX35" fmla="*/ 265652 w 338518"/>
                <a:gd name="connsiteY35" fmla="*/ 0 h 530828"/>
                <a:gd name="connsiteX36" fmla="*/ 312991 w 338518"/>
                <a:gd name="connsiteY36" fmla="*/ 14859 h 530828"/>
                <a:gd name="connsiteX37" fmla="*/ 283655 w 338518"/>
                <a:gd name="connsiteY37" fmla="*/ 79820 h 530828"/>
                <a:gd name="connsiteX38" fmla="*/ 233839 w 338518"/>
                <a:gd name="connsiteY38" fmla="*/ 102394 h 530828"/>
                <a:gd name="connsiteX39" fmla="*/ 204883 w 338518"/>
                <a:gd name="connsiteY39" fmla="*/ 98203 h 530828"/>
                <a:gd name="connsiteX40" fmla="*/ 177641 w 338518"/>
                <a:gd name="connsiteY40" fmla="*/ 88678 h 530828"/>
                <a:gd name="connsiteX41" fmla="*/ 152876 w 338518"/>
                <a:gd name="connsiteY41" fmla="*/ 78772 h 530828"/>
                <a:gd name="connsiteX42" fmla="*/ 132017 w 338518"/>
                <a:gd name="connsiteY42" fmla="*/ 74200 h 530828"/>
                <a:gd name="connsiteX43" fmla="*/ 108680 w 338518"/>
                <a:gd name="connsiteY43" fmla="*/ 82677 h 530828"/>
                <a:gd name="connsiteX44" fmla="*/ 93154 w 338518"/>
                <a:gd name="connsiteY44" fmla="*/ 109538 h 530828"/>
                <a:gd name="connsiteX45" fmla="*/ 45815 w 338518"/>
                <a:gd name="connsiteY45" fmla="*/ 95441 h 530828"/>
                <a:gd name="connsiteX46" fmla="*/ 255842 w 338518"/>
                <a:gd name="connsiteY46" fmla="*/ 366808 h 530828"/>
                <a:gd name="connsiteX47" fmla="*/ 217361 w 338518"/>
                <a:gd name="connsiteY47" fmla="*/ 356235 h 530828"/>
                <a:gd name="connsiteX48" fmla="*/ 170402 w 338518"/>
                <a:gd name="connsiteY48" fmla="*/ 351949 h 530828"/>
                <a:gd name="connsiteX49" fmla="*/ 107537 w 338518"/>
                <a:gd name="connsiteY49" fmla="*/ 367475 h 530828"/>
                <a:gd name="connsiteX50" fmla="*/ 84963 w 338518"/>
                <a:gd name="connsiteY50" fmla="*/ 409861 h 530828"/>
                <a:gd name="connsiteX51" fmla="*/ 84963 w 338518"/>
                <a:gd name="connsiteY51" fmla="*/ 411290 h 530828"/>
                <a:gd name="connsiteX52" fmla="*/ 105823 w 338518"/>
                <a:gd name="connsiteY52" fmla="*/ 452247 h 530828"/>
                <a:gd name="connsiteX53" fmla="*/ 157067 w 338518"/>
                <a:gd name="connsiteY53" fmla="*/ 466344 h 530828"/>
                <a:gd name="connsiteX54" fmla="*/ 196310 w 338518"/>
                <a:gd name="connsiteY54" fmla="*/ 460724 h 530828"/>
                <a:gd name="connsiteX55" fmla="*/ 227743 w 338518"/>
                <a:gd name="connsiteY55" fmla="*/ 444818 h 530828"/>
                <a:gd name="connsiteX56" fmla="*/ 248603 w 338518"/>
                <a:gd name="connsiteY56" fmla="*/ 420053 h 530828"/>
                <a:gd name="connsiteX57" fmla="*/ 256032 w 338518"/>
                <a:gd name="connsiteY57" fmla="*/ 387858 h 530828"/>
                <a:gd name="connsiteX58" fmla="*/ 256032 w 338518"/>
                <a:gd name="connsiteY58" fmla="*/ 366617 h 5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8518" h="530828">
                  <a:moveTo>
                    <a:pt x="253651" y="523018"/>
                  </a:moveTo>
                  <a:lnTo>
                    <a:pt x="253651" y="477107"/>
                  </a:lnTo>
                  <a:cubicBezTo>
                    <a:pt x="240887" y="492157"/>
                    <a:pt x="224695" y="504920"/>
                    <a:pt x="204883" y="515303"/>
                  </a:cubicBezTo>
                  <a:cubicBezTo>
                    <a:pt x="185071" y="525685"/>
                    <a:pt x="161068" y="530828"/>
                    <a:pt x="132779" y="530828"/>
                  </a:cubicBezTo>
                  <a:cubicBezTo>
                    <a:pt x="114871" y="530828"/>
                    <a:pt x="97917" y="528352"/>
                    <a:pt x="81915" y="523399"/>
                  </a:cubicBezTo>
                  <a:cubicBezTo>
                    <a:pt x="65913" y="518446"/>
                    <a:pt x="51911" y="511112"/>
                    <a:pt x="39910" y="501491"/>
                  </a:cubicBezTo>
                  <a:cubicBezTo>
                    <a:pt x="27908" y="491871"/>
                    <a:pt x="18193" y="479870"/>
                    <a:pt x="10954" y="465487"/>
                  </a:cubicBezTo>
                  <a:cubicBezTo>
                    <a:pt x="3620" y="451104"/>
                    <a:pt x="0" y="434531"/>
                    <a:pt x="0" y="415671"/>
                  </a:cubicBezTo>
                  <a:lnTo>
                    <a:pt x="0" y="414242"/>
                  </a:lnTo>
                  <a:cubicBezTo>
                    <a:pt x="0" y="393478"/>
                    <a:pt x="3810" y="375476"/>
                    <a:pt x="11335" y="360140"/>
                  </a:cubicBezTo>
                  <a:cubicBezTo>
                    <a:pt x="18860" y="344805"/>
                    <a:pt x="29337" y="332137"/>
                    <a:pt x="42767" y="321945"/>
                  </a:cubicBezTo>
                  <a:cubicBezTo>
                    <a:pt x="56198" y="311849"/>
                    <a:pt x="72200" y="304324"/>
                    <a:pt x="90773" y="299371"/>
                  </a:cubicBezTo>
                  <a:cubicBezTo>
                    <a:pt x="109347" y="294418"/>
                    <a:pt x="129540" y="291941"/>
                    <a:pt x="151162" y="291941"/>
                  </a:cubicBezTo>
                  <a:cubicBezTo>
                    <a:pt x="172784" y="291941"/>
                    <a:pt x="192977" y="293370"/>
                    <a:pt x="208788" y="296228"/>
                  </a:cubicBezTo>
                  <a:cubicBezTo>
                    <a:pt x="224600" y="299085"/>
                    <a:pt x="239744" y="302800"/>
                    <a:pt x="254413" y="307562"/>
                  </a:cubicBezTo>
                  <a:lnTo>
                    <a:pt x="254413" y="300514"/>
                  </a:lnTo>
                  <a:cubicBezTo>
                    <a:pt x="254413" y="274606"/>
                    <a:pt x="246507" y="254794"/>
                    <a:pt x="230696" y="241173"/>
                  </a:cubicBezTo>
                  <a:cubicBezTo>
                    <a:pt x="214884" y="227552"/>
                    <a:pt x="192215" y="220694"/>
                    <a:pt x="162496" y="220694"/>
                  </a:cubicBezTo>
                  <a:cubicBezTo>
                    <a:pt x="141351" y="220694"/>
                    <a:pt x="122492" y="222790"/>
                    <a:pt x="106013" y="227076"/>
                  </a:cubicBezTo>
                  <a:cubicBezTo>
                    <a:pt x="89535" y="231362"/>
                    <a:pt x="72771" y="236982"/>
                    <a:pt x="55817" y="244031"/>
                  </a:cubicBezTo>
                  <a:lnTo>
                    <a:pt x="32480" y="175451"/>
                  </a:lnTo>
                  <a:cubicBezTo>
                    <a:pt x="53150" y="166021"/>
                    <a:pt x="74390" y="158496"/>
                    <a:pt x="96107" y="152876"/>
                  </a:cubicBezTo>
                  <a:cubicBezTo>
                    <a:pt x="117729" y="147257"/>
                    <a:pt x="143923" y="144399"/>
                    <a:pt x="174593" y="144399"/>
                  </a:cubicBezTo>
                  <a:cubicBezTo>
                    <a:pt x="230124" y="144399"/>
                    <a:pt x="271367" y="158210"/>
                    <a:pt x="298228" y="185738"/>
                  </a:cubicBezTo>
                  <a:cubicBezTo>
                    <a:pt x="325088" y="213265"/>
                    <a:pt x="338519" y="252032"/>
                    <a:pt x="338519" y="301943"/>
                  </a:cubicBezTo>
                  <a:lnTo>
                    <a:pt x="338519" y="523113"/>
                  </a:lnTo>
                  <a:lnTo>
                    <a:pt x="253746" y="523113"/>
                  </a:lnTo>
                  <a:close/>
                  <a:moveTo>
                    <a:pt x="45911" y="95441"/>
                  </a:moveTo>
                  <a:cubicBezTo>
                    <a:pt x="53912" y="66675"/>
                    <a:pt x="63722" y="44768"/>
                    <a:pt x="75248" y="29718"/>
                  </a:cubicBezTo>
                  <a:cubicBezTo>
                    <a:pt x="86773" y="14669"/>
                    <a:pt x="103442" y="7144"/>
                    <a:pt x="125063" y="7144"/>
                  </a:cubicBezTo>
                  <a:cubicBezTo>
                    <a:pt x="134969" y="7144"/>
                    <a:pt x="144590" y="8668"/>
                    <a:pt x="154019" y="11716"/>
                  </a:cubicBezTo>
                  <a:cubicBezTo>
                    <a:pt x="163449" y="14764"/>
                    <a:pt x="172498" y="18098"/>
                    <a:pt x="181261" y="21622"/>
                  </a:cubicBezTo>
                  <a:cubicBezTo>
                    <a:pt x="189929" y="25146"/>
                    <a:pt x="198120" y="28385"/>
                    <a:pt x="205645" y="31147"/>
                  </a:cubicBezTo>
                  <a:cubicBezTo>
                    <a:pt x="213170" y="34004"/>
                    <a:pt x="220218" y="35338"/>
                    <a:pt x="226790" y="35338"/>
                  </a:cubicBezTo>
                  <a:cubicBezTo>
                    <a:pt x="237173" y="35338"/>
                    <a:pt x="244888" y="32480"/>
                    <a:pt x="250127" y="26861"/>
                  </a:cubicBezTo>
                  <a:cubicBezTo>
                    <a:pt x="255270" y="21241"/>
                    <a:pt x="260509" y="12287"/>
                    <a:pt x="265652" y="0"/>
                  </a:cubicBezTo>
                  <a:lnTo>
                    <a:pt x="312991" y="14859"/>
                  </a:lnTo>
                  <a:cubicBezTo>
                    <a:pt x="304991" y="43148"/>
                    <a:pt x="295180" y="64770"/>
                    <a:pt x="283655" y="79820"/>
                  </a:cubicBezTo>
                  <a:cubicBezTo>
                    <a:pt x="272129" y="94869"/>
                    <a:pt x="255461" y="102394"/>
                    <a:pt x="233839" y="102394"/>
                  </a:cubicBezTo>
                  <a:cubicBezTo>
                    <a:pt x="223933" y="102394"/>
                    <a:pt x="214313" y="100965"/>
                    <a:pt x="204883" y="98203"/>
                  </a:cubicBezTo>
                  <a:cubicBezTo>
                    <a:pt x="195453" y="95345"/>
                    <a:pt x="186404" y="92202"/>
                    <a:pt x="177641" y="88678"/>
                  </a:cubicBezTo>
                  <a:cubicBezTo>
                    <a:pt x="168878" y="85154"/>
                    <a:pt x="160687" y="81820"/>
                    <a:pt x="152876" y="78772"/>
                  </a:cubicBezTo>
                  <a:cubicBezTo>
                    <a:pt x="145066" y="75724"/>
                    <a:pt x="138113" y="74200"/>
                    <a:pt x="132017" y="74200"/>
                  </a:cubicBezTo>
                  <a:cubicBezTo>
                    <a:pt x="121634" y="74200"/>
                    <a:pt x="113919" y="77057"/>
                    <a:pt x="108680" y="82677"/>
                  </a:cubicBezTo>
                  <a:cubicBezTo>
                    <a:pt x="103537" y="88297"/>
                    <a:pt x="98298" y="97250"/>
                    <a:pt x="93154" y="109538"/>
                  </a:cubicBezTo>
                  <a:lnTo>
                    <a:pt x="45815" y="95441"/>
                  </a:lnTo>
                  <a:close/>
                  <a:moveTo>
                    <a:pt x="255842" y="366808"/>
                  </a:moveTo>
                  <a:cubicBezTo>
                    <a:pt x="244983" y="362522"/>
                    <a:pt x="232124" y="358997"/>
                    <a:pt x="217361" y="356235"/>
                  </a:cubicBezTo>
                  <a:cubicBezTo>
                    <a:pt x="202502" y="353378"/>
                    <a:pt x="186880" y="351949"/>
                    <a:pt x="170402" y="351949"/>
                  </a:cubicBezTo>
                  <a:cubicBezTo>
                    <a:pt x="143542" y="351949"/>
                    <a:pt x="122587" y="357092"/>
                    <a:pt x="107537" y="367475"/>
                  </a:cubicBezTo>
                  <a:cubicBezTo>
                    <a:pt x="92488" y="377857"/>
                    <a:pt x="84963" y="391954"/>
                    <a:pt x="84963" y="409861"/>
                  </a:cubicBezTo>
                  <a:lnTo>
                    <a:pt x="84963" y="411290"/>
                  </a:lnTo>
                  <a:cubicBezTo>
                    <a:pt x="84963" y="429197"/>
                    <a:pt x="91916" y="442817"/>
                    <a:pt x="105823" y="452247"/>
                  </a:cubicBezTo>
                  <a:cubicBezTo>
                    <a:pt x="119729" y="461677"/>
                    <a:pt x="136779" y="466344"/>
                    <a:pt x="157067" y="466344"/>
                  </a:cubicBezTo>
                  <a:cubicBezTo>
                    <a:pt x="171164" y="466344"/>
                    <a:pt x="184309" y="464439"/>
                    <a:pt x="196310" y="460724"/>
                  </a:cubicBezTo>
                  <a:cubicBezTo>
                    <a:pt x="208312" y="456914"/>
                    <a:pt x="218789" y="451676"/>
                    <a:pt x="227743" y="444818"/>
                  </a:cubicBezTo>
                  <a:cubicBezTo>
                    <a:pt x="236696" y="437960"/>
                    <a:pt x="243650" y="429768"/>
                    <a:pt x="248603" y="420053"/>
                  </a:cubicBezTo>
                  <a:cubicBezTo>
                    <a:pt x="253555" y="410432"/>
                    <a:pt x="256032" y="399669"/>
                    <a:pt x="256032" y="387858"/>
                  </a:cubicBezTo>
                  <a:lnTo>
                    <a:pt x="256032" y="366617"/>
                  </a:lnTo>
                  <a:close/>
                </a:path>
              </a:pathLst>
            </a:custGeom>
            <a:solidFill>
              <a:srgbClr val="44505E"/>
            </a:solidFill>
            <a:ln w="9525" cap="flat">
              <a:noFill/>
              <a:prstDash val="solid"/>
              <a:miter/>
            </a:ln>
          </p:spPr>
          <p:txBody>
            <a:bodyPr rtlCol="0" anchor="ctr"/>
            <a:lstStyle/>
            <a:p>
              <a:endParaRPr lang="pt-BR" noProof="0"/>
            </a:p>
          </p:txBody>
        </p:sp>
        <p:sp>
          <p:nvSpPr>
            <p:cNvPr id="18" name="Freeform: Shape 30">
              <a:extLst>
                <a:ext uri="{FF2B5EF4-FFF2-40B4-BE49-F238E27FC236}">
                  <a16:creationId xmlns:a16="http://schemas.microsoft.com/office/drawing/2014/main" id="{4C4EE99C-27CC-6451-F37B-D97F552B41D1}"/>
                </a:ext>
              </a:extLst>
            </p:cNvPr>
            <p:cNvSpPr/>
            <p:nvPr/>
          </p:nvSpPr>
          <p:spPr>
            <a:xfrm>
              <a:off x="6506477" y="699959"/>
              <a:ext cx="100038" cy="97908"/>
            </a:xfrm>
            <a:custGeom>
              <a:avLst/>
              <a:gdLst>
                <a:gd name="connsiteX0" fmla="*/ 197834 w 397954"/>
                <a:gd name="connsiteY0" fmla="*/ 389477 h 389477"/>
                <a:gd name="connsiteX1" fmla="*/ 119063 w 397954"/>
                <a:gd name="connsiteY1" fmla="*/ 374237 h 389477"/>
                <a:gd name="connsiteX2" fmla="*/ 56198 w 397954"/>
                <a:gd name="connsiteY2" fmla="*/ 332899 h 389477"/>
                <a:gd name="connsiteX3" fmla="*/ 14859 w 397954"/>
                <a:gd name="connsiteY3" fmla="*/ 271463 h 389477"/>
                <a:gd name="connsiteX4" fmla="*/ 0 w 397954"/>
                <a:gd name="connsiteY4" fmla="*/ 196501 h 389477"/>
                <a:gd name="connsiteX5" fmla="*/ 0 w 397954"/>
                <a:gd name="connsiteY5" fmla="*/ 195072 h 389477"/>
                <a:gd name="connsiteX6" fmla="*/ 15240 w 397954"/>
                <a:gd name="connsiteY6" fmla="*/ 119444 h 389477"/>
                <a:gd name="connsiteX7" fmla="*/ 56960 w 397954"/>
                <a:gd name="connsiteY7" fmla="*/ 57626 h 389477"/>
                <a:gd name="connsiteX8" fmla="*/ 119825 w 397954"/>
                <a:gd name="connsiteY8" fmla="*/ 15526 h 389477"/>
                <a:gd name="connsiteX9" fmla="*/ 199358 w 397954"/>
                <a:gd name="connsiteY9" fmla="*/ 0 h 389477"/>
                <a:gd name="connsiteX10" fmla="*/ 278892 w 397954"/>
                <a:gd name="connsiteY10" fmla="*/ 15240 h 389477"/>
                <a:gd name="connsiteX11" fmla="*/ 341757 w 397954"/>
                <a:gd name="connsiteY11" fmla="*/ 56959 h 389477"/>
                <a:gd name="connsiteX12" fmla="*/ 383096 w 397954"/>
                <a:gd name="connsiteY12" fmla="*/ 118396 h 389477"/>
                <a:gd name="connsiteX13" fmla="*/ 397955 w 397954"/>
                <a:gd name="connsiteY13" fmla="*/ 193643 h 389477"/>
                <a:gd name="connsiteX14" fmla="*/ 397955 w 397954"/>
                <a:gd name="connsiteY14" fmla="*/ 195072 h 389477"/>
                <a:gd name="connsiteX15" fmla="*/ 382714 w 397954"/>
                <a:gd name="connsiteY15" fmla="*/ 270034 h 389477"/>
                <a:gd name="connsiteX16" fmla="*/ 340995 w 397954"/>
                <a:gd name="connsiteY16" fmla="*/ 331851 h 389477"/>
                <a:gd name="connsiteX17" fmla="*/ 277749 w 397954"/>
                <a:gd name="connsiteY17" fmla="*/ 373856 h 389477"/>
                <a:gd name="connsiteX18" fmla="*/ 197834 w 397954"/>
                <a:gd name="connsiteY18" fmla="*/ 389382 h 389477"/>
                <a:gd name="connsiteX19" fmla="*/ 199263 w 397954"/>
                <a:gd name="connsiteY19" fmla="*/ 315278 h 389477"/>
                <a:gd name="connsiteX20" fmla="*/ 245936 w 397954"/>
                <a:gd name="connsiteY20" fmla="*/ 305753 h 389477"/>
                <a:gd name="connsiteX21" fmla="*/ 281369 w 397954"/>
                <a:gd name="connsiteY21" fmla="*/ 279940 h 389477"/>
                <a:gd name="connsiteX22" fmla="*/ 303848 w 397954"/>
                <a:gd name="connsiteY22" fmla="*/ 242125 h 389477"/>
                <a:gd name="connsiteX23" fmla="*/ 311563 w 397954"/>
                <a:gd name="connsiteY23" fmla="*/ 196501 h 389477"/>
                <a:gd name="connsiteX24" fmla="*/ 311563 w 397954"/>
                <a:gd name="connsiteY24" fmla="*/ 195072 h 389477"/>
                <a:gd name="connsiteX25" fmla="*/ 303181 w 397954"/>
                <a:gd name="connsiteY25" fmla="*/ 148400 h 389477"/>
                <a:gd name="connsiteX26" fmla="*/ 279654 w 397954"/>
                <a:gd name="connsiteY26" fmla="*/ 110204 h 389477"/>
                <a:gd name="connsiteX27" fmla="*/ 243840 w 397954"/>
                <a:gd name="connsiteY27" fmla="*/ 84392 h 389477"/>
                <a:gd name="connsiteX28" fmla="*/ 197834 w 397954"/>
                <a:gd name="connsiteY28" fmla="*/ 74867 h 389477"/>
                <a:gd name="connsiteX29" fmla="*/ 151829 w 397954"/>
                <a:gd name="connsiteY29" fmla="*/ 84392 h 389477"/>
                <a:gd name="connsiteX30" fmla="*/ 116396 w 397954"/>
                <a:gd name="connsiteY30" fmla="*/ 109823 h 389477"/>
                <a:gd name="connsiteX31" fmla="*/ 93916 w 397954"/>
                <a:gd name="connsiteY31" fmla="*/ 147638 h 389477"/>
                <a:gd name="connsiteX32" fmla="*/ 86201 w 397954"/>
                <a:gd name="connsiteY32" fmla="*/ 193548 h 389477"/>
                <a:gd name="connsiteX33" fmla="*/ 86201 w 397954"/>
                <a:gd name="connsiteY33" fmla="*/ 194977 h 389477"/>
                <a:gd name="connsiteX34" fmla="*/ 94583 w 397954"/>
                <a:gd name="connsiteY34" fmla="*/ 241268 h 389477"/>
                <a:gd name="connsiteX35" fmla="*/ 118110 w 397954"/>
                <a:gd name="connsiteY35" fmla="*/ 279463 h 389477"/>
                <a:gd name="connsiteX36" fmla="*/ 153924 w 397954"/>
                <a:gd name="connsiteY36" fmla="*/ 305562 h 389477"/>
                <a:gd name="connsiteX37" fmla="*/ 199263 w 397954"/>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954" h="389477">
                  <a:moveTo>
                    <a:pt x="197834" y="389477"/>
                  </a:moveTo>
                  <a:cubicBezTo>
                    <a:pt x="169545" y="389477"/>
                    <a:pt x="143351" y="384429"/>
                    <a:pt x="119063" y="374237"/>
                  </a:cubicBezTo>
                  <a:cubicBezTo>
                    <a:pt x="94774" y="364141"/>
                    <a:pt x="73819" y="350330"/>
                    <a:pt x="56198" y="332899"/>
                  </a:cubicBezTo>
                  <a:cubicBezTo>
                    <a:pt x="38576" y="315468"/>
                    <a:pt x="24765" y="294989"/>
                    <a:pt x="14859" y="271463"/>
                  </a:cubicBezTo>
                  <a:cubicBezTo>
                    <a:pt x="4953" y="247936"/>
                    <a:pt x="0" y="222980"/>
                    <a:pt x="0" y="196501"/>
                  </a:cubicBezTo>
                  <a:lnTo>
                    <a:pt x="0" y="195072"/>
                  </a:lnTo>
                  <a:cubicBezTo>
                    <a:pt x="0" y="168212"/>
                    <a:pt x="5049" y="143066"/>
                    <a:pt x="15240" y="119444"/>
                  </a:cubicBezTo>
                  <a:cubicBezTo>
                    <a:pt x="25337" y="95917"/>
                    <a:pt x="39243" y="75248"/>
                    <a:pt x="56960" y="57626"/>
                  </a:cubicBezTo>
                  <a:cubicBezTo>
                    <a:pt x="74676" y="39910"/>
                    <a:pt x="95631" y="25908"/>
                    <a:pt x="119825" y="15526"/>
                  </a:cubicBezTo>
                  <a:cubicBezTo>
                    <a:pt x="144113" y="5144"/>
                    <a:pt x="170593" y="0"/>
                    <a:pt x="199358" y="0"/>
                  </a:cubicBezTo>
                  <a:cubicBezTo>
                    <a:pt x="228124" y="0"/>
                    <a:pt x="254604" y="5048"/>
                    <a:pt x="278892" y="15240"/>
                  </a:cubicBezTo>
                  <a:cubicBezTo>
                    <a:pt x="303181" y="25337"/>
                    <a:pt x="324136" y="39243"/>
                    <a:pt x="341757" y="56959"/>
                  </a:cubicBezTo>
                  <a:cubicBezTo>
                    <a:pt x="359379" y="74676"/>
                    <a:pt x="373189" y="95155"/>
                    <a:pt x="383096" y="118396"/>
                  </a:cubicBezTo>
                  <a:cubicBezTo>
                    <a:pt x="393002" y="141732"/>
                    <a:pt x="397955" y="166783"/>
                    <a:pt x="397955" y="193643"/>
                  </a:cubicBezTo>
                  <a:lnTo>
                    <a:pt x="397955" y="195072"/>
                  </a:lnTo>
                  <a:cubicBezTo>
                    <a:pt x="397955" y="221456"/>
                    <a:pt x="392906" y="246412"/>
                    <a:pt x="382714" y="270034"/>
                  </a:cubicBezTo>
                  <a:cubicBezTo>
                    <a:pt x="372618" y="293561"/>
                    <a:pt x="358712" y="314230"/>
                    <a:pt x="340995" y="331851"/>
                  </a:cubicBezTo>
                  <a:cubicBezTo>
                    <a:pt x="323279" y="349472"/>
                    <a:pt x="302229" y="363569"/>
                    <a:pt x="277749" y="373856"/>
                  </a:cubicBezTo>
                  <a:cubicBezTo>
                    <a:pt x="253270" y="384238"/>
                    <a:pt x="226600" y="389382"/>
                    <a:pt x="197834" y="389382"/>
                  </a:cubicBezTo>
                  <a:close/>
                  <a:moveTo>
                    <a:pt x="199263" y="315278"/>
                  </a:moveTo>
                  <a:cubicBezTo>
                    <a:pt x="216598" y="315278"/>
                    <a:pt x="232124" y="312039"/>
                    <a:pt x="245936" y="305753"/>
                  </a:cubicBezTo>
                  <a:cubicBezTo>
                    <a:pt x="259747" y="299371"/>
                    <a:pt x="271558" y="290798"/>
                    <a:pt x="281369" y="279940"/>
                  </a:cubicBezTo>
                  <a:cubicBezTo>
                    <a:pt x="291179" y="269081"/>
                    <a:pt x="298704" y="256508"/>
                    <a:pt x="303848" y="242125"/>
                  </a:cubicBezTo>
                  <a:cubicBezTo>
                    <a:pt x="308991" y="227743"/>
                    <a:pt x="311563" y="212598"/>
                    <a:pt x="311563" y="196501"/>
                  </a:cubicBezTo>
                  <a:lnTo>
                    <a:pt x="311563" y="195072"/>
                  </a:lnTo>
                  <a:cubicBezTo>
                    <a:pt x="311563" y="178594"/>
                    <a:pt x="308706" y="163068"/>
                    <a:pt x="303181" y="148400"/>
                  </a:cubicBezTo>
                  <a:cubicBezTo>
                    <a:pt x="297561" y="133826"/>
                    <a:pt x="289750" y="121063"/>
                    <a:pt x="279654" y="110204"/>
                  </a:cubicBezTo>
                  <a:cubicBezTo>
                    <a:pt x="269557" y="99346"/>
                    <a:pt x="257651" y="90773"/>
                    <a:pt x="243840" y="84392"/>
                  </a:cubicBezTo>
                  <a:cubicBezTo>
                    <a:pt x="230029" y="78010"/>
                    <a:pt x="214694" y="74867"/>
                    <a:pt x="197834" y="74867"/>
                  </a:cubicBezTo>
                  <a:cubicBezTo>
                    <a:pt x="180975" y="74867"/>
                    <a:pt x="165640" y="78010"/>
                    <a:pt x="151829" y="84392"/>
                  </a:cubicBezTo>
                  <a:cubicBezTo>
                    <a:pt x="138017" y="90773"/>
                    <a:pt x="126206" y="99250"/>
                    <a:pt x="116396" y="109823"/>
                  </a:cubicBezTo>
                  <a:cubicBezTo>
                    <a:pt x="106585" y="120396"/>
                    <a:pt x="99060" y="133064"/>
                    <a:pt x="93916" y="147638"/>
                  </a:cubicBezTo>
                  <a:cubicBezTo>
                    <a:pt x="88773" y="162211"/>
                    <a:pt x="86201" y="177546"/>
                    <a:pt x="86201" y="193548"/>
                  </a:cubicBezTo>
                  <a:lnTo>
                    <a:pt x="86201" y="194977"/>
                  </a:lnTo>
                  <a:cubicBezTo>
                    <a:pt x="86201" y="211455"/>
                    <a:pt x="89059" y="226886"/>
                    <a:pt x="94583" y="241268"/>
                  </a:cubicBezTo>
                  <a:cubicBezTo>
                    <a:pt x="100203" y="255651"/>
                    <a:pt x="108014" y="268319"/>
                    <a:pt x="118110" y="279463"/>
                  </a:cubicBezTo>
                  <a:cubicBezTo>
                    <a:pt x="128207" y="290608"/>
                    <a:pt x="140113" y="299275"/>
                    <a:pt x="153924" y="305562"/>
                  </a:cubicBezTo>
                  <a:cubicBezTo>
                    <a:pt x="167735" y="311944"/>
                    <a:pt x="182785"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19" name="Freeform: Shape 31">
              <a:extLst>
                <a:ext uri="{FF2B5EF4-FFF2-40B4-BE49-F238E27FC236}">
                  <a16:creationId xmlns:a16="http://schemas.microsoft.com/office/drawing/2014/main" id="{A0B4964D-6D76-C365-0513-C7D76C3BCB1C}"/>
                </a:ext>
              </a:extLst>
            </p:cNvPr>
            <p:cNvSpPr/>
            <p:nvPr/>
          </p:nvSpPr>
          <p:spPr>
            <a:xfrm>
              <a:off x="662071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1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7 w 296894"/>
                <a:gd name="connsiteY23" fmla="*/ 42863 h 386714"/>
                <a:gd name="connsiteX24" fmla="*/ 254318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7 w 296894"/>
                <a:gd name="connsiteY30" fmla="*/ 124587 h 386714"/>
                <a:gd name="connsiteX31" fmla="*/ 122682 w 296894"/>
                <a:gd name="connsiteY31" fmla="*/ 138017 h 386714"/>
                <a:gd name="connsiteX32" fmla="*/ 149543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6" y="348901"/>
                    <a:pt x="0" y="330327"/>
                  </a:cubicBezTo>
                  <a:lnTo>
                    <a:pt x="38195" y="272224"/>
                  </a:lnTo>
                  <a:cubicBezTo>
                    <a:pt x="58484" y="287274"/>
                    <a:pt x="79057" y="298704"/>
                    <a:pt x="100013" y="306514"/>
                  </a:cubicBezTo>
                  <a:cubicBezTo>
                    <a:pt x="120968" y="314325"/>
                    <a:pt x="141161" y="318135"/>
                    <a:pt x="160401" y="318135"/>
                  </a:cubicBezTo>
                  <a:cubicBezTo>
                    <a:pt x="179641" y="318135"/>
                    <a:pt x="192977"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1" y="241078"/>
                    <a:pt x="176498" y="237553"/>
                    <a:pt x="166401"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2" y="40195"/>
                    <a:pt x="56864" y="30385"/>
                  </a:cubicBezTo>
                  <a:cubicBezTo>
                    <a:pt x="68866" y="20479"/>
                    <a:pt x="82962" y="12954"/>
                    <a:pt x="99250" y="7810"/>
                  </a:cubicBezTo>
                  <a:cubicBezTo>
                    <a:pt x="115538" y="2667"/>
                    <a:pt x="132779" y="0"/>
                    <a:pt x="151162" y="0"/>
                  </a:cubicBezTo>
                  <a:cubicBezTo>
                    <a:pt x="174688" y="0"/>
                    <a:pt x="198501" y="3810"/>
                    <a:pt x="222504" y="11430"/>
                  </a:cubicBezTo>
                  <a:cubicBezTo>
                    <a:pt x="246507" y="19050"/>
                    <a:pt x="268414" y="29527"/>
                    <a:pt x="288227" y="42863"/>
                  </a:cubicBezTo>
                  <a:lnTo>
                    <a:pt x="254318"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7" y="124587"/>
                  </a:cubicBezTo>
                  <a:cubicBezTo>
                    <a:pt x="108585" y="129540"/>
                    <a:pt x="114871" y="134017"/>
                    <a:pt x="122682" y="138017"/>
                  </a:cubicBezTo>
                  <a:cubicBezTo>
                    <a:pt x="130493" y="142018"/>
                    <a:pt x="139351" y="145732"/>
                    <a:pt x="149543"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696"/>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0" name="Freeform: Shape 32">
              <a:extLst>
                <a:ext uri="{FF2B5EF4-FFF2-40B4-BE49-F238E27FC236}">
                  <a16:creationId xmlns:a16="http://schemas.microsoft.com/office/drawing/2014/main" id="{969D96B9-E4E0-84E7-7CAC-3D805E995E58}"/>
                </a:ext>
              </a:extLst>
            </p:cNvPr>
            <p:cNvSpPr/>
            <p:nvPr/>
          </p:nvSpPr>
          <p:spPr>
            <a:xfrm>
              <a:off x="526693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4 w 202977"/>
                <a:gd name="connsiteY17" fmla="*/ 19907 h 239267"/>
                <a:gd name="connsiteX18" fmla="*/ 59246 w 202977"/>
                <a:gd name="connsiteY18" fmla="*/ 5429 h 239267"/>
                <a:gd name="connsiteX19" fmla="*/ 104299 w 202977"/>
                <a:gd name="connsiteY19" fmla="*/ 0 h 239267"/>
                <a:gd name="connsiteX20" fmla="*/ 178880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5 w 202977"/>
                <a:gd name="connsiteY27" fmla="*/ 211169 h 239267"/>
                <a:gd name="connsiteX28" fmla="*/ 122968 w 202977"/>
                <a:gd name="connsiteY28" fmla="*/ 206788 h 239267"/>
                <a:gd name="connsiteX29" fmla="*/ 147257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9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9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3" y="99155"/>
                    <a:pt x="58674" y="95917"/>
                  </a:cubicBezTo>
                  <a:cubicBezTo>
                    <a:pt x="70771" y="92678"/>
                    <a:pt x="84011" y="90964"/>
                    <a:pt x="98584" y="90964"/>
                  </a:cubicBezTo>
                  <a:cubicBezTo>
                    <a:pt x="113157" y="90964"/>
                    <a:pt x="126301" y="91821"/>
                    <a:pt x="137160" y="93631"/>
                  </a:cubicBezTo>
                  <a:cubicBezTo>
                    <a:pt x="148019" y="95440"/>
                    <a:pt x="158687" y="97822"/>
                    <a:pt x="169069" y="100774"/>
                  </a:cubicBezTo>
                  <a:lnTo>
                    <a:pt x="169069" y="93726"/>
                  </a:lnTo>
                  <a:cubicBezTo>
                    <a:pt x="169069" y="73342"/>
                    <a:pt x="163068" y="57912"/>
                    <a:pt x="151162" y="47339"/>
                  </a:cubicBezTo>
                  <a:cubicBezTo>
                    <a:pt x="139256" y="36862"/>
                    <a:pt x="122492" y="31623"/>
                    <a:pt x="100679" y="31623"/>
                  </a:cubicBezTo>
                  <a:cubicBezTo>
                    <a:pt x="86963" y="31623"/>
                    <a:pt x="74581" y="33147"/>
                    <a:pt x="63437" y="36100"/>
                  </a:cubicBezTo>
                  <a:cubicBezTo>
                    <a:pt x="52292" y="39053"/>
                    <a:pt x="41339" y="43053"/>
                    <a:pt x="30671" y="48196"/>
                  </a:cubicBezTo>
                  <a:lnTo>
                    <a:pt x="20384" y="19907"/>
                  </a:lnTo>
                  <a:cubicBezTo>
                    <a:pt x="33147" y="13906"/>
                    <a:pt x="46101" y="9049"/>
                    <a:pt x="59246" y="5429"/>
                  </a:cubicBezTo>
                  <a:cubicBezTo>
                    <a:pt x="72295" y="1810"/>
                    <a:pt x="87344" y="0"/>
                    <a:pt x="104299" y="0"/>
                  </a:cubicBezTo>
                  <a:cubicBezTo>
                    <a:pt x="137065" y="0"/>
                    <a:pt x="161925" y="8477"/>
                    <a:pt x="178880"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99" y="239173"/>
                    <a:pt x="86011" y="239173"/>
                  </a:cubicBezTo>
                  <a:close/>
                  <a:moveTo>
                    <a:pt x="93155" y="211169"/>
                  </a:moveTo>
                  <a:cubicBezTo>
                    <a:pt x="103823" y="211169"/>
                    <a:pt x="113728" y="209740"/>
                    <a:pt x="122968" y="206788"/>
                  </a:cubicBezTo>
                  <a:cubicBezTo>
                    <a:pt x="132207" y="203835"/>
                    <a:pt x="140208" y="199644"/>
                    <a:pt x="147257"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9" y="121444"/>
                  </a:cubicBezTo>
                  <a:cubicBezTo>
                    <a:pt x="129445" y="119348"/>
                    <a:pt x="116776"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244" y="190500"/>
                    <a:pt x="47435" y="195358"/>
                    <a:pt x="52769" y="199263"/>
                  </a:cubicBezTo>
                  <a:cubicBezTo>
                    <a:pt x="58103" y="203073"/>
                    <a:pt x="64294" y="206026"/>
                    <a:pt x="71247" y="208121"/>
                  </a:cubicBezTo>
                  <a:cubicBezTo>
                    <a:pt x="78200" y="210217"/>
                    <a:pt x="85535"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21" name="Freeform: Shape 33">
              <a:extLst>
                <a:ext uri="{FF2B5EF4-FFF2-40B4-BE49-F238E27FC236}">
                  <a16:creationId xmlns:a16="http://schemas.microsoft.com/office/drawing/2014/main" id="{AB35386C-BB67-80E1-506D-F54CD042FA81}"/>
                </a:ext>
              </a:extLst>
            </p:cNvPr>
            <p:cNvSpPr/>
            <p:nvPr/>
          </p:nvSpPr>
          <p:spPr>
            <a:xfrm>
              <a:off x="5331227"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9" y="303276"/>
                    <a:pt x="71438" y="300895"/>
                  </a:cubicBezTo>
                  <a:cubicBezTo>
                    <a:pt x="63437"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2"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22" name="Freeform: Shape 34">
              <a:extLst>
                <a:ext uri="{FF2B5EF4-FFF2-40B4-BE49-F238E27FC236}">
                  <a16:creationId xmlns:a16="http://schemas.microsoft.com/office/drawing/2014/main" id="{6F2BDA94-4426-EDB3-601C-93787FC53EB6}"/>
                </a:ext>
              </a:extLst>
            </p:cNvPr>
            <p:cNvSpPr/>
            <p:nvPr/>
          </p:nvSpPr>
          <p:spPr>
            <a:xfrm>
              <a:off x="5381845"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191 w 39242"/>
                <a:gd name="connsiteY5" fmla="*/ 88392 h 319182"/>
                <a:gd name="connsiteX6" fmla="*/ 36576 w 39242"/>
                <a:gd name="connsiteY6" fmla="*/ 88392 h 319182"/>
                <a:gd name="connsiteX7" fmla="*/ 36576 w 39242"/>
                <a:gd name="connsiteY7" fmla="*/ 319183 h 319182"/>
                <a:gd name="connsiteX8" fmla="*/ 2191 w 39242"/>
                <a:gd name="connsiteY8" fmla="*/ 319183 h 319182"/>
                <a:gd name="connsiteX9" fmla="*/ 2191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191" y="88392"/>
                  </a:moveTo>
                  <a:lnTo>
                    <a:pt x="36576" y="88392"/>
                  </a:lnTo>
                  <a:lnTo>
                    <a:pt x="36576" y="319183"/>
                  </a:lnTo>
                  <a:lnTo>
                    <a:pt x="2191" y="319183"/>
                  </a:lnTo>
                  <a:lnTo>
                    <a:pt x="2191" y="88392"/>
                  </a:lnTo>
                  <a:close/>
                </a:path>
              </a:pathLst>
            </a:custGeom>
            <a:solidFill>
              <a:srgbClr val="44505E"/>
            </a:solidFill>
            <a:ln w="9525" cap="flat">
              <a:noFill/>
              <a:prstDash val="solid"/>
              <a:miter/>
            </a:ln>
          </p:spPr>
          <p:txBody>
            <a:bodyPr rtlCol="0" anchor="ctr"/>
            <a:lstStyle/>
            <a:p>
              <a:endParaRPr lang="pt-BR" noProof="0"/>
            </a:p>
          </p:txBody>
        </p:sp>
        <p:sp>
          <p:nvSpPr>
            <p:cNvPr id="23" name="Freeform: Shape 35">
              <a:extLst>
                <a:ext uri="{FF2B5EF4-FFF2-40B4-BE49-F238E27FC236}">
                  <a16:creationId xmlns:a16="http://schemas.microsoft.com/office/drawing/2014/main" id="{5EB963A6-5F0C-D03D-D99B-B4968ECF9ECC}"/>
                </a:ext>
              </a:extLst>
            </p:cNvPr>
            <p:cNvSpPr/>
            <p:nvPr/>
          </p:nvSpPr>
          <p:spPr>
            <a:xfrm>
              <a:off x="5406076"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8" y="303276"/>
                    <a:pt x="71438" y="300895"/>
                  </a:cubicBezTo>
                  <a:cubicBezTo>
                    <a:pt x="63436"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1"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24" name="Freeform: Shape 36">
              <a:extLst>
                <a:ext uri="{FF2B5EF4-FFF2-40B4-BE49-F238E27FC236}">
                  <a16:creationId xmlns:a16="http://schemas.microsoft.com/office/drawing/2014/main" id="{2D171B4B-DEAC-7F29-432D-7AAEC6E214B9}"/>
                </a:ext>
              </a:extLst>
            </p:cNvPr>
            <p:cNvSpPr/>
            <p:nvPr/>
          </p:nvSpPr>
          <p:spPr>
            <a:xfrm>
              <a:off x="5455545" y="925297"/>
              <a:ext cx="50594" cy="59238"/>
            </a:xfrm>
            <a:custGeom>
              <a:avLst/>
              <a:gdLst>
                <a:gd name="connsiteX0" fmla="*/ 88392 w 201263"/>
                <a:gd name="connsiteY0" fmla="*/ 235648 h 235648"/>
                <a:gd name="connsiteX1" fmla="*/ 51149 w 201263"/>
                <a:gd name="connsiteY1" fmla="*/ 228981 h 235648"/>
                <a:gd name="connsiteX2" fmla="*/ 23431 w 201263"/>
                <a:gd name="connsiteY2" fmla="*/ 210026 h 235648"/>
                <a:gd name="connsiteX3" fmla="*/ 6001 w 201263"/>
                <a:gd name="connsiteY3" fmla="*/ 180784 h 235648"/>
                <a:gd name="connsiteX4" fmla="*/ 0 w 201263"/>
                <a:gd name="connsiteY4" fmla="*/ 143256 h 235648"/>
                <a:gd name="connsiteX5" fmla="*/ 0 w 201263"/>
                <a:gd name="connsiteY5" fmla="*/ 0 h 235648"/>
                <a:gd name="connsiteX6" fmla="*/ 34385 w 201263"/>
                <a:gd name="connsiteY6" fmla="*/ 0 h 235648"/>
                <a:gd name="connsiteX7" fmla="*/ 34385 w 201263"/>
                <a:gd name="connsiteY7" fmla="*/ 134493 h 235648"/>
                <a:gd name="connsiteX8" fmla="*/ 50864 w 201263"/>
                <a:gd name="connsiteY8" fmla="*/ 185261 h 235648"/>
                <a:gd name="connsiteX9" fmla="*/ 98203 w 201263"/>
                <a:gd name="connsiteY9" fmla="*/ 203930 h 235648"/>
                <a:gd name="connsiteX10" fmla="*/ 125635 w 201263"/>
                <a:gd name="connsiteY10" fmla="*/ 198787 h 235648"/>
                <a:gd name="connsiteX11" fmla="*/ 147542 w 201263"/>
                <a:gd name="connsiteY11" fmla="*/ 184118 h 235648"/>
                <a:gd name="connsiteX12" fmla="*/ 162020 w 201263"/>
                <a:gd name="connsiteY12" fmla="*/ 161163 h 235648"/>
                <a:gd name="connsiteX13" fmla="*/ 167354 w 201263"/>
                <a:gd name="connsiteY13" fmla="*/ 131826 h 235648"/>
                <a:gd name="connsiteX14" fmla="*/ 167354 w 201263"/>
                <a:gd name="connsiteY14" fmla="*/ 0 h 235648"/>
                <a:gd name="connsiteX15" fmla="*/ 201263 w 201263"/>
                <a:gd name="connsiteY15" fmla="*/ 0 h 235648"/>
                <a:gd name="connsiteX16" fmla="*/ 201263 w 201263"/>
                <a:gd name="connsiteY16" fmla="*/ 230791 h 235648"/>
                <a:gd name="connsiteX17" fmla="*/ 167354 w 201263"/>
                <a:gd name="connsiteY17" fmla="*/ 230791 h 235648"/>
                <a:gd name="connsiteX18" fmla="*/ 167354 w 201263"/>
                <a:gd name="connsiteY18" fmla="*/ 190595 h 235648"/>
                <a:gd name="connsiteX19" fmla="*/ 136969 w 201263"/>
                <a:gd name="connsiteY19" fmla="*/ 222504 h 235648"/>
                <a:gd name="connsiteX20" fmla="*/ 88297 w 201263"/>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263" h="235648">
                  <a:moveTo>
                    <a:pt x="88392" y="235648"/>
                  </a:moveTo>
                  <a:cubicBezTo>
                    <a:pt x="74390" y="235648"/>
                    <a:pt x="62008" y="233363"/>
                    <a:pt x="51149" y="228981"/>
                  </a:cubicBezTo>
                  <a:cubicBezTo>
                    <a:pt x="40291" y="224504"/>
                    <a:pt x="31052" y="218218"/>
                    <a:pt x="23431"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864" y="185261"/>
                  </a:cubicBezTo>
                  <a:cubicBezTo>
                    <a:pt x="61913" y="197739"/>
                    <a:pt x="77629" y="203930"/>
                    <a:pt x="98203" y="203930"/>
                  </a:cubicBezTo>
                  <a:cubicBezTo>
                    <a:pt x="108014" y="203930"/>
                    <a:pt x="117158" y="202216"/>
                    <a:pt x="125635" y="198787"/>
                  </a:cubicBezTo>
                  <a:cubicBezTo>
                    <a:pt x="134112" y="195358"/>
                    <a:pt x="141351" y="190500"/>
                    <a:pt x="147542" y="184118"/>
                  </a:cubicBezTo>
                  <a:cubicBezTo>
                    <a:pt x="153638" y="177736"/>
                    <a:pt x="158496" y="170116"/>
                    <a:pt x="162020" y="161163"/>
                  </a:cubicBezTo>
                  <a:cubicBezTo>
                    <a:pt x="165640" y="152305"/>
                    <a:pt x="167354" y="142494"/>
                    <a:pt x="167354" y="131826"/>
                  </a:cubicBezTo>
                  <a:lnTo>
                    <a:pt x="167354" y="0"/>
                  </a:lnTo>
                  <a:lnTo>
                    <a:pt x="201263" y="0"/>
                  </a:lnTo>
                  <a:lnTo>
                    <a:pt x="201263" y="230791"/>
                  </a:lnTo>
                  <a:lnTo>
                    <a:pt x="167354" y="230791"/>
                  </a:lnTo>
                  <a:lnTo>
                    <a:pt x="167354" y="190595"/>
                  </a:lnTo>
                  <a:cubicBezTo>
                    <a:pt x="159639" y="203073"/>
                    <a:pt x="149447" y="213741"/>
                    <a:pt x="136969" y="222504"/>
                  </a:cubicBezTo>
                  <a:cubicBezTo>
                    <a:pt x="124492" y="231267"/>
                    <a:pt x="108299" y="235648"/>
                    <a:pt x="88297" y="235648"/>
                  </a:cubicBezTo>
                  <a:close/>
                </a:path>
              </a:pathLst>
            </a:custGeom>
            <a:solidFill>
              <a:srgbClr val="44505E"/>
            </a:solidFill>
            <a:ln w="9525" cap="flat">
              <a:noFill/>
              <a:prstDash val="solid"/>
              <a:miter/>
            </a:ln>
          </p:spPr>
          <p:txBody>
            <a:bodyPr rtlCol="0" anchor="ctr"/>
            <a:lstStyle/>
            <a:p>
              <a:endParaRPr lang="pt-BR" noProof="0"/>
            </a:p>
          </p:txBody>
        </p:sp>
        <p:sp>
          <p:nvSpPr>
            <p:cNvPr id="25" name="Freeform: Shape 37">
              <a:extLst>
                <a:ext uri="{FF2B5EF4-FFF2-40B4-BE49-F238E27FC236}">
                  <a16:creationId xmlns:a16="http://schemas.microsoft.com/office/drawing/2014/main" id="{62710DCD-EAC0-129C-4EAD-B955853C43AB}"/>
                </a:ext>
              </a:extLst>
            </p:cNvPr>
            <p:cNvSpPr/>
            <p:nvPr/>
          </p:nvSpPr>
          <p:spPr>
            <a:xfrm>
              <a:off x="5522205" y="901353"/>
              <a:ext cx="58567" cy="83182"/>
            </a:xfrm>
            <a:custGeom>
              <a:avLst/>
              <a:gdLst>
                <a:gd name="connsiteX0" fmla="*/ 110204 w 232981"/>
                <a:gd name="connsiteY0" fmla="*/ 330898 h 330898"/>
                <a:gd name="connsiteX1" fmla="*/ 69628 w 232981"/>
                <a:gd name="connsiteY1" fmla="*/ 322897 h 330898"/>
                <a:gd name="connsiteX2" fmla="*/ 34385 w 232981"/>
                <a:gd name="connsiteY2" fmla="*/ 299466 h 330898"/>
                <a:gd name="connsiteX3" fmla="*/ 9334 w 232981"/>
                <a:gd name="connsiteY3" fmla="*/ 261938 h 330898"/>
                <a:gd name="connsiteX4" fmla="*/ 0 w 232981"/>
                <a:gd name="connsiteY4" fmla="*/ 211264 h 330898"/>
                <a:gd name="connsiteX5" fmla="*/ 0 w 232981"/>
                <a:gd name="connsiteY5" fmla="*/ 210407 h 330898"/>
                <a:gd name="connsiteX6" fmla="*/ 9334 w 232981"/>
                <a:gd name="connsiteY6" fmla="*/ 159925 h 330898"/>
                <a:gd name="connsiteX7" fmla="*/ 34385 w 232981"/>
                <a:gd name="connsiteY7" fmla="*/ 122206 h 330898"/>
                <a:gd name="connsiteX8" fmla="*/ 69628 w 232981"/>
                <a:gd name="connsiteY8" fmla="*/ 98488 h 330898"/>
                <a:gd name="connsiteX9" fmla="*/ 110204 w 232981"/>
                <a:gd name="connsiteY9" fmla="*/ 90202 h 330898"/>
                <a:gd name="connsiteX10" fmla="*/ 139636 w 232981"/>
                <a:gd name="connsiteY10" fmla="*/ 94202 h 330898"/>
                <a:gd name="connsiteX11" fmla="*/ 163735 w 232981"/>
                <a:gd name="connsiteY11" fmla="*/ 104870 h 330898"/>
                <a:gd name="connsiteX12" fmla="*/ 183166 w 232981"/>
                <a:gd name="connsiteY12" fmla="*/ 120491 h 330898"/>
                <a:gd name="connsiteX13" fmla="*/ 198596 w 232981"/>
                <a:gd name="connsiteY13" fmla="*/ 139255 h 330898"/>
                <a:gd name="connsiteX14" fmla="*/ 198596 w 232981"/>
                <a:gd name="connsiteY14" fmla="*/ 0 h 330898"/>
                <a:gd name="connsiteX15" fmla="*/ 232981 w 232981"/>
                <a:gd name="connsiteY15" fmla="*/ 0 h 330898"/>
                <a:gd name="connsiteX16" fmla="*/ 232981 w 232981"/>
                <a:gd name="connsiteY16" fmla="*/ 325850 h 330898"/>
                <a:gd name="connsiteX17" fmla="*/ 198596 w 232981"/>
                <a:gd name="connsiteY17" fmla="*/ 325850 h 330898"/>
                <a:gd name="connsiteX18" fmla="*/ 198596 w 232981"/>
                <a:gd name="connsiteY18" fmla="*/ 279463 h 330898"/>
                <a:gd name="connsiteX19" fmla="*/ 182785 w 232981"/>
                <a:gd name="connsiteY19" fmla="*/ 299085 h 330898"/>
                <a:gd name="connsiteX20" fmla="*/ 163354 w 232981"/>
                <a:gd name="connsiteY20" fmla="*/ 315658 h 330898"/>
                <a:gd name="connsiteX21" fmla="*/ 139446 w 232981"/>
                <a:gd name="connsiteY21" fmla="*/ 326803 h 330898"/>
                <a:gd name="connsiteX22" fmla="*/ 110204 w 232981"/>
                <a:gd name="connsiteY22" fmla="*/ 330803 h 330898"/>
                <a:gd name="connsiteX23" fmla="*/ 116491 w 232981"/>
                <a:gd name="connsiteY23" fmla="*/ 300133 h 330898"/>
                <a:gd name="connsiteX24" fmla="*/ 147542 w 232981"/>
                <a:gd name="connsiteY24" fmla="*/ 293656 h 330898"/>
                <a:gd name="connsiteX25" fmla="*/ 174307 w 232981"/>
                <a:gd name="connsiteY25" fmla="*/ 275368 h 330898"/>
                <a:gd name="connsiteX26" fmla="*/ 193072 w 232981"/>
                <a:gd name="connsiteY26" fmla="*/ 247269 h 330898"/>
                <a:gd name="connsiteX27" fmla="*/ 200025 w 232981"/>
                <a:gd name="connsiteY27" fmla="*/ 210883 h 330898"/>
                <a:gd name="connsiteX28" fmla="*/ 200025 w 232981"/>
                <a:gd name="connsiteY28" fmla="*/ 210026 h 330898"/>
                <a:gd name="connsiteX29" fmla="*/ 193072 w 232981"/>
                <a:gd name="connsiteY29" fmla="*/ 173641 h 330898"/>
                <a:gd name="connsiteX30" fmla="*/ 174307 w 232981"/>
                <a:gd name="connsiteY30" fmla="*/ 145732 h 330898"/>
                <a:gd name="connsiteX31" fmla="*/ 147542 w 232981"/>
                <a:gd name="connsiteY31" fmla="*/ 127635 h 330898"/>
                <a:gd name="connsiteX32" fmla="*/ 116491 w 232981"/>
                <a:gd name="connsiteY32" fmla="*/ 121158 h 330898"/>
                <a:gd name="connsiteX33" fmla="*/ 84772 w 232981"/>
                <a:gd name="connsiteY33" fmla="*/ 127159 h 330898"/>
                <a:gd name="connsiteX34" fmla="*/ 59150 w 232981"/>
                <a:gd name="connsiteY34" fmla="*/ 144589 h 330898"/>
                <a:gd name="connsiteX35" fmla="*/ 41719 w 232981"/>
                <a:gd name="connsiteY35" fmla="*/ 172498 h 330898"/>
                <a:gd name="connsiteX36" fmla="*/ 35242 w 232981"/>
                <a:gd name="connsiteY36" fmla="*/ 210026 h 330898"/>
                <a:gd name="connsiteX37" fmla="*/ 35242 w 232981"/>
                <a:gd name="connsiteY37" fmla="*/ 210883 h 330898"/>
                <a:gd name="connsiteX38" fmla="*/ 41719 w 232981"/>
                <a:gd name="connsiteY38" fmla="*/ 247936 h 330898"/>
                <a:gd name="connsiteX39" fmla="*/ 59341 w 232981"/>
                <a:gd name="connsiteY39" fmla="*/ 276034 h 330898"/>
                <a:gd name="connsiteX40" fmla="*/ 85249 w 232981"/>
                <a:gd name="connsiteY40" fmla="*/ 293941 h 330898"/>
                <a:gd name="connsiteX41" fmla="*/ 116491 w 23298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30898">
                  <a:moveTo>
                    <a:pt x="110204" y="330898"/>
                  </a:moveTo>
                  <a:cubicBezTo>
                    <a:pt x="96202" y="330898"/>
                    <a:pt x="82677" y="328231"/>
                    <a:pt x="69628" y="322897"/>
                  </a:cubicBezTo>
                  <a:cubicBezTo>
                    <a:pt x="56578" y="317563"/>
                    <a:pt x="44767" y="309753"/>
                    <a:pt x="34385" y="299466"/>
                  </a:cubicBezTo>
                  <a:cubicBezTo>
                    <a:pt x="24003" y="289179"/>
                    <a:pt x="15621" y="276701"/>
                    <a:pt x="9334" y="261938"/>
                  </a:cubicBezTo>
                  <a:cubicBezTo>
                    <a:pt x="3048" y="247174"/>
                    <a:pt x="0" y="230314"/>
                    <a:pt x="0" y="211264"/>
                  </a:cubicBezTo>
                  <a:lnTo>
                    <a:pt x="0" y="210407"/>
                  </a:lnTo>
                  <a:cubicBezTo>
                    <a:pt x="0" y="191643"/>
                    <a:pt x="3143" y="174879"/>
                    <a:pt x="9334" y="159925"/>
                  </a:cubicBezTo>
                  <a:cubicBezTo>
                    <a:pt x="15621" y="145066"/>
                    <a:pt x="23908" y="132493"/>
                    <a:pt x="34385" y="122206"/>
                  </a:cubicBezTo>
                  <a:cubicBezTo>
                    <a:pt x="44767" y="111919"/>
                    <a:pt x="56578" y="104013"/>
                    <a:pt x="69628" y="98488"/>
                  </a:cubicBezTo>
                  <a:cubicBezTo>
                    <a:pt x="82677" y="92964"/>
                    <a:pt x="96298" y="90202"/>
                    <a:pt x="110204" y="90202"/>
                  </a:cubicBezTo>
                  <a:cubicBezTo>
                    <a:pt x="120967" y="90202"/>
                    <a:pt x="130778" y="91535"/>
                    <a:pt x="139636" y="94202"/>
                  </a:cubicBezTo>
                  <a:cubicBezTo>
                    <a:pt x="148590" y="96869"/>
                    <a:pt x="156591" y="100489"/>
                    <a:pt x="163735" y="104870"/>
                  </a:cubicBezTo>
                  <a:cubicBezTo>
                    <a:pt x="170878" y="109347"/>
                    <a:pt x="177356" y="114586"/>
                    <a:pt x="183166" y="120491"/>
                  </a:cubicBezTo>
                  <a:cubicBezTo>
                    <a:pt x="188976" y="126492"/>
                    <a:pt x="194119" y="132683"/>
                    <a:pt x="198596" y="139255"/>
                  </a:cubicBezTo>
                  <a:lnTo>
                    <a:pt x="198596" y="0"/>
                  </a:lnTo>
                  <a:lnTo>
                    <a:pt x="232981" y="0"/>
                  </a:lnTo>
                  <a:lnTo>
                    <a:pt x="232981" y="325850"/>
                  </a:lnTo>
                  <a:lnTo>
                    <a:pt x="198596" y="325850"/>
                  </a:lnTo>
                  <a:lnTo>
                    <a:pt x="198596" y="279463"/>
                  </a:lnTo>
                  <a:cubicBezTo>
                    <a:pt x="193834" y="286321"/>
                    <a:pt x="188595" y="292894"/>
                    <a:pt x="182785" y="299085"/>
                  </a:cubicBezTo>
                  <a:cubicBezTo>
                    <a:pt x="176974" y="305371"/>
                    <a:pt x="170498" y="310896"/>
                    <a:pt x="163354" y="315658"/>
                  </a:cubicBezTo>
                  <a:cubicBezTo>
                    <a:pt x="156210" y="320421"/>
                    <a:pt x="148209" y="324136"/>
                    <a:pt x="139446" y="326803"/>
                  </a:cubicBezTo>
                  <a:cubicBezTo>
                    <a:pt x="130683" y="329470"/>
                    <a:pt x="120967" y="330803"/>
                    <a:pt x="110204" y="330803"/>
                  </a:cubicBezTo>
                  <a:close/>
                  <a:moveTo>
                    <a:pt x="116491" y="300133"/>
                  </a:moveTo>
                  <a:cubicBezTo>
                    <a:pt x="127159" y="300133"/>
                    <a:pt x="137541" y="297942"/>
                    <a:pt x="147542" y="293656"/>
                  </a:cubicBezTo>
                  <a:cubicBezTo>
                    <a:pt x="157544" y="289369"/>
                    <a:pt x="166402" y="283273"/>
                    <a:pt x="174307" y="275368"/>
                  </a:cubicBezTo>
                  <a:cubicBezTo>
                    <a:pt x="182213" y="267462"/>
                    <a:pt x="188404" y="258127"/>
                    <a:pt x="193072" y="247269"/>
                  </a:cubicBezTo>
                  <a:cubicBezTo>
                    <a:pt x="197644" y="236410"/>
                    <a:pt x="200025" y="224314"/>
                    <a:pt x="200025" y="210883"/>
                  </a:cubicBezTo>
                  <a:lnTo>
                    <a:pt x="200025" y="210026"/>
                  </a:lnTo>
                  <a:cubicBezTo>
                    <a:pt x="200025" y="196596"/>
                    <a:pt x="197739" y="184499"/>
                    <a:pt x="193072" y="173641"/>
                  </a:cubicBezTo>
                  <a:cubicBezTo>
                    <a:pt x="188500" y="162782"/>
                    <a:pt x="182213" y="153448"/>
                    <a:pt x="174307" y="145732"/>
                  </a:cubicBezTo>
                  <a:cubicBezTo>
                    <a:pt x="166402" y="138017"/>
                    <a:pt x="157448" y="132016"/>
                    <a:pt x="147542" y="127635"/>
                  </a:cubicBezTo>
                  <a:cubicBezTo>
                    <a:pt x="137541" y="123349"/>
                    <a:pt x="127254" y="121158"/>
                    <a:pt x="116491" y="121158"/>
                  </a:cubicBezTo>
                  <a:cubicBezTo>
                    <a:pt x="105156" y="121158"/>
                    <a:pt x="94583" y="123158"/>
                    <a:pt x="84772" y="127159"/>
                  </a:cubicBezTo>
                  <a:cubicBezTo>
                    <a:pt x="74962" y="131159"/>
                    <a:pt x="66389" y="136969"/>
                    <a:pt x="59150" y="144589"/>
                  </a:cubicBezTo>
                  <a:cubicBezTo>
                    <a:pt x="51816" y="152114"/>
                    <a:pt x="46101" y="161449"/>
                    <a:pt x="41719" y="172498"/>
                  </a:cubicBezTo>
                  <a:cubicBezTo>
                    <a:pt x="37433" y="183451"/>
                    <a:pt x="35242" y="196024"/>
                    <a:pt x="35242" y="210026"/>
                  </a:cubicBezTo>
                  <a:lnTo>
                    <a:pt x="35242" y="210883"/>
                  </a:lnTo>
                  <a:cubicBezTo>
                    <a:pt x="35242" y="224599"/>
                    <a:pt x="37433" y="236982"/>
                    <a:pt x="41719" y="247936"/>
                  </a:cubicBezTo>
                  <a:cubicBezTo>
                    <a:pt x="46006" y="258984"/>
                    <a:pt x="51911" y="268319"/>
                    <a:pt x="59341" y="276034"/>
                  </a:cubicBezTo>
                  <a:cubicBezTo>
                    <a:pt x="66770" y="283750"/>
                    <a:pt x="75438" y="289750"/>
                    <a:pt x="85249" y="293941"/>
                  </a:cubicBezTo>
                  <a:cubicBezTo>
                    <a:pt x="95059" y="298132"/>
                    <a:pt x="105442" y="300228"/>
                    <a:pt x="116491" y="300228"/>
                  </a:cubicBezTo>
                  <a:close/>
                </a:path>
              </a:pathLst>
            </a:custGeom>
            <a:solidFill>
              <a:srgbClr val="44505E"/>
            </a:solidFill>
            <a:ln w="9525" cap="flat">
              <a:noFill/>
              <a:prstDash val="solid"/>
              <a:miter/>
            </a:ln>
          </p:spPr>
          <p:txBody>
            <a:bodyPr rtlCol="0" anchor="ctr"/>
            <a:lstStyle/>
            <a:p>
              <a:endParaRPr lang="pt-BR" noProof="0"/>
            </a:p>
          </p:txBody>
        </p:sp>
        <p:sp>
          <p:nvSpPr>
            <p:cNvPr id="26" name="Freeform: Shape 38">
              <a:extLst>
                <a:ext uri="{FF2B5EF4-FFF2-40B4-BE49-F238E27FC236}">
                  <a16:creationId xmlns:a16="http://schemas.microsoft.com/office/drawing/2014/main" id="{EF0B1A9F-2AB1-15CE-6090-85EDB9A2F47A}"/>
                </a:ext>
              </a:extLst>
            </p:cNvPr>
            <p:cNvSpPr/>
            <p:nvPr/>
          </p:nvSpPr>
          <p:spPr>
            <a:xfrm>
              <a:off x="5596504"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6963 w 218217"/>
                <a:gd name="connsiteY3" fmla="*/ 206026 h 241077"/>
                <a:gd name="connsiteX4" fmla="*/ 116015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8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1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452 w 218217"/>
                <a:gd name="connsiteY25" fmla="*/ 106299 h 241077"/>
                <a:gd name="connsiteX26" fmla="*/ 176784 w 218217"/>
                <a:gd name="connsiteY26" fmla="*/ 76771 h 241077"/>
                <a:gd name="connsiteX27" fmla="*/ 162306 w 218217"/>
                <a:gd name="connsiteY27" fmla="*/ 52101 h 241077"/>
                <a:gd name="connsiteX28" fmla="*/ 140018 w 218217"/>
                <a:gd name="connsiteY28" fmla="*/ 35242 h 241077"/>
                <a:gd name="connsiteX29" fmla="*/ 109919 w 218217"/>
                <a:gd name="connsiteY29" fmla="*/ 29051 h 241077"/>
                <a:gd name="connsiteX30" fmla="*/ 82201 w 218217"/>
                <a:gd name="connsiteY30" fmla="*/ 34766 h 241077"/>
                <a:gd name="connsiteX31" fmla="*/ 59436 w 218217"/>
                <a:gd name="connsiteY31" fmla="*/ 50959 h 241077"/>
                <a:gd name="connsiteX32" fmla="*/ 43148 w 218217"/>
                <a:gd name="connsiteY32" fmla="*/ 75628 h 241077"/>
                <a:gd name="connsiteX33" fmla="*/ 34862 w 218217"/>
                <a:gd name="connsiteY33" fmla="*/ 106204 h 241077"/>
                <a:gd name="connsiteX34" fmla="*/ 183547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724" y="202597"/>
                    <a:pt x="86963" y="206026"/>
                  </a:cubicBezTo>
                  <a:cubicBezTo>
                    <a:pt x="96203" y="209455"/>
                    <a:pt x="105823" y="211169"/>
                    <a:pt x="116015" y="211169"/>
                  </a:cubicBezTo>
                  <a:cubicBezTo>
                    <a:pt x="132112" y="211169"/>
                    <a:pt x="145828" y="208216"/>
                    <a:pt x="157353" y="202216"/>
                  </a:cubicBezTo>
                  <a:cubicBezTo>
                    <a:pt x="168783" y="196310"/>
                    <a:pt x="179261" y="188404"/>
                    <a:pt x="188786" y="178594"/>
                  </a:cubicBezTo>
                  <a:lnTo>
                    <a:pt x="210217" y="197834"/>
                  </a:lnTo>
                  <a:cubicBezTo>
                    <a:pt x="198596" y="210979"/>
                    <a:pt x="185357" y="221361"/>
                    <a:pt x="170498" y="229267"/>
                  </a:cubicBezTo>
                  <a:cubicBezTo>
                    <a:pt x="155639"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679" y="0"/>
                    <a:pt x="110681"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452" y="106299"/>
                  </a:moveTo>
                  <a:cubicBezTo>
                    <a:pt x="182594" y="95917"/>
                    <a:pt x="180308" y="86106"/>
                    <a:pt x="176784" y="76771"/>
                  </a:cubicBezTo>
                  <a:cubicBezTo>
                    <a:pt x="173165" y="67437"/>
                    <a:pt x="168402" y="59245"/>
                    <a:pt x="162306" y="52101"/>
                  </a:cubicBezTo>
                  <a:cubicBezTo>
                    <a:pt x="156210" y="44958"/>
                    <a:pt x="148781" y="39338"/>
                    <a:pt x="140018" y="35242"/>
                  </a:cubicBezTo>
                  <a:cubicBezTo>
                    <a:pt x="131254" y="31147"/>
                    <a:pt x="121158" y="29051"/>
                    <a:pt x="109919" y="29051"/>
                  </a:cubicBezTo>
                  <a:cubicBezTo>
                    <a:pt x="100108" y="29051"/>
                    <a:pt x="90869" y="30956"/>
                    <a:pt x="82201" y="34766"/>
                  </a:cubicBezTo>
                  <a:cubicBezTo>
                    <a:pt x="73533" y="38671"/>
                    <a:pt x="66008" y="44005"/>
                    <a:pt x="59436" y="50959"/>
                  </a:cubicBezTo>
                  <a:cubicBezTo>
                    <a:pt x="52864" y="57912"/>
                    <a:pt x="47435" y="66103"/>
                    <a:pt x="43148" y="75628"/>
                  </a:cubicBezTo>
                  <a:cubicBezTo>
                    <a:pt x="38862" y="85058"/>
                    <a:pt x="36100" y="95345"/>
                    <a:pt x="34862" y="106204"/>
                  </a:cubicBezTo>
                  <a:lnTo>
                    <a:pt x="183547" y="106204"/>
                  </a:lnTo>
                  <a:close/>
                </a:path>
              </a:pathLst>
            </a:custGeom>
            <a:solidFill>
              <a:srgbClr val="44505E"/>
            </a:solidFill>
            <a:ln w="9525" cap="flat">
              <a:noFill/>
              <a:prstDash val="solid"/>
              <a:miter/>
            </a:ln>
          </p:spPr>
          <p:txBody>
            <a:bodyPr rtlCol="0" anchor="ctr"/>
            <a:lstStyle/>
            <a:p>
              <a:endParaRPr lang="pt-BR" noProof="0"/>
            </a:p>
          </p:txBody>
        </p:sp>
        <p:sp>
          <p:nvSpPr>
            <p:cNvPr id="27" name="Freeform: Shape 39">
              <a:extLst>
                <a:ext uri="{FF2B5EF4-FFF2-40B4-BE49-F238E27FC236}">
                  <a16:creationId xmlns:a16="http://schemas.microsoft.com/office/drawing/2014/main" id="{CD159A13-817C-276D-4440-3D512D2851A9}"/>
                </a:ext>
              </a:extLst>
            </p:cNvPr>
            <p:cNvSpPr/>
            <p:nvPr/>
          </p:nvSpPr>
          <p:spPr>
            <a:xfrm>
              <a:off x="5661680" y="924268"/>
              <a:ext cx="44656" cy="60195"/>
            </a:xfrm>
            <a:custGeom>
              <a:avLst/>
              <a:gdLst>
                <a:gd name="connsiteX0" fmla="*/ 95536 w 177641"/>
                <a:gd name="connsiteY0" fmla="*/ 239268 h 239458"/>
                <a:gd name="connsiteX1" fmla="*/ 45053 w 177641"/>
                <a:gd name="connsiteY1" fmla="*/ 230124 h 239458"/>
                <a:gd name="connsiteX2" fmla="*/ 0 w 177641"/>
                <a:gd name="connsiteY2" fmla="*/ 205359 h 239458"/>
                <a:gd name="connsiteX3" fmla="*/ 17431 w 177641"/>
                <a:gd name="connsiteY3" fmla="*/ 180785 h 239458"/>
                <a:gd name="connsiteX4" fmla="*/ 56483 w 177641"/>
                <a:gd name="connsiteY4" fmla="*/ 202692 h 239458"/>
                <a:gd name="connsiteX5" fmla="*/ 97346 w 177641"/>
                <a:gd name="connsiteY5" fmla="*/ 210217 h 239458"/>
                <a:gd name="connsiteX6" fmla="*/ 131731 w 177641"/>
                <a:gd name="connsiteY6" fmla="*/ 200406 h 239458"/>
                <a:gd name="connsiteX7" fmla="*/ 145161 w 177641"/>
                <a:gd name="connsiteY7" fmla="*/ 173641 h 239458"/>
                <a:gd name="connsiteX8" fmla="*/ 145161 w 177641"/>
                <a:gd name="connsiteY8" fmla="*/ 172784 h 239458"/>
                <a:gd name="connsiteX9" fmla="*/ 140494 w 177641"/>
                <a:gd name="connsiteY9" fmla="*/ 158020 h 239458"/>
                <a:gd name="connsiteX10" fmla="*/ 127730 w 177641"/>
                <a:gd name="connsiteY10" fmla="*/ 147066 h 239458"/>
                <a:gd name="connsiteX11" fmla="*/ 109157 w 177641"/>
                <a:gd name="connsiteY11" fmla="*/ 138779 h 239458"/>
                <a:gd name="connsiteX12" fmla="*/ 87535 w 177641"/>
                <a:gd name="connsiteY12" fmla="*/ 132112 h 239458"/>
                <a:gd name="connsiteX13" fmla="*/ 60484 w 177641"/>
                <a:gd name="connsiteY13" fmla="*/ 123444 h 239458"/>
                <a:gd name="connsiteX14" fmla="*/ 35909 w 177641"/>
                <a:gd name="connsiteY14" fmla="*/ 111633 h 239458"/>
                <a:gd name="connsiteX15" fmla="*/ 18098 w 177641"/>
                <a:gd name="connsiteY15" fmla="*/ 93726 h 239458"/>
                <a:gd name="connsiteX16" fmla="*/ 11144 w 177641"/>
                <a:gd name="connsiteY16" fmla="*/ 66961 h 239458"/>
                <a:gd name="connsiteX17" fmla="*/ 11144 w 177641"/>
                <a:gd name="connsiteY17" fmla="*/ 66008 h 239458"/>
                <a:gd name="connsiteX18" fmla="*/ 16954 w 177641"/>
                <a:gd name="connsiteY18" fmla="*/ 39053 h 239458"/>
                <a:gd name="connsiteX19" fmla="*/ 33242 w 177641"/>
                <a:gd name="connsiteY19" fmla="*/ 18098 h 239458"/>
                <a:gd name="connsiteX20" fmla="*/ 58293 w 177641"/>
                <a:gd name="connsiteY20" fmla="*/ 4667 h 239458"/>
                <a:gd name="connsiteX21" fmla="*/ 89725 w 177641"/>
                <a:gd name="connsiteY21" fmla="*/ 0 h 239458"/>
                <a:gd name="connsiteX22" fmla="*/ 133064 w 177641"/>
                <a:gd name="connsiteY22" fmla="*/ 6953 h 239458"/>
                <a:gd name="connsiteX23" fmla="*/ 172784 w 177641"/>
                <a:gd name="connsiteY23" fmla="*/ 25527 h 239458"/>
                <a:gd name="connsiteX24" fmla="*/ 157163 w 177641"/>
                <a:gd name="connsiteY24" fmla="*/ 51435 h 239458"/>
                <a:gd name="connsiteX25" fmla="*/ 123444 w 177641"/>
                <a:gd name="connsiteY25" fmla="*/ 35147 h 239458"/>
                <a:gd name="connsiteX26" fmla="*/ 88868 w 177641"/>
                <a:gd name="connsiteY26" fmla="*/ 29146 h 239458"/>
                <a:gd name="connsiteX27" fmla="*/ 56293 w 177641"/>
                <a:gd name="connsiteY27" fmla="*/ 38767 h 239458"/>
                <a:gd name="connsiteX28" fmla="*/ 44196 w 177641"/>
                <a:gd name="connsiteY28" fmla="*/ 62675 h 239458"/>
                <a:gd name="connsiteX29" fmla="*/ 44196 w 177641"/>
                <a:gd name="connsiteY29" fmla="*/ 63627 h 239458"/>
                <a:gd name="connsiteX30" fmla="*/ 49149 w 177641"/>
                <a:gd name="connsiteY30" fmla="*/ 77724 h 239458"/>
                <a:gd name="connsiteX31" fmla="*/ 62294 w 177641"/>
                <a:gd name="connsiteY31" fmla="*/ 88202 h 239458"/>
                <a:gd name="connsiteX32" fmla="*/ 81248 w 177641"/>
                <a:gd name="connsiteY32" fmla="*/ 96203 h 239458"/>
                <a:gd name="connsiteX33" fmla="*/ 103537 w 177641"/>
                <a:gd name="connsiteY33" fmla="*/ 103346 h 239458"/>
                <a:gd name="connsiteX34" fmla="*/ 130112 w 177641"/>
                <a:gd name="connsiteY34" fmla="*/ 112300 h 239458"/>
                <a:gd name="connsiteX35" fmla="*/ 154019 w 177641"/>
                <a:gd name="connsiteY35" fmla="*/ 124778 h 239458"/>
                <a:gd name="connsiteX36" fmla="*/ 171164 w 177641"/>
                <a:gd name="connsiteY36" fmla="*/ 143066 h 239458"/>
                <a:gd name="connsiteX37" fmla="*/ 177641 w 177641"/>
                <a:gd name="connsiteY37" fmla="*/ 169450 h 239458"/>
                <a:gd name="connsiteX38" fmla="*/ 177641 w 177641"/>
                <a:gd name="connsiteY38" fmla="*/ 170307 h 239458"/>
                <a:gd name="connsiteX39" fmla="*/ 171164 w 177641"/>
                <a:gd name="connsiteY39" fmla="*/ 199549 h 239458"/>
                <a:gd name="connsiteX40" fmla="*/ 153734 w 177641"/>
                <a:gd name="connsiteY40" fmla="*/ 221171 h 239458"/>
                <a:gd name="connsiteX41" fmla="*/ 127825 w 177641"/>
                <a:gd name="connsiteY41" fmla="*/ 234791 h 239458"/>
                <a:gd name="connsiteX42" fmla="*/ 95441 w 177641"/>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641" h="239458">
                  <a:moveTo>
                    <a:pt x="95536" y="239268"/>
                  </a:moveTo>
                  <a:cubicBezTo>
                    <a:pt x="78867" y="239268"/>
                    <a:pt x="62008" y="236220"/>
                    <a:pt x="45053" y="230124"/>
                  </a:cubicBezTo>
                  <a:cubicBezTo>
                    <a:pt x="28099" y="224028"/>
                    <a:pt x="13049" y="215741"/>
                    <a:pt x="0" y="205359"/>
                  </a:cubicBezTo>
                  <a:lnTo>
                    <a:pt x="17431" y="180785"/>
                  </a:lnTo>
                  <a:cubicBezTo>
                    <a:pt x="29908"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542" y="162211"/>
                    <a:pt x="140494" y="158020"/>
                  </a:cubicBezTo>
                  <a:cubicBezTo>
                    <a:pt x="137350" y="153829"/>
                    <a:pt x="133160" y="150209"/>
                    <a:pt x="127730" y="147066"/>
                  </a:cubicBezTo>
                  <a:cubicBezTo>
                    <a:pt x="122396" y="143923"/>
                    <a:pt x="116205" y="141161"/>
                    <a:pt x="109157" y="138779"/>
                  </a:cubicBezTo>
                  <a:cubicBezTo>
                    <a:pt x="102203" y="136398"/>
                    <a:pt x="94964" y="134207"/>
                    <a:pt x="87535" y="132112"/>
                  </a:cubicBezTo>
                  <a:cubicBezTo>
                    <a:pt x="78581" y="129445"/>
                    <a:pt x="69628" y="126492"/>
                    <a:pt x="60484" y="123444"/>
                  </a:cubicBezTo>
                  <a:cubicBezTo>
                    <a:pt x="51435" y="120301"/>
                    <a:pt x="43244" y="116396"/>
                    <a:pt x="35909" y="111633"/>
                  </a:cubicBezTo>
                  <a:cubicBezTo>
                    <a:pt x="28575" y="106871"/>
                    <a:pt x="22670" y="100870"/>
                    <a:pt x="18098" y="93726"/>
                  </a:cubicBezTo>
                  <a:cubicBezTo>
                    <a:pt x="13525" y="86582"/>
                    <a:pt x="11144" y="77629"/>
                    <a:pt x="11144" y="66961"/>
                  </a:cubicBezTo>
                  <a:lnTo>
                    <a:pt x="11144" y="66008"/>
                  </a:lnTo>
                  <a:cubicBezTo>
                    <a:pt x="11144" y="56198"/>
                    <a:pt x="13049" y="47149"/>
                    <a:pt x="16954" y="39053"/>
                  </a:cubicBezTo>
                  <a:cubicBezTo>
                    <a:pt x="20860" y="30861"/>
                    <a:pt x="26289" y="23908"/>
                    <a:pt x="33242" y="18098"/>
                  </a:cubicBezTo>
                  <a:cubicBezTo>
                    <a:pt x="40196" y="12287"/>
                    <a:pt x="48578" y="7811"/>
                    <a:pt x="58293" y="4667"/>
                  </a:cubicBezTo>
                  <a:cubicBezTo>
                    <a:pt x="67913" y="1524"/>
                    <a:pt x="78486" y="0"/>
                    <a:pt x="89725" y="0"/>
                  </a:cubicBezTo>
                  <a:cubicBezTo>
                    <a:pt x="104013" y="0"/>
                    <a:pt x="118396" y="2286"/>
                    <a:pt x="133064" y="6953"/>
                  </a:cubicBezTo>
                  <a:cubicBezTo>
                    <a:pt x="147638" y="11621"/>
                    <a:pt x="160877" y="17717"/>
                    <a:pt x="172784" y="25527"/>
                  </a:cubicBezTo>
                  <a:lnTo>
                    <a:pt x="157163" y="51435"/>
                  </a:lnTo>
                  <a:cubicBezTo>
                    <a:pt x="146399" y="44577"/>
                    <a:pt x="135255" y="39148"/>
                    <a:pt x="123444" y="35147"/>
                  </a:cubicBezTo>
                  <a:cubicBezTo>
                    <a:pt x="111728" y="31147"/>
                    <a:pt x="100203" y="29146"/>
                    <a:pt x="88868" y="29146"/>
                  </a:cubicBezTo>
                  <a:cubicBezTo>
                    <a:pt x="75152" y="29146"/>
                    <a:pt x="64294" y="32385"/>
                    <a:pt x="56293" y="38767"/>
                  </a:cubicBezTo>
                  <a:cubicBezTo>
                    <a:pt x="48292" y="45149"/>
                    <a:pt x="44196" y="53150"/>
                    <a:pt x="44196" y="62675"/>
                  </a:cubicBezTo>
                  <a:lnTo>
                    <a:pt x="44196" y="63627"/>
                  </a:lnTo>
                  <a:cubicBezTo>
                    <a:pt x="44196" y="68961"/>
                    <a:pt x="45815" y="73628"/>
                    <a:pt x="49149" y="77724"/>
                  </a:cubicBezTo>
                  <a:cubicBezTo>
                    <a:pt x="52388" y="81725"/>
                    <a:pt x="56769" y="85249"/>
                    <a:pt x="62294" y="88202"/>
                  </a:cubicBezTo>
                  <a:cubicBezTo>
                    <a:pt x="67818" y="91154"/>
                    <a:pt x="74104" y="93821"/>
                    <a:pt x="81248" y="96203"/>
                  </a:cubicBezTo>
                  <a:cubicBezTo>
                    <a:pt x="88392" y="98584"/>
                    <a:pt x="95821" y="100965"/>
                    <a:pt x="103537" y="103346"/>
                  </a:cubicBezTo>
                  <a:cubicBezTo>
                    <a:pt x="112490" y="106013"/>
                    <a:pt x="121349" y="108966"/>
                    <a:pt x="130112" y="112300"/>
                  </a:cubicBezTo>
                  <a:cubicBezTo>
                    <a:pt x="138875" y="115538"/>
                    <a:pt x="146875" y="119729"/>
                    <a:pt x="154019" y="124778"/>
                  </a:cubicBezTo>
                  <a:cubicBezTo>
                    <a:pt x="161163" y="129826"/>
                    <a:pt x="166878" y="135922"/>
                    <a:pt x="171164" y="143066"/>
                  </a:cubicBezTo>
                  <a:cubicBezTo>
                    <a:pt x="175450" y="150209"/>
                    <a:pt x="177641" y="158972"/>
                    <a:pt x="177641" y="169450"/>
                  </a:cubicBezTo>
                  <a:lnTo>
                    <a:pt x="177641" y="170307"/>
                  </a:lnTo>
                  <a:cubicBezTo>
                    <a:pt x="177641" y="181356"/>
                    <a:pt x="175450" y="191071"/>
                    <a:pt x="171164" y="199549"/>
                  </a:cubicBezTo>
                  <a:cubicBezTo>
                    <a:pt x="166878" y="208026"/>
                    <a:pt x="161068" y="215265"/>
                    <a:pt x="153734" y="221171"/>
                  </a:cubicBezTo>
                  <a:cubicBezTo>
                    <a:pt x="146495" y="227171"/>
                    <a:pt x="137827" y="231648"/>
                    <a:pt x="127825" y="234791"/>
                  </a:cubicBezTo>
                  <a:cubicBezTo>
                    <a:pt x="117824" y="237935"/>
                    <a:pt x="107061" y="239459"/>
                    <a:pt x="95441" y="239459"/>
                  </a:cubicBezTo>
                  <a:close/>
                </a:path>
              </a:pathLst>
            </a:custGeom>
            <a:solidFill>
              <a:srgbClr val="44505E"/>
            </a:solidFill>
            <a:ln w="9525" cap="flat">
              <a:noFill/>
              <a:prstDash val="solid"/>
              <a:miter/>
            </a:ln>
          </p:spPr>
          <p:txBody>
            <a:bodyPr rtlCol="0" anchor="ctr"/>
            <a:lstStyle/>
            <a:p>
              <a:endParaRPr lang="pt-BR" noProof="0"/>
            </a:p>
          </p:txBody>
        </p:sp>
        <p:sp>
          <p:nvSpPr>
            <p:cNvPr id="28" name="Freeform: Shape 40">
              <a:extLst>
                <a:ext uri="{FF2B5EF4-FFF2-40B4-BE49-F238E27FC236}">
                  <a16:creationId xmlns:a16="http://schemas.microsoft.com/office/drawing/2014/main" id="{B1D8FBFE-EBAD-BA54-F0A5-217DEC9F16B0}"/>
                </a:ext>
              </a:extLst>
            </p:cNvPr>
            <p:cNvSpPr/>
            <p:nvPr/>
          </p:nvSpPr>
          <p:spPr>
            <a:xfrm>
              <a:off x="5752668" y="924028"/>
              <a:ext cx="58567" cy="77196"/>
            </a:xfrm>
            <a:custGeom>
              <a:avLst/>
              <a:gdLst>
                <a:gd name="connsiteX0" fmla="*/ 198596 w 232981"/>
                <a:gd name="connsiteY0" fmla="*/ 189357 h 307085"/>
                <a:gd name="connsiteX1" fmla="*/ 182785 w 232981"/>
                <a:gd name="connsiteY1" fmla="*/ 208978 h 307085"/>
                <a:gd name="connsiteX2" fmla="*/ 163354 w 232981"/>
                <a:gd name="connsiteY2" fmla="*/ 225552 h 307085"/>
                <a:gd name="connsiteX3" fmla="*/ 139446 w 232981"/>
                <a:gd name="connsiteY3" fmla="*/ 236696 h 307085"/>
                <a:gd name="connsiteX4" fmla="*/ 110204 w 232981"/>
                <a:gd name="connsiteY4" fmla="*/ 240697 h 307085"/>
                <a:gd name="connsiteX5" fmla="*/ 69628 w 232981"/>
                <a:gd name="connsiteY5" fmla="*/ 232696 h 307085"/>
                <a:gd name="connsiteX6" fmla="*/ 34385 w 232981"/>
                <a:gd name="connsiteY6" fmla="*/ 209264 h 307085"/>
                <a:gd name="connsiteX7" fmla="*/ 9335 w 232981"/>
                <a:gd name="connsiteY7" fmla="*/ 171736 h 307085"/>
                <a:gd name="connsiteX8" fmla="*/ 0 w 232981"/>
                <a:gd name="connsiteY8" fmla="*/ 121063 h 307085"/>
                <a:gd name="connsiteX9" fmla="*/ 0 w 232981"/>
                <a:gd name="connsiteY9" fmla="*/ 120205 h 307085"/>
                <a:gd name="connsiteX10" fmla="*/ 9335 w 232981"/>
                <a:gd name="connsiteY10" fmla="*/ 69723 h 307085"/>
                <a:gd name="connsiteX11" fmla="*/ 34385 w 232981"/>
                <a:gd name="connsiteY11" fmla="*/ 32004 h 307085"/>
                <a:gd name="connsiteX12" fmla="*/ 69628 w 232981"/>
                <a:gd name="connsiteY12" fmla="*/ 8287 h 307085"/>
                <a:gd name="connsiteX13" fmla="*/ 110204 w 232981"/>
                <a:gd name="connsiteY13" fmla="*/ 0 h 307085"/>
                <a:gd name="connsiteX14" fmla="*/ 139637 w 232981"/>
                <a:gd name="connsiteY14" fmla="*/ 4000 h 307085"/>
                <a:gd name="connsiteX15" fmla="*/ 163735 w 232981"/>
                <a:gd name="connsiteY15" fmla="*/ 14668 h 307085"/>
                <a:gd name="connsiteX16" fmla="*/ 183166 w 232981"/>
                <a:gd name="connsiteY16" fmla="*/ 30289 h 307085"/>
                <a:gd name="connsiteX17" fmla="*/ 198596 w 232981"/>
                <a:gd name="connsiteY17" fmla="*/ 49054 h 307085"/>
                <a:gd name="connsiteX18" fmla="*/ 198596 w 232981"/>
                <a:gd name="connsiteY18" fmla="*/ 4858 h 307085"/>
                <a:gd name="connsiteX19" fmla="*/ 232982 w 232981"/>
                <a:gd name="connsiteY19" fmla="*/ 4858 h 307085"/>
                <a:gd name="connsiteX20" fmla="*/ 232982 w 232981"/>
                <a:gd name="connsiteY20" fmla="*/ 307086 h 307085"/>
                <a:gd name="connsiteX21" fmla="*/ 198596 w 232981"/>
                <a:gd name="connsiteY21" fmla="*/ 307086 h 307085"/>
                <a:gd name="connsiteX22" fmla="*/ 198596 w 232981"/>
                <a:gd name="connsiteY22" fmla="*/ 189262 h 307085"/>
                <a:gd name="connsiteX23" fmla="*/ 116491 w 232981"/>
                <a:gd name="connsiteY23" fmla="*/ 209931 h 307085"/>
                <a:gd name="connsiteX24" fmla="*/ 147542 w 232981"/>
                <a:gd name="connsiteY24" fmla="*/ 203454 h 307085"/>
                <a:gd name="connsiteX25" fmla="*/ 174308 w 232981"/>
                <a:gd name="connsiteY25" fmla="*/ 185166 h 307085"/>
                <a:gd name="connsiteX26" fmla="*/ 193072 w 232981"/>
                <a:gd name="connsiteY26" fmla="*/ 157067 h 307085"/>
                <a:gd name="connsiteX27" fmla="*/ 200025 w 232981"/>
                <a:gd name="connsiteY27" fmla="*/ 120682 h 307085"/>
                <a:gd name="connsiteX28" fmla="*/ 200025 w 232981"/>
                <a:gd name="connsiteY28" fmla="*/ 119824 h 307085"/>
                <a:gd name="connsiteX29" fmla="*/ 193072 w 232981"/>
                <a:gd name="connsiteY29" fmla="*/ 83439 h 307085"/>
                <a:gd name="connsiteX30" fmla="*/ 174308 w 232981"/>
                <a:gd name="connsiteY30" fmla="*/ 55531 h 307085"/>
                <a:gd name="connsiteX31" fmla="*/ 147542 w 232981"/>
                <a:gd name="connsiteY31" fmla="*/ 37433 h 307085"/>
                <a:gd name="connsiteX32" fmla="*/ 116491 w 232981"/>
                <a:gd name="connsiteY32" fmla="*/ 30956 h 307085"/>
                <a:gd name="connsiteX33" fmla="*/ 84773 w 232981"/>
                <a:gd name="connsiteY33" fmla="*/ 36957 h 307085"/>
                <a:gd name="connsiteX34" fmla="*/ 59150 w 232981"/>
                <a:gd name="connsiteY34" fmla="*/ 54388 h 307085"/>
                <a:gd name="connsiteX35" fmla="*/ 41720 w 232981"/>
                <a:gd name="connsiteY35" fmla="*/ 82296 h 307085"/>
                <a:gd name="connsiteX36" fmla="*/ 35242 w 232981"/>
                <a:gd name="connsiteY36" fmla="*/ 119824 h 307085"/>
                <a:gd name="connsiteX37" fmla="*/ 35242 w 232981"/>
                <a:gd name="connsiteY37" fmla="*/ 120682 h 307085"/>
                <a:gd name="connsiteX38" fmla="*/ 41720 w 232981"/>
                <a:gd name="connsiteY38" fmla="*/ 157734 h 307085"/>
                <a:gd name="connsiteX39" fmla="*/ 59341 w 232981"/>
                <a:gd name="connsiteY39" fmla="*/ 185833 h 307085"/>
                <a:gd name="connsiteX40" fmla="*/ 85249 w 232981"/>
                <a:gd name="connsiteY40" fmla="*/ 203740 h 307085"/>
                <a:gd name="connsiteX41" fmla="*/ 116491 w 232981"/>
                <a:gd name="connsiteY41" fmla="*/ 210026 h 30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07085">
                  <a:moveTo>
                    <a:pt x="198596" y="189357"/>
                  </a:moveTo>
                  <a:cubicBezTo>
                    <a:pt x="193834" y="196215"/>
                    <a:pt x="188595" y="202787"/>
                    <a:pt x="182785" y="208978"/>
                  </a:cubicBezTo>
                  <a:cubicBezTo>
                    <a:pt x="176975" y="215265"/>
                    <a:pt x="170498" y="220789"/>
                    <a:pt x="163354" y="225552"/>
                  </a:cubicBezTo>
                  <a:cubicBezTo>
                    <a:pt x="156210" y="230314"/>
                    <a:pt x="148209" y="234029"/>
                    <a:pt x="139446" y="236696"/>
                  </a:cubicBezTo>
                  <a:cubicBezTo>
                    <a:pt x="130683" y="239363"/>
                    <a:pt x="120967" y="240697"/>
                    <a:pt x="110204" y="240697"/>
                  </a:cubicBezTo>
                  <a:cubicBezTo>
                    <a:pt x="96203" y="240697"/>
                    <a:pt x="82677" y="238030"/>
                    <a:pt x="69628" y="232696"/>
                  </a:cubicBezTo>
                  <a:cubicBezTo>
                    <a:pt x="56579" y="227362"/>
                    <a:pt x="44767" y="219551"/>
                    <a:pt x="34385" y="209264"/>
                  </a:cubicBezTo>
                  <a:cubicBezTo>
                    <a:pt x="24003" y="198977"/>
                    <a:pt x="15621" y="186499"/>
                    <a:pt x="9335" y="171736"/>
                  </a:cubicBezTo>
                  <a:cubicBezTo>
                    <a:pt x="3048" y="156972"/>
                    <a:pt x="0" y="140113"/>
                    <a:pt x="0" y="121063"/>
                  </a:cubicBezTo>
                  <a:lnTo>
                    <a:pt x="0" y="120205"/>
                  </a:lnTo>
                  <a:cubicBezTo>
                    <a:pt x="0" y="101441"/>
                    <a:pt x="3143" y="84677"/>
                    <a:pt x="9335" y="69723"/>
                  </a:cubicBezTo>
                  <a:cubicBezTo>
                    <a:pt x="15621" y="54864"/>
                    <a:pt x="23908" y="42291"/>
                    <a:pt x="34385" y="32004"/>
                  </a:cubicBezTo>
                  <a:cubicBezTo>
                    <a:pt x="44767" y="21717"/>
                    <a:pt x="56579" y="13811"/>
                    <a:pt x="69628" y="8287"/>
                  </a:cubicBezTo>
                  <a:cubicBezTo>
                    <a:pt x="82677" y="2762"/>
                    <a:pt x="96298" y="0"/>
                    <a:pt x="110204" y="0"/>
                  </a:cubicBezTo>
                  <a:cubicBezTo>
                    <a:pt x="120967" y="0"/>
                    <a:pt x="130778" y="1333"/>
                    <a:pt x="139637" y="4000"/>
                  </a:cubicBezTo>
                  <a:cubicBezTo>
                    <a:pt x="148590" y="6667"/>
                    <a:pt x="156591" y="10287"/>
                    <a:pt x="163735" y="14668"/>
                  </a:cubicBezTo>
                  <a:cubicBezTo>
                    <a:pt x="170879" y="19145"/>
                    <a:pt x="177356" y="24384"/>
                    <a:pt x="183166" y="30289"/>
                  </a:cubicBezTo>
                  <a:cubicBezTo>
                    <a:pt x="188976" y="36290"/>
                    <a:pt x="194120" y="42481"/>
                    <a:pt x="198596" y="49054"/>
                  </a:cubicBezTo>
                  <a:lnTo>
                    <a:pt x="198596" y="4858"/>
                  </a:lnTo>
                  <a:lnTo>
                    <a:pt x="232982" y="4858"/>
                  </a:lnTo>
                  <a:lnTo>
                    <a:pt x="232982" y="307086"/>
                  </a:lnTo>
                  <a:lnTo>
                    <a:pt x="198596" y="307086"/>
                  </a:lnTo>
                  <a:lnTo>
                    <a:pt x="198596" y="189262"/>
                  </a:lnTo>
                  <a:close/>
                  <a:moveTo>
                    <a:pt x="116491" y="209931"/>
                  </a:moveTo>
                  <a:cubicBezTo>
                    <a:pt x="127159" y="209931"/>
                    <a:pt x="137541" y="207740"/>
                    <a:pt x="147542" y="203454"/>
                  </a:cubicBezTo>
                  <a:cubicBezTo>
                    <a:pt x="157544" y="199168"/>
                    <a:pt x="166402" y="193072"/>
                    <a:pt x="174308" y="185166"/>
                  </a:cubicBezTo>
                  <a:cubicBezTo>
                    <a:pt x="182213" y="177260"/>
                    <a:pt x="188404" y="167926"/>
                    <a:pt x="193072" y="157067"/>
                  </a:cubicBezTo>
                  <a:cubicBezTo>
                    <a:pt x="197739" y="146209"/>
                    <a:pt x="200025" y="134112"/>
                    <a:pt x="200025" y="120682"/>
                  </a:cubicBezTo>
                  <a:lnTo>
                    <a:pt x="200025" y="119824"/>
                  </a:lnTo>
                  <a:cubicBezTo>
                    <a:pt x="200025" y="106394"/>
                    <a:pt x="197739" y="94297"/>
                    <a:pt x="193072" y="83439"/>
                  </a:cubicBezTo>
                  <a:cubicBezTo>
                    <a:pt x="188500" y="72580"/>
                    <a:pt x="182213" y="63246"/>
                    <a:pt x="174308" y="55531"/>
                  </a:cubicBezTo>
                  <a:cubicBezTo>
                    <a:pt x="166402" y="47815"/>
                    <a:pt x="157544" y="41815"/>
                    <a:pt x="147542" y="37433"/>
                  </a:cubicBezTo>
                  <a:cubicBezTo>
                    <a:pt x="137541" y="33147"/>
                    <a:pt x="127254" y="30956"/>
                    <a:pt x="116491" y="30956"/>
                  </a:cubicBezTo>
                  <a:cubicBezTo>
                    <a:pt x="105156" y="30956"/>
                    <a:pt x="94583" y="32956"/>
                    <a:pt x="84773" y="36957"/>
                  </a:cubicBezTo>
                  <a:cubicBezTo>
                    <a:pt x="74962" y="40957"/>
                    <a:pt x="66389" y="46767"/>
                    <a:pt x="59150" y="54388"/>
                  </a:cubicBezTo>
                  <a:cubicBezTo>
                    <a:pt x="51816" y="61913"/>
                    <a:pt x="46101" y="71247"/>
                    <a:pt x="41720" y="82296"/>
                  </a:cubicBezTo>
                  <a:cubicBezTo>
                    <a:pt x="37433" y="93250"/>
                    <a:pt x="35242" y="105823"/>
                    <a:pt x="35242" y="119824"/>
                  </a:cubicBezTo>
                  <a:lnTo>
                    <a:pt x="35242" y="120682"/>
                  </a:lnTo>
                  <a:cubicBezTo>
                    <a:pt x="35242" y="134398"/>
                    <a:pt x="37433" y="146780"/>
                    <a:pt x="41720" y="157734"/>
                  </a:cubicBezTo>
                  <a:cubicBezTo>
                    <a:pt x="46006" y="168783"/>
                    <a:pt x="51911" y="178117"/>
                    <a:pt x="59341" y="185833"/>
                  </a:cubicBezTo>
                  <a:cubicBezTo>
                    <a:pt x="66770" y="193548"/>
                    <a:pt x="75438" y="199549"/>
                    <a:pt x="85249" y="203740"/>
                  </a:cubicBezTo>
                  <a:cubicBezTo>
                    <a:pt x="95060" y="207931"/>
                    <a:pt x="105442" y="210026"/>
                    <a:pt x="116491" y="210026"/>
                  </a:cubicBezTo>
                  <a:close/>
                </a:path>
              </a:pathLst>
            </a:custGeom>
            <a:solidFill>
              <a:srgbClr val="44505E"/>
            </a:solidFill>
            <a:ln w="9525" cap="flat">
              <a:noFill/>
              <a:prstDash val="solid"/>
              <a:miter/>
            </a:ln>
          </p:spPr>
          <p:txBody>
            <a:bodyPr rtlCol="0" anchor="ctr"/>
            <a:lstStyle/>
            <a:p>
              <a:endParaRPr lang="pt-BR" noProof="0"/>
            </a:p>
          </p:txBody>
        </p:sp>
        <p:sp>
          <p:nvSpPr>
            <p:cNvPr id="29" name="Freeform: Shape 41">
              <a:extLst>
                <a:ext uri="{FF2B5EF4-FFF2-40B4-BE49-F238E27FC236}">
                  <a16:creationId xmlns:a16="http://schemas.microsoft.com/office/drawing/2014/main" id="{174E6156-5647-0322-B8AA-077E85437BD1}"/>
                </a:ext>
              </a:extLst>
            </p:cNvPr>
            <p:cNvSpPr/>
            <p:nvPr/>
          </p:nvSpPr>
          <p:spPr>
            <a:xfrm>
              <a:off x="5829624" y="925297"/>
              <a:ext cx="50618" cy="59238"/>
            </a:xfrm>
            <a:custGeom>
              <a:avLst/>
              <a:gdLst>
                <a:gd name="connsiteX0" fmla="*/ 88392 w 201358"/>
                <a:gd name="connsiteY0" fmla="*/ 235648 h 235648"/>
                <a:gd name="connsiteX1" fmla="*/ 51149 w 201358"/>
                <a:gd name="connsiteY1" fmla="*/ 228981 h 235648"/>
                <a:gd name="connsiteX2" fmla="*/ 23432 w 201358"/>
                <a:gd name="connsiteY2" fmla="*/ 210026 h 235648"/>
                <a:gd name="connsiteX3" fmla="*/ 6001 w 201358"/>
                <a:gd name="connsiteY3" fmla="*/ 180784 h 235648"/>
                <a:gd name="connsiteX4" fmla="*/ 0 w 201358"/>
                <a:gd name="connsiteY4" fmla="*/ 143256 h 235648"/>
                <a:gd name="connsiteX5" fmla="*/ 0 w 201358"/>
                <a:gd name="connsiteY5" fmla="*/ 0 h 235648"/>
                <a:gd name="connsiteX6" fmla="*/ 34385 w 201358"/>
                <a:gd name="connsiteY6" fmla="*/ 0 h 235648"/>
                <a:gd name="connsiteX7" fmla="*/ 34385 w 201358"/>
                <a:gd name="connsiteY7" fmla="*/ 134493 h 235648"/>
                <a:gd name="connsiteX8" fmla="*/ 50959 w 201358"/>
                <a:gd name="connsiteY8" fmla="*/ 185261 h 235648"/>
                <a:gd name="connsiteX9" fmla="*/ 98298 w 201358"/>
                <a:gd name="connsiteY9" fmla="*/ 203930 h 235648"/>
                <a:gd name="connsiteX10" fmla="*/ 125730 w 201358"/>
                <a:gd name="connsiteY10" fmla="*/ 198787 h 235648"/>
                <a:gd name="connsiteX11" fmla="*/ 147638 w 201358"/>
                <a:gd name="connsiteY11" fmla="*/ 184118 h 235648"/>
                <a:gd name="connsiteX12" fmla="*/ 162116 w 201358"/>
                <a:gd name="connsiteY12" fmla="*/ 161163 h 235648"/>
                <a:gd name="connsiteX13" fmla="*/ 167450 w 201358"/>
                <a:gd name="connsiteY13" fmla="*/ 131826 h 235648"/>
                <a:gd name="connsiteX14" fmla="*/ 167450 w 201358"/>
                <a:gd name="connsiteY14" fmla="*/ 0 h 235648"/>
                <a:gd name="connsiteX15" fmla="*/ 201359 w 201358"/>
                <a:gd name="connsiteY15" fmla="*/ 0 h 235648"/>
                <a:gd name="connsiteX16" fmla="*/ 201359 w 201358"/>
                <a:gd name="connsiteY16" fmla="*/ 230791 h 235648"/>
                <a:gd name="connsiteX17" fmla="*/ 167450 w 201358"/>
                <a:gd name="connsiteY17" fmla="*/ 230791 h 235648"/>
                <a:gd name="connsiteX18" fmla="*/ 167450 w 201358"/>
                <a:gd name="connsiteY18" fmla="*/ 190595 h 235648"/>
                <a:gd name="connsiteX19" fmla="*/ 137065 w 201358"/>
                <a:gd name="connsiteY19" fmla="*/ 222504 h 235648"/>
                <a:gd name="connsiteX20" fmla="*/ 88392 w 201358"/>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358" h="235648">
                  <a:moveTo>
                    <a:pt x="88392" y="235648"/>
                  </a:moveTo>
                  <a:cubicBezTo>
                    <a:pt x="74390" y="235648"/>
                    <a:pt x="62008" y="233363"/>
                    <a:pt x="51149" y="228981"/>
                  </a:cubicBezTo>
                  <a:cubicBezTo>
                    <a:pt x="40291" y="224504"/>
                    <a:pt x="31052" y="218218"/>
                    <a:pt x="23432"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959" y="185261"/>
                  </a:cubicBezTo>
                  <a:cubicBezTo>
                    <a:pt x="61913" y="197739"/>
                    <a:pt x="77724" y="203930"/>
                    <a:pt x="98298" y="203930"/>
                  </a:cubicBezTo>
                  <a:cubicBezTo>
                    <a:pt x="108109" y="203930"/>
                    <a:pt x="117253" y="202216"/>
                    <a:pt x="125730" y="198787"/>
                  </a:cubicBezTo>
                  <a:cubicBezTo>
                    <a:pt x="134207" y="195358"/>
                    <a:pt x="141446" y="190500"/>
                    <a:pt x="147638" y="184118"/>
                  </a:cubicBezTo>
                  <a:cubicBezTo>
                    <a:pt x="153734" y="177736"/>
                    <a:pt x="158591" y="170116"/>
                    <a:pt x="162116" y="161163"/>
                  </a:cubicBezTo>
                  <a:cubicBezTo>
                    <a:pt x="165735" y="152305"/>
                    <a:pt x="167450" y="142494"/>
                    <a:pt x="167450" y="131826"/>
                  </a:cubicBezTo>
                  <a:lnTo>
                    <a:pt x="167450" y="0"/>
                  </a:lnTo>
                  <a:lnTo>
                    <a:pt x="201359" y="0"/>
                  </a:lnTo>
                  <a:lnTo>
                    <a:pt x="201359" y="230791"/>
                  </a:lnTo>
                  <a:lnTo>
                    <a:pt x="167450" y="230791"/>
                  </a:lnTo>
                  <a:lnTo>
                    <a:pt x="167450" y="190595"/>
                  </a:lnTo>
                  <a:cubicBezTo>
                    <a:pt x="159734" y="203073"/>
                    <a:pt x="149543" y="213741"/>
                    <a:pt x="137065" y="222504"/>
                  </a:cubicBezTo>
                  <a:cubicBezTo>
                    <a:pt x="124587" y="231267"/>
                    <a:pt x="108395" y="235648"/>
                    <a:pt x="88392" y="235648"/>
                  </a:cubicBezTo>
                  <a:close/>
                </a:path>
              </a:pathLst>
            </a:custGeom>
            <a:solidFill>
              <a:srgbClr val="44505E"/>
            </a:solidFill>
            <a:ln w="9525" cap="flat">
              <a:noFill/>
              <a:prstDash val="solid"/>
              <a:miter/>
            </a:ln>
          </p:spPr>
          <p:txBody>
            <a:bodyPr rtlCol="0" anchor="ctr"/>
            <a:lstStyle/>
            <a:p>
              <a:endParaRPr lang="pt-BR" noProof="0"/>
            </a:p>
          </p:txBody>
        </p:sp>
        <p:sp>
          <p:nvSpPr>
            <p:cNvPr id="30" name="Freeform: Shape 42">
              <a:extLst>
                <a:ext uri="{FF2B5EF4-FFF2-40B4-BE49-F238E27FC236}">
                  <a16:creationId xmlns:a16="http://schemas.microsoft.com/office/drawing/2014/main" id="{00C22360-49C5-B6F3-A14B-EDE9902D16D4}"/>
                </a:ext>
              </a:extLst>
            </p:cNvPr>
            <p:cNvSpPr/>
            <p:nvPr/>
          </p:nvSpPr>
          <p:spPr>
            <a:xfrm>
              <a:off x="5896069"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7059 w 218217"/>
                <a:gd name="connsiteY3" fmla="*/ 206026 h 241077"/>
                <a:gd name="connsiteX4" fmla="*/ 116110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7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0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356 w 218217"/>
                <a:gd name="connsiteY25" fmla="*/ 106299 h 241077"/>
                <a:gd name="connsiteX26" fmla="*/ 176689 w 218217"/>
                <a:gd name="connsiteY26" fmla="*/ 76771 h 241077"/>
                <a:gd name="connsiteX27" fmla="*/ 162211 w 218217"/>
                <a:gd name="connsiteY27" fmla="*/ 52101 h 241077"/>
                <a:gd name="connsiteX28" fmla="*/ 139922 w 218217"/>
                <a:gd name="connsiteY28" fmla="*/ 35242 h 241077"/>
                <a:gd name="connsiteX29" fmla="*/ 109823 w 218217"/>
                <a:gd name="connsiteY29" fmla="*/ 29051 h 241077"/>
                <a:gd name="connsiteX30" fmla="*/ 82105 w 218217"/>
                <a:gd name="connsiteY30" fmla="*/ 34766 h 241077"/>
                <a:gd name="connsiteX31" fmla="*/ 59341 w 218217"/>
                <a:gd name="connsiteY31" fmla="*/ 50959 h 241077"/>
                <a:gd name="connsiteX32" fmla="*/ 43053 w 218217"/>
                <a:gd name="connsiteY32" fmla="*/ 75628 h 241077"/>
                <a:gd name="connsiteX33" fmla="*/ 34766 w 218217"/>
                <a:gd name="connsiteY33" fmla="*/ 106204 h 241077"/>
                <a:gd name="connsiteX34" fmla="*/ 183356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819" y="202597"/>
                    <a:pt x="87059" y="206026"/>
                  </a:cubicBezTo>
                  <a:cubicBezTo>
                    <a:pt x="96298" y="209455"/>
                    <a:pt x="105918" y="211169"/>
                    <a:pt x="116110" y="211169"/>
                  </a:cubicBezTo>
                  <a:cubicBezTo>
                    <a:pt x="132207" y="211169"/>
                    <a:pt x="145923" y="208216"/>
                    <a:pt x="157353" y="202216"/>
                  </a:cubicBezTo>
                  <a:cubicBezTo>
                    <a:pt x="168783" y="196310"/>
                    <a:pt x="179261" y="188404"/>
                    <a:pt x="188786" y="178594"/>
                  </a:cubicBezTo>
                  <a:lnTo>
                    <a:pt x="210217" y="197834"/>
                  </a:lnTo>
                  <a:cubicBezTo>
                    <a:pt x="198596" y="210979"/>
                    <a:pt x="185356" y="221361"/>
                    <a:pt x="170497" y="229267"/>
                  </a:cubicBezTo>
                  <a:cubicBezTo>
                    <a:pt x="155638"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583" y="0"/>
                    <a:pt x="110680"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356" y="106299"/>
                  </a:moveTo>
                  <a:cubicBezTo>
                    <a:pt x="182499" y="95917"/>
                    <a:pt x="180213" y="86106"/>
                    <a:pt x="176689" y="76771"/>
                  </a:cubicBezTo>
                  <a:cubicBezTo>
                    <a:pt x="173069" y="67437"/>
                    <a:pt x="168307" y="59245"/>
                    <a:pt x="162211" y="52101"/>
                  </a:cubicBezTo>
                  <a:cubicBezTo>
                    <a:pt x="156115" y="44958"/>
                    <a:pt x="148685" y="39338"/>
                    <a:pt x="139922" y="35242"/>
                  </a:cubicBezTo>
                  <a:cubicBezTo>
                    <a:pt x="131159" y="31147"/>
                    <a:pt x="121063" y="29051"/>
                    <a:pt x="109823" y="29051"/>
                  </a:cubicBezTo>
                  <a:cubicBezTo>
                    <a:pt x="100013" y="29051"/>
                    <a:pt x="90773" y="30956"/>
                    <a:pt x="82105" y="34766"/>
                  </a:cubicBezTo>
                  <a:cubicBezTo>
                    <a:pt x="73438" y="38671"/>
                    <a:pt x="65913" y="44005"/>
                    <a:pt x="59341" y="50959"/>
                  </a:cubicBezTo>
                  <a:cubicBezTo>
                    <a:pt x="52769" y="57912"/>
                    <a:pt x="47339" y="66103"/>
                    <a:pt x="43053" y="75628"/>
                  </a:cubicBezTo>
                  <a:cubicBezTo>
                    <a:pt x="38767" y="85058"/>
                    <a:pt x="36004" y="95345"/>
                    <a:pt x="34766" y="106204"/>
                  </a:cubicBezTo>
                  <a:lnTo>
                    <a:pt x="183356" y="106204"/>
                  </a:lnTo>
                  <a:close/>
                </a:path>
              </a:pathLst>
            </a:custGeom>
            <a:solidFill>
              <a:srgbClr val="44505E"/>
            </a:solidFill>
            <a:ln w="9525" cap="flat">
              <a:noFill/>
              <a:prstDash val="solid"/>
              <a:miter/>
            </a:ln>
          </p:spPr>
          <p:txBody>
            <a:bodyPr rtlCol="0" anchor="ctr"/>
            <a:lstStyle/>
            <a:p>
              <a:endParaRPr lang="pt-BR" noProof="0"/>
            </a:p>
          </p:txBody>
        </p:sp>
        <p:sp>
          <p:nvSpPr>
            <p:cNvPr id="31" name="Freeform: Shape 43">
              <a:extLst>
                <a:ext uri="{FF2B5EF4-FFF2-40B4-BE49-F238E27FC236}">
                  <a16:creationId xmlns:a16="http://schemas.microsoft.com/office/drawing/2014/main" id="{A733598B-BD90-F4B4-9637-DCF2A24B1D78}"/>
                </a:ext>
              </a:extLst>
            </p:cNvPr>
            <p:cNvSpPr/>
            <p:nvPr/>
          </p:nvSpPr>
          <p:spPr>
            <a:xfrm>
              <a:off x="5994910" y="924268"/>
              <a:ext cx="44680" cy="60195"/>
            </a:xfrm>
            <a:custGeom>
              <a:avLst/>
              <a:gdLst>
                <a:gd name="connsiteX0" fmla="*/ 95536 w 177736"/>
                <a:gd name="connsiteY0" fmla="*/ 239268 h 239458"/>
                <a:gd name="connsiteX1" fmla="*/ 45053 w 177736"/>
                <a:gd name="connsiteY1" fmla="*/ 230124 h 239458"/>
                <a:gd name="connsiteX2" fmla="*/ 0 w 177736"/>
                <a:gd name="connsiteY2" fmla="*/ 205359 h 239458"/>
                <a:gd name="connsiteX3" fmla="*/ 17431 w 177736"/>
                <a:gd name="connsiteY3" fmla="*/ 180785 h 239458"/>
                <a:gd name="connsiteX4" fmla="*/ 56483 w 177736"/>
                <a:gd name="connsiteY4" fmla="*/ 202692 h 239458"/>
                <a:gd name="connsiteX5" fmla="*/ 97346 w 177736"/>
                <a:gd name="connsiteY5" fmla="*/ 210217 h 239458"/>
                <a:gd name="connsiteX6" fmla="*/ 131731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730 w 177736"/>
                <a:gd name="connsiteY10" fmla="*/ 147066 h 239458"/>
                <a:gd name="connsiteX11" fmla="*/ 109252 w 177736"/>
                <a:gd name="connsiteY11" fmla="*/ 138779 h 239458"/>
                <a:gd name="connsiteX12" fmla="*/ 87630 w 177736"/>
                <a:gd name="connsiteY12" fmla="*/ 132112 h 239458"/>
                <a:gd name="connsiteX13" fmla="*/ 60674 w 177736"/>
                <a:gd name="connsiteY13" fmla="*/ 123444 h 239458"/>
                <a:gd name="connsiteX14" fmla="*/ 36100 w 177736"/>
                <a:gd name="connsiteY14" fmla="*/ 111633 h 239458"/>
                <a:gd name="connsiteX15" fmla="*/ 18193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60 w 177736"/>
                <a:gd name="connsiteY22" fmla="*/ 6953 h 239458"/>
                <a:gd name="connsiteX23" fmla="*/ 172879 w 177736"/>
                <a:gd name="connsiteY23" fmla="*/ 25527 h 239458"/>
                <a:gd name="connsiteX24" fmla="*/ 157258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4 w 177736"/>
                <a:gd name="connsiteY32" fmla="*/ 96203 h 239458"/>
                <a:gd name="connsiteX33" fmla="*/ 103632 w 177736"/>
                <a:gd name="connsiteY33" fmla="*/ 103346 h 239458"/>
                <a:gd name="connsiteX34" fmla="*/ 130207 w 177736"/>
                <a:gd name="connsiteY34" fmla="*/ 112300 h 239458"/>
                <a:gd name="connsiteX35" fmla="*/ 154114 w 177736"/>
                <a:gd name="connsiteY35" fmla="*/ 124778 h 239458"/>
                <a:gd name="connsiteX36" fmla="*/ 171260 w 177736"/>
                <a:gd name="connsiteY36" fmla="*/ 143066 h 239458"/>
                <a:gd name="connsiteX37" fmla="*/ 177737 w 177736"/>
                <a:gd name="connsiteY37" fmla="*/ 169450 h 239458"/>
                <a:gd name="connsiteX38" fmla="*/ 177737 w 177736"/>
                <a:gd name="connsiteY38" fmla="*/ 170307 h 239458"/>
                <a:gd name="connsiteX39" fmla="*/ 171260 w 177736"/>
                <a:gd name="connsiteY39" fmla="*/ 199549 h 239458"/>
                <a:gd name="connsiteX40" fmla="*/ 153829 w 177736"/>
                <a:gd name="connsiteY40" fmla="*/ 221171 h 239458"/>
                <a:gd name="connsiteX41" fmla="*/ 127921 w 177736"/>
                <a:gd name="connsiteY41" fmla="*/ 234791 h 239458"/>
                <a:gd name="connsiteX42" fmla="*/ 95536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6" y="239268"/>
                  </a:moveTo>
                  <a:cubicBezTo>
                    <a:pt x="78867" y="239268"/>
                    <a:pt x="62008" y="236220"/>
                    <a:pt x="45053" y="230124"/>
                  </a:cubicBezTo>
                  <a:cubicBezTo>
                    <a:pt x="28099" y="224028"/>
                    <a:pt x="13049" y="215741"/>
                    <a:pt x="0" y="205359"/>
                  </a:cubicBezTo>
                  <a:lnTo>
                    <a:pt x="17431" y="180785"/>
                  </a:lnTo>
                  <a:cubicBezTo>
                    <a:pt x="29909"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637" y="162211"/>
                    <a:pt x="140494" y="158020"/>
                  </a:cubicBezTo>
                  <a:cubicBezTo>
                    <a:pt x="137351" y="153829"/>
                    <a:pt x="133160" y="150209"/>
                    <a:pt x="127730" y="147066"/>
                  </a:cubicBezTo>
                  <a:cubicBezTo>
                    <a:pt x="122396" y="143923"/>
                    <a:pt x="116205" y="141161"/>
                    <a:pt x="109252" y="138779"/>
                  </a:cubicBezTo>
                  <a:cubicBezTo>
                    <a:pt x="102299" y="136398"/>
                    <a:pt x="95060" y="134207"/>
                    <a:pt x="87630" y="132112"/>
                  </a:cubicBezTo>
                  <a:cubicBezTo>
                    <a:pt x="78677" y="129445"/>
                    <a:pt x="69723" y="126492"/>
                    <a:pt x="60674" y="123444"/>
                  </a:cubicBezTo>
                  <a:cubicBezTo>
                    <a:pt x="51626" y="120301"/>
                    <a:pt x="43434" y="116396"/>
                    <a:pt x="36100" y="111633"/>
                  </a:cubicBezTo>
                  <a:cubicBezTo>
                    <a:pt x="28766" y="106871"/>
                    <a:pt x="22860" y="100870"/>
                    <a:pt x="18193" y="93726"/>
                  </a:cubicBezTo>
                  <a:cubicBezTo>
                    <a:pt x="13621" y="86582"/>
                    <a:pt x="11239" y="77629"/>
                    <a:pt x="11239" y="66961"/>
                  </a:cubicBezTo>
                  <a:lnTo>
                    <a:pt x="11239" y="66008"/>
                  </a:lnTo>
                  <a:cubicBezTo>
                    <a:pt x="11239" y="56198"/>
                    <a:pt x="13145" y="47149"/>
                    <a:pt x="17050" y="39053"/>
                  </a:cubicBezTo>
                  <a:cubicBezTo>
                    <a:pt x="20860" y="30861"/>
                    <a:pt x="26289" y="23908"/>
                    <a:pt x="33338" y="18098"/>
                  </a:cubicBezTo>
                  <a:cubicBezTo>
                    <a:pt x="40291" y="12287"/>
                    <a:pt x="48673" y="7811"/>
                    <a:pt x="58388" y="4667"/>
                  </a:cubicBezTo>
                  <a:cubicBezTo>
                    <a:pt x="68009" y="1524"/>
                    <a:pt x="78581" y="0"/>
                    <a:pt x="89821" y="0"/>
                  </a:cubicBezTo>
                  <a:cubicBezTo>
                    <a:pt x="104108" y="0"/>
                    <a:pt x="118491" y="2286"/>
                    <a:pt x="133160" y="6953"/>
                  </a:cubicBezTo>
                  <a:cubicBezTo>
                    <a:pt x="147733" y="11621"/>
                    <a:pt x="160972" y="17717"/>
                    <a:pt x="172879" y="25527"/>
                  </a:cubicBezTo>
                  <a:lnTo>
                    <a:pt x="157258" y="51435"/>
                  </a:lnTo>
                  <a:cubicBezTo>
                    <a:pt x="146495" y="44577"/>
                    <a:pt x="135350" y="39148"/>
                    <a:pt x="123539" y="35147"/>
                  </a:cubicBezTo>
                  <a:cubicBezTo>
                    <a:pt x="111824" y="31147"/>
                    <a:pt x="100298" y="29146"/>
                    <a:pt x="88963" y="29146"/>
                  </a:cubicBezTo>
                  <a:cubicBezTo>
                    <a:pt x="75247" y="29146"/>
                    <a:pt x="64389" y="32385"/>
                    <a:pt x="56388" y="38767"/>
                  </a:cubicBezTo>
                  <a:cubicBezTo>
                    <a:pt x="48387" y="45149"/>
                    <a:pt x="44291" y="53150"/>
                    <a:pt x="44291" y="62675"/>
                  </a:cubicBezTo>
                  <a:lnTo>
                    <a:pt x="44291" y="63627"/>
                  </a:lnTo>
                  <a:cubicBezTo>
                    <a:pt x="44291" y="68961"/>
                    <a:pt x="45911" y="73628"/>
                    <a:pt x="49244" y="77724"/>
                  </a:cubicBezTo>
                  <a:cubicBezTo>
                    <a:pt x="52483" y="81725"/>
                    <a:pt x="56960" y="85249"/>
                    <a:pt x="62389" y="88202"/>
                  </a:cubicBezTo>
                  <a:cubicBezTo>
                    <a:pt x="67913" y="91154"/>
                    <a:pt x="74200" y="93821"/>
                    <a:pt x="81344" y="96203"/>
                  </a:cubicBezTo>
                  <a:cubicBezTo>
                    <a:pt x="88487" y="98584"/>
                    <a:pt x="95917" y="100965"/>
                    <a:pt x="103632" y="103346"/>
                  </a:cubicBezTo>
                  <a:cubicBezTo>
                    <a:pt x="112586" y="106013"/>
                    <a:pt x="121444" y="108966"/>
                    <a:pt x="130207" y="112300"/>
                  </a:cubicBezTo>
                  <a:cubicBezTo>
                    <a:pt x="138970" y="115538"/>
                    <a:pt x="146971" y="119729"/>
                    <a:pt x="154114" y="124778"/>
                  </a:cubicBezTo>
                  <a:cubicBezTo>
                    <a:pt x="161258" y="129826"/>
                    <a:pt x="166973" y="135922"/>
                    <a:pt x="171260" y="143066"/>
                  </a:cubicBezTo>
                  <a:cubicBezTo>
                    <a:pt x="175546" y="150209"/>
                    <a:pt x="177737" y="158972"/>
                    <a:pt x="177737" y="169450"/>
                  </a:cubicBezTo>
                  <a:lnTo>
                    <a:pt x="177737" y="170307"/>
                  </a:lnTo>
                  <a:cubicBezTo>
                    <a:pt x="177737" y="181356"/>
                    <a:pt x="175546" y="191071"/>
                    <a:pt x="171260" y="199549"/>
                  </a:cubicBezTo>
                  <a:cubicBezTo>
                    <a:pt x="166973" y="208026"/>
                    <a:pt x="161163" y="215265"/>
                    <a:pt x="153829" y="221171"/>
                  </a:cubicBezTo>
                  <a:cubicBezTo>
                    <a:pt x="146495" y="227171"/>
                    <a:pt x="137922" y="231648"/>
                    <a:pt x="127921" y="234791"/>
                  </a:cubicBezTo>
                  <a:cubicBezTo>
                    <a:pt x="117920" y="237935"/>
                    <a:pt x="107156" y="239459"/>
                    <a:pt x="95536" y="239459"/>
                  </a:cubicBezTo>
                  <a:close/>
                </a:path>
              </a:pathLst>
            </a:custGeom>
            <a:solidFill>
              <a:srgbClr val="44505E"/>
            </a:solidFill>
            <a:ln w="9525" cap="flat">
              <a:noFill/>
              <a:prstDash val="solid"/>
              <a:miter/>
            </a:ln>
          </p:spPr>
          <p:txBody>
            <a:bodyPr rtlCol="0" anchor="ctr"/>
            <a:lstStyle/>
            <a:p>
              <a:endParaRPr lang="pt-BR" noProof="0"/>
            </a:p>
          </p:txBody>
        </p:sp>
        <p:sp>
          <p:nvSpPr>
            <p:cNvPr id="32" name="Freeform: Shape 44">
              <a:extLst>
                <a:ext uri="{FF2B5EF4-FFF2-40B4-BE49-F238E27FC236}">
                  <a16:creationId xmlns:a16="http://schemas.microsoft.com/office/drawing/2014/main" id="{442A7F94-4B77-6D82-F26E-CA05C472904F}"/>
                </a:ext>
              </a:extLst>
            </p:cNvPr>
            <p:cNvSpPr/>
            <p:nvPr/>
          </p:nvSpPr>
          <p:spPr>
            <a:xfrm>
              <a:off x="605122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4 w 202977"/>
                <a:gd name="connsiteY30" fmla="*/ 174593 h 239267"/>
                <a:gd name="connsiteX31" fmla="*/ 169735 w 202977"/>
                <a:gd name="connsiteY31" fmla="*/ 149447 h 239267"/>
                <a:gd name="connsiteX32" fmla="*/ 169735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0" y="90964"/>
                    <a:pt x="98584" y="90964"/>
                  </a:cubicBezTo>
                  <a:cubicBezTo>
                    <a:pt x="113157" y="90964"/>
                    <a:pt x="126301"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1" y="33147"/>
                    <a:pt x="63436" y="36100"/>
                  </a:cubicBezTo>
                  <a:cubicBezTo>
                    <a:pt x="52292" y="39053"/>
                    <a:pt x="41338" y="43053"/>
                    <a:pt x="30671" y="48196"/>
                  </a:cubicBezTo>
                  <a:lnTo>
                    <a:pt x="20383" y="19907"/>
                  </a:lnTo>
                  <a:cubicBezTo>
                    <a:pt x="33147" y="13906"/>
                    <a:pt x="46101" y="9049"/>
                    <a:pt x="59246" y="5429"/>
                  </a:cubicBezTo>
                  <a:cubicBezTo>
                    <a:pt x="72295"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1" y="239173"/>
                  </a:cubicBezTo>
                  <a:close/>
                  <a:moveTo>
                    <a:pt x="93154" y="211169"/>
                  </a:moveTo>
                  <a:cubicBezTo>
                    <a:pt x="103822" y="211169"/>
                    <a:pt x="113728" y="209740"/>
                    <a:pt x="122967" y="206788"/>
                  </a:cubicBezTo>
                  <a:cubicBezTo>
                    <a:pt x="132207" y="203835"/>
                    <a:pt x="140208" y="199644"/>
                    <a:pt x="147256" y="194120"/>
                  </a:cubicBezTo>
                  <a:cubicBezTo>
                    <a:pt x="154209" y="188595"/>
                    <a:pt x="159734" y="182118"/>
                    <a:pt x="163734" y="174593"/>
                  </a:cubicBezTo>
                  <a:cubicBezTo>
                    <a:pt x="167735" y="167068"/>
                    <a:pt x="169735" y="158687"/>
                    <a:pt x="169735" y="149447"/>
                  </a:cubicBezTo>
                  <a:lnTo>
                    <a:pt x="169735" y="128111"/>
                  </a:lnTo>
                  <a:cubicBezTo>
                    <a:pt x="161163" y="125730"/>
                    <a:pt x="151352" y="123539"/>
                    <a:pt x="140398" y="121444"/>
                  </a:cubicBezTo>
                  <a:cubicBezTo>
                    <a:pt x="129445" y="119348"/>
                    <a:pt x="116872"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33" name="Freeform: Shape 45">
              <a:extLst>
                <a:ext uri="{FF2B5EF4-FFF2-40B4-BE49-F238E27FC236}">
                  <a16:creationId xmlns:a16="http://schemas.microsoft.com/office/drawing/2014/main" id="{117705BD-F0F8-1501-5755-F824DF174AF6}"/>
                </a:ext>
              </a:extLst>
            </p:cNvPr>
            <p:cNvSpPr/>
            <p:nvPr/>
          </p:nvSpPr>
          <p:spPr>
            <a:xfrm>
              <a:off x="6121359" y="901377"/>
              <a:ext cx="8644" cy="81913"/>
            </a:xfrm>
            <a:custGeom>
              <a:avLst/>
              <a:gdLst>
                <a:gd name="connsiteX0" fmla="*/ 0 w 34385"/>
                <a:gd name="connsiteY0" fmla="*/ 0 h 325850"/>
                <a:gd name="connsiteX1" fmla="*/ 34385 w 34385"/>
                <a:gd name="connsiteY1" fmla="*/ 0 h 325850"/>
                <a:gd name="connsiteX2" fmla="*/ 34385 w 34385"/>
                <a:gd name="connsiteY2" fmla="*/ 325850 h 325850"/>
                <a:gd name="connsiteX3" fmla="*/ 0 w 34385"/>
                <a:gd name="connsiteY3" fmla="*/ 325850 h 325850"/>
                <a:gd name="connsiteX4" fmla="*/ 0 w 34385"/>
                <a:gd name="connsiteY4" fmla="*/ 0 h 32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 h="325850">
                  <a:moveTo>
                    <a:pt x="0" y="0"/>
                  </a:moveTo>
                  <a:lnTo>
                    <a:pt x="34385" y="0"/>
                  </a:lnTo>
                  <a:lnTo>
                    <a:pt x="34385" y="325850"/>
                  </a:lnTo>
                  <a:lnTo>
                    <a:pt x="0" y="325850"/>
                  </a:lnTo>
                  <a:lnTo>
                    <a:pt x="0" y="0"/>
                  </a:lnTo>
                  <a:close/>
                </a:path>
              </a:pathLst>
            </a:custGeom>
            <a:solidFill>
              <a:srgbClr val="44505E"/>
            </a:solidFill>
            <a:ln w="9525" cap="flat">
              <a:noFill/>
              <a:prstDash val="solid"/>
              <a:miter/>
            </a:ln>
          </p:spPr>
          <p:txBody>
            <a:bodyPr rtlCol="0" anchor="ctr"/>
            <a:lstStyle/>
            <a:p>
              <a:endParaRPr lang="pt-BR" noProof="0"/>
            </a:p>
          </p:txBody>
        </p:sp>
        <p:sp>
          <p:nvSpPr>
            <p:cNvPr id="34" name="Freeform: Shape 46">
              <a:extLst>
                <a:ext uri="{FF2B5EF4-FFF2-40B4-BE49-F238E27FC236}">
                  <a16:creationId xmlns:a16="http://schemas.microsoft.com/office/drawing/2014/main" id="{9B03CDEE-19E8-3E10-A8D9-6B550D6D20F4}"/>
                </a:ext>
              </a:extLst>
            </p:cNvPr>
            <p:cNvSpPr/>
            <p:nvPr/>
          </p:nvSpPr>
          <p:spPr>
            <a:xfrm>
              <a:off x="6144346" y="925273"/>
              <a:ext cx="58016" cy="58448"/>
            </a:xfrm>
            <a:custGeom>
              <a:avLst/>
              <a:gdLst>
                <a:gd name="connsiteX0" fmla="*/ 95 w 230790"/>
                <a:gd name="connsiteY0" fmla="*/ 0 h 232505"/>
                <a:gd name="connsiteX1" fmla="*/ 38005 w 230790"/>
                <a:gd name="connsiteY1" fmla="*/ 0 h 232505"/>
                <a:gd name="connsiteX2" fmla="*/ 115634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4"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35" name="Freeform: Shape 47">
              <a:extLst>
                <a:ext uri="{FF2B5EF4-FFF2-40B4-BE49-F238E27FC236}">
                  <a16:creationId xmlns:a16="http://schemas.microsoft.com/office/drawing/2014/main" id="{D7D7D6E7-2DE6-DDA2-AB6E-EC3BD3FFE79E}"/>
                </a:ext>
              </a:extLst>
            </p:cNvPr>
            <p:cNvSpPr/>
            <p:nvPr/>
          </p:nvSpPr>
          <p:spPr>
            <a:xfrm>
              <a:off x="621155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8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338 w 202977"/>
                <a:gd name="connsiteY36" fmla="*/ 164497 h 239267"/>
                <a:gd name="connsiteX37" fmla="*/ 35338 w 202977"/>
                <a:gd name="connsiteY37" fmla="*/ 165449 h 239267"/>
                <a:gd name="connsiteX38" fmla="*/ 40005 w 202977"/>
                <a:gd name="connsiteY38" fmla="*/ 184785 h 239267"/>
                <a:gd name="connsiteX39" fmla="*/ 52673 w 202977"/>
                <a:gd name="connsiteY39" fmla="*/ 199263 h 239267"/>
                <a:gd name="connsiteX40" fmla="*/ 71152 w 202977"/>
                <a:gd name="connsiteY40" fmla="*/ 208121 h 239267"/>
                <a:gd name="connsiteX41" fmla="*/ 93154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438" y="239268"/>
                    <a:pt x="64961"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1" y="90964"/>
                    <a:pt x="98584" y="90964"/>
                  </a:cubicBezTo>
                  <a:cubicBezTo>
                    <a:pt x="113157" y="90964"/>
                    <a:pt x="126302" y="91821"/>
                    <a:pt x="137160" y="93631"/>
                  </a:cubicBezTo>
                  <a:cubicBezTo>
                    <a:pt x="148019" y="95440"/>
                    <a:pt x="158687" y="97822"/>
                    <a:pt x="169069" y="100774"/>
                  </a:cubicBezTo>
                  <a:lnTo>
                    <a:pt x="169069" y="93726"/>
                  </a:lnTo>
                  <a:cubicBezTo>
                    <a:pt x="169069" y="73342"/>
                    <a:pt x="163068" y="57912"/>
                    <a:pt x="151162" y="47339"/>
                  </a:cubicBezTo>
                  <a:cubicBezTo>
                    <a:pt x="139255" y="36862"/>
                    <a:pt x="122491" y="31623"/>
                    <a:pt x="100679" y="31623"/>
                  </a:cubicBezTo>
                  <a:cubicBezTo>
                    <a:pt x="86963" y="31623"/>
                    <a:pt x="74581" y="33147"/>
                    <a:pt x="63437" y="36100"/>
                  </a:cubicBezTo>
                  <a:cubicBezTo>
                    <a:pt x="52292" y="39053"/>
                    <a:pt x="41338" y="43053"/>
                    <a:pt x="30671" y="48196"/>
                  </a:cubicBezTo>
                  <a:lnTo>
                    <a:pt x="20383" y="19907"/>
                  </a:lnTo>
                  <a:cubicBezTo>
                    <a:pt x="33147" y="13906"/>
                    <a:pt x="46101" y="9049"/>
                    <a:pt x="59246" y="5429"/>
                  </a:cubicBezTo>
                  <a:cubicBezTo>
                    <a:pt x="72390"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04" y="239173"/>
                    <a:pt x="86011" y="239173"/>
                  </a:cubicBezTo>
                  <a:close/>
                  <a:moveTo>
                    <a:pt x="93154" y="211169"/>
                  </a:moveTo>
                  <a:cubicBezTo>
                    <a:pt x="103822" y="211169"/>
                    <a:pt x="113824" y="209740"/>
                    <a:pt x="122968" y="206788"/>
                  </a:cubicBezTo>
                  <a:cubicBezTo>
                    <a:pt x="132112"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5" y="119348"/>
                    <a:pt x="116777" y="118300"/>
                    <a:pt x="102584" y="118300"/>
                  </a:cubicBezTo>
                  <a:cubicBezTo>
                    <a:pt x="81248" y="118300"/>
                    <a:pt x="64675" y="122491"/>
                    <a:pt x="52959" y="130969"/>
                  </a:cubicBezTo>
                  <a:cubicBezTo>
                    <a:pt x="41243" y="139446"/>
                    <a:pt x="35338" y="150590"/>
                    <a:pt x="35338" y="164497"/>
                  </a:cubicBezTo>
                  <a:lnTo>
                    <a:pt x="35338" y="165449"/>
                  </a:lnTo>
                  <a:cubicBezTo>
                    <a:pt x="35338" y="172498"/>
                    <a:pt x="36862" y="178975"/>
                    <a:pt x="40005" y="184785"/>
                  </a:cubicBezTo>
                  <a:cubicBezTo>
                    <a:pt x="43148" y="190500"/>
                    <a:pt x="47339" y="195358"/>
                    <a:pt x="52673" y="199263"/>
                  </a:cubicBezTo>
                  <a:cubicBezTo>
                    <a:pt x="58007" y="203073"/>
                    <a:pt x="64198" y="206026"/>
                    <a:pt x="71152" y="208121"/>
                  </a:cubicBezTo>
                  <a:cubicBezTo>
                    <a:pt x="78105" y="210217"/>
                    <a:pt x="85439" y="211169"/>
                    <a:pt x="93154" y="211169"/>
                  </a:cubicBezTo>
                  <a:close/>
                </a:path>
              </a:pathLst>
            </a:custGeom>
            <a:solidFill>
              <a:srgbClr val="44505E"/>
            </a:solidFill>
            <a:ln w="9525" cap="flat">
              <a:noFill/>
              <a:prstDash val="solid"/>
              <a:miter/>
            </a:ln>
          </p:spPr>
          <p:txBody>
            <a:bodyPr rtlCol="0" anchor="ctr"/>
            <a:lstStyle/>
            <a:p>
              <a:endParaRPr lang="pt-BR" noProof="0"/>
            </a:p>
          </p:txBody>
        </p:sp>
        <p:sp>
          <p:nvSpPr>
            <p:cNvPr id="36" name="Freeform: Shape 48">
              <a:extLst>
                <a:ext uri="{FF2B5EF4-FFF2-40B4-BE49-F238E27FC236}">
                  <a16:creationId xmlns:a16="http://schemas.microsoft.com/office/drawing/2014/main" id="{2BF0D2BE-05FA-FCF1-39B2-212C51AA92AB}"/>
                </a:ext>
              </a:extLst>
            </p:cNvPr>
            <p:cNvSpPr/>
            <p:nvPr/>
          </p:nvSpPr>
          <p:spPr>
            <a:xfrm>
              <a:off x="6280899" y="923980"/>
              <a:ext cx="87995" cy="59238"/>
            </a:xfrm>
            <a:custGeom>
              <a:avLst/>
              <a:gdLst>
                <a:gd name="connsiteX0" fmla="*/ 0 w 350043"/>
                <a:gd name="connsiteY0" fmla="*/ 5144 h 235648"/>
                <a:gd name="connsiteX1" fmla="*/ 34385 w 350043"/>
                <a:gd name="connsiteY1" fmla="*/ 5144 h 235648"/>
                <a:gd name="connsiteX2" fmla="*/ 34385 w 350043"/>
                <a:gd name="connsiteY2" fmla="*/ 44005 h 235648"/>
                <a:gd name="connsiteX3" fmla="*/ 47149 w 350043"/>
                <a:gd name="connsiteY3" fmla="*/ 27432 h 235648"/>
                <a:gd name="connsiteX4" fmla="*/ 62960 w 350043"/>
                <a:gd name="connsiteY4" fmla="*/ 13335 h 235648"/>
                <a:gd name="connsiteX5" fmla="*/ 83058 w 350043"/>
                <a:gd name="connsiteY5" fmla="*/ 3715 h 235648"/>
                <a:gd name="connsiteX6" fmla="*/ 108966 w 350043"/>
                <a:gd name="connsiteY6" fmla="*/ 95 h 235648"/>
                <a:gd name="connsiteX7" fmla="*/ 155448 w 350043"/>
                <a:gd name="connsiteY7" fmla="*/ 13240 h 235648"/>
                <a:gd name="connsiteX8" fmla="*/ 183166 w 350043"/>
                <a:gd name="connsiteY8" fmla="*/ 46006 h 235648"/>
                <a:gd name="connsiteX9" fmla="*/ 197168 w 350043"/>
                <a:gd name="connsiteY9" fmla="*/ 28194 h 235648"/>
                <a:gd name="connsiteX10" fmla="*/ 214789 w 350043"/>
                <a:gd name="connsiteY10" fmla="*/ 13430 h 235648"/>
                <a:gd name="connsiteX11" fmla="*/ 236887 w 350043"/>
                <a:gd name="connsiteY11" fmla="*/ 3620 h 235648"/>
                <a:gd name="connsiteX12" fmla="*/ 264319 w 350043"/>
                <a:gd name="connsiteY12" fmla="*/ 0 h 235648"/>
                <a:gd name="connsiteX13" fmla="*/ 327279 w 350043"/>
                <a:gd name="connsiteY13" fmla="*/ 24765 h 235648"/>
                <a:gd name="connsiteX14" fmla="*/ 350044 w 350043"/>
                <a:gd name="connsiteY14" fmla="*/ 92773 h 235648"/>
                <a:gd name="connsiteX15" fmla="*/ 350044 w 350043"/>
                <a:gd name="connsiteY15" fmla="*/ 235648 h 235648"/>
                <a:gd name="connsiteX16" fmla="*/ 315659 w 350043"/>
                <a:gd name="connsiteY16" fmla="*/ 235648 h 235648"/>
                <a:gd name="connsiteX17" fmla="*/ 315659 w 350043"/>
                <a:gd name="connsiteY17" fmla="*/ 101155 h 235648"/>
                <a:gd name="connsiteX18" fmla="*/ 299847 w 350043"/>
                <a:gd name="connsiteY18" fmla="*/ 49721 h 235648"/>
                <a:gd name="connsiteX19" fmla="*/ 255937 w 350043"/>
                <a:gd name="connsiteY19" fmla="*/ 31718 h 235648"/>
                <a:gd name="connsiteX20" fmla="*/ 231362 w 350043"/>
                <a:gd name="connsiteY20" fmla="*/ 36386 h 235648"/>
                <a:gd name="connsiteX21" fmla="*/ 211074 w 350043"/>
                <a:gd name="connsiteY21" fmla="*/ 50197 h 235648"/>
                <a:gd name="connsiteX22" fmla="*/ 197263 w 350043"/>
                <a:gd name="connsiteY22" fmla="*/ 72676 h 235648"/>
                <a:gd name="connsiteX23" fmla="*/ 192119 w 350043"/>
                <a:gd name="connsiteY23" fmla="*/ 102965 h 235648"/>
                <a:gd name="connsiteX24" fmla="*/ 192119 w 350043"/>
                <a:gd name="connsiteY24" fmla="*/ 235648 h 235648"/>
                <a:gd name="connsiteX25" fmla="*/ 158210 w 350043"/>
                <a:gd name="connsiteY25" fmla="*/ 235648 h 235648"/>
                <a:gd name="connsiteX26" fmla="*/ 158210 w 350043"/>
                <a:gd name="connsiteY26" fmla="*/ 100298 h 235648"/>
                <a:gd name="connsiteX27" fmla="*/ 142399 w 350043"/>
                <a:gd name="connsiteY27" fmla="*/ 49721 h 235648"/>
                <a:gd name="connsiteX28" fmla="*/ 98870 w 350043"/>
                <a:gd name="connsiteY28" fmla="*/ 31718 h 235648"/>
                <a:gd name="connsiteX29" fmla="*/ 73438 w 350043"/>
                <a:gd name="connsiteY29" fmla="*/ 37052 h 235648"/>
                <a:gd name="connsiteX30" fmla="*/ 53150 w 350043"/>
                <a:gd name="connsiteY30" fmla="*/ 52197 h 235648"/>
                <a:gd name="connsiteX31" fmla="*/ 39529 w 350043"/>
                <a:gd name="connsiteY31" fmla="*/ 75152 h 235648"/>
                <a:gd name="connsiteX32" fmla="*/ 34576 w 350043"/>
                <a:gd name="connsiteY32" fmla="*/ 104299 h 235648"/>
                <a:gd name="connsiteX33" fmla="*/ 34576 w 350043"/>
                <a:gd name="connsiteY33" fmla="*/ 235648 h 235648"/>
                <a:gd name="connsiteX34" fmla="*/ 190 w 350043"/>
                <a:gd name="connsiteY34" fmla="*/ 235648 h 235648"/>
                <a:gd name="connsiteX35" fmla="*/ 190 w 350043"/>
                <a:gd name="connsiteY35" fmla="*/ 485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0043" h="235648">
                  <a:moveTo>
                    <a:pt x="0" y="5144"/>
                  </a:moveTo>
                  <a:lnTo>
                    <a:pt x="34385" y="5144"/>
                  </a:lnTo>
                  <a:lnTo>
                    <a:pt x="34385" y="44005"/>
                  </a:lnTo>
                  <a:cubicBezTo>
                    <a:pt x="38290" y="38386"/>
                    <a:pt x="42481" y="32861"/>
                    <a:pt x="47149" y="27432"/>
                  </a:cubicBezTo>
                  <a:cubicBezTo>
                    <a:pt x="51721" y="22098"/>
                    <a:pt x="57055" y="17431"/>
                    <a:pt x="62960" y="13335"/>
                  </a:cubicBezTo>
                  <a:cubicBezTo>
                    <a:pt x="68866" y="9335"/>
                    <a:pt x="75629" y="6096"/>
                    <a:pt x="83058" y="3715"/>
                  </a:cubicBezTo>
                  <a:cubicBezTo>
                    <a:pt x="90488" y="1334"/>
                    <a:pt x="99155" y="95"/>
                    <a:pt x="108966" y="95"/>
                  </a:cubicBezTo>
                  <a:cubicBezTo>
                    <a:pt x="127730" y="95"/>
                    <a:pt x="143161" y="4477"/>
                    <a:pt x="155448" y="13240"/>
                  </a:cubicBezTo>
                  <a:cubicBezTo>
                    <a:pt x="167640" y="22003"/>
                    <a:pt x="176879" y="32956"/>
                    <a:pt x="183166" y="46006"/>
                  </a:cubicBezTo>
                  <a:cubicBezTo>
                    <a:pt x="187357" y="39719"/>
                    <a:pt x="192024" y="33814"/>
                    <a:pt x="197168" y="28194"/>
                  </a:cubicBezTo>
                  <a:cubicBezTo>
                    <a:pt x="202406" y="22574"/>
                    <a:pt x="208217" y="17621"/>
                    <a:pt x="214789" y="13430"/>
                  </a:cubicBezTo>
                  <a:cubicBezTo>
                    <a:pt x="221361" y="9239"/>
                    <a:pt x="228695" y="6001"/>
                    <a:pt x="236887" y="3620"/>
                  </a:cubicBezTo>
                  <a:cubicBezTo>
                    <a:pt x="245078" y="1238"/>
                    <a:pt x="254222" y="0"/>
                    <a:pt x="264319" y="0"/>
                  </a:cubicBezTo>
                  <a:cubicBezTo>
                    <a:pt x="291084" y="0"/>
                    <a:pt x="312039" y="8287"/>
                    <a:pt x="327279" y="24765"/>
                  </a:cubicBezTo>
                  <a:cubicBezTo>
                    <a:pt x="342519" y="41243"/>
                    <a:pt x="350044" y="63913"/>
                    <a:pt x="350044" y="92773"/>
                  </a:cubicBezTo>
                  <a:lnTo>
                    <a:pt x="350044" y="235648"/>
                  </a:lnTo>
                  <a:lnTo>
                    <a:pt x="315659" y="235648"/>
                  </a:lnTo>
                  <a:lnTo>
                    <a:pt x="315659" y="101155"/>
                  </a:lnTo>
                  <a:cubicBezTo>
                    <a:pt x="315659" y="78867"/>
                    <a:pt x="310420" y="61722"/>
                    <a:pt x="299847" y="49721"/>
                  </a:cubicBezTo>
                  <a:cubicBezTo>
                    <a:pt x="289274" y="37719"/>
                    <a:pt x="274606" y="31718"/>
                    <a:pt x="255937" y="31718"/>
                  </a:cubicBezTo>
                  <a:cubicBezTo>
                    <a:pt x="247269" y="31718"/>
                    <a:pt x="239078" y="33242"/>
                    <a:pt x="231362" y="36386"/>
                  </a:cubicBezTo>
                  <a:cubicBezTo>
                    <a:pt x="223647" y="39529"/>
                    <a:pt x="216884" y="44101"/>
                    <a:pt x="211074" y="50197"/>
                  </a:cubicBezTo>
                  <a:cubicBezTo>
                    <a:pt x="205264" y="56293"/>
                    <a:pt x="200692" y="63818"/>
                    <a:pt x="197263" y="72676"/>
                  </a:cubicBezTo>
                  <a:cubicBezTo>
                    <a:pt x="193834" y="81629"/>
                    <a:pt x="192119" y="91726"/>
                    <a:pt x="192119" y="102965"/>
                  </a:cubicBezTo>
                  <a:lnTo>
                    <a:pt x="192119" y="235648"/>
                  </a:lnTo>
                  <a:lnTo>
                    <a:pt x="158210" y="235648"/>
                  </a:lnTo>
                  <a:lnTo>
                    <a:pt x="158210" y="100298"/>
                  </a:lnTo>
                  <a:cubicBezTo>
                    <a:pt x="158210" y="78677"/>
                    <a:pt x="152971" y="61817"/>
                    <a:pt x="142399" y="49721"/>
                  </a:cubicBezTo>
                  <a:cubicBezTo>
                    <a:pt x="131826" y="37719"/>
                    <a:pt x="117348" y="31718"/>
                    <a:pt x="98870" y="31718"/>
                  </a:cubicBezTo>
                  <a:cubicBezTo>
                    <a:pt x="89630" y="31718"/>
                    <a:pt x="81153" y="33528"/>
                    <a:pt x="73438" y="37052"/>
                  </a:cubicBezTo>
                  <a:cubicBezTo>
                    <a:pt x="65722" y="40672"/>
                    <a:pt x="58960" y="45720"/>
                    <a:pt x="53150" y="52197"/>
                  </a:cubicBezTo>
                  <a:cubicBezTo>
                    <a:pt x="47339" y="58769"/>
                    <a:pt x="42767" y="66389"/>
                    <a:pt x="39529" y="75152"/>
                  </a:cubicBezTo>
                  <a:cubicBezTo>
                    <a:pt x="36290" y="83915"/>
                    <a:pt x="34576" y="93631"/>
                    <a:pt x="34576" y="104299"/>
                  </a:cubicBezTo>
                  <a:lnTo>
                    <a:pt x="34576" y="235648"/>
                  </a:lnTo>
                  <a:lnTo>
                    <a:pt x="190" y="235648"/>
                  </a:lnTo>
                  <a:lnTo>
                    <a:pt x="190" y="4858"/>
                  </a:lnTo>
                  <a:close/>
                </a:path>
              </a:pathLst>
            </a:custGeom>
            <a:solidFill>
              <a:srgbClr val="44505E"/>
            </a:solidFill>
            <a:ln w="9525" cap="flat">
              <a:noFill/>
              <a:prstDash val="solid"/>
              <a:miter/>
            </a:ln>
          </p:spPr>
          <p:txBody>
            <a:bodyPr rtlCol="0" anchor="ctr"/>
            <a:lstStyle/>
            <a:p>
              <a:endParaRPr lang="pt-BR" noProof="0"/>
            </a:p>
          </p:txBody>
        </p:sp>
        <p:sp>
          <p:nvSpPr>
            <p:cNvPr id="37" name="Freeform: Shape 49">
              <a:extLst>
                <a:ext uri="{FF2B5EF4-FFF2-40B4-BE49-F238E27FC236}">
                  <a16:creationId xmlns:a16="http://schemas.microsoft.com/office/drawing/2014/main" id="{48337378-A7F5-2A36-D80F-AA6111B04490}"/>
                </a:ext>
              </a:extLst>
            </p:cNvPr>
            <p:cNvSpPr/>
            <p:nvPr/>
          </p:nvSpPr>
          <p:spPr>
            <a:xfrm>
              <a:off x="6415537" y="925273"/>
              <a:ext cx="58016" cy="58448"/>
            </a:xfrm>
            <a:custGeom>
              <a:avLst/>
              <a:gdLst>
                <a:gd name="connsiteX0" fmla="*/ 95 w 230790"/>
                <a:gd name="connsiteY0" fmla="*/ 0 h 232505"/>
                <a:gd name="connsiteX1" fmla="*/ 38005 w 230790"/>
                <a:gd name="connsiteY1" fmla="*/ 0 h 232505"/>
                <a:gd name="connsiteX2" fmla="*/ 115633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3"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38" name="Freeform: Shape 50">
              <a:extLst>
                <a:ext uri="{FF2B5EF4-FFF2-40B4-BE49-F238E27FC236}">
                  <a16:creationId xmlns:a16="http://schemas.microsoft.com/office/drawing/2014/main" id="{1EC81B03-5F73-0391-38C7-4EBAECA238DB}"/>
                </a:ext>
              </a:extLst>
            </p:cNvPr>
            <p:cNvSpPr/>
            <p:nvPr/>
          </p:nvSpPr>
          <p:spPr>
            <a:xfrm>
              <a:off x="6487369"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286 w 39242"/>
                <a:gd name="connsiteY5" fmla="*/ 88392 h 319182"/>
                <a:gd name="connsiteX6" fmla="*/ 36671 w 39242"/>
                <a:gd name="connsiteY6" fmla="*/ 88392 h 319182"/>
                <a:gd name="connsiteX7" fmla="*/ 36671 w 39242"/>
                <a:gd name="connsiteY7" fmla="*/ 319183 h 319182"/>
                <a:gd name="connsiteX8" fmla="*/ 2286 w 39242"/>
                <a:gd name="connsiteY8" fmla="*/ 319183 h 319182"/>
                <a:gd name="connsiteX9" fmla="*/ 2286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286" y="88392"/>
                  </a:moveTo>
                  <a:lnTo>
                    <a:pt x="36671" y="88392"/>
                  </a:lnTo>
                  <a:lnTo>
                    <a:pt x="36671" y="319183"/>
                  </a:lnTo>
                  <a:lnTo>
                    <a:pt x="2286" y="319183"/>
                  </a:lnTo>
                  <a:lnTo>
                    <a:pt x="2286" y="88392"/>
                  </a:lnTo>
                  <a:close/>
                </a:path>
              </a:pathLst>
            </a:custGeom>
            <a:solidFill>
              <a:srgbClr val="44505E"/>
            </a:solidFill>
            <a:ln w="9525" cap="flat">
              <a:noFill/>
              <a:prstDash val="solid"/>
              <a:miter/>
            </a:ln>
          </p:spPr>
          <p:txBody>
            <a:bodyPr rtlCol="0" anchor="ctr"/>
            <a:lstStyle/>
            <a:p>
              <a:endParaRPr lang="pt-BR" noProof="0"/>
            </a:p>
          </p:txBody>
        </p:sp>
        <p:sp>
          <p:nvSpPr>
            <p:cNvPr id="39" name="Freeform: Shape 51">
              <a:extLst>
                <a:ext uri="{FF2B5EF4-FFF2-40B4-BE49-F238E27FC236}">
                  <a16:creationId xmlns:a16="http://schemas.microsoft.com/office/drawing/2014/main" id="{75BADB3E-FB74-7371-93DA-B21553CD5BF2}"/>
                </a:ext>
              </a:extLst>
            </p:cNvPr>
            <p:cNvSpPr/>
            <p:nvPr/>
          </p:nvSpPr>
          <p:spPr>
            <a:xfrm>
              <a:off x="6513253" y="901353"/>
              <a:ext cx="58615" cy="83182"/>
            </a:xfrm>
            <a:custGeom>
              <a:avLst/>
              <a:gdLst>
                <a:gd name="connsiteX0" fmla="*/ 110394 w 233171"/>
                <a:gd name="connsiteY0" fmla="*/ 330898 h 330898"/>
                <a:gd name="connsiteX1" fmla="*/ 69723 w 233171"/>
                <a:gd name="connsiteY1" fmla="*/ 322897 h 330898"/>
                <a:gd name="connsiteX2" fmla="*/ 34480 w 233171"/>
                <a:gd name="connsiteY2" fmla="*/ 299466 h 330898"/>
                <a:gd name="connsiteX3" fmla="*/ 9430 w 233171"/>
                <a:gd name="connsiteY3" fmla="*/ 261938 h 330898"/>
                <a:gd name="connsiteX4" fmla="*/ 0 w 233171"/>
                <a:gd name="connsiteY4" fmla="*/ 211264 h 330898"/>
                <a:gd name="connsiteX5" fmla="*/ 0 w 233171"/>
                <a:gd name="connsiteY5" fmla="*/ 210407 h 330898"/>
                <a:gd name="connsiteX6" fmla="*/ 9430 w 233171"/>
                <a:gd name="connsiteY6" fmla="*/ 159925 h 330898"/>
                <a:gd name="connsiteX7" fmla="*/ 34480 w 233171"/>
                <a:gd name="connsiteY7" fmla="*/ 122206 h 330898"/>
                <a:gd name="connsiteX8" fmla="*/ 69723 w 233171"/>
                <a:gd name="connsiteY8" fmla="*/ 98488 h 330898"/>
                <a:gd name="connsiteX9" fmla="*/ 110394 w 233171"/>
                <a:gd name="connsiteY9" fmla="*/ 90202 h 330898"/>
                <a:gd name="connsiteX10" fmla="*/ 139827 w 233171"/>
                <a:gd name="connsiteY10" fmla="*/ 94202 h 330898"/>
                <a:gd name="connsiteX11" fmla="*/ 163925 w 233171"/>
                <a:gd name="connsiteY11" fmla="*/ 104870 h 330898"/>
                <a:gd name="connsiteX12" fmla="*/ 183356 w 233171"/>
                <a:gd name="connsiteY12" fmla="*/ 120491 h 330898"/>
                <a:gd name="connsiteX13" fmla="*/ 198787 w 233171"/>
                <a:gd name="connsiteY13" fmla="*/ 139255 h 330898"/>
                <a:gd name="connsiteX14" fmla="*/ 198787 w 233171"/>
                <a:gd name="connsiteY14" fmla="*/ 0 h 330898"/>
                <a:gd name="connsiteX15" fmla="*/ 233172 w 233171"/>
                <a:gd name="connsiteY15" fmla="*/ 0 h 330898"/>
                <a:gd name="connsiteX16" fmla="*/ 233172 w 233171"/>
                <a:gd name="connsiteY16" fmla="*/ 325850 h 330898"/>
                <a:gd name="connsiteX17" fmla="*/ 198787 w 233171"/>
                <a:gd name="connsiteY17" fmla="*/ 325850 h 330898"/>
                <a:gd name="connsiteX18" fmla="*/ 198787 w 233171"/>
                <a:gd name="connsiteY18" fmla="*/ 279463 h 330898"/>
                <a:gd name="connsiteX19" fmla="*/ 182975 w 233171"/>
                <a:gd name="connsiteY19" fmla="*/ 299085 h 330898"/>
                <a:gd name="connsiteX20" fmla="*/ 163544 w 233171"/>
                <a:gd name="connsiteY20" fmla="*/ 315658 h 330898"/>
                <a:gd name="connsiteX21" fmla="*/ 139636 w 233171"/>
                <a:gd name="connsiteY21" fmla="*/ 326803 h 330898"/>
                <a:gd name="connsiteX22" fmla="*/ 110394 w 233171"/>
                <a:gd name="connsiteY22" fmla="*/ 330803 h 330898"/>
                <a:gd name="connsiteX23" fmla="*/ 116681 w 233171"/>
                <a:gd name="connsiteY23" fmla="*/ 300133 h 330898"/>
                <a:gd name="connsiteX24" fmla="*/ 147733 w 233171"/>
                <a:gd name="connsiteY24" fmla="*/ 293656 h 330898"/>
                <a:gd name="connsiteX25" fmla="*/ 174498 w 233171"/>
                <a:gd name="connsiteY25" fmla="*/ 275368 h 330898"/>
                <a:gd name="connsiteX26" fmla="*/ 193262 w 233171"/>
                <a:gd name="connsiteY26" fmla="*/ 247269 h 330898"/>
                <a:gd name="connsiteX27" fmla="*/ 200216 w 233171"/>
                <a:gd name="connsiteY27" fmla="*/ 210883 h 330898"/>
                <a:gd name="connsiteX28" fmla="*/ 200216 w 233171"/>
                <a:gd name="connsiteY28" fmla="*/ 210026 h 330898"/>
                <a:gd name="connsiteX29" fmla="*/ 193262 w 233171"/>
                <a:gd name="connsiteY29" fmla="*/ 173641 h 330898"/>
                <a:gd name="connsiteX30" fmla="*/ 174498 w 233171"/>
                <a:gd name="connsiteY30" fmla="*/ 145732 h 330898"/>
                <a:gd name="connsiteX31" fmla="*/ 147733 w 233171"/>
                <a:gd name="connsiteY31" fmla="*/ 127635 h 330898"/>
                <a:gd name="connsiteX32" fmla="*/ 116681 w 233171"/>
                <a:gd name="connsiteY32" fmla="*/ 121158 h 330898"/>
                <a:gd name="connsiteX33" fmla="*/ 84963 w 233171"/>
                <a:gd name="connsiteY33" fmla="*/ 127159 h 330898"/>
                <a:gd name="connsiteX34" fmla="*/ 59341 w 233171"/>
                <a:gd name="connsiteY34" fmla="*/ 144589 h 330898"/>
                <a:gd name="connsiteX35" fmla="*/ 41910 w 233171"/>
                <a:gd name="connsiteY35" fmla="*/ 172498 h 330898"/>
                <a:gd name="connsiteX36" fmla="*/ 35433 w 233171"/>
                <a:gd name="connsiteY36" fmla="*/ 210026 h 330898"/>
                <a:gd name="connsiteX37" fmla="*/ 35433 w 233171"/>
                <a:gd name="connsiteY37" fmla="*/ 210883 h 330898"/>
                <a:gd name="connsiteX38" fmla="*/ 41910 w 233171"/>
                <a:gd name="connsiteY38" fmla="*/ 247936 h 330898"/>
                <a:gd name="connsiteX39" fmla="*/ 59531 w 233171"/>
                <a:gd name="connsiteY39" fmla="*/ 276034 h 330898"/>
                <a:gd name="connsiteX40" fmla="*/ 85439 w 233171"/>
                <a:gd name="connsiteY40" fmla="*/ 293941 h 330898"/>
                <a:gd name="connsiteX41" fmla="*/ 116681 w 23317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3171" h="330898">
                  <a:moveTo>
                    <a:pt x="110394" y="330898"/>
                  </a:moveTo>
                  <a:cubicBezTo>
                    <a:pt x="96393" y="330898"/>
                    <a:pt x="82868" y="328231"/>
                    <a:pt x="69723" y="322897"/>
                  </a:cubicBezTo>
                  <a:cubicBezTo>
                    <a:pt x="56674" y="317563"/>
                    <a:pt x="44863" y="309753"/>
                    <a:pt x="34480" y="299466"/>
                  </a:cubicBezTo>
                  <a:cubicBezTo>
                    <a:pt x="24003" y="289179"/>
                    <a:pt x="15716" y="276701"/>
                    <a:pt x="9430" y="261938"/>
                  </a:cubicBezTo>
                  <a:cubicBezTo>
                    <a:pt x="3143" y="247174"/>
                    <a:pt x="0" y="230314"/>
                    <a:pt x="0" y="211264"/>
                  </a:cubicBezTo>
                  <a:lnTo>
                    <a:pt x="0" y="210407"/>
                  </a:lnTo>
                  <a:cubicBezTo>
                    <a:pt x="0" y="191643"/>
                    <a:pt x="3143" y="174879"/>
                    <a:pt x="9430" y="159925"/>
                  </a:cubicBezTo>
                  <a:cubicBezTo>
                    <a:pt x="15716" y="145066"/>
                    <a:pt x="24003" y="132493"/>
                    <a:pt x="34480" y="122206"/>
                  </a:cubicBezTo>
                  <a:cubicBezTo>
                    <a:pt x="44863" y="111919"/>
                    <a:pt x="56674" y="104013"/>
                    <a:pt x="69723" y="98488"/>
                  </a:cubicBezTo>
                  <a:cubicBezTo>
                    <a:pt x="82868" y="92964"/>
                    <a:pt x="96393" y="90202"/>
                    <a:pt x="110394" y="90202"/>
                  </a:cubicBezTo>
                  <a:cubicBezTo>
                    <a:pt x="121158" y="90202"/>
                    <a:pt x="130969" y="91535"/>
                    <a:pt x="139827" y="94202"/>
                  </a:cubicBezTo>
                  <a:cubicBezTo>
                    <a:pt x="148780" y="96869"/>
                    <a:pt x="156782" y="100489"/>
                    <a:pt x="163925" y="104870"/>
                  </a:cubicBezTo>
                  <a:cubicBezTo>
                    <a:pt x="171069" y="109347"/>
                    <a:pt x="177546" y="114586"/>
                    <a:pt x="183356" y="120491"/>
                  </a:cubicBezTo>
                  <a:cubicBezTo>
                    <a:pt x="189166" y="126492"/>
                    <a:pt x="194310" y="132683"/>
                    <a:pt x="198787" y="139255"/>
                  </a:cubicBezTo>
                  <a:lnTo>
                    <a:pt x="198787" y="0"/>
                  </a:lnTo>
                  <a:lnTo>
                    <a:pt x="233172" y="0"/>
                  </a:lnTo>
                  <a:lnTo>
                    <a:pt x="233172" y="325850"/>
                  </a:lnTo>
                  <a:lnTo>
                    <a:pt x="198787" y="325850"/>
                  </a:lnTo>
                  <a:lnTo>
                    <a:pt x="198787" y="279463"/>
                  </a:lnTo>
                  <a:cubicBezTo>
                    <a:pt x="194024" y="286321"/>
                    <a:pt x="188786" y="292894"/>
                    <a:pt x="182975" y="299085"/>
                  </a:cubicBezTo>
                  <a:cubicBezTo>
                    <a:pt x="177165" y="305371"/>
                    <a:pt x="170688" y="310896"/>
                    <a:pt x="163544" y="315658"/>
                  </a:cubicBezTo>
                  <a:cubicBezTo>
                    <a:pt x="156400" y="320421"/>
                    <a:pt x="148494" y="324136"/>
                    <a:pt x="139636" y="326803"/>
                  </a:cubicBezTo>
                  <a:cubicBezTo>
                    <a:pt x="130873" y="329470"/>
                    <a:pt x="121158" y="330803"/>
                    <a:pt x="110394" y="330803"/>
                  </a:cubicBezTo>
                  <a:close/>
                  <a:moveTo>
                    <a:pt x="116681" y="300133"/>
                  </a:moveTo>
                  <a:cubicBezTo>
                    <a:pt x="127445" y="300133"/>
                    <a:pt x="137732" y="297942"/>
                    <a:pt x="147733" y="293656"/>
                  </a:cubicBezTo>
                  <a:cubicBezTo>
                    <a:pt x="157734" y="289369"/>
                    <a:pt x="166592" y="283273"/>
                    <a:pt x="174498" y="275368"/>
                  </a:cubicBezTo>
                  <a:cubicBezTo>
                    <a:pt x="182404" y="267462"/>
                    <a:pt x="188595" y="258127"/>
                    <a:pt x="193262" y="247269"/>
                  </a:cubicBezTo>
                  <a:cubicBezTo>
                    <a:pt x="197834" y="236410"/>
                    <a:pt x="200216" y="224314"/>
                    <a:pt x="200216" y="210883"/>
                  </a:cubicBezTo>
                  <a:lnTo>
                    <a:pt x="200216" y="210026"/>
                  </a:lnTo>
                  <a:cubicBezTo>
                    <a:pt x="200216" y="196596"/>
                    <a:pt x="197929" y="184499"/>
                    <a:pt x="193262" y="173641"/>
                  </a:cubicBezTo>
                  <a:cubicBezTo>
                    <a:pt x="188595" y="162782"/>
                    <a:pt x="182404" y="153448"/>
                    <a:pt x="174498" y="145732"/>
                  </a:cubicBezTo>
                  <a:cubicBezTo>
                    <a:pt x="166592" y="138017"/>
                    <a:pt x="157639" y="132016"/>
                    <a:pt x="147733" y="127635"/>
                  </a:cubicBezTo>
                  <a:cubicBezTo>
                    <a:pt x="137732" y="123349"/>
                    <a:pt x="127445" y="121158"/>
                    <a:pt x="116681" y="121158"/>
                  </a:cubicBezTo>
                  <a:cubicBezTo>
                    <a:pt x="105346" y="121158"/>
                    <a:pt x="94774" y="123158"/>
                    <a:pt x="84963" y="127159"/>
                  </a:cubicBezTo>
                  <a:cubicBezTo>
                    <a:pt x="75152" y="131159"/>
                    <a:pt x="66580" y="136969"/>
                    <a:pt x="59341" y="144589"/>
                  </a:cubicBezTo>
                  <a:cubicBezTo>
                    <a:pt x="52007" y="152114"/>
                    <a:pt x="46291" y="161449"/>
                    <a:pt x="41910" y="172498"/>
                  </a:cubicBezTo>
                  <a:cubicBezTo>
                    <a:pt x="37624" y="183451"/>
                    <a:pt x="35433" y="196024"/>
                    <a:pt x="35433" y="210026"/>
                  </a:cubicBezTo>
                  <a:lnTo>
                    <a:pt x="35433" y="210883"/>
                  </a:lnTo>
                  <a:cubicBezTo>
                    <a:pt x="35433" y="224599"/>
                    <a:pt x="37624" y="236982"/>
                    <a:pt x="41910" y="247936"/>
                  </a:cubicBezTo>
                  <a:cubicBezTo>
                    <a:pt x="46196" y="258984"/>
                    <a:pt x="52101" y="268319"/>
                    <a:pt x="59531" y="276034"/>
                  </a:cubicBezTo>
                  <a:cubicBezTo>
                    <a:pt x="66960" y="283750"/>
                    <a:pt x="75629" y="289750"/>
                    <a:pt x="85439" y="293941"/>
                  </a:cubicBezTo>
                  <a:cubicBezTo>
                    <a:pt x="95250" y="298132"/>
                    <a:pt x="105632" y="300228"/>
                    <a:pt x="116681" y="300228"/>
                  </a:cubicBezTo>
                  <a:close/>
                </a:path>
              </a:pathLst>
            </a:custGeom>
            <a:solidFill>
              <a:srgbClr val="44505E"/>
            </a:solidFill>
            <a:ln w="9525" cap="flat">
              <a:noFill/>
              <a:prstDash val="solid"/>
              <a:miter/>
            </a:ln>
          </p:spPr>
          <p:txBody>
            <a:bodyPr rtlCol="0" anchor="ctr"/>
            <a:lstStyle/>
            <a:p>
              <a:endParaRPr lang="pt-BR" noProof="0"/>
            </a:p>
          </p:txBody>
        </p:sp>
        <p:sp>
          <p:nvSpPr>
            <p:cNvPr id="40" name="Freeform: Shape 52">
              <a:extLst>
                <a:ext uri="{FF2B5EF4-FFF2-40B4-BE49-F238E27FC236}">
                  <a16:creationId xmlns:a16="http://schemas.microsoft.com/office/drawing/2014/main" id="{879FDE98-9ECB-ABF9-6BC0-7B3C5D1A1569}"/>
                </a:ext>
              </a:extLst>
            </p:cNvPr>
            <p:cNvSpPr/>
            <p:nvPr/>
          </p:nvSpPr>
          <p:spPr>
            <a:xfrm>
              <a:off x="6586762"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0 w 202977"/>
                <a:gd name="connsiteY16" fmla="*/ 48196 h 239267"/>
                <a:gd name="connsiteX17" fmla="*/ 20383 w 202977"/>
                <a:gd name="connsiteY17" fmla="*/ 19907 h 239267"/>
                <a:gd name="connsiteX18" fmla="*/ 59245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0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1"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675" y="92678"/>
                    <a:pt x="84011" y="90964"/>
                    <a:pt x="98584" y="90964"/>
                  </a:cubicBezTo>
                  <a:cubicBezTo>
                    <a:pt x="113157" y="90964"/>
                    <a:pt x="126302"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0" y="33147"/>
                    <a:pt x="63436" y="36100"/>
                  </a:cubicBezTo>
                  <a:cubicBezTo>
                    <a:pt x="52292" y="39053"/>
                    <a:pt x="41338" y="43053"/>
                    <a:pt x="30670" y="48196"/>
                  </a:cubicBezTo>
                  <a:lnTo>
                    <a:pt x="20383" y="19907"/>
                  </a:lnTo>
                  <a:cubicBezTo>
                    <a:pt x="33147" y="13906"/>
                    <a:pt x="46101" y="9049"/>
                    <a:pt x="59245" y="5429"/>
                  </a:cubicBezTo>
                  <a:cubicBezTo>
                    <a:pt x="72294" y="1810"/>
                    <a:pt x="87344" y="0"/>
                    <a:pt x="104299" y="0"/>
                  </a:cubicBezTo>
                  <a:cubicBezTo>
                    <a:pt x="137064" y="0"/>
                    <a:pt x="161925" y="8477"/>
                    <a:pt x="178879" y="25432"/>
                  </a:cubicBezTo>
                  <a:cubicBezTo>
                    <a:pt x="194976"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0" y="239173"/>
                  </a:cubicBezTo>
                  <a:close/>
                  <a:moveTo>
                    <a:pt x="93154" y="211169"/>
                  </a:moveTo>
                  <a:cubicBezTo>
                    <a:pt x="103822" y="211169"/>
                    <a:pt x="113729" y="209740"/>
                    <a:pt x="122967" y="206788"/>
                  </a:cubicBezTo>
                  <a:cubicBezTo>
                    <a:pt x="132207"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4" y="119348"/>
                    <a:pt x="116871"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41" name="Freeform: Shape 53">
              <a:extLst>
                <a:ext uri="{FF2B5EF4-FFF2-40B4-BE49-F238E27FC236}">
                  <a16:creationId xmlns:a16="http://schemas.microsoft.com/office/drawing/2014/main" id="{EBA159C1-B234-AD29-1702-485E0AE70C3A}"/>
                </a:ext>
              </a:extLst>
            </p:cNvPr>
            <p:cNvSpPr/>
            <p:nvPr/>
          </p:nvSpPr>
          <p:spPr>
            <a:xfrm>
              <a:off x="6651291" y="924268"/>
              <a:ext cx="44680" cy="60195"/>
            </a:xfrm>
            <a:custGeom>
              <a:avLst/>
              <a:gdLst>
                <a:gd name="connsiteX0" fmla="*/ 95535 w 177736"/>
                <a:gd name="connsiteY0" fmla="*/ 239268 h 239458"/>
                <a:gd name="connsiteX1" fmla="*/ 45053 w 177736"/>
                <a:gd name="connsiteY1" fmla="*/ 230124 h 239458"/>
                <a:gd name="connsiteX2" fmla="*/ 0 w 177736"/>
                <a:gd name="connsiteY2" fmla="*/ 205359 h 239458"/>
                <a:gd name="connsiteX3" fmla="*/ 17430 w 177736"/>
                <a:gd name="connsiteY3" fmla="*/ 180785 h 239458"/>
                <a:gd name="connsiteX4" fmla="*/ 56483 w 177736"/>
                <a:gd name="connsiteY4" fmla="*/ 202692 h 239458"/>
                <a:gd name="connsiteX5" fmla="*/ 97345 w 177736"/>
                <a:gd name="connsiteY5" fmla="*/ 210217 h 239458"/>
                <a:gd name="connsiteX6" fmla="*/ 131730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825 w 177736"/>
                <a:gd name="connsiteY10" fmla="*/ 147066 h 239458"/>
                <a:gd name="connsiteX11" fmla="*/ 109251 w 177736"/>
                <a:gd name="connsiteY11" fmla="*/ 138779 h 239458"/>
                <a:gd name="connsiteX12" fmla="*/ 87630 w 177736"/>
                <a:gd name="connsiteY12" fmla="*/ 132112 h 239458"/>
                <a:gd name="connsiteX13" fmla="*/ 60579 w 177736"/>
                <a:gd name="connsiteY13" fmla="*/ 123444 h 239458"/>
                <a:gd name="connsiteX14" fmla="*/ 36004 w 177736"/>
                <a:gd name="connsiteY14" fmla="*/ 111633 h 239458"/>
                <a:gd name="connsiteX15" fmla="*/ 18192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59 w 177736"/>
                <a:gd name="connsiteY22" fmla="*/ 6953 h 239458"/>
                <a:gd name="connsiteX23" fmla="*/ 172878 w 177736"/>
                <a:gd name="connsiteY23" fmla="*/ 25527 h 239458"/>
                <a:gd name="connsiteX24" fmla="*/ 157257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3 w 177736"/>
                <a:gd name="connsiteY32" fmla="*/ 96203 h 239458"/>
                <a:gd name="connsiteX33" fmla="*/ 103631 w 177736"/>
                <a:gd name="connsiteY33" fmla="*/ 103346 h 239458"/>
                <a:gd name="connsiteX34" fmla="*/ 130207 w 177736"/>
                <a:gd name="connsiteY34" fmla="*/ 112300 h 239458"/>
                <a:gd name="connsiteX35" fmla="*/ 154114 w 177736"/>
                <a:gd name="connsiteY35" fmla="*/ 124778 h 239458"/>
                <a:gd name="connsiteX36" fmla="*/ 171259 w 177736"/>
                <a:gd name="connsiteY36" fmla="*/ 143066 h 239458"/>
                <a:gd name="connsiteX37" fmla="*/ 177736 w 177736"/>
                <a:gd name="connsiteY37" fmla="*/ 169450 h 239458"/>
                <a:gd name="connsiteX38" fmla="*/ 177736 w 177736"/>
                <a:gd name="connsiteY38" fmla="*/ 170307 h 239458"/>
                <a:gd name="connsiteX39" fmla="*/ 171259 w 177736"/>
                <a:gd name="connsiteY39" fmla="*/ 199549 h 239458"/>
                <a:gd name="connsiteX40" fmla="*/ 153828 w 177736"/>
                <a:gd name="connsiteY40" fmla="*/ 221171 h 239458"/>
                <a:gd name="connsiteX41" fmla="*/ 127921 w 177736"/>
                <a:gd name="connsiteY41" fmla="*/ 234791 h 239458"/>
                <a:gd name="connsiteX42" fmla="*/ 95535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5" y="239268"/>
                  </a:moveTo>
                  <a:cubicBezTo>
                    <a:pt x="78867" y="239268"/>
                    <a:pt x="62007" y="236220"/>
                    <a:pt x="45053" y="230124"/>
                  </a:cubicBezTo>
                  <a:cubicBezTo>
                    <a:pt x="28098" y="224028"/>
                    <a:pt x="13049" y="215741"/>
                    <a:pt x="0" y="205359"/>
                  </a:cubicBezTo>
                  <a:lnTo>
                    <a:pt x="17430" y="180785"/>
                  </a:lnTo>
                  <a:cubicBezTo>
                    <a:pt x="29908" y="190310"/>
                    <a:pt x="42957" y="197644"/>
                    <a:pt x="56483" y="202692"/>
                  </a:cubicBezTo>
                  <a:cubicBezTo>
                    <a:pt x="70009" y="207740"/>
                    <a:pt x="83629" y="210217"/>
                    <a:pt x="97345" y="210217"/>
                  </a:cubicBezTo>
                  <a:cubicBezTo>
                    <a:pt x="111061" y="210217"/>
                    <a:pt x="122777" y="206978"/>
                    <a:pt x="131730" y="200406"/>
                  </a:cubicBezTo>
                  <a:cubicBezTo>
                    <a:pt x="140684" y="193834"/>
                    <a:pt x="145161" y="184976"/>
                    <a:pt x="145161" y="173641"/>
                  </a:cubicBezTo>
                  <a:lnTo>
                    <a:pt x="145161" y="172784"/>
                  </a:lnTo>
                  <a:cubicBezTo>
                    <a:pt x="145161" y="167164"/>
                    <a:pt x="143541" y="162211"/>
                    <a:pt x="140494" y="158020"/>
                  </a:cubicBezTo>
                  <a:cubicBezTo>
                    <a:pt x="137350" y="153829"/>
                    <a:pt x="133159" y="150209"/>
                    <a:pt x="127825" y="147066"/>
                  </a:cubicBezTo>
                  <a:cubicBezTo>
                    <a:pt x="122491" y="143923"/>
                    <a:pt x="116300" y="141161"/>
                    <a:pt x="109251" y="138779"/>
                  </a:cubicBezTo>
                  <a:cubicBezTo>
                    <a:pt x="102298" y="136398"/>
                    <a:pt x="95059" y="134207"/>
                    <a:pt x="87630" y="132112"/>
                  </a:cubicBezTo>
                  <a:cubicBezTo>
                    <a:pt x="78676" y="129445"/>
                    <a:pt x="69722" y="126492"/>
                    <a:pt x="60579" y="123444"/>
                  </a:cubicBezTo>
                  <a:cubicBezTo>
                    <a:pt x="51530" y="120301"/>
                    <a:pt x="43339" y="116396"/>
                    <a:pt x="36004" y="111633"/>
                  </a:cubicBezTo>
                  <a:cubicBezTo>
                    <a:pt x="28670" y="106871"/>
                    <a:pt x="22764" y="100870"/>
                    <a:pt x="18192" y="93726"/>
                  </a:cubicBezTo>
                  <a:cubicBezTo>
                    <a:pt x="13525" y="86582"/>
                    <a:pt x="11239" y="77629"/>
                    <a:pt x="11239" y="66961"/>
                  </a:cubicBezTo>
                  <a:lnTo>
                    <a:pt x="11239" y="66008"/>
                  </a:lnTo>
                  <a:cubicBezTo>
                    <a:pt x="11239" y="56198"/>
                    <a:pt x="13144" y="47149"/>
                    <a:pt x="17050" y="39053"/>
                  </a:cubicBezTo>
                  <a:cubicBezTo>
                    <a:pt x="20955" y="30861"/>
                    <a:pt x="26384" y="23908"/>
                    <a:pt x="33338" y="18098"/>
                  </a:cubicBezTo>
                  <a:cubicBezTo>
                    <a:pt x="40291" y="12287"/>
                    <a:pt x="48673" y="7811"/>
                    <a:pt x="58388" y="4667"/>
                  </a:cubicBezTo>
                  <a:cubicBezTo>
                    <a:pt x="68008" y="1524"/>
                    <a:pt x="78581" y="0"/>
                    <a:pt x="89821" y="0"/>
                  </a:cubicBezTo>
                  <a:cubicBezTo>
                    <a:pt x="104108" y="0"/>
                    <a:pt x="118586" y="2286"/>
                    <a:pt x="133159" y="6953"/>
                  </a:cubicBezTo>
                  <a:cubicBezTo>
                    <a:pt x="147732" y="11621"/>
                    <a:pt x="160972" y="17717"/>
                    <a:pt x="172878" y="25527"/>
                  </a:cubicBezTo>
                  <a:lnTo>
                    <a:pt x="157257" y="51435"/>
                  </a:lnTo>
                  <a:cubicBezTo>
                    <a:pt x="146494" y="44577"/>
                    <a:pt x="135255" y="39148"/>
                    <a:pt x="123539" y="35147"/>
                  </a:cubicBezTo>
                  <a:cubicBezTo>
                    <a:pt x="111823" y="31147"/>
                    <a:pt x="100203" y="29146"/>
                    <a:pt x="88963" y="29146"/>
                  </a:cubicBezTo>
                  <a:cubicBezTo>
                    <a:pt x="75247" y="29146"/>
                    <a:pt x="64389" y="32385"/>
                    <a:pt x="56388" y="38767"/>
                  </a:cubicBezTo>
                  <a:cubicBezTo>
                    <a:pt x="48291" y="45149"/>
                    <a:pt x="44291" y="53150"/>
                    <a:pt x="44291" y="62675"/>
                  </a:cubicBezTo>
                  <a:lnTo>
                    <a:pt x="44291" y="63627"/>
                  </a:lnTo>
                  <a:cubicBezTo>
                    <a:pt x="44291" y="68961"/>
                    <a:pt x="45910" y="73628"/>
                    <a:pt x="49244" y="77724"/>
                  </a:cubicBezTo>
                  <a:cubicBezTo>
                    <a:pt x="52482" y="81725"/>
                    <a:pt x="56864" y="85249"/>
                    <a:pt x="62389" y="88202"/>
                  </a:cubicBezTo>
                  <a:cubicBezTo>
                    <a:pt x="67913" y="91154"/>
                    <a:pt x="74200" y="93821"/>
                    <a:pt x="81343" y="96203"/>
                  </a:cubicBezTo>
                  <a:cubicBezTo>
                    <a:pt x="88487" y="98584"/>
                    <a:pt x="95916" y="100965"/>
                    <a:pt x="103631" y="103346"/>
                  </a:cubicBezTo>
                  <a:cubicBezTo>
                    <a:pt x="112585" y="106013"/>
                    <a:pt x="121444" y="108966"/>
                    <a:pt x="130207" y="112300"/>
                  </a:cubicBezTo>
                  <a:cubicBezTo>
                    <a:pt x="138969" y="115538"/>
                    <a:pt x="146971" y="119729"/>
                    <a:pt x="154114" y="124778"/>
                  </a:cubicBezTo>
                  <a:cubicBezTo>
                    <a:pt x="161258" y="129826"/>
                    <a:pt x="166973" y="135922"/>
                    <a:pt x="171259" y="143066"/>
                  </a:cubicBezTo>
                  <a:cubicBezTo>
                    <a:pt x="175546" y="150209"/>
                    <a:pt x="177736" y="158972"/>
                    <a:pt x="177736" y="169450"/>
                  </a:cubicBezTo>
                  <a:lnTo>
                    <a:pt x="177736" y="170307"/>
                  </a:lnTo>
                  <a:cubicBezTo>
                    <a:pt x="177736" y="181356"/>
                    <a:pt x="175546" y="191071"/>
                    <a:pt x="171259" y="199549"/>
                  </a:cubicBezTo>
                  <a:cubicBezTo>
                    <a:pt x="166973" y="208026"/>
                    <a:pt x="161163" y="215265"/>
                    <a:pt x="153828" y="221171"/>
                  </a:cubicBezTo>
                  <a:cubicBezTo>
                    <a:pt x="146589" y="227171"/>
                    <a:pt x="137922" y="231648"/>
                    <a:pt x="127921" y="234791"/>
                  </a:cubicBezTo>
                  <a:cubicBezTo>
                    <a:pt x="117919" y="237935"/>
                    <a:pt x="107156" y="239459"/>
                    <a:pt x="95535" y="239459"/>
                  </a:cubicBezTo>
                  <a:close/>
                </a:path>
              </a:pathLst>
            </a:custGeom>
            <a:solidFill>
              <a:srgbClr val="44505E"/>
            </a:solidFill>
            <a:ln w="9525" cap="flat">
              <a:noFill/>
              <a:prstDash val="solid"/>
              <a:miter/>
            </a:ln>
          </p:spPr>
          <p:txBody>
            <a:bodyPr rtlCol="0" anchor="ctr"/>
            <a:lstStyle/>
            <a:p>
              <a:endParaRPr lang="pt-BR" noProof="0"/>
            </a:p>
          </p:txBody>
        </p:sp>
        <p:sp>
          <p:nvSpPr>
            <p:cNvPr id="42" name="Freeform: Shape 54">
              <a:extLst>
                <a:ext uri="{FF2B5EF4-FFF2-40B4-BE49-F238E27FC236}">
                  <a16:creationId xmlns:a16="http://schemas.microsoft.com/office/drawing/2014/main" id="{41DD4817-3DC5-E75E-BE28-315D579E2D4A}"/>
                </a:ext>
              </a:extLst>
            </p:cNvPr>
            <p:cNvSpPr/>
            <p:nvPr/>
          </p:nvSpPr>
          <p:spPr>
            <a:xfrm>
              <a:off x="5250320" y="846952"/>
              <a:ext cx="1459036" cy="16186"/>
            </a:xfrm>
            <a:custGeom>
              <a:avLst/>
              <a:gdLst>
                <a:gd name="connsiteX0" fmla="*/ 0 w 5804058"/>
                <a:gd name="connsiteY0" fmla="*/ 0 h 64388"/>
                <a:gd name="connsiteX1" fmla="*/ 5804059 w 5804058"/>
                <a:gd name="connsiteY1" fmla="*/ 0 h 64388"/>
                <a:gd name="connsiteX2" fmla="*/ 5804059 w 5804058"/>
                <a:gd name="connsiteY2" fmla="*/ 64389 h 64388"/>
                <a:gd name="connsiteX3" fmla="*/ 0 w 5804058"/>
                <a:gd name="connsiteY3" fmla="*/ 64389 h 64388"/>
              </a:gdLst>
              <a:ahLst/>
              <a:cxnLst>
                <a:cxn ang="0">
                  <a:pos x="connsiteX0" y="connsiteY0"/>
                </a:cxn>
                <a:cxn ang="0">
                  <a:pos x="connsiteX1" y="connsiteY1"/>
                </a:cxn>
                <a:cxn ang="0">
                  <a:pos x="connsiteX2" y="connsiteY2"/>
                </a:cxn>
                <a:cxn ang="0">
                  <a:pos x="connsiteX3" y="connsiteY3"/>
                </a:cxn>
              </a:cxnLst>
              <a:rect l="l" t="t" r="r" b="b"/>
              <a:pathLst>
                <a:path w="5804058" h="64388">
                  <a:moveTo>
                    <a:pt x="0" y="0"/>
                  </a:moveTo>
                  <a:lnTo>
                    <a:pt x="5804059" y="0"/>
                  </a:lnTo>
                  <a:lnTo>
                    <a:pt x="5804059" y="64389"/>
                  </a:lnTo>
                  <a:lnTo>
                    <a:pt x="0" y="64389"/>
                  </a:lnTo>
                  <a:close/>
                </a:path>
              </a:pathLst>
            </a:custGeom>
            <a:solidFill>
              <a:srgbClr val="44505E"/>
            </a:solidFill>
            <a:ln w="9525" cap="flat">
              <a:noFill/>
              <a:prstDash val="solid"/>
              <a:miter/>
            </a:ln>
          </p:spPr>
          <p:txBody>
            <a:bodyPr rtlCol="0" anchor="ctr"/>
            <a:lstStyle/>
            <a:p>
              <a:endParaRPr lang="pt-BR" noProof="0"/>
            </a:p>
          </p:txBody>
        </p:sp>
        <p:sp>
          <p:nvSpPr>
            <p:cNvPr id="43" name="Freeform: Shape 55">
              <a:extLst>
                <a:ext uri="{FF2B5EF4-FFF2-40B4-BE49-F238E27FC236}">
                  <a16:creationId xmlns:a16="http://schemas.microsoft.com/office/drawing/2014/main" id="{5B63D131-7D04-0B06-D3BC-AF6501DA0305}"/>
                </a:ext>
              </a:extLst>
            </p:cNvPr>
            <p:cNvSpPr/>
            <p:nvPr/>
          </p:nvSpPr>
          <p:spPr>
            <a:xfrm>
              <a:off x="6902633" y="268821"/>
              <a:ext cx="273418" cy="601046"/>
            </a:xfrm>
            <a:custGeom>
              <a:avLst/>
              <a:gdLst>
                <a:gd name="connsiteX0" fmla="*/ 0 w 1087659"/>
                <a:gd name="connsiteY0" fmla="*/ 210979 h 2390965"/>
                <a:gd name="connsiteX1" fmla="*/ 125063 w 1087659"/>
                <a:gd name="connsiteY1" fmla="*/ 103442 h 2390965"/>
                <a:gd name="connsiteX2" fmla="*/ 250031 w 1087659"/>
                <a:gd name="connsiteY2" fmla="*/ 210979 h 2390965"/>
                <a:gd name="connsiteX3" fmla="*/ 250031 w 1087659"/>
                <a:gd name="connsiteY3" fmla="*/ 1922717 h 2390965"/>
                <a:gd name="connsiteX4" fmla="*/ 249841 w 1087659"/>
                <a:gd name="connsiteY4" fmla="*/ 1922717 h 2390965"/>
                <a:gd name="connsiteX5" fmla="*/ 249841 w 1087659"/>
                <a:gd name="connsiteY5" fmla="*/ 1925955 h 2390965"/>
                <a:gd name="connsiteX6" fmla="*/ 333756 w 1087659"/>
                <a:gd name="connsiteY6" fmla="*/ 2100263 h 2390965"/>
                <a:gd name="connsiteX7" fmla="*/ 335566 w 1087659"/>
                <a:gd name="connsiteY7" fmla="*/ 2101787 h 2390965"/>
                <a:gd name="connsiteX8" fmla="*/ 336042 w 1087659"/>
                <a:gd name="connsiteY8" fmla="*/ 2102168 h 2390965"/>
                <a:gd name="connsiteX9" fmla="*/ 543877 w 1087659"/>
                <a:gd name="connsiteY9" fmla="*/ 2175891 h 2390965"/>
                <a:gd name="connsiteX10" fmla="*/ 749998 w 1087659"/>
                <a:gd name="connsiteY10" fmla="*/ 2103692 h 2390965"/>
                <a:gd name="connsiteX11" fmla="*/ 751713 w 1087659"/>
                <a:gd name="connsiteY11" fmla="*/ 2102168 h 2390965"/>
                <a:gd name="connsiteX12" fmla="*/ 752189 w 1087659"/>
                <a:gd name="connsiteY12" fmla="*/ 2101787 h 2390965"/>
                <a:gd name="connsiteX13" fmla="*/ 837819 w 1087659"/>
                <a:gd name="connsiteY13" fmla="*/ 1922812 h 2390965"/>
                <a:gd name="connsiteX14" fmla="*/ 837819 w 1087659"/>
                <a:gd name="connsiteY14" fmla="*/ 107537 h 2390965"/>
                <a:gd name="connsiteX15" fmla="*/ 962787 w 1087659"/>
                <a:gd name="connsiteY15" fmla="*/ 0 h 2390965"/>
                <a:gd name="connsiteX16" fmla="*/ 1087660 w 1087659"/>
                <a:gd name="connsiteY16" fmla="*/ 107537 h 2390965"/>
                <a:gd name="connsiteX17" fmla="*/ 1087660 w 1087659"/>
                <a:gd name="connsiteY17" fmla="*/ 1922621 h 2390965"/>
                <a:gd name="connsiteX18" fmla="*/ 928307 w 1087659"/>
                <a:gd name="connsiteY18" fmla="*/ 2253234 h 2390965"/>
                <a:gd name="connsiteX19" fmla="*/ 928116 w 1087659"/>
                <a:gd name="connsiteY19" fmla="*/ 2253424 h 2390965"/>
                <a:gd name="connsiteX20" fmla="*/ 927830 w 1087659"/>
                <a:gd name="connsiteY20" fmla="*/ 2253710 h 2390965"/>
                <a:gd name="connsiteX21" fmla="*/ 927354 w 1087659"/>
                <a:gd name="connsiteY21" fmla="*/ 2254187 h 2390965"/>
                <a:gd name="connsiteX22" fmla="*/ 543783 w 1087659"/>
                <a:gd name="connsiteY22" fmla="*/ 2390966 h 2390965"/>
                <a:gd name="connsiteX23" fmla="*/ 159734 w 1087659"/>
                <a:gd name="connsiteY23" fmla="*/ 2253710 h 2390965"/>
                <a:gd name="connsiteX24" fmla="*/ 159734 w 1087659"/>
                <a:gd name="connsiteY24" fmla="*/ 2253424 h 2390965"/>
                <a:gd name="connsiteX25" fmla="*/ 159353 w 1087659"/>
                <a:gd name="connsiteY25" fmla="*/ 2253234 h 2390965"/>
                <a:gd name="connsiteX26" fmla="*/ 158877 w 1087659"/>
                <a:gd name="connsiteY26" fmla="*/ 2252948 h 2390965"/>
                <a:gd name="connsiteX27" fmla="*/ 0 w 1087659"/>
                <a:gd name="connsiteY27" fmla="*/ 1922621 h 2390965"/>
                <a:gd name="connsiteX28" fmla="*/ 0 w 1087659"/>
                <a:gd name="connsiteY28" fmla="*/ 1922621 h 2390965"/>
                <a:gd name="connsiteX29" fmla="*/ 0 w 1087659"/>
                <a:gd name="connsiteY29" fmla="*/ 210979 h 239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87659" h="2390965">
                  <a:moveTo>
                    <a:pt x="0" y="210979"/>
                  </a:moveTo>
                  <a:cubicBezTo>
                    <a:pt x="0" y="151638"/>
                    <a:pt x="56007" y="103442"/>
                    <a:pt x="125063" y="103442"/>
                  </a:cubicBezTo>
                  <a:cubicBezTo>
                    <a:pt x="194120" y="103442"/>
                    <a:pt x="250031" y="151638"/>
                    <a:pt x="250031" y="210979"/>
                  </a:cubicBezTo>
                  <a:lnTo>
                    <a:pt x="250031" y="1922717"/>
                  </a:lnTo>
                  <a:lnTo>
                    <a:pt x="249841" y="1922717"/>
                  </a:lnTo>
                  <a:lnTo>
                    <a:pt x="249841" y="1925955"/>
                  </a:lnTo>
                  <a:cubicBezTo>
                    <a:pt x="250793" y="1994059"/>
                    <a:pt x="282797" y="2055495"/>
                    <a:pt x="333756" y="2100263"/>
                  </a:cubicBezTo>
                  <a:lnTo>
                    <a:pt x="335566" y="2101787"/>
                  </a:lnTo>
                  <a:lnTo>
                    <a:pt x="336042" y="2102168"/>
                  </a:lnTo>
                  <a:cubicBezTo>
                    <a:pt x="388906" y="2147697"/>
                    <a:pt x="462343" y="2175891"/>
                    <a:pt x="543877" y="2175891"/>
                  </a:cubicBezTo>
                  <a:cubicBezTo>
                    <a:pt x="625411" y="2175891"/>
                    <a:pt x="697420" y="2148364"/>
                    <a:pt x="749998" y="2103692"/>
                  </a:cubicBezTo>
                  <a:lnTo>
                    <a:pt x="751713" y="2102168"/>
                  </a:lnTo>
                  <a:lnTo>
                    <a:pt x="752189" y="2101787"/>
                  </a:lnTo>
                  <a:cubicBezTo>
                    <a:pt x="805053" y="2056352"/>
                    <a:pt x="837819" y="1993011"/>
                    <a:pt x="837819" y="1922812"/>
                  </a:cubicBezTo>
                  <a:lnTo>
                    <a:pt x="837819" y="107537"/>
                  </a:lnTo>
                  <a:cubicBezTo>
                    <a:pt x="837819" y="48196"/>
                    <a:pt x="893731" y="0"/>
                    <a:pt x="962787" y="0"/>
                  </a:cubicBezTo>
                  <a:cubicBezTo>
                    <a:pt x="1031843" y="0"/>
                    <a:pt x="1087660" y="48196"/>
                    <a:pt x="1087660" y="107537"/>
                  </a:cubicBezTo>
                  <a:lnTo>
                    <a:pt x="1087660" y="1922621"/>
                  </a:lnTo>
                  <a:cubicBezTo>
                    <a:pt x="1087660" y="2051399"/>
                    <a:pt x="1026795" y="2168366"/>
                    <a:pt x="928307" y="2253234"/>
                  </a:cubicBezTo>
                  <a:lnTo>
                    <a:pt x="928116" y="2253424"/>
                  </a:lnTo>
                  <a:lnTo>
                    <a:pt x="927830" y="2253710"/>
                  </a:lnTo>
                  <a:lnTo>
                    <a:pt x="927354" y="2254187"/>
                  </a:lnTo>
                  <a:cubicBezTo>
                    <a:pt x="828770" y="2338673"/>
                    <a:pt x="693134" y="2390966"/>
                    <a:pt x="543783" y="2390966"/>
                  </a:cubicBezTo>
                  <a:cubicBezTo>
                    <a:pt x="394430" y="2390966"/>
                    <a:pt x="258413" y="2338483"/>
                    <a:pt x="159734" y="2253710"/>
                  </a:cubicBezTo>
                  <a:lnTo>
                    <a:pt x="159734" y="2253424"/>
                  </a:lnTo>
                  <a:cubicBezTo>
                    <a:pt x="159734" y="2253424"/>
                    <a:pt x="159353" y="2253234"/>
                    <a:pt x="159353" y="2253234"/>
                  </a:cubicBezTo>
                  <a:lnTo>
                    <a:pt x="158877" y="2252948"/>
                  </a:lnTo>
                  <a:cubicBezTo>
                    <a:pt x="60770" y="2167985"/>
                    <a:pt x="0" y="2051304"/>
                    <a:pt x="0" y="1922621"/>
                  </a:cubicBezTo>
                  <a:lnTo>
                    <a:pt x="0" y="1922621"/>
                  </a:lnTo>
                  <a:lnTo>
                    <a:pt x="0" y="210979"/>
                  </a:lnTo>
                  <a:close/>
                </a:path>
              </a:pathLst>
            </a:custGeom>
            <a:solidFill>
              <a:srgbClr val="8FC640"/>
            </a:solidFill>
            <a:ln w="9525" cap="flat">
              <a:noFill/>
              <a:prstDash val="solid"/>
              <a:miter/>
            </a:ln>
          </p:spPr>
          <p:txBody>
            <a:bodyPr rtlCol="0" anchor="ctr"/>
            <a:lstStyle/>
            <a:p>
              <a:endParaRPr lang="pt-BR" noProof="0"/>
            </a:p>
          </p:txBody>
        </p:sp>
        <p:sp>
          <p:nvSpPr>
            <p:cNvPr id="44" name="Freeform: Shape 56">
              <a:extLst>
                <a:ext uri="{FF2B5EF4-FFF2-40B4-BE49-F238E27FC236}">
                  <a16:creationId xmlns:a16="http://schemas.microsoft.com/office/drawing/2014/main" id="{97DA3A7D-6F53-CD9D-712F-B91444A89963}"/>
                </a:ext>
              </a:extLst>
            </p:cNvPr>
            <p:cNvSpPr/>
            <p:nvPr/>
          </p:nvSpPr>
          <p:spPr>
            <a:xfrm>
              <a:off x="7013590" y="213965"/>
              <a:ext cx="54018" cy="562280"/>
            </a:xfrm>
            <a:custGeom>
              <a:avLst/>
              <a:gdLst>
                <a:gd name="connsiteX0" fmla="*/ 0 w 214883"/>
                <a:gd name="connsiteY0" fmla="*/ 107537 h 2236755"/>
                <a:gd name="connsiteX1" fmla="*/ 107537 w 214883"/>
                <a:gd name="connsiteY1" fmla="*/ 0 h 2236755"/>
                <a:gd name="connsiteX2" fmla="*/ 214884 w 214883"/>
                <a:gd name="connsiteY2" fmla="*/ 107537 h 2236755"/>
                <a:gd name="connsiteX3" fmla="*/ 214884 w 214883"/>
                <a:gd name="connsiteY3" fmla="*/ 2129219 h 2236755"/>
                <a:gd name="connsiteX4" fmla="*/ 107537 w 214883"/>
                <a:gd name="connsiteY4" fmla="*/ 2236756 h 2236755"/>
                <a:gd name="connsiteX5" fmla="*/ 0 w 214883"/>
                <a:gd name="connsiteY5" fmla="*/ 2129219 h 2236755"/>
                <a:gd name="connsiteX6" fmla="*/ 0 w 214883"/>
                <a:gd name="connsiteY6" fmla="*/ 107537 h 223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 h="2236755">
                  <a:moveTo>
                    <a:pt x="0" y="107537"/>
                  </a:moveTo>
                  <a:cubicBezTo>
                    <a:pt x="0" y="48197"/>
                    <a:pt x="48101" y="0"/>
                    <a:pt x="107537" y="0"/>
                  </a:cubicBezTo>
                  <a:cubicBezTo>
                    <a:pt x="166973" y="0"/>
                    <a:pt x="214884" y="48197"/>
                    <a:pt x="214884" y="107537"/>
                  </a:cubicBezTo>
                  <a:lnTo>
                    <a:pt x="214884" y="2129219"/>
                  </a:lnTo>
                  <a:cubicBezTo>
                    <a:pt x="214884" y="2188559"/>
                    <a:pt x="166782" y="2236756"/>
                    <a:pt x="107537" y="2236756"/>
                  </a:cubicBezTo>
                  <a:cubicBezTo>
                    <a:pt x="48291" y="2236756"/>
                    <a:pt x="0" y="2188559"/>
                    <a:pt x="0" y="2129219"/>
                  </a:cubicBezTo>
                  <a:lnTo>
                    <a:pt x="0" y="107537"/>
                  </a:lnTo>
                  <a:close/>
                </a:path>
              </a:pathLst>
            </a:custGeom>
            <a:solidFill>
              <a:srgbClr val="3698B0"/>
            </a:solidFill>
            <a:ln w="9525" cap="flat">
              <a:noFill/>
              <a:prstDash val="solid"/>
              <a:miter/>
            </a:ln>
          </p:spPr>
          <p:txBody>
            <a:bodyPr rtlCol="0" anchor="ctr"/>
            <a:lstStyle/>
            <a:p>
              <a:endParaRPr lang="pt-BR" noProof="0"/>
            </a:p>
          </p:txBody>
        </p:sp>
        <p:sp>
          <p:nvSpPr>
            <p:cNvPr id="45" name="Freeform: Shape 57">
              <a:extLst>
                <a:ext uri="{FF2B5EF4-FFF2-40B4-BE49-F238E27FC236}">
                  <a16:creationId xmlns:a16="http://schemas.microsoft.com/office/drawing/2014/main" id="{9402F339-FA7D-F139-07CC-9D7899594B23}"/>
                </a:ext>
              </a:extLst>
            </p:cNvPr>
            <p:cNvSpPr/>
            <p:nvPr/>
          </p:nvSpPr>
          <p:spPr>
            <a:xfrm>
              <a:off x="6795770" y="332991"/>
              <a:ext cx="485994" cy="649437"/>
            </a:xfrm>
            <a:custGeom>
              <a:avLst/>
              <a:gdLst>
                <a:gd name="connsiteX0" fmla="*/ 1933290 w 1933289"/>
                <a:gd name="connsiteY0" fmla="*/ 138017 h 2583465"/>
                <a:gd name="connsiteX1" fmla="*/ 1933290 w 1933289"/>
                <a:gd name="connsiteY1" fmla="*/ 1734122 h 2583465"/>
                <a:gd name="connsiteX2" fmla="*/ 1796606 w 1933289"/>
                <a:gd name="connsiteY2" fmla="*/ 2229136 h 2583465"/>
                <a:gd name="connsiteX3" fmla="*/ 977742 w 1933289"/>
                <a:gd name="connsiteY3" fmla="*/ 2583466 h 2583465"/>
                <a:gd name="connsiteX4" fmla="*/ 955357 w 1933289"/>
                <a:gd name="connsiteY4" fmla="*/ 2583466 h 2583465"/>
                <a:gd name="connsiteX5" fmla="*/ 136589 w 1933289"/>
                <a:gd name="connsiteY5" fmla="*/ 2229136 h 2583465"/>
                <a:gd name="connsiteX6" fmla="*/ 0 w 1933289"/>
                <a:gd name="connsiteY6" fmla="*/ 1734122 h 2583465"/>
                <a:gd name="connsiteX7" fmla="*/ 0 w 1933289"/>
                <a:gd name="connsiteY7" fmla="*/ 794194 h 2583465"/>
                <a:gd name="connsiteX8" fmla="*/ 137827 w 1933289"/>
                <a:gd name="connsiteY8" fmla="*/ 656273 h 2583465"/>
                <a:gd name="connsiteX9" fmla="*/ 275463 w 1933289"/>
                <a:gd name="connsiteY9" fmla="*/ 794194 h 2583465"/>
                <a:gd name="connsiteX10" fmla="*/ 275463 w 1933289"/>
                <a:gd name="connsiteY10" fmla="*/ 1734122 h 2583465"/>
                <a:gd name="connsiteX11" fmla="*/ 354235 w 1933289"/>
                <a:gd name="connsiteY11" fmla="*/ 2059686 h 2583465"/>
                <a:gd name="connsiteX12" fmla="*/ 958215 w 1933289"/>
                <a:gd name="connsiteY12" fmla="*/ 2307527 h 2583465"/>
                <a:gd name="connsiteX13" fmla="*/ 974789 w 1933289"/>
                <a:gd name="connsiteY13" fmla="*/ 2307527 h 2583465"/>
                <a:gd name="connsiteX14" fmla="*/ 1578959 w 1933289"/>
                <a:gd name="connsiteY14" fmla="*/ 2059686 h 2583465"/>
                <a:gd name="connsiteX15" fmla="*/ 1657636 w 1933289"/>
                <a:gd name="connsiteY15" fmla="*/ 1734122 h 2583465"/>
                <a:gd name="connsiteX16" fmla="*/ 1657636 w 1933289"/>
                <a:gd name="connsiteY16" fmla="*/ 138017 h 2583465"/>
                <a:gd name="connsiteX17" fmla="*/ 1795463 w 1933289"/>
                <a:gd name="connsiteY17" fmla="*/ 0 h 2583465"/>
                <a:gd name="connsiteX18" fmla="*/ 1933290 w 1933289"/>
                <a:gd name="connsiteY18" fmla="*/ 138017 h 25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3289" h="2583465">
                  <a:moveTo>
                    <a:pt x="1933290" y="138017"/>
                  </a:moveTo>
                  <a:lnTo>
                    <a:pt x="1933290" y="1734122"/>
                  </a:lnTo>
                  <a:cubicBezTo>
                    <a:pt x="1933290" y="1870996"/>
                    <a:pt x="1919002" y="2071211"/>
                    <a:pt x="1796606" y="2229136"/>
                  </a:cubicBezTo>
                  <a:cubicBezTo>
                    <a:pt x="1634395" y="2438305"/>
                    <a:pt x="1432084" y="2578703"/>
                    <a:pt x="977742" y="2583466"/>
                  </a:cubicBezTo>
                  <a:lnTo>
                    <a:pt x="955357" y="2583466"/>
                  </a:lnTo>
                  <a:cubicBezTo>
                    <a:pt x="501015" y="2578703"/>
                    <a:pt x="298704" y="2438400"/>
                    <a:pt x="136589" y="2229136"/>
                  </a:cubicBezTo>
                  <a:cubicBezTo>
                    <a:pt x="14192" y="2071211"/>
                    <a:pt x="0" y="1870996"/>
                    <a:pt x="0" y="1734122"/>
                  </a:cubicBezTo>
                  <a:lnTo>
                    <a:pt x="0" y="794194"/>
                  </a:lnTo>
                  <a:cubicBezTo>
                    <a:pt x="0" y="718185"/>
                    <a:pt x="61436" y="656273"/>
                    <a:pt x="137827" y="656273"/>
                  </a:cubicBezTo>
                  <a:cubicBezTo>
                    <a:pt x="214217" y="656273"/>
                    <a:pt x="275463" y="718185"/>
                    <a:pt x="275463" y="794194"/>
                  </a:cubicBezTo>
                  <a:lnTo>
                    <a:pt x="275463" y="1734122"/>
                  </a:lnTo>
                  <a:cubicBezTo>
                    <a:pt x="275463" y="1887188"/>
                    <a:pt x="300324" y="1990630"/>
                    <a:pt x="354235" y="2059686"/>
                  </a:cubicBezTo>
                  <a:cubicBezTo>
                    <a:pt x="476250" y="2217611"/>
                    <a:pt x="609791" y="2304479"/>
                    <a:pt x="958215" y="2307527"/>
                  </a:cubicBezTo>
                  <a:lnTo>
                    <a:pt x="974789" y="2307527"/>
                  </a:lnTo>
                  <a:cubicBezTo>
                    <a:pt x="1323499" y="2304479"/>
                    <a:pt x="1456563" y="2217611"/>
                    <a:pt x="1578959" y="2059686"/>
                  </a:cubicBezTo>
                  <a:cubicBezTo>
                    <a:pt x="1632490" y="1990630"/>
                    <a:pt x="1657636" y="1887093"/>
                    <a:pt x="1657636" y="1734122"/>
                  </a:cubicBezTo>
                  <a:lnTo>
                    <a:pt x="1657636" y="138017"/>
                  </a:lnTo>
                  <a:cubicBezTo>
                    <a:pt x="1657636" y="61531"/>
                    <a:pt x="1719453" y="0"/>
                    <a:pt x="1795463" y="0"/>
                  </a:cubicBezTo>
                  <a:cubicBezTo>
                    <a:pt x="1871472" y="0"/>
                    <a:pt x="1933290" y="61531"/>
                    <a:pt x="1933290" y="138017"/>
                  </a:cubicBezTo>
                </a:path>
              </a:pathLst>
            </a:custGeom>
            <a:solidFill>
              <a:srgbClr val="49306E"/>
            </a:solidFill>
            <a:ln w="9525" cap="flat">
              <a:noFill/>
              <a:prstDash val="solid"/>
              <a:miter/>
            </a:ln>
          </p:spPr>
          <p:txBody>
            <a:bodyPr rtlCol="0" anchor="ctr"/>
            <a:lstStyle/>
            <a:p>
              <a:endParaRPr lang="pt-BR" noProof="0"/>
            </a:p>
          </p:txBody>
        </p:sp>
      </p:grpSp>
      <p:sp>
        <p:nvSpPr>
          <p:cNvPr id="46" name="Título 1">
            <a:extLst>
              <a:ext uri="{FF2B5EF4-FFF2-40B4-BE49-F238E27FC236}">
                <a16:creationId xmlns:a16="http://schemas.microsoft.com/office/drawing/2014/main" id="{1961BD93-4CD1-BC2B-8921-5000D408DB05}"/>
              </a:ext>
            </a:extLst>
          </p:cNvPr>
          <p:cNvSpPr txBox="1">
            <a:spLocks/>
          </p:cNvSpPr>
          <p:nvPr/>
        </p:nvSpPr>
        <p:spPr>
          <a:xfrm>
            <a:off x="2292586" y="22669"/>
            <a:ext cx="10058400" cy="631231"/>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pt-BR" sz="3600" b="1">
                <a:solidFill>
                  <a:srgbClr val="3299B1"/>
                </a:solidFill>
                <a:latin typeface="Agency FB" panose="020B0503020202020204" pitchFamily="34" charset="0"/>
              </a:rPr>
              <a:t>Considerações IPCSL e ITU</a:t>
            </a:r>
          </a:p>
        </p:txBody>
      </p:sp>
      <p:sp>
        <p:nvSpPr>
          <p:cNvPr id="95" name="Google Shape;97;p15">
            <a:extLst>
              <a:ext uri="{FF2B5EF4-FFF2-40B4-BE49-F238E27FC236}">
                <a16:creationId xmlns:a16="http://schemas.microsoft.com/office/drawing/2014/main" id="{2DAE2DBF-BB8B-0F84-680B-C9E7DFC2C54E}"/>
              </a:ext>
            </a:extLst>
          </p:cNvPr>
          <p:cNvSpPr txBox="1">
            <a:spLocks/>
          </p:cNvSpPr>
          <p:nvPr/>
        </p:nvSpPr>
        <p:spPr>
          <a:xfrm>
            <a:off x="526201" y="1344958"/>
            <a:ext cx="10452068" cy="5090215"/>
          </a:xfrm>
          <a:prstGeom prst="rect">
            <a:avLst/>
          </a:prstGeom>
          <a:noFill/>
          <a:ln>
            <a:noFill/>
          </a:ln>
        </p:spPr>
        <p:txBody>
          <a:bodyPr spcFirstLastPara="1" wrap="square" lIns="91425" tIns="45700" rIns="91425" bIns="4570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buClr>
                <a:schemeClr val="dk1"/>
              </a:buClr>
              <a:buSzPct val="100000"/>
            </a:pPr>
            <a:r>
              <a:rPr lang="pt-BR" sz="2400" b="1" dirty="0"/>
              <a:t>IPCSL e ITU-AC:</a:t>
            </a:r>
            <a:r>
              <a:rPr lang="pt-BR" sz="2400" dirty="0"/>
              <a:t> </a:t>
            </a:r>
            <a:r>
              <a:rPr lang="pt-BR" sz="2400" b="1" dirty="0"/>
              <a:t>necessária cultura positiva</a:t>
            </a:r>
            <a:r>
              <a:rPr lang="pt-BR" sz="2400" dirty="0"/>
              <a:t> para confirmação obrigatoriamente</a:t>
            </a:r>
          </a:p>
          <a:p>
            <a:pPr algn="just">
              <a:buClr>
                <a:schemeClr val="dk1"/>
              </a:buClr>
              <a:buSzPct val="100000"/>
            </a:pPr>
            <a:endParaRPr lang="pt-BR" sz="2400" dirty="0"/>
          </a:p>
          <a:p>
            <a:pPr algn="just">
              <a:buClr>
                <a:schemeClr val="dk1"/>
              </a:buClr>
              <a:buSzPct val="100000"/>
            </a:pPr>
            <a:r>
              <a:rPr lang="pt-BR" sz="2400" b="1" i="1" dirty="0" err="1"/>
              <a:t>Candida</a:t>
            </a:r>
            <a:r>
              <a:rPr lang="pt-BR" sz="2400" b="1" dirty="0"/>
              <a:t>:</a:t>
            </a:r>
            <a:r>
              <a:rPr lang="pt-BR" sz="2400" dirty="0"/>
              <a:t> </a:t>
            </a:r>
            <a:r>
              <a:rPr lang="pt-BR" sz="2400" b="1" dirty="0"/>
              <a:t>não é agente de ITU</a:t>
            </a:r>
            <a:r>
              <a:rPr lang="pt-BR" sz="2400" dirty="0"/>
              <a:t> para fins de vigilância epidemiológica.</a:t>
            </a:r>
          </a:p>
          <a:p>
            <a:pPr algn="just">
              <a:buClr>
                <a:schemeClr val="dk1"/>
              </a:buClr>
              <a:buSzPct val="100000"/>
            </a:pPr>
            <a:endParaRPr lang="pt-BR" sz="2400" dirty="0"/>
          </a:p>
          <a:p>
            <a:pPr algn="just">
              <a:buClr>
                <a:schemeClr val="dk1"/>
              </a:buClr>
              <a:buSzPct val="100000"/>
            </a:pPr>
            <a:r>
              <a:rPr lang="pt-BR" sz="2400" b="1" dirty="0"/>
              <a:t>Se infecção urinária </a:t>
            </a:r>
            <a:r>
              <a:rPr lang="pt-BR" sz="2400" dirty="0"/>
              <a:t>em paciente </a:t>
            </a:r>
            <a:r>
              <a:rPr lang="pt-BR" sz="2400" b="1" dirty="0"/>
              <a:t>com duplo J, não notificar</a:t>
            </a:r>
            <a:r>
              <a:rPr lang="pt-BR" sz="2400" dirty="0"/>
              <a:t> como </a:t>
            </a:r>
            <a:r>
              <a:rPr lang="pt-BR" sz="2400" b="1" dirty="0"/>
              <a:t>ITU-AC</a:t>
            </a:r>
            <a:endParaRPr lang="pt-BR" sz="2400" dirty="0"/>
          </a:p>
        </p:txBody>
      </p:sp>
    </p:spTree>
    <p:extLst>
      <p:ext uri="{BB962C8B-B14F-4D97-AF65-F5344CB8AC3E}">
        <p14:creationId xmlns:p14="http://schemas.microsoft.com/office/powerpoint/2010/main" val="10028952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E7B514-2F65-3507-B930-69E8665BB5F2}"/>
            </a:ext>
          </a:extLst>
        </p:cNvPr>
        <p:cNvGrpSpPr/>
        <p:nvPr/>
      </p:nvGrpSpPr>
      <p:grpSpPr>
        <a:xfrm>
          <a:off x="0" y="0"/>
          <a:ext cx="0" cy="0"/>
          <a:chOff x="0" y="0"/>
          <a:chExt cx="0" cy="0"/>
        </a:xfrm>
      </p:grpSpPr>
      <p:grpSp>
        <p:nvGrpSpPr>
          <p:cNvPr id="2" name="Group 12">
            <a:extLst>
              <a:ext uri="{FF2B5EF4-FFF2-40B4-BE49-F238E27FC236}">
                <a16:creationId xmlns:a16="http://schemas.microsoft.com/office/drawing/2014/main" id="{BD03EE00-2803-82E0-2966-7E700692CF25}"/>
              </a:ext>
            </a:extLst>
          </p:cNvPr>
          <p:cNvGrpSpPr/>
          <p:nvPr/>
        </p:nvGrpSpPr>
        <p:grpSpPr>
          <a:xfrm>
            <a:off x="304800" y="249455"/>
            <a:ext cx="1193800" cy="462985"/>
            <a:chOff x="5245100" y="211355"/>
            <a:chExt cx="2036664" cy="789869"/>
          </a:xfrm>
        </p:grpSpPr>
        <p:sp>
          <p:nvSpPr>
            <p:cNvPr id="3" name="Freeform: Shape 13">
              <a:extLst>
                <a:ext uri="{FF2B5EF4-FFF2-40B4-BE49-F238E27FC236}">
                  <a16:creationId xmlns:a16="http://schemas.microsoft.com/office/drawing/2014/main" id="{702F267C-3941-BA3C-2684-8AEEDA682981}"/>
                </a:ext>
              </a:extLst>
            </p:cNvPr>
            <p:cNvSpPr/>
            <p:nvPr/>
          </p:nvSpPr>
          <p:spPr>
            <a:xfrm>
              <a:off x="5245100" y="308520"/>
              <a:ext cx="247894" cy="322815"/>
            </a:xfrm>
            <a:custGeom>
              <a:avLst/>
              <a:gdLst>
                <a:gd name="connsiteX0" fmla="*/ 529590 w 986123"/>
                <a:gd name="connsiteY0" fmla="*/ 1284160 h 1284160"/>
                <a:gd name="connsiteX1" fmla="*/ 249650 w 986123"/>
                <a:gd name="connsiteY1" fmla="*/ 1235107 h 1284160"/>
                <a:gd name="connsiteX2" fmla="*/ 0 w 986123"/>
                <a:gd name="connsiteY2" fmla="*/ 1084421 h 1284160"/>
                <a:gd name="connsiteX3" fmla="*/ 162306 w 986123"/>
                <a:gd name="connsiteY3" fmla="*/ 890016 h 1284160"/>
                <a:gd name="connsiteX4" fmla="*/ 337947 w 986123"/>
                <a:gd name="connsiteY4" fmla="*/ 1000601 h 1284160"/>
                <a:gd name="connsiteX5" fmla="*/ 535019 w 986123"/>
                <a:gd name="connsiteY5" fmla="*/ 1041654 h 1284160"/>
                <a:gd name="connsiteX6" fmla="*/ 667893 w 986123"/>
                <a:gd name="connsiteY6" fmla="*/ 1010412 h 1284160"/>
                <a:gd name="connsiteX7" fmla="*/ 715137 w 986123"/>
                <a:gd name="connsiteY7" fmla="*/ 923925 h 1284160"/>
                <a:gd name="connsiteX8" fmla="*/ 715137 w 986123"/>
                <a:gd name="connsiteY8" fmla="*/ 920305 h 1284160"/>
                <a:gd name="connsiteX9" fmla="*/ 705326 w 986123"/>
                <a:gd name="connsiteY9" fmla="*/ 873062 h 1284160"/>
                <a:gd name="connsiteX10" fmla="*/ 667798 w 986123"/>
                <a:gd name="connsiteY10" fmla="*/ 834676 h 1284160"/>
                <a:gd name="connsiteX11" fmla="*/ 590931 w 986123"/>
                <a:gd name="connsiteY11" fmla="*/ 798957 h 1284160"/>
                <a:gd name="connsiteX12" fmla="*/ 463106 w 986123"/>
                <a:gd name="connsiteY12" fmla="*/ 761524 h 1284160"/>
                <a:gd name="connsiteX13" fmla="*/ 291465 w 986123"/>
                <a:gd name="connsiteY13" fmla="*/ 709803 h 1284160"/>
                <a:gd name="connsiteX14" fmla="*/ 160973 w 986123"/>
                <a:gd name="connsiteY14" fmla="*/ 639318 h 1284160"/>
                <a:gd name="connsiteX15" fmla="*/ 77819 w 986123"/>
                <a:gd name="connsiteY15" fmla="*/ 535019 h 1284160"/>
                <a:gd name="connsiteX16" fmla="*/ 48292 w 986123"/>
                <a:gd name="connsiteY16" fmla="*/ 379857 h 1284160"/>
                <a:gd name="connsiteX17" fmla="*/ 48292 w 986123"/>
                <a:gd name="connsiteY17" fmla="*/ 376238 h 1284160"/>
                <a:gd name="connsiteX18" fmla="*/ 80201 w 986123"/>
                <a:gd name="connsiteY18" fmla="*/ 222028 h 1284160"/>
                <a:gd name="connsiteX19" fmla="*/ 169640 w 986123"/>
                <a:gd name="connsiteY19" fmla="*/ 103441 h 1284160"/>
                <a:gd name="connsiteX20" fmla="*/ 307181 w 986123"/>
                <a:gd name="connsiteY20" fmla="*/ 26765 h 1284160"/>
                <a:gd name="connsiteX21" fmla="*/ 483394 w 986123"/>
                <a:gd name="connsiteY21" fmla="*/ 0 h 1284160"/>
                <a:gd name="connsiteX22" fmla="*/ 735711 w 986123"/>
                <a:gd name="connsiteY22" fmla="*/ 41053 h 1284160"/>
                <a:gd name="connsiteX23" fmla="*/ 946976 w 986123"/>
                <a:gd name="connsiteY23" fmla="*/ 158687 h 1284160"/>
                <a:gd name="connsiteX24" fmla="*/ 804291 w 986123"/>
                <a:gd name="connsiteY24" fmla="*/ 365569 h 1284160"/>
                <a:gd name="connsiteX25" fmla="*/ 640271 w 986123"/>
                <a:gd name="connsiteY25" fmla="*/ 275558 h 1284160"/>
                <a:gd name="connsiteX26" fmla="*/ 479774 w 986123"/>
                <a:gd name="connsiteY26" fmla="*/ 242602 h 1284160"/>
                <a:gd name="connsiteX27" fmla="*/ 359378 w 986123"/>
                <a:gd name="connsiteY27" fmla="*/ 273844 h 1284160"/>
                <a:gd name="connsiteX28" fmla="*/ 319278 w 986123"/>
                <a:gd name="connsiteY28" fmla="*/ 351377 h 1284160"/>
                <a:gd name="connsiteX29" fmla="*/ 319278 w 986123"/>
                <a:gd name="connsiteY29" fmla="*/ 354997 h 1284160"/>
                <a:gd name="connsiteX30" fmla="*/ 330899 w 986123"/>
                <a:gd name="connsiteY30" fmla="*/ 407575 h 1284160"/>
                <a:gd name="connsiteX31" fmla="*/ 372904 w 986123"/>
                <a:gd name="connsiteY31" fmla="*/ 447675 h 1284160"/>
                <a:gd name="connsiteX32" fmla="*/ 456057 w 986123"/>
                <a:gd name="connsiteY32" fmla="*/ 481489 h 1284160"/>
                <a:gd name="connsiteX33" fmla="*/ 589217 w 986123"/>
                <a:gd name="connsiteY33" fmla="*/ 518922 h 1284160"/>
                <a:gd name="connsiteX34" fmla="*/ 758190 w 986123"/>
                <a:gd name="connsiteY34" fmla="*/ 575120 h 1284160"/>
                <a:gd name="connsiteX35" fmla="*/ 883349 w 986123"/>
                <a:gd name="connsiteY35" fmla="*/ 649986 h 1284160"/>
                <a:gd name="connsiteX36" fmla="*/ 960215 w 986123"/>
                <a:gd name="connsiteY36" fmla="*/ 752570 h 1284160"/>
                <a:gd name="connsiteX37" fmla="*/ 986123 w 986123"/>
                <a:gd name="connsiteY37" fmla="*/ 893445 h 1284160"/>
                <a:gd name="connsiteX38" fmla="*/ 986123 w 986123"/>
                <a:gd name="connsiteY38" fmla="*/ 897064 h 1284160"/>
                <a:gd name="connsiteX39" fmla="*/ 952500 w 986123"/>
                <a:gd name="connsiteY39" fmla="*/ 1062038 h 1284160"/>
                <a:gd name="connsiteX40" fmla="*/ 858584 w 986123"/>
                <a:gd name="connsiteY40" fmla="*/ 1183291 h 1284160"/>
                <a:gd name="connsiteX41" fmla="*/ 714851 w 986123"/>
                <a:gd name="connsiteY41" fmla="*/ 1258157 h 1284160"/>
                <a:gd name="connsiteX42" fmla="*/ 529685 w 986123"/>
                <a:gd name="connsiteY42" fmla="*/ 1284065 h 128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6123" h="1284160">
                  <a:moveTo>
                    <a:pt x="529590" y="1284160"/>
                  </a:moveTo>
                  <a:cubicBezTo>
                    <a:pt x="434435" y="1284160"/>
                    <a:pt x="341186" y="1267777"/>
                    <a:pt x="249650" y="1235107"/>
                  </a:cubicBezTo>
                  <a:cubicBezTo>
                    <a:pt x="158115" y="1202436"/>
                    <a:pt x="74867" y="1152239"/>
                    <a:pt x="0" y="1084421"/>
                  </a:cubicBezTo>
                  <a:lnTo>
                    <a:pt x="162306" y="890016"/>
                  </a:lnTo>
                  <a:cubicBezTo>
                    <a:pt x="219361" y="936403"/>
                    <a:pt x="277844" y="973264"/>
                    <a:pt x="337947" y="1000601"/>
                  </a:cubicBezTo>
                  <a:cubicBezTo>
                    <a:pt x="397955" y="1027938"/>
                    <a:pt x="463677" y="1041654"/>
                    <a:pt x="535019" y="1041654"/>
                  </a:cubicBezTo>
                  <a:cubicBezTo>
                    <a:pt x="592074" y="1041654"/>
                    <a:pt x="636365" y="1031272"/>
                    <a:pt x="667893" y="1010412"/>
                  </a:cubicBezTo>
                  <a:cubicBezTo>
                    <a:pt x="699421" y="989647"/>
                    <a:pt x="715137" y="960787"/>
                    <a:pt x="715137" y="923925"/>
                  </a:cubicBezTo>
                  <a:lnTo>
                    <a:pt x="715137" y="920305"/>
                  </a:lnTo>
                  <a:cubicBezTo>
                    <a:pt x="715137" y="902494"/>
                    <a:pt x="711803" y="886777"/>
                    <a:pt x="705326" y="873062"/>
                  </a:cubicBezTo>
                  <a:cubicBezTo>
                    <a:pt x="698754" y="859441"/>
                    <a:pt x="686276" y="846582"/>
                    <a:pt x="667798" y="834676"/>
                  </a:cubicBezTo>
                  <a:cubicBezTo>
                    <a:pt x="649319" y="822770"/>
                    <a:pt x="623697" y="810863"/>
                    <a:pt x="590931" y="798957"/>
                  </a:cubicBezTo>
                  <a:cubicBezTo>
                    <a:pt x="558165" y="787146"/>
                    <a:pt x="515493" y="774573"/>
                    <a:pt x="463106" y="761524"/>
                  </a:cubicBezTo>
                  <a:cubicBezTo>
                    <a:pt x="399955" y="746093"/>
                    <a:pt x="342710" y="728853"/>
                    <a:pt x="291465" y="709803"/>
                  </a:cubicBezTo>
                  <a:cubicBezTo>
                    <a:pt x="240221" y="690753"/>
                    <a:pt x="196691" y="667322"/>
                    <a:pt x="160973" y="639318"/>
                  </a:cubicBezTo>
                  <a:cubicBezTo>
                    <a:pt x="125159" y="611410"/>
                    <a:pt x="97536" y="576644"/>
                    <a:pt x="77819" y="535019"/>
                  </a:cubicBezTo>
                  <a:cubicBezTo>
                    <a:pt x="58103" y="493395"/>
                    <a:pt x="48292" y="441674"/>
                    <a:pt x="48292" y="379857"/>
                  </a:cubicBezTo>
                  <a:lnTo>
                    <a:pt x="48292" y="376238"/>
                  </a:lnTo>
                  <a:cubicBezTo>
                    <a:pt x="48292" y="319183"/>
                    <a:pt x="58865" y="267748"/>
                    <a:pt x="80201" y="222028"/>
                  </a:cubicBezTo>
                  <a:cubicBezTo>
                    <a:pt x="101441" y="176308"/>
                    <a:pt x="131255" y="136779"/>
                    <a:pt x="169640" y="103441"/>
                  </a:cubicBezTo>
                  <a:cubicBezTo>
                    <a:pt x="208026" y="70199"/>
                    <a:pt x="253841" y="44577"/>
                    <a:pt x="307181" y="26765"/>
                  </a:cubicBezTo>
                  <a:cubicBezTo>
                    <a:pt x="360426" y="8953"/>
                    <a:pt x="419195" y="0"/>
                    <a:pt x="483394" y="0"/>
                  </a:cubicBezTo>
                  <a:cubicBezTo>
                    <a:pt x="574929" y="0"/>
                    <a:pt x="659035" y="13716"/>
                    <a:pt x="735711" y="41053"/>
                  </a:cubicBezTo>
                  <a:cubicBezTo>
                    <a:pt x="812387" y="68389"/>
                    <a:pt x="882777" y="107632"/>
                    <a:pt x="946976" y="158687"/>
                  </a:cubicBezTo>
                  <a:lnTo>
                    <a:pt x="804291" y="365569"/>
                  </a:lnTo>
                  <a:cubicBezTo>
                    <a:pt x="748379" y="327565"/>
                    <a:pt x="693706" y="297561"/>
                    <a:pt x="640271" y="275558"/>
                  </a:cubicBezTo>
                  <a:cubicBezTo>
                    <a:pt x="586740" y="253555"/>
                    <a:pt x="533305" y="242602"/>
                    <a:pt x="479774" y="242602"/>
                  </a:cubicBezTo>
                  <a:cubicBezTo>
                    <a:pt x="426244" y="242602"/>
                    <a:pt x="386144" y="252984"/>
                    <a:pt x="359378" y="273844"/>
                  </a:cubicBezTo>
                  <a:cubicBezTo>
                    <a:pt x="332613" y="294608"/>
                    <a:pt x="319278" y="320516"/>
                    <a:pt x="319278" y="351377"/>
                  </a:cubicBezTo>
                  <a:lnTo>
                    <a:pt x="319278" y="354997"/>
                  </a:lnTo>
                  <a:cubicBezTo>
                    <a:pt x="319278" y="375190"/>
                    <a:pt x="323183" y="392716"/>
                    <a:pt x="330899" y="407575"/>
                  </a:cubicBezTo>
                  <a:cubicBezTo>
                    <a:pt x="338614" y="422434"/>
                    <a:pt x="352616" y="435864"/>
                    <a:pt x="372904" y="447675"/>
                  </a:cubicBezTo>
                  <a:cubicBezTo>
                    <a:pt x="393192" y="459581"/>
                    <a:pt x="420910" y="470821"/>
                    <a:pt x="456057" y="481489"/>
                  </a:cubicBezTo>
                  <a:cubicBezTo>
                    <a:pt x="491204" y="492157"/>
                    <a:pt x="535591" y="504730"/>
                    <a:pt x="589217" y="518922"/>
                  </a:cubicBezTo>
                  <a:cubicBezTo>
                    <a:pt x="652367" y="535591"/>
                    <a:pt x="708660" y="554260"/>
                    <a:pt x="758190" y="575120"/>
                  </a:cubicBezTo>
                  <a:cubicBezTo>
                    <a:pt x="807625" y="595979"/>
                    <a:pt x="849344" y="620935"/>
                    <a:pt x="883349" y="649986"/>
                  </a:cubicBezTo>
                  <a:cubicBezTo>
                    <a:pt x="917353" y="679132"/>
                    <a:pt x="942975" y="713327"/>
                    <a:pt x="960215" y="752570"/>
                  </a:cubicBezTo>
                  <a:cubicBezTo>
                    <a:pt x="977456" y="791813"/>
                    <a:pt x="986123" y="838772"/>
                    <a:pt x="986123" y="893445"/>
                  </a:cubicBezTo>
                  <a:lnTo>
                    <a:pt x="986123" y="897064"/>
                  </a:lnTo>
                  <a:cubicBezTo>
                    <a:pt x="986123" y="958882"/>
                    <a:pt x="974884" y="1013841"/>
                    <a:pt x="952500" y="1062038"/>
                  </a:cubicBezTo>
                  <a:cubicBezTo>
                    <a:pt x="930021" y="1110139"/>
                    <a:pt x="898779" y="1150620"/>
                    <a:pt x="858584" y="1183291"/>
                  </a:cubicBezTo>
                  <a:cubicBezTo>
                    <a:pt x="818388" y="1216057"/>
                    <a:pt x="770477" y="1241012"/>
                    <a:pt x="714851" y="1258157"/>
                  </a:cubicBezTo>
                  <a:cubicBezTo>
                    <a:pt x="659130" y="1275398"/>
                    <a:pt x="597503" y="1284065"/>
                    <a:pt x="529685" y="1284065"/>
                  </a:cubicBezTo>
                  <a:close/>
                </a:path>
              </a:pathLst>
            </a:custGeom>
            <a:solidFill>
              <a:srgbClr val="44505E"/>
            </a:solidFill>
            <a:ln w="9525" cap="flat">
              <a:noFill/>
              <a:prstDash val="solid"/>
              <a:miter/>
            </a:ln>
          </p:spPr>
          <p:txBody>
            <a:bodyPr rtlCol="0" anchor="ctr"/>
            <a:lstStyle/>
            <a:p>
              <a:endParaRPr lang="pt-BR" noProof="0"/>
            </a:p>
          </p:txBody>
        </p:sp>
        <p:sp>
          <p:nvSpPr>
            <p:cNvPr id="4" name="Freeform: Shape 16">
              <a:extLst>
                <a:ext uri="{FF2B5EF4-FFF2-40B4-BE49-F238E27FC236}">
                  <a16:creationId xmlns:a16="http://schemas.microsoft.com/office/drawing/2014/main" id="{752218EB-B538-79CD-AE87-DA4DAD3494A9}"/>
                </a:ext>
              </a:extLst>
            </p:cNvPr>
            <p:cNvSpPr/>
            <p:nvPr/>
          </p:nvSpPr>
          <p:spPr>
            <a:xfrm>
              <a:off x="5492084" y="310867"/>
              <a:ext cx="332584" cy="315991"/>
            </a:xfrm>
            <a:custGeom>
              <a:avLst/>
              <a:gdLst>
                <a:gd name="connsiteX0" fmla="*/ 534924 w 1323022"/>
                <a:gd name="connsiteY0" fmla="*/ 0 h 1257014"/>
                <a:gd name="connsiteX1" fmla="*/ 788099 w 1323022"/>
                <a:gd name="connsiteY1" fmla="*/ 0 h 1257014"/>
                <a:gd name="connsiteX2" fmla="*/ 1323023 w 1323022"/>
                <a:gd name="connsiteY2" fmla="*/ 1257014 h 1257014"/>
                <a:gd name="connsiteX3" fmla="*/ 1035939 w 1323022"/>
                <a:gd name="connsiteY3" fmla="*/ 1257014 h 1257014"/>
                <a:gd name="connsiteX4" fmla="*/ 921829 w 1323022"/>
                <a:gd name="connsiteY4" fmla="*/ 977075 h 1257014"/>
                <a:gd name="connsiteX5" fmla="*/ 394049 w 1323022"/>
                <a:gd name="connsiteY5" fmla="*/ 977075 h 1257014"/>
                <a:gd name="connsiteX6" fmla="*/ 279940 w 1323022"/>
                <a:gd name="connsiteY6" fmla="*/ 1257014 h 1257014"/>
                <a:gd name="connsiteX7" fmla="*/ 0 w 1323022"/>
                <a:gd name="connsiteY7" fmla="*/ 1257014 h 1257014"/>
                <a:gd name="connsiteX8" fmla="*/ 534924 w 1323022"/>
                <a:gd name="connsiteY8" fmla="*/ 0 h 1257014"/>
                <a:gd name="connsiteX9" fmla="*/ 823817 w 1323022"/>
                <a:gd name="connsiteY9" fmla="*/ 734568 h 1257014"/>
                <a:gd name="connsiteX10" fmla="*/ 657987 w 1323022"/>
                <a:gd name="connsiteY10" fmla="*/ 329851 h 1257014"/>
                <a:gd name="connsiteX11" fmla="*/ 492157 w 1323022"/>
                <a:gd name="connsiteY11" fmla="*/ 734568 h 1257014"/>
                <a:gd name="connsiteX12" fmla="*/ 823817 w 1323022"/>
                <a:gd name="connsiteY12" fmla="*/ 734568 h 125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022" h="1257014">
                  <a:moveTo>
                    <a:pt x="534924" y="0"/>
                  </a:moveTo>
                  <a:lnTo>
                    <a:pt x="788099" y="0"/>
                  </a:lnTo>
                  <a:lnTo>
                    <a:pt x="1323023" y="1257014"/>
                  </a:lnTo>
                  <a:lnTo>
                    <a:pt x="1035939" y="1257014"/>
                  </a:lnTo>
                  <a:lnTo>
                    <a:pt x="921829" y="977075"/>
                  </a:lnTo>
                  <a:lnTo>
                    <a:pt x="394049" y="977075"/>
                  </a:lnTo>
                  <a:lnTo>
                    <a:pt x="279940" y="1257014"/>
                  </a:lnTo>
                  <a:lnTo>
                    <a:pt x="0" y="1257014"/>
                  </a:lnTo>
                  <a:lnTo>
                    <a:pt x="534924" y="0"/>
                  </a:lnTo>
                  <a:close/>
                  <a:moveTo>
                    <a:pt x="823817" y="734568"/>
                  </a:moveTo>
                  <a:lnTo>
                    <a:pt x="657987" y="329851"/>
                  </a:lnTo>
                  <a:lnTo>
                    <a:pt x="492157" y="734568"/>
                  </a:lnTo>
                  <a:lnTo>
                    <a:pt x="823817" y="734568"/>
                  </a:lnTo>
                  <a:close/>
                </a:path>
              </a:pathLst>
            </a:custGeom>
            <a:solidFill>
              <a:srgbClr val="44505E"/>
            </a:solidFill>
            <a:ln w="9525" cap="flat">
              <a:noFill/>
              <a:prstDash val="solid"/>
              <a:miter/>
            </a:ln>
          </p:spPr>
          <p:txBody>
            <a:bodyPr rtlCol="0" anchor="ctr"/>
            <a:lstStyle/>
            <a:p>
              <a:endParaRPr lang="pt-BR" noProof="0"/>
            </a:p>
          </p:txBody>
        </p:sp>
        <p:sp>
          <p:nvSpPr>
            <p:cNvPr id="5" name="Freeform: Shape 17">
              <a:extLst>
                <a:ext uri="{FF2B5EF4-FFF2-40B4-BE49-F238E27FC236}">
                  <a16:creationId xmlns:a16="http://schemas.microsoft.com/office/drawing/2014/main" id="{84314CB4-8926-DF5C-A8E5-C532F4944F41}"/>
                </a:ext>
              </a:extLst>
            </p:cNvPr>
            <p:cNvSpPr/>
            <p:nvPr/>
          </p:nvSpPr>
          <p:spPr>
            <a:xfrm>
              <a:off x="5834078" y="211355"/>
              <a:ext cx="273442" cy="420435"/>
            </a:xfrm>
            <a:custGeom>
              <a:avLst/>
              <a:gdLst>
                <a:gd name="connsiteX0" fmla="*/ 540258 w 1087754"/>
                <a:gd name="connsiteY0" fmla="*/ 1672495 h 1672494"/>
                <a:gd name="connsiteX1" fmla="*/ 144399 w 1087754"/>
                <a:gd name="connsiteY1" fmla="*/ 1533430 h 1672494"/>
                <a:gd name="connsiteX2" fmla="*/ 0 w 1087754"/>
                <a:gd name="connsiteY2" fmla="*/ 1117949 h 1672494"/>
                <a:gd name="connsiteX3" fmla="*/ 0 w 1087754"/>
                <a:gd name="connsiteY3" fmla="*/ 404717 h 1672494"/>
                <a:gd name="connsiteX4" fmla="*/ 274606 w 1087754"/>
                <a:gd name="connsiteY4" fmla="*/ 404717 h 1672494"/>
                <a:gd name="connsiteX5" fmla="*/ 274606 w 1087754"/>
                <a:gd name="connsiteY5" fmla="*/ 1110806 h 1672494"/>
                <a:gd name="connsiteX6" fmla="*/ 345948 w 1087754"/>
                <a:gd name="connsiteY6" fmla="*/ 1341692 h 1672494"/>
                <a:gd name="connsiteX7" fmla="*/ 543877 w 1087754"/>
                <a:gd name="connsiteY7" fmla="*/ 1419225 h 1672494"/>
                <a:gd name="connsiteX8" fmla="*/ 741807 w 1087754"/>
                <a:gd name="connsiteY8" fmla="*/ 1344359 h 1672494"/>
                <a:gd name="connsiteX9" fmla="*/ 813149 w 1087754"/>
                <a:gd name="connsiteY9" fmla="*/ 1119664 h 1672494"/>
                <a:gd name="connsiteX10" fmla="*/ 813149 w 1087754"/>
                <a:gd name="connsiteY10" fmla="*/ 404717 h 1672494"/>
                <a:gd name="connsiteX11" fmla="*/ 1087755 w 1087754"/>
                <a:gd name="connsiteY11" fmla="*/ 404717 h 1672494"/>
                <a:gd name="connsiteX12" fmla="*/ 1087755 w 1087754"/>
                <a:gd name="connsiteY12" fmla="*/ 1108996 h 1672494"/>
                <a:gd name="connsiteX13" fmla="*/ 1049369 w 1087754"/>
                <a:gd name="connsiteY13" fmla="*/ 1356836 h 1672494"/>
                <a:gd name="connsiteX14" fmla="*/ 939737 w 1087754"/>
                <a:gd name="connsiteY14" fmla="*/ 1532477 h 1672494"/>
                <a:gd name="connsiteX15" fmla="*/ 766763 w 1087754"/>
                <a:gd name="connsiteY15" fmla="*/ 1637729 h 1672494"/>
                <a:gd name="connsiteX16" fmla="*/ 540353 w 1087754"/>
                <a:gd name="connsiteY16" fmla="*/ 1672495 h 1672494"/>
                <a:gd name="connsiteX17" fmla="*/ 622268 w 1087754"/>
                <a:gd name="connsiteY17" fmla="*/ 0 h 1672494"/>
                <a:gd name="connsiteX18" fmla="*/ 855821 w 1087754"/>
                <a:gd name="connsiteY18" fmla="*/ 101632 h 1672494"/>
                <a:gd name="connsiteX19" fmla="*/ 627602 w 1087754"/>
                <a:gd name="connsiteY19" fmla="*/ 315563 h 1672494"/>
                <a:gd name="connsiteX20" fmla="*/ 420719 w 1087754"/>
                <a:gd name="connsiteY20" fmla="*/ 315563 h 1672494"/>
                <a:gd name="connsiteX21" fmla="*/ 622268 w 1087754"/>
                <a:gd name="connsiteY21" fmla="*/ 0 h 16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754" h="1672494">
                  <a:moveTo>
                    <a:pt x="540258" y="1672495"/>
                  </a:moveTo>
                  <a:cubicBezTo>
                    <a:pt x="372618" y="1672495"/>
                    <a:pt x="240697" y="1626108"/>
                    <a:pt x="144399" y="1533430"/>
                  </a:cubicBezTo>
                  <a:cubicBezTo>
                    <a:pt x="48101" y="1440752"/>
                    <a:pt x="0" y="1302258"/>
                    <a:pt x="0" y="1117949"/>
                  </a:cubicBezTo>
                  <a:lnTo>
                    <a:pt x="0" y="404717"/>
                  </a:lnTo>
                  <a:lnTo>
                    <a:pt x="274606" y="404717"/>
                  </a:lnTo>
                  <a:lnTo>
                    <a:pt x="274606" y="1110806"/>
                  </a:lnTo>
                  <a:cubicBezTo>
                    <a:pt x="274606" y="1213009"/>
                    <a:pt x="298418" y="1289971"/>
                    <a:pt x="345948" y="1341692"/>
                  </a:cubicBezTo>
                  <a:cubicBezTo>
                    <a:pt x="393478" y="1393412"/>
                    <a:pt x="459486" y="1419225"/>
                    <a:pt x="543877" y="1419225"/>
                  </a:cubicBezTo>
                  <a:cubicBezTo>
                    <a:pt x="628269" y="1419225"/>
                    <a:pt x="694277" y="1394270"/>
                    <a:pt x="741807" y="1344359"/>
                  </a:cubicBezTo>
                  <a:cubicBezTo>
                    <a:pt x="789337" y="1294448"/>
                    <a:pt x="813149" y="1219581"/>
                    <a:pt x="813149" y="1119664"/>
                  </a:cubicBezTo>
                  <a:lnTo>
                    <a:pt x="813149" y="404717"/>
                  </a:lnTo>
                  <a:lnTo>
                    <a:pt x="1087755" y="404717"/>
                  </a:lnTo>
                  <a:lnTo>
                    <a:pt x="1087755" y="1108996"/>
                  </a:lnTo>
                  <a:cubicBezTo>
                    <a:pt x="1087755" y="1204151"/>
                    <a:pt x="1074992" y="1286732"/>
                    <a:pt x="1049369" y="1356836"/>
                  </a:cubicBezTo>
                  <a:cubicBezTo>
                    <a:pt x="1023747" y="1426940"/>
                    <a:pt x="987266" y="1485519"/>
                    <a:pt x="939737" y="1532477"/>
                  </a:cubicBezTo>
                  <a:cubicBezTo>
                    <a:pt x="892207" y="1579436"/>
                    <a:pt x="834485" y="1614488"/>
                    <a:pt x="766763" y="1637729"/>
                  </a:cubicBezTo>
                  <a:cubicBezTo>
                    <a:pt x="699040" y="1660874"/>
                    <a:pt x="623507" y="1672495"/>
                    <a:pt x="540353" y="1672495"/>
                  </a:cubicBezTo>
                  <a:close/>
                  <a:moveTo>
                    <a:pt x="622268" y="0"/>
                  </a:moveTo>
                  <a:lnTo>
                    <a:pt x="855821" y="101632"/>
                  </a:lnTo>
                  <a:lnTo>
                    <a:pt x="627602" y="315563"/>
                  </a:lnTo>
                  <a:lnTo>
                    <a:pt x="420719" y="315563"/>
                  </a:lnTo>
                  <a:lnTo>
                    <a:pt x="622268" y="0"/>
                  </a:lnTo>
                  <a:close/>
                </a:path>
              </a:pathLst>
            </a:custGeom>
            <a:solidFill>
              <a:srgbClr val="44505E"/>
            </a:solidFill>
            <a:ln w="9525" cap="flat">
              <a:noFill/>
              <a:prstDash val="solid"/>
              <a:miter/>
            </a:ln>
          </p:spPr>
          <p:txBody>
            <a:bodyPr rtlCol="0" anchor="ctr"/>
            <a:lstStyle/>
            <a:p>
              <a:endParaRPr lang="pt-BR" noProof="0"/>
            </a:p>
          </p:txBody>
        </p:sp>
        <p:sp>
          <p:nvSpPr>
            <p:cNvPr id="6" name="Freeform: Shape 18">
              <a:extLst>
                <a:ext uri="{FF2B5EF4-FFF2-40B4-BE49-F238E27FC236}">
                  <a16:creationId xmlns:a16="http://schemas.microsoft.com/office/drawing/2014/main" id="{7665EE4E-FD61-036B-4C8F-5427510ABDE1}"/>
                </a:ext>
              </a:extLst>
            </p:cNvPr>
            <p:cNvSpPr/>
            <p:nvPr/>
          </p:nvSpPr>
          <p:spPr>
            <a:xfrm>
              <a:off x="6143795" y="313094"/>
              <a:ext cx="289101" cy="313764"/>
            </a:xfrm>
            <a:custGeom>
              <a:avLst/>
              <a:gdLst>
                <a:gd name="connsiteX0" fmla="*/ 0 w 1150048"/>
                <a:gd name="connsiteY0" fmla="*/ 0 h 1248155"/>
                <a:gd name="connsiteX1" fmla="*/ 486728 w 1150048"/>
                <a:gd name="connsiteY1" fmla="*/ 0 h 1248155"/>
                <a:gd name="connsiteX2" fmla="*/ 755047 w 1150048"/>
                <a:gd name="connsiteY2" fmla="*/ 47244 h 1248155"/>
                <a:gd name="connsiteX3" fmla="*/ 965454 w 1150048"/>
                <a:gd name="connsiteY3" fmla="*/ 178308 h 1248155"/>
                <a:gd name="connsiteX4" fmla="*/ 1101852 w 1150048"/>
                <a:gd name="connsiteY4" fmla="*/ 375380 h 1248155"/>
                <a:gd name="connsiteX5" fmla="*/ 1150049 w 1150048"/>
                <a:gd name="connsiteY5" fmla="*/ 620554 h 1248155"/>
                <a:gd name="connsiteX6" fmla="*/ 1150049 w 1150048"/>
                <a:gd name="connsiteY6" fmla="*/ 624173 h 1248155"/>
                <a:gd name="connsiteX7" fmla="*/ 1101852 w 1150048"/>
                <a:gd name="connsiteY7" fmla="*/ 870204 h 1248155"/>
                <a:gd name="connsiteX8" fmla="*/ 965454 w 1150048"/>
                <a:gd name="connsiteY8" fmla="*/ 1068134 h 1248155"/>
                <a:gd name="connsiteX9" fmla="*/ 755047 w 1150048"/>
                <a:gd name="connsiteY9" fmla="*/ 1200055 h 1248155"/>
                <a:gd name="connsiteX10" fmla="*/ 486728 w 1150048"/>
                <a:gd name="connsiteY10" fmla="*/ 1248156 h 1248155"/>
                <a:gd name="connsiteX11" fmla="*/ 0 w 1150048"/>
                <a:gd name="connsiteY11" fmla="*/ 1248156 h 1248155"/>
                <a:gd name="connsiteX12" fmla="*/ 0 w 1150048"/>
                <a:gd name="connsiteY12" fmla="*/ 0 h 1248155"/>
                <a:gd name="connsiteX13" fmla="*/ 486728 w 1150048"/>
                <a:gd name="connsiteY13" fmla="*/ 1000315 h 1248155"/>
                <a:gd name="connsiteX14" fmla="*/ 640080 w 1150048"/>
                <a:gd name="connsiteY14" fmla="*/ 973550 h 1248155"/>
                <a:gd name="connsiteX15" fmla="*/ 758667 w 1150048"/>
                <a:gd name="connsiteY15" fmla="*/ 896874 h 1248155"/>
                <a:gd name="connsiteX16" fmla="*/ 835343 w 1150048"/>
                <a:gd name="connsiteY16" fmla="*/ 779240 h 1248155"/>
                <a:gd name="connsiteX17" fmla="*/ 862965 w 1150048"/>
                <a:gd name="connsiteY17" fmla="*/ 627698 h 1248155"/>
                <a:gd name="connsiteX18" fmla="*/ 862965 w 1150048"/>
                <a:gd name="connsiteY18" fmla="*/ 624078 h 1248155"/>
                <a:gd name="connsiteX19" fmla="*/ 835343 w 1150048"/>
                <a:gd name="connsiteY19" fmla="*/ 472535 h 1248155"/>
                <a:gd name="connsiteX20" fmla="*/ 758667 w 1150048"/>
                <a:gd name="connsiteY20" fmla="*/ 353092 h 1248155"/>
                <a:gd name="connsiteX21" fmla="*/ 640080 w 1150048"/>
                <a:gd name="connsiteY21" fmla="*/ 275558 h 1248155"/>
                <a:gd name="connsiteX22" fmla="*/ 486728 w 1150048"/>
                <a:gd name="connsiteY22" fmla="*/ 247936 h 1248155"/>
                <a:gd name="connsiteX23" fmla="*/ 274511 w 1150048"/>
                <a:gd name="connsiteY23" fmla="*/ 247936 h 1248155"/>
                <a:gd name="connsiteX24" fmla="*/ 274511 w 1150048"/>
                <a:gd name="connsiteY24" fmla="*/ 1000411 h 1248155"/>
                <a:gd name="connsiteX25" fmla="*/ 486728 w 1150048"/>
                <a:gd name="connsiteY25" fmla="*/ 1000411 h 124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50048" h="1248155">
                  <a:moveTo>
                    <a:pt x="0" y="0"/>
                  </a:moveTo>
                  <a:lnTo>
                    <a:pt x="486728" y="0"/>
                  </a:lnTo>
                  <a:cubicBezTo>
                    <a:pt x="584168" y="0"/>
                    <a:pt x="673608" y="15811"/>
                    <a:pt x="755047" y="47244"/>
                  </a:cubicBezTo>
                  <a:cubicBezTo>
                    <a:pt x="836486" y="78772"/>
                    <a:pt x="906590" y="122396"/>
                    <a:pt x="965454" y="178308"/>
                  </a:cubicBezTo>
                  <a:cubicBezTo>
                    <a:pt x="1024319" y="234220"/>
                    <a:pt x="1069753" y="299847"/>
                    <a:pt x="1101852" y="375380"/>
                  </a:cubicBezTo>
                  <a:cubicBezTo>
                    <a:pt x="1133951" y="450914"/>
                    <a:pt x="1150049" y="532543"/>
                    <a:pt x="1150049" y="620554"/>
                  </a:cubicBezTo>
                  <a:lnTo>
                    <a:pt x="1150049" y="624173"/>
                  </a:lnTo>
                  <a:cubicBezTo>
                    <a:pt x="1150049" y="712184"/>
                    <a:pt x="1133951" y="794195"/>
                    <a:pt x="1101852" y="870204"/>
                  </a:cubicBezTo>
                  <a:cubicBezTo>
                    <a:pt x="1069753" y="946309"/>
                    <a:pt x="1024319" y="1012222"/>
                    <a:pt x="965454" y="1068134"/>
                  </a:cubicBezTo>
                  <a:cubicBezTo>
                    <a:pt x="906590" y="1124045"/>
                    <a:pt x="836486" y="1167956"/>
                    <a:pt x="755047" y="1200055"/>
                  </a:cubicBezTo>
                  <a:cubicBezTo>
                    <a:pt x="673608" y="1232154"/>
                    <a:pt x="584168" y="1248156"/>
                    <a:pt x="486728" y="1248156"/>
                  </a:cubicBezTo>
                  <a:lnTo>
                    <a:pt x="0" y="1248156"/>
                  </a:lnTo>
                  <a:lnTo>
                    <a:pt x="0" y="0"/>
                  </a:lnTo>
                  <a:close/>
                  <a:moveTo>
                    <a:pt x="486728" y="1000315"/>
                  </a:moveTo>
                  <a:cubicBezTo>
                    <a:pt x="542639" y="1000315"/>
                    <a:pt x="593693" y="991457"/>
                    <a:pt x="640080" y="973550"/>
                  </a:cubicBezTo>
                  <a:cubicBezTo>
                    <a:pt x="686467" y="955739"/>
                    <a:pt x="725900" y="930211"/>
                    <a:pt x="758667" y="896874"/>
                  </a:cubicBezTo>
                  <a:cubicBezTo>
                    <a:pt x="791337" y="863632"/>
                    <a:pt x="816864" y="824389"/>
                    <a:pt x="835343" y="779240"/>
                  </a:cubicBezTo>
                  <a:cubicBezTo>
                    <a:pt x="853726" y="734092"/>
                    <a:pt x="862965" y="683609"/>
                    <a:pt x="862965" y="627698"/>
                  </a:cubicBezTo>
                  <a:lnTo>
                    <a:pt x="862965" y="624078"/>
                  </a:lnTo>
                  <a:cubicBezTo>
                    <a:pt x="862965" y="569404"/>
                    <a:pt x="853726" y="518827"/>
                    <a:pt x="835343" y="472535"/>
                  </a:cubicBezTo>
                  <a:cubicBezTo>
                    <a:pt x="816864" y="426149"/>
                    <a:pt x="791337" y="386334"/>
                    <a:pt x="758667" y="353092"/>
                  </a:cubicBezTo>
                  <a:cubicBezTo>
                    <a:pt x="725996" y="319849"/>
                    <a:pt x="686467" y="293941"/>
                    <a:pt x="640080" y="275558"/>
                  </a:cubicBezTo>
                  <a:cubicBezTo>
                    <a:pt x="593693" y="257175"/>
                    <a:pt x="542639" y="247936"/>
                    <a:pt x="486728" y="247936"/>
                  </a:cubicBezTo>
                  <a:lnTo>
                    <a:pt x="274511" y="247936"/>
                  </a:lnTo>
                  <a:lnTo>
                    <a:pt x="274511" y="1000411"/>
                  </a:lnTo>
                  <a:lnTo>
                    <a:pt x="486728" y="1000411"/>
                  </a:lnTo>
                  <a:close/>
                </a:path>
              </a:pathLst>
            </a:custGeom>
            <a:solidFill>
              <a:srgbClr val="44505E"/>
            </a:solidFill>
            <a:ln w="9525" cap="flat">
              <a:noFill/>
              <a:prstDash val="solid"/>
              <a:miter/>
            </a:ln>
          </p:spPr>
          <p:txBody>
            <a:bodyPr rtlCol="0" anchor="ctr"/>
            <a:lstStyle/>
            <a:p>
              <a:endParaRPr lang="pt-BR" noProof="0"/>
            </a:p>
          </p:txBody>
        </p:sp>
        <p:sp>
          <p:nvSpPr>
            <p:cNvPr id="7" name="Freeform: Shape 19">
              <a:extLst>
                <a:ext uri="{FF2B5EF4-FFF2-40B4-BE49-F238E27FC236}">
                  <a16:creationId xmlns:a16="http://schemas.microsoft.com/office/drawing/2014/main" id="{8FEB8DE5-FB5B-ECE5-F90B-D38A770C609F}"/>
                </a:ext>
              </a:extLst>
            </p:cNvPr>
            <p:cNvSpPr/>
            <p:nvPr/>
          </p:nvSpPr>
          <p:spPr>
            <a:xfrm>
              <a:off x="6460217" y="313094"/>
              <a:ext cx="238459" cy="313788"/>
            </a:xfrm>
            <a:custGeom>
              <a:avLst/>
              <a:gdLst>
                <a:gd name="connsiteX0" fmla="*/ 95 w 948594"/>
                <a:gd name="connsiteY0" fmla="*/ 0 h 1248251"/>
                <a:gd name="connsiteX1" fmla="*/ 939737 w 948594"/>
                <a:gd name="connsiteY1" fmla="*/ 0 h 1248251"/>
                <a:gd name="connsiteX2" fmla="*/ 939737 w 948594"/>
                <a:gd name="connsiteY2" fmla="*/ 244316 h 1248251"/>
                <a:gd name="connsiteX3" fmla="*/ 271081 w 948594"/>
                <a:gd name="connsiteY3" fmla="*/ 244316 h 1248251"/>
                <a:gd name="connsiteX4" fmla="*/ 271081 w 948594"/>
                <a:gd name="connsiteY4" fmla="*/ 497491 h 1248251"/>
                <a:gd name="connsiteX5" fmla="*/ 859441 w 948594"/>
                <a:gd name="connsiteY5" fmla="*/ 497491 h 1248251"/>
                <a:gd name="connsiteX6" fmla="*/ 859441 w 948594"/>
                <a:gd name="connsiteY6" fmla="*/ 741807 h 1248251"/>
                <a:gd name="connsiteX7" fmla="*/ 271081 w 948594"/>
                <a:gd name="connsiteY7" fmla="*/ 741807 h 1248251"/>
                <a:gd name="connsiteX8" fmla="*/ 271081 w 948594"/>
                <a:gd name="connsiteY8" fmla="*/ 1003935 h 1248251"/>
                <a:gd name="connsiteX9" fmla="*/ 948595 w 948594"/>
                <a:gd name="connsiteY9" fmla="*/ 1003935 h 1248251"/>
                <a:gd name="connsiteX10" fmla="*/ 948595 w 948594"/>
                <a:gd name="connsiteY10" fmla="*/ 1248251 h 1248251"/>
                <a:gd name="connsiteX11" fmla="*/ 0 w 948594"/>
                <a:gd name="connsiteY11" fmla="*/ 1248251 h 1248251"/>
                <a:gd name="connsiteX12" fmla="*/ 0 w 948594"/>
                <a:gd name="connsiteY12" fmla="*/ 0 h 124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594" h="1248251">
                  <a:moveTo>
                    <a:pt x="95" y="0"/>
                  </a:moveTo>
                  <a:lnTo>
                    <a:pt x="939737" y="0"/>
                  </a:lnTo>
                  <a:lnTo>
                    <a:pt x="939737" y="244316"/>
                  </a:lnTo>
                  <a:lnTo>
                    <a:pt x="271081" y="244316"/>
                  </a:lnTo>
                  <a:lnTo>
                    <a:pt x="271081" y="497491"/>
                  </a:lnTo>
                  <a:lnTo>
                    <a:pt x="859441" y="497491"/>
                  </a:lnTo>
                  <a:lnTo>
                    <a:pt x="859441" y="741807"/>
                  </a:lnTo>
                  <a:lnTo>
                    <a:pt x="271081" y="741807"/>
                  </a:lnTo>
                  <a:lnTo>
                    <a:pt x="271081" y="1003935"/>
                  </a:lnTo>
                  <a:lnTo>
                    <a:pt x="948595" y="1003935"/>
                  </a:lnTo>
                  <a:lnTo>
                    <a:pt x="948595" y="1248251"/>
                  </a:lnTo>
                  <a:lnTo>
                    <a:pt x="0" y="1248251"/>
                  </a:lnTo>
                  <a:lnTo>
                    <a:pt x="0" y="0"/>
                  </a:lnTo>
                  <a:close/>
                </a:path>
              </a:pathLst>
            </a:custGeom>
            <a:solidFill>
              <a:srgbClr val="44505E"/>
            </a:solidFill>
            <a:ln w="9525" cap="flat">
              <a:noFill/>
              <a:prstDash val="solid"/>
              <a:miter/>
            </a:ln>
          </p:spPr>
          <p:txBody>
            <a:bodyPr rtlCol="0" anchor="ctr"/>
            <a:lstStyle/>
            <a:p>
              <a:endParaRPr lang="pt-BR" noProof="0"/>
            </a:p>
          </p:txBody>
        </p:sp>
        <p:sp>
          <p:nvSpPr>
            <p:cNvPr id="8" name="Freeform: Shape 20">
              <a:extLst>
                <a:ext uri="{FF2B5EF4-FFF2-40B4-BE49-F238E27FC236}">
                  <a16:creationId xmlns:a16="http://schemas.microsoft.com/office/drawing/2014/main" id="{A49B678B-F8C0-7058-93B1-FE58F3A60A6B}"/>
                </a:ext>
              </a:extLst>
            </p:cNvPr>
            <p:cNvSpPr/>
            <p:nvPr/>
          </p:nvSpPr>
          <p:spPr>
            <a:xfrm>
              <a:off x="5253193" y="699983"/>
              <a:ext cx="90796" cy="97883"/>
            </a:xfrm>
            <a:custGeom>
              <a:avLst/>
              <a:gdLst>
                <a:gd name="connsiteX0" fmla="*/ 191548 w 361187"/>
                <a:gd name="connsiteY0" fmla="*/ 389382 h 389381"/>
                <a:gd name="connsiteX1" fmla="*/ 116300 w 361187"/>
                <a:gd name="connsiteY1" fmla="*/ 375285 h 389381"/>
                <a:gd name="connsiteX2" fmla="*/ 55531 w 361187"/>
                <a:gd name="connsiteY2" fmla="*/ 335756 h 389381"/>
                <a:gd name="connsiteX3" fmla="*/ 14859 w 361187"/>
                <a:gd name="connsiteY3" fmla="*/ 274606 h 389381"/>
                <a:gd name="connsiteX4" fmla="*/ 0 w 361187"/>
                <a:gd name="connsiteY4" fmla="*/ 195834 h 389381"/>
                <a:gd name="connsiteX5" fmla="*/ 0 w 361187"/>
                <a:gd name="connsiteY5" fmla="*/ 194405 h 389381"/>
                <a:gd name="connsiteX6" fmla="*/ 13430 w 361187"/>
                <a:gd name="connsiteY6" fmla="*/ 118777 h 389381"/>
                <a:gd name="connsiteX7" fmla="*/ 51245 w 361187"/>
                <a:gd name="connsiteY7" fmla="*/ 56959 h 389381"/>
                <a:gd name="connsiteX8" fmla="*/ 108871 w 361187"/>
                <a:gd name="connsiteY8" fmla="*/ 15240 h 389381"/>
                <a:gd name="connsiteX9" fmla="*/ 182404 w 361187"/>
                <a:gd name="connsiteY9" fmla="*/ 0 h 389381"/>
                <a:gd name="connsiteX10" fmla="*/ 260509 w 361187"/>
                <a:gd name="connsiteY10" fmla="*/ 16288 h 389381"/>
                <a:gd name="connsiteX11" fmla="*/ 316325 w 361187"/>
                <a:gd name="connsiteY11" fmla="*/ 60103 h 389381"/>
                <a:gd name="connsiteX12" fmla="*/ 349853 w 361187"/>
                <a:gd name="connsiteY12" fmla="*/ 124015 h 389381"/>
                <a:gd name="connsiteX13" fmla="*/ 361188 w 361187"/>
                <a:gd name="connsiteY13" fmla="*/ 200692 h 389381"/>
                <a:gd name="connsiteX14" fmla="*/ 360807 w 361187"/>
                <a:gd name="connsiteY14" fmla="*/ 212312 h 389381"/>
                <a:gd name="connsiteX15" fmla="*/ 359759 w 361187"/>
                <a:gd name="connsiteY15" fmla="*/ 224695 h 389381"/>
                <a:gd name="connsiteX16" fmla="*/ 85534 w 361187"/>
                <a:gd name="connsiteY16" fmla="*/ 224695 h 389381"/>
                <a:gd name="connsiteX17" fmla="*/ 121920 w 361187"/>
                <a:gd name="connsiteY17" fmla="*/ 294989 h 389381"/>
                <a:gd name="connsiteX18" fmla="*/ 192977 w 361187"/>
                <a:gd name="connsiteY18" fmla="*/ 319373 h 389381"/>
                <a:gd name="connsiteX19" fmla="*/ 248126 w 361187"/>
                <a:gd name="connsiteY19" fmla="*/ 308038 h 389381"/>
                <a:gd name="connsiteX20" fmla="*/ 294037 w 361187"/>
                <a:gd name="connsiteY20" fmla="*/ 274796 h 389381"/>
                <a:gd name="connsiteX21" fmla="*/ 344234 w 361187"/>
                <a:gd name="connsiteY21" fmla="*/ 319278 h 389381"/>
                <a:gd name="connsiteX22" fmla="*/ 280226 w 361187"/>
                <a:gd name="connsiteY22" fmla="*/ 370141 h 389381"/>
                <a:gd name="connsiteX23" fmla="*/ 191548 w 361187"/>
                <a:gd name="connsiteY23" fmla="*/ 389191 h 389381"/>
                <a:gd name="connsiteX24" fmla="*/ 276320 w 361187"/>
                <a:gd name="connsiteY24" fmla="*/ 168211 h 389381"/>
                <a:gd name="connsiteX25" fmla="*/ 267176 w 361187"/>
                <a:gd name="connsiteY25" fmla="*/ 129730 h 389381"/>
                <a:gd name="connsiteX26" fmla="*/ 248126 w 361187"/>
                <a:gd name="connsiteY26" fmla="*/ 98679 h 389381"/>
                <a:gd name="connsiteX27" fmla="*/ 219551 w 361187"/>
                <a:gd name="connsiteY27" fmla="*/ 77819 h 389381"/>
                <a:gd name="connsiteX28" fmla="*/ 181737 w 361187"/>
                <a:gd name="connsiteY28" fmla="*/ 70009 h 389381"/>
                <a:gd name="connsiteX29" fmla="*/ 116396 w 361187"/>
                <a:gd name="connsiteY29" fmla="*/ 97250 h 389381"/>
                <a:gd name="connsiteX30" fmla="*/ 84963 w 361187"/>
                <a:gd name="connsiteY30" fmla="*/ 168307 h 389381"/>
                <a:gd name="connsiteX31" fmla="*/ 276511 w 361187"/>
                <a:gd name="connsiteY31" fmla="*/ 168307 h 38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187" h="389381">
                  <a:moveTo>
                    <a:pt x="191548" y="389382"/>
                  </a:moveTo>
                  <a:cubicBezTo>
                    <a:pt x="164687" y="389382"/>
                    <a:pt x="139637" y="384715"/>
                    <a:pt x="116300" y="375285"/>
                  </a:cubicBezTo>
                  <a:cubicBezTo>
                    <a:pt x="92964" y="365855"/>
                    <a:pt x="72771" y="352711"/>
                    <a:pt x="55531" y="335756"/>
                  </a:cubicBezTo>
                  <a:cubicBezTo>
                    <a:pt x="38291" y="318802"/>
                    <a:pt x="24765" y="298418"/>
                    <a:pt x="14859" y="274606"/>
                  </a:cubicBezTo>
                  <a:cubicBezTo>
                    <a:pt x="4953" y="250793"/>
                    <a:pt x="0" y="224599"/>
                    <a:pt x="0" y="195834"/>
                  </a:cubicBezTo>
                  <a:lnTo>
                    <a:pt x="0" y="194405"/>
                  </a:lnTo>
                  <a:cubicBezTo>
                    <a:pt x="0" y="167545"/>
                    <a:pt x="4477" y="142399"/>
                    <a:pt x="13430" y="118777"/>
                  </a:cubicBezTo>
                  <a:cubicBezTo>
                    <a:pt x="22384" y="95250"/>
                    <a:pt x="34957" y="74581"/>
                    <a:pt x="51245" y="56959"/>
                  </a:cubicBezTo>
                  <a:cubicBezTo>
                    <a:pt x="67532" y="39338"/>
                    <a:pt x="86677" y="25432"/>
                    <a:pt x="108871" y="15240"/>
                  </a:cubicBezTo>
                  <a:cubicBezTo>
                    <a:pt x="131064" y="5143"/>
                    <a:pt x="155543" y="0"/>
                    <a:pt x="182404" y="0"/>
                  </a:cubicBezTo>
                  <a:cubicBezTo>
                    <a:pt x="212122" y="0"/>
                    <a:pt x="238125" y="5429"/>
                    <a:pt x="260509" y="16288"/>
                  </a:cubicBezTo>
                  <a:cubicBezTo>
                    <a:pt x="282893" y="27146"/>
                    <a:pt x="301466" y="41719"/>
                    <a:pt x="316325" y="60103"/>
                  </a:cubicBezTo>
                  <a:cubicBezTo>
                    <a:pt x="331184" y="78486"/>
                    <a:pt x="342329" y="99822"/>
                    <a:pt x="349853" y="124015"/>
                  </a:cubicBezTo>
                  <a:cubicBezTo>
                    <a:pt x="357378" y="148304"/>
                    <a:pt x="361188" y="173831"/>
                    <a:pt x="361188" y="200692"/>
                  </a:cubicBezTo>
                  <a:cubicBezTo>
                    <a:pt x="361188" y="204502"/>
                    <a:pt x="361093" y="208312"/>
                    <a:pt x="360807" y="212312"/>
                  </a:cubicBezTo>
                  <a:cubicBezTo>
                    <a:pt x="360521" y="216313"/>
                    <a:pt x="360236" y="220409"/>
                    <a:pt x="359759" y="224695"/>
                  </a:cubicBezTo>
                  <a:lnTo>
                    <a:pt x="85534" y="224695"/>
                  </a:lnTo>
                  <a:cubicBezTo>
                    <a:pt x="90202" y="255365"/>
                    <a:pt x="102394" y="278797"/>
                    <a:pt x="121920" y="294989"/>
                  </a:cubicBezTo>
                  <a:cubicBezTo>
                    <a:pt x="141446" y="311277"/>
                    <a:pt x="165164" y="319373"/>
                    <a:pt x="192977" y="319373"/>
                  </a:cubicBezTo>
                  <a:cubicBezTo>
                    <a:pt x="214217" y="319373"/>
                    <a:pt x="232505" y="315563"/>
                    <a:pt x="248126" y="308038"/>
                  </a:cubicBezTo>
                  <a:cubicBezTo>
                    <a:pt x="263652" y="300514"/>
                    <a:pt x="278987" y="289465"/>
                    <a:pt x="294037" y="274796"/>
                  </a:cubicBezTo>
                  <a:lnTo>
                    <a:pt x="344234" y="319278"/>
                  </a:lnTo>
                  <a:cubicBezTo>
                    <a:pt x="326327" y="340519"/>
                    <a:pt x="304991" y="357473"/>
                    <a:pt x="280226" y="370141"/>
                  </a:cubicBezTo>
                  <a:cubicBezTo>
                    <a:pt x="255461" y="382810"/>
                    <a:pt x="225933" y="389191"/>
                    <a:pt x="191548" y="389191"/>
                  </a:cubicBezTo>
                  <a:close/>
                  <a:moveTo>
                    <a:pt x="276320" y="168211"/>
                  </a:moveTo>
                  <a:cubicBezTo>
                    <a:pt x="274892" y="154591"/>
                    <a:pt x="271844" y="141732"/>
                    <a:pt x="267176" y="129730"/>
                  </a:cubicBezTo>
                  <a:cubicBezTo>
                    <a:pt x="262414" y="117729"/>
                    <a:pt x="256127" y="107347"/>
                    <a:pt x="248126" y="98679"/>
                  </a:cubicBezTo>
                  <a:cubicBezTo>
                    <a:pt x="240125" y="89916"/>
                    <a:pt x="230600" y="82963"/>
                    <a:pt x="219551" y="77819"/>
                  </a:cubicBezTo>
                  <a:cubicBezTo>
                    <a:pt x="208502" y="72676"/>
                    <a:pt x="195834" y="70009"/>
                    <a:pt x="181737" y="70009"/>
                  </a:cubicBezTo>
                  <a:cubicBezTo>
                    <a:pt x="155353" y="70009"/>
                    <a:pt x="133541" y="79057"/>
                    <a:pt x="116396" y="97250"/>
                  </a:cubicBezTo>
                  <a:cubicBezTo>
                    <a:pt x="99155" y="115348"/>
                    <a:pt x="88678" y="139065"/>
                    <a:pt x="84963" y="168307"/>
                  </a:cubicBezTo>
                  <a:lnTo>
                    <a:pt x="276511" y="168307"/>
                  </a:lnTo>
                  <a:close/>
                </a:path>
              </a:pathLst>
            </a:custGeom>
            <a:solidFill>
              <a:srgbClr val="44505E"/>
            </a:solidFill>
            <a:ln w="9525" cap="flat">
              <a:noFill/>
              <a:prstDash val="solid"/>
              <a:miter/>
            </a:ln>
          </p:spPr>
          <p:txBody>
            <a:bodyPr rtlCol="0" anchor="ctr"/>
            <a:lstStyle/>
            <a:p>
              <a:endParaRPr lang="pt-BR" noProof="0"/>
            </a:p>
          </p:txBody>
        </p:sp>
        <p:sp>
          <p:nvSpPr>
            <p:cNvPr id="9" name="Freeform: Shape 21">
              <a:extLst>
                <a:ext uri="{FF2B5EF4-FFF2-40B4-BE49-F238E27FC236}">
                  <a16:creationId xmlns:a16="http://schemas.microsoft.com/office/drawing/2014/main" id="{54BC1303-482E-933E-24CB-79331FB52A5E}"/>
                </a:ext>
              </a:extLst>
            </p:cNvPr>
            <p:cNvSpPr/>
            <p:nvPr/>
          </p:nvSpPr>
          <p:spPr>
            <a:xfrm>
              <a:off x="5365659"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5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8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3 w 568166"/>
                <a:gd name="connsiteY21" fmla="*/ 381000 h 381000"/>
                <a:gd name="connsiteX22" fmla="*/ 240983 w 568166"/>
                <a:gd name="connsiteY22" fmla="*/ 168783 h 381000"/>
                <a:gd name="connsiteX23" fmla="*/ 221266 w 568166"/>
                <a:gd name="connsiteY23" fmla="*/ 101822 h 381000"/>
                <a:gd name="connsiteX24" fmla="*/ 165640 w 568166"/>
                <a:gd name="connsiteY24" fmla="*/ 78581 h 381000"/>
                <a:gd name="connsiteX25" fmla="*/ 108014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70" y="48196"/>
                    <a:pt x="105918" y="40576"/>
                  </a:cubicBezTo>
                  <a:cubicBezTo>
                    <a:pt x="112967" y="32956"/>
                    <a:pt x="121063" y="26099"/>
                    <a:pt x="130207" y="19907"/>
                  </a:cubicBezTo>
                  <a:cubicBezTo>
                    <a:pt x="139351" y="13716"/>
                    <a:pt x="149733" y="8858"/>
                    <a:pt x="161163" y="5334"/>
                  </a:cubicBezTo>
                  <a:cubicBezTo>
                    <a:pt x="172688" y="1714"/>
                    <a:pt x="185452" y="0"/>
                    <a:pt x="199549" y="0"/>
                  </a:cubicBezTo>
                  <a:cubicBezTo>
                    <a:pt x="226314" y="0"/>
                    <a:pt x="248984" y="6096"/>
                    <a:pt x="267557" y="18193"/>
                  </a:cubicBezTo>
                  <a:cubicBezTo>
                    <a:pt x="286131" y="30289"/>
                    <a:pt x="300323" y="46387"/>
                    <a:pt x="310134" y="66294"/>
                  </a:cubicBezTo>
                  <a:cubicBezTo>
                    <a:pt x="325279" y="46387"/>
                    <a:pt x="343091" y="30289"/>
                    <a:pt x="363665" y="18193"/>
                  </a:cubicBezTo>
                  <a:cubicBezTo>
                    <a:pt x="384239" y="6096"/>
                    <a:pt x="408718" y="0"/>
                    <a:pt x="437007" y="0"/>
                  </a:cubicBezTo>
                  <a:cubicBezTo>
                    <a:pt x="478060"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8" y="78486"/>
                  </a:cubicBezTo>
                  <a:cubicBezTo>
                    <a:pt x="382810" y="78486"/>
                    <a:pt x="364141" y="86392"/>
                    <a:pt x="349377" y="102108"/>
                  </a:cubicBezTo>
                  <a:cubicBezTo>
                    <a:pt x="334613" y="117824"/>
                    <a:pt x="327184" y="140779"/>
                    <a:pt x="327184" y="170879"/>
                  </a:cubicBezTo>
                  <a:lnTo>
                    <a:pt x="327184" y="381000"/>
                  </a:lnTo>
                  <a:lnTo>
                    <a:pt x="240983" y="381000"/>
                  </a:lnTo>
                  <a:lnTo>
                    <a:pt x="240983" y="168783"/>
                  </a:lnTo>
                  <a:cubicBezTo>
                    <a:pt x="240983" y="139637"/>
                    <a:pt x="234410" y="117348"/>
                    <a:pt x="221266" y="101822"/>
                  </a:cubicBezTo>
                  <a:cubicBezTo>
                    <a:pt x="208121" y="86296"/>
                    <a:pt x="189643" y="78581"/>
                    <a:pt x="165640" y="78581"/>
                  </a:cubicBezTo>
                  <a:cubicBezTo>
                    <a:pt x="141637" y="78581"/>
                    <a:pt x="122492" y="86773"/>
                    <a:pt x="108014"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10" name="Freeform: Shape 22">
              <a:extLst>
                <a:ext uri="{FF2B5EF4-FFF2-40B4-BE49-F238E27FC236}">
                  <a16:creationId xmlns:a16="http://schemas.microsoft.com/office/drawing/2014/main" id="{F9469A67-2A20-063A-5D47-FFE8F5D66FAB}"/>
                </a:ext>
              </a:extLst>
            </p:cNvPr>
            <p:cNvSpPr/>
            <p:nvPr/>
          </p:nvSpPr>
          <p:spPr>
            <a:xfrm>
              <a:off x="5587693" y="700007"/>
              <a:ext cx="84211" cy="95752"/>
            </a:xfrm>
            <a:custGeom>
              <a:avLst/>
              <a:gdLst>
                <a:gd name="connsiteX0" fmla="*/ 95 w 334994"/>
                <a:gd name="connsiteY0" fmla="*/ 7715 h 380904"/>
                <a:gd name="connsiteX1" fmla="*/ 86296 w 334994"/>
                <a:gd name="connsiteY1" fmla="*/ 7715 h 380904"/>
                <a:gd name="connsiteX2" fmla="*/ 86296 w 334994"/>
                <a:gd name="connsiteY2" fmla="*/ 66294 h 380904"/>
                <a:gd name="connsiteX3" fmla="*/ 106394 w 334994"/>
                <a:gd name="connsiteY3" fmla="*/ 40958 h 380904"/>
                <a:gd name="connsiteX4" fmla="*/ 131731 w 334994"/>
                <a:gd name="connsiteY4" fmla="*/ 19907 h 380904"/>
                <a:gd name="connsiteX5" fmla="*/ 163449 w 334994"/>
                <a:gd name="connsiteY5" fmla="*/ 5334 h 380904"/>
                <a:gd name="connsiteX6" fmla="*/ 202597 w 334994"/>
                <a:gd name="connsiteY6" fmla="*/ 0 h 380904"/>
                <a:gd name="connsiteX7" fmla="*/ 300514 w 334994"/>
                <a:gd name="connsiteY7" fmla="*/ 38862 h 380904"/>
                <a:gd name="connsiteX8" fmla="*/ 334994 w 334994"/>
                <a:gd name="connsiteY8" fmla="*/ 143446 h 380904"/>
                <a:gd name="connsiteX9" fmla="*/ 334994 w 334994"/>
                <a:gd name="connsiteY9" fmla="*/ 380905 h 380904"/>
                <a:gd name="connsiteX10" fmla="*/ 248793 w 334994"/>
                <a:gd name="connsiteY10" fmla="*/ 380905 h 380904"/>
                <a:gd name="connsiteX11" fmla="*/ 248793 w 334994"/>
                <a:gd name="connsiteY11" fmla="*/ 169450 h 380904"/>
                <a:gd name="connsiteX12" fmla="*/ 228124 w 334994"/>
                <a:gd name="connsiteY12" fmla="*/ 102108 h 380904"/>
                <a:gd name="connsiteX13" fmla="*/ 169640 w 334994"/>
                <a:gd name="connsiteY13" fmla="*/ 78486 h 380904"/>
                <a:gd name="connsiteX14" fmla="*/ 109347 w 334994"/>
                <a:gd name="connsiteY14" fmla="*/ 102775 h 380904"/>
                <a:gd name="connsiteX15" fmla="*/ 86201 w 334994"/>
                <a:gd name="connsiteY15" fmla="*/ 170783 h 380904"/>
                <a:gd name="connsiteX16" fmla="*/ 86201 w 334994"/>
                <a:gd name="connsiteY16" fmla="*/ 380905 h 380904"/>
                <a:gd name="connsiteX17" fmla="*/ 0 w 334994"/>
                <a:gd name="connsiteY17" fmla="*/ 380905 h 380904"/>
                <a:gd name="connsiteX18" fmla="*/ 0 w 334994"/>
                <a:gd name="connsiteY18" fmla="*/ 7810 h 38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94" h="380904">
                  <a:moveTo>
                    <a:pt x="95" y="7715"/>
                  </a:moveTo>
                  <a:lnTo>
                    <a:pt x="86296" y="7715"/>
                  </a:lnTo>
                  <a:lnTo>
                    <a:pt x="86296" y="66294"/>
                  </a:lnTo>
                  <a:cubicBezTo>
                    <a:pt x="92392" y="57245"/>
                    <a:pt x="99060" y="48863"/>
                    <a:pt x="106394" y="40958"/>
                  </a:cubicBezTo>
                  <a:cubicBezTo>
                    <a:pt x="113633" y="33147"/>
                    <a:pt x="122110" y="26099"/>
                    <a:pt x="131731" y="19907"/>
                  </a:cubicBezTo>
                  <a:cubicBezTo>
                    <a:pt x="141351" y="13716"/>
                    <a:pt x="151924" y="8858"/>
                    <a:pt x="163449" y="5334"/>
                  </a:cubicBezTo>
                  <a:cubicBezTo>
                    <a:pt x="174974" y="1714"/>
                    <a:pt x="188024" y="0"/>
                    <a:pt x="202597" y="0"/>
                  </a:cubicBezTo>
                  <a:cubicBezTo>
                    <a:pt x="244888" y="0"/>
                    <a:pt x="277559" y="12954"/>
                    <a:pt x="300514" y="38862"/>
                  </a:cubicBezTo>
                  <a:cubicBezTo>
                    <a:pt x="323564" y="64770"/>
                    <a:pt x="334994" y="99631"/>
                    <a:pt x="334994" y="143446"/>
                  </a:cubicBezTo>
                  <a:lnTo>
                    <a:pt x="334994" y="380905"/>
                  </a:lnTo>
                  <a:lnTo>
                    <a:pt x="248793" y="380905"/>
                  </a:lnTo>
                  <a:lnTo>
                    <a:pt x="248793" y="169450"/>
                  </a:lnTo>
                  <a:cubicBezTo>
                    <a:pt x="248793" y="140303"/>
                    <a:pt x="241935" y="117824"/>
                    <a:pt x="228124" y="102108"/>
                  </a:cubicBezTo>
                  <a:cubicBezTo>
                    <a:pt x="214313" y="86392"/>
                    <a:pt x="194881" y="78486"/>
                    <a:pt x="169640" y="78486"/>
                  </a:cubicBezTo>
                  <a:cubicBezTo>
                    <a:pt x="144399" y="78486"/>
                    <a:pt x="124777" y="86582"/>
                    <a:pt x="109347" y="102775"/>
                  </a:cubicBezTo>
                  <a:cubicBezTo>
                    <a:pt x="93917" y="118967"/>
                    <a:pt x="86201" y="141637"/>
                    <a:pt x="86201" y="170783"/>
                  </a:cubicBezTo>
                  <a:lnTo>
                    <a:pt x="86201" y="380905"/>
                  </a:lnTo>
                  <a:lnTo>
                    <a:pt x="0" y="380905"/>
                  </a:lnTo>
                  <a:lnTo>
                    <a:pt x="0" y="7810"/>
                  </a:lnTo>
                  <a:close/>
                </a:path>
              </a:pathLst>
            </a:custGeom>
            <a:solidFill>
              <a:srgbClr val="44505E"/>
            </a:solidFill>
            <a:ln w="9525" cap="flat">
              <a:noFill/>
              <a:prstDash val="solid"/>
              <a:miter/>
            </a:ln>
          </p:spPr>
          <p:txBody>
            <a:bodyPr rtlCol="0" anchor="ctr"/>
            <a:lstStyle/>
            <a:p>
              <a:endParaRPr lang="pt-BR" noProof="0"/>
            </a:p>
          </p:txBody>
        </p:sp>
        <p:sp>
          <p:nvSpPr>
            <p:cNvPr id="11" name="Freeform: Shape 23">
              <a:extLst>
                <a:ext uri="{FF2B5EF4-FFF2-40B4-BE49-F238E27FC236}">
                  <a16:creationId xmlns:a16="http://schemas.microsoft.com/office/drawing/2014/main" id="{36D1CC95-5409-9A65-226F-FCF832DBC55A}"/>
                </a:ext>
              </a:extLst>
            </p:cNvPr>
            <p:cNvSpPr/>
            <p:nvPr/>
          </p:nvSpPr>
          <p:spPr>
            <a:xfrm>
              <a:off x="5692712" y="699959"/>
              <a:ext cx="100015" cy="97908"/>
            </a:xfrm>
            <a:custGeom>
              <a:avLst/>
              <a:gdLst>
                <a:gd name="connsiteX0" fmla="*/ 197834 w 397859"/>
                <a:gd name="connsiteY0" fmla="*/ 389477 h 389477"/>
                <a:gd name="connsiteX1" fmla="*/ 119063 w 397859"/>
                <a:gd name="connsiteY1" fmla="*/ 374237 h 389477"/>
                <a:gd name="connsiteX2" fmla="*/ 56197 w 397859"/>
                <a:gd name="connsiteY2" fmla="*/ 332899 h 389477"/>
                <a:gd name="connsiteX3" fmla="*/ 14859 w 397859"/>
                <a:gd name="connsiteY3" fmla="*/ 271463 h 389477"/>
                <a:gd name="connsiteX4" fmla="*/ 0 w 397859"/>
                <a:gd name="connsiteY4" fmla="*/ 196501 h 389477"/>
                <a:gd name="connsiteX5" fmla="*/ 0 w 397859"/>
                <a:gd name="connsiteY5" fmla="*/ 195072 h 389477"/>
                <a:gd name="connsiteX6" fmla="*/ 15145 w 397859"/>
                <a:gd name="connsiteY6" fmla="*/ 119444 h 389477"/>
                <a:gd name="connsiteX7" fmla="*/ 56864 w 397859"/>
                <a:gd name="connsiteY7" fmla="*/ 57626 h 389477"/>
                <a:gd name="connsiteX8" fmla="*/ 119729 w 397859"/>
                <a:gd name="connsiteY8" fmla="*/ 15526 h 389477"/>
                <a:gd name="connsiteX9" fmla="*/ 199263 w 397859"/>
                <a:gd name="connsiteY9" fmla="*/ 0 h 389477"/>
                <a:gd name="connsiteX10" fmla="*/ 278797 w 397859"/>
                <a:gd name="connsiteY10" fmla="*/ 15240 h 389477"/>
                <a:gd name="connsiteX11" fmla="*/ 341662 w 397859"/>
                <a:gd name="connsiteY11" fmla="*/ 56959 h 389477"/>
                <a:gd name="connsiteX12" fmla="*/ 383000 w 397859"/>
                <a:gd name="connsiteY12" fmla="*/ 118396 h 389477"/>
                <a:gd name="connsiteX13" fmla="*/ 397859 w 397859"/>
                <a:gd name="connsiteY13" fmla="*/ 193643 h 389477"/>
                <a:gd name="connsiteX14" fmla="*/ 397859 w 397859"/>
                <a:gd name="connsiteY14" fmla="*/ 195072 h 389477"/>
                <a:gd name="connsiteX15" fmla="*/ 382619 w 397859"/>
                <a:gd name="connsiteY15" fmla="*/ 270034 h 389477"/>
                <a:gd name="connsiteX16" fmla="*/ 340900 w 397859"/>
                <a:gd name="connsiteY16" fmla="*/ 331851 h 389477"/>
                <a:gd name="connsiteX17" fmla="*/ 277654 w 397859"/>
                <a:gd name="connsiteY17" fmla="*/ 373856 h 389477"/>
                <a:gd name="connsiteX18" fmla="*/ 197834 w 397859"/>
                <a:gd name="connsiteY18" fmla="*/ 389382 h 389477"/>
                <a:gd name="connsiteX19" fmla="*/ 199263 w 397859"/>
                <a:gd name="connsiteY19" fmla="*/ 315278 h 389477"/>
                <a:gd name="connsiteX20" fmla="*/ 245935 w 397859"/>
                <a:gd name="connsiteY20" fmla="*/ 305753 h 389477"/>
                <a:gd name="connsiteX21" fmla="*/ 281368 w 397859"/>
                <a:gd name="connsiteY21" fmla="*/ 279940 h 389477"/>
                <a:gd name="connsiteX22" fmla="*/ 303847 w 397859"/>
                <a:gd name="connsiteY22" fmla="*/ 242125 h 389477"/>
                <a:gd name="connsiteX23" fmla="*/ 311563 w 397859"/>
                <a:gd name="connsiteY23" fmla="*/ 196501 h 389477"/>
                <a:gd name="connsiteX24" fmla="*/ 311563 w 397859"/>
                <a:gd name="connsiteY24" fmla="*/ 195072 h 389477"/>
                <a:gd name="connsiteX25" fmla="*/ 303181 w 397859"/>
                <a:gd name="connsiteY25" fmla="*/ 148400 h 389477"/>
                <a:gd name="connsiteX26" fmla="*/ 279654 w 397859"/>
                <a:gd name="connsiteY26" fmla="*/ 110204 h 389477"/>
                <a:gd name="connsiteX27" fmla="*/ 243840 w 397859"/>
                <a:gd name="connsiteY27" fmla="*/ 84392 h 389477"/>
                <a:gd name="connsiteX28" fmla="*/ 197834 w 397859"/>
                <a:gd name="connsiteY28" fmla="*/ 74867 h 389477"/>
                <a:gd name="connsiteX29" fmla="*/ 151829 w 397859"/>
                <a:gd name="connsiteY29" fmla="*/ 84392 h 389477"/>
                <a:gd name="connsiteX30" fmla="*/ 116396 w 397859"/>
                <a:gd name="connsiteY30" fmla="*/ 109823 h 389477"/>
                <a:gd name="connsiteX31" fmla="*/ 93917 w 397859"/>
                <a:gd name="connsiteY31" fmla="*/ 147638 h 389477"/>
                <a:gd name="connsiteX32" fmla="*/ 86201 w 397859"/>
                <a:gd name="connsiteY32" fmla="*/ 193548 h 389477"/>
                <a:gd name="connsiteX33" fmla="*/ 86201 w 397859"/>
                <a:gd name="connsiteY33" fmla="*/ 194977 h 389477"/>
                <a:gd name="connsiteX34" fmla="*/ 94583 w 397859"/>
                <a:gd name="connsiteY34" fmla="*/ 241268 h 389477"/>
                <a:gd name="connsiteX35" fmla="*/ 118110 w 397859"/>
                <a:gd name="connsiteY35" fmla="*/ 279463 h 389477"/>
                <a:gd name="connsiteX36" fmla="*/ 153924 w 397859"/>
                <a:gd name="connsiteY36" fmla="*/ 305562 h 389477"/>
                <a:gd name="connsiteX37" fmla="*/ 199263 w 397859"/>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859" h="389477">
                  <a:moveTo>
                    <a:pt x="197834" y="389477"/>
                  </a:moveTo>
                  <a:cubicBezTo>
                    <a:pt x="169545" y="389477"/>
                    <a:pt x="143351" y="384429"/>
                    <a:pt x="119063" y="374237"/>
                  </a:cubicBezTo>
                  <a:cubicBezTo>
                    <a:pt x="94774" y="364141"/>
                    <a:pt x="73819" y="350330"/>
                    <a:pt x="56197" y="332899"/>
                  </a:cubicBezTo>
                  <a:cubicBezTo>
                    <a:pt x="38481" y="315468"/>
                    <a:pt x="24765" y="294989"/>
                    <a:pt x="14859" y="271463"/>
                  </a:cubicBezTo>
                  <a:cubicBezTo>
                    <a:pt x="4953" y="247936"/>
                    <a:pt x="0" y="222980"/>
                    <a:pt x="0" y="196501"/>
                  </a:cubicBezTo>
                  <a:lnTo>
                    <a:pt x="0" y="195072"/>
                  </a:lnTo>
                  <a:cubicBezTo>
                    <a:pt x="0" y="168212"/>
                    <a:pt x="5048" y="143066"/>
                    <a:pt x="15145" y="119444"/>
                  </a:cubicBezTo>
                  <a:cubicBezTo>
                    <a:pt x="25241" y="95917"/>
                    <a:pt x="39148" y="75248"/>
                    <a:pt x="56864" y="57626"/>
                  </a:cubicBezTo>
                  <a:cubicBezTo>
                    <a:pt x="74581" y="39910"/>
                    <a:pt x="95536" y="25908"/>
                    <a:pt x="119729" y="15526"/>
                  </a:cubicBezTo>
                  <a:cubicBezTo>
                    <a:pt x="144018" y="5144"/>
                    <a:pt x="170497" y="0"/>
                    <a:pt x="199263" y="0"/>
                  </a:cubicBezTo>
                  <a:cubicBezTo>
                    <a:pt x="228029" y="0"/>
                    <a:pt x="254508" y="5048"/>
                    <a:pt x="278797" y="15240"/>
                  </a:cubicBezTo>
                  <a:cubicBezTo>
                    <a:pt x="303085" y="25337"/>
                    <a:pt x="324041" y="39243"/>
                    <a:pt x="341662" y="56959"/>
                  </a:cubicBezTo>
                  <a:cubicBezTo>
                    <a:pt x="359378" y="74676"/>
                    <a:pt x="373094" y="95155"/>
                    <a:pt x="383000" y="118396"/>
                  </a:cubicBezTo>
                  <a:cubicBezTo>
                    <a:pt x="392906" y="141732"/>
                    <a:pt x="397859" y="166783"/>
                    <a:pt x="397859" y="193643"/>
                  </a:cubicBezTo>
                  <a:lnTo>
                    <a:pt x="397859" y="195072"/>
                  </a:lnTo>
                  <a:cubicBezTo>
                    <a:pt x="397859" y="221456"/>
                    <a:pt x="392811" y="246412"/>
                    <a:pt x="382619" y="270034"/>
                  </a:cubicBezTo>
                  <a:cubicBezTo>
                    <a:pt x="372523" y="293561"/>
                    <a:pt x="358616" y="314230"/>
                    <a:pt x="340900" y="331851"/>
                  </a:cubicBezTo>
                  <a:cubicBezTo>
                    <a:pt x="323183" y="349472"/>
                    <a:pt x="302133" y="363569"/>
                    <a:pt x="277654" y="373856"/>
                  </a:cubicBezTo>
                  <a:cubicBezTo>
                    <a:pt x="253175" y="384238"/>
                    <a:pt x="226504" y="389382"/>
                    <a:pt x="197834" y="389382"/>
                  </a:cubicBezTo>
                  <a:close/>
                  <a:moveTo>
                    <a:pt x="199263" y="315278"/>
                  </a:moveTo>
                  <a:cubicBezTo>
                    <a:pt x="216598" y="315278"/>
                    <a:pt x="232124" y="312039"/>
                    <a:pt x="245935" y="305753"/>
                  </a:cubicBezTo>
                  <a:cubicBezTo>
                    <a:pt x="259747" y="299371"/>
                    <a:pt x="271558" y="290798"/>
                    <a:pt x="281368" y="279940"/>
                  </a:cubicBezTo>
                  <a:cubicBezTo>
                    <a:pt x="291179" y="269081"/>
                    <a:pt x="298704" y="256508"/>
                    <a:pt x="303847" y="242125"/>
                  </a:cubicBezTo>
                  <a:cubicBezTo>
                    <a:pt x="308991" y="227743"/>
                    <a:pt x="311563" y="212598"/>
                    <a:pt x="311563" y="196501"/>
                  </a:cubicBezTo>
                  <a:lnTo>
                    <a:pt x="311563" y="195072"/>
                  </a:lnTo>
                  <a:cubicBezTo>
                    <a:pt x="311563" y="178594"/>
                    <a:pt x="308800" y="163068"/>
                    <a:pt x="303181" y="148400"/>
                  </a:cubicBezTo>
                  <a:cubicBezTo>
                    <a:pt x="297561" y="133826"/>
                    <a:pt x="289750" y="121063"/>
                    <a:pt x="279654" y="110204"/>
                  </a:cubicBezTo>
                  <a:cubicBezTo>
                    <a:pt x="269558" y="99346"/>
                    <a:pt x="257651" y="90773"/>
                    <a:pt x="243840" y="84392"/>
                  </a:cubicBezTo>
                  <a:cubicBezTo>
                    <a:pt x="230029" y="78010"/>
                    <a:pt x="214693" y="74867"/>
                    <a:pt x="197834" y="74867"/>
                  </a:cubicBezTo>
                  <a:cubicBezTo>
                    <a:pt x="180975" y="74867"/>
                    <a:pt x="165640" y="78010"/>
                    <a:pt x="151829" y="84392"/>
                  </a:cubicBezTo>
                  <a:cubicBezTo>
                    <a:pt x="138017" y="90773"/>
                    <a:pt x="126206" y="99250"/>
                    <a:pt x="116396" y="109823"/>
                  </a:cubicBezTo>
                  <a:cubicBezTo>
                    <a:pt x="106585" y="120396"/>
                    <a:pt x="99060" y="133064"/>
                    <a:pt x="93917" y="147638"/>
                  </a:cubicBezTo>
                  <a:cubicBezTo>
                    <a:pt x="88773" y="162211"/>
                    <a:pt x="86201" y="177546"/>
                    <a:pt x="86201" y="193548"/>
                  </a:cubicBezTo>
                  <a:lnTo>
                    <a:pt x="86201" y="194977"/>
                  </a:lnTo>
                  <a:cubicBezTo>
                    <a:pt x="86201" y="211455"/>
                    <a:pt x="88963" y="226886"/>
                    <a:pt x="94583" y="241268"/>
                  </a:cubicBezTo>
                  <a:cubicBezTo>
                    <a:pt x="100203" y="255651"/>
                    <a:pt x="108013" y="268319"/>
                    <a:pt x="118110" y="279463"/>
                  </a:cubicBezTo>
                  <a:cubicBezTo>
                    <a:pt x="128206" y="290513"/>
                    <a:pt x="140113" y="299275"/>
                    <a:pt x="153924" y="305562"/>
                  </a:cubicBezTo>
                  <a:cubicBezTo>
                    <a:pt x="167735" y="311944"/>
                    <a:pt x="182880"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12" name="Freeform: Shape 24">
              <a:extLst>
                <a:ext uri="{FF2B5EF4-FFF2-40B4-BE49-F238E27FC236}">
                  <a16:creationId xmlns:a16="http://schemas.microsoft.com/office/drawing/2014/main" id="{207CE17C-587E-4F6F-92DE-88FFBABC862D}"/>
                </a:ext>
              </a:extLst>
            </p:cNvPr>
            <p:cNvSpPr/>
            <p:nvPr/>
          </p:nvSpPr>
          <p:spPr>
            <a:xfrm>
              <a:off x="5806925"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2 w 296894"/>
                <a:gd name="connsiteY36" fmla="*/ 224980 h 386714"/>
                <a:gd name="connsiteX37" fmla="*/ 296894 w 296894"/>
                <a:gd name="connsiteY37" fmla="*/ 267938 h 386714"/>
                <a:gd name="connsiteX38" fmla="*/ 296894 w 296894"/>
                <a:gd name="connsiteY38" fmla="*/ 269367 h 386714"/>
                <a:gd name="connsiteX39" fmla="*/ 286322 w 296894"/>
                <a:gd name="connsiteY39" fmla="*/ 320897 h 386714"/>
                <a:gd name="connsiteX40" fmla="*/ 256984 w 296894"/>
                <a:gd name="connsiteY40" fmla="*/ 357188 h 386714"/>
                <a:gd name="connsiteX41" fmla="*/ 212789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8" y="298704"/>
                    <a:pt x="100013" y="306514"/>
                  </a:cubicBezTo>
                  <a:cubicBezTo>
                    <a:pt x="120967" y="314325"/>
                    <a:pt x="141161" y="318135"/>
                    <a:pt x="160401" y="318135"/>
                  </a:cubicBezTo>
                  <a:cubicBezTo>
                    <a:pt x="179642" y="318135"/>
                    <a:pt x="192976"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2" y="241078"/>
                    <a:pt x="176498" y="237553"/>
                    <a:pt x="166402" y="234220"/>
                  </a:cubicBezTo>
                  <a:cubicBezTo>
                    <a:pt x="156305" y="230886"/>
                    <a:pt x="145733" y="227647"/>
                    <a:pt x="134969" y="224314"/>
                  </a:cubicBezTo>
                  <a:cubicBezTo>
                    <a:pt x="121253" y="220599"/>
                    <a:pt x="107537" y="216122"/>
                    <a:pt x="93631" y="210884"/>
                  </a:cubicBezTo>
                  <a:cubicBezTo>
                    <a:pt x="79724" y="205740"/>
                    <a:pt x="67246" y="198977"/>
                    <a:pt x="56197" y="190786"/>
                  </a:cubicBezTo>
                  <a:cubicBezTo>
                    <a:pt x="45149" y="182594"/>
                    <a:pt x="36100" y="172307"/>
                    <a:pt x="28956" y="160115"/>
                  </a:cubicBezTo>
                  <a:cubicBezTo>
                    <a:pt x="21908"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5"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7" y="156210"/>
                    <a:pt x="180975" y="159448"/>
                  </a:cubicBezTo>
                  <a:cubicBezTo>
                    <a:pt x="194596" y="163639"/>
                    <a:pt x="208312" y="168592"/>
                    <a:pt x="222028" y="174212"/>
                  </a:cubicBezTo>
                  <a:cubicBezTo>
                    <a:pt x="235649" y="179832"/>
                    <a:pt x="248031" y="186785"/>
                    <a:pt x="259080" y="194977"/>
                  </a:cubicBezTo>
                  <a:cubicBezTo>
                    <a:pt x="270129" y="203168"/>
                    <a:pt x="279273" y="213169"/>
                    <a:pt x="286322" y="224980"/>
                  </a:cubicBezTo>
                  <a:cubicBezTo>
                    <a:pt x="293370" y="236696"/>
                    <a:pt x="296894" y="251079"/>
                    <a:pt x="296894" y="267938"/>
                  </a:cubicBezTo>
                  <a:lnTo>
                    <a:pt x="296894" y="269367"/>
                  </a:lnTo>
                  <a:cubicBezTo>
                    <a:pt x="296894" y="289084"/>
                    <a:pt x="293370" y="306229"/>
                    <a:pt x="286322" y="320897"/>
                  </a:cubicBezTo>
                  <a:cubicBezTo>
                    <a:pt x="279273" y="335470"/>
                    <a:pt x="269462" y="347567"/>
                    <a:pt x="256984" y="357188"/>
                  </a:cubicBezTo>
                  <a:cubicBezTo>
                    <a:pt x="244507" y="366808"/>
                    <a:pt x="229743" y="374142"/>
                    <a:pt x="212789"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13" name="Freeform: Shape 25">
              <a:extLst>
                <a:ext uri="{FF2B5EF4-FFF2-40B4-BE49-F238E27FC236}">
                  <a16:creationId xmlns:a16="http://schemas.microsoft.com/office/drawing/2014/main" id="{8BB484B3-8A79-30D6-9EEA-93531E0C88F4}"/>
                </a:ext>
              </a:extLst>
            </p:cNvPr>
            <p:cNvSpPr/>
            <p:nvPr/>
          </p:nvSpPr>
          <p:spPr>
            <a:xfrm>
              <a:off x="589573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6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160" y="318135"/>
                    <a:pt x="160401" y="318135"/>
                  </a:cubicBezTo>
                  <a:cubicBezTo>
                    <a:pt x="179641" y="318135"/>
                    <a:pt x="192976"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4"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792"/>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14" name="Freeform: Shape 26">
              <a:extLst>
                <a:ext uri="{FF2B5EF4-FFF2-40B4-BE49-F238E27FC236}">
                  <a16:creationId xmlns:a16="http://schemas.microsoft.com/office/drawing/2014/main" id="{69AB0B8E-86F4-30E0-477E-AE075C664592}"/>
                </a:ext>
              </a:extLst>
            </p:cNvPr>
            <p:cNvSpPr/>
            <p:nvPr/>
          </p:nvSpPr>
          <p:spPr>
            <a:xfrm>
              <a:off x="5985812" y="700558"/>
              <a:ext cx="85097" cy="97141"/>
            </a:xfrm>
            <a:custGeom>
              <a:avLst/>
              <a:gdLst>
                <a:gd name="connsiteX0" fmla="*/ 253651 w 338518"/>
                <a:gd name="connsiteY0" fmla="*/ 378619 h 386429"/>
                <a:gd name="connsiteX1" fmla="*/ 253651 w 338518"/>
                <a:gd name="connsiteY1" fmla="*/ 332708 h 386429"/>
                <a:gd name="connsiteX2" fmla="*/ 204883 w 338518"/>
                <a:gd name="connsiteY2" fmla="*/ 370904 h 386429"/>
                <a:gd name="connsiteX3" fmla="*/ 132779 w 338518"/>
                <a:gd name="connsiteY3" fmla="*/ 386429 h 386429"/>
                <a:gd name="connsiteX4" fmla="*/ 81915 w 338518"/>
                <a:gd name="connsiteY4" fmla="*/ 379000 h 386429"/>
                <a:gd name="connsiteX5" fmla="*/ 39910 w 338518"/>
                <a:gd name="connsiteY5" fmla="*/ 357092 h 386429"/>
                <a:gd name="connsiteX6" fmla="*/ 10954 w 338518"/>
                <a:gd name="connsiteY6" fmla="*/ 321088 h 386429"/>
                <a:gd name="connsiteX7" fmla="*/ 0 w 338518"/>
                <a:gd name="connsiteY7" fmla="*/ 271272 h 386429"/>
                <a:gd name="connsiteX8" fmla="*/ 0 w 338518"/>
                <a:gd name="connsiteY8" fmla="*/ 269843 h 386429"/>
                <a:gd name="connsiteX9" fmla="*/ 11335 w 338518"/>
                <a:gd name="connsiteY9" fmla="*/ 215741 h 386429"/>
                <a:gd name="connsiteX10" fmla="*/ 42767 w 338518"/>
                <a:gd name="connsiteY10" fmla="*/ 177546 h 386429"/>
                <a:gd name="connsiteX11" fmla="*/ 90773 w 338518"/>
                <a:gd name="connsiteY11" fmla="*/ 154972 h 386429"/>
                <a:gd name="connsiteX12" fmla="*/ 151162 w 338518"/>
                <a:gd name="connsiteY12" fmla="*/ 147542 h 386429"/>
                <a:gd name="connsiteX13" fmla="*/ 208788 w 338518"/>
                <a:gd name="connsiteY13" fmla="*/ 151829 h 386429"/>
                <a:gd name="connsiteX14" fmla="*/ 254413 w 338518"/>
                <a:gd name="connsiteY14" fmla="*/ 163163 h 386429"/>
                <a:gd name="connsiteX15" fmla="*/ 254413 w 338518"/>
                <a:gd name="connsiteY15" fmla="*/ 156115 h 386429"/>
                <a:gd name="connsiteX16" fmla="*/ 230696 w 338518"/>
                <a:gd name="connsiteY16" fmla="*/ 96774 h 386429"/>
                <a:gd name="connsiteX17" fmla="*/ 162496 w 338518"/>
                <a:gd name="connsiteY17" fmla="*/ 76295 h 386429"/>
                <a:gd name="connsiteX18" fmla="*/ 106013 w 338518"/>
                <a:gd name="connsiteY18" fmla="*/ 82677 h 386429"/>
                <a:gd name="connsiteX19" fmla="*/ 55816 w 338518"/>
                <a:gd name="connsiteY19" fmla="*/ 99632 h 386429"/>
                <a:gd name="connsiteX20" fmla="*/ 32480 w 338518"/>
                <a:gd name="connsiteY20" fmla="*/ 31052 h 386429"/>
                <a:gd name="connsiteX21" fmla="*/ 96107 w 338518"/>
                <a:gd name="connsiteY21" fmla="*/ 8477 h 386429"/>
                <a:gd name="connsiteX22" fmla="*/ 174593 w 338518"/>
                <a:gd name="connsiteY22" fmla="*/ 0 h 386429"/>
                <a:gd name="connsiteX23" fmla="*/ 298228 w 338518"/>
                <a:gd name="connsiteY23" fmla="*/ 41338 h 386429"/>
                <a:gd name="connsiteX24" fmla="*/ 338519 w 338518"/>
                <a:gd name="connsiteY24" fmla="*/ 157544 h 386429"/>
                <a:gd name="connsiteX25" fmla="*/ 338519 w 338518"/>
                <a:gd name="connsiteY25" fmla="*/ 378714 h 386429"/>
                <a:gd name="connsiteX26" fmla="*/ 253746 w 338518"/>
                <a:gd name="connsiteY26" fmla="*/ 378714 h 386429"/>
                <a:gd name="connsiteX27" fmla="*/ 255746 w 338518"/>
                <a:gd name="connsiteY27" fmla="*/ 222409 h 386429"/>
                <a:gd name="connsiteX28" fmla="*/ 217265 w 338518"/>
                <a:gd name="connsiteY28" fmla="*/ 211836 h 386429"/>
                <a:gd name="connsiteX29" fmla="*/ 170307 w 338518"/>
                <a:gd name="connsiteY29" fmla="*/ 207550 h 386429"/>
                <a:gd name="connsiteX30" fmla="*/ 107442 w 338518"/>
                <a:gd name="connsiteY30" fmla="*/ 223075 h 386429"/>
                <a:gd name="connsiteX31" fmla="*/ 84868 w 338518"/>
                <a:gd name="connsiteY31" fmla="*/ 265462 h 386429"/>
                <a:gd name="connsiteX32" fmla="*/ 84868 w 338518"/>
                <a:gd name="connsiteY32" fmla="*/ 266891 h 386429"/>
                <a:gd name="connsiteX33" fmla="*/ 105728 w 338518"/>
                <a:gd name="connsiteY33" fmla="*/ 307848 h 386429"/>
                <a:gd name="connsiteX34" fmla="*/ 156972 w 338518"/>
                <a:gd name="connsiteY34" fmla="*/ 321945 h 386429"/>
                <a:gd name="connsiteX35" fmla="*/ 196215 w 338518"/>
                <a:gd name="connsiteY35" fmla="*/ 316325 h 386429"/>
                <a:gd name="connsiteX36" fmla="*/ 227647 w 338518"/>
                <a:gd name="connsiteY36" fmla="*/ 300419 h 386429"/>
                <a:gd name="connsiteX37" fmla="*/ 248507 w 338518"/>
                <a:gd name="connsiteY37" fmla="*/ 275654 h 386429"/>
                <a:gd name="connsiteX38" fmla="*/ 255937 w 338518"/>
                <a:gd name="connsiteY38" fmla="*/ 243459 h 386429"/>
                <a:gd name="connsiteX39" fmla="*/ 255937 w 338518"/>
                <a:gd name="connsiteY39" fmla="*/ 222218 h 3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8518" h="386429">
                  <a:moveTo>
                    <a:pt x="253651" y="378619"/>
                  </a:moveTo>
                  <a:lnTo>
                    <a:pt x="253651" y="332708"/>
                  </a:lnTo>
                  <a:cubicBezTo>
                    <a:pt x="240887" y="347758"/>
                    <a:pt x="224695" y="360521"/>
                    <a:pt x="204883" y="370904"/>
                  </a:cubicBezTo>
                  <a:cubicBezTo>
                    <a:pt x="185071" y="381286"/>
                    <a:pt x="161068" y="386429"/>
                    <a:pt x="132779" y="386429"/>
                  </a:cubicBezTo>
                  <a:cubicBezTo>
                    <a:pt x="114871" y="386429"/>
                    <a:pt x="97917" y="383953"/>
                    <a:pt x="81915" y="379000"/>
                  </a:cubicBezTo>
                  <a:cubicBezTo>
                    <a:pt x="65913" y="374047"/>
                    <a:pt x="51911" y="366713"/>
                    <a:pt x="39910" y="357092"/>
                  </a:cubicBezTo>
                  <a:cubicBezTo>
                    <a:pt x="27908" y="347472"/>
                    <a:pt x="18193" y="335471"/>
                    <a:pt x="10954" y="321088"/>
                  </a:cubicBezTo>
                  <a:cubicBezTo>
                    <a:pt x="3620" y="306705"/>
                    <a:pt x="0" y="290132"/>
                    <a:pt x="0" y="271272"/>
                  </a:cubicBezTo>
                  <a:lnTo>
                    <a:pt x="0" y="269843"/>
                  </a:lnTo>
                  <a:cubicBezTo>
                    <a:pt x="0" y="249079"/>
                    <a:pt x="3810" y="231077"/>
                    <a:pt x="11335" y="215741"/>
                  </a:cubicBezTo>
                  <a:cubicBezTo>
                    <a:pt x="18859" y="200406"/>
                    <a:pt x="29337" y="187738"/>
                    <a:pt x="42767" y="177546"/>
                  </a:cubicBezTo>
                  <a:cubicBezTo>
                    <a:pt x="56197" y="167450"/>
                    <a:pt x="72199" y="159925"/>
                    <a:pt x="90773" y="154972"/>
                  </a:cubicBezTo>
                  <a:cubicBezTo>
                    <a:pt x="109347" y="150019"/>
                    <a:pt x="129540" y="147542"/>
                    <a:pt x="151162" y="147542"/>
                  </a:cubicBezTo>
                  <a:cubicBezTo>
                    <a:pt x="172783" y="147542"/>
                    <a:pt x="192976" y="148971"/>
                    <a:pt x="208788" y="151829"/>
                  </a:cubicBezTo>
                  <a:cubicBezTo>
                    <a:pt x="224599" y="154686"/>
                    <a:pt x="239744" y="158401"/>
                    <a:pt x="254413" y="163163"/>
                  </a:cubicBezTo>
                  <a:lnTo>
                    <a:pt x="254413" y="156115"/>
                  </a:lnTo>
                  <a:cubicBezTo>
                    <a:pt x="254413" y="130207"/>
                    <a:pt x="246507" y="110395"/>
                    <a:pt x="230696" y="96774"/>
                  </a:cubicBezTo>
                  <a:cubicBezTo>
                    <a:pt x="214884" y="83153"/>
                    <a:pt x="192214" y="76295"/>
                    <a:pt x="162496" y="76295"/>
                  </a:cubicBezTo>
                  <a:cubicBezTo>
                    <a:pt x="141351" y="76295"/>
                    <a:pt x="122491" y="78391"/>
                    <a:pt x="106013" y="82677"/>
                  </a:cubicBezTo>
                  <a:cubicBezTo>
                    <a:pt x="89535" y="86963"/>
                    <a:pt x="72771" y="92583"/>
                    <a:pt x="55816" y="99632"/>
                  </a:cubicBezTo>
                  <a:lnTo>
                    <a:pt x="32480" y="31052"/>
                  </a:lnTo>
                  <a:cubicBezTo>
                    <a:pt x="53149" y="21622"/>
                    <a:pt x="74390" y="14097"/>
                    <a:pt x="96107" y="8477"/>
                  </a:cubicBezTo>
                  <a:cubicBezTo>
                    <a:pt x="117729" y="2858"/>
                    <a:pt x="143923" y="0"/>
                    <a:pt x="174593" y="0"/>
                  </a:cubicBezTo>
                  <a:cubicBezTo>
                    <a:pt x="230124" y="0"/>
                    <a:pt x="271367" y="13811"/>
                    <a:pt x="298228" y="41338"/>
                  </a:cubicBezTo>
                  <a:cubicBezTo>
                    <a:pt x="325088" y="68866"/>
                    <a:pt x="338519" y="107633"/>
                    <a:pt x="338519" y="157544"/>
                  </a:cubicBezTo>
                  <a:lnTo>
                    <a:pt x="338519" y="378714"/>
                  </a:lnTo>
                  <a:lnTo>
                    <a:pt x="253746" y="378714"/>
                  </a:lnTo>
                  <a:close/>
                  <a:moveTo>
                    <a:pt x="255746" y="222409"/>
                  </a:moveTo>
                  <a:cubicBezTo>
                    <a:pt x="244888" y="218123"/>
                    <a:pt x="232029" y="214598"/>
                    <a:pt x="217265" y="211836"/>
                  </a:cubicBezTo>
                  <a:cubicBezTo>
                    <a:pt x="202406" y="208979"/>
                    <a:pt x="186785" y="207550"/>
                    <a:pt x="170307" y="207550"/>
                  </a:cubicBezTo>
                  <a:cubicBezTo>
                    <a:pt x="143446" y="207550"/>
                    <a:pt x="122491" y="212693"/>
                    <a:pt x="107442" y="223075"/>
                  </a:cubicBezTo>
                  <a:cubicBezTo>
                    <a:pt x="92392" y="233458"/>
                    <a:pt x="84868" y="247555"/>
                    <a:pt x="84868" y="265462"/>
                  </a:cubicBezTo>
                  <a:lnTo>
                    <a:pt x="84868" y="266891"/>
                  </a:lnTo>
                  <a:cubicBezTo>
                    <a:pt x="84868" y="284798"/>
                    <a:pt x="91821" y="298418"/>
                    <a:pt x="105728" y="307848"/>
                  </a:cubicBezTo>
                  <a:cubicBezTo>
                    <a:pt x="119634" y="317278"/>
                    <a:pt x="136684" y="321945"/>
                    <a:pt x="156972" y="321945"/>
                  </a:cubicBezTo>
                  <a:cubicBezTo>
                    <a:pt x="171069" y="321945"/>
                    <a:pt x="184213" y="320040"/>
                    <a:pt x="196215" y="316325"/>
                  </a:cubicBezTo>
                  <a:cubicBezTo>
                    <a:pt x="208216" y="312515"/>
                    <a:pt x="218694" y="307277"/>
                    <a:pt x="227647" y="300419"/>
                  </a:cubicBezTo>
                  <a:cubicBezTo>
                    <a:pt x="236601" y="293561"/>
                    <a:pt x="243554" y="285369"/>
                    <a:pt x="248507" y="275654"/>
                  </a:cubicBezTo>
                  <a:cubicBezTo>
                    <a:pt x="253460" y="266033"/>
                    <a:pt x="255937" y="255270"/>
                    <a:pt x="255937" y="243459"/>
                  </a:cubicBezTo>
                  <a:lnTo>
                    <a:pt x="255937" y="222218"/>
                  </a:lnTo>
                  <a:close/>
                </a:path>
              </a:pathLst>
            </a:custGeom>
            <a:solidFill>
              <a:srgbClr val="44505E"/>
            </a:solidFill>
            <a:ln w="9525" cap="flat">
              <a:noFill/>
              <a:prstDash val="solid"/>
              <a:miter/>
            </a:ln>
          </p:spPr>
          <p:txBody>
            <a:bodyPr rtlCol="0" anchor="ctr"/>
            <a:lstStyle/>
            <a:p>
              <a:endParaRPr lang="pt-BR" noProof="0"/>
            </a:p>
          </p:txBody>
        </p:sp>
        <p:sp>
          <p:nvSpPr>
            <p:cNvPr id="15" name="Freeform: Shape 27">
              <a:extLst>
                <a:ext uri="{FF2B5EF4-FFF2-40B4-BE49-F238E27FC236}">
                  <a16:creationId xmlns:a16="http://schemas.microsoft.com/office/drawing/2014/main" id="{3FB384E7-D976-7DE8-2F13-6EEA212F99DF}"/>
                </a:ext>
              </a:extLst>
            </p:cNvPr>
            <p:cNvSpPr/>
            <p:nvPr/>
          </p:nvSpPr>
          <p:spPr>
            <a:xfrm>
              <a:off x="6088843" y="700318"/>
              <a:ext cx="74610" cy="97213"/>
            </a:xfrm>
            <a:custGeom>
              <a:avLst/>
              <a:gdLst>
                <a:gd name="connsiteX0" fmla="*/ 158305 w 296799"/>
                <a:gd name="connsiteY0" fmla="*/ 386715 h 386714"/>
                <a:gd name="connsiteX1" fmla="*/ 76676 w 296799"/>
                <a:gd name="connsiteY1" fmla="*/ 372427 h 386714"/>
                <a:gd name="connsiteX2" fmla="*/ 0 w 296799"/>
                <a:gd name="connsiteY2" fmla="*/ 330327 h 386714"/>
                <a:gd name="connsiteX3" fmla="*/ 38195 w 296799"/>
                <a:gd name="connsiteY3" fmla="*/ 272224 h 386714"/>
                <a:gd name="connsiteX4" fmla="*/ 100013 w 296799"/>
                <a:gd name="connsiteY4" fmla="*/ 306514 h 386714"/>
                <a:gd name="connsiteX5" fmla="*/ 160401 w 296799"/>
                <a:gd name="connsiteY5" fmla="*/ 318135 h 386714"/>
                <a:gd name="connsiteX6" fmla="*/ 203168 w 296799"/>
                <a:gd name="connsiteY6" fmla="*/ 307181 h 386714"/>
                <a:gd name="connsiteX7" fmla="*/ 218408 w 296799"/>
                <a:gd name="connsiteY7" fmla="*/ 277939 h 386714"/>
                <a:gd name="connsiteX8" fmla="*/ 218408 w 296799"/>
                <a:gd name="connsiteY8" fmla="*/ 276511 h 386714"/>
                <a:gd name="connsiteX9" fmla="*/ 211646 w 296799"/>
                <a:gd name="connsiteY9" fmla="*/ 258223 h 386714"/>
                <a:gd name="connsiteX10" fmla="*/ 193262 w 296799"/>
                <a:gd name="connsiteY10" fmla="*/ 244792 h 386714"/>
                <a:gd name="connsiteX11" fmla="*/ 166402 w 296799"/>
                <a:gd name="connsiteY11" fmla="*/ 234220 h 386714"/>
                <a:gd name="connsiteX12" fmla="*/ 134969 w 296799"/>
                <a:gd name="connsiteY12" fmla="*/ 224314 h 386714"/>
                <a:gd name="connsiteX13" fmla="*/ 93631 w 296799"/>
                <a:gd name="connsiteY13" fmla="*/ 210884 h 386714"/>
                <a:gd name="connsiteX14" fmla="*/ 56197 w 296799"/>
                <a:gd name="connsiteY14" fmla="*/ 190786 h 386714"/>
                <a:gd name="connsiteX15" fmla="*/ 28956 w 296799"/>
                <a:gd name="connsiteY15" fmla="*/ 160115 h 386714"/>
                <a:gd name="connsiteX16" fmla="*/ 18383 w 296799"/>
                <a:gd name="connsiteY16" fmla="*/ 114967 h 386714"/>
                <a:gd name="connsiteX17" fmla="*/ 18383 w 296799"/>
                <a:gd name="connsiteY17" fmla="*/ 113538 h 386714"/>
                <a:gd name="connsiteX18" fmla="*/ 28575 w 296799"/>
                <a:gd name="connsiteY18" fmla="*/ 66294 h 386714"/>
                <a:gd name="connsiteX19" fmla="*/ 56864 w 296799"/>
                <a:gd name="connsiteY19" fmla="*/ 30385 h 386714"/>
                <a:gd name="connsiteX20" fmla="*/ 99250 w 296799"/>
                <a:gd name="connsiteY20" fmla="*/ 7810 h 386714"/>
                <a:gd name="connsiteX21" fmla="*/ 151162 w 296799"/>
                <a:gd name="connsiteY21" fmla="*/ 0 h 386714"/>
                <a:gd name="connsiteX22" fmla="*/ 222504 w 296799"/>
                <a:gd name="connsiteY22" fmla="*/ 11430 h 386714"/>
                <a:gd name="connsiteX23" fmla="*/ 288227 w 296799"/>
                <a:gd name="connsiteY23" fmla="*/ 42863 h 386714"/>
                <a:gd name="connsiteX24" fmla="*/ 254317 w 296799"/>
                <a:gd name="connsiteY24" fmla="*/ 103918 h 386714"/>
                <a:gd name="connsiteX25" fmla="*/ 199930 w 296799"/>
                <a:gd name="connsiteY25" fmla="*/ 78105 h 386714"/>
                <a:gd name="connsiteX26" fmla="*/ 149066 w 296799"/>
                <a:gd name="connsiteY26" fmla="*/ 68580 h 386714"/>
                <a:gd name="connsiteX27" fmla="*/ 110585 w 296799"/>
                <a:gd name="connsiteY27" fmla="*/ 79153 h 386714"/>
                <a:gd name="connsiteX28" fmla="*/ 96774 w 296799"/>
                <a:gd name="connsiteY28" fmla="*/ 105918 h 386714"/>
                <a:gd name="connsiteX29" fmla="*/ 96774 w 296799"/>
                <a:gd name="connsiteY29" fmla="*/ 107347 h 386714"/>
                <a:gd name="connsiteX30" fmla="*/ 103822 w 296799"/>
                <a:gd name="connsiteY30" fmla="*/ 124587 h 386714"/>
                <a:gd name="connsiteX31" fmla="*/ 122587 w 296799"/>
                <a:gd name="connsiteY31" fmla="*/ 138017 h 386714"/>
                <a:gd name="connsiteX32" fmla="*/ 149447 w 296799"/>
                <a:gd name="connsiteY32" fmla="*/ 149257 h 386714"/>
                <a:gd name="connsiteX33" fmla="*/ 180880 w 296799"/>
                <a:gd name="connsiteY33" fmla="*/ 159448 h 386714"/>
                <a:gd name="connsiteX34" fmla="*/ 221837 w 296799"/>
                <a:gd name="connsiteY34" fmla="*/ 174212 h 386714"/>
                <a:gd name="connsiteX35" fmla="*/ 258985 w 296799"/>
                <a:gd name="connsiteY35" fmla="*/ 194977 h 386714"/>
                <a:gd name="connsiteX36" fmla="*/ 286226 w 296799"/>
                <a:gd name="connsiteY36" fmla="*/ 224980 h 386714"/>
                <a:gd name="connsiteX37" fmla="*/ 296799 w 296799"/>
                <a:gd name="connsiteY37" fmla="*/ 267938 h 386714"/>
                <a:gd name="connsiteX38" fmla="*/ 296799 w 296799"/>
                <a:gd name="connsiteY38" fmla="*/ 269367 h 386714"/>
                <a:gd name="connsiteX39" fmla="*/ 286226 w 296799"/>
                <a:gd name="connsiteY39" fmla="*/ 320897 h 386714"/>
                <a:gd name="connsiteX40" fmla="*/ 256889 w 296799"/>
                <a:gd name="connsiteY40" fmla="*/ 357188 h 386714"/>
                <a:gd name="connsiteX41" fmla="*/ 212693 w 296799"/>
                <a:gd name="connsiteY41" fmla="*/ 379095 h 386714"/>
                <a:gd name="connsiteX42" fmla="*/ 158305 w 296799"/>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799"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065" y="318135"/>
                    <a:pt x="160401" y="318135"/>
                  </a:cubicBezTo>
                  <a:cubicBezTo>
                    <a:pt x="179737" y="318135"/>
                    <a:pt x="193072"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828" y="227647"/>
                    <a:pt x="134969" y="224314"/>
                  </a:cubicBezTo>
                  <a:cubicBezTo>
                    <a:pt x="121348" y="220599"/>
                    <a:pt x="107537" y="216122"/>
                    <a:pt x="93631" y="210884"/>
                  </a:cubicBezTo>
                  <a:cubicBezTo>
                    <a:pt x="79724" y="205740"/>
                    <a:pt x="67246" y="198977"/>
                    <a:pt x="56197" y="190786"/>
                  </a:cubicBezTo>
                  <a:cubicBezTo>
                    <a:pt x="45148" y="182594"/>
                    <a:pt x="36004"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874" y="0"/>
                    <a:pt x="151162" y="0"/>
                  </a:cubicBezTo>
                  <a:cubicBezTo>
                    <a:pt x="174688" y="0"/>
                    <a:pt x="198501" y="3810"/>
                    <a:pt x="222504" y="11430"/>
                  </a:cubicBezTo>
                  <a:cubicBezTo>
                    <a:pt x="246507" y="19050"/>
                    <a:pt x="268414" y="29527"/>
                    <a:pt x="288227" y="42863"/>
                  </a:cubicBezTo>
                  <a:lnTo>
                    <a:pt x="254317"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774" y="95155"/>
                    <a:pt x="96774" y="105918"/>
                  </a:cubicBezTo>
                  <a:lnTo>
                    <a:pt x="96774" y="107347"/>
                  </a:lnTo>
                  <a:cubicBezTo>
                    <a:pt x="96774" y="113919"/>
                    <a:pt x="99155" y="119634"/>
                    <a:pt x="103822" y="124587"/>
                  </a:cubicBezTo>
                  <a:cubicBezTo>
                    <a:pt x="108490" y="129540"/>
                    <a:pt x="114776" y="134017"/>
                    <a:pt x="122587" y="138017"/>
                  </a:cubicBezTo>
                  <a:cubicBezTo>
                    <a:pt x="130397" y="142018"/>
                    <a:pt x="139351" y="145732"/>
                    <a:pt x="149447" y="149257"/>
                  </a:cubicBezTo>
                  <a:cubicBezTo>
                    <a:pt x="159544" y="152781"/>
                    <a:pt x="170021" y="156210"/>
                    <a:pt x="180880" y="159448"/>
                  </a:cubicBezTo>
                  <a:cubicBezTo>
                    <a:pt x="194500" y="163639"/>
                    <a:pt x="208216" y="168592"/>
                    <a:pt x="221837" y="174212"/>
                  </a:cubicBezTo>
                  <a:cubicBezTo>
                    <a:pt x="235458" y="179832"/>
                    <a:pt x="247840" y="186785"/>
                    <a:pt x="258985" y="194977"/>
                  </a:cubicBezTo>
                  <a:cubicBezTo>
                    <a:pt x="270034" y="203168"/>
                    <a:pt x="279178" y="213169"/>
                    <a:pt x="286226" y="224980"/>
                  </a:cubicBezTo>
                  <a:cubicBezTo>
                    <a:pt x="293275" y="236696"/>
                    <a:pt x="296799" y="251079"/>
                    <a:pt x="296799" y="267938"/>
                  </a:cubicBezTo>
                  <a:lnTo>
                    <a:pt x="296799" y="269367"/>
                  </a:lnTo>
                  <a:cubicBezTo>
                    <a:pt x="296799" y="289084"/>
                    <a:pt x="293275" y="306229"/>
                    <a:pt x="286226" y="320897"/>
                  </a:cubicBezTo>
                  <a:cubicBezTo>
                    <a:pt x="279178" y="335470"/>
                    <a:pt x="269367" y="347567"/>
                    <a:pt x="256889" y="357188"/>
                  </a:cubicBezTo>
                  <a:cubicBezTo>
                    <a:pt x="244412" y="366808"/>
                    <a:pt x="229648" y="374142"/>
                    <a:pt x="212693" y="379095"/>
                  </a:cubicBezTo>
                  <a:cubicBezTo>
                    <a:pt x="195739" y="384048"/>
                    <a:pt x="177641" y="386524"/>
                    <a:pt x="158305" y="386524"/>
                  </a:cubicBezTo>
                  <a:close/>
                </a:path>
              </a:pathLst>
            </a:custGeom>
            <a:solidFill>
              <a:srgbClr val="44505E"/>
            </a:solidFill>
            <a:ln w="9525" cap="flat">
              <a:noFill/>
              <a:prstDash val="solid"/>
              <a:miter/>
            </a:ln>
          </p:spPr>
          <p:txBody>
            <a:bodyPr rtlCol="0" anchor="ctr"/>
            <a:lstStyle/>
            <a:p>
              <a:endParaRPr lang="pt-BR" noProof="0"/>
            </a:p>
          </p:txBody>
        </p:sp>
        <p:sp>
          <p:nvSpPr>
            <p:cNvPr id="16" name="Freeform: Shape 28">
              <a:extLst>
                <a:ext uri="{FF2B5EF4-FFF2-40B4-BE49-F238E27FC236}">
                  <a16:creationId xmlns:a16="http://schemas.microsoft.com/office/drawing/2014/main" id="{9825944E-5103-4964-D715-E5F6AC125442}"/>
                </a:ext>
              </a:extLst>
            </p:cNvPr>
            <p:cNvSpPr/>
            <p:nvPr/>
          </p:nvSpPr>
          <p:spPr>
            <a:xfrm>
              <a:off x="6238590"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4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7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2 w 568166"/>
                <a:gd name="connsiteY21" fmla="*/ 381000 h 381000"/>
                <a:gd name="connsiteX22" fmla="*/ 240982 w 568166"/>
                <a:gd name="connsiteY22" fmla="*/ 168783 h 381000"/>
                <a:gd name="connsiteX23" fmla="*/ 221266 w 568166"/>
                <a:gd name="connsiteY23" fmla="*/ 101822 h 381000"/>
                <a:gd name="connsiteX24" fmla="*/ 165640 w 568166"/>
                <a:gd name="connsiteY24" fmla="*/ 78581 h 381000"/>
                <a:gd name="connsiteX25" fmla="*/ 108013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69" y="48196"/>
                    <a:pt x="105918" y="40576"/>
                  </a:cubicBezTo>
                  <a:cubicBezTo>
                    <a:pt x="112966" y="32956"/>
                    <a:pt x="121063" y="26099"/>
                    <a:pt x="130207" y="19907"/>
                  </a:cubicBezTo>
                  <a:cubicBezTo>
                    <a:pt x="139351" y="13716"/>
                    <a:pt x="149638" y="8858"/>
                    <a:pt x="161163" y="5334"/>
                  </a:cubicBezTo>
                  <a:cubicBezTo>
                    <a:pt x="172688" y="1714"/>
                    <a:pt x="185452" y="0"/>
                    <a:pt x="199549" y="0"/>
                  </a:cubicBezTo>
                  <a:cubicBezTo>
                    <a:pt x="226314" y="0"/>
                    <a:pt x="248983" y="6096"/>
                    <a:pt x="267557" y="18193"/>
                  </a:cubicBezTo>
                  <a:cubicBezTo>
                    <a:pt x="286131" y="30289"/>
                    <a:pt x="300323" y="46387"/>
                    <a:pt x="310134" y="66294"/>
                  </a:cubicBezTo>
                  <a:cubicBezTo>
                    <a:pt x="325279" y="46387"/>
                    <a:pt x="343090" y="30289"/>
                    <a:pt x="363664" y="18193"/>
                  </a:cubicBezTo>
                  <a:cubicBezTo>
                    <a:pt x="384238" y="6096"/>
                    <a:pt x="408718" y="0"/>
                    <a:pt x="437007" y="0"/>
                  </a:cubicBezTo>
                  <a:cubicBezTo>
                    <a:pt x="478155"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7" y="78486"/>
                  </a:cubicBezTo>
                  <a:cubicBezTo>
                    <a:pt x="382809" y="78486"/>
                    <a:pt x="364141" y="86392"/>
                    <a:pt x="349377" y="102108"/>
                  </a:cubicBezTo>
                  <a:cubicBezTo>
                    <a:pt x="334613" y="117824"/>
                    <a:pt x="327184" y="140779"/>
                    <a:pt x="327184" y="170879"/>
                  </a:cubicBezTo>
                  <a:lnTo>
                    <a:pt x="327184" y="381000"/>
                  </a:lnTo>
                  <a:lnTo>
                    <a:pt x="240982" y="381000"/>
                  </a:lnTo>
                  <a:lnTo>
                    <a:pt x="240982" y="168783"/>
                  </a:lnTo>
                  <a:cubicBezTo>
                    <a:pt x="240982" y="139637"/>
                    <a:pt x="234410" y="117348"/>
                    <a:pt x="221266" y="101822"/>
                  </a:cubicBezTo>
                  <a:cubicBezTo>
                    <a:pt x="208121" y="86296"/>
                    <a:pt x="189547" y="78581"/>
                    <a:pt x="165640" y="78581"/>
                  </a:cubicBezTo>
                  <a:cubicBezTo>
                    <a:pt x="141732" y="78581"/>
                    <a:pt x="122491" y="86773"/>
                    <a:pt x="108013"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17" name="Freeform: Shape 29">
              <a:extLst>
                <a:ext uri="{FF2B5EF4-FFF2-40B4-BE49-F238E27FC236}">
                  <a16:creationId xmlns:a16="http://schemas.microsoft.com/office/drawing/2014/main" id="{4DF7A4E4-52A1-5CC4-0A99-DD83DFCF46ED}"/>
                </a:ext>
              </a:extLst>
            </p:cNvPr>
            <p:cNvSpPr/>
            <p:nvPr/>
          </p:nvSpPr>
          <p:spPr>
            <a:xfrm>
              <a:off x="6400979" y="664258"/>
              <a:ext cx="85097" cy="133441"/>
            </a:xfrm>
            <a:custGeom>
              <a:avLst/>
              <a:gdLst>
                <a:gd name="connsiteX0" fmla="*/ 253651 w 338518"/>
                <a:gd name="connsiteY0" fmla="*/ 523018 h 530828"/>
                <a:gd name="connsiteX1" fmla="*/ 253651 w 338518"/>
                <a:gd name="connsiteY1" fmla="*/ 477107 h 530828"/>
                <a:gd name="connsiteX2" fmla="*/ 204883 w 338518"/>
                <a:gd name="connsiteY2" fmla="*/ 515303 h 530828"/>
                <a:gd name="connsiteX3" fmla="*/ 132779 w 338518"/>
                <a:gd name="connsiteY3" fmla="*/ 530828 h 530828"/>
                <a:gd name="connsiteX4" fmla="*/ 81915 w 338518"/>
                <a:gd name="connsiteY4" fmla="*/ 523399 h 530828"/>
                <a:gd name="connsiteX5" fmla="*/ 39910 w 338518"/>
                <a:gd name="connsiteY5" fmla="*/ 501491 h 530828"/>
                <a:gd name="connsiteX6" fmla="*/ 10954 w 338518"/>
                <a:gd name="connsiteY6" fmla="*/ 465487 h 530828"/>
                <a:gd name="connsiteX7" fmla="*/ 0 w 338518"/>
                <a:gd name="connsiteY7" fmla="*/ 415671 h 530828"/>
                <a:gd name="connsiteX8" fmla="*/ 0 w 338518"/>
                <a:gd name="connsiteY8" fmla="*/ 414242 h 530828"/>
                <a:gd name="connsiteX9" fmla="*/ 11335 w 338518"/>
                <a:gd name="connsiteY9" fmla="*/ 360140 h 530828"/>
                <a:gd name="connsiteX10" fmla="*/ 42767 w 338518"/>
                <a:gd name="connsiteY10" fmla="*/ 321945 h 530828"/>
                <a:gd name="connsiteX11" fmla="*/ 90773 w 338518"/>
                <a:gd name="connsiteY11" fmla="*/ 299371 h 530828"/>
                <a:gd name="connsiteX12" fmla="*/ 151162 w 338518"/>
                <a:gd name="connsiteY12" fmla="*/ 291941 h 530828"/>
                <a:gd name="connsiteX13" fmla="*/ 208788 w 338518"/>
                <a:gd name="connsiteY13" fmla="*/ 296228 h 530828"/>
                <a:gd name="connsiteX14" fmla="*/ 254413 w 338518"/>
                <a:gd name="connsiteY14" fmla="*/ 307562 h 530828"/>
                <a:gd name="connsiteX15" fmla="*/ 254413 w 338518"/>
                <a:gd name="connsiteY15" fmla="*/ 300514 h 530828"/>
                <a:gd name="connsiteX16" fmla="*/ 230696 w 338518"/>
                <a:gd name="connsiteY16" fmla="*/ 241173 h 530828"/>
                <a:gd name="connsiteX17" fmla="*/ 162496 w 338518"/>
                <a:gd name="connsiteY17" fmla="*/ 220694 h 530828"/>
                <a:gd name="connsiteX18" fmla="*/ 106013 w 338518"/>
                <a:gd name="connsiteY18" fmla="*/ 227076 h 530828"/>
                <a:gd name="connsiteX19" fmla="*/ 55817 w 338518"/>
                <a:gd name="connsiteY19" fmla="*/ 244031 h 530828"/>
                <a:gd name="connsiteX20" fmla="*/ 32480 w 338518"/>
                <a:gd name="connsiteY20" fmla="*/ 175451 h 530828"/>
                <a:gd name="connsiteX21" fmla="*/ 96107 w 338518"/>
                <a:gd name="connsiteY21" fmla="*/ 152876 h 530828"/>
                <a:gd name="connsiteX22" fmla="*/ 174593 w 338518"/>
                <a:gd name="connsiteY22" fmla="*/ 144399 h 530828"/>
                <a:gd name="connsiteX23" fmla="*/ 298228 w 338518"/>
                <a:gd name="connsiteY23" fmla="*/ 185738 h 530828"/>
                <a:gd name="connsiteX24" fmla="*/ 338519 w 338518"/>
                <a:gd name="connsiteY24" fmla="*/ 301943 h 530828"/>
                <a:gd name="connsiteX25" fmla="*/ 338519 w 338518"/>
                <a:gd name="connsiteY25" fmla="*/ 523113 h 530828"/>
                <a:gd name="connsiteX26" fmla="*/ 253746 w 338518"/>
                <a:gd name="connsiteY26" fmla="*/ 523113 h 530828"/>
                <a:gd name="connsiteX27" fmla="*/ 45911 w 338518"/>
                <a:gd name="connsiteY27" fmla="*/ 95441 h 530828"/>
                <a:gd name="connsiteX28" fmla="*/ 75248 w 338518"/>
                <a:gd name="connsiteY28" fmla="*/ 29718 h 530828"/>
                <a:gd name="connsiteX29" fmla="*/ 125063 w 338518"/>
                <a:gd name="connsiteY29" fmla="*/ 7144 h 530828"/>
                <a:gd name="connsiteX30" fmla="*/ 154019 w 338518"/>
                <a:gd name="connsiteY30" fmla="*/ 11716 h 530828"/>
                <a:gd name="connsiteX31" fmla="*/ 181261 w 338518"/>
                <a:gd name="connsiteY31" fmla="*/ 21622 h 530828"/>
                <a:gd name="connsiteX32" fmla="*/ 205645 w 338518"/>
                <a:gd name="connsiteY32" fmla="*/ 31147 h 530828"/>
                <a:gd name="connsiteX33" fmla="*/ 226790 w 338518"/>
                <a:gd name="connsiteY33" fmla="*/ 35338 h 530828"/>
                <a:gd name="connsiteX34" fmla="*/ 250127 w 338518"/>
                <a:gd name="connsiteY34" fmla="*/ 26861 h 530828"/>
                <a:gd name="connsiteX35" fmla="*/ 265652 w 338518"/>
                <a:gd name="connsiteY35" fmla="*/ 0 h 530828"/>
                <a:gd name="connsiteX36" fmla="*/ 312991 w 338518"/>
                <a:gd name="connsiteY36" fmla="*/ 14859 h 530828"/>
                <a:gd name="connsiteX37" fmla="*/ 283655 w 338518"/>
                <a:gd name="connsiteY37" fmla="*/ 79820 h 530828"/>
                <a:gd name="connsiteX38" fmla="*/ 233839 w 338518"/>
                <a:gd name="connsiteY38" fmla="*/ 102394 h 530828"/>
                <a:gd name="connsiteX39" fmla="*/ 204883 w 338518"/>
                <a:gd name="connsiteY39" fmla="*/ 98203 h 530828"/>
                <a:gd name="connsiteX40" fmla="*/ 177641 w 338518"/>
                <a:gd name="connsiteY40" fmla="*/ 88678 h 530828"/>
                <a:gd name="connsiteX41" fmla="*/ 152876 w 338518"/>
                <a:gd name="connsiteY41" fmla="*/ 78772 h 530828"/>
                <a:gd name="connsiteX42" fmla="*/ 132017 w 338518"/>
                <a:gd name="connsiteY42" fmla="*/ 74200 h 530828"/>
                <a:gd name="connsiteX43" fmla="*/ 108680 w 338518"/>
                <a:gd name="connsiteY43" fmla="*/ 82677 h 530828"/>
                <a:gd name="connsiteX44" fmla="*/ 93154 w 338518"/>
                <a:gd name="connsiteY44" fmla="*/ 109538 h 530828"/>
                <a:gd name="connsiteX45" fmla="*/ 45815 w 338518"/>
                <a:gd name="connsiteY45" fmla="*/ 95441 h 530828"/>
                <a:gd name="connsiteX46" fmla="*/ 255842 w 338518"/>
                <a:gd name="connsiteY46" fmla="*/ 366808 h 530828"/>
                <a:gd name="connsiteX47" fmla="*/ 217361 w 338518"/>
                <a:gd name="connsiteY47" fmla="*/ 356235 h 530828"/>
                <a:gd name="connsiteX48" fmla="*/ 170402 w 338518"/>
                <a:gd name="connsiteY48" fmla="*/ 351949 h 530828"/>
                <a:gd name="connsiteX49" fmla="*/ 107537 w 338518"/>
                <a:gd name="connsiteY49" fmla="*/ 367475 h 530828"/>
                <a:gd name="connsiteX50" fmla="*/ 84963 w 338518"/>
                <a:gd name="connsiteY50" fmla="*/ 409861 h 530828"/>
                <a:gd name="connsiteX51" fmla="*/ 84963 w 338518"/>
                <a:gd name="connsiteY51" fmla="*/ 411290 h 530828"/>
                <a:gd name="connsiteX52" fmla="*/ 105823 w 338518"/>
                <a:gd name="connsiteY52" fmla="*/ 452247 h 530828"/>
                <a:gd name="connsiteX53" fmla="*/ 157067 w 338518"/>
                <a:gd name="connsiteY53" fmla="*/ 466344 h 530828"/>
                <a:gd name="connsiteX54" fmla="*/ 196310 w 338518"/>
                <a:gd name="connsiteY54" fmla="*/ 460724 h 530828"/>
                <a:gd name="connsiteX55" fmla="*/ 227743 w 338518"/>
                <a:gd name="connsiteY55" fmla="*/ 444818 h 530828"/>
                <a:gd name="connsiteX56" fmla="*/ 248603 w 338518"/>
                <a:gd name="connsiteY56" fmla="*/ 420053 h 530828"/>
                <a:gd name="connsiteX57" fmla="*/ 256032 w 338518"/>
                <a:gd name="connsiteY57" fmla="*/ 387858 h 530828"/>
                <a:gd name="connsiteX58" fmla="*/ 256032 w 338518"/>
                <a:gd name="connsiteY58" fmla="*/ 366617 h 5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8518" h="530828">
                  <a:moveTo>
                    <a:pt x="253651" y="523018"/>
                  </a:moveTo>
                  <a:lnTo>
                    <a:pt x="253651" y="477107"/>
                  </a:lnTo>
                  <a:cubicBezTo>
                    <a:pt x="240887" y="492157"/>
                    <a:pt x="224695" y="504920"/>
                    <a:pt x="204883" y="515303"/>
                  </a:cubicBezTo>
                  <a:cubicBezTo>
                    <a:pt x="185071" y="525685"/>
                    <a:pt x="161068" y="530828"/>
                    <a:pt x="132779" y="530828"/>
                  </a:cubicBezTo>
                  <a:cubicBezTo>
                    <a:pt x="114871" y="530828"/>
                    <a:pt x="97917" y="528352"/>
                    <a:pt x="81915" y="523399"/>
                  </a:cubicBezTo>
                  <a:cubicBezTo>
                    <a:pt x="65913" y="518446"/>
                    <a:pt x="51911" y="511112"/>
                    <a:pt x="39910" y="501491"/>
                  </a:cubicBezTo>
                  <a:cubicBezTo>
                    <a:pt x="27908" y="491871"/>
                    <a:pt x="18193" y="479870"/>
                    <a:pt x="10954" y="465487"/>
                  </a:cubicBezTo>
                  <a:cubicBezTo>
                    <a:pt x="3620" y="451104"/>
                    <a:pt x="0" y="434531"/>
                    <a:pt x="0" y="415671"/>
                  </a:cubicBezTo>
                  <a:lnTo>
                    <a:pt x="0" y="414242"/>
                  </a:lnTo>
                  <a:cubicBezTo>
                    <a:pt x="0" y="393478"/>
                    <a:pt x="3810" y="375476"/>
                    <a:pt x="11335" y="360140"/>
                  </a:cubicBezTo>
                  <a:cubicBezTo>
                    <a:pt x="18860" y="344805"/>
                    <a:pt x="29337" y="332137"/>
                    <a:pt x="42767" y="321945"/>
                  </a:cubicBezTo>
                  <a:cubicBezTo>
                    <a:pt x="56198" y="311849"/>
                    <a:pt x="72200" y="304324"/>
                    <a:pt x="90773" y="299371"/>
                  </a:cubicBezTo>
                  <a:cubicBezTo>
                    <a:pt x="109347" y="294418"/>
                    <a:pt x="129540" y="291941"/>
                    <a:pt x="151162" y="291941"/>
                  </a:cubicBezTo>
                  <a:cubicBezTo>
                    <a:pt x="172784" y="291941"/>
                    <a:pt x="192977" y="293370"/>
                    <a:pt x="208788" y="296228"/>
                  </a:cubicBezTo>
                  <a:cubicBezTo>
                    <a:pt x="224600" y="299085"/>
                    <a:pt x="239744" y="302800"/>
                    <a:pt x="254413" y="307562"/>
                  </a:cubicBezTo>
                  <a:lnTo>
                    <a:pt x="254413" y="300514"/>
                  </a:lnTo>
                  <a:cubicBezTo>
                    <a:pt x="254413" y="274606"/>
                    <a:pt x="246507" y="254794"/>
                    <a:pt x="230696" y="241173"/>
                  </a:cubicBezTo>
                  <a:cubicBezTo>
                    <a:pt x="214884" y="227552"/>
                    <a:pt x="192215" y="220694"/>
                    <a:pt x="162496" y="220694"/>
                  </a:cubicBezTo>
                  <a:cubicBezTo>
                    <a:pt x="141351" y="220694"/>
                    <a:pt x="122492" y="222790"/>
                    <a:pt x="106013" y="227076"/>
                  </a:cubicBezTo>
                  <a:cubicBezTo>
                    <a:pt x="89535" y="231362"/>
                    <a:pt x="72771" y="236982"/>
                    <a:pt x="55817" y="244031"/>
                  </a:cubicBezTo>
                  <a:lnTo>
                    <a:pt x="32480" y="175451"/>
                  </a:lnTo>
                  <a:cubicBezTo>
                    <a:pt x="53150" y="166021"/>
                    <a:pt x="74390" y="158496"/>
                    <a:pt x="96107" y="152876"/>
                  </a:cubicBezTo>
                  <a:cubicBezTo>
                    <a:pt x="117729" y="147257"/>
                    <a:pt x="143923" y="144399"/>
                    <a:pt x="174593" y="144399"/>
                  </a:cubicBezTo>
                  <a:cubicBezTo>
                    <a:pt x="230124" y="144399"/>
                    <a:pt x="271367" y="158210"/>
                    <a:pt x="298228" y="185738"/>
                  </a:cubicBezTo>
                  <a:cubicBezTo>
                    <a:pt x="325088" y="213265"/>
                    <a:pt x="338519" y="252032"/>
                    <a:pt x="338519" y="301943"/>
                  </a:cubicBezTo>
                  <a:lnTo>
                    <a:pt x="338519" y="523113"/>
                  </a:lnTo>
                  <a:lnTo>
                    <a:pt x="253746" y="523113"/>
                  </a:lnTo>
                  <a:close/>
                  <a:moveTo>
                    <a:pt x="45911" y="95441"/>
                  </a:moveTo>
                  <a:cubicBezTo>
                    <a:pt x="53912" y="66675"/>
                    <a:pt x="63722" y="44768"/>
                    <a:pt x="75248" y="29718"/>
                  </a:cubicBezTo>
                  <a:cubicBezTo>
                    <a:pt x="86773" y="14669"/>
                    <a:pt x="103442" y="7144"/>
                    <a:pt x="125063" y="7144"/>
                  </a:cubicBezTo>
                  <a:cubicBezTo>
                    <a:pt x="134969" y="7144"/>
                    <a:pt x="144590" y="8668"/>
                    <a:pt x="154019" y="11716"/>
                  </a:cubicBezTo>
                  <a:cubicBezTo>
                    <a:pt x="163449" y="14764"/>
                    <a:pt x="172498" y="18098"/>
                    <a:pt x="181261" y="21622"/>
                  </a:cubicBezTo>
                  <a:cubicBezTo>
                    <a:pt x="189929" y="25146"/>
                    <a:pt x="198120" y="28385"/>
                    <a:pt x="205645" y="31147"/>
                  </a:cubicBezTo>
                  <a:cubicBezTo>
                    <a:pt x="213170" y="34004"/>
                    <a:pt x="220218" y="35338"/>
                    <a:pt x="226790" y="35338"/>
                  </a:cubicBezTo>
                  <a:cubicBezTo>
                    <a:pt x="237173" y="35338"/>
                    <a:pt x="244888" y="32480"/>
                    <a:pt x="250127" y="26861"/>
                  </a:cubicBezTo>
                  <a:cubicBezTo>
                    <a:pt x="255270" y="21241"/>
                    <a:pt x="260509" y="12287"/>
                    <a:pt x="265652" y="0"/>
                  </a:cubicBezTo>
                  <a:lnTo>
                    <a:pt x="312991" y="14859"/>
                  </a:lnTo>
                  <a:cubicBezTo>
                    <a:pt x="304991" y="43148"/>
                    <a:pt x="295180" y="64770"/>
                    <a:pt x="283655" y="79820"/>
                  </a:cubicBezTo>
                  <a:cubicBezTo>
                    <a:pt x="272129" y="94869"/>
                    <a:pt x="255461" y="102394"/>
                    <a:pt x="233839" y="102394"/>
                  </a:cubicBezTo>
                  <a:cubicBezTo>
                    <a:pt x="223933" y="102394"/>
                    <a:pt x="214313" y="100965"/>
                    <a:pt x="204883" y="98203"/>
                  </a:cubicBezTo>
                  <a:cubicBezTo>
                    <a:pt x="195453" y="95345"/>
                    <a:pt x="186404" y="92202"/>
                    <a:pt x="177641" y="88678"/>
                  </a:cubicBezTo>
                  <a:cubicBezTo>
                    <a:pt x="168878" y="85154"/>
                    <a:pt x="160687" y="81820"/>
                    <a:pt x="152876" y="78772"/>
                  </a:cubicBezTo>
                  <a:cubicBezTo>
                    <a:pt x="145066" y="75724"/>
                    <a:pt x="138113" y="74200"/>
                    <a:pt x="132017" y="74200"/>
                  </a:cubicBezTo>
                  <a:cubicBezTo>
                    <a:pt x="121634" y="74200"/>
                    <a:pt x="113919" y="77057"/>
                    <a:pt x="108680" y="82677"/>
                  </a:cubicBezTo>
                  <a:cubicBezTo>
                    <a:pt x="103537" y="88297"/>
                    <a:pt x="98298" y="97250"/>
                    <a:pt x="93154" y="109538"/>
                  </a:cubicBezTo>
                  <a:lnTo>
                    <a:pt x="45815" y="95441"/>
                  </a:lnTo>
                  <a:close/>
                  <a:moveTo>
                    <a:pt x="255842" y="366808"/>
                  </a:moveTo>
                  <a:cubicBezTo>
                    <a:pt x="244983" y="362522"/>
                    <a:pt x="232124" y="358997"/>
                    <a:pt x="217361" y="356235"/>
                  </a:cubicBezTo>
                  <a:cubicBezTo>
                    <a:pt x="202502" y="353378"/>
                    <a:pt x="186880" y="351949"/>
                    <a:pt x="170402" y="351949"/>
                  </a:cubicBezTo>
                  <a:cubicBezTo>
                    <a:pt x="143542" y="351949"/>
                    <a:pt x="122587" y="357092"/>
                    <a:pt x="107537" y="367475"/>
                  </a:cubicBezTo>
                  <a:cubicBezTo>
                    <a:pt x="92488" y="377857"/>
                    <a:pt x="84963" y="391954"/>
                    <a:pt x="84963" y="409861"/>
                  </a:cubicBezTo>
                  <a:lnTo>
                    <a:pt x="84963" y="411290"/>
                  </a:lnTo>
                  <a:cubicBezTo>
                    <a:pt x="84963" y="429197"/>
                    <a:pt x="91916" y="442817"/>
                    <a:pt x="105823" y="452247"/>
                  </a:cubicBezTo>
                  <a:cubicBezTo>
                    <a:pt x="119729" y="461677"/>
                    <a:pt x="136779" y="466344"/>
                    <a:pt x="157067" y="466344"/>
                  </a:cubicBezTo>
                  <a:cubicBezTo>
                    <a:pt x="171164" y="466344"/>
                    <a:pt x="184309" y="464439"/>
                    <a:pt x="196310" y="460724"/>
                  </a:cubicBezTo>
                  <a:cubicBezTo>
                    <a:pt x="208312" y="456914"/>
                    <a:pt x="218789" y="451676"/>
                    <a:pt x="227743" y="444818"/>
                  </a:cubicBezTo>
                  <a:cubicBezTo>
                    <a:pt x="236696" y="437960"/>
                    <a:pt x="243650" y="429768"/>
                    <a:pt x="248603" y="420053"/>
                  </a:cubicBezTo>
                  <a:cubicBezTo>
                    <a:pt x="253555" y="410432"/>
                    <a:pt x="256032" y="399669"/>
                    <a:pt x="256032" y="387858"/>
                  </a:cubicBezTo>
                  <a:lnTo>
                    <a:pt x="256032" y="366617"/>
                  </a:lnTo>
                  <a:close/>
                </a:path>
              </a:pathLst>
            </a:custGeom>
            <a:solidFill>
              <a:srgbClr val="44505E"/>
            </a:solidFill>
            <a:ln w="9525" cap="flat">
              <a:noFill/>
              <a:prstDash val="solid"/>
              <a:miter/>
            </a:ln>
          </p:spPr>
          <p:txBody>
            <a:bodyPr rtlCol="0" anchor="ctr"/>
            <a:lstStyle/>
            <a:p>
              <a:endParaRPr lang="pt-BR" noProof="0"/>
            </a:p>
          </p:txBody>
        </p:sp>
        <p:sp>
          <p:nvSpPr>
            <p:cNvPr id="18" name="Freeform: Shape 30">
              <a:extLst>
                <a:ext uri="{FF2B5EF4-FFF2-40B4-BE49-F238E27FC236}">
                  <a16:creationId xmlns:a16="http://schemas.microsoft.com/office/drawing/2014/main" id="{06101303-C129-885B-27F4-13EF49E98F3F}"/>
                </a:ext>
              </a:extLst>
            </p:cNvPr>
            <p:cNvSpPr/>
            <p:nvPr/>
          </p:nvSpPr>
          <p:spPr>
            <a:xfrm>
              <a:off x="6506477" y="699959"/>
              <a:ext cx="100038" cy="97908"/>
            </a:xfrm>
            <a:custGeom>
              <a:avLst/>
              <a:gdLst>
                <a:gd name="connsiteX0" fmla="*/ 197834 w 397954"/>
                <a:gd name="connsiteY0" fmla="*/ 389477 h 389477"/>
                <a:gd name="connsiteX1" fmla="*/ 119063 w 397954"/>
                <a:gd name="connsiteY1" fmla="*/ 374237 h 389477"/>
                <a:gd name="connsiteX2" fmla="*/ 56198 w 397954"/>
                <a:gd name="connsiteY2" fmla="*/ 332899 h 389477"/>
                <a:gd name="connsiteX3" fmla="*/ 14859 w 397954"/>
                <a:gd name="connsiteY3" fmla="*/ 271463 h 389477"/>
                <a:gd name="connsiteX4" fmla="*/ 0 w 397954"/>
                <a:gd name="connsiteY4" fmla="*/ 196501 h 389477"/>
                <a:gd name="connsiteX5" fmla="*/ 0 w 397954"/>
                <a:gd name="connsiteY5" fmla="*/ 195072 h 389477"/>
                <a:gd name="connsiteX6" fmla="*/ 15240 w 397954"/>
                <a:gd name="connsiteY6" fmla="*/ 119444 h 389477"/>
                <a:gd name="connsiteX7" fmla="*/ 56960 w 397954"/>
                <a:gd name="connsiteY7" fmla="*/ 57626 h 389477"/>
                <a:gd name="connsiteX8" fmla="*/ 119825 w 397954"/>
                <a:gd name="connsiteY8" fmla="*/ 15526 h 389477"/>
                <a:gd name="connsiteX9" fmla="*/ 199358 w 397954"/>
                <a:gd name="connsiteY9" fmla="*/ 0 h 389477"/>
                <a:gd name="connsiteX10" fmla="*/ 278892 w 397954"/>
                <a:gd name="connsiteY10" fmla="*/ 15240 h 389477"/>
                <a:gd name="connsiteX11" fmla="*/ 341757 w 397954"/>
                <a:gd name="connsiteY11" fmla="*/ 56959 h 389477"/>
                <a:gd name="connsiteX12" fmla="*/ 383096 w 397954"/>
                <a:gd name="connsiteY12" fmla="*/ 118396 h 389477"/>
                <a:gd name="connsiteX13" fmla="*/ 397955 w 397954"/>
                <a:gd name="connsiteY13" fmla="*/ 193643 h 389477"/>
                <a:gd name="connsiteX14" fmla="*/ 397955 w 397954"/>
                <a:gd name="connsiteY14" fmla="*/ 195072 h 389477"/>
                <a:gd name="connsiteX15" fmla="*/ 382714 w 397954"/>
                <a:gd name="connsiteY15" fmla="*/ 270034 h 389477"/>
                <a:gd name="connsiteX16" fmla="*/ 340995 w 397954"/>
                <a:gd name="connsiteY16" fmla="*/ 331851 h 389477"/>
                <a:gd name="connsiteX17" fmla="*/ 277749 w 397954"/>
                <a:gd name="connsiteY17" fmla="*/ 373856 h 389477"/>
                <a:gd name="connsiteX18" fmla="*/ 197834 w 397954"/>
                <a:gd name="connsiteY18" fmla="*/ 389382 h 389477"/>
                <a:gd name="connsiteX19" fmla="*/ 199263 w 397954"/>
                <a:gd name="connsiteY19" fmla="*/ 315278 h 389477"/>
                <a:gd name="connsiteX20" fmla="*/ 245936 w 397954"/>
                <a:gd name="connsiteY20" fmla="*/ 305753 h 389477"/>
                <a:gd name="connsiteX21" fmla="*/ 281369 w 397954"/>
                <a:gd name="connsiteY21" fmla="*/ 279940 h 389477"/>
                <a:gd name="connsiteX22" fmla="*/ 303848 w 397954"/>
                <a:gd name="connsiteY22" fmla="*/ 242125 h 389477"/>
                <a:gd name="connsiteX23" fmla="*/ 311563 w 397954"/>
                <a:gd name="connsiteY23" fmla="*/ 196501 h 389477"/>
                <a:gd name="connsiteX24" fmla="*/ 311563 w 397954"/>
                <a:gd name="connsiteY24" fmla="*/ 195072 h 389477"/>
                <a:gd name="connsiteX25" fmla="*/ 303181 w 397954"/>
                <a:gd name="connsiteY25" fmla="*/ 148400 h 389477"/>
                <a:gd name="connsiteX26" fmla="*/ 279654 w 397954"/>
                <a:gd name="connsiteY26" fmla="*/ 110204 h 389477"/>
                <a:gd name="connsiteX27" fmla="*/ 243840 w 397954"/>
                <a:gd name="connsiteY27" fmla="*/ 84392 h 389477"/>
                <a:gd name="connsiteX28" fmla="*/ 197834 w 397954"/>
                <a:gd name="connsiteY28" fmla="*/ 74867 h 389477"/>
                <a:gd name="connsiteX29" fmla="*/ 151829 w 397954"/>
                <a:gd name="connsiteY29" fmla="*/ 84392 h 389477"/>
                <a:gd name="connsiteX30" fmla="*/ 116396 w 397954"/>
                <a:gd name="connsiteY30" fmla="*/ 109823 h 389477"/>
                <a:gd name="connsiteX31" fmla="*/ 93916 w 397954"/>
                <a:gd name="connsiteY31" fmla="*/ 147638 h 389477"/>
                <a:gd name="connsiteX32" fmla="*/ 86201 w 397954"/>
                <a:gd name="connsiteY32" fmla="*/ 193548 h 389477"/>
                <a:gd name="connsiteX33" fmla="*/ 86201 w 397954"/>
                <a:gd name="connsiteY33" fmla="*/ 194977 h 389477"/>
                <a:gd name="connsiteX34" fmla="*/ 94583 w 397954"/>
                <a:gd name="connsiteY34" fmla="*/ 241268 h 389477"/>
                <a:gd name="connsiteX35" fmla="*/ 118110 w 397954"/>
                <a:gd name="connsiteY35" fmla="*/ 279463 h 389477"/>
                <a:gd name="connsiteX36" fmla="*/ 153924 w 397954"/>
                <a:gd name="connsiteY36" fmla="*/ 305562 h 389477"/>
                <a:gd name="connsiteX37" fmla="*/ 199263 w 397954"/>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954" h="389477">
                  <a:moveTo>
                    <a:pt x="197834" y="389477"/>
                  </a:moveTo>
                  <a:cubicBezTo>
                    <a:pt x="169545" y="389477"/>
                    <a:pt x="143351" y="384429"/>
                    <a:pt x="119063" y="374237"/>
                  </a:cubicBezTo>
                  <a:cubicBezTo>
                    <a:pt x="94774" y="364141"/>
                    <a:pt x="73819" y="350330"/>
                    <a:pt x="56198" y="332899"/>
                  </a:cubicBezTo>
                  <a:cubicBezTo>
                    <a:pt x="38576" y="315468"/>
                    <a:pt x="24765" y="294989"/>
                    <a:pt x="14859" y="271463"/>
                  </a:cubicBezTo>
                  <a:cubicBezTo>
                    <a:pt x="4953" y="247936"/>
                    <a:pt x="0" y="222980"/>
                    <a:pt x="0" y="196501"/>
                  </a:cubicBezTo>
                  <a:lnTo>
                    <a:pt x="0" y="195072"/>
                  </a:lnTo>
                  <a:cubicBezTo>
                    <a:pt x="0" y="168212"/>
                    <a:pt x="5049" y="143066"/>
                    <a:pt x="15240" y="119444"/>
                  </a:cubicBezTo>
                  <a:cubicBezTo>
                    <a:pt x="25337" y="95917"/>
                    <a:pt x="39243" y="75248"/>
                    <a:pt x="56960" y="57626"/>
                  </a:cubicBezTo>
                  <a:cubicBezTo>
                    <a:pt x="74676" y="39910"/>
                    <a:pt x="95631" y="25908"/>
                    <a:pt x="119825" y="15526"/>
                  </a:cubicBezTo>
                  <a:cubicBezTo>
                    <a:pt x="144113" y="5144"/>
                    <a:pt x="170593" y="0"/>
                    <a:pt x="199358" y="0"/>
                  </a:cubicBezTo>
                  <a:cubicBezTo>
                    <a:pt x="228124" y="0"/>
                    <a:pt x="254604" y="5048"/>
                    <a:pt x="278892" y="15240"/>
                  </a:cubicBezTo>
                  <a:cubicBezTo>
                    <a:pt x="303181" y="25337"/>
                    <a:pt x="324136" y="39243"/>
                    <a:pt x="341757" y="56959"/>
                  </a:cubicBezTo>
                  <a:cubicBezTo>
                    <a:pt x="359379" y="74676"/>
                    <a:pt x="373189" y="95155"/>
                    <a:pt x="383096" y="118396"/>
                  </a:cubicBezTo>
                  <a:cubicBezTo>
                    <a:pt x="393002" y="141732"/>
                    <a:pt x="397955" y="166783"/>
                    <a:pt x="397955" y="193643"/>
                  </a:cubicBezTo>
                  <a:lnTo>
                    <a:pt x="397955" y="195072"/>
                  </a:lnTo>
                  <a:cubicBezTo>
                    <a:pt x="397955" y="221456"/>
                    <a:pt x="392906" y="246412"/>
                    <a:pt x="382714" y="270034"/>
                  </a:cubicBezTo>
                  <a:cubicBezTo>
                    <a:pt x="372618" y="293561"/>
                    <a:pt x="358712" y="314230"/>
                    <a:pt x="340995" y="331851"/>
                  </a:cubicBezTo>
                  <a:cubicBezTo>
                    <a:pt x="323279" y="349472"/>
                    <a:pt x="302229" y="363569"/>
                    <a:pt x="277749" y="373856"/>
                  </a:cubicBezTo>
                  <a:cubicBezTo>
                    <a:pt x="253270" y="384238"/>
                    <a:pt x="226600" y="389382"/>
                    <a:pt x="197834" y="389382"/>
                  </a:cubicBezTo>
                  <a:close/>
                  <a:moveTo>
                    <a:pt x="199263" y="315278"/>
                  </a:moveTo>
                  <a:cubicBezTo>
                    <a:pt x="216598" y="315278"/>
                    <a:pt x="232124" y="312039"/>
                    <a:pt x="245936" y="305753"/>
                  </a:cubicBezTo>
                  <a:cubicBezTo>
                    <a:pt x="259747" y="299371"/>
                    <a:pt x="271558" y="290798"/>
                    <a:pt x="281369" y="279940"/>
                  </a:cubicBezTo>
                  <a:cubicBezTo>
                    <a:pt x="291179" y="269081"/>
                    <a:pt x="298704" y="256508"/>
                    <a:pt x="303848" y="242125"/>
                  </a:cubicBezTo>
                  <a:cubicBezTo>
                    <a:pt x="308991" y="227743"/>
                    <a:pt x="311563" y="212598"/>
                    <a:pt x="311563" y="196501"/>
                  </a:cubicBezTo>
                  <a:lnTo>
                    <a:pt x="311563" y="195072"/>
                  </a:lnTo>
                  <a:cubicBezTo>
                    <a:pt x="311563" y="178594"/>
                    <a:pt x="308706" y="163068"/>
                    <a:pt x="303181" y="148400"/>
                  </a:cubicBezTo>
                  <a:cubicBezTo>
                    <a:pt x="297561" y="133826"/>
                    <a:pt x="289750" y="121063"/>
                    <a:pt x="279654" y="110204"/>
                  </a:cubicBezTo>
                  <a:cubicBezTo>
                    <a:pt x="269557" y="99346"/>
                    <a:pt x="257651" y="90773"/>
                    <a:pt x="243840" y="84392"/>
                  </a:cubicBezTo>
                  <a:cubicBezTo>
                    <a:pt x="230029" y="78010"/>
                    <a:pt x="214694" y="74867"/>
                    <a:pt x="197834" y="74867"/>
                  </a:cubicBezTo>
                  <a:cubicBezTo>
                    <a:pt x="180975" y="74867"/>
                    <a:pt x="165640" y="78010"/>
                    <a:pt x="151829" y="84392"/>
                  </a:cubicBezTo>
                  <a:cubicBezTo>
                    <a:pt x="138017" y="90773"/>
                    <a:pt x="126206" y="99250"/>
                    <a:pt x="116396" y="109823"/>
                  </a:cubicBezTo>
                  <a:cubicBezTo>
                    <a:pt x="106585" y="120396"/>
                    <a:pt x="99060" y="133064"/>
                    <a:pt x="93916" y="147638"/>
                  </a:cubicBezTo>
                  <a:cubicBezTo>
                    <a:pt x="88773" y="162211"/>
                    <a:pt x="86201" y="177546"/>
                    <a:pt x="86201" y="193548"/>
                  </a:cubicBezTo>
                  <a:lnTo>
                    <a:pt x="86201" y="194977"/>
                  </a:lnTo>
                  <a:cubicBezTo>
                    <a:pt x="86201" y="211455"/>
                    <a:pt x="89059" y="226886"/>
                    <a:pt x="94583" y="241268"/>
                  </a:cubicBezTo>
                  <a:cubicBezTo>
                    <a:pt x="100203" y="255651"/>
                    <a:pt x="108014" y="268319"/>
                    <a:pt x="118110" y="279463"/>
                  </a:cubicBezTo>
                  <a:cubicBezTo>
                    <a:pt x="128207" y="290608"/>
                    <a:pt x="140113" y="299275"/>
                    <a:pt x="153924" y="305562"/>
                  </a:cubicBezTo>
                  <a:cubicBezTo>
                    <a:pt x="167735" y="311944"/>
                    <a:pt x="182785"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19" name="Freeform: Shape 31">
              <a:extLst>
                <a:ext uri="{FF2B5EF4-FFF2-40B4-BE49-F238E27FC236}">
                  <a16:creationId xmlns:a16="http://schemas.microsoft.com/office/drawing/2014/main" id="{BFFD8D0E-DF7C-1ECA-9155-4C4FAD5FD018}"/>
                </a:ext>
              </a:extLst>
            </p:cNvPr>
            <p:cNvSpPr/>
            <p:nvPr/>
          </p:nvSpPr>
          <p:spPr>
            <a:xfrm>
              <a:off x="662071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1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7 w 296894"/>
                <a:gd name="connsiteY23" fmla="*/ 42863 h 386714"/>
                <a:gd name="connsiteX24" fmla="*/ 254318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7 w 296894"/>
                <a:gd name="connsiteY30" fmla="*/ 124587 h 386714"/>
                <a:gd name="connsiteX31" fmla="*/ 122682 w 296894"/>
                <a:gd name="connsiteY31" fmla="*/ 138017 h 386714"/>
                <a:gd name="connsiteX32" fmla="*/ 149543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6" y="348901"/>
                    <a:pt x="0" y="330327"/>
                  </a:cubicBezTo>
                  <a:lnTo>
                    <a:pt x="38195" y="272224"/>
                  </a:lnTo>
                  <a:cubicBezTo>
                    <a:pt x="58484" y="287274"/>
                    <a:pt x="79057" y="298704"/>
                    <a:pt x="100013" y="306514"/>
                  </a:cubicBezTo>
                  <a:cubicBezTo>
                    <a:pt x="120968" y="314325"/>
                    <a:pt x="141161" y="318135"/>
                    <a:pt x="160401" y="318135"/>
                  </a:cubicBezTo>
                  <a:cubicBezTo>
                    <a:pt x="179641" y="318135"/>
                    <a:pt x="192977"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1" y="241078"/>
                    <a:pt x="176498" y="237553"/>
                    <a:pt x="166401"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2" y="40195"/>
                    <a:pt x="56864" y="30385"/>
                  </a:cubicBezTo>
                  <a:cubicBezTo>
                    <a:pt x="68866" y="20479"/>
                    <a:pt x="82962" y="12954"/>
                    <a:pt x="99250" y="7810"/>
                  </a:cubicBezTo>
                  <a:cubicBezTo>
                    <a:pt x="115538" y="2667"/>
                    <a:pt x="132779" y="0"/>
                    <a:pt x="151162" y="0"/>
                  </a:cubicBezTo>
                  <a:cubicBezTo>
                    <a:pt x="174688" y="0"/>
                    <a:pt x="198501" y="3810"/>
                    <a:pt x="222504" y="11430"/>
                  </a:cubicBezTo>
                  <a:cubicBezTo>
                    <a:pt x="246507" y="19050"/>
                    <a:pt x="268414" y="29527"/>
                    <a:pt x="288227" y="42863"/>
                  </a:cubicBezTo>
                  <a:lnTo>
                    <a:pt x="254318"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7" y="124587"/>
                  </a:cubicBezTo>
                  <a:cubicBezTo>
                    <a:pt x="108585" y="129540"/>
                    <a:pt x="114871" y="134017"/>
                    <a:pt x="122682" y="138017"/>
                  </a:cubicBezTo>
                  <a:cubicBezTo>
                    <a:pt x="130493" y="142018"/>
                    <a:pt x="139351" y="145732"/>
                    <a:pt x="149543"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696"/>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0" name="Freeform: Shape 32">
              <a:extLst>
                <a:ext uri="{FF2B5EF4-FFF2-40B4-BE49-F238E27FC236}">
                  <a16:creationId xmlns:a16="http://schemas.microsoft.com/office/drawing/2014/main" id="{668B1387-DB2B-379E-864D-1F66F19BB4AB}"/>
                </a:ext>
              </a:extLst>
            </p:cNvPr>
            <p:cNvSpPr/>
            <p:nvPr/>
          </p:nvSpPr>
          <p:spPr>
            <a:xfrm>
              <a:off x="526693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4 w 202977"/>
                <a:gd name="connsiteY17" fmla="*/ 19907 h 239267"/>
                <a:gd name="connsiteX18" fmla="*/ 59246 w 202977"/>
                <a:gd name="connsiteY18" fmla="*/ 5429 h 239267"/>
                <a:gd name="connsiteX19" fmla="*/ 104299 w 202977"/>
                <a:gd name="connsiteY19" fmla="*/ 0 h 239267"/>
                <a:gd name="connsiteX20" fmla="*/ 178880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5 w 202977"/>
                <a:gd name="connsiteY27" fmla="*/ 211169 h 239267"/>
                <a:gd name="connsiteX28" fmla="*/ 122968 w 202977"/>
                <a:gd name="connsiteY28" fmla="*/ 206788 h 239267"/>
                <a:gd name="connsiteX29" fmla="*/ 147257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9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9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3" y="99155"/>
                    <a:pt x="58674" y="95917"/>
                  </a:cubicBezTo>
                  <a:cubicBezTo>
                    <a:pt x="70771" y="92678"/>
                    <a:pt x="84011" y="90964"/>
                    <a:pt x="98584" y="90964"/>
                  </a:cubicBezTo>
                  <a:cubicBezTo>
                    <a:pt x="113157" y="90964"/>
                    <a:pt x="126301" y="91821"/>
                    <a:pt x="137160" y="93631"/>
                  </a:cubicBezTo>
                  <a:cubicBezTo>
                    <a:pt x="148019" y="95440"/>
                    <a:pt x="158687" y="97822"/>
                    <a:pt x="169069" y="100774"/>
                  </a:cubicBezTo>
                  <a:lnTo>
                    <a:pt x="169069" y="93726"/>
                  </a:lnTo>
                  <a:cubicBezTo>
                    <a:pt x="169069" y="73342"/>
                    <a:pt x="163068" y="57912"/>
                    <a:pt x="151162" y="47339"/>
                  </a:cubicBezTo>
                  <a:cubicBezTo>
                    <a:pt x="139256" y="36862"/>
                    <a:pt x="122492" y="31623"/>
                    <a:pt x="100679" y="31623"/>
                  </a:cubicBezTo>
                  <a:cubicBezTo>
                    <a:pt x="86963" y="31623"/>
                    <a:pt x="74581" y="33147"/>
                    <a:pt x="63437" y="36100"/>
                  </a:cubicBezTo>
                  <a:cubicBezTo>
                    <a:pt x="52292" y="39053"/>
                    <a:pt x="41339" y="43053"/>
                    <a:pt x="30671" y="48196"/>
                  </a:cubicBezTo>
                  <a:lnTo>
                    <a:pt x="20384" y="19907"/>
                  </a:lnTo>
                  <a:cubicBezTo>
                    <a:pt x="33147" y="13906"/>
                    <a:pt x="46101" y="9049"/>
                    <a:pt x="59246" y="5429"/>
                  </a:cubicBezTo>
                  <a:cubicBezTo>
                    <a:pt x="72295" y="1810"/>
                    <a:pt x="87344" y="0"/>
                    <a:pt x="104299" y="0"/>
                  </a:cubicBezTo>
                  <a:cubicBezTo>
                    <a:pt x="137065" y="0"/>
                    <a:pt x="161925" y="8477"/>
                    <a:pt x="178880"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99" y="239173"/>
                    <a:pt x="86011" y="239173"/>
                  </a:cubicBezTo>
                  <a:close/>
                  <a:moveTo>
                    <a:pt x="93155" y="211169"/>
                  </a:moveTo>
                  <a:cubicBezTo>
                    <a:pt x="103823" y="211169"/>
                    <a:pt x="113728" y="209740"/>
                    <a:pt x="122968" y="206788"/>
                  </a:cubicBezTo>
                  <a:cubicBezTo>
                    <a:pt x="132207" y="203835"/>
                    <a:pt x="140208" y="199644"/>
                    <a:pt x="147257"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9" y="121444"/>
                  </a:cubicBezTo>
                  <a:cubicBezTo>
                    <a:pt x="129445" y="119348"/>
                    <a:pt x="116776"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244" y="190500"/>
                    <a:pt x="47435" y="195358"/>
                    <a:pt x="52769" y="199263"/>
                  </a:cubicBezTo>
                  <a:cubicBezTo>
                    <a:pt x="58103" y="203073"/>
                    <a:pt x="64294" y="206026"/>
                    <a:pt x="71247" y="208121"/>
                  </a:cubicBezTo>
                  <a:cubicBezTo>
                    <a:pt x="78200" y="210217"/>
                    <a:pt x="85535"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21" name="Freeform: Shape 33">
              <a:extLst>
                <a:ext uri="{FF2B5EF4-FFF2-40B4-BE49-F238E27FC236}">
                  <a16:creationId xmlns:a16="http://schemas.microsoft.com/office/drawing/2014/main" id="{F2EAE32D-3D95-879B-240C-C6A5C5405E6A}"/>
                </a:ext>
              </a:extLst>
            </p:cNvPr>
            <p:cNvSpPr/>
            <p:nvPr/>
          </p:nvSpPr>
          <p:spPr>
            <a:xfrm>
              <a:off x="5331227"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9" y="303276"/>
                    <a:pt x="71438" y="300895"/>
                  </a:cubicBezTo>
                  <a:cubicBezTo>
                    <a:pt x="63437"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2"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22" name="Freeform: Shape 34">
              <a:extLst>
                <a:ext uri="{FF2B5EF4-FFF2-40B4-BE49-F238E27FC236}">
                  <a16:creationId xmlns:a16="http://schemas.microsoft.com/office/drawing/2014/main" id="{13CDC6AC-C089-942C-5DBA-81E2483B3EC6}"/>
                </a:ext>
              </a:extLst>
            </p:cNvPr>
            <p:cNvSpPr/>
            <p:nvPr/>
          </p:nvSpPr>
          <p:spPr>
            <a:xfrm>
              <a:off x="5381845"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191 w 39242"/>
                <a:gd name="connsiteY5" fmla="*/ 88392 h 319182"/>
                <a:gd name="connsiteX6" fmla="*/ 36576 w 39242"/>
                <a:gd name="connsiteY6" fmla="*/ 88392 h 319182"/>
                <a:gd name="connsiteX7" fmla="*/ 36576 w 39242"/>
                <a:gd name="connsiteY7" fmla="*/ 319183 h 319182"/>
                <a:gd name="connsiteX8" fmla="*/ 2191 w 39242"/>
                <a:gd name="connsiteY8" fmla="*/ 319183 h 319182"/>
                <a:gd name="connsiteX9" fmla="*/ 2191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191" y="88392"/>
                  </a:moveTo>
                  <a:lnTo>
                    <a:pt x="36576" y="88392"/>
                  </a:lnTo>
                  <a:lnTo>
                    <a:pt x="36576" y="319183"/>
                  </a:lnTo>
                  <a:lnTo>
                    <a:pt x="2191" y="319183"/>
                  </a:lnTo>
                  <a:lnTo>
                    <a:pt x="2191" y="88392"/>
                  </a:lnTo>
                  <a:close/>
                </a:path>
              </a:pathLst>
            </a:custGeom>
            <a:solidFill>
              <a:srgbClr val="44505E"/>
            </a:solidFill>
            <a:ln w="9525" cap="flat">
              <a:noFill/>
              <a:prstDash val="solid"/>
              <a:miter/>
            </a:ln>
          </p:spPr>
          <p:txBody>
            <a:bodyPr rtlCol="0" anchor="ctr"/>
            <a:lstStyle/>
            <a:p>
              <a:endParaRPr lang="pt-BR" noProof="0"/>
            </a:p>
          </p:txBody>
        </p:sp>
        <p:sp>
          <p:nvSpPr>
            <p:cNvPr id="23" name="Freeform: Shape 35">
              <a:extLst>
                <a:ext uri="{FF2B5EF4-FFF2-40B4-BE49-F238E27FC236}">
                  <a16:creationId xmlns:a16="http://schemas.microsoft.com/office/drawing/2014/main" id="{516751D0-2CEB-098E-6C81-9E18774B1D86}"/>
                </a:ext>
              </a:extLst>
            </p:cNvPr>
            <p:cNvSpPr/>
            <p:nvPr/>
          </p:nvSpPr>
          <p:spPr>
            <a:xfrm>
              <a:off x="5406076"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8" y="303276"/>
                    <a:pt x="71438" y="300895"/>
                  </a:cubicBezTo>
                  <a:cubicBezTo>
                    <a:pt x="63436"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1"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24" name="Freeform: Shape 36">
              <a:extLst>
                <a:ext uri="{FF2B5EF4-FFF2-40B4-BE49-F238E27FC236}">
                  <a16:creationId xmlns:a16="http://schemas.microsoft.com/office/drawing/2014/main" id="{C832EE96-6AAC-BB0E-FDD9-C4AFF00743B0}"/>
                </a:ext>
              </a:extLst>
            </p:cNvPr>
            <p:cNvSpPr/>
            <p:nvPr/>
          </p:nvSpPr>
          <p:spPr>
            <a:xfrm>
              <a:off x="5455545" y="925297"/>
              <a:ext cx="50594" cy="59238"/>
            </a:xfrm>
            <a:custGeom>
              <a:avLst/>
              <a:gdLst>
                <a:gd name="connsiteX0" fmla="*/ 88392 w 201263"/>
                <a:gd name="connsiteY0" fmla="*/ 235648 h 235648"/>
                <a:gd name="connsiteX1" fmla="*/ 51149 w 201263"/>
                <a:gd name="connsiteY1" fmla="*/ 228981 h 235648"/>
                <a:gd name="connsiteX2" fmla="*/ 23431 w 201263"/>
                <a:gd name="connsiteY2" fmla="*/ 210026 h 235648"/>
                <a:gd name="connsiteX3" fmla="*/ 6001 w 201263"/>
                <a:gd name="connsiteY3" fmla="*/ 180784 h 235648"/>
                <a:gd name="connsiteX4" fmla="*/ 0 w 201263"/>
                <a:gd name="connsiteY4" fmla="*/ 143256 h 235648"/>
                <a:gd name="connsiteX5" fmla="*/ 0 w 201263"/>
                <a:gd name="connsiteY5" fmla="*/ 0 h 235648"/>
                <a:gd name="connsiteX6" fmla="*/ 34385 w 201263"/>
                <a:gd name="connsiteY6" fmla="*/ 0 h 235648"/>
                <a:gd name="connsiteX7" fmla="*/ 34385 w 201263"/>
                <a:gd name="connsiteY7" fmla="*/ 134493 h 235648"/>
                <a:gd name="connsiteX8" fmla="*/ 50864 w 201263"/>
                <a:gd name="connsiteY8" fmla="*/ 185261 h 235648"/>
                <a:gd name="connsiteX9" fmla="*/ 98203 w 201263"/>
                <a:gd name="connsiteY9" fmla="*/ 203930 h 235648"/>
                <a:gd name="connsiteX10" fmla="*/ 125635 w 201263"/>
                <a:gd name="connsiteY10" fmla="*/ 198787 h 235648"/>
                <a:gd name="connsiteX11" fmla="*/ 147542 w 201263"/>
                <a:gd name="connsiteY11" fmla="*/ 184118 h 235648"/>
                <a:gd name="connsiteX12" fmla="*/ 162020 w 201263"/>
                <a:gd name="connsiteY12" fmla="*/ 161163 h 235648"/>
                <a:gd name="connsiteX13" fmla="*/ 167354 w 201263"/>
                <a:gd name="connsiteY13" fmla="*/ 131826 h 235648"/>
                <a:gd name="connsiteX14" fmla="*/ 167354 w 201263"/>
                <a:gd name="connsiteY14" fmla="*/ 0 h 235648"/>
                <a:gd name="connsiteX15" fmla="*/ 201263 w 201263"/>
                <a:gd name="connsiteY15" fmla="*/ 0 h 235648"/>
                <a:gd name="connsiteX16" fmla="*/ 201263 w 201263"/>
                <a:gd name="connsiteY16" fmla="*/ 230791 h 235648"/>
                <a:gd name="connsiteX17" fmla="*/ 167354 w 201263"/>
                <a:gd name="connsiteY17" fmla="*/ 230791 h 235648"/>
                <a:gd name="connsiteX18" fmla="*/ 167354 w 201263"/>
                <a:gd name="connsiteY18" fmla="*/ 190595 h 235648"/>
                <a:gd name="connsiteX19" fmla="*/ 136969 w 201263"/>
                <a:gd name="connsiteY19" fmla="*/ 222504 h 235648"/>
                <a:gd name="connsiteX20" fmla="*/ 88297 w 201263"/>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263" h="235648">
                  <a:moveTo>
                    <a:pt x="88392" y="235648"/>
                  </a:moveTo>
                  <a:cubicBezTo>
                    <a:pt x="74390" y="235648"/>
                    <a:pt x="62008" y="233363"/>
                    <a:pt x="51149" y="228981"/>
                  </a:cubicBezTo>
                  <a:cubicBezTo>
                    <a:pt x="40291" y="224504"/>
                    <a:pt x="31052" y="218218"/>
                    <a:pt x="23431"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864" y="185261"/>
                  </a:cubicBezTo>
                  <a:cubicBezTo>
                    <a:pt x="61913" y="197739"/>
                    <a:pt x="77629" y="203930"/>
                    <a:pt x="98203" y="203930"/>
                  </a:cubicBezTo>
                  <a:cubicBezTo>
                    <a:pt x="108014" y="203930"/>
                    <a:pt x="117158" y="202216"/>
                    <a:pt x="125635" y="198787"/>
                  </a:cubicBezTo>
                  <a:cubicBezTo>
                    <a:pt x="134112" y="195358"/>
                    <a:pt x="141351" y="190500"/>
                    <a:pt x="147542" y="184118"/>
                  </a:cubicBezTo>
                  <a:cubicBezTo>
                    <a:pt x="153638" y="177736"/>
                    <a:pt x="158496" y="170116"/>
                    <a:pt x="162020" y="161163"/>
                  </a:cubicBezTo>
                  <a:cubicBezTo>
                    <a:pt x="165640" y="152305"/>
                    <a:pt x="167354" y="142494"/>
                    <a:pt x="167354" y="131826"/>
                  </a:cubicBezTo>
                  <a:lnTo>
                    <a:pt x="167354" y="0"/>
                  </a:lnTo>
                  <a:lnTo>
                    <a:pt x="201263" y="0"/>
                  </a:lnTo>
                  <a:lnTo>
                    <a:pt x="201263" y="230791"/>
                  </a:lnTo>
                  <a:lnTo>
                    <a:pt x="167354" y="230791"/>
                  </a:lnTo>
                  <a:lnTo>
                    <a:pt x="167354" y="190595"/>
                  </a:lnTo>
                  <a:cubicBezTo>
                    <a:pt x="159639" y="203073"/>
                    <a:pt x="149447" y="213741"/>
                    <a:pt x="136969" y="222504"/>
                  </a:cubicBezTo>
                  <a:cubicBezTo>
                    <a:pt x="124492" y="231267"/>
                    <a:pt x="108299" y="235648"/>
                    <a:pt x="88297" y="235648"/>
                  </a:cubicBezTo>
                  <a:close/>
                </a:path>
              </a:pathLst>
            </a:custGeom>
            <a:solidFill>
              <a:srgbClr val="44505E"/>
            </a:solidFill>
            <a:ln w="9525" cap="flat">
              <a:noFill/>
              <a:prstDash val="solid"/>
              <a:miter/>
            </a:ln>
          </p:spPr>
          <p:txBody>
            <a:bodyPr rtlCol="0" anchor="ctr"/>
            <a:lstStyle/>
            <a:p>
              <a:endParaRPr lang="pt-BR" noProof="0"/>
            </a:p>
          </p:txBody>
        </p:sp>
        <p:sp>
          <p:nvSpPr>
            <p:cNvPr id="25" name="Freeform: Shape 37">
              <a:extLst>
                <a:ext uri="{FF2B5EF4-FFF2-40B4-BE49-F238E27FC236}">
                  <a16:creationId xmlns:a16="http://schemas.microsoft.com/office/drawing/2014/main" id="{B092E3B1-244B-141E-5C9E-B9182CD190AD}"/>
                </a:ext>
              </a:extLst>
            </p:cNvPr>
            <p:cNvSpPr/>
            <p:nvPr/>
          </p:nvSpPr>
          <p:spPr>
            <a:xfrm>
              <a:off x="5522205" y="901353"/>
              <a:ext cx="58567" cy="83182"/>
            </a:xfrm>
            <a:custGeom>
              <a:avLst/>
              <a:gdLst>
                <a:gd name="connsiteX0" fmla="*/ 110204 w 232981"/>
                <a:gd name="connsiteY0" fmla="*/ 330898 h 330898"/>
                <a:gd name="connsiteX1" fmla="*/ 69628 w 232981"/>
                <a:gd name="connsiteY1" fmla="*/ 322897 h 330898"/>
                <a:gd name="connsiteX2" fmla="*/ 34385 w 232981"/>
                <a:gd name="connsiteY2" fmla="*/ 299466 h 330898"/>
                <a:gd name="connsiteX3" fmla="*/ 9334 w 232981"/>
                <a:gd name="connsiteY3" fmla="*/ 261938 h 330898"/>
                <a:gd name="connsiteX4" fmla="*/ 0 w 232981"/>
                <a:gd name="connsiteY4" fmla="*/ 211264 h 330898"/>
                <a:gd name="connsiteX5" fmla="*/ 0 w 232981"/>
                <a:gd name="connsiteY5" fmla="*/ 210407 h 330898"/>
                <a:gd name="connsiteX6" fmla="*/ 9334 w 232981"/>
                <a:gd name="connsiteY6" fmla="*/ 159925 h 330898"/>
                <a:gd name="connsiteX7" fmla="*/ 34385 w 232981"/>
                <a:gd name="connsiteY7" fmla="*/ 122206 h 330898"/>
                <a:gd name="connsiteX8" fmla="*/ 69628 w 232981"/>
                <a:gd name="connsiteY8" fmla="*/ 98488 h 330898"/>
                <a:gd name="connsiteX9" fmla="*/ 110204 w 232981"/>
                <a:gd name="connsiteY9" fmla="*/ 90202 h 330898"/>
                <a:gd name="connsiteX10" fmla="*/ 139636 w 232981"/>
                <a:gd name="connsiteY10" fmla="*/ 94202 h 330898"/>
                <a:gd name="connsiteX11" fmla="*/ 163735 w 232981"/>
                <a:gd name="connsiteY11" fmla="*/ 104870 h 330898"/>
                <a:gd name="connsiteX12" fmla="*/ 183166 w 232981"/>
                <a:gd name="connsiteY12" fmla="*/ 120491 h 330898"/>
                <a:gd name="connsiteX13" fmla="*/ 198596 w 232981"/>
                <a:gd name="connsiteY13" fmla="*/ 139255 h 330898"/>
                <a:gd name="connsiteX14" fmla="*/ 198596 w 232981"/>
                <a:gd name="connsiteY14" fmla="*/ 0 h 330898"/>
                <a:gd name="connsiteX15" fmla="*/ 232981 w 232981"/>
                <a:gd name="connsiteY15" fmla="*/ 0 h 330898"/>
                <a:gd name="connsiteX16" fmla="*/ 232981 w 232981"/>
                <a:gd name="connsiteY16" fmla="*/ 325850 h 330898"/>
                <a:gd name="connsiteX17" fmla="*/ 198596 w 232981"/>
                <a:gd name="connsiteY17" fmla="*/ 325850 h 330898"/>
                <a:gd name="connsiteX18" fmla="*/ 198596 w 232981"/>
                <a:gd name="connsiteY18" fmla="*/ 279463 h 330898"/>
                <a:gd name="connsiteX19" fmla="*/ 182785 w 232981"/>
                <a:gd name="connsiteY19" fmla="*/ 299085 h 330898"/>
                <a:gd name="connsiteX20" fmla="*/ 163354 w 232981"/>
                <a:gd name="connsiteY20" fmla="*/ 315658 h 330898"/>
                <a:gd name="connsiteX21" fmla="*/ 139446 w 232981"/>
                <a:gd name="connsiteY21" fmla="*/ 326803 h 330898"/>
                <a:gd name="connsiteX22" fmla="*/ 110204 w 232981"/>
                <a:gd name="connsiteY22" fmla="*/ 330803 h 330898"/>
                <a:gd name="connsiteX23" fmla="*/ 116491 w 232981"/>
                <a:gd name="connsiteY23" fmla="*/ 300133 h 330898"/>
                <a:gd name="connsiteX24" fmla="*/ 147542 w 232981"/>
                <a:gd name="connsiteY24" fmla="*/ 293656 h 330898"/>
                <a:gd name="connsiteX25" fmla="*/ 174307 w 232981"/>
                <a:gd name="connsiteY25" fmla="*/ 275368 h 330898"/>
                <a:gd name="connsiteX26" fmla="*/ 193072 w 232981"/>
                <a:gd name="connsiteY26" fmla="*/ 247269 h 330898"/>
                <a:gd name="connsiteX27" fmla="*/ 200025 w 232981"/>
                <a:gd name="connsiteY27" fmla="*/ 210883 h 330898"/>
                <a:gd name="connsiteX28" fmla="*/ 200025 w 232981"/>
                <a:gd name="connsiteY28" fmla="*/ 210026 h 330898"/>
                <a:gd name="connsiteX29" fmla="*/ 193072 w 232981"/>
                <a:gd name="connsiteY29" fmla="*/ 173641 h 330898"/>
                <a:gd name="connsiteX30" fmla="*/ 174307 w 232981"/>
                <a:gd name="connsiteY30" fmla="*/ 145732 h 330898"/>
                <a:gd name="connsiteX31" fmla="*/ 147542 w 232981"/>
                <a:gd name="connsiteY31" fmla="*/ 127635 h 330898"/>
                <a:gd name="connsiteX32" fmla="*/ 116491 w 232981"/>
                <a:gd name="connsiteY32" fmla="*/ 121158 h 330898"/>
                <a:gd name="connsiteX33" fmla="*/ 84772 w 232981"/>
                <a:gd name="connsiteY33" fmla="*/ 127159 h 330898"/>
                <a:gd name="connsiteX34" fmla="*/ 59150 w 232981"/>
                <a:gd name="connsiteY34" fmla="*/ 144589 h 330898"/>
                <a:gd name="connsiteX35" fmla="*/ 41719 w 232981"/>
                <a:gd name="connsiteY35" fmla="*/ 172498 h 330898"/>
                <a:gd name="connsiteX36" fmla="*/ 35242 w 232981"/>
                <a:gd name="connsiteY36" fmla="*/ 210026 h 330898"/>
                <a:gd name="connsiteX37" fmla="*/ 35242 w 232981"/>
                <a:gd name="connsiteY37" fmla="*/ 210883 h 330898"/>
                <a:gd name="connsiteX38" fmla="*/ 41719 w 232981"/>
                <a:gd name="connsiteY38" fmla="*/ 247936 h 330898"/>
                <a:gd name="connsiteX39" fmla="*/ 59341 w 232981"/>
                <a:gd name="connsiteY39" fmla="*/ 276034 h 330898"/>
                <a:gd name="connsiteX40" fmla="*/ 85249 w 232981"/>
                <a:gd name="connsiteY40" fmla="*/ 293941 h 330898"/>
                <a:gd name="connsiteX41" fmla="*/ 116491 w 23298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30898">
                  <a:moveTo>
                    <a:pt x="110204" y="330898"/>
                  </a:moveTo>
                  <a:cubicBezTo>
                    <a:pt x="96202" y="330898"/>
                    <a:pt x="82677" y="328231"/>
                    <a:pt x="69628" y="322897"/>
                  </a:cubicBezTo>
                  <a:cubicBezTo>
                    <a:pt x="56578" y="317563"/>
                    <a:pt x="44767" y="309753"/>
                    <a:pt x="34385" y="299466"/>
                  </a:cubicBezTo>
                  <a:cubicBezTo>
                    <a:pt x="24003" y="289179"/>
                    <a:pt x="15621" y="276701"/>
                    <a:pt x="9334" y="261938"/>
                  </a:cubicBezTo>
                  <a:cubicBezTo>
                    <a:pt x="3048" y="247174"/>
                    <a:pt x="0" y="230314"/>
                    <a:pt x="0" y="211264"/>
                  </a:cubicBezTo>
                  <a:lnTo>
                    <a:pt x="0" y="210407"/>
                  </a:lnTo>
                  <a:cubicBezTo>
                    <a:pt x="0" y="191643"/>
                    <a:pt x="3143" y="174879"/>
                    <a:pt x="9334" y="159925"/>
                  </a:cubicBezTo>
                  <a:cubicBezTo>
                    <a:pt x="15621" y="145066"/>
                    <a:pt x="23908" y="132493"/>
                    <a:pt x="34385" y="122206"/>
                  </a:cubicBezTo>
                  <a:cubicBezTo>
                    <a:pt x="44767" y="111919"/>
                    <a:pt x="56578" y="104013"/>
                    <a:pt x="69628" y="98488"/>
                  </a:cubicBezTo>
                  <a:cubicBezTo>
                    <a:pt x="82677" y="92964"/>
                    <a:pt x="96298" y="90202"/>
                    <a:pt x="110204" y="90202"/>
                  </a:cubicBezTo>
                  <a:cubicBezTo>
                    <a:pt x="120967" y="90202"/>
                    <a:pt x="130778" y="91535"/>
                    <a:pt x="139636" y="94202"/>
                  </a:cubicBezTo>
                  <a:cubicBezTo>
                    <a:pt x="148590" y="96869"/>
                    <a:pt x="156591" y="100489"/>
                    <a:pt x="163735" y="104870"/>
                  </a:cubicBezTo>
                  <a:cubicBezTo>
                    <a:pt x="170878" y="109347"/>
                    <a:pt x="177356" y="114586"/>
                    <a:pt x="183166" y="120491"/>
                  </a:cubicBezTo>
                  <a:cubicBezTo>
                    <a:pt x="188976" y="126492"/>
                    <a:pt x="194119" y="132683"/>
                    <a:pt x="198596" y="139255"/>
                  </a:cubicBezTo>
                  <a:lnTo>
                    <a:pt x="198596" y="0"/>
                  </a:lnTo>
                  <a:lnTo>
                    <a:pt x="232981" y="0"/>
                  </a:lnTo>
                  <a:lnTo>
                    <a:pt x="232981" y="325850"/>
                  </a:lnTo>
                  <a:lnTo>
                    <a:pt x="198596" y="325850"/>
                  </a:lnTo>
                  <a:lnTo>
                    <a:pt x="198596" y="279463"/>
                  </a:lnTo>
                  <a:cubicBezTo>
                    <a:pt x="193834" y="286321"/>
                    <a:pt x="188595" y="292894"/>
                    <a:pt x="182785" y="299085"/>
                  </a:cubicBezTo>
                  <a:cubicBezTo>
                    <a:pt x="176974" y="305371"/>
                    <a:pt x="170498" y="310896"/>
                    <a:pt x="163354" y="315658"/>
                  </a:cubicBezTo>
                  <a:cubicBezTo>
                    <a:pt x="156210" y="320421"/>
                    <a:pt x="148209" y="324136"/>
                    <a:pt x="139446" y="326803"/>
                  </a:cubicBezTo>
                  <a:cubicBezTo>
                    <a:pt x="130683" y="329470"/>
                    <a:pt x="120967" y="330803"/>
                    <a:pt x="110204" y="330803"/>
                  </a:cubicBezTo>
                  <a:close/>
                  <a:moveTo>
                    <a:pt x="116491" y="300133"/>
                  </a:moveTo>
                  <a:cubicBezTo>
                    <a:pt x="127159" y="300133"/>
                    <a:pt x="137541" y="297942"/>
                    <a:pt x="147542" y="293656"/>
                  </a:cubicBezTo>
                  <a:cubicBezTo>
                    <a:pt x="157544" y="289369"/>
                    <a:pt x="166402" y="283273"/>
                    <a:pt x="174307" y="275368"/>
                  </a:cubicBezTo>
                  <a:cubicBezTo>
                    <a:pt x="182213" y="267462"/>
                    <a:pt x="188404" y="258127"/>
                    <a:pt x="193072" y="247269"/>
                  </a:cubicBezTo>
                  <a:cubicBezTo>
                    <a:pt x="197644" y="236410"/>
                    <a:pt x="200025" y="224314"/>
                    <a:pt x="200025" y="210883"/>
                  </a:cubicBezTo>
                  <a:lnTo>
                    <a:pt x="200025" y="210026"/>
                  </a:lnTo>
                  <a:cubicBezTo>
                    <a:pt x="200025" y="196596"/>
                    <a:pt x="197739" y="184499"/>
                    <a:pt x="193072" y="173641"/>
                  </a:cubicBezTo>
                  <a:cubicBezTo>
                    <a:pt x="188500" y="162782"/>
                    <a:pt x="182213" y="153448"/>
                    <a:pt x="174307" y="145732"/>
                  </a:cubicBezTo>
                  <a:cubicBezTo>
                    <a:pt x="166402" y="138017"/>
                    <a:pt x="157448" y="132016"/>
                    <a:pt x="147542" y="127635"/>
                  </a:cubicBezTo>
                  <a:cubicBezTo>
                    <a:pt x="137541" y="123349"/>
                    <a:pt x="127254" y="121158"/>
                    <a:pt x="116491" y="121158"/>
                  </a:cubicBezTo>
                  <a:cubicBezTo>
                    <a:pt x="105156" y="121158"/>
                    <a:pt x="94583" y="123158"/>
                    <a:pt x="84772" y="127159"/>
                  </a:cubicBezTo>
                  <a:cubicBezTo>
                    <a:pt x="74962" y="131159"/>
                    <a:pt x="66389" y="136969"/>
                    <a:pt x="59150" y="144589"/>
                  </a:cubicBezTo>
                  <a:cubicBezTo>
                    <a:pt x="51816" y="152114"/>
                    <a:pt x="46101" y="161449"/>
                    <a:pt x="41719" y="172498"/>
                  </a:cubicBezTo>
                  <a:cubicBezTo>
                    <a:pt x="37433" y="183451"/>
                    <a:pt x="35242" y="196024"/>
                    <a:pt x="35242" y="210026"/>
                  </a:cubicBezTo>
                  <a:lnTo>
                    <a:pt x="35242" y="210883"/>
                  </a:lnTo>
                  <a:cubicBezTo>
                    <a:pt x="35242" y="224599"/>
                    <a:pt x="37433" y="236982"/>
                    <a:pt x="41719" y="247936"/>
                  </a:cubicBezTo>
                  <a:cubicBezTo>
                    <a:pt x="46006" y="258984"/>
                    <a:pt x="51911" y="268319"/>
                    <a:pt x="59341" y="276034"/>
                  </a:cubicBezTo>
                  <a:cubicBezTo>
                    <a:pt x="66770" y="283750"/>
                    <a:pt x="75438" y="289750"/>
                    <a:pt x="85249" y="293941"/>
                  </a:cubicBezTo>
                  <a:cubicBezTo>
                    <a:pt x="95059" y="298132"/>
                    <a:pt x="105442" y="300228"/>
                    <a:pt x="116491" y="300228"/>
                  </a:cubicBezTo>
                  <a:close/>
                </a:path>
              </a:pathLst>
            </a:custGeom>
            <a:solidFill>
              <a:srgbClr val="44505E"/>
            </a:solidFill>
            <a:ln w="9525" cap="flat">
              <a:noFill/>
              <a:prstDash val="solid"/>
              <a:miter/>
            </a:ln>
          </p:spPr>
          <p:txBody>
            <a:bodyPr rtlCol="0" anchor="ctr"/>
            <a:lstStyle/>
            <a:p>
              <a:endParaRPr lang="pt-BR" noProof="0"/>
            </a:p>
          </p:txBody>
        </p:sp>
        <p:sp>
          <p:nvSpPr>
            <p:cNvPr id="26" name="Freeform: Shape 38">
              <a:extLst>
                <a:ext uri="{FF2B5EF4-FFF2-40B4-BE49-F238E27FC236}">
                  <a16:creationId xmlns:a16="http://schemas.microsoft.com/office/drawing/2014/main" id="{DF020027-454D-C255-7F2C-BA045E39BCF6}"/>
                </a:ext>
              </a:extLst>
            </p:cNvPr>
            <p:cNvSpPr/>
            <p:nvPr/>
          </p:nvSpPr>
          <p:spPr>
            <a:xfrm>
              <a:off x="5596504"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6963 w 218217"/>
                <a:gd name="connsiteY3" fmla="*/ 206026 h 241077"/>
                <a:gd name="connsiteX4" fmla="*/ 116015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8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1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452 w 218217"/>
                <a:gd name="connsiteY25" fmla="*/ 106299 h 241077"/>
                <a:gd name="connsiteX26" fmla="*/ 176784 w 218217"/>
                <a:gd name="connsiteY26" fmla="*/ 76771 h 241077"/>
                <a:gd name="connsiteX27" fmla="*/ 162306 w 218217"/>
                <a:gd name="connsiteY27" fmla="*/ 52101 h 241077"/>
                <a:gd name="connsiteX28" fmla="*/ 140018 w 218217"/>
                <a:gd name="connsiteY28" fmla="*/ 35242 h 241077"/>
                <a:gd name="connsiteX29" fmla="*/ 109919 w 218217"/>
                <a:gd name="connsiteY29" fmla="*/ 29051 h 241077"/>
                <a:gd name="connsiteX30" fmla="*/ 82201 w 218217"/>
                <a:gd name="connsiteY30" fmla="*/ 34766 h 241077"/>
                <a:gd name="connsiteX31" fmla="*/ 59436 w 218217"/>
                <a:gd name="connsiteY31" fmla="*/ 50959 h 241077"/>
                <a:gd name="connsiteX32" fmla="*/ 43148 w 218217"/>
                <a:gd name="connsiteY32" fmla="*/ 75628 h 241077"/>
                <a:gd name="connsiteX33" fmla="*/ 34862 w 218217"/>
                <a:gd name="connsiteY33" fmla="*/ 106204 h 241077"/>
                <a:gd name="connsiteX34" fmla="*/ 183547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724" y="202597"/>
                    <a:pt x="86963" y="206026"/>
                  </a:cubicBezTo>
                  <a:cubicBezTo>
                    <a:pt x="96203" y="209455"/>
                    <a:pt x="105823" y="211169"/>
                    <a:pt x="116015" y="211169"/>
                  </a:cubicBezTo>
                  <a:cubicBezTo>
                    <a:pt x="132112" y="211169"/>
                    <a:pt x="145828" y="208216"/>
                    <a:pt x="157353" y="202216"/>
                  </a:cubicBezTo>
                  <a:cubicBezTo>
                    <a:pt x="168783" y="196310"/>
                    <a:pt x="179261" y="188404"/>
                    <a:pt x="188786" y="178594"/>
                  </a:cubicBezTo>
                  <a:lnTo>
                    <a:pt x="210217" y="197834"/>
                  </a:lnTo>
                  <a:cubicBezTo>
                    <a:pt x="198596" y="210979"/>
                    <a:pt x="185357" y="221361"/>
                    <a:pt x="170498" y="229267"/>
                  </a:cubicBezTo>
                  <a:cubicBezTo>
                    <a:pt x="155639"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679" y="0"/>
                    <a:pt x="110681"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452" y="106299"/>
                  </a:moveTo>
                  <a:cubicBezTo>
                    <a:pt x="182594" y="95917"/>
                    <a:pt x="180308" y="86106"/>
                    <a:pt x="176784" y="76771"/>
                  </a:cubicBezTo>
                  <a:cubicBezTo>
                    <a:pt x="173165" y="67437"/>
                    <a:pt x="168402" y="59245"/>
                    <a:pt x="162306" y="52101"/>
                  </a:cubicBezTo>
                  <a:cubicBezTo>
                    <a:pt x="156210" y="44958"/>
                    <a:pt x="148781" y="39338"/>
                    <a:pt x="140018" y="35242"/>
                  </a:cubicBezTo>
                  <a:cubicBezTo>
                    <a:pt x="131254" y="31147"/>
                    <a:pt x="121158" y="29051"/>
                    <a:pt x="109919" y="29051"/>
                  </a:cubicBezTo>
                  <a:cubicBezTo>
                    <a:pt x="100108" y="29051"/>
                    <a:pt x="90869" y="30956"/>
                    <a:pt x="82201" y="34766"/>
                  </a:cubicBezTo>
                  <a:cubicBezTo>
                    <a:pt x="73533" y="38671"/>
                    <a:pt x="66008" y="44005"/>
                    <a:pt x="59436" y="50959"/>
                  </a:cubicBezTo>
                  <a:cubicBezTo>
                    <a:pt x="52864" y="57912"/>
                    <a:pt x="47435" y="66103"/>
                    <a:pt x="43148" y="75628"/>
                  </a:cubicBezTo>
                  <a:cubicBezTo>
                    <a:pt x="38862" y="85058"/>
                    <a:pt x="36100" y="95345"/>
                    <a:pt x="34862" y="106204"/>
                  </a:cubicBezTo>
                  <a:lnTo>
                    <a:pt x="183547" y="106204"/>
                  </a:lnTo>
                  <a:close/>
                </a:path>
              </a:pathLst>
            </a:custGeom>
            <a:solidFill>
              <a:srgbClr val="44505E"/>
            </a:solidFill>
            <a:ln w="9525" cap="flat">
              <a:noFill/>
              <a:prstDash val="solid"/>
              <a:miter/>
            </a:ln>
          </p:spPr>
          <p:txBody>
            <a:bodyPr rtlCol="0" anchor="ctr"/>
            <a:lstStyle/>
            <a:p>
              <a:endParaRPr lang="pt-BR" noProof="0"/>
            </a:p>
          </p:txBody>
        </p:sp>
        <p:sp>
          <p:nvSpPr>
            <p:cNvPr id="27" name="Freeform: Shape 39">
              <a:extLst>
                <a:ext uri="{FF2B5EF4-FFF2-40B4-BE49-F238E27FC236}">
                  <a16:creationId xmlns:a16="http://schemas.microsoft.com/office/drawing/2014/main" id="{A7ABABDE-456B-2FEC-B10D-979295D7BC22}"/>
                </a:ext>
              </a:extLst>
            </p:cNvPr>
            <p:cNvSpPr/>
            <p:nvPr/>
          </p:nvSpPr>
          <p:spPr>
            <a:xfrm>
              <a:off x="5661680" y="924268"/>
              <a:ext cx="44656" cy="60195"/>
            </a:xfrm>
            <a:custGeom>
              <a:avLst/>
              <a:gdLst>
                <a:gd name="connsiteX0" fmla="*/ 95536 w 177641"/>
                <a:gd name="connsiteY0" fmla="*/ 239268 h 239458"/>
                <a:gd name="connsiteX1" fmla="*/ 45053 w 177641"/>
                <a:gd name="connsiteY1" fmla="*/ 230124 h 239458"/>
                <a:gd name="connsiteX2" fmla="*/ 0 w 177641"/>
                <a:gd name="connsiteY2" fmla="*/ 205359 h 239458"/>
                <a:gd name="connsiteX3" fmla="*/ 17431 w 177641"/>
                <a:gd name="connsiteY3" fmla="*/ 180785 h 239458"/>
                <a:gd name="connsiteX4" fmla="*/ 56483 w 177641"/>
                <a:gd name="connsiteY4" fmla="*/ 202692 h 239458"/>
                <a:gd name="connsiteX5" fmla="*/ 97346 w 177641"/>
                <a:gd name="connsiteY5" fmla="*/ 210217 h 239458"/>
                <a:gd name="connsiteX6" fmla="*/ 131731 w 177641"/>
                <a:gd name="connsiteY6" fmla="*/ 200406 h 239458"/>
                <a:gd name="connsiteX7" fmla="*/ 145161 w 177641"/>
                <a:gd name="connsiteY7" fmla="*/ 173641 h 239458"/>
                <a:gd name="connsiteX8" fmla="*/ 145161 w 177641"/>
                <a:gd name="connsiteY8" fmla="*/ 172784 h 239458"/>
                <a:gd name="connsiteX9" fmla="*/ 140494 w 177641"/>
                <a:gd name="connsiteY9" fmla="*/ 158020 h 239458"/>
                <a:gd name="connsiteX10" fmla="*/ 127730 w 177641"/>
                <a:gd name="connsiteY10" fmla="*/ 147066 h 239458"/>
                <a:gd name="connsiteX11" fmla="*/ 109157 w 177641"/>
                <a:gd name="connsiteY11" fmla="*/ 138779 h 239458"/>
                <a:gd name="connsiteX12" fmla="*/ 87535 w 177641"/>
                <a:gd name="connsiteY12" fmla="*/ 132112 h 239458"/>
                <a:gd name="connsiteX13" fmla="*/ 60484 w 177641"/>
                <a:gd name="connsiteY13" fmla="*/ 123444 h 239458"/>
                <a:gd name="connsiteX14" fmla="*/ 35909 w 177641"/>
                <a:gd name="connsiteY14" fmla="*/ 111633 h 239458"/>
                <a:gd name="connsiteX15" fmla="*/ 18098 w 177641"/>
                <a:gd name="connsiteY15" fmla="*/ 93726 h 239458"/>
                <a:gd name="connsiteX16" fmla="*/ 11144 w 177641"/>
                <a:gd name="connsiteY16" fmla="*/ 66961 h 239458"/>
                <a:gd name="connsiteX17" fmla="*/ 11144 w 177641"/>
                <a:gd name="connsiteY17" fmla="*/ 66008 h 239458"/>
                <a:gd name="connsiteX18" fmla="*/ 16954 w 177641"/>
                <a:gd name="connsiteY18" fmla="*/ 39053 h 239458"/>
                <a:gd name="connsiteX19" fmla="*/ 33242 w 177641"/>
                <a:gd name="connsiteY19" fmla="*/ 18098 h 239458"/>
                <a:gd name="connsiteX20" fmla="*/ 58293 w 177641"/>
                <a:gd name="connsiteY20" fmla="*/ 4667 h 239458"/>
                <a:gd name="connsiteX21" fmla="*/ 89725 w 177641"/>
                <a:gd name="connsiteY21" fmla="*/ 0 h 239458"/>
                <a:gd name="connsiteX22" fmla="*/ 133064 w 177641"/>
                <a:gd name="connsiteY22" fmla="*/ 6953 h 239458"/>
                <a:gd name="connsiteX23" fmla="*/ 172784 w 177641"/>
                <a:gd name="connsiteY23" fmla="*/ 25527 h 239458"/>
                <a:gd name="connsiteX24" fmla="*/ 157163 w 177641"/>
                <a:gd name="connsiteY24" fmla="*/ 51435 h 239458"/>
                <a:gd name="connsiteX25" fmla="*/ 123444 w 177641"/>
                <a:gd name="connsiteY25" fmla="*/ 35147 h 239458"/>
                <a:gd name="connsiteX26" fmla="*/ 88868 w 177641"/>
                <a:gd name="connsiteY26" fmla="*/ 29146 h 239458"/>
                <a:gd name="connsiteX27" fmla="*/ 56293 w 177641"/>
                <a:gd name="connsiteY27" fmla="*/ 38767 h 239458"/>
                <a:gd name="connsiteX28" fmla="*/ 44196 w 177641"/>
                <a:gd name="connsiteY28" fmla="*/ 62675 h 239458"/>
                <a:gd name="connsiteX29" fmla="*/ 44196 w 177641"/>
                <a:gd name="connsiteY29" fmla="*/ 63627 h 239458"/>
                <a:gd name="connsiteX30" fmla="*/ 49149 w 177641"/>
                <a:gd name="connsiteY30" fmla="*/ 77724 h 239458"/>
                <a:gd name="connsiteX31" fmla="*/ 62294 w 177641"/>
                <a:gd name="connsiteY31" fmla="*/ 88202 h 239458"/>
                <a:gd name="connsiteX32" fmla="*/ 81248 w 177641"/>
                <a:gd name="connsiteY32" fmla="*/ 96203 h 239458"/>
                <a:gd name="connsiteX33" fmla="*/ 103537 w 177641"/>
                <a:gd name="connsiteY33" fmla="*/ 103346 h 239458"/>
                <a:gd name="connsiteX34" fmla="*/ 130112 w 177641"/>
                <a:gd name="connsiteY34" fmla="*/ 112300 h 239458"/>
                <a:gd name="connsiteX35" fmla="*/ 154019 w 177641"/>
                <a:gd name="connsiteY35" fmla="*/ 124778 h 239458"/>
                <a:gd name="connsiteX36" fmla="*/ 171164 w 177641"/>
                <a:gd name="connsiteY36" fmla="*/ 143066 h 239458"/>
                <a:gd name="connsiteX37" fmla="*/ 177641 w 177641"/>
                <a:gd name="connsiteY37" fmla="*/ 169450 h 239458"/>
                <a:gd name="connsiteX38" fmla="*/ 177641 w 177641"/>
                <a:gd name="connsiteY38" fmla="*/ 170307 h 239458"/>
                <a:gd name="connsiteX39" fmla="*/ 171164 w 177641"/>
                <a:gd name="connsiteY39" fmla="*/ 199549 h 239458"/>
                <a:gd name="connsiteX40" fmla="*/ 153734 w 177641"/>
                <a:gd name="connsiteY40" fmla="*/ 221171 h 239458"/>
                <a:gd name="connsiteX41" fmla="*/ 127825 w 177641"/>
                <a:gd name="connsiteY41" fmla="*/ 234791 h 239458"/>
                <a:gd name="connsiteX42" fmla="*/ 95441 w 177641"/>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641" h="239458">
                  <a:moveTo>
                    <a:pt x="95536" y="239268"/>
                  </a:moveTo>
                  <a:cubicBezTo>
                    <a:pt x="78867" y="239268"/>
                    <a:pt x="62008" y="236220"/>
                    <a:pt x="45053" y="230124"/>
                  </a:cubicBezTo>
                  <a:cubicBezTo>
                    <a:pt x="28099" y="224028"/>
                    <a:pt x="13049" y="215741"/>
                    <a:pt x="0" y="205359"/>
                  </a:cubicBezTo>
                  <a:lnTo>
                    <a:pt x="17431" y="180785"/>
                  </a:lnTo>
                  <a:cubicBezTo>
                    <a:pt x="29908"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542" y="162211"/>
                    <a:pt x="140494" y="158020"/>
                  </a:cubicBezTo>
                  <a:cubicBezTo>
                    <a:pt x="137350" y="153829"/>
                    <a:pt x="133160" y="150209"/>
                    <a:pt x="127730" y="147066"/>
                  </a:cubicBezTo>
                  <a:cubicBezTo>
                    <a:pt x="122396" y="143923"/>
                    <a:pt x="116205" y="141161"/>
                    <a:pt x="109157" y="138779"/>
                  </a:cubicBezTo>
                  <a:cubicBezTo>
                    <a:pt x="102203" y="136398"/>
                    <a:pt x="94964" y="134207"/>
                    <a:pt x="87535" y="132112"/>
                  </a:cubicBezTo>
                  <a:cubicBezTo>
                    <a:pt x="78581" y="129445"/>
                    <a:pt x="69628" y="126492"/>
                    <a:pt x="60484" y="123444"/>
                  </a:cubicBezTo>
                  <a:cubicBezTo>
                    <a:pt x="51435" y="120301"/>
                    <a:pt x="43244" y="116396"/>
                    <a:pt x="35909" y="111633"/>
                  </a:cubicBezTo>
                  <a:cubicBezTo>
                    <a:pt x="28575" y="106871"/>
                    <a:pt x="22670" y="100870"/>
                    <a:pt x="18098" y="93726"/>
                  </a:cubicBezTo>
                  <a:cubicBezTo>
                    <a:pt x="13525" y="86582"/>
                    <a:pt x="11144" y="77629"/>
                    <a:pt x="11144" y="66961"/>
                  </a:cubicBezTo>
                  <a:lnTo>
                    <a:pt x="11144" y="66008"/>
                  </a:lnTo>
                  <a:cubicBezTo>
                    <a:pt x="11144" y="56198"/>
                    <a:pt x="13049" y="47149"/>
                    <a:pt x="16954" y="39053"/>
                  </a:cubicBezTo>
                  <a:cubicBezTo>
                    <a:pt x="20860" y="30861"/>
                    <a:pt x="26289" y="23908"/>
                    <a:pt x="33242" y="18098"/>
                  </a:cubicBezTo>
                  <a:cubicBezTo>
                    <a:pt x="40196" y="12287"/>
                    <a:pt x="48578" y="7811"/>
                    <a:pt x="58293" y="4667"/>
                  </a:cubicBezTo>
                  <a:cubicBezTo>
                    <a:pt x="67913" y="1524"/>
                    <a:pt x="78486" y="0"/>
                    <a:pt x="89725" y="0"/>
                  </a:cubicBezTo>
                  <a:cubicBezTo>
                    <a:pt x="104013" y="0"/>
                    <a:pt x="118396" y="2286"/>
                    <a:pt x="133064" y="6953"/>
                  </a:cubicBezTo>
                  <a:cubicBezTo>
                    <a:pt x="147638" y="11621"/>
                    <a:pt x="160877" y="17717"/>
                    <a:pt x="172784" y="25527"/>
                  </a:cubicBezTo>
                  <a:lnTo>
                    <a:pt x="157163" y="51435"/>
                  </a:lnTo>
                  <a:cubicBezTo>
                    <a:pt x="146399" y="44577"/>
                    <a:pt x="135255" y="39148"/>
                    <a:pt x="123444" y="35147"/>
                  </a:cubicBezTo>
                  <a:cubicBezTo>
                    <a:pt x="111728" y="31147"/>
                    <a:pt x="100203" y="29146"/>
                    <a:pt x="88868" y="29146"/>
                  </a:cubicBezTo>
                  <a:cubicBezTo>
                    <a:pt x="75152" y="29146"/>
                    <a:pt x="64294" y="32385"/>
                    <a:pt x="56293" y="38767"/>
                  </a:cubicBezTo>
                  <a:cubicBezTo>
                    <a:pt x="48292" y="45149"/>
                    <a:pt x="44196" y="53150"/>
                    <a:pt x="44196" y="62675"/>
                  </a:cubicBezTo>
                  <a:lnTo>
                    <a:pt x="44196" y="63627"/>
                  </a:lnTo>
                  <a:cubicBezTo>
                    <a:pt x="44196" y="68961"/>
                    <a:pt x="45815" y="73628"/>
                    <a:pt x="49149" y="77724"/>
                  </a:cubicBezTo>
                  <a:cubicBezTo>
                    <a:pt x="52388" y="81725"/>
                    <a:pt x="56769" y="85249"/>
                    <a:pt x="62294" y="88202"/>
                  </a:cubicBezTo>
                  <a:cubicBezTo>
                    <a:pt x="67818" y="91154"/>
                    <a:pt x="74104" y="93821"/>
                    <a:pt x="81248" y="96203"/>
                  </a:cubicBezTo>
                  <a:cubicBezTo>
                    <a:pt x="88392" y="98584"/>
                    <a:pt x="95821" y="100965"/>
                    <a:pt x="103537" y="103346"/>
                  </a:cubicBezTo>
                  <a:cubicBezTo>
                    <a:pt x="112490" y="106013"/>
                    <a:pt x="121349" y="108966"/>
                    <a:pt x="130112" y="112300"/>
                  </a:cubicBezTo>
                  <a:cubicBezTo>
                    <a:pt x="138875" y="115538"/>
                    <a:pt x="146875" y="119729"/>
                    <a:pt x="154019" y="124778"/>
                  </a:cubicBezTo>
                  <a:cubicBezTo>
                    <a:pt x="161163" y="129826"/>
                    <a:pt x="166878" y="135922"/>
                    <a:pt x="171164" y="143066"/>
                  </a:cubicBezTo>
                  <a:cubicBezTo>
                    <a:pt x="175450" y="150209"/>
                    <a:pt x="177641" y="158972"/>
                    <a:pt x="177641" y="169450"/>
                  </a:cubicBezTo>
                  <a:lnTo>
                    <a:pt x="177641" y="170307"/>
                  </a:lnTo>
                  <a:cubicBezTo>
                    <a:pt x="177641" y="181356"/>
                    <a:pt x="175450" y="191071"/>
                    <a:pt x="171164" y="199549"/>
                  </a:cubicBezTo>
                  <a:cubicBezTo>
                    <a:pt x="166878" y="208026"/>
                    <a:pt x="161068" y="215265"/>
                    <a:pt x="153734" y="221171"/>
                  </a:cubicBezTo>
                  <a:cubicBezTo>
                    <a:pt x="146495" y="227171"/>
                    <a:pt x="137827" y="231648"/>
                    <a:pt x="127825" y="234791"/>
                  </a:cubicBezTo>
                  <a:cubicBezTo>
                    <a:pt x="117824" y="237935"/>
                    <a:pt x="107061" y="239459"/>
                    <a:pt x="95441" y="239459"/>
                  </a:cubicBezTo>
                  <a:close/>
                </a:path>
              </a:pathLst>
            </a:custGeom>
            <a:solidFill>
              <a:srgbClr val="44505E"/>
            </a:solidFill>
            <a:ln w="9525" cap="flat">
              <a:noFill/>
              <a:prstDash val="solid"/>
              <a:miter/>
            </a:ln>
          </p:spPr>
          <p:txBody>
            <a:bodyPr rtlCol="0" anchor="ctr"/>
            <a:lstStyle/>
            <a:p>
              <a:endParaRPr lang="pt-BR" noProof="0"/>
            </a:p>
          </p:txBody>
        </p:sp>
        <p:sp>
          <p:nvSpPr>
            <p:cNvPr id="28" name="Freeform: Shape 40">
              <a:extLst>
                <a:ext uri="{FF2B5EF4-FFF2-40B4-BE49-F238E27FC236}">
                  <a16:creationId xmlns:a16="http://schemas.microsoft.com/office/drawing/2014/main" id="{8E530456-D85A-B459-A1A3-1133090E52BB}"/>
                </a:ext>
              </a:extLst>
            </p:cNvPr>
            <p:cNvSpPr/>
            <p:nvPr/>
          </p:nvSpPr>
          <p:spPr>
            <a:xfrm>
              <a:off x="5752668" y="924028"/>
              <a:ext cx="58567" cy="77196"/>
            </a:xfrm>
            <a:custGeom>
              <a:avLst/>
              <a:gdLst>
                <a:gd name="connsiteX0" fmla="*/ 198596 w 232981"/>
                <a:gd name="connsiteY0" fmla="*/ 189357 h 307085"/>
                <a:gd name="connsiteX1" fmla="*/ 182785 w 232981"/>
                <a:gd name="connsiteY1" fmla="*/ 208978 h 307085"/>
                <a:gd name="connsiteX2" fmla="*/ 163354 w 232981"/>
                <a:gd name="connsiteY2" fmla="*/ 225552 h 307085"/>
                <a:gd name="connsiteX3" fmla="*/ 139446 w 232981"/>
                <a:gd name="connsiteY3" fmla="*/ 236696 h 307085"/>
                <a:gd name="connsiteX4" fmla="*/ 110204 w 232981"/>
                <a:gd name="connsiteY4" fmla="*/ 240697 h 307085"/>
                <a:gd name="connsiteX5" fmla="*/ 69628 w 232981"/>
                <a:gd name="connsiteY5" fmla="*/ 232696 h 307085"/>
                <a:gd name="connsiteX6" fmla="*/ 34385 w 232981"/>
                <a:gd name="connsiteY6" fmla="*/ 209264 h 307085"/>
                <a:gd name="connsiteX7" fmla="*/ 9335 w 232981"/>
                <a:gd name="connsiteY7" fmla="*/ 171736 h 307085"/>
                <a:gd name="connsiteX8" fmla="*/ 0 w 232981"/>
                <a:gd name="connsiteY8" fmla="*/ 121063 h 307085"/>
                <a:gd name="connsiteX9" fmla="*/ 0 w 232981"/>
                <a:gd name="connsiteY9" fmla="*/ 120205 h 307085"/>
                <a:gd name="connsiteX10" fmla="*/ 9335 w 232981"/>
                <a:gd name="connsiteY10" fmla="*/ 69723 h 307085"/>
                <a:gd name="connsiteX11" fmla="*/ 34385 w 232981"/>
                <a:gd name="connsiteY11" fmla="*/ 32004 h 307085"/>
                <a:gd name="connsiteX12" fmla="*/ 69628 w 232981"/>
                <a:gd name="connsiteY12" fmla="*/ 8287 h 307085"/>
                <a:gd name="connsiteX13" fmla="*/ 110204 w 232981"/>
                <a:gd name="connsiteY13" fmla="*/ 0 h 307085"/>
                <a:gd name="connsiteX14" fmla="*/ 139637 w 232981"/>
                <a:gd name="connsiteY14" fmla="*/ 4000 h 307085"/>
                <a:gd name="connsiteX15" fmla="*/ 163735 w 232981"/>
                <a:gd name="connsiteY15" fmla="*/ 14668 h 307085"/>
                <a:gd name="connsiteX16" fmla="*/ 183166 w 232981"/>
                <a:gd name="connsiteY16" fmla="*/ 30289 h 307085"/>
                <a:gd name="connsiteX17" fmla="*/ 198596 w 232981"/>
                <a:gd name="connsiteY17" fmla="*/ 49054 h 307085"/>
                <a:gd name="connsiteX18" fmla="*/ 198596 w 232981"/>
                <a:gd name="connsiteY18" fmla="*/ 4858 h 307085"/>
                <a:gd name="connsiteX19" fmla="*/ 232982 w 232981"/>
                <a:gd name="connsiteY19" fmla="*/ 4858 h 307085"/>
                <a:gd name="connsiteX20" fmla="*/ 232982 w 232981"/>
                <a:gd name="connsiteY20" fmla="*/ 307086 h 307085"/>
                <a:gd name="connsiteX21" fmla="*/ 198596 w 232981"/>
                <a:gd name="connsiteY21" fmla="*/ 307086 h 307085"/>
                <a:gd name="connsiteX22" fmla="*/ 198596 w 232981"/>
                <a:gd name="connsiteY22" fmla="*/ 189262 h 307085"/>
                <a:gd name="connsiteX23" fmla="*/ 116491 w 232981"/>
                <a:gd name="connsiteY23" fmla="*/ 209931 h 307085"/>
                <a:gd name="connsiteX24" fmla="*/ 147542 w 232981"/>
                <a:gd name="connsiteY24" fmla="*/ 203454 h 307085"/>
                <a:gd name="connsiteX25" fmla="*/ 174308 w 232981"/>
                <a:gd name="connsiteY25" fmla="*/ 185166 h 307085"/>
                <a:gd name="connsiteX26" fmla="*/ 193072 w 232981"/>
                <a:gd name="connsiteY26" fmla="*/ 157067 h 307085"/>
                <a:gd name="connsiteX27" fmla="*/ 200025 w 232981"/>
                <a:gd name="connsiteY27" fmla="*/ 120682 h 307085"/>
                <a:gd name="connsiteX28" fmla="*/ 200025 w 232981"/>
                <a:gd name="connsiteY28" fmla="*/ 119824 h 307085"/>
                <a:gd name="connsiteX29" fmla="*/ 193072 w 232981"/>
                <a:gd name="connsiteY29" fmla="*/ 83439 h 307085"/>
                <a:gd name="connsiteX30" fmla="*/ 174308 w 232981"/>
                <a:gd name="connsiteY30" fmla="*/ 55531 h 307085"/>
                <a:gd name="connsiteX31" fmla="*/ 147542 w 232981"/>
                <a:gd name="connsiteY31" fmla="*/ 37433 h 307085"/>
                <a:gd name="connsiteX32" fmla="*/ 116491 w 232981"/>
                <a:gd name="connsiteY32" fmla="*/ 30956 h 307085"/>
                <a:gd name="connsiteX33" fmla="*/ 84773 w 232981"/>
                <a:gd name="connsiteY33" fmla="*/ 36957 h 307085"/>
                <a:gd name="connsiteX34" fmla="*/ 59150 w 232981"/>
                <a:gd name="connsiteY34" fmla="*/ 54388 h 307085"/>
                <a:gd name="connsiteX35" fmla="*/ 41720 w 232981"/>
                <a:gd name="connsiteY35" fmla="*/ 82296 h 307085"/>
                <a:gd name="connsiteX36" fmla="*/ 35242 w 232981"/>
                <a:gd name="connsiteY36" fmla="*/ 119824 h 307085"/>
                <a:gd name="connsiteX37" fmla="*/ 35242 w 232981"/>
                <a:gd name="connsiteY37" fmla="*/ 120682 h 307085"/>
                <a:gd name="connsiteX38" fmla="*/ 41720 w 232981"/>
                <a:gd name="connsiteY38" fmla="*/ 157734 h 307085"/>
                <a:gd name="connsiteX39" fmla="*/ 59341 w 232981"/>
                <a:gd name="connsiteY39" fmla="*/ 185833 h 307085"/>
                <a:gd name="connsiteX40" fmla="*/ 85249 w 232981"/>
                <a:gd name="connsiteY40" fmla="*/ 203740 h 307085"/>
                <a:gd name="connsiteX41" fmla="*/ 116491 w 232981"/>
                <a:gd name="connsiteY41" fmla="*/ 210026 h 30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07085">
                  <a:moveTo>
                    <a:pt x="198596" y="189357"/>
                  </a:moveTo>
                  <a:cubicBezTo>
                    <a:pt x="193834" y="196215"/>
                    <a:pt x="188595" y="202787"/>
                    <a:pt x="182785" y="208978"/>
                  </a:cubicBezTo>
                  <a:cubicBezTo>
                    <a:pt x="176975" y="215265"/>
                    <a:pt x="170498" y="220789"/>
                    <a:pt x="163354" y="225552"/>
                  </a:cubicBezTo>
                  <a:cubicBezTo>
                    <a:pt x="156210" y="230314"/>
                    <a:pt x="148209" y="234029"/>
                    <a:pt x="139446" y="236696"/>
                  </a:cubicBezTo>
                  <a:cubicBezTo>
                    <a:pt x="130683" y="239363"/>
                    <a:pt x="120967" y="240697"/>
                    <a:pt x="110204" y="240697"/>
                  </a:cubicBezTo>
                  <a:cubicBezTo>
                    <a:pt x="96203" y="240697"/>
                    <a:pt x="82677" y="238030"/>
                    <a:pt x="69628" y="232696"/>
                  </a:cubicBezTo>
                  <a:cubicBezTo>
                    <a:pt x="56579" y="227362"/>
                    <a:pt x="44767" y="219551"/>
                    <a:pt x="34385" y="209264"/>
                  </a:cubicBezTo>
                  <a:cubicBezTo>
                    <a:pt x="24003" y="198977"/>
                    <a:pt x="15621" y="186499"/>
                    <a:pt x="9335" y="171736"/>
                  </a:cubicBezTo>
                  <a:cubicBezTo>
                    <a:pt x="3048" y="156972"/>
                    <a:pt x="0" y="140113"/>
                    <a:pt x="0" y="121063"/>
                  </a:cubicBezTo>
                  <a:lnTo>
                    <a:pt x="0" y="120205"/>
                  </a:lnTo>
                  <a:cubicBezTo>
                    <a:pt x="0" y="101441"/>
                    <a:pt x="3143" y="84677"/>
                    <a:pt x="9335" y="69723"/>
                  </a:cubicBezTo>
                  <a:cubicBezTo>
                    <a:pt x="15621" y="54864"/>
                    <a:pt x="23908" y="42291"/>
                    <a:pt x="34385" y="32004"/>
                  </a:cubicBezTo>
                  <a:cubicBezTo>
                    <a:pt x="44767" y="21717"/>
                    <a:pt x="56579" y="13811"/>
                    <a:pt x="69628" y="8287"/>
                  </a:cubicBezTo>
                  <a:cubicBezTo>
                    <a:pt x="82677" y="2762"/>
                    <a:pt x="96298" y="0"/>
                    <a:pt x="110204" y="0"/>
                  </a:cubicBezTo>
                  <a:cubicBezTo>
                    <a:pt x="120967" y="0"/>
                    <a:pt x="130778" y="1333"/>
                    <a:pt x="139637" y="4000"/>
                  </a:cubicBezTo>
                  <a:cubicBezTo>
                    <a:pt x="148590" y="6667"/>
                    <a:pt x="156591" y="10287"/>
                    <a:pt x="163735" y="14668"/>
                  </a:cubicBezTo>
                  <a:cubicBezTo>
                    <a:pt x="170879" y="19145"/>
                    <a:pt x="177356" y="24384"/>
                    <a:pt x="183166" y="30289"/>
                  </a:cubicBezTo>
                  <a:cubicBezTo>
                    <a:pt x="188976" y="36290"/>
                    <a:pt x="194120" y="42481"/>
                    <a:pt x="198596" y="49054"/>
                  </a:cubicBezTo>
                  <a:lnTo>
                    <a:pt x="198596" y="4858"/>
                  </a:lnTo>
                  <a:lnTo>
                    <a:pt x="232982" y="4858"/>
                  </a:lnTo>
                  <a:lnTo>
                    <a:pt x="232982" y="307086"/>
                  </a:lnTo>
                  <a:lnTo>
                    <a:pt x="198596" y="307086"/>
                  </a:lnTo>
                  <a:lnTo>
                    <a:pt x="198596" y="189262"/>
                  </a:lnTo>
                  <a:close/>
                  <a:moveTo>
                    <a:pt x="116491" y="209931"/>
                  </a:moveTo>
                  <a:cubicBezTo>
                    <a:pt x="127159" y="209931"/>
                    <a:pt x="137541" y="207740"/>
                    <a:pt x="147542" y="203454"/>
                  </a:cubicBezTo>
                  <a:cubicBezTo>
                    <a:pt x="157544" y="199168"/>
                    <a:pt x="166402" y="193072"/>
                    <a:pt x="174308" y="185166"/>
                  </a:cubicBezTo>
                  <a:cubicBezTo>
                    <a:pt x="182213" y="177260"/>
                    <a:pt x="188404" y="167926"/>
                    <a:pt x="193072" y="157067"/>
                  </a:cubicBezTo>
                  <a:cubicBezTo>
                    <a:pt x="197739" y="146209"/>
                    <a:pt x="200025" y="134112"/>
                    <a:pt x="200025" y="120682"/>
                  </a:cubicBezTo>
                  <a:lnTo>
                    <a:pt x="200025" y="119824"/>
                  </a:lnTo>
                  <a:cubicBezTo>
                    <a:pt x="200025" y="106394"/>
                    <a:pt x="197739" y="94297"/>
                    <a:pt x="193072" y="83439"/>
                  </a:cubicBezTo>
                  <a:cubicBezTo>
                    <a:pt x="188500" y="72580"/>
                    <a:pt x="182213" y="63246"/>
                    <a:pt x="174308" y="55531"/>
                  </a:cubicBezTo>
                  <a:cubicBezTo>
                    <a:pt x="166402" y="47815"/>
                    <a:pt x="157544" y="41815"/>
                    <a:pt x="147542" y="37433"/>
                  </a:cubicBezTo>
                  <a:cubicBezTo>
                    <a:pt x="137541" y="33147"/>
                    <a:pt x="127254" y="30956"/>
                    <a:pt x="116491" y="30956"/>
                  </a:cubicBezTo>
                  <a:cubicBezTo>
                    <a:pt x="105156" y="30956"/>
                    <a:pt x="94583" y="32956"/>
                    <a:pt x="84773" y="36957"/>
                  </a:cubicBezTo>
                  <a:cubicBezTo>
                    <a:pt x="74962" y="40957"/>
                    <a:pt x="66389" y="46767"/>
                    <a:pt x="59150" y="54388"/>
                  </a:cubicBezTo>
                  <a:cubicBezTo>
                    <a:pt x="51816" y="61913"/>
                    <a:pt x="46101" y="71247"/>
                    <a:pt x="41720" y="82296"/>
                  </a:cubicBezTo>
                  <a:cubicBezTo>
                    <a:pt x="37433" y="93250"/>
                    <a:pt x="35242" y="105823"/>
                    <a:pt x="35242" y="119824"/>
                  </a:cubicBezTo>
                  <a:lnTo>
                    <a:pt x="35242" y="120682"/>
                  </a:lnTo>
                  <a:cubicBezTo>
                    <a:pt x="35242" y="134398"/>
                    <a:pt x="37433" y="146780"/>
                    <a:pt x="41720" y="157734"/>
                  </a:cubicBezTo>
                  <a:cubicBezTo>
                    <a:pt x="46006" y="168783"/>
                    <a:pt x="51911" y="178117"/>
                    <a:pt x="59341" y="185833"/>
                  </a:cubicBezTo>
                  <a:cubicBezTo>
                    <a:pt x="66770" y="193548"/>
                    <a:pt x="75438" y="199549"/>
                    <a:pt x="85249" y="203740"/>
                  </a:cubicBezTo>
                  <a:cubicBezTo>
                    <a:pt x="95060" y="207931"/>
                    <a:pt x="105442" y="210026"/>
                    <a:pt x="116491" y="210026"/>
                  </a:cubicBezTo>
                  <a:close/>
                </a:path>
              </a:pathLst>
            </a:custGeom>
            <a:solidFill>
              <a:srgbClr val="44505E"/>
            </a:solidFill>
            <a:ln w="9525" cap="flat">
              <a:noFill/>
              <a:prstDash val="solid"/>
              <a:miter/>
            </a:ln>
          </p:spPr>
          <p:txBody>
            <a:bodyPr rtlCol="0" anchor="ctr"/>
            <a:lstStyle/>
            <a:p>
              <a:endParaRPr lang="pt-BR" noProof="0"/>
            </a:p>
          </p:txBody>
        </p:sp>
        <p:sp>
          <p:nvSpPr>
            <p:cNvPr id="29" name="Freeform: Shape 41">
              <a:extLst>
                <a:ext uri="{FF2B5EF4-FFF2-40B4-BE49-F238E27FC236}">
                  <a16:creationId xmlns:a16="http://schemas.microsoft.com/office/drawing/2014/main" id="{811A123C-F7E4-576F-6737-FF898B0E528A}"/>
                </a:ext>
              </a:extLst>
            </p:cNvPr>
            <p:cNvSpPr/>
            <p:nvPr/>
          </p:nvSpPr>
          <p:spPr>
            <a:xfrm>
              <a:off x="5829624" y="925297"/>
              <a:ext cx="50618" cy="59238"/>
            </a:xfrm>
            <a:custGeom>
              <a:avLst/>
              <a:gdLst>
                <a:gd name="connsiteX0" fmla="*/ 88392 w 201358"/>
                <a:gd name="connsiteY0" fmla="*/ 235648 h 235648"/>
                <a:gd name="connsiteX1" fmla="*/ 51149 w 201358"/>
                <a:gd name="connsiteY1" fmla="*/ 228981 h 235648"/>
                <a:gd name="connsiteX2" fmla="*/ 23432 w 201358"/>
                <a:gd name="connsiteY2" fmla="*/ 210026 h 235648"/>
                <a:gd name="connsiteX3" fmla="*/ 6001 w 201358"/>
                <a:gd name="connsiteY3" fmla="*/ 180784 h 235648"/>
                <a:gd name="connsiteX4" fmla="*/ 0 w 201358"/>
                <a:gd name="connsiteY4" fmla="*/ 143256 h 235648"/>
                <a:gd name="connsiteX5" fmla="*/ 0 w 201358"/>
                <a:gd name="connsiteY5" fmla="*/ 0 h 235648"/>
                <a:gd name="connsiteX6" fmla="*/ 34385 w 201358"/>
                <a:gd name="connsiteY6" fmla="*/ 0 h 235648"/>
                <a:gd name="connsiteX7" fmla="*/ 34385 w 201358"/>
                <a:gd name="connsiteY7" fmla="*/ 134493 h 235648"/>
                <a:gd name="connsiteX8" fmla="*/ 50959 w 201358"/>
                <a:gd name="connsiteY8" fmla="*/ 185261 h 235648"/>
                <a:gd name="connsiteX9" fmla="*/ 98298 w 201358"/>
                <a:gd name="connsiteY9" fmla="*/ 203930 h 235648"/>
                <a:gd name="connsiteX10" fmla="*/ 125730 w 201358"/>
                <a:gd name="connsiteY10" fmla="*/ 198787 h 235648"/>
                <a:gd name="connsiteX11" fmla="*/ 147638 w 201358"/>
                <a:gd name="connsiteY11" fmla="*/ 184118 h 235648"/>
                <a:gd name="connsiteX12" fmla="*/ 162116 w 201358"/>
                <a:gd name="connsiteY12" fmla="*/ 161163 h 235648"/>
                <a:gd name="connsiteX13" fmla="*/ 167450 w 201358"/>
                <a:gd name="connsiteY13" fmla="*/ 131826 h 235648"/>
                <a:gd name="connsiteX14" fmla="*/ 167450 w 201358"/>
                <a:gd name="connsiteY14" fmla="*/ 0 h 235648"/>
                <a:gd name="connsiteX15" fmla="*/ 201359 w 201358"/>
                <a:gd name="connsiteY15" fmla="*/ 0 h 235648"/>
                <a:gd name="connsiteX16" fmla="*/ 201359 w 201358"/>
                <a:gd name="connsiteY16" fmla="*/ 230791 h 235648"/>
                <a:gd name="connsiteX17" fmla="*/ 167450 w 201358"/>
                <a:gd name="connsiteY17" fmla="*/ 230791 h 235648"/>
                <a:gd name="connsiteX18" fmla="*/ 167450 w 201358"/>
                <a:gd name="connsiteY18" fmla="*/ 190595 h 235648"/>
                <a:gd name="connsiteX19" fmla="*/ 137065 w 201358"/>
                <a:gd name="connsiteY19" fmla="*/ 222504 h 235648"/>
                <a:gd name="connsiteX20" fmla="*/ 88392 w 201358"/>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358" h="235648">
                  <a:moveTo>
                    <a:pt x="88392" y="235648"/>
                  </a:moveTo>
                  <a:cubicBezTo>
                    <a:pt x="74390" y="235648"/>
                    <a:pt x="62008" y="233363"/>
                    <a:pt x="51149" y="228981"/>
                  </a:cubicBezTo>
                  <a:cubicBezTo>
                    <a:pt x="40291" y="224504"/>
                    <a:pt x="31052" y="218218"/>
                    <a:pt x="23432"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959" y="185261"/>
                  </a:cubicBezTo>
                  <a:cubicBezTo>
                    <a:pt x="61913" y="197739"/>
                    <a:pt x="77724" y="203930"/>
                    <a:pt x="98298" y="203930"/>
                  </a:cubicBezTo>
                  <a:cubicBezTo>
                    <a:pt x="108109" y="203930"/>
                    <a:pt x="117253" y="202216"/>
                    <a:pt x="125730" y="198787"/>
                  </a:cubicBezTo>
                  <a:cubicBezTo>
                    <a:pt x="134207" y="195358"/>
                    <a:pt x="141446" y="190500"/>
                    <a:pt x="147638" y="184118"/>
                  </a:cubicBezTo>
                  <a:cubicBezTo>
                    <a:pt x="153734" y="177736"/>
                    <a:pt x="158591" y="170116"/>
                    <a:pt x="162116" y="161163"/>
                  </a:cubicBezTo>
                  <a:cubicBezTo>
                    <a:pt x="165735" y="152305"/>
                    <a:pt x="167450" y="142494"/>
                    <a:pt x="167450" y="131826"/>
                  </a:cubicBezTo>
                  <a:lnTo>
                    <a:pt x="167450" y="0"/>
                  </a:lnTo>
                  <a:lnTo>
                    <a:pt x="201359" y="0"/>
                  </a:lnTo>
                  <a:lnTo>
                    <a:pt x="201359" y="230791"/>
                  </a:lnTo>
                  <a:lnTo>
                    <a:pt x="167450" y="230791"/>
                  </a:lnTo>
                  <a:lnTo>
                    <a:pt x="167450" y="190595"/>
                  </a:lnTo>
                  <a:cubicBezTo>
                    <a:pt x="159734" y="203073"/>
                    <a:pt x="149543" y="213741"/>
                    <a:pt x="137065" y="222504"/>
                  </a:cubicBezTo>
                  <a:cubicBezTo>
                    <a:pt x="124587" y="231267"/>
                    <a:pt x="108395" y="235648"/>
                    <a:pt x="88392" y="235648"/>
                  </a:cubicBezTo>
                  <a:close/>
                </a:path>
              </a:pathLst>
            </a:custGeom>
            <a:solidFill>
              <a:srgbClr val="44505E"/>
            </a:solidFill>
            <a:ln w="9525" cap="flat">
              <a:noFill/>
              <a:prstDash val="solid"/>
              <a:miter/>
            </a:ln>
          </p:spPr>
          <p:txBody>
            <a:bodyPr rtlCol="0" anchor="ctr"/>
            <a:lstStyle/>
            <a:p>
              <a:endParaRPr lang="pt-BR" noProof="0"/>
            </a:p>
          </p:txBody>
        </p:sp>
        <p:sp>
          <p:nvSpPr>
            <p:cNvPr id="30" name="Freeform: Shape 42">
              <a:extLst>
                <a:ext uri="{FF2B5EF4-FFF2-40B4-BE49-F238E27FC236}">
                  <a16:creationId xmlns:a16="http://schemas.microsoft.com/office/drawing/2014/main" id="{702FFDB2-A11C-6241-D210-3E18204D7B09}"/>
                </a:ext>
              </a:extLst>
            </p:cNvPr>
            <p:cNvSpPr/>
            <p:nvPr/>
          </p:nvSpPr>
          <p:spPr>
            <a:xfrm>
              <a:off x="5896069"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7059 w 218217"/>
                <a:gd name="connsiteY3" fmla="*/ 206026 h 241077"/>
                <a:gd name="connsiteX4" fmla="*/ 116110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7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0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356 w 218217"/>
                <a:gd name="connsiteY25" fmla="*/ 106299 h 241077"/>
                <a:gd name="connsiteX26" fmla="*/ 176689 w 218217"/>
                <a:gd name="connsiteY26" fmla="*/ 76771 h 241077"/>
                <a:gd name="connsiteX27" fmla="*/ 162211 w 218217"/>
                <a:gd name="connsiteY27" fmla="*/ 52101 h 241077"/>
                <a:gd name="connsiteX28" fmla="*/ 139922 w 218217"/>
                <a:gd name="connsiteY28" fmla="*/ 35242 h 241077"/>
                <a:gd name="connsiteX29" fmla="*/ 109823 w 218217"/>
                <a:gd name="connsiteY29" fmla="*/ 29051 h 241077"/>
                <a:gd name="connsiteX30" fmla="*/ 82105 w 218217"/>
                <a:gd name="connsiteY30" fmla="*/ 34766 h 241077"/>
                <a:gd name="connsiteX31" fmla="*/ 59341 w 218217"/>
                <a:gd name="connsiteY31" fmla="*/ 50959 h 241077"/>
                <a:gd name="connsiteX32" fmla="*/ 43053 w 218217"/>
                <a:gd name="connsiteY32" fmla="*/ 75628 h 241077"/>
                <a:gd name="connsiteX33" fmla="*/ 34766 w 218217"/>
                <a:gd name="connsiteY33" fmla="*/ 106204 h 241077"/>
                <a:gd name="connsiteX34" fmla="*/ 183356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819" y="202597"/>
                    <a:pt x="87059" y="206026"/>
                  </a:cubicBezTo>
                  <a:cubicBezTo>
                    <a:pt x="96298" y="209455"/>
                    <a:pt x="105918" y="211169"/>
                    <a:pt x="116110" y="211169"/>
                  </a:cubicBezTo>
                  <a:cubicBezTo>
                    <a:pt x="132207" y="211169"/>
                    <a:pt x="145923" y="208216"/>
                    <a:pt x="157353" y="202216"/>
                  </a:cubicBezTo>
                  <a:cubicBezTo>
                    <a:pt x="168783" y="196310"/>
                    <a:pt x="179261" y="188404"/>
                    <a:pt x="188786" y="178594"/>
                  </a:cubicBezTo>
                  <a:lnTo>
                    <a:pt x="210217" y="197834"/>
                  </a:lnTo>
                  <a:cubicBezTo>
                    <a:pt x="198596" y="210979"/>
                    <a:pt x="185356" y="221361"/>
                    <a:pt x="170497" y="229267"/>
                  </a:cubicBezTo>
                  <a:cubicBezTo>
                    <a:pt x="155638"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583" y="0"/>
                    <a:pt x="110680"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356" y="106299"/>
                  </a:moveTo>
                  <a:cubicBezTo>
                    <a:pt x="182499" y="95917"/>
                    <a:pt x="180213" y="86106"/>
                    <a:pt x="176689" y="76771"/>
                  </a:cubicBezTo>
                  <a:cubicBezTo>
                    <a:pt x="173069" y="67437"/>
                    <a:pt x="168307" y="59245"/>
                    <a:pt x="162211" y="52101"/>
                  </a:cubicBezTo>
                  <a:cubicBezTo>
                    <a:pt x="156115" y="44958"/>
                    <a:pt x="148685" y="39338"/>
                    <a:pt x="139922" y="35242"/>
                  </a:cubicBezTo>
                  <a:cubicBezTo>
                    <a:pt x="131159" y="31147"/>
                    <a:pt x="121063" y="29051"/>
                    <a:pt x="109823" y="29051"/>
                  </a:cubicBezTo>
                  <a:cubicBezTo>
                    <a:pt x="100013" y="29051"/>
                    <a:pt x="90773" y="30956"/>
                    <a:pt x="82105" y="34766"/>
                  </a:cubicBezTo>
                  <a:cubicBezTo>
                    <a:pt x="73438" y="38671"/>
                    <a:pt x="65913" y="44005"/>
                    <a:pt x="59341" y="50959"/>
                  </a:cubicBezTo>
                  <a:cubicBezTo>
                    <a:pt x="52769" y="57912"/>
                    <a:pt x="47339" y="66103"/>
                    <a:pt x="43053" y="75628"/>
                  </a:cubicBezTo>
                  <a:cubicBezTo>
                    <a:pt x="38767" y="85058"/>
                    <a:pt x="36004" y="95345"/>
                    <a:pt x="34766" y="106204"/>
                  </a:cubicBezTo>
                  <a:lnTo>
                    <a:pt x="183356" y="106204"/>
                  </a:lnTo>
                  <a:close/>
                </a:path>
              </a:pathLst>
            </a:custGeom>
            <a:solidFill>
              <a:srgbClr val="44505E"/>
            </a:solidFill>
            <a:ln w="9525" cap="flat">
              <a:noFill/>
              <a:prstDash val="solid"/>
              <a:miter/>
            </a:ln>
          </p:spPr>
          <p:txBody>
            <a:bodyPr rtlCol="0" anchor="ctr"/>
            <a:lstStyle/>
            <a:p>
              <a:endParaRPr lang="pt-BR" noProof="0"/>
            </a:p>
          </p:txBody>
        </p:sp>
        <p:sp>
          <p:nvSpPr>
            <p:cNvPr id="31" name="Freeform: Shape 43">
              <a:extLst>
                <a:ext uri="{FF2B5EF4-FFF2-40B4-BE49-F238E27FC236}">
                  <a16:creationId xmlns:a16="http://schemas.microsoft.com/office/drawing/2014/main" id="{B407E2C8-C9FF-AECF-E625-D1700EA4C1C2}"/>
                </a:ext>
              </a:extLst>
            </p:cNvPr>
            <p:cNvSpPr/>
            <p:nvPr/>
          </p:nvSpPr>
          <p:spPr>
            <a:xfrm>
              <a:off x="5994910" y="924268"/>
              <a:ext cx="44680" cy="60195"/>
            </a:xfrm>
            <a:custGeom>
              <a:avLst/>
              <a:gdLst>
                <a:gd name="connsiteX0" fmla="*/ 95536 w 177736"/>
                <a:gd name="connsiteY0" fmla="*/ 239268 h 239458"/>
                <a:gd name="connsiteX1" fmla="*/ 45053 w 177736"/>
                <a:gd name="connsiteY1" fmla="*/ 230124 h 239458"/>
                <a:gd name="connsiteX2" fmla="*/ 0 w 177736"/>
                <a:gd name="connsiteY2" fmla="*/ 205359 h 239458"/>
                <a:gd name="connsiteX3" fmla="*/ 17431 w 177736"/>
                <a:gd name="connsiteY3" fmla="*/ 180785 h 239458"/>
                <a:gd name="connsiteX4" fmla="*/ 56483 w 177736"/>
                <a:gd name="connsiteY4" fmla="*/ 202692 h 239458"/>
                <a:gd name="connsiteX5" fmla="*/ 97346 w 177736"/>
                <a:gd name="connsiteY5" fmla="*/ 210217 h 239458"/>
                <a:gd name="connsiteX6" fmla="*/ 131731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730 w 177736"/>
                <a:gd name="connsiteY10" fmla="*/ 147066 h 239458"/>
                <a:gd name="connsiteX11" fmla="*/ 109252 w 177736"/>
                <a:gd name="connsiteY11" fmla="*/ 138779 h 239458"/>
                <a:gd name="connsiteX12" fmla="*/ 87630 w 177736"/>
                <a:gd name="connsiteY12" fmla="*/ 132112 h 239458"/>
                <a:gd name="connsiteX13" fmla="*/ 60674 w 177736"/>
                <a:gd name="connsiteY13" fmla="*/ 123444 h 239458"/>
                <a:gd name="connsiteX14" fmla="*/ 36100 w 177736"/>
                <a:gd name="connsiteY14" fmla="*/ 111633 h 239458"/>
                <a:gd name="connsiteX15" fmla="*/ 18193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60 w 177736"/>
                <a:gd name="connsiteY22" fmla="*/ 6953 h 239458"/>
                <a:gd name="connsiteX23" fmla="*/ 172879 w 177736"/>
                <a:gd name="connsiteY23" fmla="*/ 25527 h 239458"/>
                <a:gd name="connsiteX24" fmla="*/ 157258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4 w 177736"/>
                <a:gd name="connsiteY32" fmla="*/ 96203 h 239458"/>
                <a:gd name="connsiteX33" fmla="*/ 103632 w 177736"/>
                <a:gd name="connsiteY33" fmla="*/ 103346 h 239458"/>
                <a:gd name="connsiteX34" fmla="*/ 130207 w 177736"/>
                <a:gd name="connsiteY34" fmla="*/ 112300 h 239458"/>
                <a:gd name="connsiteX35" fmla="*/ 154114 w 177736"/>
                <a:gd name="connsiteY35" fmla="*/ 124778 h 239458"/>
                <a:gd name="connsiteX36" fmla="*/ 171260 w 177736"/>
                <a:gd name="connsiteY36" fmla="*/ 143066 h 239458"/>
                <a:gd name="connsiteX37" fmla="*/ 177737 w 177736"/>
                <a:gd name="connsiteY37" fmla="*/ 169450 h 239458"/>
                <a:gd name="connsiteX38" fmla="*/ 177737 w 177736"/>
                <a:gd name="connsiteY38" fmla="*/ 170307 h 239458"/>
                <a:gd name="connsiteX39" fmla="*/ 171260 w 177736"/>
                <a:gd name="connsiteY39" fmla="*/ 199549 h 239458"/>
                <a:gd name="connsiteX40" fmla="*/ 153829 w 177736"/>
                <a:gd name="connsiteY40" fmla="*/ 221171 h 239458"/>
                <a:gd name="connsiteX41" fmla="*/ 127921 w 177736"/>
                <a:gd name="connsiteY41" fmla="*/ 234791 h 239458"/>
                <a:gd name="connsiteX42" fmla="*/ 95536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6" y="239268"/>
                  </a:moveTo>
                  <a:cubicBezTo>
                    <a:pt x="78867" y="239268"/>
                    <a:pt x="62008" y="236220"/>
                    <a:pt x="45053" y="230124"/>
                  </a:cubicBezTo>
                  <a:cubicBezTo>
                    <a:pt x="28099" y="224028"/>
                    <a:pt x="13049" y="215741"/>
                    <a:pt x="0" y="205359"/>
                  </a:cubicBezTo>
                  <a:lnTo>
                    <a:pt x="17431" y="180785"/>
                  </a:lnTo>
                  <a:cubicBezTo>
                    <a:pt x="29909"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637" y="162211"/>
                    <a:pt x="140494" y="158020"/>
                  </a:cubicBezTo>
                  <a:cubicBezTo>
                    <a:pt x="137351" y="153829"/>
                    <a:pt x="133160" y="150209"/>
                    <a:pt x="127730" y="147066"/>
                  </a:cubicBezTo>
                  <a:cubicBezTo>
                    <a:pt x="122396" y="143923"/>
                    <a:pt x="116205" y="141161"/>
                    <a:pt x="109252" y="138779"/>
                  </a:cubicBezTo>
                  <a:cubicBezTo>
                    <a:pt x="102299" y="136398"/>
                    <a:pt x="95060" y="134207"/>
                    <a:pt x="87630" y="132112"/>
                  </a:cubicBezTo>
                  <a:cubicBezTo>
                    <a:pt x="78677" y="129445"/>
                    <a:pt x="69723" y="126492"/>
                    <a:pt x="60674" y="123444"/>
                  </a:cubicBezTo>
                  <a:cubicBezTo>
                    <a:pt x="51626" y="120301"/>
                    <a:pt x="43434" y="116396"/>
                    <a:pt x="36100" y="111633"/>
                  </a:cubicBezTo>
                  <a:cubicBezTo>
                    <a:pt x="28766" y="106871"/>
                    <a:pt x="22860" y="100870"/>
                    <a:pt x="18193" y="93726"/>
                  </a:cubicBezTo>
                  <a:cubicBezTo>
                    <a:pt x="13621" y="86582"/>
                    <a:pt x="11239" y="77629"/>
                    <a:pt x="11239" y="66961"/>
                  </a:cubicBezTo>
                  <a:lnTo>
                    <a:pt x="11239" y="66008"/>
                  </a:lnTo>
                  <a:cubicBezTo>
                    <a:pt x="11239" y="56198"/>
                    <a:pt x="13145" y="47149"/>
                    <a:pt x="17050" y="39053"/>
                  </a:cubicBezTo>
                  <a:cubicBezTo>
                    <a:pt x="20860" y="30861"/>
                    <a:pt x="26289" y="23908"/>
                    <a:pt x="33338" y="18098"/>
                  </a:cubicBezTo>
                  <a:cubicBezTo>
                    <a:pt x="40291" y="12287"/>
                    <a:pt x="48673" y="7811"/>
                    <a:pt x="58388" y="4667"/>
                  </a:cubicBezTo>
                  <a:cubicBezTo>
                    <a:pt x="68009" y="1524"/>
                    <a:pt x="78581" y="0"/>
                    <a:pt x="89821" y="0"/>
                  </a:cubicBezTo>
                  <a:cubicBezTo>
                    <a:pt x="104108" y="0"/>
                    <a:pt x="118491" y="2286"/>
                    <a:pt x="133160" y="6953"/>
                  </a:cubicBezTo>
                  <a:cubicBezTo>
                    <a:pt x="147733" y="11621"/>
                    <a:pt x="160972" y="17717"/>
                    <a:pt x="172879" y="25527"/>
                  </a:cubicBezTo>
                  <a:lnTo>
                    <a:pt x="157258" y="51435"/>
                  </a:lnTo>
                  <a:cubicBezTo>
                    <a:pt x="146495" y="44577"/>
                    <a:pt x="135350" y="39148"/>
                    <a:pt x="123539" y="35147"/>
                  </a:cubicBezTo>
                  <a:cubicBezTo>
                    <a:pt x="111824" y="31147"/>
                    <a:pt x="100298" y="29146"/>
                    <a:pt x="88963" y="29146"/>
                  </a:cubicBezTo>
                  <a:cubicBezTo>
                    <a:pt x="75247" y="29146"/>
                    <a:pt x="64389" y="32385"/>
                    <a:pt x="56388" y="38767"/>
                  </a:cubicBezTo>
                  <a:cubicBezTo>
                    <a:pt x="48387" y="45149"/>
                    <a:pt x="44291" y="53150"/>
                    <a:pt x="44291" y="62675"/>
                  </a:cubicBezTo>
                  <a:lnTo>
                    <a:pt x="44291" y="63627"/>
                  </a:lnTo>
                  <a:cubicBezTo>
                    <a:pt x="44291" y="68961"/>
                    <a:pt x="45911" y="73628"/>
                    <a:pt x="49244" y="77724"/>
                  </a:cubicBezTo>
                  <a:cubicBezTo>
                    <a:pt x="52483" y="81725"/>
                    <a:pt x="56960" y="85249"/>
                    <a:pt x="62389" y="88202"/>
                  </a:cubicBezTo>
                  <a:cubicBezTo>
                    <a:pt x="67913" y="91154"/>
                    <a:pt x="74200" y="93821"/>
                    <a:pt x="81344" y="96203"/>
                  </a:cubicBezTo>
                  <a:cubicBezTo>
                    <a:pt x="88487" y="98584"/>
                    <a:pt x="95917" y="100965"/>
                    <a:pt x="103632" y="103346"/>
                  </a:cubicBezTo>
                  <a:cubicBezTo>
                    <a:pt x="112586" y="106013"/>
                    <a:pt x="121444" y="108966"/>
                    <a:pt x="130207" y="112300"/>
                  </a:cubicBezTo>
                  <a:cubicBezTo>
                    <a:pt x="138970" y="115538"/>
                    <a:pt x="146971" y="119729"/>
                    <a:pt x="154114" y="124778"/>
                  </a:cubicBezTo>
                  <a:cubicBezTo>
                    <a:pt x="161258" y="129826"/>
                    <a:pt x="166973" y="135922"/>
                    <a:pt x="171260" y="143066"/>
                  </a:cubicBezTo>
                  <a:cubicBezTo>
                    <a:pt x="175546" y="150209"/>
                    <a:pt x="177737" y="158972"/>
                    <a:pt x="177737" y="169450"/>
                  </a:cubicBezTo>
                  <a:lnTo>
                    <a:pt x="177737" y="170307"/>
                  </a:lnTo>
                  <a:cubicBezTo>
                    <a:pt x="177737" y="181356"/>
                    <a:pt x="175546" y="191071"/>
                    <a:pt x="171260" y="199549"/>
                  </a:cubicBezTo>
                  <a:cubicBezTo>
                    <a:pt x="166973" y="208026"/>
                    <a:pt x="161163" y="215265"/>
                    <a:pt x="153829" y="221171"/>
                  </a:cubicBezTo>
                  <a:cubicBezTo>
                    <a:pt x="146495" y="227171"/>
                    <a:pt x="137922" y="231648"/>
                    <a:pt x="127921" y="234791"/>
                  </a:cubicBezTo>
                  <a:cubicBezTo>
                    <a:pt x="117920" y="237935"/>
                    <a:pt x="107156" y="239459"/>
                    <a:pt x="95536" y="239459"/>
                  </a:cubicBezTo>
                  <a:close/>
                </a:path>
              </a:pathLst>
            </a:custGeom>
            <a:solidFill>
              <a:srgbClr val="44505E"/>
            </a:solidFill>
            <a:ln w="9525" cap="flat">
              <a:noFill/>
              <a:prstDash val="solid"/>
              <a:miter/>
            </a:ln>
          </p:spPr>
          <p:txBody>
            <a:bodyPr rtlCol="0" anchor="ctr"/>
            <a:lstStyle/>
            <a:p>
              <a:endParaRPr lang="pt-BR" noProof="0"/>
            </a:p>
          </p:txBody>
        </p:sp>
        <p:sp>
          <p:nvSpPr>
            <p:cNvPr id="32" name="Freeform: Shape 44">
              <a:extLst>
                <a:ext uri="{FF2B5EF4-FFF2-40B4-BE49-F238E27FC236}">
                  <a16:creationId xmlns:a16="http://schemas.microsoft.com/office/drawing/2014/main" id="{31DD8D80-51F8-D068-3D1A-EA82992E5215}"/>
                </a:ext>
              </a:extLst>
            </p:cNvPr>
            <p:cNvSpPr/>
            <p:nvPr/>
          </p:nvSpPr>
          <p:spPr>
            <a:xfrm>
              <a:off x="605122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4 w 202977"/>
                <a:gd name="connsiteY30" fmla="*/ 174593 h 239267"/>
                <a:gd name="connsiteX31" fmla="*/ 169735 w 202977"/>
                <a:gd name="connsiteY31" fmla="*/ 149447 h 239267"/>
                <a:gd name="connsiteX32" fmla="*/ 169735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0" y="90964"/>
                    <a:pt x="98584" y="90964"/>
                  </a:cubicBezTo>
                  <a:cubicBezTo>
                    <a:pt x="113157" y="90964"/>
                    <a:pt x="126301"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1" y="33147"/>
                    <a:pt x="63436" y="36100"/>
                  </a:cubicBezTo>
                  <a:cubicBezTo>
                    <a:pt x="52292" y="39053"/>
                    <a:pt x="41338" y="43053"/>
                    <a:pt x="30671" y="48196"/>
                  </a:cubicBezTo>
                  <a:lnTo>
                    <a:pt x="20383" y="19907"/>
                  </a:lnTo>
                  <a:cubicBezTo>
                    <a:pt x="33147" y="13906"/>
                    <a:pt x="46101" y="9049"/>
                    <a:pt x="59246" y="5429"/>
                  </a:cubicBezTo>
                  <a:cubicBezTo>
                    <a:pt x="72295"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1" y="239173"/>
                  </a:cubicBezTo>
                  <a:close/>
                  <a:moveTo>
                    <a:pt x="93154" y="211169"/>
                  </a:moveTo>
                  <a:cubicBezTo>
                    <a:pt x="103822" y="211169"/>
                    <a:pt x="113728" y="209740"/>
                    <a:pt x="122967" y="206788"/>
                  </a:cubicBezTo>
                  <a:cubicBezTo>
                    <a:pt x="132207" y="203835"/>
                    <a:pt x="140208" y="199644"/>
                    <a:pt x="147256" y="194120"/>
                  </a:cubicBezTo>
                  <a:cubicBezTo>
                    <a:pt x="154209" y="188595"/>
                    <a:pt x="159734" y="182118"/>
                    <a:pt x="163734" y="174593"/>
                  </a:cubicBezTo>
                  <a:cubicBezTo>
                    <a:pt x="167735" y="167068"/>
                    <a:pt x="169735" y="158687"/>
                    <a:pt x="169735" y="149447"/>
                  </a:cubicBezTo>
                  <a:lnTo>
                    <a:pt x="169735" y="128111"/>
                  </a:lnTo>
                  <a:cubicBezTo>
                    <a:pt x="161163" y="125730"/>
                    <a:pt x="151352" y="123539"/>
                    <a:pt x="140398" y="121444"/>
                  </a:cubicBezTo>
                  <a:cubicBezTo>
                    <a:pt x="129445" y="119348"/>
                    <a:pt x="116872"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33" name="Freeform: Shape 45">
              <a:extLst>
                <a:ext uri="{FF2B5EF4-FFF2-40B4-BE49-F238E27FC236}">
                  <a16:creationId xmlns:a16="http://schemas.microsoft.com/office/drawing/2014/main" id="{A176CCB3-7C11-26C5-17C1-36E29FDDBE80}"/>
                </a:ext>
              </a:extLst>
            </p:cNvPr>
            <p:cNvSpPr/>
            <p:nvPr/>
          </p:nvSpPr>
          <p:spPr>
            <a:xfrm>
              <a:off x="6121359" y="901377"/>
              <a:ext cx="8644" cy="81913"/>
            </a:xfrm>
            <a:custGeom>
              <a:avLst/>
              <a:gdLst>
                <a:gd name="connsiteX0" fmla="*/ 0 w 34385"/>
                <a:gd name="connsiteY0" fmla="*/ 0 h 325850"/>
                <a:gd name="connsiteX1" fmla="*/ 34385 w 34385"/>
                <a:gd name="connsiteY1" fmla="*/ 0 h 325850"/>
                <a:gd name="connsiteX2" fmla="*/ 34385 w 34385"/>
                <a:gd name="connsiteY2" fmla="*/ 325850 h 325850"/>
                <a:gd name="connsiteX3" fmla="*/ 0 w 34385"/>
                <a:gd name="connsiteY3" fmla="*/ 325850 h 325850"/>
                <a:gd name="connsiteX4" fmla="*/ 0 w 34385"/>
                <a:gd name="connsiteY4" fmla="*/ 0 h 32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 h="325850">
                  <a:moveTo>
                    <a:pt x="0" y="0"/>
                  </a:moveTo>
                  <a:lnTo>
                    <a:pt x="34385" y="0"/>
                  </a:lnTo>
                  <a:lnTo>
                    <a:pt x="34385" y="325850"/>
                  </a:lnTo>
                  <a:lnTo>
                    <a:pt x="0" y="325850"/>
                  </a:lnTo>
                  <a:lnTo>
                    <a:pt x="0" y="0"/>
                  </a:lnTo>
                  <a:close/>
                </a:path>
              </a:pathLst>
            </a:custGeom>
            <a:solidFill>
              <a:srgbClr val="44505E"/>
            </a:solidFill>
            <a:ln w="9525" cap="flat">
              <a:noFill/>
              <a:prstDash val="solid"/>
              <a:miter/>
            </a:ln>
          </p:spPr>
          <p:txBody>
            <a:bodyPr rtlCol="0" anchor="ctr"/>
            <a:lstStyle/>
            <a:p>
              <a:endParaRPr lang="pt-BR" noProof="0"/>
            </a:p>
          </p:txBody>
        </p:sp>
        <p:sp>
          <p:nvSpPr>
            <p:cNvPr id="34" name="Freeform: Shape 46">
              <a:extLst>
                <a:ext uri="{FF2B5EF4-FFF2-40B4-BE49-F238E27FC236}">
                  <a16:creationId xmlns:a16="http://schemas.microsoft.com/office/drawing/2014/main" id="{380CCDFC-7FA8-2EBF-FC6B-2BCDFE92844E}"/>
                </a:ext>
              </a:extLst>
            </p:cNvPr>
            <p:cNvSpPr/>
            <p:nvPr/>
          </p:nvSpPr>
          <p:spPr>
            <a:xfrm>
              <a:off x="6144346" y="925273"/>
              <a:ext cx="58016" cy="58448"/>
            </a:xfrm>
            <a:custGeom>
              <a:avLst/>
              <a:gdLst>
                <a:gd name="connsiteX0" fmla="*/ 95 w 230790"/>
                <a:gd name="connsiteY0" fmla="*/ 0 h 232505"/>
                <a:gd name="connsiteX1" fmla="*/ 38005 w 230790"/>
                <a:gd name="connsiteY1" fmla="*/ 0 h 232505"/>
                <a:gd name="connsiteX2" fmla="*/ 115634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4"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35" name="Freeform: Shape 47">
              <a:extLst>
                <a:ext uri="{FF2B5EF4-FFF2-40B4-BE49-F238E27FC236}">
                  <a16:creationId xmlns:a16="http://schemas.microsoft.com/office/drawing/2014/main" id="{83BD3C15-768C-BB88-B41B-0905C27745FA}"/>
                </a:ext>
              </a:extLst>
            </p:cNvPr>
            <p:cNvSpPr/>
            <p:nvPr/>
          </p:nvSpPr>
          <p:spPr>
            <a:xfrm>
              <a:off x="621155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8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338 w 202977"/>
                <a:gd name="connsiteY36" fmla="*/ 164497 h 239267"/>
                <a:gd name="connsiteX37" fmla="*/ 35338 w 202977"/>
                <a:gd name="connsiteY37" fmla="*/ 165449 h 239267"/>
                <a:gd name="connsiteX38" fmla="*/ 40005 w 202977"/>
                <a:gd name="connsiteY38" fmla="*/ 184785 h 239267"/>
                <a:gd name="connsiteX39" fmla="*/ 52673 w 202977"/>
                <a:gd name="connsiteY39" fmla="*/ 199263 h 239267"/>
                <a:gd name="connsiteX40" fmla="*/ 71152 w 202977"/>
                <a:gd name="connsiteY40" fmla="*/ 208121 h 239267"/>
                <a:gd name="connsiteX41" fmla="*/ 93154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438" y="239268"/>
                    <a:pt x="64961"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1" y="90964"/>
                    <a:pt x="98584" y="90964"/>
                  </a:cubicBezTo>
                  <a:cubicBezTo>
                    <a:pt x="113157" y="90964"/>
                    <a:pt x="126302" y="91821"/>
                    <a:pt x="137160" y="93631"/>
                  </a:cubicBezTo>
                  <a:cubicBezTo>
                    <a:pt x="148019" y="95440"/>
                    <a:pt x="158687" y="97822"/>
                    <a:pt x="169069" y="100774"/>
                  </a:cubicBezTo>
                  <a:lnTo>
                    <a:pt x="169069" y="93726"/>
                  </a:lnTo>
                  <a:cubicBezTo>
                    <a:pt x="169069" y="73342"/>
                    <a:pt x="163068" y="57912"/>
                    <a:pt x="151162" y="47339"/>
                  </a:cubicBezTo>
                  <a:cubicBezTo>
                    <a:pt x="139255" y="36862"/>
                    <a:pt x="122491" y="31623"/>
                    <a:pt x="100679" y="31623"/>
                  </a:cubicBezTo>
                  <a:cubicBezTo>
                    <a:pt x="86963" y="31623"/>
                    <a:pt x="74581" y="33147"/>
                    <a:pt x="63437" y="36100"/>
                  </a:cubicBezTo>
                  <a:cubicBezTo>
                    <a:pt x="52292" y="39053"/>
                    <a:pt x="41338" y="43053"/>
                    <a:pt x="30671" y="48196"/>
                  </a:cubicBezTo>
                  <a:lnTo>
                    <a:pt x="20383" y="19907"/>
                  </a:lnTo>
                  <a:cubicBezTo>
                    <a:pt x="33147" y="13906"/>
                    <a:pt x="46101" y="9049"/>
                    <a:pt x="59246" y="5429"/>
                  </a:cubicBezTo>
                  <a:cubicBezTo>
                    <a:pt x="72390"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04" y="239173"/>
                    <a:pt x="86011" y="239173"/>
                  </a:cubicBezTo>
                  <a:close/>
                  <a:moveTo>
                    <a:pt x="93154" y="211169"/>
                  </a:moveTo>
                  <a:cubicBezTo>
                    <a:pt x="103822" y="211169"/>
                    <a:pt x="113824" y="209740"/>
                    <a:pt x="122968" y="206788"/>
                  </a:cubicBezTo>
                  <a:cubicBezTo>
                    <a:pt x="132112"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5" y="119348"/>
                    <a:pt x="116777" y="118300"/>
                    <a:pt x="102584" y="118300"/>
                  </a:cubicBezTo>
                  <a:cubicBezTo>
                    <a:pt x="81248" y="118300"/>
                    <a:pt x="64675" y="122491"/>
                    <a:pt x="52959" y="130969"/>
                  </a:cubicBezTo>
                  <a:cubicBezTo>
                    <a:pt x="41243" y="139446"/>
                    <a:pt x="35338" y="150590"/>
                    <a:pt x="35338" y="164497"/>
                  </a:cubicBezTo>
                  <a:lnTo>
                    <a:pt x="35338" y="165449"/>
                  </a:lnTo>
                  <a:cubicBezTo>
                    <a:pt x="35338" y="172498"/>
                    <a:pt x="36862" y="178975"/>
                    <a:pt x="40005" y="184785"/>
                  </a:cubicBezTo>
                  <a:cubicBezTo>
                    <a:pt x="43148" y="190500"/>
                    <a:pt x="47339" y="195358"/>
                    <a:pt x="52673" y="199263"/>
                  </a:cubicBezTo>
                  <a:cubicBezTo>
                    <a:pt x="58007" y="203073"/>
                    <a:pt x="64198" y="206026"/>
                    <a:pt x="71152" y="208121"/>
                  </a:cubicBezTo>
                  <a:cubicBezTo>
                    <a:pt x="78105" y="210217"/>
                    <a:pt x="85439" y="211169"/>
                    <a:pt x="93154" y="211169"/>
                  </a:cubicBezTo>
                  <a:close/>
                </a:path>
              </a:pathLst>
            </a:custGeom>
            <a:solidFill>
              <a:srgbClr val="44505E"/>
            </a:solidFill>
            <a:ln w="9525" cap="flat">
              <a:noFill/>
              <a:prstDash val="solid"/>
              <a:miter/>
            </a:ln>
          </p:spPr>
          <p:txBody>
            <a:bodyPr rtlCol="0" anchor="ctr"/>
            <a:lstStyle/>
            <a:p>
              <a:endParaRPr lang="pt-BR" noProof="0"/>
            </a:p>
          </p:txBody>
        </p:sp>
        <p:sp>
          <p:nvSpPr>
            <p:cNvPr id="36" name="Freeform: Shape 48">
              <a:extLst>
                <a:ext uri="{FF2B5EF4-FFF2-40B4-BE49-F238E27FC236}">
                  <a16:creationId xmlns:a16="http://schemas.microsoft.com/office/drawing/2014/main" id="{32E3EA2B-9461-EF84-2875-52521C8C992D}"/>
                </a:ext>
              </a:extLst>
            </p:cNvPr>
            <p:cNvSpPr/>
            <p:nvPr/>
          </p:nvSpPr>
          <p:spPr>
            <a:xfrm>
              <a:off x="6280899" y="923980"/>
              <a:ext cx="87995" cy="59238"/>
            </a:xfrm>
            <a:custGeom>
              <a:avLst/>
              <a:gdLst>
                <a:gd name="connsiteX0" fmla="*/ 0 w 350043"/>
                <a:gd name="connsiteY0" fmla="*/ 5144 h 235648"/>
                <a:gd name="connsiteX1" fmla="*/ 34385 w 350043"/>
                <a:gd name="connsiteY1" fmla="*/ 5144 h 235648"/>
                <a:gd name="connsiteX2" fmla="*/ 34385 w 350043"/>
                <a:gd name="connsiteY2" fmla="*/ 44005 h 235648"/>
                <a:gd name="connsiteX3" fmla="*/ 47149 w 350043"/>
                <a:gd name="connsiteY3" fmla="*/ 27432 h 235648"/>
                <a:gd name="connsiteX4" fmla="*/ 62960 w 350043"/>
                <a:gd name="connsiteY4" fmla="*/ 13335 h 235648"/>
                <a:gd name="connsiteX5" fmla="*/ 83058 w 350043"/>
                <a:gd name="connsiteY5" fmla="*/ 3715 h 235648"/>
                <a:gd name="connsiteX6" fmla="*/ 108966 w 350043"/>
                <a:gd name="connsiteY6" fmla="*/ 95 h 235648"/>
                <a:gd name="connsiteX7" fmla="*/ 155448 w 350043"/>
                <a:gd name="connsiteY7" fmla="*/ 13240 h 235648"/>
                <a:gd name="connsiteX8" fmla="*/ 183166 w 350043"/>
                <a:gd name="connsiteY8" fmla="*/ 46006 h 235648"/>
                <a:gd name="connsiteX9" fmla="*/ 197168 w 350043"/>
                <a:gd name="connsiteY9" fmla="*/ 28194 h 235648"/>
                <a:gd name="connsiteX10" fmla="*/ 214789 w 350043"/>
                <a:gd name="connsiteY10" fmla="*/ 13430 h 235648"/>
                <a:gd name="connsiteX11" fmla="*/ 236887 w 350043"/>
                <a:gd name="connsiteY11" fmla="*/ 3620 h 235648"/>
                <a:gd name="connsiteX12" fmla="*/ 264319 w 350043"/>
                <a:gd name="connsiteY12" fmla="*/ 0 h 235648"/>
                <a:gd name="connsiteX13" fmla="*/ 327279 w 350043"/>
                <a:gd name="connsiteY13" fmla="*/ 24765 h 235648"/>
                <a:gd name="connsiteX14" fmla="*/ 350044 w 350043"/>
                <a:gd name="connsiteY14" fmla="*/ 92773 h 235648"/>
                <a:gd name="connsiteX15" fmla="*/ 350044 w 350043"/>
                <a:gd name="connsiteY15" fmla="*/ 235648 h 235648"/>
                <a:gd name="connsiteX16" fmla="*/ 315659 w 350043"/>
                <a:gd name="connsiteY16" fmla="*/ 235648 h 235648"/>
                <a:gd name="connsiteX17" fmla="*/ 315659 w 350043"/>
                <a:gd name="connsiteY17" fmla="*/ 101155 h 235648"/>
                <a:gd name="connsiteX18" fmla="*/ 299847 w 350043"/>
                <a:gd name="connsiteY18" fmla="*/ 49721 h 235648"/>
                <a:gd name="connsiteX19" fmla="*/ 255937 w 350043"/>
                <a:gd name="connsiteY19" fmla="*/ 31718 h 235648"/>
                <a:gd name="connsiteX20" fmla="*/ 231362 w 350043"/>
                <a:gd name="connsiteY20" fmla="*/ 36386 h 235648"/>
                <a:gd name="connsiteX21" fmla="*/ 211074 w 350043"/>
                <a:gd name="connsiteY21" fmla="*/ 50197 h 235648"/>
                <a:gd name="connsiteX22" fmla="*/ 197263 w 350043"/>
                <a:gd name="connsiteY22" fmla="*/ 72676 h 235648"/>
                <a:gd name="connsiteX23" fmla="*/ 192119 w 350043"/>
                <a:gd name="connsiteY23" fmla="*/ 102965 h 235648"/>
                <a:gd name="connsiteX24" fmla="*/ 192119 w 350043"/>
                <a:gd name="connsiteY24" fmla="*/ 235648 h 235648"/>
                <a:gd name="connsiteX25" fmla="*/ 158210 w 350043"/>
                <a:gd name="connsiteY25" fmla="*/ 235648 h 235648"/>
                <a:gd name="connsiteX26" fmla="*/ 158210 w 350043"/>
                <a:gd name="connsiteY26" fmla="*/ 100298 h 235648"/>
                <a:gd name="connsiteX27" fmla="*/ 142399 w 350043"/>
                <a:gd name="connsiteY27" fmla="*/ 49721 h 235648"/>
                <a:gd name="connsiteX28" fmla="*/ 98870 w 350043"/>
                <a:gd name="connsiteY28" fmla="*/ 31718 h 235648"/>
                <a:gd name="connsiteX29" fmla="*/ 73438 w 350043"/>
                <a:gd name="connsiteY29" fmla="*/ 37052 h 235648"/>
                <a:gd name="connsiteX30" fmla="*/ 53150 w 350043"/>
                <a:gd name="connsiteY30" fmla="*/ 52197 h 235648"/>
                <a:gd name="connsiteX31" fmla="*/ 39529 w 350043"/>
                <a:gd name="connsiteY31" fmla="*/ 75152 h 235648"/>
                <a:gd name="connsiteX32" fmla="*/ 34576 w 350043"/>
                <a:gd name="connsiteY32" fmla="*/ 104299 h 235648"/>
                <a:gd name="connsiteX33" fmla="*/ 34576 w 350043"/>
                <a:gd name="connsiteY33" fmla="*/ 235648 h 235648"/>
                <a:gd name="connsiteX34" fmla="*/ 190 w 350043"/>
                <a:gd name="connsiteY34" fmla="*/ 235648 h 235648"/>
                <a:gd name="connsiteX35" fmla="*/ 190 w 350043"/>
                <a:gd name="connsiteY35" fmla="*/ 485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0043" h="235648">
                  <a:moveTo>
                    <a:pt x="0" y="5144"/>
                  </a:moveTo>
                  <a:lnTo>
                    <a:pt x="34385" y="5144"/>
                  </a:lnTo>
                  <a:lnTo>
                    <a:pt x="34385" y="44005"/>
                  </a:lnTo>
                  <a:cubicBezTo>
                    <a:pt x="38290" y="38386"/>
                    <a:pt x="42481" y="32861"/>
                    <a:pt x="47149" y="27432"/>
                  </a:cubicBezTo>
                  <a:cubicBezTo>
                    <a:pt x="51721" y="22098"/>
                    <a:pt x="57055" y="17431"/>
                    <a:pt x="62960" y="13335"/>
                  </a:cubicBezTo>
                  <a:cubicBezTo>
                    <a:pt x="68866" y="9335"/>
                    <a:pt x="75629" y="6096"/>
                    <a:pt x="83058" y="3715"/>
                  </a:cubicBezTo>
                  <a:cubicBezTo>
                    <a:pt x="90488" y="1334"/>
                    <a:pt x="99155" y="95"/>
                    <a:pt x="108966" y="95"/>
                  </a:cubicBezTo>
                  <a:cubicBezTo>
                    <a:pt x="127730" y="95"/>
                    <a:pt x="143161" y="4477"/>
                    <a:pt x="155448" y="13240"/>
                  </a:cubicBezTo>
                  <a:cubicBezTo>
                    <a:pt x="167640" y="22003"/>
                    <a:pt x="176879" y="32956"/>
                    <a:pt x="183166" y="46006"/>
                  </a:cubicBezTo>
                  <a:cubicBezTo>
                    <a:pt x="187357" y="39719"/>
                    <a:pt x="192024" y="33814"/>
                    <a:pt x="197168" y="28194"/>
                  </a:cubicBezTo>
                  <a:cubicBezTo>
                    <a:pt x="202406" y="22574"/>
                    <a:pt x="208217" y="17621"/>
                    <a:pt x="214789" y="13430"/>
                  </a:cubicBezTo>
                  <a:cubicBezTo>
                    <a:pt x="221361" y="9239"/>
                    <a:pt x="228695" y="6001"/>
                    <a:pt x="236887" y="3620"/>
                  </a:cubicBezTo>
                  <a:cubicBezTo>
                    <a:pt x="245078" y="1238"/>
                    <a:pt x="254222" y="0"/>
                    <a:pt x="264319" y="0"/>
                  </a:cubicBezTo>
                  <a:cubicBezTo>
                    <a:pt x="291084" y="0"/>
                    <a:pt x="312039" y="8287"/>
                    <a:pt x="327279" y="24765"/>
                  </a:cubicBezTo>
                  <a:cubicBezTo>
                    <a:pt x="342519" y="41243"/>
                    <a:pt x="350044" y="63913"/>
                    <a:pt x="350044" y="92773"/>
                  </a:cubicBezTo>
                  <a:lnTo>
                    <a:pt x="350044" y="235648"/>
                  </a:lnTo>
                  <a:lnTo>
                    <a:pt x="315659" y="235648"/>
                  </a:lnTo>
                  <a:lnTo>
                    <a:pt x="315659" y="101155"/>
                  </a:lnTo>
                  <a:cubicBezTo>
                    <a:pt x="315659" y="78867"/>
                    <a:pt x="310420" y="61722"/>
                    <a:pt x="299847" y="49721"/>
                  </a:cubicBezTo>
                  <a:cubicBezTo>
                    <a:pt x="289274" y="37719"/>
                    <a:pt x="274606" y="31718"/>
                    <a:pt x="255937" y="31718"/>
                  </a:cubicBezTo>
                  <a:cubicBezTo>
                    <a:pt x="247269" y="31718"/>
                    <a:pt x="239078" y="33242"/>
                    <a:pt x="231362" y="36386"/>
                  </a:cubicBezTo>
                  <a:cubicBezTo>
                    <a:pt x="223647" y="39529"/>
                    <a:pt x="216884" y="44101"/>
                    <a:pt x="211074" y="50197"/>
                  </a:cubicBezTo>
                  <a:cubicBezTo>
                    <a:pt x="205264" y="56293"/>
                    <a:pt x="200692" y="63818"/>
                    <a:pt x="197263" y="72676"/>
                  </a:cubicBezTo>
                  <a:cubicBezTo>
                    <a:pt x="193834" y="81629"/>
                    <a:pt x="192119" y="91726"/>
                    <a:pt x="192119" y="102965"/>
                  </a:cubicBezTo>
                  <a:lnTo>
                    <a:pt x="192119" y="235648"/>
                  </a:lnTo>
                  <a:lnTo>
                    <a:pt x="158210" y="235648"/>
                  </a:lnTo>
                  <a:lnTo>
                    <a:pt x="158210" y="100298"/>
                  </a:lnTo>
                  <a:cubicBezTo>
                    <a:pt x="158210" y="78677"/>
                    <a:pt x="152971" y="61817"/>
                    <a:pt x="142399" y="49721"/>
                  </a:cubicBezTo>
                  <a:cubicBezTo>
                    <a:pt x="131826" y="37719"/>
                    <a:pt x="117348" y="31718"/>
                    <a:pt x="98870" y="31718"/>
                  </a:cubicBezTo>
                  <a:cubicBezTo>
                    <a:pt x="89630" y="31718"/>
                    <a:pt x="81153" y="33528"/>
                    <a:pt x="73438" y="37052"/>
                  </a:cubicBezTo>
                  <a:cubicBezTo>
                    <a:pt x="65722" y="40672"/>
                    <a:pt x="58960" y="45720"/>
                    <a:pt x="53150" y="52197"/>
                  </a:cubicBezTo>
                  <a:cubicBezTo>
                    <a:pt x="47339" y="58769"/>
                    <a:pt x="42767" y="66389"/>
                    <a:pt x="39529" y="75152"/>
                  </a:cubicBezTo>
                  <a:cubicBezTo>
                    <a:pt x="36290" y="83915"/>
                    <a:pt x="34576" y="93631"/>
                    <a:pt x="34576" y="104299"/>
                  </a:cubicBezTo>
                  <a:lnTo>
                    <a:pt x="34576" y="235648"/>
                  </a:lnTo>
                  <a:lnTo>
                    <a:pt x="190" y="235648"/>
                  </a:lnTo>
                  <a:lnTo>
                    <a:pt x="190" y="4858"/>
                  </a:lnTo>
                  <a:close/>
                </a:path>
              </a:pathLst>
            </a:custGeom>
            <a:solidFill>
              <a:srgbClr val="44505E"/>
            </a:solidFill>
            <a:ln w="9525" cap="flat">
              <a:noFill/>
              <a:prstDash val="solid"/>
              <a:miter/>
            </a:ln>
          </p:spPr>
          <p:txBody>
            <a:bodyPr rtlCol="0" anchor="ctr"/>
            <a:lstStyle/>
            <a:p>
              <a:endParaRPr lang="pt-BR" noProof="0"/>
            </a:p>
          </p:txBody>
        </p:sp>
        <p:sp>
          <p:nvSpPr>
            <p:cNvPr id="37" name="Freeform: Shape 49">
              <a:extLst>
                <a:ext uri="{FF2B5EF4-FFF2-40B4-BE49-F238E27FC236}">
                  <a16:creationId xmlns:a16="http://schemas.microsoft.com/office/drawing/2014/main" id="{6F4A9E9D-FA84-CA6F-6EBC-725A0E8A2B61}"/>
                </a:ext>
              </a:extLst>
            </p:cNvPr>
            <p:cNvSpPr/>
            <p:nvPr/>
          </p:nvSpPr>
          <p:spPr>
            <a:xfrm>
              <a:off x="6415537" y="925273"/>
              <a:ext cx="58016" cy="58448"/>
            </a:xfrm>
            <a:custGeom>
              <a:avLst/>
              <a:gdLst>
                <a:gd name="connsiteX0" fmla="*/ 95 w 230790"/>
                <a:gd name="connsiteY0" fmla="*/ 0 h 232505"/>
                <a:gd name="connsiteX1" fmla="*/ 38005 w 230790"/>
                <a:gd name="connsiteY1" fmla="*/ 0 h 232505"/>
                <a:gd name="connsiteX2" fmla="*/ 115633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3"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38" name="Freeform: Shape 50">
              <a:extLst>
                <a:ext uri="{FF2B5EF4-FFF2-40B4-BE49-F238E27FC236}">
                  <a16:creationId xmlns:a16="http://schemas.microsoft.com/office/drawing/2014/main" id="{72D29853-EE62-D084-33D9-13FC02384276}"/>
                </a:ext>
              </a:extLst>
            </p:cNvPr>
            <p:cNvSpPr/>
            <p:nvPr/>
          </p:nvSpPr>
          <p:spPr>
            <a:xfrm>
              <a:off x="6487369"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286 w 39242"/>
                <a:gd name="connsiteY5" fmla="*/ 88392 h 319182"/>
                <a:gd name="connsiteX6" fmla="*/ 36671 w 39242"/>
                <a:gd name="connsiteY6" fmla="*/ 88392 h 319182"/>
                <a:gd name="connsiteX7" fmla="*/ 36671 w 39242"/>
                <a:gd name="connsiteY7" fmla="*/ 319183 h 319182"/>
                <a:gd name="connsiteX8" fmla="*/ 2286 w 39242"/>
                <a:gd name="connsiteY8" fmla="*/ 319183 h 319182"/>
                <a:gd name="connsiteX9" fmla="*/ 2286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286" y="88392"/>
                  </a:moveTo>
                  <a:lnTo>
                    <a:pt x="36671" y="88392"/>
                  </a:lnTo>
                  <a:lnTo>
                    <a:pt x="36671" y="319183"/>
                  </a:lnTo>
                  <a:lnTo>
                    <a:pt x="2286" y="319183"/>
                  </a:lnTo>
                  <a:lnTo>
                    <a:pt x="2286" y="88392"/>
                  </a:lnTo>
                  <a:close/>
                </a:path>
              </a:pathLst>
            </a:custGeom>
            <a:solidFill>
              <a:srgbClr val="44505E"/>
            </a:solidFill>
            <a:ln w="9525" cap="flat">
              <a:noFill/>
              <a:prstDash val="solid"/>
              <a:miter/>
            </a:ln>
          </p:spPr>
          <p:txBody>
            <a:bodyPr rtlCol="0" anchor="ctr"/>
            <a:lstStyle/>
            <a:p>
              <a:endParaRPr lang="pt-BR" noProof="0"/>
            </a:p>
          </p:txBody>
        </p:sp>
        <p:sp>
          <p:nvSpPr>
            <p:cNvPr id="39" name="Freeform: Shape 51">
              <a:extLst>
                <a:ext uri="{FF2B5EF4-FFF2-40B4-BE49-F238E27FC236}">
                  <a16:creationId xmlns:a16="http://schemas.microsoft.com/office/drawing/2014/main" id="{CE5822E4-8327-D54B-680C-DB648B1F35A1}"/>
                </a:ext>
              </a:extLst>
            </p:cNvPr>
            <p:cNvSpPr/>
            <p:nvPr/>
          </p:nvSpPr>
          <p:spPr>
            <a:xfrm>
              <a:off x="6513253" y="901353"/>
              <a:ext cx="58615" cy="83182"/>
            </a:xfrm>
            <a:custGeom>
              <a:avLst/>
              <a:gdLst>
                <a:gd name="connsiteX0" fmla="*/ 110394 w 233171"/>
                <a:gd name="connsiteY0" fmla="*/ 330898 h 330898"/>
                <a:gd name="connsiteX1" fmla="*/ 69723 w 233171"/>
                <a:gd name="connsiteY1" fmla="*/ 322897 h 330898"/>
                <a:gd name="connsiteX2" fmla="*/ 34480 w 233171"/>
                <a:gd name="connsiteY2" fmla="*/ 299466 h 330898"/>
                <a:gd name="connsiteX3" fmla="*/ 9430 w 233171"/>
                <a:gd name="connsiteY3" fmla="*/ 261938 h 330898"/>
                <a:gd name="connsiteX4" fmla="*/ 0 w 233171"/>
                <a:gd name="connsiteY4" fmla="*/ 211264 h 330898"/>
                <a:gd name="connsiteX5" fmla="*/ 0 w 233171"/>
                <a:gd name="connsiteY5" fmla="*/ 210407 h 330898"/>
                <a:gd name="connsiteX6" fmla="*/ 9430 w 233171"/>
                <a:gd name="connsiteY6" fmla="*/ 159925 h 330898"/>
                <a:gd name="connsiteX7" fmla="*/ 34480 w 233171"/>
                <a:gd name="connsiteY7" fmla="*/ 122206 h 330898"/>
                <a:gd name="connsiteX8" fmla="*/ 69723 w 233171"/>
                <a:gd name="connsiteY8" fmla="*/ 98488 h 330898"/>
                <a:gd name="connsiteX9" fmla="*/ 110394 w 233171"/>
                <a:gd name="connsiteY9" fmla="*/ 90202 h 330898"/>
                <a:gd name="connsiteX10" fmla="*/ 139827 w 233171"/>
                <a:gd name="connsiteY10" fmla="*/ 94202 h 330898"/>
                <a:gd name="connsiteX11" fmla="*/ 163925 w 233171"/>
                <a:gd name="connsiteY11" fmla="*/ 104870 h 330898"/>
                <a:gd name="connsiteX12" fmla="*/ 183356 w 233171"/>
                <a:gd name="connsiteY12" fmla="*/ 120491 h 330898"/>
                <a:gd name="connsiteX13" fmla="*/ 198787 w 233171"/>
                <a:gd name="connsiteY13" fmla="*/ 139255 h 330898"/>
                <a:gd name="connsiteX14" fmla="*/ 198787 w 233171"/>
                <a:gd name="connsiteY14" fmla="*/ 0 h 330898"/>
                <a:gd name="connsiteX15" fmla="*/ 233172 w 233171"/>
                <a:gd name="connsiteY15" fmla="*/ 0 h 330898"/>
                <a:gd name="connsiteX16" fmla="*/ 233172 w 233171"/>
                <a:gd name="connsiteY16" fmla="*/ 325850 h 330898"/>
                <a:gd name="connsiteX17" fmla="*/ 198787 w 233171"/>
                <a:gd name="connsiteY17" fmla="*/ 325850 h 330898"/>
                <a:gd name="connsiteX18" fmla="*/ 198787 w 233171"/>
                <a:gd name="connsiteY18" fmla="*/ 279463 h 330898"/>
                <a:gd name="connsiteX19" fmla="*/ 182975 w 233171"/>
                <a:gd name="connsiteY19" fmla="*/ 299085 h 330898"/>
                <a:gd name="connsiteX20" fmla="*/ 163544 w 233171"/>
                <a:gd name="connsiteY20" fmla="*/ 315658 h 330898"/>
                <a:gd name="connsiteX21" fmla="*/ 139636 w 233171"/>
                <a:gd name="connsiteY21" fmla="*/ 326803 h 330898"/>
                <a:gd name="connsiteX22" fmla="*/ 110394 w 233171"/>
                <a:gd name="connsiteY22" fmla="*/ 330803 h 330898"/>
                <a:gd name="connsiteX23" fmla="*/ 116681 w 233171"/>
                <a:gd name="connsiteY23" fmla="*/ 300133 h 330898"/>
                <a:gd name="connsiteX24" fmla="*/ 147733 w 233171"/>
                <a:gd name="connsiteY24" fmla="*/ 293656 h 330898"/>
                <a:gd name="connsiteX25" fmla="*/ 174498 w 233171"/>
                <a:gd name="connsiteY25" fmla="*/ 275368 h 330898"/>
                <a:gd name="connsiteX26" fmla="*/ 193262 w 233171"/>
                <a:gd name="connsiteY26" fmla="*/ 247269 h 330898"/>
                <a:gd name="connsiteX27" fmla="*/ 200216 w 233171"/>
                <a:gd name="connsiteY27" fmla="*/ 210883 h 330898"/>
                <a:gd name="connsiteX28" fmla="*/ 200216 w 233171"/>
                <a:gd name="connsiteY28" fmla="*/ 210026 h 330898"/>
                <a:gd name="connsiteX29" fmla="*/ 193262 w 233171"/>
                <a:gd name="connsiteY29" fmla="*/ 173641 h 330898"/>
                <a:gd name="connsiteX30" fmla="*/ 174498 w 233171"/>
                <a:gd name="connsiteY30" fmla="*/ 145732 h 330898"/>
                <a:gd name="connsiteX31" fmla="*/ 147733 w 233171"/>
                <a:gd name="connsiteY31" fmla="*/ 127635 h 330898"/>
                <a:gd name="connsiteX32" fmla="*/ 116681 w 233171"/>
                <a:gd name="connsiteY32" fmla="*/ 121158 h 330898"/>
                <a:gd name="connsiteX33" fmla="*/ 84963 w 233171"/>
                <a:gd name="connsiteY33" fmla="*/ 127159 h 330898"/>
                <a:gd name="connsiteX34" fmla="*/ 59341 w 233171"/>
                <a:gd name="connsiteY34" fmla="*/ 144589 h 330898"/>
                <a:gd name="connsiteX35" fmla="*/ 41910 w 233171"/>
                <a:gd name="connsiteY35" fmla="*/ 172498 h 330898"/>
                <a:gd name="connsiteX36" fmla="*/ 35433 w 233171"/>
                <a:gd name="connsiteY36" fmla="*/ 210026 h 330898"/>
                <a:gd name="connsiteX37" fmla="*/ 35433 w 233171"/>
                <a:gd name="connsiteY37" fmla="*/ 210883 h 330898"/>
                <a:gd name="connsiteX38" fmla="*/ 41910 w 233171"/>
                <a:gd name="connsiteY38" fmla="*/ 247936 h 330898"/>
                <a:gd name="connsiteX39" fmla="*/ 59531 w 233171"/>
                <a:gd name="connsiteY39" fmla="*/ 276034 h 330898"/>
                <a:gd name="connsiteX40" fmla="*/ 85439 w 233171"/>
                <a:gd name="connsiteY40" fmla="*/ 293941 h 330898"/>
                <a:gd name="connsiteX41" fmla="*/ 116681 w 23317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3171" h="330898">
                  <a:moveTo>
                    <a:pt x="110394" y="330898"/>
                  </a:moveTo>
                  <a:cubicBezTo>
                    <a:pt x="96393" y="330898"/>
                    <a:pt x="82868" y="328231"/>
                    <a:pt x="69723" y="322897"/>
                  </a:cubicBezTo>
                  <a:cubicBezTo>
                    <a:pt x="56674" y="317563"/>
                    <a:pt x="44863" y="309753"/>
                    <a:pt x="34480" y="299466"/>
                  </a:cubicBezTo>
                  <a:cubicBezTo>
                    <a:pt x="24003" y="289179"/>
                    <a:pt x="15716" y="276701"/>
                    <a:pt x="9430" y="261938"/>
                  </a:cubicBezTo>
                  <a:cubicBezTo>
                    <a:pt x="3143" y="247174"/>
                    <a:pt x="0" y="230314"/>
                    <a:pt x="0" y="211264"/>
                  </a:cubicBezTo>
                  <a:lnTo>
                    <a:pt x="0" y="210407"/>
                  </a:lnTo>
                  <a:cubicBezTo>
                    <a:pt x="0" y="191643"/>
                    <a:pt x="3143" y="174879"/>
                    <a:pt x="9430" y="159925"/>
                  </a:cubicBezTo>
                  <a:cubicBezTo>
                    <a:pt x="15716" y="145066"/>
                    <a:pt x="24003" y="132493"/>
                    <a:pt x="34480" y="122206"/>
                  </a:cubicBezTo>
                  <a:cubicBezTo>
                    <a:pt x="44863" y="111919"/>
                    <a:pt x="56674" y="104013"/>
                    <a:pt x="69723" y="98488"/>
                  </a:cubicBezTo>
                  <a:cubicBezTo>
                    <a:pt x="82868" y="92964"/>
                    <a:pt x="96393" y="90202"/>
                    <a:pt x="110394" y="90202"/>
                  </a:cubicBezTo>
                  <a:cubicBezTo>
                    <a:pt x="121158" y="90202"/>
                    <a:pt x="130969" y="91535"/>
                    <a:pt x="139827" y="94202"/>
                  </a:cubicBezTo>
                  <a:cubicBezTo>
                    <a:pt x="148780" y="96869"/>
                    <a:pt x="156782" y="100489"/>
                    <a:pt x="163925" y="104870"/>
                  </a:cubicBezTo>
                  <a:cubicBezTo>
                    <a:pt x="171069" y="109347"/>
                    <a:pt x="177546" y="114586"/>
                    <a:pt x="183356" y="120491"/>
                  </a:cubicBezTo>
                  <a:cubicBezTo>
                    <a:pt x="189166" y="126492"/>
                    <a:pt x="194310" y="132683"/>
                    <a:pt x="198787" y="139255"/>
                  </a:cubicBezTo>
                  <a:lnTo>
                    <a:pt x="198787" y="0"/>
                  </a:lnTo>
                  <a:lnTo>
                    <a:pt x="233172" y="0"/>
                  </a:lnTo>
                  <a:lnTo>
                    <a:pt x="233172" y="325850"/>
                  </a:lnTo>
                  <a:lnTo>
                    <a:pt x="198787" y="325850"/>
                  </a:lnTo>
                  <a:lnTo>
                    <a:pt x="198787" y="279463"/>
                  </a:lnTo>
                  <a:cubicBezTo>
                    <a:pt x="194024" y="286321"/>
                    <a:pt x="188786" y="292894"/>
                    <a:pt x="182975" y="299085"/>
                  </a:cubicBezTo>
                  <a:cubicBezTo>
                    <a:pt x="177165" y="305371"/>
                    <a:pt x="170688" y="310896"/>
                    <a:pt x="163544" y="315658"/>
                  </a:cubicBezTo>
                  <a:cubicBezTo>
                    <a:pt x="156400" y="320421"/>
                    <a:pt x="148494" y="324136"/>
                    <a:pt x="139636" y="326803"/>
                  </a:cubicBezTo>
                  <a:cubicBezTo>
                    <a:pt x="130873" y="329470"/>
                    <a:pt x="121158" y="330803"/>
                    <a:pt x="110394" y="330803"/>
                  </a:cubicBezTo>
                  <a:close/>
                  <a:moveTo>
                    <a:pt x="116681" y="300133"/>
                  </a:moveTo>
                  <a:cubicBezTo>
                    <a:pt x="127445" y="300133"/>
                    <a:pt x="137732" y="297942"/>
                    <a:pt x="147733" y="293656"/>
                  </a:cubicBezTo>
                  <a:cubicBezTo>
                    <a:pt x="157734" y="289369"/>
                    <a:pt x="166592" y="283273"/>
                    <a:pt x="174498" y="275368"/>
                  </a:cubicBezTo>
                  <a:cubicBezTo>
                    <a:pt x="182404" y="267462"/>
                    <a:pt x="188595" y="258127"/>
                    <a:pt x="193262" y="247269"/>
                  </a:cubicBezTo>
                  <a:cubicBezTo>
                    <a:pt x="197834" y="236410"/>
                    <a:pt x="200216" y="224314"/>
                    <a:pt x="200216" y="210883"/>
                  </a:cubicBezTo>
                  <a:lnTo>
                    <a:pt x="200216" y="210026"/>
                  </a:lnTo>
                  <a:cubicBezTo>
                    <a:pt x="200216" y="196596"/>
                    <a:pt x="197929" y="184499"/>
                    <a:pt x="193262" y="173641"/>
                  </a:cubicBezTo>
                  <a:cubicBezTo>
                    <a:pt x="188595" y="162782"/>
                    <a:pt x="182404" y="153448"/>
                    <a:pt x="174498" y="145732"/>
                  </a:cubicBezTo>
                  <a:cubicBezTo>
                    <a:pt x="166592" y="138017"/>
                    <a:pt x="157639" y="132016"/>
                    <a:pt x="147733" y="127635"/>
                  </a:cubicBezTo>
                  <a:cubicBezTo>
                    <a:pt x="137732" y="123349"/>
                    <a:pt x="127445" y="121158"/>
                    <a:pt x="116681" y="121158"/>
                  </a:cubicBezTo>
                  <a:cubicBezTo>
                    <a:pt x="105346" y="121158"/>
                    <a:pt x="94774" y="123158"/>
                    <a:pt x="84963" y="127159"/>
                  </a:cubicBezTo>
                  <a:cubicBezTo>
                    <a:pt x="75152" y="131159"/>
                    <a:pt x="66580" y="136969"/>
                    <a:pt x="59341" y="144589"/>
                  </a:cubicBezTo>
                  <a:cubicBezTo>
                    <a:pt x="52007" y="152114"/>
                    <a:pt x="46291" y="161449"/>
                    <a:pt x="41910" y="172498"/>
                  </a:cubicBezTo>
                  <a:cubicBezTo>
                    <a:pt x="37624" y="183451"/>
                    <a:pt x="35433" y="196024"/>
                    <a:pt x="35433" y="210026"/>
                  </a:cubicBezTo>
                  <a:lnTo>
                    <a:pt x="35433" y="210883"/>
                  </a:lnTo>
                  <a:cubicBezTo>
                    <a:pt x="35433" y="224599"/>
                    <a:pt x="37624" y="236982"/>
                    <a:pt x="41910" y="247936"/>
                  </a:cubicBezTo>
                  <a:cubicBezTo>
                    <a:pt x="46196" y="258984"/>
                    <a:pt x="52101" y="268319"/>
                    <a:pt x="59531" y="276034"/>
                  </a:cubicBezTo>
                  <a:cubicBezTo>
                    <a:pt x="66960" y="283750"/>
                    <a:pt x="75629" y="289750"/>
                    <a:pt x="85439" y="293941"/>
                  </a:cubicBezTo>
                  <a:cubicBezTo>
                    <a:pt x="95250" y="298132"/>
                    <a:pt x="105632" y="300228"/>
                    <a:pt x="116681" y="300228"/>
                  </a:cubicBezTo>
                  <a:close/>
                </a:path>
              </a:pathLst>
            </a:custGeom>
            <a:solidFill>
              <a:srgbClr val="44505E"/>
            </a:solidFill>
            <a:ln w="9525" cap="flat">
              <a:noFill/>
              <a:prstDash val="solid"/>
              <a:miter/>
            </a:ln>
          </p:spPr>
          <p:txBody>
            <a:bodyPr rtlCol="0" anchor="ctr"/>
            <a:lstStyle/>
            <a:p>
              <a:endParaRPr lang="pt-BR" noProof="0"/>
            </a:p>
          </p:txBody>
        </p:sp>
        <p:sp>
          <p:nvSpPr>
            <p:cNvPr id="40" name="Freeform: Shape 52">
              <a:extLst>
                <a:ext uri="{FF2B5EF4-FFF2-40B4-BE49-F238E27FC236}">
                  <a16:creationId xmlns:a16="http://schemas.microsoft.com/office/drawing/2014/main" id="{3C0CC70A-7DB1-A30A-BBD1-397E8AB0D3E3}"/>
                </a:ext>
              </a:extLst>
            </p:cNvPr>
            <p:cNvSpPr/>
            <p:nvPr/>
          </p:nvSpPr>
          <p:spPr>
            <a:xfrm>
              <a:off x="6586762"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0 w 202977"/>
                <a:gd name="connsiteY16" fmla="*/ 48196 h 239267"/>
                <a:gd name="connsiteX17" fmla="*/ 20383 w 202977"/>
                <a:gd name="connsiteY17" fmla="*/ 19907 h 239267"/>
                <a:gd name="connsiteX18" fmla="*/ 59245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0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1"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675" y="92678"/>
                    <a:pt x="84011" y="90964"/>
                    <a:pt x="98584" y="90964"/>
                  </a:cubicBezTo>
                  <a:cubicBezTo>
                    <a:pt x="113157" y="90964"/>
                    <a:pt x="126302"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0" y="33147"/>
                    <a:pt x="63436" y="36100"/>
                  </a:cubicBezTo>
                  <a:cubicBezTo>
                    <a:pt x="52292" y="39053"/>
                    <a:pt x="41338" y="43053"/>
                    <a:pt x="30670" y="48196"/>
                  </a:cubicBezTo>
                  <a:lnTo>
                    <a:pt x="20383" y="19907"/>
                  </a:lnTo>
                  <a:cubicBezTo>
                    <a:pt x="33147" y="13906"/>
                    <a:pt x="46101" y="9049"/>
                    <a:pt x="59245" y="5429"/>
                  </a:cubicBezTo>
                  <a:cubicBezTo>
                    <a:pt x="72294" y="1810"/>
                    <a:pt x="87344" y="0"/>
                    <a:pt x="104299" y="0"/>
                  </a:cubicBezTo>
                  <a:cubicBezTo>
                    <a:pt x="137064" y="0"/>
                    <a:pt x="161925" y="8477"/>
                    <a:pt x="178879" y="25432"/>
                  </a:cubicBezTo>
                  <a:cubicBezTo>
                    <a:pt x="194976"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0" y="239173"/>
                  </a:cubicBezTo>
                  <a:close/>
                  <a:moveTo>
                    <a:pt x="93154" y="211169"/>
                  </a:moveTo>
                  <a:cubicBezTo>
                    <a:pt x="103822" y="211169"/>
                    <a:pt x="113729" y="209740"/>
                    <a:pt x="122967" y="206788"/>
                  </a:cubicBezTo>
                  <a:cubicBezTo>
                    <a:pt x="132207"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4" y="119348"/>
                    <a:pt x="116871"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41" name="Freeform: Shape 53">
              <a:extLst>
                <a:ext uri="{FF2B5EF4-FFF2-40B4-BE49-F238E27FC236}">
                  <a16:creationId xmlns:a16="http://schemas.microsoft.com/office/drawing/2014/main" id="{A678F999-94C2-C384-A630-F89CE6ED25F8}"/>
                </a:ext>
              </a:extLst>
            </p:cNvPr>
            <p:cNvSpPr/>
            <p:nvPr/>
          </p:nvSpPr>
          <p:spPr>
            <a:xfrm>
              <a:off x="6651291" y="924268"/>
              <a:ext cx="44680" cy="60195"/>
            </a:xfrm>
            <a:custGeom>
              <a:avLst/>
              <a:gdLst>
                <a:gd name="connsiteX0" fmla="*/ 95535 w 177736"/>
                <a:gd name="connsiteY0" fmla="*/ 239268 h 239458"/>
                <a:gd name="connsiteX1" fmla="*/ 45053 w 177736"/>
                <a:gd name="connsiteY1" fmla="*/ 230124 h 239458"/>
                <a:gd name="connsiteX2" fmla="*/ 0 w 177736"/>
                <a:gd name="connsiteY2" fmla="*/ 205359 h 239458"/>
                <a:gd name="connsiteX3" fmla="*/ 17430 w 177736"/>
                <a:gd name="connsiteY3" fmla="*/ 180785 h 239458"/>
                <a:gd name="connsiteX4" fmla="*/ 56483 w 177736"/>
                <a:gd name="connsiteY4" fmla="*/ 202692 h 239458"/>
                <a:gd name="connsiteX5" fmla="*/ 97345 w 177736"/>
                <a:gd name="connsiteY5" fmla="*/ 210217 h 239458"/>
                <a:gd name="connsiteX6" fmla="*/ 131730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825 w 177736"/>
                <a:gd name="connsiteY10" fmla="*/ 147066 h 239458"/>
                <a:gd name="connsiteX11" fmla="*/ 109251 w 177736"/>
                <a:gd name="connsiteY11" fmla="*/ 138779 h 239458"/>
                <a:gd name="connsiteX12" fmla="*/ 87630 w 177736"/>
                <a:gd name="connsiteY12" fmla="*/ 132112 h 239458"/>
                <a:gd name="connsiteX13" fmla="*/ 60579 w 177736"/>
                <a:gd name="connsiteY13" fmla="*/ 123444 h 239458"/>
                <a:gd name="connsiteX14" fmla="*/ 36004 w 177736"/>
                <a:gd name="connsiteY14" fmla="*/ 111633 h 239458"/>
                <a:gd name="connsiteX15" fmla="*/ 18192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59 w 177736"/>
                <a:gd name="connsiteY22" fmla="*/ 6953 h 239458"/>
                <a:gd name="connsiteX23" fmla="*/ 172878 w 177736"/>
                <a:gd name="connsiteY23" fmla="*/ 25527 h 239458"/>
                <a:gd name="connsiteX24" fmla="*/ 157257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3 w 177736"/>
                <a:gd name="connsiteY32" fmla="*/ 96203 h 239458"/>
                <a:gd name="connsiteX33" fmla="*/ 103631 w 177736"/>
                <a:gd name="connsiteY33" fmla="*/ 103346 h 239458"/>
                <a:gd name="connsiteX34" fmla="*/ 130207 w 177736"/>
                <a:gd name="connsiteY34" fmla="*/ 112300 h 239458"/>
                <a:gd name="connsiteX35" fmla="*/ 154114 w 177736"/>
                <a:gd name="connsiteY35" fmla="*/ 124778 h 239458"/>
                <a:gd name="connsiteX36" fmla="*/ 171259 w 177736"/>
                <a:gd name="connsiteY36" fmla="*/ 143066 h 239458"/>
                <a:gd name="connsiteX37" fmla="*/ 177736 w 177736"/>
                <a:gd name="connsiteY37" fmla="*/ 169450 h 239458"/>
                <a:gd name="connsiteX38" fmla="*/ 177736 w 177736"/>
                <a:gd name="connsiteY38" fmla="*/ 170307 h 239458"/>
                <a:gd name="connsiteX39" fmla="*/ 171259 w 177736"/>
                <a:gd name="connsiteY39" fmla="*/ 199549 h 239458"/>
                <a:gd name="connsiteX40" fmla="*/ 153828 w 177736"/>
                <a:gd name="connsiteY40" fmla="*/ 221171 h 239458"/>
                <a:gd name="connsiteX41" fmla="*/ 127921 w 177736"/>
                <a:gd name="connsiteY41" fmla="*/ 234791 h 239458"/>
                <a:gd name="connsiteX42" fmla="*/ 95535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5" y="239268"/>
                  </a:moveTo>
                  <a:cubicBezTo>
                    <a:pt x="78867" y="239268"/>
                    <a:pt x="62007" y="236220"/>
                    <a:pt x="45053" y="230124"/>
                  </a:cubicBezTo>
                  <a:cubicBezTo>
                    <a:pt x="28098" y="224028"/>
                    <a:pt x="13049" y="215741"/>
                    <a:pt x="0" y="205359"/>
                  </a:cubicBezTo>
                  <a:lnTo>
                    <a:pt x="17430" y="180785"/>
                  </a:lnTo>
                  <a:cubicBezTo>
                    <a:pt x="29908" y="190310"/>
                    <a:pt x="42957" y="197644"/>
                    <a:pt x="56483" y="202692"/>
                  </a:cubicBezTo>
                  <a:cubicBezTo>
                    <a:pt x="70009" y="207740"/>
                    <a:pt x="83629" y="210217"/>
                    <a:pt x="97345" y="210217"/>
                  </a:cubicBezTo>
                  <a:cubicBezTo>
                    <a:pt x="111061" y="210217"/>
                    <a:pt x="122777" y="206978"/>
                    <a:pt x="131730" y="200406"/>
                  </a:cubicBezTo>
                  <a:cubicBezTo>
                    <a:pt x="140684" y="193834"/>
                    <a:pt x="145161" y="184976"/>
                    <a:pt x="145161" y="173641"/>
                  </a:cubicBezTo>
                  <a:lnTo>
                    <a:pt x="145161" y="172784"/>
                  </a:lnTo>
                  <a:cubicBezTo>
                    <a:pt x="145161" y="167164"/>
                    <a:pt x="143541" y="162211"/>
                    <a:pt x="140494" y="158020"/>
                  </a:cubicBezTo>
                  <a:cubicBezTo>
                    <a:pt x="137350" y="153829"/>
                    <a:pt x="133159" y="150209"/>
                    <a:pt x="127825" y="147066"/>
                  </a:cubicBezTo>
                  <a:cubicBezTo>
                    <a:pt x="122491" y="143923"/>
                    <a:pt x="116300" y="141161"/>
                    <a:pt x="109251" y="138779"/>
                  </a:cubicBezTo>
                  <a:cubicBezTo>
                    <a:pt x="102298" y="136398"/>
                    <a:pt x="95059" y="134207"/>
                    <a:pt x="87630" y="132112"/>
                  </a:cubicBezTo>
                  <a:cubicBezTo>
                    <a:pt x="78676" y="129445"/>
                    <a:pt x="69722" y="126492"/>
                    <a:pt x="60579" y="123444"/>
                  </a:cubicBezTo>
                  <a:cubicBezTo>
                    <a:pt x="51530" y="120301"/>
                    <a:pt x="43339" y="116396"/>
                    <a:pt x="36004" y="111633"/>
                  </a:cubicBezTo>
                  <a:cubicBezTo>
                    <a:pt x="28670" y="106871"/>
                    <a:pt x="22764" y="100870"/>
                    <a:pt x="18192" y="93726"/>
                  </a:cubicBezTo>
                  <a:cubicBezTo>
                    <a:pt x="13525" y="86582"/>
                    <a:pt x="11239" y="77629"/>
                    <a:pt x="11239" y="66961"/>
                  </a:cubicBezTo>
                  <a:lnTo>
                    <a:pt x="11239" y="66008"/>
                  </a:lnTo>
                  <a:cubicBezTo>
                    <a:pt x="11239" y="56198"/>
                    <a:pt x="13144" y="47149"/>
                    <a:pt x="17050" y="39053"/>
                  </a:cubicBezTo>
                  <a:cubicBezTo>
                    <a:pt x="20955" y="30861"/>
                    <a:pt x="26384" y="23908"/>
                    <a:pt x="33338" y="18098"/>
                  </a:cubicBezTo>
                  <a:cubicBezTo>
                    <a:pt x="40291" y="12287"/>
                    <a:pt x="48673" y="7811"/>
                    <a:pt x="58388" y="4667"/>
                  </a:cubicBezTo>
                  <a:cubicBezTo>
                    <a:pt x="68008" y="1524"/>
                    <a:pt x="78581" y="0"/>
                    <a:pt x="89821" y="0"/>
                  </a:cubicBezTo>
                  <a:cubicBezTo>
                    <a:pt x="104108" y="0"/>
                    <a:pt x="118586" y="2286"/>
                    <a:pt x="133159" y="6953"/>
                  </a:cubicBezTo>
                  <a:cubicBezTo>
                    <a:pt x="147732" y="11621"/>
                    <a:pt x="160972" y="17717"/>
                    <a:pt x="172878" y="25527"/>
                  </a:cubicBezTo>
                  <a:lnTo>
                    <a:pt x="157257" y="51435"/>
                  </a:lnTo>
                  <a:cubicBezTo>
                    <a:pt x="146494" y="44577"/>
                    <a:pt x="135255" y="39148"/>
                    <a:pt x="123539" y="35147"/>
                  </a:cubicBezTo>
                  <a:cubicBezTo>
                    <a:pt x="111823" y="31147"/>
                    <a:pt x="100203" y="29146"/>
                    <a:pt x="88963" y="29146"/>
                  </a:cubicBezTo>
                  <a:cubicBezTo>
                    <a:pt x="75247" y="29146"/>
                    <a:pt x="64389" y="32385"/>
                    <a:pt x="56388" y="38767"/>
                  </a:cubicBezTo>
                  <a:cubicBezTo>
                    <a:pt x="48291" y="45149"/>
                    <a:pt x="44291" y="53150"/>
                    <a:pt x="44291" y="62675"/>
                  </a:cubicBezTo>
                  <a:lnTo>
                    <a:pt x="44291" y="63627"/>
                  </a:lnTo>
                  <a:cubicBezTo>
                    <a:pt x="44291" y="68961"/>
                    <a:pt x="45910" y="73628"/>
                    <a:pt x="49244" y="77724"/>
                  </a:cubicBezTo>
                  <a:cubicBezTo>
                    <a:pt x="52482" y="81725"/>
                    <a:pt x="56864" y="85249"/>
                    <a:pt x="62389" y="88202"/>
                  </a:cubicBezTo>
                  <a:cubicBezTo>
                    <a:pt x="67913" y="91154"/>
                    <a:pt x="74200" y="93821"/>
                    <a:pt x="81343" y="96203"/>
                  </a:cubicBezTo>
                  <a:cubicBezTo>
                    <a:pt x="88487" y="98584"/>
                    <a:pt x="95916" y="100965"/>
                    <a:pt x="103631" y="103346"/>
                  </a:cubicBezTo>
                  <a:cubicBezTo>
                    <a:pt x="112585" y="106013"/>
                    <a:pt x="121444" y="108966"/>
                    <a:pt x="130207" y="112300"/>
                  </a:cubicBezTo>
                  <a:cubicBezTo>
                    <a:pt x="138969" y="115538"/>
                    <a:pt x="146971" y="119729"/>
                    <a:pt x="154114" y="124778"/>
                  </a:cubicBezTo>
                  <a:cubicBezTo>
                    <a:pt x="161258" y="129826"/>
                    <a:pt x="166973" y="135922"/>
                    <a:pt x="171259" y="143066"/>
                  </a:cubicBezTo>
                  <a:cubicBezTo>
                    <a:pt x="175546" y="150209"/>
                    <a:pt x="177736" y="158972"/>
                    <a:pt x="177736" y="169450"/>
                  </a:cubicBezTo>
                  <a:lnTo>
                    <a:pt x="177736" y="170307"/>
                  </a:lnTo>
                  <a:cubicBezTo>
                    <a:pt x="177736" y="181356"/>
                    <a:pt x="175546" y="191071"/>
                    <a:pt x="171259" y="199549"/>
                  </a:cubicBezTo>
                  <a:cubicBezTo>
                    <a:pt x="166973" y="208026"/>
                    <a:pt x="161163" y="215265"/>
                    <a:pt x="153828" y="221171"/>
                  </a:cubicBezTo>
                  <a:cubicBezTo>
                    <a:pt x="146589" y="227171"/>
                    <a:pt x="137922" y="231648"/>
                    <a:pt x="127921" y="234791"/>
                  </a:cubicBezTo>
                  <a:cubicBezTo>
                    <a:pt x="117919" y="237935"/>
                    <a:pt x="107156" y="239459"/>
                    <a:pt x="95535" y="239459"/>
                  </a:cubicBezTo>
                  <a:close/>
                </a:path>
              </a:pathLst>
            </a:custGeom>
            <a:solidFill>
              <a:srgbClr val="44505E"/>
            </a:solidFill>
            <a:ln w="9525" cap="flat">
              <a:noFill/>
              <a:prstDash val="solid"/>
              <a:miter/>
            </a:ln>
          </p:spPr>
          <p:txBody>
            <a:bodyPr rtlCol="0" anchor="ctr"/>
            <a:lstStyle/>
            <a:p>
              <a:endParaRPr lang="pt-BR" noProof="0"/>
            </a:p>
          </p:txBody>
        </p:sp>
        <p:sp>
          <p:nvSpPr>
            <p:cNvPr id="42" name="Freeform: Shape 54">
              <a:extLst>
                <a:ext uri="{FF2B5EF4-FFF2-40B4-BE49-F238E27FC236}">
                  <a16:creationId xmlns:a16="http://schemas.microsoft.com/office/drawing/2014/main" id="{DE526A84-57BB-EB16-AD9A-0D18A2155CFD}"/>
                </a:ext>
              </a:extLst>
            </p:cNvPr>
            <p:cNvSpPr/>
            <p:nvPr/>
          </p:nvSpPr>
          <p:spPr>
            <a:xfrm>
              <a:off x="5250320" y="846952"/>
              <a:ext cx="1459036" cy="16186"/>
            </a:xfrm>
            <a:custGeom>
              <a:avLst/>
              <a:gdLst>
                <a:gd name="connsiteX0" fmla="*/ 0 w 5804058"/>
                <a:gd name="connsiteY0" fmla="*/ 0 h 64388"/>
                <a:gd name="connsiteX1" fmla="*/ 5804059 w 5804058"/>
                <a:gd name="connsiteY1" fmla="*/ 0 h 64388"/>
                <a:gd name="connsiteX2" fmla="*/ 5804059 w 5804058"/>
                <a:gd name="connsiteY2" fmla="*/ 64389 h 64388"/>
                <a:gd name="connsiteX3" fmla="*/ 0 w 5804058"/>
                <a:gd name="connsiteY3" fmla="*/ 64389 h 64388"/>
              </a:gdLst>
              <a:ahLst/>
              <a:cxnLst>
                <a:cxn ang="0">
                  <a:pos x="connsiteX0" y="connsiteY0"/>
                </a:cxn>
                <a:cxn ang="0">
                  <a:pos x="connsiteX1" y="connsiteY1"/>
                </a:cxn>
                <a:cxn ang="0">
                  <a:pos x="connsiteX2" y="connsiteY2"/>
                </a:cxn>
                <a:cxn ang="0">
                  <a:pos x="connsiteX3" y="connsiteY3"/>
                </a:cxn>
              </a:cxnLst>
              <a:rect l="l" t="t" r="r" b="b"/>
              <a:pathLst>
                <a:path w="5804058" h="64388">
                  <a:moveTo>
                    <a:pt x="0" y="0"/>
                  </a:moveTo>
                  <a:lnTo>
                    <a:pt x="5804059" y="0"/>
                  </a:lnTo>
                  <a:lnTo>
                    <a:pt x="5804059" y="64389"/>
                  </a:lnTo>
                  <a:lnTo>
                    <a:pt x="0" y="64389"/>
                  </a:lnTo>
                  <a:close/>
                </a:path>
              </a:pathLst>
            </a:custGeom>
            <a:solidFill>
              <a:srgbClr val="44505E"/>
            </a:solidFill>
            <a:ln w="9525" cap="flat">
              <a:noFill/>
              <a:prstDash val="solid"/>
              <a:miter/>
            </a:ln>
          </p:spPr>
          <p:txBody>
            <a:bodyPr rtlCol="0" anchor="ctr"/>
            <a:lstStyle/>
            <a:p>
              <a:endParaRPr lang="pt-BR" noProof="0"/>
            </a:p>
          </p:txBody>
        </p:sp>
        <p:sp>
          <p:nvSpPr>
            <p:cNvPr id="43" name="Freeform: Shape 55">
              <a:extLst>
                <a:ext uri="{FF2B5EF4-FFF2-40B4-BE49-F238E27FC236}">
                  <a16:creationId xmlns:a16="http://schemas.microsoft.com/office/drawing/2014/main" id="{7BDD6B3A-877F-0F36-7195-A8122398BB56}"/>
                </a:ext>
              </a:extLst>
            </p:cNvPr>
            <p:cNvSpPr/>
            <p:nvPr/>
          </p:nvSpPr>
          <p:spPr>
            <a:xfrm>
              <a:off x="6902633" y="268821"/>
              <a:ext cx="273418" cy="601046"/>
            </a:xfrm>
            <a:custGeom>
              <a:avLst/>
              <a:gdLst>
                <a:gd name="connsiteX0" fmla="*/ 0 w 1087659"/>
                <a:gd name="connsiteY0" fmla="*/ 210979 h 2390965"/>
                <a:gd name="connsiteX1" fmla="*/ 125063 w 1087659"/>
                <a:gd name="connsiteY1" fmla="*/ 103442 h 2390965"/>
                <a:gd name="connsiteX2" fmla="*/ 250031 w 1087659"/>
                <a:gd name="connsiteY2" fmla="*/ 210979 h 2390965"/>
                <a:gd name="connsiteX3" fmla="*/ 250031 w 1087659"/>
                <a:gd name="connsiteY3" fmla="*/ 1922717 h 2390965"/>
                <a:gd name="connsiteX4" fmla="*/ 249841 w 1087659"/>
                <a:gd name="connsiteY4" fmla="*/ 1922717 h 2390965"/>
                <a:gd name="connsiteX5" fmla="*/ 249841 w 1087659"/>
                <a:gd name="connsiteY5" fmla="*/ 1925955 h 2390965"/>
                <a:gd name="connsiteX6" fmla="*/ 333756 w 1087659"/>
                <a:gd name="connsiteY6" fmla="*/ 2100263 h 2390965"/>
                <a:gd name="connsiteX7" fmla="*/ 335566 w 1087659"/>
                <a:gd name="connsiteY7" fmla="*/ 2101787 h 2390965"/>
                <a:gd name="connsiteX8" fmla="*/ 336042 w 1087659"/>
                <a:gd name="connsiteY8" fmla="*/ 2102168 h 2390965"/>
                <a:gd name="connsiteX9" fmla="*/ 543877 w 1087659"/>
                <a:gd name="connsiteY9" fmla="*/ 2175891 h 2390965"/>
                <a:gd name="connsiteX10" fmla="*/ 749998 w 1087659"/>
                <a:gd name="connsiteY10" fmla="*/ 2103692 h 2390965"/>
                <a:gd name="connsiteX11" fmla="*/ 751713 w 1087659"/>
                <a:gd name="connsiteY11" fmla="*/ 2102168 h 2390965"/>
                <a:gd name="connsiteX12" fmla="*/ 752189 w 1087659"/>
                <a:gd name="connsiteY12" fmla="*/ 2101787 h 2390965"/>
                <a:gd name="connsiteX13" fmla="*/ 837819 w 1087659"/>
                <a:gd name="connsiteY13" fmla="*/ 1922812 h 2390965"/>
                <a:gd name="connsiteX14" fmla="*/ 837819 w 1087659"/>
                <a:gd name="connsiteY14" fmla="*/ 107537 h 2390965"/>
                <a:gd name="connsiteX15" fmla="*/ 962787 w 1087659"/>
                <a:gd name="connsiteY15" fmla="*/ 0 h 2390965"/>
                <a:gd name="connsiteX16" fmla="*/ 1087660 w 1087659"/>
                <a:gd name="connsiteY16" fmla="*/ 107537 h 2390965"/>
                <a:gd name="connsiteX17" fmla="*/ 1087660 w 1087659"/>
                <a:gd name="connsiteY17" fmla="*/ 1922621 h 2390965"/>
                <a:gd name="connsiteX18" fmla="*/ 928307 w 1087659"/>
                <a:gd name="connsiteY18" fmla="*/ 2253234 h 2390965"/>
                <a:gd name="connsiteX19" fmla="*/ 928116 w 1087659"/>
                <a:gd name="connsiteY19" fmla="*/ 2253424 h 2390965"/>
                <a:gd name="connsiteX20" fmla="*/ 927830 w 1087659"/>
                <a:gd name="connsiteY20" fmla="*/ 2253710 h 2390965"/>
                <a:gd name="connsiteX21" fmla="*/ 927354 w 1087659"/>
                <a:gd name="connsiteY21" fmla="*/ 2254187 h 2390965"/>
                <a:gd name="connsiteX22" fmla="*/ 543783 w 1087659"/>
                <a:gd name="connsiteY22" fmla="*/ 2390966 h 2390965"/>
                <a:gd name="connsiteX23" fmla="*/ 159734 w 1087659"/>
                <a:gd name="connsiteY23" fmla="*/ 2253710 h 2390965"/>
                <a:gd name="connsiteX24" fmla="*/ 159734 w 1087659"/>
                <a:gd name="connsiteY24" fmla="*/ 2253424 h 2390965"/>
                <a:gd name="connsiteX25" fmla="*/ 159353 w 1087659"/>
                <a:gd name="connsiteY25" fmla="*/ 2253234 h 2390965"/>
                <a:gd name="connsiteX26" fmla="*/ 158877 w 1087659"/>
                <a:gd name="connsiteY26" fmla="*/ 2252948 h 2390965"/>
                <a:gd name="connsiteX27" fmla="*/ 0 w 1087659"/>
                <a:gd name="connsiteY27" fmla="*/ 1922621 h 2390965"/>
                <a:gd name="connsiteX28" fmla="*/ 0 w 1087659"/>
                <a:gd name="connsiteY28" fmla="*/ 1922621 h 2390965"/>
                <a:gd name="connsiteX29" fmla="*/ 0 w 1087659"/>
                <a:gd name="connsiteY29" fmla="*/ 210979 h 239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87659" h="2390965">
                  <a:moveTo>
                    <a:pt x="0" y="210979"/>
                  </a:moveTo>
                  <a:cubicBezTo>
                    <a:pt x="0" y="151638"/>
                    <a:pt x="56007" y="103442"/>
                    <a:pt x="125063" y="103442"/>
                  </a:cubicBezTo>
                  <a:cubicBezTo>
                    <a:pt x="194120" y="103442"/>
                    <a:pt x="250031" y="151638"/>
                    <a:pt x="250031" y="210979"/>
                  </a:cubicBezTo>
                  <a:lnTo>
                    <a:pt x="250031" y="1922717"/>
                  </a:lnTo>
                  <a:lnTo>
                    <a:pt x="249841" y="1922717"/>
                  </a:lnTo>
                  <a:lnTo>
                    <a:pt x="249841" y="1925955"/>
                  </a:lnTo>
                  <a:cubicBezTo>
                    <a:pt x="250793" y="1994059"/>
                    <a:pt x="282797" y="2055495"/>
                    <a:pt x="333756" y="2100263"/>
                  </a:cubicBezTo>
                  <a:lnTo>
                    <a:pt x="335566" y="2101787"/>
                  </a:lnTo>
                  <a:lnTo>
                    <a:pt x="336042" y="2102168"/>
                  </a:lnTo>
                  <a:cubicBezTo>
                    <a:pt x="388906" y="2147697"/>
                    <a:pt x="462343" y="2175891"/>
                    <a:pt x="543877" y="2175891"/>
                  </a:cubicBezTo>
                  <a:cubicBezTo>
                    <a:pt x="625411" y="2175891"/>
                    <a:pt x="697420" y="2148364"/>
                    <a:pt x="749998" y="2103692"/>
                  </a:cubicBezTo>
                  <a:lnTo>
                    <a:pt x="751713" y="2102168"/>
                  </a:lnTo>
                  <a:lnTo>
                    <a:pt x="752189" y="2101787"/>
                  </a:lnTo>
                  <a:cubicBezTo>
                    <a:pt x="805053" y="2056352"/>
                    <a:pt x="837819" y="1993011"/>
                    <a:pt x="837819" y="1922812"/>
                  </a:cubicBezTo>
                  <a:lnTo>
                    <a:pt x="837819" y="107537"/>
                  </a:lnTo>
                  <a:cubicBezTo>
                    <a:pt x="837819" y="48196"/>
                    <a:pt x="893731" y="0"/>
                    <a:pt x="962787" y="0"/>
                  </a:cubicBezTo>
                  <a:cubicBezTo>
                    <a:pt x="1031843" y="0"/>
                    <a:pt x="1087660" y="48196"/>
                    <a:pt x="1087660" y="107537"/>
                  </a:cubicBezTo>
                  <a:lnTo>
                    <a:pt x="1087660" y="1922621"/>
                  </a:lnTo>
                  <a:cubicBezTo>
                    <a:pt x="1087660" y="2051399"/>
                    <a:pt x="1026795" y="2168366"/>
                    <a:pt x="928307" y="2253234"/>
                  </a:cubicBezTo>
                  <a:lnTo>
                    <a:pt x="928116" y="2253424"/>
                  </a:lnTo>
                  <a:lnTo>
                    <a:pt x="927830" y="2253710"/>
                  </a:lnTo>
                  <a:lnTo>
                    <a:pt x="927354" y="2254187"/>
                  </a:lnTo>
                  <a:cubicBezTo>
                    <a:pt x="828770" y="2338673"/>
                    <a:pt x="693134" y="2390966"/>
                    <a:pt x="543783" y="2390966"/>
                  </a:cubicBezTo>
                  <a:cubicBezTo>
                    <a:pt x="394430" y="2390966"/>
                    <a:pt x="258413" y="2338483"/>
                    <a:pt x="159734" y="2253710"/>
                  </a:cubicBezTo>
                  <a:lnTo>
                    <a:pt x="159734" y="2253424"/>
                  </a:lnTo>
                  <a:cubicBezTo>
                    <a:pt x="159734" y="2253424"/>
                    <a:pt x="159353" y="2253234"/>
                    <a:pt x="159353" y="2253234"/>
                  </a:cubicBezTo>
                  <a:lnTo>
                    <a:pt x="158877" y="2252948"/>
                  </a:lnTo>
                  <a:cubicBezTo>
                    <a:pt x="60770" y="2167985"/>
                    <a:pt x="0" y="2051304"/>
                    <a:pt x="0" y="1922621"/>
                  </a:cubicBezTo>
                  <a:lnTo>
                    <a:pt x="0" y="1922621"/>
                  </a:lnTo>
                  <a:lnTo>
                    <a:pt x="0" y="210979"/>
                  </a:lnTo>
                  <a:close/>
                </a:path>
              </a:pathLst>
            </a:custGeom>
            <a:solidFill>
              <a:srgbClr val="8FC640"/>
            </a:solidFill>
            <a:ln w="9525" cap="flat">
              <a:noFill/>
              <a:prstDash val="solid"/>
              <a:miter/>
            </a:ln>
          </p:spPr>
          <p:txBody>
            <a:bodyPr rtlCol="0" anchor="ctr"/>
            <a:lstStyle/>
            <a:p>
              <a:endParaRPr lang="pt-BR" noProof="0"/>
            </a:p>
          </p:txBody>
        </p:sp>
        <p:sp>
          <p:nvSpPr>
            <p:cNvPr id="44" name="Freeform: Shape 56">
              <a:extLst>
                <a:ext uri="{FF2B5EF4-FFF2-40B4-BE49-F238E27FC236}">
                  <a16:creationId xmlns:a16="http://schemas.microsoft.com/office/drawing/2014/main" id="{5000FEC8-0C2D-23DB-00F3-59652D428DAB}"/>
                </a:ext>
              </a:extLst>
            </p:cNvPr>
            <p:cNvSpPr/>
            <p:nvPr/>
          </p:nvSpPr>
          <p:spPr>
            <a:xfrm>
              <a:off x="7013590" y="213965"/>
              <a:ext cx="54018" cy="562280"/>
            </a:xfrm>
            <a:custGeom>
              <a:avLst/>
              <a:gdLst>
                <a:gd name="connsiteX0" fmla="*/ 0 w 214883"/>
                <a:gd name="connsiteY0" fmla="*/ 107537 h 2236755"/>
                <a:gd name="connsiteX1" fmla="*/ 107537 w 214883"/>
                <a:gd name="connsiteY1" fmla="*/ 0 h 2236755"/>
                <a:gd name="connsiteX2" fmla="*/ 214884 w 214883"/>
                <a:gd name="connsiteY2" fmla="*/ 107537 h 2236755"/>
                <a:gd name="connsiteX3" fmla="*/ 214884 w 214883"/>
                <a:gd name="connsiteY3" fmla="*/ 2129219 h 2236755"/>
                <a:gd name="connsiteX4" fmla="*/ 107537 w 214883"/>
                <a:gd name="connsiteY4" fmla="*/ 2236756 h 2236755"/>
                <a:gd name="connsiteX5" fmla="*/ 0 w 214883"/>
                <a:gd name="connsiteY5" fmla="*/ 2129219 h 2236755"/>
                <a:gd name="connsiteX6" fmla="*/ 0 w 214883"/>
                <a:gd name="connsiteY6" fmla="*/ 107537 h 223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 h="2236755">
                  <a:moveTo>
                    <a:pt x="0" y="107537"/>
                  </a:moveTo>
                  <a:cubicBezTo>
                    <a:pt x="0" y="48197"/>
                    <a:pt x="48101" y="0"/>
                    <a:pt x="107537" y="0"/>
                  </a:cubicBezTo>
                  <a:cubicBezTo>
                    <a:pt x="166973" y="0"/>
                    <a:pt x="214884" y="48197"/>
                    <a:pt x="214884" y="107537"/>
                  </a:cubicBezTo>
                  <a:lnTo>
                    <a:pt x="214884" y="2129219"/>
                  </a:lnTo>
                  <a:cubicBezTo>
                    <a:pt x="214884" y="2188559"/>
                    <a:pt x="166782" y="2236756"/>
                    <a:pt x="107537" y="2236756"/>
                  </a:cubicBezTo>
                  <a:cubicBezTo>
                    <a:pt x="48291" y="2236756"/>
                    <a:pt x="0" y="2188559"/>
                    <a:pt x="0" y="2129219"/>
                  </a:cubicBezTo>
                  <a:lnTo>
                    <a:pt x="0" y="107537"/>
                  </a:lnTo>
                  <a:close/>
                </a:path>
              </a:pathLst>
            </a:custGeom>
            <a:solidFill>
              <a:srgbClr val="3698B0"/>
            </a:solidFill>
            <a:ln w="9525" cap="flat">
              <a:noFill/>
              <a:prstDash val="solid"/>
              <a:miter/>
            </a:ln>
          </p:spPr>
          <p:txBody>
            <a:bodyPr rtlCol="0" anchor="ctr"/>
            <a:lstStyle/>
            <a:p>
              <a:endParaRPr lang="pt-BR" noProof="0"/>
            </a:p>
          </p:txBody>
        </p:sp>
        <p:sp>
          <p:nvSpPr>
            <p:cNvPr id="45" name="Freeform: Shape 57">
              <a:extLst>
                <a:ext uri="{FF2B5EF4-FFF2-40B4-BE49-F238E27FC236}">
                  <a16:creationId xmlns:a16="http://schemas.microsoft.com/office/drawing/2014/main" id="{B86B4F3D-A026-8103-4E0D-7505488C4AFE}"/>
                </a:ext>
              </a:extLst>
            </p:cNvPr>
            <p:cNvSpPr/>
            <p:nvPr/>
          </p:nvSpPr>
          <p:spPr>
            <a:xfrm>
              <a:off x="6795770" y="332991"/>
              <a:ext cx="485994" cy="649437"/>
            </a:xfrm>
            <a:custGeom>
              <a:avLst/>
              <a:gdLst>
                <a:gd name="connsiteX0" fmla="*/ 1933290 w 1933289"/>
                <a:gd name="connsiteY0" fmla="*/ 138017 h 2583465"/>
                <a:gd name="connsiteX1" fmla="*/ 1933290 w 1933289"/>
                <a:gd name="connsiteY1" fmla="*/ 1734122 h 2583465"/>
                <a:gd name="connsiteX2" fmla="*/ 1796606 w 1933289"/>
                <a:gd name="connsiteY2" fmla="*/ 2229136 h 2583465"/>
                <a:gd name="connsiteX3" fmla="*/ 977742 w 1933289"/>
                <a:gd name="connsiteY3" fmla="*/ 2583466 h 2583465"/>
                <a:gd name="connsiteX4" fmla="*/ 955357 w 1933289"/>
                <a:gd name="connsiteY4" fmla="*/ 2583466 h 2583465"/>
                <a:gd name="connsiteX5" fmla="*/ 136589 w 1933289"/>
                <a:gd name="connsiteY5" fmla="*/ 2229136 h 2583465"/>
                <a:gd name="connsiteX6" fmla="*/ 0 w 1933289"/>
                <a:gd name="connsiteY6" fmla="*/ 1734122 h 2583465"/>
                <a:gd name="connsiteX7" fmla="*/ 0 w 1933289"/>
                <a:gd name="connsiteY7" fmla="*/ 794194 h 2583465"/>
                <a:gd name="connsiteX8" fmla="*/ 137827 w 1933289"/>
                <a:gd name="connsiteY8" fmla="*/ 656273 h 2583465"/>
                <a:gd name="connsiteX9" fmla="*/ 275463 w 1933289"/>
                <a:gd name="connsiteY9" fmla="*/ 794194 h 2583465"/>
                <a:gd name="connsiteX10" fmla="*/ 275463 w 1933289"/>
                <a:gd name="connsiteY10" fmla="*/ 1734122 h 2583465"/>
                <a:gd name="connsiteX11" fmla="*/ 354235 w 1933289"/>
                <a:gd name="connsiteY11" fmla="*/ 2059686 h 2583465"/>
                <a:gd name="connsiteX12" fmla="*/ 958215 w 1933289"/>
                <a:gd name="connsiteY12" fmla="*/ 2307527 h 2583465"/>
                <a:gd name="connsiteX13" fmla="*/ 974789 w 1933289"/>
                <a:gd name="connsiteY13" fmla="*/ 2307527 h 2583465"/>
                <a:gd name="connsiteX14" fmla="*/ 1578959 w 1933289"/>
                <a:gd name="connsiteY14" fmla="*/ 2059686 h 2583465"/>
                <a:gd name="connsiteX15" fmla="*/ 1657636 w 1933289"/>
                <a:gd name="connsiteY15" fmla="*/ 1734122 h 2583465"/>
                <a:gd name="connsiteX16" fmla="*/ 1657636 w 1933289"/>
                <a:gd name="connsiteY16" fmla="*/ 138017 h 2583465"/>
                <a:gd name="connsiteX17" fmla="*/ 1795463 w 1933289"/>
                <a:gd name="connsiteY17" fmla="*/ 0 h 2583465"/>
                <a:gd name="connsiteX18" fmla="*/ 1933290 w 1933289"/>
                <a:gd name="connsiteY18" fmla="*/ 138017 h 25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3289" h="2583465">
                  <a:moveTo>
                    <a:pt x="1933290" y="138017"/>
                  </a:moveTo>
                  <a:lnTo>
                    <a:pt x="1933290" y="1734122"/>
                  </a:lnTo>
                  <a:cubicBezTo>
                    <a:pt x="1933290" y="1870996"/>
                    <a:pt x="1919002" y="2071211"/>
                    <a:pt x="1796606" y="2229136"/>
                  </a:cubicBezTo>
                  <a:cubicBezTo>
                    <a:pt x="1634395" y="2438305"/>
                    <a:pt x="1432084" y="2578703"/>
                    <a:pt x="977742" y="2583466"/>
                  </a:cubicBezTo>
                  <a:lnTo>
                    <a:pt x="955357" y="2583466"/>
                  </a:lnTo>
                  <a:cubicBezTo>
                    <a:pt x="501015" y="2578703"/>
                    <a:pt x="298704" y="2438400"/>
                    <a:pt x="136589" y="2229136"/>
                  </a:cubicBezTo>
                  <a:cubicBezTo>
                    <a:pt x="14192" y="2071211"/>
                    <a:pt x="0" y="1870996"/>
                    <a:pt x="0" y="1734122"/>
                  </a:cubicBezTo>
                  <a:lnTo>
                    <a:pt x="0" y="794194"/>
                  </a:lnTo>
                  <a:cubicBezTo>
                    <a:pt x="0" y="718185"/>
                    <a:pt x="61436" y="656273"/>
                    <a:pt x="137827" y="656273"/>
                  </a:cubicBezTo>
                  <a:cubicBezTo>
                    <a:pt x="214217" y="656273"/>
                    <a:pt x="275463" y="718185"/>
                    <a:pt x="275463" y="794194"/>
                  </a:cubicBezTo>
                  <a:lnTo>
                    <a:pt x="275463" y="1734122"/>
                  </a:lnTo>
                  <a:cubicBezTo>
                    <a:pt x="275463" y="1887188"/>
                    <a:pt x="300324" y="1990630"/>
                    <a:pt x="354235" y="2059686"/>
                  </a:cubicBezTo>
                  <a:cubicBezTo>
                    <a:pt x="476250" y="2217611"/>
                    <a:pt x="609791" y="2304479"/>
                    <a:pt x="958215" y="2307527"/>
                  </a:cubicBezTo>
                  <a:lnTo>
                    <a:pt x="974789" y="2307527"/>
                  </a:lnTo>
                  <a:cubicBezTo>
                    <a:pt x="1323499" y="2304479"/>
                    <a:pt x="1456563" y="2217611"/>
                    <a:pt x="1578959" y="2059686"/>
                  </a:cubicBezTo>
                  <a:cubicBezTo>
                    <a:pt x="1632490" y="1990630"/>
                    <a:pt x="1657636" y="1887093"/>
                    <a:pt x="1657636" y="1734122"/>
                  </a:cubicBezTo>
                  <a:lnTo>
                    <a:pt x="1657636" y="138017"/>
                  </a:lnTo>
                  <a:cubicBezTo>
                    <a:pt x="1657636" y="61531"/>
                    <a:pt x="1719453" y="0"/>
                    <a:pt x="1795463" y="0"/>
                  </a:cubicBezTo>
                  <a:cubicBezTo>
                    <a:pt x="1871472" y="0"/>
                    <a:pt x="1933290" y="61531"/>
                    <a:pt x="1933290" y="138017"/>
                  </a:cubicBezTo>
                </a:path>
              </a:pathLst>
            </a:custGeom>
            <a:solidFill>
              <a:srgbClr val="49306E"/>
            </a:solidFill>
            <a:ln w="9525" cap="flat">
              <a:noFill/>
              <a:prstDash val="solid"/>
              <a:miter/>
            </a:ln>
          </p:spPr>
          <p:txBody>
            <a:bodyPr rtlCol="0" anchor="ctr"/>
            <a:lstStyle/>
            <a:p>
              <a:endParaRPr lang="pt-BR" noProof="0"/>
            </a:p>
          </p:txBody>
        </p:sp>
      </p:grpSp>
      <p:sp>
        <p:nvSpPr>
          <p:cNvPr id="46" name="Título 1">
            <a:extLst>
              <a:ext uri="{FF2B5EF4-FFF2-40B4-BE49-F238E27FC236}">
                <a16:creationId xmlns:a16="http://schemas.microsoft.com/office/drawing/2014/main" id="{A003B4A5-24B7-24B2-301A-479D4807E47B}"/>
              </a:ext>
            </a:extLst>
          </p:cNvPr>
          <p:cNvSpPr txBox="1">
            <a:spLocks/>
          </p:cNvSpPr>
          <p:nvPr/>
        </p:nvSpPr>
        <p:spPr>
          <a:xfrm>
            <a:off x="2157359" y="238418"/>
            <a:ext cx="10058400" cy="631231"/>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pt-BR" sz="3600" b="1">
                <a:solidFill>
                  <a:srgbClr val="3299B1"/>
                </a:solidFill>
                <a:latin typeface="Agency FB" panose="020B0503020202020204" pitchFamily="34" charset="0"/>
              </a:rPr>
              <a:t>Considerações – PAV </a:t>
            </a:r>
          </a:p>
        </p:txBody>
      </p:sp>
      <p:sp>
        <p:nvSpPr>
          <p:cNvPr id="62" name="Google Shape;97;p15">
            <a:extLst>
              <a:ext uri="{FF2B5EF4-FFF2-40B4-BE49-F238E27FC236}">
                <a16:creationId xmlns:a16="http://schemas.microsoft.com/office/drawing/2014/main" id="{BFE6851A-5164-CC1D-A9F5-39BA03685DBC}"/>
              </a:ext>
            </a:extLst>
          </p:cNvPr>
          <p:cNvSpPr txBox="1">
            <a:spLocks/>
          </p:cNvSpPr>
          <p:nvPr/>
        </p:nvSpPr>
        <p:spPr>
          <a:xfrm>
            <a:off x="718522" y="1628661"/>
            <a:ext cx="10889966" cy="4607326"/>
          </a:xfrm>
          <a:prstGeom prst="rect">
            <a:avLst/>
          </a:prstGeom>
          <a:noFill/>
          <a:ln>
            <a:noFill/>
          </a:ln>
        </p:spPr>
        <p:txBody>
          <a:bodyPr spcFirstLastPara="1" wrap="square" lIns="91425" tIns="45700" rIns="91425" bIns="45700" anchor="t" anchorCtr="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buClr>
                <a:schemeClr val="dk1"/>
              </a:buClr>
              <a:buSzPct val="100000"/>
            </a:pPr>
            <a:r>
              <a:rPr lang="pt-BR" sz="2400" b="1" dirty="0">
                <a:ea typeface="+mn-lt"/>
                <a:cs typeface="+mn-lt"/>
              </a:rPr>
              <a:t>Doença pulmonar de base:</a:t>
            </a:r>
            <a:r>
              <a:rPr lang="pt-BR" sz="2400" dirty="0">
                <a:ea typeface="+mn-lt"/>
                <a:cs typeface="+mn-lt"/>
              </a:rPr>
              <a:t> necessários </a:t>
            </a:r>
            <a:r>
              <a:rPr lang="pt-BR" sz="2400" b="1" dirty="0">
                <a:ea typeface="+mn-lt"/>
                <a:cs typeface="+mn-lt"/>
              </a:rPr>
              <a:t>2 exames de imagem alterados</a:t>
            </a:r>
            <a:r>
              <a:rPr lang="pt-BR" sz="2400" dirty="0">
                <a:ea typeface="+mn-lt"/>
                <a:cs typeface="+mn-lt"/>
              </a:rPr>
              <a:t> para definição de PAV.</a:t>
            </a:r>
          </a:p>
          <a:p>
            <a:pPr algn="just">
              <a:buClr>
                <a:srgbClr val="000000"/>
              </a:buClr>
              <a:buSzPct val="100000"/>
            </a:pPr>
            <a:endParaRPr lang="pt-BR" sz="2400" dirty="0">
              <a:ea typeface="+mn-lt"/>
              <a:cs typeface="+mn-lt"/>
            </a:endParaRPr>
          </a:p>
          <a:p>
            <a:pPr algn="just"/>
            <a:r>
              <a:rPr lang="pt-BR" sz="2400" b="1" dirty="0">
                <a:ea typeface="+mn-lt"/>
                <a:cs typeface="+mn-lt"/>
              </a:rPr>
              <a:t>Parâmetros ventilatórios:</a:t>
            </a:r>
            <a:r>
              <a:rPr lang="pt-BR" sz="2400" dirty="0">
                <a:ea typeface="+mn-lt"/>
                <a:cs typeface="+mn-lt"/>
              </a:rPr>
              <a:t> alterações devem ser </a:t>
            </a:r>
            <a:r>
              <a:rPr lang="pt-BR" sz="2400" b="1" dirty="0">
                <a:ea typeface="+mn-lt"/>
                <a:cs typeface="+mn-lt"/>
              </a:rPr>
              <a:t>persistentes por ≥ 2 dias</a:t>
            </a:r>
            <a:r>
              <a:rPr lang="pt-BR" sz="2400" dirty="0">
                <a:ea typeface="+mn-lt"/>
                <a:cs typeface="+mn-lt"/>
              </a:rPr>
              <a:t>.</a:t>
            </a:r>
            <a:endParaRPr lang="pt-BR" sz="2400" dirty="0"/>
          </a:p>
          <a:p>
            <a:pPr algn="just"/>
            <a:endParaRPr lang="pt-BR" sz="2400" dirty="0">
              <a:ea typeface="+mn-lt"/>
              <a:cs typeface="+mn-lt"/>
            </a:endParaRPr>
          </a:p>
          <a:p>
            <a:pPr algn="just"/>
            <a:r>
              <a:rPr lang="pt-BR" sz="2400" b="1" dirty="0">
                <a:ea typeface="+mn-lt"/>
                <a:cs typeface="+mn-lt"/>
              </a:rPr>
              <a:t>Secreção respiratória:</a:t>
            </a:r>
            <a:r>
              <a:rPr lang="pt-BR" sz="2400" dirty="0">
                <a:ea typeface="+mn-lt"/>
                <a:cs typeface="+mn-lt"/>
              </a:rPr>
              <a:t> considerar </a:t>
            </a:r>
            <a:r>
              <a:rPr lang="pt-BR" sz="2400" b="1" dirty="0">
                <a:ea typeface="+mn-lt"/>
                <a:cs typeface="+mn-lt"/>
              </a:rPr>
              <a:t>mudança real (cor, consistência, odor ou quantidade). Registro único não caracteriza mudança</a:t>
            </a:r>
            <a:r>
              <a:rPr lang="pt-BR" sz="2400" dirty="0">
                <a:ea typeface="+mn-lt"/>
                <a:cs typeface="+mn-lt"/>
              </a:rPr>
              <a:t>.</a:t>
            </a:r>
            <a:endParaRPr lang="pt-BR" sz="2400" dirty="0"/>
          </a:p>
          <a:p>
            <a:pPr indent="-215265" algn="just">
              <a:spcBef>
                <a:spcPts val="0"/>
              </a:spcBef>
              <a:buClr>
                <a:srgbClr val="000000"/>
              </a:buClr>
              <a:buSzPct val="100000"/>
            </a:pPr>
            <a:endParaRPr lang="pt-BR" sz="2400" dirty="0"/>
          </a:p>
          <a:p>
            <a:pPr indent="-215265" algn="just">
              <a:spcBef>
                <a:spcPts val="0"/>
              </a:spcBef>
              <a:buClr>
                <a:schemeClr val="dk1"/>
              </a:buClr>
              <a:buSzPct val="100000"/>
            </a:pPr>
            <a:endParaRPr lang="pt-BR" sz="2400" dirty="0"/>
          </a:p>
          <a:p>
            <a:pPr indent="-215265" algn="just">
              <a:spcBef>
                <a:spcPts val="0"/>
              </a:spcBef>
              <a:buClr>
                <a:schemeClr val="dk1"/>
              </a:buClr>
              <a:buSzPct val="100000"/>
            </a:pPr>
            <a:r>
              <a:rPr lang="pt-BR" sz="2400" dirty="0"/>
              <a:t>Em adultos, </a:t>
            </a:r>
            <a:r>
              <a:rPr lang="pt-BR" sz="2400" b="1" dirty="0"/>
              <a:t>PAV </a:t>
            </a:r>
            <a:r>
              <a:rPr lang="pt-BR" sz="2400" dirty="0"/>
              <a:t>é a única IRAS </a:t>
            </a:r>
            <a:r>
              <a:rPr lang="pt-BR" sz="2400" b="1" dirty="0"/>
              <a:t>possível</a:t>
            </a:r>
            <a:r>
              <a:rPr lang="pt-BR" sz="2400" dirty="0"/>
              <a:t> de ser notificada </a:t>
            </a:r>
            <a:r>
              <a:rPr lang="pt-BR" sz="2400" b="1" dirty="0"/>
              <a:t>sem cultura </a:t>
            </a:r>
          </a:p>
        </p:txBody>
      </p:sp>
    </p:spTree>
    <p:extLst>
      <p:ext uri="{BB962C8B-B14F-4D97-AF65-F5344CB8AC3E}">
        <p14:creationId xmlns:p14="http://schemas.microsoft.com/office/powerpoint/2010/main" val="229791263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9FFC9E-9AC0-6054-73BC-6124CD58B878}"/>
            </a:ext>
          </a:extLst>
        </p:cNvPr>
        <p:cNvGrpSpPr/>
        <p:nvPr/>
      </p:nvGrpSpPr>
      <p:grpSpPr>
        <a:xfrm>
          <a:off x="0" y="0"/>
          <a:ext cx="0" cy="0"/>
          <a:chOff x="0" y="0"/>
          <a:chExt cx="0" cy="0"/>
        </a:xfrm>
      </p:grpSpPr>
      <p:grpSp>
        <p:nvGrpSpPr>
          <p:cNvPr id="2" name="Group 12">
            <a:extLst>
              <a:ext uri="{FF2B5EF4-FFF2-40B4-BE49-F238E27FC236}">
                <a16:creationId xmlns:a16="http://schemas.microsoft.com/office/drawing/2014/main" id="{7A38BDB1-ED04-1C9E-81F9-F375C0F69D19}"/>
              </a:ext>
            </a:extLst>
          </p:cNvPr>
          <p:cNvGrpSpPr/>
          <p:nvPr/>
        </p:nvGrpSpPr>
        <p:grpSpPr>
          <a:xfrm>
            <a:off x="304800" y="249455"/>
            <a:ext cx="1193800" cy="462985"/>
            <a:chOff x="5245100" y="211355"/>
            <a:chExt cx="2036664" cy="789869"/>
          </a:xfrm>
        </p:grpSpPr>
        <p:sp>
          <p:nvSpPr>
            <p:cNvPr id="3" name="Freeform: Shape 13">
              <a:extLst>
                <a:ext uri="{FF2B5EF4-FFF2-40B4-BE49-F238E27FC236}">
                  <a16:creationId xmlns:a16="http://schemas.microsoft.com/office/drawing/2014/main" id="{A17BEE25-9823-3BD1-DC6F-B7288F84C94A}"/>
                </a:ext>
              </a:extLst>
            </p:cNvPr>
            <p:cNvSpPr/>
            <p:nvPr/>
          </p:nvSpPr>
          <p:spPr>
            <a:xfrm>
              <a:off x="5245100" y="308520"/>
              <a:ext cx="247894" cy="322815"/>
            </a:xfrm>
            <a:custGeom>
              <a:avLst/>
              <a:gdLst>
                <a:gd name="connsiteX0" fmla="*/ 529590 w 986123"/>
                <a:gd name="connsiteY0" fmla="*/ 1284160 h 1284160"/>
                <a:gd name="connsiteX1" fmla="*/ 249650 w 986123"/>
                <a:gd name="connsiteY1" fmla="*/ 1235107 h 1284160"/>
                <a:gd name="connsiteX2" fmla="*/ 0 w 986123"/>
                <a:gd name="connsiteY2" fmla="*/ 1084421 h 1284160"/>
                <a:gd name="connsiteX3" fmla="*/ 162306 w 986123"/>
                <a:gd name="connsiteY3" fmla="*/ 890016 h 1284160"/>
                <a:gd name="connsiteX4" fmla="*/ 337947 w 986123"/>
                <a:gd name="connsiteY4" fmla="*/ 1000601 h 1284160"/>
                <a:gd name="connsiteX5" fmla="*/ 535019 w 986123"/>
                <a:gd name="connsiteY5" fmla="*/ 1041654 h 1284160"/>
                <a:gd name="connsiteX6" fmla="*/ 667893 w 986123"/>
                <a:gd name="connsiteY6" fmla="*/ 1010412 h 1284160"/>
                <a:gd name="connsiteX7" fmla="*/ 715137 w 986123"/>
                <a:gd name="connsiteY7" fmla="*/ 923925 h 1284160"/>
                <a:gd name="connsiteX8" fmla="*/ 715137 w 986123"/>
                <a:gd name="connsiteY8" fmla="*/ 920305 h 1284160"/>
                <a:gd name="connsiteX9" fmla="*/ 705326 w 986123"/>
                <a:gd name="connsiteY9" fmla="*/ 873062 h 1284160"/>
                <a:gd name="connsiteX10" fmla="*/ 667798 w 986123"/>
                <a:gd name="connsiteY10" fmla="*/ 834676 h 1284160"/>
                <a:gd name="connsiteX11" fmla="*/ 590931 w 986123"/>
                <a:gd name="connsiteY11" fmla="*/ 798957 h 1284160"/>
                <a:gd name="connsiteX12" fmla="*/ 463106 w 986123"/>
                <a:gd name="connsiteY12" fmla="*/ 761524 h 1284160"/>
                <a:gd name="connsiteX13" fmla="*/ 291465 w 986123"/>
                <a:gd name="connsiteY13" fmla="*/ 709803 h 1284160"/>
                <a:gd name="connsiteX14" fmla="*/ 160973 w 986123"/>
                <a:gd name="connsiteY14" fmla="*/ 639318 h 1284160"/>
                <a:gd name="connsiteX15" fmla="*/ 77819 w 986123"/>
                <a:gd name="connsiteY15" fmla="*/ 535019 h 1284160"/>
                <a:gd name="connsiteX16" fmla="*/ 48292 w 986123"/>
                <a:gd name="connsiteY16" fmla="*/ 379857 h 1284160"/>
                <a:gd name="connsiteX17" fmla="*/ 48292 w 986123"/>
                <a:gd name="connsiteY17" fmla="*/ 376238 h 1284160"/>
                <a:gd name="connsiteX18" fmla="*/ 80201 w 986123"/>
                <a:gd name="connsiteY18" fmla="*/ 222028 h 1284160"/>
                <a:gd name="connsiteX19" fmla="*/ 169640 w 986123"/>
                <a:gd name="connsiteY19" fmla="*/ 103441 h 1284160"/>
                <a:gd name="connsiteX20" fmla="*/ 307181 w 986123"/>
                <a:gd name="connsiteY20" fmla="*/ 26765 h 1284160"/>
                <a:gd name="connsiteX21" fmla="*/ 483394 w 986123"/>
                <a:gd name="connsiteY21" fmla="*/ 0 h 1284160"/>
                <a:gd name="connsiteX22" fmla="*/ 735711 w 986123"/>
                <a:gd name="connsiteY22" fmla="*/ 41053 h 1284160"/>
                <a:gd name="connsiteX23" fmla="*/ 946976 w 986123"/>
                <a:gd name="connsiteY23" fmla="*/ 158687 h 1284160"/>
                <a:gd name="connsiteX24" fmla="*/ 804291 w 986123"/>
                <a:gd name="connsiteY24" fmla="*/ 365569 h 1284160"/>
                <a:gd name="connsiteX25" fmla="*/ 640271 w 986123"/>
                <a:gd name="connsiteY25" fmla="*/ 275558 h 1284160"/>
                <a:gd name="connsiteX26" fmla="*/ 479774 w 986123"/>
                <a:gd name="connsiteY26" fmla="*/ 242602 h 1284160"/>
                <a:gd name="connsiteX27" fmla="*/ 359378 w 986123"/>
                <a:gd name="connsiteY27" fmla="*/ 273844 h 1284160"/>
                <a:gd name="connsiteX28" fmla="*/ 319278 w 986123"/>
                <a:gd name="connsiteY28" fmla="*/ 351377 h 1284160"/>
                <a:gd name="connsiteX29" fmla="*/ 319278 w 986123"/>
                <a:gd name="connsiteY29" fmla="*/ 354997 h 1284160"/>
                <a:gd name="connsiteX30" fmla="*/ 330899 w 986123"/>
                <a:gd name="connsiteY30" fmla="*/ 407575 h 1284160"/>
                <a:gd name="connsiteX31" fmla="*/ 372904 w 986123"/>
                <a:gd name="connsiteY31" fmla="*/ 447675 h 1284160"/>
                <a:gd name="connsiteX32" fmla="*/ 456057 w 986123"/>
                <a:gd name="connsiteY32" fmla="*/ 481489 h 1284160"/>
                <a:gd name="connsiteX33" fmla="*/ 589217 w 986123"/>
                <a:gd name="connsiteY33" fmla="*/ 518922 h 1284160"/>
                <a:gd name="connsiteX34" fmla="*/ 758190 w 986123"/>
                <a:gd name="connsiteY34" fmla="*/ 575120 h 1284160"/>
                <a:gd name="connsiteX35" fmla="*/ 883349 w 986123"/>
                <a:gd name="connsiteY35" fmla="*/ 649986 h 1284160"/>
                <a:gd name="connsiteX36" fmla="*/ 960215 w 986123"/>
                <a:gd name="connsiteY36" fmla="*/ 752570 h 1284160"/>
                <a:gd name="connsiteX37" fmla="*/ 986123 w 986123"/>
                <a:gd name="connsiteY37" fmla="*/ 893445 h 1284160"/>
                <a:gd name="connsiteX38" fmla="*/ 986123 w 986123"/>
                <a:gd name="connsiteY38" fmla="*/ 897064 h 1284160"/>
                <a:gd name="connsiteX39" fmla="*/ 952500 w 986123"/>
                <a:gd name="connsiteY39" fmla="*/ 1062038 h 1284160"/>
                <a:gd name="connsiteX40" fmla="*/ 858584 w 986123"/>
                <a:gd name="connsiteY40" fmla="*/ 1183291 h 1284160"/>
                <a:gd name="connsiteX41" fmla="*/ 714851 w 986123"/>
                <a:gd name="connsiteY41" fmla="*/ 1258157 h 1284160"/>
                <a:gd name="connsiteX42" fmla="*/ 529685 w 986123"/>
                <a:gd name="connsiteY42" fmla="*/ 1284065 h 128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6123" h="1284160">
                  <a:moveTo>
                    <a:pt x="529590" y="1284160"/>
                  </a:moveTo>
                  <a:cubicBezTo>
                    <a:pt x="434435" y="1284160"/>
                    <a:pt x="341186" y="1267777"/>
                    <a:pt x="249650" y="1235107"/>
                  </a:cubicBezTo>
                  <a:cubicBezTo>
                    <a:pt x="158115" y="1202436"/>
                    <a:pt x="74867" y="1152239"/>
                    <a:pt x="0" y="1084421"/>
                  </a:cubicBezTo>
                  <a:lnTo>
                    <a:pt x="162306" y="890016"/>
                  </a:lnTo>
                  <a:cubicBezTo>
                    <a:pt x="219361" y="936403"/>
                    <a:pt x="277844" y="973264"/>
                    <a:pt x="337947" y="1000601"/>
                  </a:cubicBezTo>
                  <a:cubicBezTo>
                    <a:pt x="397955" y="1027938"/>
                    <a:pt x="463677" y="1041654"/>
                    <a:pt x="535019" y="1041654"/>
                  </a:cubicBezTo>
                  <a:cubicBezTo>
                    <a:pt x="592074" y="1041654"/>
                    <a:pt x="636365" y="1031272"/>
                    <a:pt x="667893" y="1010412"/>
                  </a:cubicBezTo>
                  <a:cubicBezTo>
                    <a:pt x="699421" y="989647"/>
                    <a:pt x="715137" y="960787"/>
                    <a:pt x="715137" y="923925"/>
                  </a:cubicBezTo>
                  <a:lnTo>
                    <a:pt x="715137" y="920305"/>
                  </a:lnTo>
                  <a:cubicBezTo>
                    <a:pt x="715137" y="902494"/>
                    <a:pt x="711803" y="886777"/>
                    <a:pt x="705326" y="873062"/>
                  </a:cubicBezTo>
                  <a:cubicBezTo>
                    <a:pt x="698754" y="859441"/>
                    <a:pt x="686276" y="846582"/>
                    <a:pt x="667798" y="834676"/>
                  </a:cubicBezTo>
                  <a:cubicBezTo>
                    <a:pt x="649319" y="822770"/>
                    <a:pt x="623697" y="810863"/>
                    <a:pt x="590931" y="798957"/>
                  </a:cubicBezTo>
                  <a:cubicBezTo>
                    <a:pt x="558165" y="787146"/>
                    <a:pt x="515493" y="774573"/>
                    <a:pt x="463106" y="761524"/>
                  </a:cubicBezTo>
                  <a:cubicBezTo>
                    <a:pt x="399955" y="746093"/>
                    <a:pt x="342710" y="728853"/>
                    <a:pt x="291465" y="709803"/>
                  </a:cubicBezTo>
                  <a:cubicBezTo>
                    <a:pt x="240221" y="690753"/>
                    <a:pt x="196691" y="667322"/>
                    <a:pt x="160973" y="639318"/>
                  </a:cubicBezTo>
                  <a:cubicBezTo>
                    <a:pt x="125159" y="611410"/>
                    <a:pt x="97536" y="576644"/>
                    <a:pt x="77819" y="535019"/>
                  </a:cubicBezTo>
                  <a:cubicBezTo>
                    <a:pt x="58103" y="493395"/>
                    <a:pt x="48292" y="441674"/>
                    <a:pt x="48292" y="379857"/>
                  </a:cubicBezTo>
                  <a:lnTo>
                    <a:pt x="48292" y="376238"/>
                  </a:lnTo>
                  <a:cubicBezTo>
                    <a:pt x="48292" y="319183"/>
                    <a:pt x="58865" y="267748"/>
                    <a:pt x="80201" y="222028"/>
                  </a:cubicBezTo>
                  <a:cubicBezTo>
                    <a:pt x="101441" y="176308"/>
                    <a:pt x="131255" y="136779"/>
                    <a:pt x="169640" y="103441"/>
                  </a:cubicBezTo>
                  <a:cubicBezTo>
                    <a:pt x="208026" y="70199"/>
                    <a:pt x="253841" y="44577"/>
                    <a:pt x="307181" y="26765"/>
                  </a:cubicBezTo>
                  <a:cubicBezTo>
                    <a:pt x="360426" y="8953"/>
                    <a:pt x="419195" y="0"/>
                    <a:pt x="483394" y="0"/>
                  </a:cubicBezTo>
                  <a:cubicBezTo>
                    <a:pt x="574929" y="0"/>
                    <a:pt x="659035" y="13716"/>
                    <a:pt x="735711" y="41053"/>
                  </a:cubicBezTo>
                  <a:cubicBezTo>
                    <a:pt x="812387" y="68389"/>
                    <a:pt x="882777" y="107632"/>
                    <a:pt x="946976" y="158687"/>
                  </a:cubicBezTo>
                  <a:lnTo>
                    <a:pt x="804291" y="365569"/>
                  </a:lnTo>
                  <a:cubicBezTo>
                    <a:pt x="748379" y="327565"/>
                    <a:pt x="693706" y="297561"/>
                    <a:pt x="640271" y="275558"/>
                  </a:cubicBezTo>
                  <a:cubicBezTo>
                    <a:pt x="586740" y="253555"/>
                    <a:pt x="533305" y="242602"/>
                    <a:pt x="479774" y="242602"/>
                  </a:cubicBezTo>
                  <a:cubicBezTo>
                    <a:pt x="426244" y="242602"/>
                    <a:pt x="386144" y="252984"/>
                    <a:pt x="359378" y="273844"/>
                  </a:cubicBezTo>
                  <a:cubicBezTo>
                    <a:pt x="332613" y="294608"/>
                    <a:pt x="319278" y="320516"/>
                    <a:pt x="319278" y="351377"/>
                  </a:cubicBezTo>
                  <a:lnTo>
                    <a:pt x="319278" y="354997"/>
                  </a:lnTo>
                  <a:cubicBezTo>
                    <a:pt x="319278" y="375190"/>
                    <a:pt x="323183" y="392716"/>
                    <a:pt x="330899" y="407575"/>
                  </a:cubicBezTo>
                  <a:cubicBezTo>
                    <a:pt x="338614" y="422434"/>
                    <a:pt x="352616" y="435864"/>
                    <a:pt x="372904" y="447675"/>
                  </a:cubicBezTo>
                  <a:cubicBezTo>
                    <a:pt x="393192" y="459581"/>
                    <a:pt x="420910" y="470821"/>
                    <a:pt x="456057" y="481489"/>
                  </a:cubicBezTo>
                  <a:cubicBezTo>
                    <a:pt x="491204" y="492157"/>
                    <a:pt x="535591" y="504730"/>
                    <a:pt x="589217" y="518922"/>
                  </a:cubicBezTo>
                  <a:cubicBezTo>
                    <a:pt x="652367" y="535591"/>
                    <a:pt x="708660" y="554260"/>
                    <a:pt x="758190" y="575120"/>
                  </a:cubicBezTo>
                  <a:cubicBezTo>
                    <a:pt x="807625" y="595979"/>
                    <a:pt x="849344" y="620935"/>
                    <a:pt x="883349" y="649986"/>
                  </a:cubicBezTo>
                  <a:cubicBezTo>
                    <a:pt x="917353" y="679132"/>
                    <a:pt x="942975" y="713327"/>
                    <a:pt x="960215" y="752570"/>
                  </a:cubicBezTo>
                  <a:cubicBezTo>
                    <a:pt x="977456" y="791813"/>
                    <a:pt x="986123" y="838772"/>
                    <a:pt x="986123" y="893445"/>
                  </a:cubicBezTo>
                  <a:lnTo>
                    <a:pt x="986123" y="897064"/>
                  </a:lnTo>
                  <a:cubicBezTo>
                    <a:pt x="986123" y="958882"/>
                    <a:pt x="974884" y="1013841"/>
                    <a:pt x="952500" y="1062038"/>
                  </a:cubicBezTo>
                  <a:cubicBezTo>
                    <a:pt x="930021" y="1110139"/>
                    <a:pt x="898779" y="1150620"/>
                    <a:pt x="858584" y="1183291"/>
                  </a:cubicBezTo>
                  <a:cubicBezTo>
                    <a:pt x="818388" y="1216057"/>
                    <a:pt x="770477" y="1241012"/>
                    <a:pt x="714851" y="1258157"/>
                  </a:cubicBezTo>
                  <a:cubicBezTo>
                    <a:pt x="659130" y="1275398"/>
                    <a:pt x="597503" y="1284065"/>
                    <a:pt x="529685" y="1284065"/>
                  </a:cubicBezTo>
                  <a:close/>
                </a:path>
              </a:pathLst>
            </a:custGeom>
            <a:solidFill>
              <a:srgbClr val="44505E"/>
            </a:solidFill>
            <a:ln w="9525" cap="flat">
              <a:noFill/>
              <a:prstDash val="solid"/>
              <a:miter/>
            </a:ln>
          </p:spPr>
          <p:txBody>
            <a:bodyPr rtlCol="0" anchor="ctr"/>
            <a:lstStyle/>
            <a:p>
              <a:endParaRPr lang="pt-BR" noProof="0"/>
            </a:p>
          </p:txBody>
        </p:sp>
        <p:sp>
          <p:nvSpPr>
            <p:cNvPr id="4" name="Freeform: Shape 16">
              <a:extLst>
                <a:ext uri="{FF2B5EF4-FFF2-40B4-BE49-F238E27FC236}">
                  <a16:creationId xmlns:a16="http://schemas.microsoft.com/office/drawing/2014/main" id="{D2EC0B7E-C9B7-65D8-FE6D-2893D55FECFF}"/>
                </a:ext>
              </a:extLst>
            </p:cNvPr>
            <p:cNvSpPr/>
            <p:nvPr/>
          </p:nvSpPr>
          <p:spPr>
            <a:xfrm>
              <a:off x="5492084" y="310867"/>
              <a:ext cx="332584" cy="315991"/>
            </a:xfrm>
            <a:custGeom>
              <a:avLst/>
              <a:gdLst>
                <a:gd name="connsiteX0" fmla="*/ 534924 w 1323022"/>
                <a:gd name="connsiteY0" fmla="*/ 0 h 1257014"/>
                <a:gd name="connsiteX1" fmla="*/ 788099 w 1323022"/>
                <a:gd name="connsiteY1" fmla="*/ 0 h 1257014"/>
                <a:gd name="connsiteX2" fmla="*/ 1323023 w 1323022"/>
                <a:gd name="connsiteY2" fmla="*/ 1257014 h 1257014"/>
                <a:gd name="connsiteX3" fmla="*/ 1035939 w 1323022"/>
                <a:gd name="connsiteY3" fmla="*/ 1257014 h 1257014"/>
                <a:gd name="connsiteX4" fmla="*/ 921829 w 1323022"/>
                <a:gd name="connsiteY4" fmla="*/ 977075 h 1257014"/>
                <a:gd name="connsiteX5" fmla="*/ 394049 w 1323022"/>
                <a:gd name="connsiteY5" fmla="*/ 977075 h 1257014"/>
                <a:gd name="connsiteX6" fmla="*/ 279940 w 1323022"/>
                <a:gd name="connsiteY6" fmla="*/ 1257014 h 1257014"/>
                <a:gd name="connsiteX7" fmla="*/ 0 w 1323022"/>
                <a:gd name="connsiteY7" fmla="*/ 1257014 h 1257014"/>
                <a:gd name="connsiteX8" fmla="*/ 534924 w 1323022"/>
                <a:gd name="connsiteY8" fmla="*/ 0 h 1257014"/>
                <a:gd name="connsiteX9" fmla="*/ 823817 w 1323022"/>
                <a:gd name="connsiteY9" fmla="*/ 734568 h 1257014"/>
                <a:gd name="connsiteX10" fmla="*/ 657987 w 1323022"/>
                <a:gd name="connsiteY10" fmla="*/ 329851 h 1257014"/>
                <a:gd name="connsiteX11" fmla="*/ 492157 w 1323022"/>
                <a:gd name="connsiteY11" fmla="*/ 734568 h 1257014"/>
                <a:gd name="connsiteX12" fmla="*/ 823817 w 1323022"/>
                <a:gd name="connsiteY12" fmla="*/ 734568 h 125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022" h="1257014">
                  <a:moveTo>
                    <a:pt x="534924" y="0"/>
                  </a:moveTo>
                  <a:lnTo>
                    <a:pt x="788099" y="0"/>
                  </a:lnTo>
                  <a:lnTo>
                    <a:pt x="1323023" y="1257014"/>
                  </a:lnTo>
                  <a:lnTo>
                    <a:pt x="1035939" y="1257014"/>
                  </a:lnTo>
                  <a:lnTo>
                    <a:pt x="921829" y="977075"/>
                  </a:lnTo>
                  <a:lnTo>
                    <a:pt x="394049" y="977075"/>
                  </a:lnTo>
                  <a:lnTo>
                    <a:pt x="279940" y="1257014"/>
                  </a:lnTo>
                  <a:lnTo>
                    <a:pt x="0" y="1257014"/>
                  </a:lnTo>
                  <a:lnTo>
                    <a:pt x="534924" y="0"/>
                  </a:lnTo>
                  <a:close/>
                  <a:moveTo>
                    <a:pt x="823817" y="734568"/>
                  </a:moveTo>
                  <a:lnTo>
                    <a:pt x="657987" y="329851"/>
                  </a:lnTo>
                  <a:lnTo>
                    <a:pt x="492157" y="734568"/>
                  </a:lnTo>
                  <a:lnTo>
                    <a:pt x="823817" y="734568"/>
                  </a:lnTo>
                  <a:close/>
                </a:path>
              </a:pathLst>
            </a:custGeom>
            <a:solidFill>
              <a:srgbClr val="44505E"/>
            </a:solidFill>
            <a:ln w="9525" cap="flat">
              <a:noFill/>
              <a:prstDash val="solid"/>
              <a:miter/>
            </a:ln>
          </p:spPr>
          <p:txBody>
            <a:bodyPr rtlCol="0" anchor="ctr"/>
            <a:lstStyle/>
            <a:p>
              <a:endParaRPr lang="pt-BR" noProof="0"/>
            </a:p>
          </p:txBody>
        </p:sp>
        <p:sp>
          <p:nvSpPr>
            <p:cNvPr id="5" name="Freeform: Shape 17">
              <a:extLst>
                <a:ext uri="{FF2B5EF4-FFF2-40B4-BE49-F238E27FC236}">
                  <a16:creationId xmlns:a16="http://schemas.microsoft.com/office/drawing/2014/main" id="{06186583-5EC8-E698-F458-31D98A1EF0AD}"/>
                </a:ext>
              </a:extLst>
            </p:cNvPr>
            <p:cNvSpPr/>
            <p:nvPr/>
          </p:nvSpPr>
          <p:spPr>
            <a:xfrm>
              <a:off x="5834078" y="211355"/>
              <a:ext cx="273442" cy="420435"/>
            </a:xfrm>
            <a:custGeom>
              <a:avLst/>
              <a:gdLst>
                <a:gd name="connsiteX0" fmla="*/ 540258 w 1087754"/>
                <a:gd name="connsiteY0" fmla="*/ 1672495 h 1672494"/>
                <a:gd name="connsiteX1" fmla="*/ 144399 w 1087754"/>
                <a:gd name="connsiteY1" fmla="*/ 1533430 h 1672494"/>
                <a:gd name="connsiteX2" fmla="*/ 0 w 1087754"/>
                <a:gd name="connsiteY2" fmla="*/ 1117949 h 1672494"/>
                <a:gd name="connsiteX3" fmla="*/ 0 w 1087754"/>
                <a:gd name="connsiteY3" fmla="*/ 404717 h 1672494"/>
                <a:gd name="connsiteX4" fmla="*/ 274606 w 1087754"/>
                <a:gd name="connsiteY4" fmla="*/ 404717 h 1672494"/>
                <a:gd name="connsiteX5" fmla="*/ 274606 w 1087754"/>
                <a:gd name="connsiteY5" fmla="*/ 1110806 h 1672494"/>
                <a:gd name="connsiteX6" fmla="*/ 345948 w 1087754"/>
                <a:gd name="connsiteY6" fmla="*/ 1341692 h 1672494"/>
                <a:gd name="connsiteX7" fmla="*/ 543877 w 1087754"/>
                <a:gd name="connsiteY7" fmla="*/ 1419225 h 1672494"/>
                <a:gd name="connsiteX8" fmla="*/ 741807 w 1087754"/>
                <a:gd name="connsiteY8" fmla="*/ 1344359 h 1672494"/>
                <a:gd name="connsiteX9" fmla="*/ 813149 w 1087754"/>
                <a:gd name="connsiteY9" fmla="*/ 1119664 h 1672494"/>
                <a:gd name="connsiteX10" fmla="*/ 813149 w 1087754"/>
                <a:gd name="connsiteY10" fmla="*/ 404717 h 1672494"/>
                <a:gd name="connsiteX11" fmla="*/ 1087755 w 1087754"/>
                <a:gd name="connsiteY11" fmla="*/ 404717 h 1672494"/>
                <a:gd name="connsiteX12" fmla="*/ 1087755 w 1087754"/>
                <a:gd name="connsiteY12" fmla="*/ 1108996 h 1672494"/>
                <a:gd name="connsiteX13" fmla="*/ 1049369 w 1087754"/>
                <a:gd name="connsiteY13" fmla="*/ 1356836 h 1672494"/>
                <a:gd name="connsiteX14" fmla="*/ 939737 w 1087754"/>
                <a:gd name="connsiteY14" fmla="*/ 1532477 h 1672494"/>
                <a:gd name="connsiteX15" fmla="*/ 766763 w 1087754"/>
                <a:gd name="connsiteY15" fmla="*/ 1637729 h 1672494"/>
                <a:gd name="connsiteX16" fmla="*/ 540353 w 1087754"/>
                <a:gd name="connsiteY16" fmla="*/ 1672495 h 1672494"/>
                <a:gd name="connsiteX17" fmla="*/ 622268 w 1087754"/>
                <a:gd name="connsiteY17" fmla="*/ 0 h 1672494"/>
                <a:gd name="connsiteX18" fmla="*/ 855821 w 1087754"/>
                <a:gd name="connsiteY18" fmla="*/ 101632 h 1672494"/>
                <a:gd name="connsiteX19" fmla="*/ 627602 w 1087754"/>
                <a:gd name="connsiteY19" fmla="*/ 315563 h 1672494"/>
                <a:gd name="connsiteX20" fmla="*/ 420719 w 1087754"/>
                <a:gd name="connsiteY20" fmla="*/ 315563 h 1672494"/>
                <a:gd name="connsiteX21" fmla="*/ 622268 w 1087754"/>
                <a:gd name="connsiteY21" fmla="*/ 0 h 16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754" h="1672494">
                  <a:moveTo>
                    <a:pt x="540258" y="1672495"/>
                  </a:moveTo>
                  <a:cubicBezTo>
                    <a:pt x="372618" y="1672495"/>
                    <a:pt x="240697" y="1626108"/>
                    <a:pt x="144399" y="1533430"/>
                  </a:cubicBezTo>
                  <a:cubicBezTo>
                    <a:pt x="48101" y="1440752"/>
                    <a:pt x="0" y="1302258"/>
                    <a:pt x="0" y="1117949"/>
                  </a:cubicBezTo>
                  <a:lnTo>
                    <a:pt x="0" y="404717"/>
                  </a:lnTo>
                  <a:lnTo>
                    <a:pt x="274606" y="404717"/>
                  </a:lnTo>
                  <a:lnTo>
                    <a:pt x="274606" y="1110806"/>
                  </a:lnTo>
                  <a:cubicBezTo>
                    <a:pt x="274606" y="1213009"/>
                    <a:pt x="298418" y="1289971"/>
                    <a:pt x="345948" y="1341692"/>
                  </a:cubicBezTo>
                  <a:cubicBezTo>
                    <a:pt x="393478" y="1393412"/>
                    <a:pt x="459486" y="1419225"/>
                    <a:pt x="543877" y="1419225"/>
                  </a:cubicBezTo>
                  <a:cubicBezTo>
                    <a:pt x="628269" y="1419225"/>
                    <a:pt x="694277" y="1394270"/>
                    <a:pt x="741807" y="1344359"/>
                  </a:cubicBezTo>
                  <a:cubicBezTo>
                    <a:pt x="789337" y="1294448"/>
                    <a:pt x="813149" y="1219581"/>
                    <a:pt x="813149" y="1119664"/>
                  </a:cubicBezTo>
                  <a:lnTo>
                    <a:pt x="813149" y="404717"/>
                  </a:lnTo>
                  <a:lnTo>
                    <a:pt x="1087755" y="404717"/>
                  </a:lnTo>
                  <a:lnTo>
                    <a:pt x="1087755" y="1108996"/>
                  </a:lnTo>
                  <a:cubicBezTo>
                    <a:pt x="1087755" y="1204151"/>
                    <a:pt x="1074992" y="1286732"/>
                    <a:pt x="1049369" y="1356836"/>
                  </a:cubicBezTo>
                  <a:cubicBezTo>
                    <a:pt x="1023747" y="1426940"/>
                    <a:pt x="987266" y="1485519"/>
                    <a:pt x="939737" y="1532477"/>
                  </a:cubicBezTo>
                  <a:cubicBezTo>
                    <a:pt x="892207" y="1579436"/>
                    <a:pt x="834485" y="1614488"/>
                    <a:pt x="766763" y="1637729"/>
                  </a:cubicBezTo>
                  <a:cubicBezTo>
                    <a:pt x="699040" y="1660874"/>
                    <a:pt x="623507" y="1672495"/>
                    <a:pt x="540353" y="1672495"/>
                  </a:cubicBezTo>
                  <a:close/>
                  <a:moveTo>
                    <a:pt x="622268" y="0"/>
                  </a:moveTo>
                  <a:lnTo>
                    <a:pt x="855821" y="101632"/>
                  </a:lnTo>
                  <a:lnTo>
                    <a:pt x="627602" y="315563"/>
                  </a:lnTo>
                  <a:lnTo>
                    <a:pt x="420719" y="315563"/>
                  </a:lnTo>
                  <a:lnTo>
                    <a:pt x="622268" y="0"/>
                  </a:lnTo>
                  <a:close/>
                </a:path>
              </a:pathLst>
            </a:custGeom>
            <a:solidFill>
              <a:srgbClr val="44505E"/>
            </a:solidFill>
            <a:ln w="9525" cap="flat">
              <a:noFill/>
              <a:prstDash val="solid"/>
              <a:miter/>
            </a:ln>
          </p:spPr>
          <p:txBody>
            <a:bodyPr rtlCol="0" anchor="ctr"/>
            <a:lstStyle/>
            <a:p>
              <a:endParaRPr lang="pt-BR" noProof="0"/>
            </a:p>
          </p:txBody>
        </p:sp>
        <p:sp>
          <p:nvSpPr>
            <p:cNvPr id="6" name="Freeform: Shape 18">
              <a:extLst>
                <a:ext uri="{FF2B5EF4-FFF2-40B4-BE49-F238E27FC236}">
                  <a16:creationId xmlns:a16="http://schemas.microsoft.com/office/drawing/2014/main" id="{62C9B614-507C-3FC8-807C-21BC4166C36D}"/>
                </a:ext>
              </a:extLst>
            </p:cNvPr>
            <p:cNvSpPr/>
            <p:nvPr/>
          </p:nvSpPr>
          <p:spPr>
            <a:xfrm>
              <a:off x="6143795" y="313094"/>
              <a:ext cx="289101" cy="313764"/>
            </a:xfrm>
            <a:custGeom>
              <a:avLst/>
              <a:gdLst>
                <a:gd name="connsiteX0" fmla="*/ 0 w 1150048"/>
                <a:gd name="connsiteY0" fmla="*/ 0 h 1248155"/>
                <a:gd name="connsiteX1" fmla="*/ 486728 w 1150048"/>
                <a:gd name="connsiteY1" fmla="*/ 0 h 1248155"/>
                <a:gd name="connsiteX2" fmla="*/ 755047 w 1150048"/>
                <a:gd name="connsiteY2" fmla="*/ 47244 h 1248155"/>
                <a:gd name="connsiteX3" fmla="*/ 965454 w 1150048"/>
                <a:gd name="connsiteY3" fmla="*/ 178308 h 1248155"/>
                <a:gd name="connsiteX4" fmla="*/ 1101852 w 1150048"/>
                <a:gd name="connsiteY4" fmla="*/ 375380 h 1248155"/>
                <a:gd name="connsiteX5" fmla="*/ 1150049 w 1150048"/>
                <a:gd name="connsiteY5" fmla="*/ 620554 h 1248155"/>
                <a:gd name="connsiteX6" fmla="*/ 1150049 w 1150048"/>
                <a:gd name="connsiteY6" fmla="*/ 624173 h 1248155"/>
                <a:gd name="connsiteX7" fmla="*/ 1101852 w 1150048"/>
                <a:gd name="connsiteY7" fmla="*/ 870204 h 1248155"/>
                <a:gd name="connsiteX8" fmla="*/ 965454 w 1150048"/>
                <a:gd name="connsiteY8" fmla="*/ 1068134 h 1248155"/>
                <a:gd name="connsiteX9" fmla="*/ 755047 w 1150048"/>
                <a:gd name="connsiteY9" fmla="*/ 1200055 h 1248155"/>
                <a:gd name="connsiteX10" fmla="*/ 486728 w 1150048"/>
                <a:gd name="connsiteY10" fmla="*/ 1248156 h 1248155"/>
                <a:gd name="connsiteX11" fmla="*/ 0 w 1150048"/>
                <a:gd name="connsiteY11" fmla="*/ 1248156 h 1248155"/>
                <a:gd name="connsiteX12" fmla="*/ 0 w 1150048"/>
                <a:gd name="connsiteY12" fmla="*/ 0 h 1248155"/>
                <a:gd name="connsiteX13" fmla="*/ 486728 w 1150048"/>
                <a:gd name="connsiteY13" fmla="*/ 1000315 h 1248155"/>
                <a:gd name="connsiteX14" fmla="*/ 640080 w 1150048"/>
                <a:gd name="connsiteY14" fmla="*/ 973550 h 1248155"/>
                <a:gd name="connsiteX15" fmla="*/ 758667 w 1150048"/>
                <a:gd name="connsiteY15" fmla="*/ 896874 h 1248155"/>
                <a:gd name="connsiteX16" fmla="*/ 835343 w 1150048"/>
                <a:gd name="connsiteY16" fmla="*/ 779240 h 1248155"/>
                <a:gd name="connsiteX17" fmla="*/ 862965 w 1150048"/>
                <a:gd name="connsiteY17" fmla="*/ 627698 h 1248155"/>
                <a:gd name="connsiteX18" fmla="*/ 862965 w 1150048"/>
                <a:gd name="connsiteY18" fmla="*/ 624078 h 1248155"/>
                <a:gd name="connsiteX19" fmla="*/ 835343 w 1150048"/>
                <a:gd name="connsiteY19" fmla="*/ 472535 h 1248155"/>
                <a:gd name="connsiteX20" fmla="*/ 758667 w 1150048"/>
                <a:gd name="connsiteY20" fmla="*/ 353092 h 1248155"/>
                <a:gd name="connsiteX21" fmla="*/ 640080 w 1150048"/>
                <a:gd name="connsiteY21" fmla="*/ 275558 h 1248155"/>
                <a:gd name="connsiteX22" fmla="*/ 486728 w 1150048"/>
                <a:gd name="connsiteY22" fmla="*/ 247936 h 1248155"/>
                <a:gd name="connsiteX23" fmla="*/ 274511 w 1150048"/>
                <a:gd name="connsiteY23" fmla="*/ 247936 h 1248155"/>
                <a:gd name="connsiteX24" fmla="*/ 274511 w 1150048"/>
                <a:gd name="connsiteY24" fmla="*/ 1000411 h 1248155"/>
                <a:gd name="connsiteX25" fmla="*/ 486728 w 1150048"/>
                <a:gd name="connsiteY25" fmla="*/ 1000411 h 124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50048" h="1248155">
                  <a:moveTo>
                    <a:pt x="0" y="0"/>
                  </a:moveTo>
                  <a:lnTo>
                    <a:pt x="486728" y="0"/>
                  </a:lnTo>
                  <a:cubicBezTo>
                    <a:pt x="584168" y="0"/>
                    <a:pt x="673608" y="15811"/>
                    <a:pt x="755047" y="47244"/>
                  </a:cubicBezTo>
                  <a:cubicBezTo>
                    <a:pt x="836486" y="78772"/>
                    <a:pt x="906590" y="122396"/>
                    <a:pt x="965454" y="178308"/>
                  </a:cubicBezTo>
                  <a:cubicBezTo>
                    <a:pt x="1024319" y="234220"/>
                    <a:pt x="1069753" y="299847"/>
                    <a:pt x="1101852" y="375380"/>
                  </a:cubicBezTo>
                  <a:cubicBezTo>
                    <a:pt x="1133951" y="450914"/>
                    <a:pt x="1150049" y="532543"/>
                    <a:pt x="1150049" y="620554"/>
                  </a:cubicBezTo>
                  <a:lnTo>
                    <a:pt x="1150049" y="624173"/>
                  </a:lnTo>
                  <a:cubicBezTo>
                    <a:pt x="1150049" y="712184"/>
                    <a:pt x="1133951" y="794195"/>
                    <a:pt x="1101852" y="870204"/>
                  </a:cubicBezTo>
                  <a:cubicBezTo>
                    <a:pt x="1069753" y="946309"/>
                    <a:pt x="1024319" y="1012222"/>
                    <a:pt x="965454" y="1068134"/>
                  </a:cubicBezTo>
                  <a:cubicBezTo>
                    <a:pt x="906590" y="1124045"/>
                    <a:pt x="836486" y="1167956"/>
                    <a:pt x="755047" y="1200055"/>
                  </a:cubicBezTo>
                  <a:cubicBezTo>
                    <a:pt x="673608" y="1232154"/>
                    <a:pt x="584168" y="1248156"/>
                    <a:pt x="486728" y="1248156"/>
                  </a:cubicBezTo>
                  <a:lnTo>
                    <a:pt x="0" y="1248156"/>
                  </a:lnTo>
                  <a:lnTo>
                    <a:pt x="0" y="0"/>
                  </a:lnTo>
                  <a:close/>
                  <a:moveTo>
                    <a:pt x="486728" y="1000315"/>
                  </a:moveTo>
                  <a:cubicBezTo>
                    <a:pt x="542639" y="1000315"/>
                    <a:pt x="593693" y="991457"/>
                    <a:pt x="640080" y="973550"/>
                  </a:cubicBezTo>
                  <a:cubicBezTo>
                    <a:pt x="686467" y="955739"/>
                    <a:pt x="725900" y="930211"/>
                    <a:pt x="758667" y="896874"/>
                  </a:cubicBezTo>
                  <a:cubicBezTo>
                    <a:pt x="791337" y="863632"/>
                    <a:pt x="816864" y="824389"/>
                    <a:pt x="835343" y="779240"/>
                  </a:cubicBezTo>
                  <a:cubicBezTo>
                    <a:pt x="853726" y="734092"/>
                    <a:pt x="862965" y="683609"/>
                    <a:pt x="862965" y="627698"/>
                  </a:cubicBezTo>
                  <a:lnTo>
                    <a:pt x="862965" y="624078"/>
                  </a:lnTo>
                  <a:cubicBezTo>
                    <a:pt x="862965" y="569404"/>
                    <a:pt x="853726" y="518827"/>
                    <a:pt x="835343" y="472535"/>
                  </a:cubicBezTo>
                  <a:cubicBezTo>
                    <a:pt x="816864" y="426149"/>
                    <a:pt x="791337" y="386334"/>
                    <a:pt x="758667" y="353092"/>
                  </a:cubicBezTo>
                  <a:cubicBezTo>
                    <a:pt x="725996" y="319849"/>
                    <a:pt x="686467" y="293941"/>
                    <a:pt x="640080" y="275558"/>
                  </a:cubicBezTo>
                  <a:cubicBezTo>
                    <a:pt x="593693" y="257175"/>
                    <a:pt x="542639" y="247936"/>
                    <a:pt x="486728" y="247936"/>
                  </a:cubicBezTo>
                  <a:lnTo>
                    <a:pt x="274511" y="247936"/>
                  </a:lnTo>
                  <a:lnTo>
                    <a:pt x="274511" y="1000411"/>
                  </a:lnTo>
                  <a:lnTo>
                    <a:pt x="486728" y="1000411"/>
                  </a:lnTo>
                  <a:close/>
                </a:path>
              </a:pathLst>
            </a:custGeom>
            <a:solidFill>
              <a:srgbClr val="44505E"/>
            </a:solidFill>
            <a:ln w="9525" cap="flat">
              <a:noFill/>
              <a:prstDash val="solid"/>
              <a:miter/>
            </a:ln>
          </p:spPr>
          <p:txBody>
            <a:bodyPr rtlCol="0" anchor="ctr"/>
            <a:lstStyle/>
            <a:p>
              <a:endParaRPr lang="pt-BR" noProof="0"/>
            </a:p>
          </p:txBody>
        </p:sp>
        <p:sp>
          <p:nvSpPr>
            <p:cNvPr id="7" name="Freeform: Shape 19">
              <a:extLst>
                <a:ext uri="{FF2B5EF4-FFF2-40B4-BE49-F238E27FC236}">
                  <a16:creationId xmlns:a16="http://schemas.microsoft.com/office/drawing/2014/main" id="{0E97DF33-05B0-F05F-4183-246DAE2917FA}"/>
                </a:ext>
              </a:extLst>
            </p:cNvPr>
            <p:cNvSpPr/>
            <p:nvPr/>
          </p:nvSpPr>
          <p:spPr>
            <a:xfrm>
              <a:off x="6460217" y="313094"/>
              <a:ext cx="238459" cy="313788"/>
            </a:xfrm>
            <a:custGeom>
              <a:avLst/>
              <a:gdLst>
                <a:gd name="connsiteX0" fmla="*/ 95 w 948594"/>
                <a:gd name="connsiteY0" fmla="*/ 0 h 1248251"/>
                <a:gd name="connsiteX1" fmla="*/ 939737 w 948594"/>
                <a:gd name="connsiteY1" fmla="*/ 0 h 1248251"/>
                <a:gd name="connsiteX2" fmla="*/ 939737 w 948594"/>
                <a:gd name="connsiteY2" fmla="*/ 244316 h 1248251"/>
                <a:gd name="connsiteX3" fmla="*/ 271081 w 948594"/>
                <a:gd name="connsiteY3" fmla="*/ 244316 h 1248251"/>
                <a:gd name="connsiteX4" fmla="*/ 271081 w 948594"/>
                <a:gd name="connsiteY4" fmla="*/ 497491 h 1248251"/>
                <a:gd name="connsiteX5" fmla="*/ 859441 w 948594"/>
                <a:gd name="connsiteY5" fmla="*/ 497491 h 1248251"/>
                <a:gd name="connsiteX6" fmla="*/ 859441 w 948594"/>
                <a:gd name="connsiteY6" fmla="*/ 741807 h 1248251"/>
                <a:gd name="connsiteX7" fmla="*/ 271081 w 948594"/>
                <a:gd name="connsiteY7" fmla="*/ 741807 h 1248251"/>
                <a:gd name="connsiteX8" fmla="*/ 271081 w 948594"/>
                <a:gd name="connsiteY8" fmla="*/ 1003935 h 1248251"/>
                <a:gd name="connsiteX9" fmla="*/ 948595 w 948594"/>
                <a:gd name="connsiteY9" fmla="*/ 1003935 h 1248251"/>
                <a:gd name="connsiteX10" fmla="*/ 948595 w 948594"/>
                <a:gd name="connsiteY10" fmla="*/ 1248251 h 1248251"/>
                <a:gd name="connsiteX11" fmla="*/ 0 w 948594"/>
                <a:gd name="connsiteY11" fmla="*/ 1248251 h 1248251"/>
                <a:gd name="connsiteX12" fmla="*/ 0 w 948594"/>
                <a:gd name="connsiteY12" fmla="*/ 0 h 124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594" h="1248251">
                  <a:moveTo>
                    <a:pt x="95" y="0"/>
                  </a:moveTo>
                  <a:lnTo>
                    <a:pt x="939737" y="0"/>
                  </a:lnTo>
                  <a:lnTo>
                    <a:pt x="939737" y="244316"/>
                  </a:lnTo>
                  <a:lnTo>
                    <a:pt x="271081" y="244316"/>
                  </a:lnTo>
                  <a:lnTo>
                    <a:pt x="271081" y="497491"/>
                  </a:lnTo>
                  <a:lnTo>
                    <a:pt x="859441" y="497491"/>
                  </a:lnTo>
                  <a:lnTo>
                    <a:pt x="859441" y="741807"/>
                  </a:lnTo>
                  <a:lnTo>
                    <a:pt x="271081" y="741807"/>
                  </a:lnTo>
                  <a:lnTo>
                    <a:pt x="271081" y="1003935"/>
                  </a:lnTo>
                  <a:lnTo>
                    <a:pt x="948595" y="1003935"/>
                  </a:lnTo>
                  <a:lnTo>
                    <a:pt x="948595" y="1248251"/>
                  </a:lnTo>
                  <a:lnTo>
                    <a:pt x="0" y="1248251"/>
                  </a:lnTo>
                  <a:lnTo>
                    <a:pt x="0" y="0"/>
                  </a:lnTo>
                  <a:close/>
                </a:path>
              </a:pathLst>
            </a:custGeom>
            <a:solidFill>
              <a:srgbClr val="44505E"/>
            </a:solidFill>
            <a:ln w="9525" cap="flat">
              <a:noFill/>
              <a:prstDash val="solid"/>
              <a:miter/>
            </a:ln>
          </p:spPr>
          <p:txBody>
            <a:bodyPr rtlCol="0" anchor="ctr"/>
            <a:lstStyle/>
            <a:p>
              <a:endParaRPr lang="pt-BR" noProof="0"/>
            </a:p>
          </p:txBody>
        </p:sp>
        <p:sp>
          <p:nvSpPr>
            <p:cNvPr id="8" name="Freeform: Shape 20">
              <a:extLst>
                <a:ext uri="{FF2B5EF4-FFF2-40B4-BE49-F238E27FC236}">
                  <a16:creationId xmlns:a16="http://schemas.microsoft.com/office/drawing/2014/main" id="{9532FCD6-D5F1-4E74-7F7D-12E41BAF1383}"/>
                </a:ext>
              </a:extLst>
            </p:cNvPr>
            <p:cNvSpPr/>
            <p:nvPr/>
          </p:nvSpPr>
          <p:spPr>
            <a:xfrm>
              <a:off x="5253193" y="699983"/>
              <a:ext cx="90796" cy="97883"/>
            </a:xfrm>
            <a:custGeom>
              <a:avLst/>
              <a:gdLst>
                <a:gd name="connsiteX0" fmla="*/ 191548 w 361187"/>
                <a:gd name="connsiteY0" fmla="*/ 389382 h 389381"/>
                <a:gd name="connsiteX1" fmla="*/ 116300 w 361187"/>
                <a:gd name="connsiteY1" fmla="*/ 375285 h 389381"/>
                <a:gd name="connsiteX2" fmla="*/ 55531 w 361187"/>
                <a:gd name="connsiteY2" fmla="*/ 335756 h 389381"/>
                <a:gd name="connsiteX3" fmla="*/ 14859 w 361187"/>
                <a:gd name="connsiteY3" fmla="*/ 274606 h 389381"/>
                <a:gd name="connsiteX4" fmla="*/ 0 w 361187"/>
                <a:gd name="connsiteY4" fmla="*/ 195834 h 389381"/>
                <a:gd name="connsiteX5" fmla="*/ 0 w 361187"/>
                <a:gd name="connsiteY5" fmla="*/ 194405 h 389381"/>
                <a:gd name="connsiteX6" fmla="*/ 13430 w 361187"/>
                <a:gd name="connsiteY6" fmla="*/ 118777 h 389381"/>
                <a:gd name="connsiteX7" fmla="*/ 51245 w 361187"/>
                <a:gd name="connsiteY7" fmla="*/ 56959 h 389381"/>
                <a:gd name="connsiteX8" fmla="*/ 108871 w 361187"/>
                <a:gd name="connsiteY8" fmla="*/ 15240 h 389381"/>
                <a:gd name="connsiteX9" fmla="*/ 182404 w 361187"/>
                <a:gd name="connsiteY9" fmla="*/ 0 h 389381"/>
                <a:gd name="connsiteX10" fmla="*/ 260509 w 361187"/>
                <a:gd name="connsiteY10" fmla="*/ 16288 h 389381"/>
                <a:gd name="connsiteX11" fmla="*/ 316325 w 361187"/>
                <a:gd name="connsiteY11" fmla="*/ 60103 h 389381"/>
                <a:gd name="connsiteX12" fmla="*/ 349853 w 361187"/>
                <a:gd name="connsiteY12" fmla="*/ 124015 h 389381"/>
                <a:gd name="connsiteX13" fmla="*/ 361188 w 361187"/>
                <a:gd name="connsiteY13" fmla="*/ 200692 h 389381"/>
                <a:gd name="connsiteX14" fmla="*/ 360807 w 361187"/>
                <a:gd name="connsiteY14" fmla="*/ 212312 h 389381"/>
                <a:gd name="connsiteX15" fmla="*/ 359759 w 361187"/>
                <a:gd name="connsiteY15" fmla="*/ 224695 h 389381"/>
                <a:gd name="connsiteX16" fmla="*/ 85534 w 361187"/>
                <a:gd name="connsiteY16" fmla="*/ 224695 h 389381"/>
                <a:gd name="connsiteX17" fmla="*/ 121920 w 361187"/>
                <a:gd name="connsiteY17" fmla="*/ 294989 h 389381"/>
                <a:gd name="connsiteX18" fmla="*/ 192977 w 361187"/>
                <a:gd name="connsiteY18" fmla="*/ 319373 h 389381"/>
                <a:gd name="connsiteX19" fmla="*/ 248126 w 361187"/>
                <a:gd name="connsiteY19" fmla="*/ 308038 h 389381"/>
                <a:gd name="connsiteX20" fmla="*/ 294037 w 361187"/>
                <a:gd name="connsiteY20" fmla="*/ 274796 h 389381"/>
                <a:gd name="connsiteX21" fmla="*/ 344234 w 361187"/>
                <a:gd name="connsiteY21" fmla="*/ 319278 h 389381"/>
                <a:gd name="connsiteX22" fmla="*/ 280226 w 361187"/>
                <a:gd name="connsiteY22" fmla="*/ 370141 h 389381"/>
                <a:gd name="connsiteX23" fmla="*/ 191548 w 361187"/>
                <a:gd name="connsiteY23" fmla="*/ 389191 h 389381"/>
                <a:gd name="connsiteX24" fmla="*/ 276320 w 361187"/>
                <a:gd name="connsiteY24" fmla="*/ 168211 h 389381"/>
                <a:gd name="connsiteX25" fmla="*/ 267176 w 361187"/>
                <a:gd name="connsiteY25" fmla="*/ 129730 h 389381"/>
                <a:gd name="connsiteX26" fmla="*/ 248126 w 361187"/>
                <a:gd name="connsiteY26" fmla="*/ 98679 h 389381"/>
                <a:gd name="connsiteX27" fmla="*/ 219551 w 361187"/>
                <a:gd name="connsiteY27" fmla="*/ 77819 h 389381"/>
                <a:gd name="connsiteX28" fmla="*/ 181737 w 361187"/>
                <a:gd name="connsiteY28" fmla="*/ 70009 h 389381"/>
                <a:gd name="connsiteX29" fmla="*/ 116396 w 361187"/>
                <a:gd name="connsiteY29" fmla="*/ 97250 h 389381"/>
                <a:gd name="connsiteX30" fmla="*/ 84963 w 361187"/>
                <a:gd name="connsiteY30" fmla="*/ 168307 h 389381"/>
                <a:gd name="connsiteX31" fmla="*/ 276511 w 361187"/>
                <a:gd name="connsiteY31" fmla="*/ 168307 h 38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187" h="389381">
                  <a:moveTo>
                    <a:pt x="191548" y="389382"/>
                  </a:moveTo>
                  <a:cubicBezTo>
                    <a:pt x="164687" y="389382"/>
                    <a:pt x="139637" y="384715"/>
                    <a:pt x="116300" y="375285"/>
                  </a:cubicBezTo>
                  <a:cubicBezTo>
                    <a:pt x="92964" y="365855"/>
                    <a:pt x="72771" y="352711"/>
                    <a:pt x="55531" y="335756"/>
                  </a:cubicBezTo>
                  <a:cubicBezTo>
                    <a:pt x="38291" y="318802"/>
                    <a:pt x="24765" y="298418"/>
                    <a:pt x="14859" y="274606"/>
                  </a:cubicBezTo>
                  <a:cubicBezTo>
                    <a:pt x="4953" y="250793"/>
                    <a:pt x="0" y="224599"/>
                    <a:pt x="0" y="195834"/>
                  </a:cubicBezTo>
                  <a:lnTo>
                    <a:pt x="0" y="194405"/>
                  </a:lnTo>
                  <a:cubicBezTo>
                    <a:pt x="0" y="167545"/>
                    <a:pt x="4477" y="142399"/>
                    <a:pt x="13430" y="118777"/>
                  </a:cubicBezTo>
                  <a:cubicBezTo>
                    <a:pt x="22384" y="95250"/>
                    <a:pt x="34957" y="74581"/>
                    <a:pt x="51245" y="56959"/>
                  </a:cubicBezTo>
                  <a:cubicBezTo>
                    <a:pt x="67532" y="39338"/>
                    <a:pt x="86677" y="25432"/>
                    <a:pt x="108871" y="15240"/>
                  </a:cubicBezTo>
                  <a:cubicBezTo>
                    <a:pt x="131064" y="5143"/>
                    <a:pt x="155543" y="0"/>
                    <a:pt x="182404" y="0"/>
                  </a:cubicBezTo>
                  <a:cubicBezTo>
                    <a:pt x="212122" y="0"/>
                    <a:pt x="238125" y="5429"/>
                    <a:pt x="260509" y="16288"/>
                  </a:cubicBezTo>
                  <a:cubicBezTo>
                    <a:pt x="282893" y="27146"/>
                    <a:pt x="301466" y="41719"/>
                    <a:pt x="316325" y="60103"/>
                  </a:cubicBezTo>
                  <a:cubicBezTo>
                    <a:pt x="331184" y="78486"/>
                    <a:pt x="342329" y="99822"/>
                    <a:pt x="349853" y="124015"/>
                  </a:cubicBezTo>
                  <a:cubicBezTo>
                    <a:pt x="357378" y="148304"/>
                    <a:pt x="361188" y="173831"/>
                    <a:pt x="361188" y="200692"/>
                  </a:cubicBezTo>
                  <a:cubicBezTo>
                    <a:pt x="361188" y="204502"/>
                    <a:pt x="361093" y="208312"/>
                    <a:pt x="360807" y="212312"/>
                  </a:cubicBezTo>
                  <a:cubicBezTo>
                    <a:pt x="360521" y="216313"/>
                    <a:pt x="360236" y="220409"/>
                    <a:pt x="359759" y="224695"/>
                  </a:cubicBezTo>
                  <a:lnTo>
                    <a:pt x="85534" y="224695"/>
                  </a:lnTo>
                  <a:cubicBezTo>
                    <a:pt x="90202" y="255365"/>
                    <a:pt x="102394" y="278797"/>
                    <a:pt x="121920" y="294989"/>
                  </a:cubicBezTo>
                  <a:cubicBezTo>
                    <a:pt x="141446" y="311277"/>
                    <a:pt x="165164" y="319373"/>
                    <a:pt x="192977" y="319373"/>
                  </a:cubicBezTo>
                  <a:cubicBezTo>
                    <a:pt x="214217" y="319373"/>
                    <a:pt x="232505" y="315563"/>
                    <a:pt x="248126" y="308038"/>
                  </a:cubicBezTo>
                  <a:cubicBezTo>
                    <a:pt x="263652" y="300514"/>
                    <a:pt x="278987" y="289465"/>
                    <a:pt x="294037" y="274796"/>
                  </a:cubicBezTo>
                  <a:lnTo>
                    <a:pt x="344234" y="319278"/>
                  </a:lnTo>
                  <a:cubicBezTo>
                    <a:pt x="326327" y="340519"/>
                    <a:pt x="304991" y="357473"/>
                    <a:pt x="280226" y="370141"/>
                  </a:cubicBezTo>
                  <a:cubicBezTo>
                    <a:pt x="255461" y="382810"/>
                    <a:pt x="225933" y="389191"/>
                    <a:pt x="191548" y="389191"/>
                  </a:cubicBezTo>
                  <a:close/>
                  <a:moveTo>
                    <a:pt x="276320" y="168211"/>
                  </a:moveTo>
                  <a:cubicBezTo>
                    <a:pt x="274892" y="154591"/>
                    <a:pt x="271844" y="141732"/>
                    <a:pt x="267176" y="129730"/>
                  </a:cubicBezTo>
                  <a:cubicBezTo>
                    <a:pt x="262414" y="117729"/>
                    <a:pt x="256127" y="107347"/>
                    <a:pt x="248126" y="98679"/>
                  </a:cubicBezTo>
                  <a:cubicBezTo>
                    <a:pt x="240125" y="89916"/>
                    <a:pt x="230600" y="82963"/>
                    <a:pt x="219551" y="77819"/>
                  </a:cubicBezTo>
                  <a:cubicBezTo>
                    <a:pt x="208502" y="72676"/>
                    <a:pt x="195834" y="70009"/>
                    <a:pt x="181737" y="70009"/>
                  </a:cubicBezTo>
                  <a:cubicBezTo>
                    <a:pt x="155353" y="70009"/>
                    <a:pt x="133541" y="79057"/>
                    <a:pt x="116396" y="97250"/>
                  </a:cubicBezTo>
                  <a:cubicBezTo>
                    <a:pt x="99155" y="115348"/>
                    <a:pt x="88678" y="139065"/>
                    <a:pt x="84963" y="168307"/>
                  </a:cubicBezTo>
                  <a:lnTo>
                    <a:pt x="276511" y="168307"/>
                  </a:lnTo>
                  <a:close/>
                </a:path>
              </a:pathLst>
            </a:custGeom>
            <a:solidFill>
              <a:srgbClr val="44505E"/>
            </a:solidFill>
            <a:ln w="9525" cap="flat">
              <a:noFill/>
              <a:prstDash val="solid"/>
              <a:miter/>
            </a:ln>
          </p:spPr>
          <p:txBody>
            <a:bodyPr rtlCol="0" anchor="ctr"/>
            <a:lstStyle/>
            <a:p>
              <a:endParaRPr lang="pt-BR" noProof="0"/>
            </a:p>
          </p:txBody>
        </p:sp>
        <p:sp>
          <p:nvSpPr>
            <p:cNvPr id="9" name="Freeform: Shape 21">
              <a:extLst>
                <a:ext uri="{FF2B5EF4-FFF2-40B4-BE49-F238E27FC236}">
                  <a16:creationId xmlns:a16="http://schemas.microsoft.com/office/drawing/2014/main" id="{DE127755-DAB4-B9A5-D104-D1A1B0A09F56}"/>
                </a:ext>
              </a:extLst>
            </p:cNvPr>
            <p:cNvSpPr/>
            <p:nvPr/>
          </p:nvSpPr>
          <p:spPr>
            <a:xfrm>
              <a:off x="5365659"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5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8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3 w 568166"/>
                <a:gd name="connsiteY21" fmla="*/ 381000 h 381000"/>
                <a:gd name="connsiteX22" fmla="*/ 240983 w 568166"/>
                <a:gd name="connsiteY22" fmla="*/ 168783 h 381000"/>
                <a:gd name="connsiteX23" fmla="*/ 221266 w 568166"/>
                <a:gd name="connsiteY23" fmla="*/ 101822 h 381000"/>
                <a:gd name="connsiteX24" fmla="*/ 165640 w 568166"/>
                <a:gd name="connsiteY24" fmla="*/ 78581 h 381000"/>
                <a:gd name="connsiteX25" fmla="*/ 108014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70" y="48196"/>
                    <a:pt x="105918" y="40576"/>
                  </a:cubicBezTo>
                  <a:cubicBezTo>
                    <a:pt x="112967" y="32956"/>
                    <a:pt x="121063" y="26099"/>
                    <a:pt x="130207" y="19907"/>
                  </a:cubicBezTo>
                  <a:cubicBezTo>
                    <a:pt x="139351" y="13716"/>
                    <a:pt x="149733" y="8858"/>
                    <a:pt x="161163" y="5334"/>
                  </a:cubicBezTo>
                  <a:cubicBezTo>
                    <a:pt x="172688" y="1714"/>
                    <a:pt x="185452" y="0"/>
                    <a:pt x="199549" y="0"/>
                  </a:cubicBezTo>
                  <a:cubicBezTo>
                    <a:pt x="226314" y="0"/>
                    <a:pt x="248984" y="6096"/>
                    <a:pt x="267557" y="18193"/>
                  </a:cubicBezTo>
                  <a:cubicBezTo>
                    <a:pt x="286131" y="30289"/>
                    <a:pt x="300323" y="46387"/>
                    <a:pt x="310134" y="66294"/>
                  </a:cubicBezTo>
                  <a:cubicBezTo>
                    <a:pt x="325279" y="46387"/>
                    <a:pt x="343091" y="30289"/>
                    <a:pt x="363665" y="18193"/>
                  </a:cubicBezTo>
                  <a:cubicBezTo>
                    <a:pt x="384239" y="6096"/>
                    <a:pt x="408718" y="0"/>
                    <a:pt x="437007" y="0"/>
                  </a:cubicBezTo>
                  <a:cubicBezTo>
                    <a:pt x="478060"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8" y="78486"/>
                  </a:cubicBezTo>
                  <a:cubicBezTo>
                    <a:pt x="382810" y="78486"/>
                    <a:pt x="364141" y="86392"/>
                    <a:pt x="349377" y="102108"/>
                  </a:cubicBezTo>
                  <a:cubicBezTo>
                    <a:pt x="334613" y="117824"/>
                    <a:pt x="327184" y="140779"/>
                    <a:pt x="327184" y="170879"/>
                  </a:cubicBezTo>
                  <a:lnTo>
                    <a:pt x="327184" y="381000"/>
                  </a:lnTo>
                  <a:lnTo>
                    <a:pt x="240983" y="381000"/>
                  </a:lnTo>
                  <a:lnTo>
                    <a:pt x="240983" y="168783"/>
                  </a:lnTo>
                  <a:cubicBezTo>
                    <a:pt x="240983" y="139637"/>
                    <a:pt x="234410" y="117348"/>
                    <a:pt x="221266" y="101822"/>
                  </a:cubicBezTo>
                  <a:cubicBezTo>
                    <a:pt x="208121" y="86296"/>
                    <a:pt x="189643" y="78581"/>
                    <a:pt x="165640" y="78581"/>
                  </a:cubicBezTo>
                  <a:cubicBezTo>
                    <a:pt x="141637" y="78581"/>
                    <a:pt x="122492" y="86773"/>
                    <a:pt x="108014"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10" name="Freeform: Shape 22">
              <a:extLst>
                <a:ext uri="{FF2B5EF4-FFF2-40B4-BE49-F238E27FC236}">
                  <a16:creationId xmlns:a16="http://schemas.microsoft.com/office/drawing/2014/main" id="{79EE0DB4-8255-5477-6AE3-B55A959BDA74}"/>
                </a:ext>
              </a:extLst>
            </p:cNvPr>
            <p:cNvSpPr/>
            <p:nvPr/>
          </p:nvSpPr>
          <p:spPr>
            <a:xfrm>
              <a:off x="5587693" y="700007"/>
              <a:ext cx="84211" cy="95752"/>
            </a:xfrm>
            <a:custGeom>
              <a:avLst/>
              <a:gdLst>
                <a:gd name="connsiteX0" fmla="*/ 95 w 334994"/>
                <a:gd name="connsiteY0" fmla="*/ 7715 h 380904"/>
                <a:gd name="connsiteX1" fmla="*/ 86296 w 334994"/>
                <a:gd name="connsiteY1" fmla="*/ 7715 h 380904"/>
                <a:gd name="connsiteX2" fmla="*/ 86296 w 334994"/>
                <a:gd name="connsiteY2" fmla="*/ 66294 h 380904"/>
                <a:gd name="connsiteX3" fmla="*/ 106394 w 334994"/>
                <a:gd name="connsiteY3" fmla="*/ 40958 h 380904"/>
                <a:gd name="connsiteX4" fmla="*/ 131731 w 334994"/>
                <a:gd name="connsiteY4" fmla="*/ 19907 h 380904"/>
                <a:gd name="connsiteX5" fmla="*/ 163449 w 334994"/>
                <a:gd name="connsiteY5" fmla="*/ 5334 h 380904"/>
                <a:gd name="connsiteX6" fmla="*/ 202597 w 334994"/>
                <a:gd name="connsiteY6" fmla="*/ 0 h 380904"/>
                <a:gd name="connsiteX7" fmla="*/ 300514 w 334994"/>
                <a:gd name="connsiteY7" fmla="*/ 38862 h 380904"/>
                <a:gd name="connsiteX8" fmla="*/ 334994 w 334994"/>
                <a:gd name="connsiteY8" fmla="*/ 143446 h 380904"/>
                <a:gd name="connsiteX9" fmla="*/ 334994 w 334994"/>
                <a:gd name="connsiteY9" fmla="*/ 380905 h 380904"/>
                <a:gd name="connsiteX10" fmla="*/ 248793 w 334994"/>
                <a:gd name="connsiteY10" fmla="*/ 380905 h 380904"/>
                <a:gd name="connsiteX11" fmla="*/ 248793 w 334994"/>
                <a:gd name="connsiteY11" fmla="*/ 169450 h 380904"/>
                <a:gd name="connsiteX12" fmla="*/ 228124 w 334994"/>
                <a:gd name="connsiteY12" fmla="*/ 102108 h 380904"/>
                <a:gd name="connsiteX13" fmla="*/ 169640 w 334994"/>
                <a:gd name="connsiteY13" fmla="*/ 78486 h 380904"/>
                <a:gd name="connsiteX14" fmla="*/ 109347 w 334994"/>
                <a:gd name="connsiteY14" fmla="*/ 102775 h 380904"/>
                <a:gd name="connsiteX15" fmla="*/ 86201 w 334994"/>
                <a:gd name="connsiteY15" fmla="*/ 170783 h 380904"/>
                <a:gd name="connsiteX16" fmla="*/ 86201 w 334994"/>
                <a:gd name="connsiteY16" fmla="*/ 380905 h 380904"/>
                <a:gd name="connsiteX17" fmla="*/ 0 w 334994"/>
                <a:gd name="connsiteY17" fmla="*/ 380905 h 380904"/>
                <a:gd name="connsiteX18" fmla="*/ 0 w 334994"/>
                <a:gd name="connsiteY18" fmla="*/ 7810 h 38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94" h="380904">
                  <a:moveTo>
                    <a:pt x="95" y="7715"/>
                  </a:moveTo>
                  <a:lnTo>
                    <a:pt x="86296" y="7715"/>
                  </a:lnTo>
                  <a:lnTo>
                    <a:pt x="86296" y="66294"/>
                  </a:lnTo>
                  <a:cubicBezTo>
                    <a:pt x="92392" y="57245"/>
                    <a:pt x="99060" y="48863"/>
                    <a:pt x="106394" y="40958"/>
                  </a:cubicBezTo>
                  <a:cubicBezTo>
                    <a:pt x="113633" y="33147"/>
                    <a:pt x="122110" y="26099"/>
                    <a:pt x="131731" y="19907"/>
                  </a:cubicBezTo>
                  <a:cubicBezTo>
                    <a:pt x="141351" y="13716"/>
                    <a:pt x="151924" y="8858"/>
                    <a:pt x="163449" y="5334"/>
                  </a:cubicBezTo>
                  <a:cubicBezTo>
                    <a:pt x="174974" y="1714"/>
                    <a:pt x="188024" y="0"/>
                    <a:pt x="202597" y="0"/>
                  </a:cubicBezTo>
                  <a:cubicBezTo>
                    <a:pt x="244888" y="0"/>
                    <a:pt x="277559" y="12954"/>
                    <a:pt x="300514" y="38862"/>
                  </a:cubicBezTo>
                  <a:cubicBezTo>
                    <a:pt x="323564" y="64770"/>
                    <a:pt x="334994" y="99631"/>
                    <a:pt x="334994" y="143446"/>
                  </a:cubicBezTo>
                  <a:lnTo>
                    <a:pt x="334994" y="380905"/>
                  </a:lnTo>
                  <a:lnTo>
                    <a:pt x="248793" y="380905"/>
                  </a:lnTo>
                  <a:lnTo>
                    <a:pt x="248793" y="169450"/>
                  </a:lnTo>
                  <a:cubicBezTo>
                    <a:pt x="248793" y="140303"/>
                    <a:pt x="241935" y="117824"/>
                    <a:pt x="228124" y="102108"/>
                  </a:cubicBezTo>
                  <a:cubicBezTo>
                    <a:pt x="214313" y="86392"/>
                    <a:pt x="194881" y="78486"/>
                    <a:pt x="169640" y="78486"/>
                  </a:cubicBezTo>
                  <a:cubicBezTo>
                    <a:pt x="144399" y="78486"/>
                    <a:pt x="124777" y="86582"/>
                    <a:pt x="109347" y="102775"/>
                  </a:cubicBezTo>
                  <a:cubicBezTo>
                    <a:pt x="93917" y="118967"/>
                    <a:pt x="86201" y="141637"/>
                    <a:pt x="86201" y="170783"/>
                  </a:cubicBezTo>
                  <a:lnTo>
                    <a:pt x="86201" y="380905"/>
                  </a:lnTo>
                  <a:lnTo>
                    <a:pt x="0" y="380905"/>
                  </a:lnTo>
                  <a:lnTo>
                    <a:pt x="0" y="7810"/>
                  </a:lnTo>
                  <a:close/>
                </a:path>
              </a:pathLst>
            </a:custGeom>
            <a:solidFill>
              <a:srgbClr val="44505E"/>
            </a:solidFill>
            <a:ln w="9525" cap="flat">
              <a:noFill/>
              <a:prstDash val="solid"/>
              <a:miter/>
            </a:ln>
          </p:spPr>
          <p:txBody>
            <a:bodyPr rtlCol="0" anchor="ctr"/>
            <a:lstStyle/>
            <a:p>
              <a:endParaRPr lang="pt-BR" noProof="0"/>
            </a:p>
          </p:txBody>
        </p:sp>
        <p:sp>
          <p:nvSpPr>
            <p:cNvPr id="11" name="Freeform: Shape 23">
              <a:extLst>
                <a:ext uri="{FF2B5EF4-FFF2-40B4-BE49-F238E27FC236}">
                  <a16:creationId xmlns:a16="http://schemas.microsoft.com/office/drawing/2014/main" id="{97CC3BD0-7D8F-3414-7B67-CFFE814DC592}"/>
                </a:ext>
              </a:extLst>
            </p:cNvPr>
            <p:cNvSpPr/>
            <p:nvPr/>
          </p:nvSpPr>
          <p:spPr>
            <a:xfrm>
              <a:off x="5692712" y="699959"/>
              <a:ext cx="100015" cy="97908"/>
            </a:xfrm>
            <a:custGeom>
              <a:avLst/>
              <a:gdLst>
                <a:gd name="connsiteX0" fmla="*/ 197834 w 397859"/>
                <a:gd name="connsiteY0" fmla="*/ 389477 h 389477"/>
                <a:gd name="connsiteX1" fmla="*/ 119063 w 397859"/>
                <a:gd name="connsiteY1" fmla="*/ 374237 h 389477"/>
                <a:gd name="connsiteX2" fmla="*/ 56197 w 397859"/>
                <a:gd name="connsiteY2" fmla="*/ 332899 h 389477"/>
                <a:gd name="connsiteX3" fmla="*/ 14859 w 397859"/>
                <a:gd name="connsiteY3" fmla="*/ 271463 h 389477"/>
                <a:gd name="connsiteX4" fmla="*/ 0 w 397859"/>
                <a:gd name="connsiteY4" fmla="*/ 196501 h 389477"/>
                <a:gd name="connsiteX5" fmla="*/ 0 w 397859"/>
                <a:gd name="connsiteY5" fmla="*/ 195072 h 389477"/>
                <a:gd name="connsiteX6" fmla="*/ 15145 w 397859"/>
                <a:gd name="connsiteY6" fmla="*/ 119444 h 389477"/>
                <a:gd name="connsiteX7" fmla="*/ 56864 w 397859"/>
                <a:gd name="connsiteY7" fmla="*/ 57626 h 389477"/>
                <a:gd name="connsiteX8" fmla="*/ 119729 w 397859"/>
                <a:gd name="connsiteY8" fmla="*/ 15526 h 389477"/>
                <a:gd name="connsiteX9" fmla="*/ 199263 w 397859"/>
                <a:gd name="connsiteY9" fmla="*/ 0 h 389477"/>
                <a:gd name="connsiteX10" fmla="*/ 278797 w 397859"/>
                <a:gd name="connsiteY10" fmla="*/ 15240 h 389477"/>
                <a:gd name="connsiteX11" fmla="*/ 341662 w 397859"/>
                <a:gd name="connsiteY11" fmla="*/ 56959 h 389477"/>
                <a:gd name="connsiteX12" fmla="*/ 383000 w 397859"/>
                <a:gd name="connsiteY12" fmla="*/ 118396 h 389477"/>
                <a:gd name="connsiteX13" fmla="*/ 397859 w 397859"/>
                <a:gd name="connsiteY13" fmla="*/ 193643 h 389477"/>
                <a:gd name="connsiteX14" fmla="*/ 397859 w 397859"/>
                <a:gd name="connsiteY14" fmla="*/ 195072 h 389477"/>
                <a:gd name="connsiteX15" fmla="*/ 382619 w 397859"/>
                <a:gd name="connsiteY15" fmla="*/ 270034 h 389477"/>
                <a:gd name="connsiteX16" fmla="*/ 340900 w 397859"/>
                <a:gd name="connsiteY16" fmla="*/ 331851 h 389477"/>
                <a:gd name="connsiteX17" fmla="*/ 277654 w 397859"/>
                <a:gd name="connsiteY17" fmla="*/ 373856 h 389477"/>
                <a:gd name="connsiteX18" fmla="*/ 197834 w 397859"/>
                <a:gd name="connsiteY18" fmla="*/ 389382 h 389477"/>
                <a:gd name="connsiteX19" fmla="*/ 199263 w 397859"/>
                <a:gd name="connsiteY19" fmla="*/ 315278 h 389477"/>
                <a:gd name="connsiteX20" fmla="*/ 245935 w 397859"/>
                <a:gd name="connsiteY20" fmla="*/ 305753 h 389477"/>
                <a:gd name="connsiteX21" fmla="*/ 281368 w 397859"/>
                <a:gd name="connsiteY21" fmla="*/ 279940 h 389477"/>
                <a:gd name="connsiteX22" fmla="*/ 303847 w 397859"/>
                <a:gd name="connsiteY22" fmla="*/ 242125 h 389477"/>
                <a:gd name="connsiteX23" fmla="*/ 311563 w 397859"/>
                <a:gd name="connsiteY23" fmla="*/ 196501 h 389477"/>
                <a:gd name="connsiteX24" fmla="*/ 311563 w 397859"/>
                <a:gd name="connsiteY24" fmla="*/ 195072 h 389477"/>
                <a:gd name="connsiteX25" fmla="*/ 303181 w 397859"/>
                <a:gd name="connsiteY25" fmla="*/ 148400 h 389477"/>
                <a:gd name="connsiteX26" fmla="*/ 279654 w 397859"/>
                <a:gd name="connsiteY26" fmla="*/ 110204 h 389477"/>
                <a:gd name="connsiteX27" fmla="*/ 243840 w 397859"/>
                <a:gd name="connsiteY27" fmla="*/ 84392 h 389477"/>
                <a:gd name="connsiteX28" fmla="*/ 197834 w 397859"/>
                <a:gd name="connsiteY28" fmla="*/ 74867 h 389477"/>
                <a:gd name="connsiteX29" fmla="*/ 151829 w 397859"/>
                <a:gd name="connsiteY29" fmla="*/ 84392 h 389477"/>
                <a:gd name="connsiteX30" fmla="*/ 116396 w 397859"/>
                <a:gd name="connsiteY30" fmla="*/ 109823 h 389477"/>
                <a:gd name="connsiteX31" fmla="*/ 93917 w 397859"/>
                <a:gd name="connsiteY31" fmla="*/ 147638 h 389477"/>
                <a:gd name="connsiteX32" fmla="*/ 86201 w 397859"/>
                <a:gd name="connsiteY32" fmla="*/ 193548 h 389477"/>
                <a:gd name="connsiteX33" fmla="*/ 86201 w 397859"/>
                <a:gd name="connsiteY33" fmla="*/ 194977 h 389477"/>
                <a:gd name="connsiteX34" fmla="*/ 94583 w 397859"/>
                <a:gd name="connsiteY34" fmla="*/ 241268 h 389477"/>
                <a:gd name="connsiteX35" fmla="*/ 118110 w 397859"/>
                <a:gd name="connsiteY35" fmla="*/ 279463 h 389477"/>
                <a:gd name="connsiteX36" fmla="*/ 153924 w 397859"/>
                <a:gd name="connsiteY36" fmla="*/ 305562 h 389477"/>
                <a:gd name="connsiteX37" fmla="*/ 199263 w 397859"/>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859" h="389477">
                  <a:moveTo>
                    <a:pt x="197834" y="389477"/>
                  </a:moveTo>
                  <a:cubicBezTo>
                    <a:pt x="169545" y="389477"/>
                    <a:pt x="143351" y="384429"/>
                    <a:pt x="119063" y="374237"/>
                  </a:cubicBezTo>
                  <a:cubicBezTo>
                    <a:pt x="94774" y="364141"/>
                    <a:pt x="73819" y="350330"/>
                    <a:pt x="56197" y="332899"/>
                  </a:cubicBezTo>
                  <a:cubicBezTo>
                    <a:pt x="38481" y="315468"/>
                    <a:pt x="24765" y="294989"/>
                    <a:pt x="14859" y="271463"/>
                  </a:cubicBezTo>
                  <a:cubicBezTo>
                    <a:pt x="4953" y="247936"/>
                    <a:pt x="0" y="222980"/>
                    <a:pt x="0" y="196501"/>
                  </a:cubicBezTo>
                  <a:lnTo>
                    <a:pt x="0" y="195072"/>
                  </a:lnTo>
                  <a:cubicBezTo>
                    <a:pt x="0" y="168212"/>
                    <a:pt x="5048" y="143066"/>
                    <a:pt x="15145" y="119444"/>
                  </a:cubicBezTo>
                  <a:cubicBezTo>
                    <a:pt x="25241" y="95917"/>
                    <a:pt x="39148" y="75248"/>
                    <a:pt x="56864" y="57626"/>
                  </a:cubicBezTo>
                  <a:cubicBezTo>
                    <a:pt x="74581" y="39910"/>
                    <a:pt x="95536" y="25908"/>
                    <a:pt x="119729" y="15526"/>
                  </a:cubicBezTo>
                  <a:cubicBezTo>
                    <a:pt x="144018" y="5144"/>
                    <a:pt x="170497" y="0"/>
                    <a:pt x="199263" y="0"/>
                  </a:cubicBezTo>
                  <a:cubicBezTo>
                    <a:pt x="228029" y="0"/>
                    <a:pt x="254508" y="5048"/>
                    <a:pt x="278797" y="15240"/>
                  </a:cubicBezTo>
                  <a:cubicBezTo>
                    <a:pt x="303085" y="25337"/>
                    <a:pt x="324041" y="39243"/>
                    <a:pt x="341662" y="56959"/>
                  </a:cubicBezTo>
                  <a:cubicBezTo>
                    <a:pt x="359378" y="74676"/>
                    <a:pt x="373094" y="95155"/>
                    <a:pt x="383000" y="118396"/>
                  </a:cubicBezTo>
                  <a:cubicBezTo>
                    <a:pt x="392906" y="141732"/>
                    <a:pt x="397859" y="166783"/>
                    <a:pt x="397859" y="193643"/>
                  </a:cubicBezTo>
                  <a:lnTo>
                    <a:pt x="397859" y="195072"/>
                  </a:lnTo>
                  <a:cubicBezTo>
                    <a:pt x="397859" y="221456"/>
                    <a:pt x="392811" y="246412"/>
                    <a:pt x="382619" y="270034"/>
                  </a:cubicBezTo>
                  <a:cubicBezTo>
                    <a:pt x="372523" y="293561"/>
                    <a:pt x="358616" y="314230"/>
                    <a:pt x="340900" y="331851"/>
                  </a:cubicBezTo>
                  <a:cubicBezTo>
                    <a:pt x="323183" y="349472"/>
                    <a:pt x="302133" y="363569"/>
                    <a:pt x="277654" y="373856"/>
                  </a:cubicBezTo>
                  <a:cubicBezTo>
                    <a:pt x="253175" y="384238"/>
                    <a:pt x="226504" y="389382"/>
                    <a:pt x="197834" y="389382"/>
                  </a:cubicBezTo>
                  <a:close/>
                  <a:moveTo>
                    <a:pt x="199263" y="315278"/>
                  </a:moveTo>
                  <a:cubicBezTo>
                    <a:pt x="216598" y="315278"/>
                    <a:pt x="232124" y="312039"/>
                    <a:pt x="245935" y="305753"/>
                  </a:cubicBezTo>
                  <a:cubicBezTo>
                    <a:pt x="259747" y="299371"/>
                    <a:pt x="271558" y="290798"/>
                    <a:pt x="281368" y="279940"/>
                  </a:cubicBezTo>
                  <a:cubicBezTo>
                    <a:pt x="291179" y="269081"/>
                    <a:pt x="298704" y="256508"/>
                    <a:pt x="303847" y="242125"/>
                  </a:cubicBezTo>
                  <a:cubicBezTo>
                    <a:pt x="308991" y="227743"/>
                    <a:pt x="311563" y="212598"/>
                    <a:pt x="311563" y="196501"/>
                  </a:cubicBezTo>
                  <a:lnTo>
                    <a:pt x="311563" y="195072"/>
                  </a:lnTo>
                  <a:cubicBezTo>
                    <a:pt x="311563" y="178594"/>
                    <a:pt x="308800" y="163068"/>
                    <a:pt x="303181" y="148400"/>
                  </a:cubicBezTo>
                  <a:cubicBezTo>
                    <a:pt x="297561" y="133826"/>
                    <a:pt x="289750" y="121063"/>
                    <a:pt x="279654" y="110204"/>
                  </a:cubicBezTo>
                  <a:cubicBezTo>
                    <a:pt x="269558" y="99346"/>
                    <a:pt x="257651" y="90773"/>
                    <a:pt x="243840" y="84392"/>
                  </a:cubicBezTo>
                  <a:cubicBezTo>
                    <a:pt x="230029" y="78010"/>
                    <a:pt x="214693" y="74867"/>
                    <a:pt x="197834" y="74867"/>
                  </a:cubicBezTo>
                  <a:cubicBezTo>
                    <a:pt x="180975" y="74867"/>
                    <a:pt x="165640" y="78010"/>
                    <a:pt x="151829" y="84392"/>
                  </a:cubicBezTo>
                  <a:cubicBezTo>
                    <a:pt x="138017" y="90773"/>
                    <a:pt x="126206" y="99250"/>
                    <a:pt x="116396" y="109823"/>
                  </a:cubicBezTo>
                  <a:cubicBezTo>
                    <a:pt x="106585" y="120396"/>
                    <a:pt x="99060" y="133064"/>
                    <a:pt x="93917" y="147638"/>
                  </a:cubicBezTo>
                  <a:cubicBezTo>
                    <a:pt x="88773" y="162211"/>
                    <a:pt x="86201" y="177546"/>
                    <a:pt x="86201" y="193548"/>
                  </a:cubicBezTo>
                  <a:lnTo>
                    <a:pt x="86201" y="194977"/>
                  </a:lnTo>
                  <a:cubicBezTo>
                    <a:pt x="86201" y="211455"/>
                    <a:pt x="88963" y="226886"/>
                    <a:pt x="94583" y="241268"/>
                  </a:cubicBezTo>
                  <a:cubicBezTo>
                    <a:pt x="100203" y="255651"/>
                    <a:pt x="108013" y="268319"/>
                    <a:pt x="118110" y="279463"/>
                  </a:cubicBezTo>
                  <a:cubicBezTo>
                    <a:pt x="128206" y="290513"/>
                    <a:pt x="140113" y="299275"/>
                    <a:pt x="153924" y="305562"/>
                  </a:cubicBezTo>
                  <a:cubicBezTo>
                    <a:pt x="167735" y="311944"/>
                    <a:pt x="182880"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12" name="Freeform: Shape 24">
              <a:extLst>
                <a:ext uri="{FF2B5EF4-FFF2-40B4-BE49-F238E27FC236}">
                  <a16:creationId xmlns:a16="http://schemas.microsoft.com/office/drawing/2014/main" id="{796AB967-F995-9042-8CBD-1FC568F0155D}"/>
                </a:ext>
              </a:extLst>
            </p:cNvPr>
            <p:cNvSpPr/>
            <p:nvPr/>
          </p:nvSpPr>
          <p:spPr>
            <a:xfrm>
              <a:off x="5806925"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2 w 296894"/>
                <a:gd name="connsiteY36" fmla="*/ 224980 h 386714"/>
                <a:gd name="connsiteX37" fmla="*/ 296894 w 296894"/>
                <a:gd name="connsiteY37" fmla="*/ 267938 h 386714"/>
                <a:gd name="connsiteX38" fmla="*/ 296894 w 296894"/>
                <a:gd name="connsiteY38" fmla="*/ 269367 h 386714"/>
                <a:gd name="connsiteX39" fmla="*/ 286322 w 296894"/>
                <a:gd name="connsiteY39" fmla="*/ 320897 h 386714"/>
                <a:gd name="connsiteX40" fmla="*/ 256984 w 296894"/>
                <a:gd name="connsiteY40" fmla="*/ 357188 h 386714"/>
                <a:gd name="connsiteX41" fmla="*/ 212789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8" y="298704"/>
                    <a:pt x="100013" y="306514"/>
                  </a:cubicBezTo>
                  <a:cubicBezTo>
                    <a:pt x="120967" y="314325"/>
                    <a:pt x="141161" y="318135"/>
                    <a:pt x="160401" y="318135"/>
                  </a:cubicBezTo>
                  <a:cubicBezTo>
                    <a:pt x="179642" y="318135"/>
                    <a:pt x="192976"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2" y="241078"/>
                    <a:pt x="176498" y="237553"/>
                    <a:pt x="166402" y="234220"/>
                  </a:cubicBezTo>
                  <a:cubicBezTo>
                    <a:pt x="156305" y="230886"/>
                    <a:pt x="145733" y="227647"/>
                    <a:pt x="134969" y="224314"/>
                  </a:cubicBezTo>
                  <a:cubicBezTo>
                    <a:pt x="121253" y="220599"/>
                    <a:pt x="107537" y="216122"/>
                    <a:pt x="93631" y="210884"/>
                  </a:cubicBezTo>
                  <a:cubicBezTo>
                    <a:pt x="79724" y="205740"/>
                    <a:pt x="67246" y="198977"/>
                    <a:pt x="56197" y="190786"/>
                  </a:cubicBezTo>
                  <a:cubicBezTo>
                    <a:pt x="45149" y="182594"/>
                    <a:pt x="36100" y="172307"/>
                    <a:pt x="28956" y="160115"/>
                  </a:cubicBezTo>
                  <a:cubicBezTo>
                    <a:pt x="21908"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5"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7" y="156210"/>
                    <a:pt x="180975" y="159448"/>
                  </a:cubicBezTo>
                  <a:cubicBezTo>
                    <a:pt x="194596" y="163639"/>
                    <a:pt x="208312" y="168592"/>
                    <a:pt x="222028" y="174212"/>
                  </a:cubicBezTo>
                  <a:cubicBezTo>
                    <a:pt x="235649" y="179832"/>
                    <a:pt x="248031" y="186785"/>
                    <a:pt x="259080" y="194977"/>
                  </a:cubicBezTo>
                  <a:cubicBezTo>
                    <a:pt x="270129" y="203168"/>
                    <a:pt x="279273" y="213169"/>
                    <a:pt x="286322" y="224980"/>
                  </a:cubicBezTo>
                  <a:cubicBezTo>
                    <a:pt x="293370" y="236696"/>
                    <a:pt x="296894" y="251079"/>
                    <a:pt x="296894" y="267938"/>
                  </a:cubicBezTo>
                  <a:lnTo>
                    <a:pt x="296894" y="269367"/>
                  </a:lnTo>
                  <a:cubicBezTo>
                    <a:pt x="296894" y="289084"/>
                    <a:pt x="293370" y="306229"/>
                    <a:pt x="286322" y="320897"/>
                  </a:cubicBezTo>
                  <a:cubicBezTo>
                    <a:pt x="279273" y="335470"/>
                    <a:pt x="269462" y="347567"/>
                    <a:pt x="256984" y="357188"/>
                  </a:cubicBezTo>
                  <a:cubicBezTo>
                    <a:pt x="244507" y="366808"/>
                    <a:pt x="229743" y="374142"/>
                    <a:pt x="212789"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13" name="Freeform: Shape 25">
              <a:extLst>
                <a:ext uri="{FF2B5EF4-FFF2-40B4-BE49-F238E27FC236}">
                  <a16:creationId xmlns:a16="http://schemas.microsoft.com/office/drawing/2014/main" id="{132D4FA9-DFCE-0ED2-14B9-1B6A90208EDB}"/>
                </a:ext>
              </a:extLst>
            </p:cNvPr>
            <p:cNvSpPr/>
            <p:nvPr/>
          </p:nvSpPr>
          <p:spPr>
            <a:xfrm>
              <a:off x="589573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6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160" y="318135"/>
                    <a:pt x="160401" y="318135"/>
                  </a:cubicBezTo>
                  <a:cubicBezTo>
                    <a:pt x="179641" y="318135"/>
                    <a:pt x="192976"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4"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792"/>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14" name="Freeform: Shape 26">
              <a:extLst>
                <a:ext uri="{FF2B5EF4-FFF2-40B4-BE49-F238E27FC236}">
                  <a16:creationId xmlns:a16="http://schemas.microsoft.com/office/drawing/2014/main" id="{8EEDA734-20C1-DD58-D093-AED634A49F93}"/>
                </a:ext>
              </a:extLst>
            </p:cNvPr>
            <p:cNvSpPr/>
            <p:nvPr/>
          </p:nvSpPr>
          <p:spPr>
            <a:xfrm>
              <a:off x="5985812" y="700558"/>
              <a:ext cx="85097" cy="97141"/>
            </a:xfrm>
            <a:custGeom>
              <a:avLst/>
              <a:gdLst>
                <a:gd name="connsiteX0" fmla="*/ 253651 w 338518"/>
                <a:gd name="connsiteY0" fmla="*/ 378619 h 386429"/>
                <a:gd name="connsiteX1" fmla="*/ 253651 w 338518"/>
                <a:gd name="connsiteY1" fmla="*/ 332708 h 386429"/>
                <a:gd name="connsiteX2" fmla="*/ 204883 w 338518"/>
                <a:gd name="connsiteY2" fmla="*/ 370904 h 386429"/>
                <a:gd name="connsiteX3" fmla="*/ 132779 w 338518"/>
                <a:gd name="connsiteY3" fmla="*/ 386429 h 386429"/>
                <a:gd name="connsiteX4" fmla="*/ 81915 w 338518"/>
                <a:gd name="connsiteY4" fmla="*/ 379000 h 386429"/>
                <a:gd name="connsiteX5" fmla="*/ 39910 w 338518"/>
                <a:gd name="connsiteY5" fmla="*/ 357092 h 386429"/>
                <a:gd name="connsiteX6" fmla="*/ 10954 w 338518"/>
                <a:gd name="connsiteY6" fmla="*/ 321088 h 386429"/>
                <a:gd name="connsiteX7" fmla="*/ 0 w 338518"/>
                <a:gd name="connsiteY7" fmla="*/ 271272 h 386429"/>
                <a:gd name="connsiteX8" fmla="*/ 0 w 338518"/>
                <a:gd name="connsiteY8" fmla="*/ 269843 h 386429"/>
                <a:gd name="connsiteX9" fmla="*/ 11335 w 338518"/>
                <a:gd name="connsiteY9" fmla="*/ 215741 h 386429"/>
                <a:gd name="connsiteX10" fmla="*/ 42767 w 338518"/>
                <a:gd name="connsiteY10" fmla="*/ 177546 h 386429"/>
                <a:gd name="connsiteX11" fmla="*/ 90773 w 338518"/>
                <a:gd name="connsiteY11" fmla="*/ 154972 h 386429"/>
                <a:gd name="connsiteX12" fmla="*/ 151162 w 338518"/>
                <a:gd name="connsiteY12" fmla="*/ 147542 h 386429"/>
                <a:gd name="connsiteX13" fmla="*/ 208788 w 338518"/>
                <a:gd name="connsiteY13" fmla="*/ 151829 h 386429"/>
                <a:gd name="connsiteX14" fmla="*/ 254413 w 338518"/>
                <a:gd name="connsiteY14" fmla="*/ 163163 h 386429"/>
                <a:gd name="connsiteX15" fmla="*/ 254413 w 338518"/>
                <a:gd name="connsiteY15" fmla="*/ 156115 h 386429"/>
                <a:gd name="connsiteX16" fmla="*/ 230696 w 338518"/>
                <a:gd name="connsiteY16" fmla="*/ 96774 h 386429"/>
                <a:gd name="connsiteX17" fmla="*/ 162496 w 338518"/>
                <a:gd name="connsiteY17" fmla="*/ 76295 h 386429"/>
                <a:gd name="connsiteX18" fmla="*/ 106013 w 338518"/>
                <a:gd name="connsiteY18" fmla="*/ 82677 h 386429"/>
                <a:gd name="connsiteX19" fmla="*/ 55816 w 338518"/>
                <a:gd name="connsiteY19" fmla="*/ 99632 h 386429"/>
                <a:gd name="connsiteX20" fmla="*/ 32480 w 338518"/>
                <a:gd name="connsiteY20" fmla="*/ 31052 h 386429"/>
                <a:gd name="connsiteX21" fmla="*/ 96107 w 338518"/>
                <a:gd name="connsiteY21" fmla="*/ 8477 h 386429"/>
                <a:gd name="connsiteX22" fmla="*/ 174593 w 338518"/>
                <a:gd name="connsiteY22" fmla="*/ 0 h 386429"/>
                <a:gd name="connsiteX23" fmla="*/ 298228 w 338518"/>
                <a:gd name="connsiteY23" fmla="*/ 41338 h 386429"/>
                <a:gd name="connsiteX24" fmla="*/ 338519 w 338518"/>
                <a:gd name="connsiteY24" fmla="*/ 157544 h 386429"/>
                <a:gd name="connsiteX25" fmla="*/ 338519 w 338518"/>
                <a:gd name="connsiteY25" fmla="*/ 378714 h 386429"/>
                <a:gd name="connsiteX26" fmla="*/ 253746 w 338518"/>
                <a:gd name="connsiteY26" fmla="*/ 378714 h 386429"/>
                <a:gd name="connsiteX27" fmla="*/ 255746 w 338518"/>
                <a:gd name="connsiteY27" fmla="*/ 222409 h 386429"/>
                <a:gd name="connsiteX28" fmla="*/ 217265 w 338518"/>
                <a:gd name="connsiteY28" fmla="*/ 211836 h 386429"/>
                <a:gd name="connsiteX29" fmla="*/ 170307 w 338518"/>
                <a:gd name="connsiteY29" fmla="*/ 207550 h 386429"/>
                <a:gd name="connsiteX30" fmla="*/ 107442 w 338518"/>
                <a:gd name="connsiteY30" fmla="*/ 223075 h 386429"/>
                <a:gd name="connsiteX31" fmla="*/ 84868 w 338518"/>
                <a:gd name="connsiteY31" fmla="*/ 265462 h 386429"/>
                <a:gd name="connsiteX32" fmla="*/ 84868 w 338518"/>
                <a:gd name="connsiteY32" fmla="*/ 266891 h 386429"/>
                <a:gd name="connsiteX33" fmla="*/ 105728 w 338518"/>
                <a:gd name="connsiteY33" fmla="*/ 307848 h 386429"/>
                <a:gd name="connsiteX34" fmla="*/ 156972 w 338518"/>
                <a:gd name="connsiteY34" fmla="*/ 321945 h 386429"/>
                <a:gd name="connsiteX35" fmla="*/ 196215 w 338518"/>
                <a:gd name="connsiteY35" fmla="*/ 316325 h 386429"/>
                <a:gd name="connsiteX36" fmla="*/ 227647 w 338518"/>
                <a:gd name="connsiteY36" fmla="*/ 300419 h 386429"/>
                <a:gd name="connsiteX37" fmla="*/ 248507 w 338518"/>
                <a:gd name="connsiteY37" fmla="*/ 275654 h 386429"/>
                <a:gd name="connsiteX38" fmla="*/ 255937 w 338518"/>
                <a:gd name="connsiteY38" fmla="*/ 243459 h 386429"/>
                <a:gd name="connsiteX39" fmla="*/ 255937 w 338518"/>
                <a:gd name="connsiteY39" fmla="*/ 222218 h 3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8518" h="386429">
                  <a:moveTo>
                    <a:pt x="253651" y="378619"/>
                  </a:moveTo>
                  <a:lnTo>
                    <a:pt x="253651" y="332708"/>
                  </a:lnTo>
                  <a:cubicBezTo>
                    <a:pt x="240887" y="347758"/>
                    <a:pt x="224695" y="360521"/>
                    <a:pt x="204883" y="370904"/>
                  </a:cubicBezTo>
                  <a:cubicBezTo>
                    <a:pt x="185071" y="381286"/>
                    <a:pt x="161068" y="386429"/>
                    <a:pt x="132779" y="386429"/>
                  </a:cubicBezTo>
                  <a:cubicBezTo>
                    <a:pt x="114871" y="386429"/>
                    <a:pt x="97917" y="383953"/>
                    <a:pt x="81915" y="379000"/>
                  </a:cubicBezTo>
                  <a:cubicBezTo>
                    <a:pt x="65913" y="374047"/>
                    <a:pt x="51911" y="366713"/>
                    <a:pt x="39910" y="357092"/>
                  </a:cubicBezTo>
                  <a:cubicBezTo>
                    <a:pt x="27908" y="347472"/>
                    <a:pt x="18193" y="335471"/>
                    <a:pt x="10954" y="321088"/>
                  </a:cubicBezTo>
                  <a:cubicBezTo>
                    <a:pt x="3620" y="306705"/>
                    <a:pt x="0" y="290132"/>
                    <a:pt x="0" y="271272"/>
                  </a:cubicBezTo>
                  <a:lnTo>
                    <a:pt x="0" y="269843"/>
                  </a:lnTo>
                  <a:cubicBezTo>
                    <a:pt x="0" y="249079"/>
                    <a:pt x="3810" y="231077"/>
                    <a:pt x="11335" y="215741"/>
                  </a:cubicBezTo>
                  <a:cubicBezTo>
                    <a:pt x="18859" y="200406"/>
                    <a:pt x="29337" y="187738"/>
                    <a:pt x="42767" y="177546"/>
                  </a:cubicBezTo>
                  <a:cubicBezTo>
                    <a:pt x="56197" y="167450"/>
                    <a:pt x="72199" y="159925"/>
                    <a:pt x="90773" y="154972"/>
                  </a:cubicBezTo>
                  <a:cubicBezTo>
                    <a:pt x="109347" y="150019"/>
                    <a:pt x="129540" y="147542"/>
                    <a:pt x="151162" y="147542"/>
                  </a:cubicBezTo>
                  <a:cubicBezTo>
                    <a:pt x="172783" y="147542"/>
                    <a:pt x="192976" y="148971"/>
                    <a:pt x="208788" y="151829"/>
                  </a:cubicBezTo>
                  <a:cubicBezTo>
                    <a:pt x="224599" y="154686"/>
                    <a:pt x="239744" y="158401"/>
                    <a:pt x="254413" y="163163"/>
                  </a:cubicBezTo>
                  <a:lnTo>
                    <a:pt x="254413" y="156115"/>
                  </a:lnTo>
                  <a:cubicBezTo>
                    <a:pt x="254413" y="130207"/>
                    <a:pt x="246507" y="110395"/>
                    <a:pt x="230696" y="96774"/>
                  </a:cubicBezTo>
                  <a:cubicBezTo>
                    <a:pt x="214884" y="83153"/>
                    <a:pt x="192214" y="76295"/>
                    <a:pt x="162496" y="76295"/>
                  </a:cubicBezTo>
                  <a:cubicBezTo>
                    <a:pt x="141351" y="76295"/>
                    <a:pt x="122491" y="78391"/>
                    <a:pt x="106013" y="82677"/>
                  </a:cubicBezTo>
                  <a:cubicBezTo>
                    <a:pt x="89535" y="86963"/>
                    <a:pt x="72771" y="92583"/>
                    <a:pt x="55816" y="99632"/>
                  </a:cubicBezTo>
                  <a:lnTo>
                    <a:pt x="32480" y="31052"/>
                  </a:lnTo>
                  <a:cubicBezTo>
                    <a:pt x="53149" y="21622"/>
                    <a:pt x="74390" y="14097"/>
                    <a:pt x="96107" y="8477"/>
                  </a:cubicBezTo>
                  <a:cubicBezTo>
                    <a:pt x="117729" y="2858"/>
                    <a:pt x="143923" y="0"/>
                    <a:pt x="174593" y="0"/>
                  </a:cubicBezTo>
                  <a:cubicBezTo>
                    <a:pt x="230124" y="0"/>
                    <a:pt x="271367" y="13811"/>
                    <a:pt x="298228" y="41338"/>
                  </a:cubicBezTo>
                  <a:cubicBezTo>
                    <a:pt x="325088" y="68866"/>
                    <a:pt x="338519" y="107633"/>
                    <a:pt x="338519" y="157544"/>
                  </a:cubicBezTo>
                  <a:lnTo>
                    <a:pt x="338519" y="378714"/>
                  </a:lnTo>
                  <a:lnTo>
                    <a:pt x="253746" y="378714"/>
                  </a:lnTo>
                  <a:close/>
                  <a:moveTo>
                    <a:pt x="255746" y="222409"/>
                  </a:moveTo>
                  <a:cubicBezTo>
                    <a:pt x="244888" y="218123"/>
                    <a:pt x="232029" y="214598"/>
                    <a:pt x="217265" y="211836"/>
                  </a:cubicBezTo>
                  <a:cubicBezTo>
                    <a:pt x="202406" y="208979"/>
                    <a:pt x="186785" y="207550"/>
                    <a:pt x="170307" y="207550"/>
                  </a:cubicBezTo>
                  <a:cubicBezTo>
                    <a:pt x="143446" y="207550"/>
                    <a:pt x="122491" y="212693"/>
                    <a:pt x="107442" y="223075"/>
                  </a:cubicBezTo>
                  <a:cubicBezTo>
                    <a:pt x="92392" y="233458"/>
                    <a:pt x="84868" y="247555"/>
                    <a:pt x="84868" y="265462"/>
                  </a:cubicBezTo>
                  <a:lnTo>
                    <a:pt x="84868" y="266891"/>
                  </a:lnTo>
                  <a:cubicBezTo>
                    <a:pt x="84868" y="284798"/>
                    <a:pt x="91821" y="298418"/>
                    <a:pt x="105728" y="307848"/>
                  </a:cubicBezTo>
                  <a:cubicBezTo>
                    <a:pt x="119634" y="317278"/>
                    <a:pt x="136684" y="321945"/>
                    <a:pt x="156972" y="321945"/>
                  </a:cubicBezTo>
                  <a:cubicBezTo>
                    <a:pt x="171069" y="321945"/>
                    <a:pt x="184213" y="320040"/>
                    <a:pt x="196215" y="316325"/>
                  </a:cubicBezTo>
                  <a:cubicBezTo>
                    <a:pt x="208216" y="312515"/>
                    <a:pt x="218694" y="307277"/>
                    <a:pt x="227647" y="300419"/>
                  </a:cubicBezTo>
                  <a:cubicBezTo>
                    <a:pt x="236601" y="293561"/>
                    <a:pt x="243554" y="285369"/>
                    <a:pt x="248507" y="275654"/>
                  </a:cubicBezTo>
                  <a:cubicBezTo>
                    <a:pt x="253460" y="266033"/>
                    <a:pt x="255937" y="255270"/>
                    <a:pt x="255937" y="243459"/>
                  </a:cubicBezTo>
                  <a:lnTo>
                    <a:pt x="255937" y="222218"/>
                  </a:lnTo>
                  <a:close/>
                </a:path>
              </a:pathLst>
            </a:custGeom>
            <a:solidFill>
              <a:srgbClr val="44505E"/>
            </a:solidFill>
            <a:ln w="9525" cap="flat">
              <a:noFill/>
              <a:prstDash val="solid"/>
              <a:miter/>
            </a:ln>
          </p:spPr>
          <p:txBody>
            <a:bodyPr rtlCol="0" anchor="ctr"/>
            <a:lstStyle/>
            <a:p>
              <a:endParaRPr lang="pt-BR" noProof="0"/>
            </a:p>
          </p:txBody>
        </p:sp>
        <p:sp>
          <p:nvSpPr>
            <p:cNvPr id="15" name="Freeform: Shape 27">
              <a:extLst>
                <a:ext uri="{FF2B5EF4-FFF2-40B4-BE49-F238E27FC236}">
                  <a16:creationId xmlns:a16="http://schemas.microsoft.com/office/drawing/2014/main" id="{1D9E37BB-279D-9E5C-CA6B-E51BF3D32A7F}"/>
                </a:ext>
              </a:extLst>
            </p:cNvPr>
            <p:cNvSpPr/>
            <p:nvPr/>
          </p:nvSpPr>
          <p:spPr>
            <a:xfrm>
              <a:off x="6088843" y="700318"/>
              <a:ext cx="74610" cy="97213"/>
            </a:xfrm>
            <a:custGeom>
              <a:avLst/>
              <a:gdLst>
                <a:gd name="connsiteX0" fmla="*/ 158305 w 296799"/>
                <a:gd name="connsiteY0" fmla="*/ 386715 h 386714"/>
                <a:gd name="connsiteX1" fmla="*/ 76676 w 296799"/>
                <a:gd name="connsiteY1" fmla="*/ 372427 h 386714"/>
                <a:gd name="connsiteX2" fmla="*/ 0 w 296799"/>
                <a:gd name="connsiteY2" fmla="*/ 330327 h 386714"/>
                <a:gd name="connsiteX3" fmla="*/ 38195 w 296799"/>
                <a:gd name="connsiteY3" fmla="*/ 272224 h 386714"/>
                <a:gd name="connsiteX4" fmla="*/ 100013 w 296799"/>
                <a:gd name="connsiteY4" fmla="*/ 306514 h 386714"/>
                <a:gd name="connsiteX5" fmla="*/ 160401 w 296799"/>
                <a:gd name="connsiteY5" fmla="*/ 318135 h 386714"/>
                <a:gd name="connsiteX6" fmla="*/ 203168 w 296799"/>
                <a:gd name="connsiteY6" fmla="*/ 307181 h 386714"/>
                <a:gd name="connsiteX7" fmla="*/ 218408 w 296799"/>
                <a:gd name="connsiteY7" fmla="*/ 277939 h 386714"/>
                <a:gd name="connsiteX8" fmla="*/ 218408 w 296799"/>
                <a:gd name="connsiteY8" fmla="*/ 276511 h 386714"/>
                <a:gd name="connsiteX9" fmla="*/ 211646 w 296799"/>
                <a:gd name="connsiteY9" fmla="*/ 258223 h 386714"/>
                <a:gd name="connsiteX10" fmla="*/ 193262 w 296799"/>
                <a:gd name="connsiteY10" fmla="*/ 244792 h 386714"/>
                <a:gd name="connsiteX11" fmla="*/ 166402 w 296799"/>
                <a:gd name="connsiteY11" fmla="*/ 234220 h 386714"/>
                <a:gd name="connsiteX12" fmla="*/ 134969 w 296799"/>
                <a:gd name="connsiteY12" fmla="*/ 224314 h 386714"/>
                <a:gd name="connsiteX13" fmla="*/ 93631 w 296799"/>
                <a:gd name="connsiteY13" fmla="*/ 210884 h 386714"/>
                <a:gd name="connsiteX14" fmla="*/ 56197 w 296799"/>
                <a:gd name="connsiteY14" fmla="*/ 190786 h 386714"/>
                <a:gd name="connsiteX15" fmla="*/ 28956 w 296799"/>
                <a:gd name="connsiteY15" fmla="*/ 160115 h 386714"/>
                <a:gd name="connsiteX16" fmla="*/ 18383 w 296799"/>
                <a:gd name="connsiteY16" fmla="*/ 114967 h 386714"/>
                <a:gd name="connsiteX17" fmla="*/ 18383 w 296799"/>
                <a:gd name="connsiteY17" fmla="*/ 113538 h 386714"/>
                <a:gd name="connsiteX18" fmla="*/ 28575 w 296799"/>
                <a:gd name="connsiteY18" fmla="*/ 66294 h 386714"/>
                <a:gd name="connsiteX19" fmla="*/ 56864 w 296799"/>
                <a:gd name="connsiteY19" fmla="*/ 30385 h 386714"/>
                <a:gd name="connsiteX20" fmla="*/ 99250 w 296799"/>
                <a:gd name="connsiteY20" fmla="*/ 7810 h 386714"/>
                <a:gd name="connsiteX21" fmla="*/ 151162 w 296799"/>
                <a:gd name="connsiteY21" fmla="*/ 0 h 386714"/>
                <a:gd name="connsiteX22" fmla="*/ 222504 w 296799"/>
                <a:gd name="connsiteY22" fmla="*/ 11430 h 386714"/>
                <a:gd name="connsiteX23" fmla="*/ 288227 w 296799"/>
                <a:gd name="connsiteY23" fmla="*/ 42863 h 386714"/>
                <a:gd name="connsiteX24" fmla="*/ 254317 w 296799"/>
                <a:gd name="connsiteY24" fmla="*/ 103918 h 386714"/>
                <a:gd name="connsiteX25" fmla="*/ 199930 w 296799"/>
                <a:gd name="connsiteY25" fmla="*/ 78105 h 386714"/>
                <a:gd name="connsiteX26" fmla="*/ 149066 w 296799"/>
                <a:gd name="connsiteY26" fmla="*/ 68580 h 386714"/>
                <a:gd name="connsiteX27" fmla="*/ 110585 w 296799"/>
                <a:gd name="connsiteY27" fmla="*/ 79153 h 386714"/>
                <a:gd name="connsiteX28" fmla="*/ 96774 w 296799"/>
                <a:gd name="connsiteY28" fmla="*/ 105918 h 386714"/>
                <a:gd name="connsiteX29" fmla="*/ 96774 w 296799"/>
                <a:gd name="connsiteY29" fmla="*/ 107347 h 386714"/>
                <a:gd name="connsiteX30" fmla="*/ 103822 w 296799"/>
                <a:gd name="connsiteY30" fmla="*/ 124587 h 386714"/>
                <a:gd name="connsiteX31" fmla="*/ 122587 w 296799"/>
                <a:gd name="connsiteY31" fmla="*/ 138017 h 386714"/>
                <a:gd name="connsiteX32" fmla="*/ 149447 w 296799"/>
                <a:gd name="connsiteY32" fmla="*/ 149257 h 386714"/>
                <a:gd name="connsiteX33" fmla="*/ 180880 w 296799"/>
                <a:gd name="connsiteY33" fmla="*/ 159448 h 386714"/>
                <a:gd name="connsiteX34" fmla="*/ 221837 w 296799"/>
                <a:gd name="connsiteY34" fmla="*/ 174212 h 386714"/>
                <a:gd name="connsiteX35" fmla="*/ 258985 w 296799"/>
                <a:gd name="connsiteY35" fmla="*/ 194977 h 386714"/>
                <a:gd name="connsiteX36" fmla="*/ 286226 w 296799"/>
                <a:gd name="connsiteY36" fmla="*/ 224980 h 386714"/>
                <a:gd name="connsiteX37" fmla="*/ 296799 w 296799"/>
                <a:gd name="connsiteY37" fmla="*/ 267938 h 386714"/>
                <a:gd name="connsiteX38" fmla="*/ 296799 w 296799"/>
                <a:gd name="connsiteY38" fmla="*/ 269367 h 386714"/>
                <a:gd name="connsiteX39" fmla="*/ 286226 w 296799"/>
                <a:gd name="connsiteY39" fmla="*/ 320897 h 386714"/>
                <a:gd name="connsiteX40" fmla="*/ 256889 w 296799"/>
                <a:gd name="connsiteY40" fmla="*/ 357188 h 386714"/>
                <a:gd name="connsiteX41" fmla="*/ 212693 w 296799"/>
                <a:gd name="connsiteY41" fmla="*/ 379095 h 386714"/>
                <a:gd name="connsiteX42" fmla="*/ 158305 w 296799"/>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799"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065" y="318135"/>
                    <a:pt x="160401" y="318135"/>
                  </a:cubicBezTo>
                  <a:cubicBezTo>
                    <a:pt x="179737" y="318135"/>
                    <a:pt x="193072"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828" y="227647"/>
                    <a:pt x="134969" y="224314"/>
                  </a:cubicBezTo>
                  <a:cubicBezTo>
                    <a:pt x="121348" y="220599"/>
                    <a:pt x="107537" y="216122"/>
                    <a:pt x="93631" y="210884"/>
                  </a:cubicBezTo>
                  <a:cubicBezTo>
                    <a:pt x="79724" y="205740"/>
                    <a:pt x="67246" y="198977"/>
                    <a:pt x="56197" y="190786"/>
                  </a:cubicBezTo>
                  <a:cubicBezTo>
                    <a:pt x="45148" y="182594"/>
                    <a:pt x="36004"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874" y="0"/>
                    <a:pt x="151162" y="0"/>
                  </a:cubicBezTo>
                  <a:cubicBezTo>
                    <a:pt x="174688" y="0"/>
                    <a:pt x="198501" y="3810"/>
                    <a:pt x="222504" y="11430"/>
                  </a:cubicBezTo>
                  <a:cubicBezTo>
                    <a:pt x="246507" y="19050"/>
                    <a:pt x="268414" y="29527"/>
                    <a:pt x="288227" y="42863"/>
                  </a:cubicBezTo>
                  <a:lnTo>
                    <a:pt x="254317"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774" y="95155"/>
                    <a:pt x="96774" y="105918"/>
                  </a:cubicBezTo>
                  <a:lnTo>
                    <a:pt x="96774" y="107347"/>
                  </a:lnTo>
                  <a:cubicBezTo>
                    <a:pt x="96774" y="113919"/>
                    <a:pt x="99155" y="119634"/>
                    <a:pt x="103822" y="124587"/>
                  </a:cubicBezTo>
                  <a:cubicBezTo>
                    <a:pt x="108490" y="129540"/>
                    <a:pt x="114776" y="134017"/>
                    <a:pt x="122587" y="138017"/>
                  </a:cubicBezTo>
                  <a:cubicBezTo>
                    <a:pt x="130397" y="142018"/>
                    <a:pt x="139351" y="145732"/>
                    <a:pt x="149447" y="149257"/>
                  </a:cubicBezTo>
                  <a:cubicBezTo>
                    <a:pt x="159544" y="152781"/>
                    <a:pt x="170021" y="156210"/>
                    <a:pt x="180880" y="159448"/>
                  </a:cubicBezTo>
                  <a:cubicBezTo>
                    <a:pt x="194500" y="163639"/>
                    <a:pt x="208216" y="168592"/>
                    <a:pt x="221837" y="174212"/>
                  </a:cubicBezTo>
                  <a:cubicBezTo>
                    <a:pt x="235458" y="179832"/>
                    <a:pt x="247840" y="186785"/>
                    <a:pt x="258985" y="194977"/>
                  </a:cubicBezTo>
                  <a:cubicBezTo>
                    <a:pt x="270034" y="203168"/>
                    <a:pt x="279178" y="213169"/>
                    <a:pt x="286226" y="224980"/>
                  </a:cubicBezTo>
                  <a:cubicBezTo>
                    <a:pt x="293275" y="236696"/>
                    <a:pt x="296799" y="251079"/>
                    <a:pt x="296799" y="267938"/>
                  </a:cubicBezTo>
                  <a:lnTo>
                    <a:pt x="296799" y="269367"/>
                  </a:lnTo>
                  <a:cubicBezTo>
                    <a:pt x="296799" y="289084"/>
                    <a:pt x="293275" y="306229"/>
                    <a:pt x="286226" y="320897"/>
                  </a:cubicBezTo>
                  <a:cubicBezTo>
                    <a:pt x="279178" y="335470"/>
                    <a:pt x="269367" y="347567"/>
                    <a:pt x="256889" y="357188"/>
                  </a:cubicBezTo>
                  <a:cubicBezTo>
                    <a:pt x="244412" y="366808"/>
                    <a:pt x="229648" y="374142"/>
                    <a:pt x="212693" y="379095"/>
                  </a:cubicBezTo>
                  <a:cubicBezTo>
                    <a:pt x="195739" y="384048"/>
                    <a:pt x="177641" y="386524"/>
                    <a:pt x="158305" y="386524"/>
                  </a:cubicBezTo>
                  <a:close/>
                </a:path>
              </a:pathLst>
            </a:custGeom>
            <a:solidFill>
              <a:srgbClr val="44505E"/>
            </a:solidFill>
            <a:ln w="9525" cap="flat">
              <a:noFill/>
              <a:prstDash val="solid"/>
              <a:miter/>
            </a:ln>
          </p:spPr>
          <p:txBody>
            <a:bodyPr rtlCol="0" anchor="ctr"/>
            <a:lstStyle/>
            <a:p>
              <a:endParaRPr lang="pt-BR" noProof="0"/>
            </a:p>
          </p:txBody>
        </p:sp>
        <p:sp>
          <p:nvSpPr>
            <p:cNvPr id="16" name="Freeform: Shape 28">
              <a:extLst>
                <a:ext uri="{FF2B5EF4-FFF2-40B4-BE49-F238E27FC236}">
                  <a16:creationId xmlns:a16="http://schemas.microsoft.com/office/drawing/2014/main" id="{FB04AC60-6016-EA49-8B8A-916ED826D0D3}"/>
                </a:ext>
              </a:extLst>
            </p:cNvPr>
            <p:cNvSpPr/>
            <p:nvPr/>
          </p:nvSpPr>
          <p:spPr>
            <a:xfrm>
              <a:off x="6238590"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4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7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2 w 568166"/>
                <a:gd name="connsiteY21" fmla="*/ 381000 h 381000"/>
                <a:gd name="connsiteX22" fmla="*/ 240982 w 568166"/>
                <a:gd name="connsiteY22" fmla="*/ 168783 h 381000"/>
                <a:gd name="connsiteX23" fmla="*/ 221266 w 568166"/>
                <a:gd name="connsiteY23" fmla="*/ 101822 h 381000"/>
                <a:gd name="connsiteX24" fmla="*/ 165640 w 568166"/>
                <a:gd name="connsiteY24" fmla="*/ 78581 h 381000"/>
                <a:gd name="connsiteX25" fmla="*/ 108013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69" y="48196"/>
                    <a:pt x="105918" y="40576"/>
                  </a:cubicBezTo>
                  <a:cubicBezTo>
                    <a:pt x="112966" y="32956"/>
                    <a:pt x="121063" y="26099"/>
                    <a:pt x="130207" y="19907"/>
                  </a:cubicBezTo>
                  <a:cubicBezTo>
                    <a:pt x="139351" y="13716"/>
                    <a:pt x="149638" y="8858"/>
                    <a:pt x="161163" y="5334"/>
                  </a:cubicBezTo>
                  <a:cubicBezTo>
                    <a:pt x="172688" y="1714"/>
                    <a:pt x="185452" y="0"/>
                    <a:pt x="199549" y="0"/>
                  </a:cubicBezTo>
                  <a:cubicBezTo>
                    <a:pt x="226314" y="0"/>
                    <a:pt x="248983" y="6096"/>
                    <a:pt x="267557" y="18193"/>
                  </a:cubicBezTo>
                  <a:cubicBezTo>
                    <a:pt x="286131" y="30289"/>
                    <a:pt x="300323" y="46387"/>
                    <a:pt x="310134" y="66294"/>
                  </a:cubicBezTo>
                  <a:cubicBezTo>
                    <a:pt x="325279" y="46387"/>
                    <a:pt x="343090" y="30289"/>
                    <a:pt x="363664" y="18193"/>
                  </a:cubicBezTo>
                  <a:cubicBezTo>
                    <a:pt x="384238" y="6096"/>
                    <a:pt x="408718" y="0"/>
                    <a:pt x="437007" y="0"/>
                  </a:cubicBezTo>
                  <a:cubicBezTo>
                    <a:pt x="478155"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7" y="78486"/>
                  </a:cubicBezTo>
                  <a:cubicBezTo>
                    <a:pt x="382809" y="78486"/>
                    <a:pt x="364141" y="86392"/>
                    <a:pt x="349377" y="102108"/>
                  </a:cubicBezTo>
                  <a:cubicBezTo>
                    <a:pt x="334613" y="117824"/>
                    <a:pt x="327184" y="140779"/>
                    <a:pt x="327184" y="170879"/>
                  </a:cubicBezTo>
                  <a:lnTo>
                    <a:pt x="327184" y="381000"/>
                  </a:lnTo>
                  <a:lnTo>
                    <a:pt x="240982" y="381000"/>
                  </a:lnTo>
                  <a:lnTo>
                    <a:pt x="240982" y="168783"/>
                  </a:lnTo>
                  <a:cubicBezTo>
                    <a:pt x="240982" y="139637"/>
                    <a:pt x="234410" y="117348"/>
                    <a:pt x="221266" y="101822"/>
                  </a:cubicBezTo>
                  <a:cubicBezTo>
                    <a:pt x="208121" y="86296"/>
                    <a:pt x="189547" y="78581"/>
                    <a:pt x="165640" y="78581"/>
                  </a:cubicBezTo>
                  <a:cubicBezTo>
                    <a:pt x="141732" y="78581"/>
                    <a:pt x="122491" y="86773"/>
                    <a:pt x="108013"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17" name="Freeform: Shape 29">
              <a:extLst>
                <a:ext uri="{FF2B5EF4-FFF2-40B4-BE49-F238E27FC236}">
                  <a16:creationId xmlns:a16="http://schemas.microsoft.com/office/drawing/2014/main" id="{3C071A49-2C69-86DE-48CD-A905F26FA33F}"/>
                </a:ext>
              </a:extLst>
            </p:cNvPr>
            <p:cNvSpPr/>
            <p:nvPr/>
          </p:nvSpPr>
          <p:spPr>
            <a:xfrm>
              <a:off x="6400979" y="664258"/>
              <a:ext cx="85097" cy="133441"/>
            </a:xfrm>
            <a:custGeom>
              <a:avLst/>
              <a:gdLst>
                <a:gd name="connsiteX0" fmla="*/ 253651 w 338518"/>
                <a:gd name="connsiteY0" fmla="*/ 523018 h 530828"/>
                <a:gd name="connsiteX1" fmla="*/ 253651 w 338518"/>
                <a:gd name="connsiteY1" fmla="*/ 477107 h 530828"/>
                <a:gd name="connsiteX2" fmla="*/ 204883 w 338518"/>
                <a:gd name="connsiteY2" fmla="*/ 515303 h 530828"/>
                <a:gd name="connsiteX3" fmla="*/ 132779 w 338518"/>
                <a:gd name="connsiteY3" fmla="*/ 530828 h 530828"/>
                <a:gd name="connsiteX4" fmla="*/ 81915 w 338518"/>
                <a:gd name="connsiteY4" fmla="*/ 523399 h 530828"/>
                <a:gd name="connsiteX5" fmla="*/ 39910 w 338518"/>
                <a:gd name="connsiteY5" fmla="*/ 501491 h 530828"/>
                <a:gd name="connsiteX6" fmla="*/ 10954 w 338518"/>
                <a:gd name="connsiteY6" fmla="*/ 465487 h 530828"/>
                <a:gd name="connsiteX7" fmla="*/ 0 w 338518"/>
                <a:gd name="connsiteY7" fmla="*/ 415671 h 530828"/>
                <a:gd name="connsiteX8" fmla="*/ 0 w 338518"/>
                <a:gd name="connsiteY8" fmla="*/ 414242 h 530828"/>
                <a:gd name="connsiteX9" fmla="*/ 11335 w 338518"/>
                <a:gd name="connsiteY9" fmla="*/ 360140 h 530828"/>
                <a:gd name="connsiteX10" fmla="*/ 42767 w 338518"/>
                <a:gd name="connsiteY10" fmla="*/ 321945 h 530828"/>
                <a:gd name="connsiteX11" fmla="*/ 90773 w 338518"/>
                <a:gd name="connsiteY11" fmla="*/ 299371 h 530828"/>
                <a:gd name="connsiteX12" fmla="*/ 151162 w 338518"/>
                <a:gd name="connsiteY12" fmla="*/ 291941 h 530828"/>
                <a:gd name="connsiteX13" fmla="*/ 208788 w 338518"/>
                <a:gd name="connsiteY13" fmla="*/ 296228 h 530828"/>
                <a:gd name="connsiteX14" fmla="*/ 254413 w 338518"/>
                <a:gd name="connsiteY14" fmla="*/ 307562 h 530828"/>
                <a:gd name="connsiteX15" fmla="*/ 254413 w 338518"/>
                <a:gd name="connsiteY15" fmla="*/ 300514 h 530828"/>
                <a:gd name="connsiteX16" fmla="*/ 230696 w 338518"/>
                <a:gd name="connsiteY16" fmla="*/ 241173 h 530828"/>
                <a:gd name="connsiteX17" fmla="*/ 162496 w 338518"/>
                <a:gd name="connsiteY17" fmla="*/ 220694 h 530828"/>
                <a:gd name="connsiteX18" fmla="*/ 106013 w 338518"/>
                <a:gd name="connsiteY18" fmla="*/ 227076 h 530828"/>
                <a:gd name="connsiteX19" fmla="*/ 55817 w 338518"/>
                <a:gd name="connsiteY19" fmla="*/ 244031 h 530828"/>
                <a:gd name="connsiteX20" fmla="*/ 32480 w 338518"/>
                <a:gd name="connsiteY20" fmla="*/ 175451 h 530828"/>
                <a:gd name="connsiteX21" fmla="*/ 96107 w 338518"/>
                <a:gd name="connsiteY21" fmla="*/ 152876 h 530828"/>
                <a:gd name="connsiteX22" fmla="*/ 174593 w 338518"/>
                <a:gd name="connsiteY22" fmla="*/ 144399 h 530828"/>
                <a:gd name="connsiteX23" fmla="*/ 298228 w 338518"/>
                <a:gd name="connsiteY23" fmla="*/ 185738 h 530828"/>
                <a:gd name="connsiteX24" fmla="*/ 338519 w 338518"/>
                <a:gd name="connsiteY24" fmla="*/ 301943 h 530828"/>
                <a:gd name="connsiteX25" fmla="*/ 338519 w 338518"/>
                <a:gd name="connsiteY25" fmla="*/ 523113 h 530828"/>
                <a:gd name="connsiteX26" fmla="*/ 253746 w 338518"/>
                <a:gd name="connsiteY26" fmla="*/ 523113 h 530828"/>
                <a:gd name="connsiteX27" fmla="*/ 45911 w 338518"/>
                <a:gd name="connsiteY27" fmla="*/ 95441 h 530828"/>
                <a:gd name="connsiteX28" fmla="*/ 75248 w 338518"/>
                <a:gd name="connsiteY28" fmla="*/ 29718 h 530828"/>
                <a:gd name="connsiteX29" fmla="*/ 125063 w 338518"/>
                <a:gd name="connsiteY29" fmla="*/ 7144 h 530828"/>
                <a:gd name="connsiteX30" fmla="*/ 154019 w 338518"/>
                <a:gd name="connsiteY30" fmla="*/ 11716 h 530828"/>
                <a:gd name="connsiteX31" fmla="*/ 181261 w 338518"/>
                <a:gd name="connsiteY31" fmla="*/ 21622 h 530828"/>
                <a:gd name="connsiteX32" fmla="*/ 205645 w 338518"/>
                <a:gd name="connsiteY32" fmla="*/ 31147 h 530828"/>
                <a:gd name="connsiteX33" fmla="*/ 226790 w 338518"/>
                <a:gd name="connsiteY33" fmla="*/ 35338 h 530828"/>
                <a:gd name="connsiteX34" fmla="*/ 250127 w 338518"/>
                <a:gd name="connsiteY34" fmla="*/ 26861 h 530828"/>
                <a:gd name="connsiteX35" fmla="*/ 265652 w 338518"/>
                <a:gd name="connsiteY35" fmla="*/ 0 h 530828"/>
                <a:gd name="connsiteX36" fmla="*/ 312991 w 338518"/>
                <a:gd name="connsiteY36" fmla="*/ 14859 h 530828"/>
                <a:gd name="connsiteX37" fmla="*/ 283655 w 338518"/>
                <a:gd name="connsiteY37" fmla="*/ 79820 h 530828"/>
                <a:gd name="connsiteX38" fmla="*/ 233839 w 338518"/>
                <a:gd name="connsiteY38" fmla="*/ 102394 h 530828"/>
                <a:gd name="connsiteX39" fmla="*/ 204883 w 338518"/>
                <a:gd name="connsiteY39" fmla="*/ 98203 h 530828"/>
                <a:gd name="connsiteX40" fmla="*/ 177641 w 338518"/>
                <a:gd name="connsiteY40" fmla="*/ 88678 h 530828"/>
                <a:gd name="connsiteX41" fmla="*/ 152876 w 338518"/>
                <a:gd name="connsiteY41" fmla="*/ 78772 h 530828"/>
                <a:gd name="connsiteX42" fmla="*/ 132017 w 338518"/>
                <a:gd name="connsiteY42" fmla="*/ 74200 h 530828"/>
                <a:gd name="connsiteX43" fmla="*/ 108680 w 338518"/>
                <a:gd name="connsiteY43" fmla="*/ 82677 h 530828"/>
                <a:gd name="connsiteX44" fmla="*/ 93154 w 338518"/>
                <a:gd name="connsiteY44" fmla="*/ 109538 h 530828"/>
                <a:gd name="connsiteX45" fmla="*/ 45815 w 338518"/>
                <a:gd name="connsiteY45" fmla="*/ 95441 h 530828"/>
                <a:gd name="connsiteX46" fmla="*/ 255842 w 338518"/>
                <a:gd name="connsiteY46" fmla="*/ 366808 h 530828"/>
                <a:gd name="connsiteX47" fmla="*/ 217361 w 338518"/>
                <a:gd name="connsiteY47" fmla="*/ 356235 h 530828"/>
                <a:gd name="connsiteX48" fmla="*/ 170402 w 338518"/>
                <a:gd name="connsiteY48" fmla="*/ 351949 h 530828"/>
                <a:gd name="connsiteX49" fmla="*/ 107537 w 338518"/>
                <a:gd name="connsiteY49" fmla="*/ 367475 h 530828"/>
                <a:gd name="connsiteX50" fmla="*/ 84963 w 338518"/>
                <a:gd name="connsiteY50" fmla="*/ 409861 h 530828"/>
                <a:gd name="connsiteX51" fmla="*/ 84963 w 338518"/>
                <a:gd name="connsiteY51" fmla="*/ 411290 h 530828"/>
                <a:gd name="connsiteX52" fmla="*/ 105823 w 338518"/>
                <a:gd name="connsiteY52" fmla="*/ 452247 h 530828"/>
                <a:gd name="connsiteX53" fmla="*/ 157067 w 338518"/>
                <a:gd name="connsiteY53" fmla="*/ 466344 h 530828"/>
                <a:gd name="connsiteX54" fmla="*/ 196310 w 338518"/>
                <a:gd name="connsiteY54" fmla="*/ 460724 h 530828"/>
                <a:gd name="connsiteX55" fmla="*/ 227743 w 338518"/>
                <a:gd name="connsiteY55" fmla="*/ 444818 h 530828"/>
                <a:gd name="connsiteX56" fmla="*/ 248603 w 338518"/>
                <a:gd name="connsiteY56" fmla="*/ 420053 h 530828"/>
                <a:gd name="connsiteX57" fmla="*/ 256032 w 338518"/>
                <a:gd name="connsiteY57" fmla="*/ 387858 h 530828"/>
                <a:gd name="connsiteX58" fmla="*/ 256032 w 338518"/>
                <a:gd name="connsiteY58" fmla="*/ 366617 h 5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8518" h="530828">
                  <a:moveTo>
                    <a:pt x="253651" y="523018"/>
                  </a:moveTo>
                  <a:lnTo>
                    <a:pt x="253651" y="477107"/>
                  </a:lnTo>
                  <a:cubicBezTo>
                    <a:pt x="240887" y="492157"/>
                    <a:pt x="224695" y="504920"/>
                    <a:pt x="204883" y="515303"/>
                  </a:cubicBezTo>
                  <a:cubicBezTo>
                    <a:pt x="185071" y="525685"/>
                    <a:pt x="161068" y="530828"/>
                    <a:pt x="132779" y="530828"/>
                  </a:cubicBezTo>
                  <a:cubicBezTo>
                    <a:pt x="114871" y="530828"/>
                    <a:pt x="97917" y="528352"/>
                    <a:pt x="81915" y="523399"/>
                  </a:cubicBezTo>
                  <a:cubicBezTo>
                    <a:pt x="65913" y="518446"/>
                    <a:pt x="51911" y="511112"/>
                    <a:pt x="39910" y="501491"/>
                  </a:cubicBezTo>
                  <a:cubicBezTo>
                    <a:pt x="27908" y="491871"/>
                    <a:pt x="18193" y="479870"/>
                    <a:pt x="10954" y="465487"/>
                  </a:cubicBezTo>
                  <a:cubicBezTo>
                    <a:pt x="3620" y="451104"/>
                    <a:pt x="0" y="434531"/>
                    <a:pt x="0" y="415671"/>
                  </a:cubicBezTo>
                  <a:lnTo>
                    <a:pt x="0" y="414242"/>
                  </a:lnTo>
                  <a:cubicBezTo>
                    <a:pt x="0" y="393478"/>
                    <a:pt x="3810" y="375476"/>
                    <a:pt x="11335" y="360140"/>
                  </a:cubicBezTo>
                  <a:cubicBezTo>
                    <a:pt x="18860" y="344805"/>
                    <a:pt x="29337" y="332137"/>
                    <a:pt x="42767" y="321945"/>
                  </a:cubicBezTo>
                  <a:cubicBezTo>
                    <a:pt x="56198" y="311849"/>
                    <a:pt x="72200" y="304324"/>
                    <a:pt x="90773" y="299371"/>
                  </a:cubicBezTo>
                  <a:cubicBezTo>
                    <a:pt x="109347" y="294418"/>
                    <a:pt x="129540" y="291941"/>
                    <a:pt x="151162" y="291941"/>
                  </a:cubicBezTo>
                  <a:cubicBezTo>
                    <a:pt x="172784" y="291941"/>
                    <a:pt x="192977" y="293370"/>
                    <a:pt x="208788" y="296228"/>
                  </a:cubicBezTo>
                  <a:cubicBezTo>
                    <a:pt x="224600" y="299085"/>
                    <a:pt x="239744" y="302800"/>
                    <a:pt x="254413" y="307562"/>
                  </a:cubicBezTo>
                  <a:lnTo>
                    <a:pt x="254413" y="300514"/>
                  </a:lnTo>
                  <a:cubicBezTo>
                    <a:pt x="254413" y="274606"/>
                    <a:pt x="246507" y="254794"/>
                    <a:pt x="230696" y="241173"/>
                  </a:cubicBezTo>
                  <a:cubicBezTo>
                    <a:pt x="214884" y="227552"/>
                    <a:pt x="192215" y="220694"/>
                    <a:pt x="162496" y="220694"/>
                  </a:cubicBezTo>
                  <a:cubicBezTo>
                    <a:pt x="141351" y="220694"/>
                    <a:pt x="122492" y="222790"/>
                    <a:pt x="106013" y="227076"/>
                  </a:cubicBezTo>
                  <a:cubicBezTo>
                    <a:pt x="89535" y="231362"/>
                    <a:pt x="72771" y="236982"/>
                    <a:pt x="55817" y="244031"/>
                  </a:cubicBezTo>
                  <a:lnTo>
                    <a:pt x="32480" y="175451"/>
                  </a:lnTo>
                  <a:cubicBezTo>
                    <a:pt x="53150" y="166021"/>
                    <a:pt x="74390" y="158496"/>
                    <a:pt x="96107" y="152876"/>
                  </a:cubicBezTo>
                  <a:cubicBezTo>
                    <a:pt x="117729" y="147257"/>
                    <a:pt x="143923" y="144399"/>
                    <a:pt x="174593" y="144399"/>
                  </a:cubicBezTo>
                  <a:cubicBezTo>
                    <a:pt x="230124" y="144399"/>
                    <a:pt x="271367" y="158210"/>
                    <a:pt x="298228" y="185738"/>
                  </a:cubicBezTo>
                  <a:cubicBezTo>
                    <a:pt x="325088" y="213265"/>
                    <a:pt x="338519" y="252032"/>
                    <a:pt x="338519" y="301943"/>
                  </a:cubicBezTo>
                  <a:lnTo>
                    <a:pt x="338519" y="523113"/>
                  </a:lnTo>
                  <a:lnTo>
                    <a:pt x="253746" y="523113"/>
                  </a:lnTo>
                  <a:close/>
                  <a:moveTo>
                    <a:pt x="45911" y="95441"/>
                  </a:moveTo>
                  <a:cubicBezTo>
                    <a:pt x="53912" y="66675"/>
                    <a:pt x="63722" y="44768"/>
                    <a:pt x="75248" y="29718"/>
                  </a:cubicBezTo>
                  <a:cubicBezTo>
                    <a:pt x="86773" y="14669"/>
                    <a:pt x="103442" y="7144"/>
                    <a:pt x="125063" y="7144"/>
                  </a:cubicBezTo>
                  <a:cubicBezTo>
                    <a:pt x="134969" y="7144"/>
                    <a:pt x="144590" y="8668"/>
                    <a:pt x="154019" y="11716"/>
                  </a:cubicBezTo>
                  <a:cubicBezTo>
                    <a:pt x="163449" y="14764"/>
                    <a:pt x="172498" y="18098"/>
                    <a:pt x="181261" y="21622"/>
                  </a:cubicBezTo>
                  <a:cubicBezTo>
                    <a:pt x="189929" y="25146"/>
                    <a:pt x="198120" y="28385"/>
                    <a:pt x="205645" y="31147"/>
                  </a:cubicBezTo>
                  <a:cubicBezTo>
                    <a:pt x="213170" y="34004"/>
                    <a:pt x="220218" y="35338"/>
                    <a:pt x="226790" y="35338"/>
                  </a:cubicBezTo>
                  <a:cubicBezTo>
                    <a:pt x="237173" y="35338"/>
                    <a:pt x="244888" y="32480"/>
                    <a:pt x="250127" y="26861"/>
                  </a:cubicBezTo>
                  <a:cubicBezTo>
                    <a:pt x="255270" y="21241"/>
                    <a:pt x="260509" y="12287"/>
                    <a:pt x="265652" y="0"/>
                  </a:cubicBezTo>
                  <a:lnTo>
                    <a:pt x="312991" y="14859"/>
                  </a:lnTo>
                  <a:cubicBezTo>
                    <a:pt x="304991" y="43148"/>
                    <a:pt x="295180" y="64770"/>
                    <a:pt x="283655" y="79820"/>
                  </a:cubicBezTo>
                  <a:cubicBezTo>
                    <a:pt x="272129" y="94869"/>
                    <a:pt x="255461" y="102394"/>
                    <a:pt x="233839" y="102394"/>
                  </a:cubicBezTo>
                  <a:cubicBezTo>
                    <a:pt x="223933" y="102394"/>
                    <a:pt x="214313" y="100965"/>
                    <a:pt x="204883" y="98203"/>
                  </a:cubicBezTo>
                  <a:cubicBezTo>
                    <a:pt x="195453" y="95345"/>
                    <a:pt x="186404" y="92202"/>
                    <a:pt x="177641" y="88678"/>
                  </a:cubicBezTo>
                  <a:cubicBezTo>
                    <a:pt x="168878" y="85154"/>
                    <a:pt x="160687" y="81820"/>
                    <a:pt x="152876" y="78772"/>
                  </a:cubicBezTo>
                  <a:cubicBezTo>
                    <a:pt x="145066" y="75724"/>
                    <a:pt x="138113" y="74200"/>
                    <a:pt x="132017" y="74200"/>
                  </a:cubicBezTo>
                  <a:cubicBezTo>
                    <a:pt x="121634" y="74200"/>
                    <a:pt x="113919" y="77057"/>
                    <a:pt x="108680" y="82677"/>
                  </a:cubicBezTo>
                  <a:cubicBezTo>
                    <a:pt x="103537" y="88297"/>
                    <a:pt x="98298" y="97250"/>
                    <a:pt x="93154" y="109538"/>
                  </a:cubicBezTo>
                  <a:lnTo>
                    <a:pt x="45815" y="95441"/>
                  </a:lnTo>
                  <a:close/>
                  <a:moveTo>
                    <a:pt x="255842" y="366808"/>
                  </a:moveTo>
                  <a:cubicBezTo>
                    <a:pt x="244983" y="362522"/>
                    <a:pt x="232124" y="358997"/>
                    <a:pt x="217361" y="356235"/>
                  </a:cubicBezTo>
                  <a:cubicBezTo>
                    <a:pt x="202502" y="353378"/>
                    <a:pt x="186880" y="351949"/>
                    <a:pt x="170402" y="351949"/>
                  </a:cubicBezTo>
                  <a:cubicBezTo>
                    <a:pt x="143542" y="351949"/>
                    <a:pt x="122587" y="357092"/>
                    <a:pt x="107537" y="367475"/>
                  </a:cubicBezTo>
                  <a:cubicBezTo>
                    <a:pt x="92488" y="377857"/>
                    <a:pt x="84963" y="391954"/>
                    <a:pt x="84963" y="409861"/>
                  </a:cubicBezTo>
                  <a:lnTo>
                    <a:pt x="84963" y="411290"/>
                  </a:lnTo>
                  <a:cubicBezTo>
                    <a:pt x="84963" y="429197"/>
                    <a:pt x="91916" y="442817"/>
                    <a:pt x="105823" y="452247"/>
                  </a:cubicBezTo>
                  <a:cubicBezTo>
                    <a:pt x="119729" y="461677"/>
                    <a:pt x="136779" y="466344"/>
                    <a:pt x="157067" y="466344"/>
                  </a:cubicBezTo>
                  <a:cubicBezTo>
                    <a:pt x="171164" y="466344"/>
                    <a:pt x="184309" y="464439"/>
                    <a:pt x="196310" y="460724"/>
                  </a:cubicBezTo>
                  <a:cubicBezTo>
                    <a:pt x="208312" y="456914"/>
                    <a:pt x="218789" y="451676"/>
                    <a:pt x="227743" y="444818"/>
                  </a:cubicBezTo>
                  <a:cubicBezTo>
                    <a:pt x="236696" y="437960"/>
                    <a:pt x="243650" y="429768"/>
                    <a:pt x="248603" y="420053"/>
                  </a:cubicBezTo>
                  <a:cubicBezTo>
                    <a:pt x="253555" y="410432"/>
                    <a:pt x="256032" y="399669"/>
                    <a:pt x="256032" y="387858"/>
                  </a:cubicBezTo>
                  <a:lnTo>
                    <a:pt x="256032" y="366617"/>
                  </a:lnTo>
                  <a:close/>
                </a:path>
              </a:pathLst>
            </a:custGeom>
            <a:solidFill>
              <a:srgbClr val="44505E"/>
            </a:solidFill>
            <a:ln w="9525" cap="flat">
              <a:noFill/>
              <a:prstDash val="solid"/>
              <a:miter/>
            </a:ln>
          </p:spPr>
          <p:txBody>
            <a:bodyPr rtlCol="0" anchor="ctr"/>
            <a:lstStyle/>
            <a:p>
              <a:endParaRPr lang="pt-BR" noProof="0"/>
            </a:p>
          </p:txBody>
        </p:sp>
        <p:sp>
          <p:nvSpPr>
            <p:cNvPr id="18" name="Freeform: Shape 30">
              <a:extLst>
                <a:ext uri="{FF2B5EF4-FFF2-40B4-BE49-F238E27FC236}">
                  <a16:creationId xmlns:a16="http://schemas.microsoft.com/office/drawing/2014/main" id="{19B83546-7295-D0E9-15D5-216A565537B5}"/>
                </a:ext>
              </a:extLst>
            </p:cNvPr>
            <p:cNvSpPr/>
            <p:nvPr/>
          </p:nvSpPr>
          <p:spPr>
            <a:xfrm>
              <a:off x="6506477" y="699959"/>
              <a:ext cx="100038" cy="97908"/>
            </a:xfrm>
            <a:custGeom>
              <a:avLst/>
              <a:gdLst>
                <a:gd name="connsiteX0" fmla="*/ 197834 w 397954"/>
                <a:gd name="connsiteY0" fmla="*/ 389477 h 389477"/>
                <a:gd name="connsiteX1" fmla="*/ 119063 w 397954"/>
                <a:gd name="connsiteY1" fmla="*/ 374237 h 389477"/>
                <a:gd name="connsiteX2" fmla="*/ 56198 w 397954"/>
                <a:gd name="connsiteY2" fmla="*/ 332899 h 389477"/>
                <a:gd name="connsiteX3" fmla="*/ 14859 w 397954"/>
                <a:gd name="connsiteY3" fmla="*/ 271463 h 389477"/>
                <a:gd name="connsiteX4" fmla="*/ 0 w 397954"/>
                <a:gd name="connsiteY4" fmla="*/ 196501 h 389477"/>
                <a:gd name="connsiteX5" fmla="*/ 0 w 397954"/>
                <a:gd name="connsiteY5" fmla="*/ 195072 h 389477"/>
                <a:gd name="connsiteX6" fmla="*/ 15240 w 397954"/>
                <a:gd name="connsiteY6" fmla="*/ 119444 h 389477"/>
                <a:gd name="connsiteX7" fmla="*/ 56960 w 397954"/>
                <a:gd name="connsiteY7" fmla="*/ 57626 h 389477"/>
                <a:gd name="connsiteX8" fmla="*/ 119825 w 397954"/>
                <a:gd name="connsiteY8" fmla="*/ 15526 h 389477"/>
                <a:gd name="connsiteX9" fmla="*/ 199358 w 397954"/>
                <a:gd name="connsiteY9" fmla="*/ 0 h 389477"/>
                <a:gd name="connsiteX10" fmla="*/ 278892 w 397954"/>
                <a:gd name="connsiteY10" fmla="*/ 15240 h 389477"/>
                <a:gd name="connsiteX11" fmla="*/ 341757 w 397954"/>
                <a:gd name="connsiteY11" fmla="*/ 56959 h 389477"/>
                <a:gd name="connsiteX12" fmla="*/ 383096 w 397954"/>
                <a:gd name="connsiteY12" fmla="*/ 118396 h 389477"/>
                <a:gd name="connsiteX13" fmla="*/ 397955 w 397954"/>
                <a:gd name="connsiteY13" fmla="*/ 193643 h 389477"/>
                <a:gd name="connsiteX14" fmla="*/ 397955 w 397954"/>
                <a:gd name="connsiteY14" fmla="*/ 195072 h 389477"/>
                <a:gd name="connsiteX15" fmla="*/ 382714 w 397954"/>
                <a:gd name="connsiteY15" fmla="*/ 270034 h 389477"/>
                <a:gd name="connsiteX16" fmla="*/ 340995 w 397954"/>
                <a:gd name="connsiteY16" fmla="*/ 331851 h 389477"/>
                <a:gd name="connsiteX17" fmla="*/ 277749 w 397954"/>
                <a:gd name="connsiteY17" fmla="*/ 373856 h 389477"/>
                <a:gd name="connsiteX18" fmla="*/ 197834 w 397954"/>
                <a:gd name="connsiteY18" fmla="*/ 389382 h 389477"/>
                <a:gd name="connsiteX19" fmla="*/ 199263 w 397954"/>
                <a:gd name="connsiteY19" fmla="*/ 315278 h 389477"/>
                <a:gd name="connsiteX20" fmla="*/ 245936 w 397954"/>
                <a:gd name="connsiteY20" fmla="*/ 305753 h 389477"/>
                <a:gd name="connsiteX21" fmla="*/ 281369 w 397954"/>
                <a:gd name="connsiteY21" fmla="*/ 279940 h 389477"/>
                <a:gd name="connsiteX22" fmla="*/ 303848 w 397954"/>
                <a:gd name="connsiteY22" fmla="*/ 242125 h 389477"/>
                <a:gd name="connsiteX23" fmla="*/ 311563 w 397954"/>
                <a:gd name="connsiteY23" fmla="*/ 196501 h 389477"/>
                <a:gd name="connsiteX24" fmla="*/ 311563 w 397954"/>
                <a:gd name="connsiteY24" fmla="*/ 195072 h 389477"/>
                <a:gd name="connsiteX25" fmla="*/ 303181 w 397954"/>
                <a:gd name="connsiteY25" fmla="*/ 148400 h 389477"/>
                <a:gd name="connsiteX26" fmla="*/ 279654 w 397954"/>
                <a:gd name="connsiteY26" fmla="*/ 110204 h 389477"/>
                <a:gd name="connsiteX27" fmla="*/ 243840 w 397954"/>
                <a:gd name="connsiteY27" fmla="*/ 84392 h 389477"/>
                <a:gd name="connsiteX28" fmla="*/ 197834 w 397954"/>
                <a:gd name="connsiteY28" fmla="*/ 74867 h 389477"/>
                <a:gd name="connsiteX29" fmla="*/ 151829 w 397954"/>
                <a:gd name="connsiteY29" fmla="*/ 84392 h 389477"/>
                <a:gd name="connsiteX30" fmla="*/ 116396 w 397954"/>
                <a:gd name="connsiteY30" fmla="*/ 109823 h 389477"/>
                <a:gd name="connsiteX31" fmla="*/ 93916 w 397954"/>
                <a:gd name="connsiteY31" fmla="*/ 147638 h 389477"/>
                <a:gd name="connsiteX32" fmla="*/ 86201 w 397954"/>
                <a:gd name="connsiteY32" fmla="*/ 193548 h 389477"/>
                <a:gd name="connsiteX33" fmla="*/ 86201 w 397954"/>
                <a:gd name="connsiteY33" fmla="*/ 194977 h 389477"/>
                <a:gd name="connsiteX34" fmla="*/ 94583 w 397954"/>
                <a:gd name="connsiteY34" fmla="*/ 241268 h 389477"/>
                <a:gd name="connsiteX35" fmla="*/ 118110 w 397954"/>
                <a:gd name="connsiteY35" fmla="*/ 279463 h 389477"/>
                <a:gd name="connsiteX36" fmla="*/ 153924 w 397954"/>
                <a:gd name="connsiteY36" fmla="*/ 305562 h 389477"/>
                <a:gd name="connsiteX37" fmla="*/ 199263 w 397954"/>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954" h="389477">
                  <a:moveTo>
                    <a:pt x="197834" y="389477"/>
                  </a:moveTo>
                  <a:cubicBezTo>
                    <a:pt x="169545" y="389477"/>
                    <a:pt x="143351" y="384429"/>
                    <a:pt x="119063" y="374237"/>
                  </a:cubicBezTo>
                  <a:cubicBezTo>
                    <a:pt x="94774" y="364141"/>
                    <a:pt x="73819" y="350330"/>
                    <a:pt x="56198" y="332899"/>
                  </a:cubicBezTo>
                  <a:cubicBezTo>
                    <a:pt x="38576" y="315468"/>
                    <a:pt x="24765" y="294989"/>
                    <a:pt x="14859" y="271463"/>
                  </a:cubicBezTo>
                  <a:cubicBezTo>
                    <a:pt x="4953" y="247936"/>
                    <a:pt x="0" y="222980"/>
                    <a:pt x="0" y="196501"/>
                  </a:cubicBezTo>
                  <a:lnTo>
                    <a:pt x="0" y="195072"/>
                  </a:lnTo>
                  <a:cubicBezTo>
                    <a:pt x="0" y="168212"/>
                    <a:pt x="5049" y="143066"/>
                    <a:pt x="15240" y="119444"/>
                  </a:cubicBezTo>
                  <a:cubicBezTo>
                    <a:pt x="25337" y="95917"/>
                    <a:pt x="39243" y="75248"/>
                    <a:pt x="56960" y="57626"/>
                  </a:cubicBezTo>
                  <a:cubicBezTo>
                    <a:pt x="74676" y="39910"/>
                    <a:pt x="95631" y="25908"/>
                    <a:pt x="119825" y="15526"/>
                  </a:cubicBezTo>
                  <a:cubicBezTo>
                    <a:pt x="144113" y="5144"/>
                    <a:pt x="170593" y="0"/>
                    <a:pt x="199358" y="0"/>
                  </a:cubicBezTo>
                  <a:cubicBezTo>
                    <a:pt x="228124" y="0"/>
                    <a:pt x="254604" y="5048"/>
                    <a:pt x="278892" y="15240"/>
                  </a:cubicBezTo>
                  <a:cubicBezTo>
                    <a:pt x="303181" y="25337"/>
                    <a:pt x="324136" y="39243"/>
                    <a:pt x="341757" y="56959"/>
                  </a:cubicBezTo>
                  <a:cubicBezTo>
                    <a:pt x="359379" y="74676"/>
                    <a:pt x="373189" y="95155"/>
                    <a:pt x="383096" y="118396"/>
                  </a:cubicBezTo>
                  <a:cubicBezTo>
                    <a:pt x="393002" y="141732"/>
                    <a:pt x="397955" y="166783"/>
                    <a:pt x="397955" y="193643"/>
                  </a:cubicBezTo>
                  <a:lnTo>
                    <a:pt x="397955" y="195072"/>
                  </a:lnTo>
                  <a:cubicBezTo>
                    <a:pt x="397955" y="221456"/>
                    <a:pt x="392906" y="246412"/>
                    <a:pt x="382714" y="270034"/>
                  </a:cubicBezTo>
                  <a:cubicBezTo>
                    <a:pt x="372618" y="293561"/>
                    <a:pt x="358712" y="314230"/>
                    <a:pt x="340995" y="331851"/>
                  </a:cubicBezTo>
                  <a:cubicBezTo>
                    <a:pt x="323279" y="349472"/>
                    <a:pt x="302229" y="363569"/>
                    <a:pt x="277749" y="373856"/>
                  </a:cubicBezTo>
                  <a:cubicBezTo>
                    <a:pt x="253270" y="384238"/>
                    <a:pt x="226600" y="389382"/>
                    <a:pt x="197834" y="389382"/>
                  </a:cubicBezTo>
                  <a:close/>
                  <a:moveTo>
                    <a:pt x="199263" y="315278"/>
                  </a:moveTo>
                  <a:cubicBezTo>
                    <a:pt x="216598" y="315278"/>
                    <a:pt x="232124" y="312039"/>
                    <a:pt x="245936" y="305753"/>
                  </a:cubicBezTo>
                  <a:cubicBezTo>
                    <a:pt x="259747" y="299371"/>
                    <a:pt x="271558" y="290798"/>
                    <a:pt x="281369" y="279940"/>
                  </a:cubicBezTo>
                  <a:cubicBezTo>
                    <a:pt x="291179" y="269081"/>
                    <a:pt x="298704" y="256508"/>
                    <a:pt x="303848" y="242125"/>
                  </a:cubicBezTo>
                  <a:cubicBezTo>
                    <a:pt x="308991" y="227743"/>
                    <a:pt x="311563" y="212598"/>
                    <a:pt x="311563" y="196501"/>
                  </a:cubicBezTo>
                  <a:lnTo>
                    <a:pt x="311563" y="195072"/>
                  </a:lnTo>
                  <a:cubicBezTo>
                    <a:pt x="311563" y="178594"/>
                    <a:pt x="308706" y="163068"/>
                    <a:pt x="303181" y="148400"/>
                  </a:cubicBezTo>
                  <a:cubicBezTo>
                    <a:pt x="297561" y="133826"/>
                    <a:pt x="289750" y="121063"/>
                    <a:pt x="279654" y="110204"/>
                  </a:cubicBezTo>
                  <a:cubicBezTo>
                    <a:pt x="269557" y="99346"/>
                    <a:pt x="257651" y="90773"/>
                    <a:pt x="243840" y="84392"/>
                  </a:cubicBezTo>
                  <a:cubicBezTo>
                    <a:pt x="230029" y="78010"/>
                    <a:pt x="214694" y="74867"/>
                    <a:pt x="197834" y="74867"/>
                  </a:cubicBezTo>
                  <a:cubicBezTo>
                    <a:pt x="180975" y="74867"/>
                    <a:pt x="165640" y="78010"/>
                    <a:pt x="151829" y="84392"/>
                  </a:cubicBezTo>
                  <a:cubicBezTo>
                    <a:pt x="138017" y="90773"/>
                    <a:pt x="126206" y="99250"/>
                    <a:pt x="116396" y="109823"/>
                  </a:cubicBezTo>
                  <a:cubicBezTo>
                    <a:pt x="106585" y="120396"/>
                    <a:pt x="99060" y="133064"/>
                    <a:pt x="93916" y="147638"/>
                  </a:cubicBezTo>
                  <a:cubicBezTo>
                    <a:pt x="88773" y="162211"/>
                    <a:pt x="86201" y="177546"/>
                    <a:pt x="86201" y="193548"/>
                  </a:cubicBezTo>
                  <a:lnTo>
                    <a:pt x="86201" y="194977"/>
                  </a:lnTo>
                  <a:cubicBezTo>
                    <a:pt x="86201" y="211455"/>
                    <a:pt x="89059" y="226886"/>
                    <a:pt x="94583" y="241268"/>
                  </a:cubicBezTo>
                  <a:cubicBezTo>
                    <a:pt x="100203" y="255651"/>
                    <a:pt x="108014" y="268319"/>
                    <a:pt x="118110" y="279463"/>
                  </a:cubicBezTo>
                  <a:cubicBezTo>
                    <a:pt x="128207" y="290608"/>
                    <a:pt x="140113" y="299275"/>
                    <a:pt x="153924" y="305562"/>
                  </a:cubicBezTo>
                  <a:cubicBezTo>
                    <a:pt x="167735" y="311944"/>
                    <a:pt x="182785"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19" name="Freeform: Shape 31">
              <a:extLst>
                <a:ext uri="{FF2B5EF4-FFF2-40B4-BE49-F238E27FC236}">
                  <a16:creationId xmlns:a16="http://schemas.microsoft.com/office/drawing/2014/main" id="{3CC3597F-14DC-A71A-BD27-4618ECAD14F1}"/>
                </a:ext>
              </a:extLst>
            </p:cNvPr>
            <p:cNvSpPr/>
            <p:nvPr/>
          </p:nvSpPr>
          <p:spPr>
            <a:xfrm>
              <a:off x="662071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1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7 w 296894"/>
                <a:gd name="connsiteY23" fmla="*/ 42863 h 386714"/>
                <a:gd name="connsiteX24" fmla="*/ 254318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7 w 296894"/>
                <a:gd name="connsiteY30" fmla="*/ 124587 h 386714"/>
                <a:gd name="connsiteX31" fmla="*/ 122682 w 296894"/>
                <a:gd name="connsiteY31" fmla="*/ 138017 h 386714"/>
                <a:gd name="connsiteX32" fmla="*/ 149543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6" y="348901"/>
                    <a:pt x="0" y="330327"/>
                  </a:cubicBezTo>
                  <a:lnTo>
                    <a:pt x="38195" y="272224"/>
                  </a:lnTo>
                  <a:cubicBezTo>
                    <a:pt x="58484" y="287274"/>
                    <a:pt x="79057" y="298704"/>
                    <a:pt x="100013" y="306514"/>
                  </a:cubicBezTo>
                  <a:cubicBezTo>
                    <a:pt x="120968" y="314325"/>
                    <a:pt x="141161" y="318135"/>
                    <a:pt x="160401" y="318135"/>
                  </a:cubicBezTo>
                  <a:cubicBezTo>
                    <a:pt x="179641" y="318135"/>
                    <a:pt x="192977"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1" y="241078"/>
                    <a:pt x="176498" y="237553"/>
                    <a:pt x="166401"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2" y="40195"/>
                    <a:pt x="56864" y="30385"/>
                  </a:cubicBezTo>
                  <a:cubicBezTo>
                    <a:pt x="68866" y="20479"/>
                    <a:pt x="82962" y="12954"/>
                    <a:pt x="99250" y="7810"/>
                  </a:cubicBezTo>
                  <a:cubicBezTo>
                    <a:pt x="115538" y="2667"/>
                    <a:pt x="132779" y="0"/>
                    <a:pt x="151162" y="0"/>
                  </a:cubicBezTo>
                  <a:cubicBezTo>
                    <a:pt x="174688" y="0"/>
                    <a:pt x="198501" y="3810"/>
                    <a:pt x="222504" y="11430"/>
                  </a:cubicBezTo>
                  <a:cubicBezTo>
                    <a:pt x="246507" y="19050"/>
                    <a:pt x="268414" y="29527"/>
                    <a:pt x="288227" y="42863"/>
                  </a:cubicBezTo>
                  <a:lnTo>
                    <a:pt x="254318"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7" y="124587"/>
                  </a:cubicBezTo>
                  <a:cubicBezTo>
                    <a:pt x="108585" y="129540"/>
                    <a:pt x="114871" y="134017"/>
                    <a:pt x="122682" y="138017"/>
                  </a:cubicBezTo>
                  <a:cubicBezTo>
                    <a:pt x="130493" y="142018"/>
                    <a:pt x="139351" y="145732"/>
                    <a:pt x="149543"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696"/>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0" name="Freeform: Shape 32">
              <a:extLst>
                <a:ext uri="{FF2B5EF4-FFF2-40B4-BE49-F238E27FC236}">
                  <a16:creationId xmlns:a16="http://schemas.microsoft.com/office/drawing/2014/main" id="{6590EF46-037A-0DF9-953E-EB63F6DACA37}"/>
                </a:ext>
              </a:extLst>
            </p:cNvPr>
            <p:cNvSpPr/>
            <p:nvPr/>
          </p:nvSpPr>
          <p:spPr>
            <a:xfrm>
              <a:off x="526693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4 w 202977"/>
                <a:gd name="connsiteY17" fmla="*/ 19907 h 239267"/>
                <a:gd name="connsiteX18" fmla="*/ 59246 w 202977"/>
                <a:gd name="connsiteY18" fmla="*/ 5429 h 239267"/>
                <a:gd name="connsiteX19" fmla="*/ 104299 w 202977"/>
                <a:gd name="connsiteY19" fmla="*/ 0 h 239267"/>
                <a:gd name="connsiteX20" fmla="*/ 178880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5 w 202977"/>
                <a:gd name="connsiteY27" fmla="*/ 211169 h 239267"/>
                <a:gd name="connsiteX28" fmla="*/ 122968 w 202977"/>
                <a:gd name="connsiteY28" fmla="*/ 206788 h 239267"/>
                <a:gd name="connsiteX29" fmla="*/ 147257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9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9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3" y="99155"/>
                    <a:pt x="58674" y="95917"/>
                  </a:cubicBezTo>
                  <a:cubicBezTo>
                    <a:pt x="70771" y="92678"/>
                    <a:pt x="84011" y="90964"/>
                    <a:pt x="98584" y="90964"/>
                  </a:cubicBezTo>
                  <a:cubicBezTo>
                    <a:pt x="113157" y="90964"/>
                    <a:pt x="126301" y="91821"/>
                    <a:pt x="137160" y="93631"/>
                  </a:cubicBezTo>
                  <a:cubicBezTo>
                    <a:pt x="148019" y="95440"/>
                    <a:pt x="158687" y="97822"/>
                    <a:pt x="169069" y="100774"/>
                  </a:cubicBezTo>
                  <a:lnTo>
                    <a:pt x="169069" y="93726"/>
                  </a:lnTo>
                  <a:cubicBezTo>
                    <a:pt x="169069" y="73342"/>
                    <a:pt x="163068" y="57912"/>
                    <a:pt x="151162" y="47339"/>
                  </a:cubicBezTo>
                  <a:cubicBezTo>
                    <a:pt x="139256" y="36862"/>
                    <a:pt x="122492" y="31623"/>
                    <a:pt x="100679" y="31623"/>
                  </a:cubicBezTo>
                  <a:cubicBezTo>
                    <a:pt x="86963" y="31623"/>
                    <a:pt x="74581" y="33147"/>
                    <a:pt x="63437" y="36100"/>
                  </a:cubicBezTo>
                  <a:cubicBezTo>
                    <a:pt x="52292" y="39053"/>
                    <a:pt x="41339" y="43053"/>
                    <a:pt x="30671" y="48196"/>
                  </a:cubicBezTo>
                  <a:lnTo>
                    <a:pt x="20384" y="19907"/>
                  </a:lnTo>
                  <a:cubicBezTo>
                    <a:pt x="33147" y="13906"/>
                    <a:pt x="46101" y="9049"/>
                    <a:pt x="59246" y="5429"/>
                  </a:cubicBezTo>
                  <a:cubicBezTo>
                    <a:pt x="72295" y="1810"/>
                    <a:pt x="87344" y="0"/>
                    <a:pt x="104299" y="0"/>
                  </a:cubicBezTo>
                  <a:cubicBezTo>
                    <a:pt x="137065" y="0"/>
                    <a:pt x="161925" y="8477"/>
                    <a:pt x="178880"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99" y="239173"/>
                    <a:pt x="86011" y="239173"/>
                  </a:cubicBezTo>
                  <a:close/>
                  <a:moveTo>
                    <a:pt x="93155" y="211169"/>
                  </a:moveTo>
                  <a:cubicBezTo>
                    <a:pt x="103823" y="211169"/>
                    <a:pt x="113728" y="209740"/>
                    <a:pt x="122968" y="206788"/>
                  </a:cubicBezTo>
                  <a:cubicBezTo>
                    <a:pt x="132207" y="203835"/>
                    <a:pt x="140208" y="199644"/>
                    <a:pt x="147257"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9" y="121444"/>
                  </a:cubicBezTo>
                  <a:cubicBezTo>
                    <a:pt x="129445" y="119348"/>
                    <a:pt x="116776"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244" y="190500"/>
                    <a:pt x="47435" y="195358"/>
                    <a:pt x="52769" y="199263"/>
                  </a:cubicBezTo>
                  <a:cubicBezTo>
                    <a:pt x="58103" y="203073"/>
                    <a:pt x="64294" y="206026"/>
                    <a:pt x="71247" y="208121"/>
                  </a:cubicBezTo>
                  <a:cubicBezTo>
                    <a:pt x="78200" y="210217"/>
                    <a:pt x="85535"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21" name="Freeform: Shape 33">
              <a:extLst>
                <a:ext uri="{FF2B5EF4-FFF2-40B4-BE49-F238E27FC236}">
                  <a16:creationId xmlns:a16="http://schemas.microsoft.com/office/drawing/2014/main" id="{40AA6A50-C963-6247-1A2E-7B9A499E85C7}"/>
                </a:ext>
              </a:extLst>
            </p:cNvPr>
            <p:cNvSpPr/>
            <p:nvPr/>
          </p:nvSpPr>
          <p:spPr>
            <a:xfrm>
              <a:off x="5331227"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9" y="303276"/>
                    <a:pt x="71438" y="300895"/>
                  </a:cubicBezTo>
                  <a:cubicBezTo>
                    <a:pt x="63437"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2"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22" name="Freeform: Shape 34">
              <a:extLst>
                <a:ext uri="{FF2B5EF4-FFF2-40B4-BE49-F238E27FC236}">
                  <a16:creationId xmlns:a16="http://schemas.microsoft.com/office/drawing/2014/main" id="{6126C2DB-9D3E-496C-8F1C-E5A343AE7396}"/>
                </a:ext>
              </a:extLst>
            </p:cNvPr>
            <p:cNvSpPr/>
            <p:nvPr/>
          </p:nvSpPr>
          <p:spPr>
            <a:xfrm>
              <a:off x="5381845"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191 w 39242"/>
                <a:gd name="connsiteY5" fmla="*/ 88392 h 319182"/>
                <a:gd name="connsiteX6" fmla="*/ 36576 w 39242"/>
                <a:gd name="connsiteY6" fmla="*/ 88392 h 319182"/>
                <a:gd name="connsiteX7" fmla="*/ 36576 w 39242"/>
                <a:gd name="connsiteY7" fmla="*/ 319183 h 319182"/>
                <a:gd name="connsiteX8" fmla="*/ 2191 w 39242"/>
                <a:gd name="connsiteY8" fmla="*/ 319183 h 319182"/>
                <a:gd name="connsiteX9" fmla="*/ 2191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191" y="88392"/>
                  </a:moveTo>
                  <a:lnTo>
                    <a:pt x="36576" y="88392"/>
                  </a:lnTo>
                  <a:lnTo>
                    <a:pt x="36576" y="319183"/>
                  </a:lnTo>
                  <a:lnTo>
                    <a:pt x="2191" y="319183"/>
                  </a:lnTo>
                  <a:lnTo>
                    <a:pt x="2191" y="88392"/>
                  </a:lnTo>
                  <a:close/>
                </a:path>
              </a:pathLst>
            </a:custGeom>
            <a:solidFill>
              <a:srgbClr val="44505E"/>
            </a:solidFill>
            <a:ln w="9525" cap="flat">
              <a:noFill/>
              <a:prstDash val="solid"/>
              <a:miter/>
            </a:ln>
          </p:spPr>
          <p:txBody>
            <a:bodyPr rtlCol="0" anchor="ctr"/>
            <a:lstStyle/>
            <a:p>
              <a:endParaRPr lang="pt-BR" noProof="0"/>
            </a:p>
          </p:txBody>
        </p:sp>
        <p:sp>
          <p:nvSpPr>
            <p:cNvPr id="23" name="Freeform: Shape 35">
              <a:extLst>
                <a:ext uri="{FF2B5EF4-FFF2-40B4-BE49-F238E27FC236}">
                  <a16:creationId xmlns:a16="http://schemas.microsoft.com/office/drawing/2014/main" id="{24FBEBB7-B586-6C17-0B79-0686D1682D68}"/>
                </a:ext>
              </a:extLst>
            </p:cNvPr>
            <p:cNvSpPr/>
            <p:nvPr/>
          </p:nvSpPr>
          <p:spPr>
            <a:xfrm>
              <a:off x="5406076"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8" y="303276"/>
                    <a:pt x="71438" y="300895"/>
                  </a:cubicBezTo>
                  <a:cubicBezTo>
                    <a:pt x="63436"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1"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24" name="Freeform: Shape 36">
              <a:extLst>
                <a:ext uri="{FF2B5EF4-FFF2-40B4-BE49-F238E27FC236}">
                  <a16:creationId xmlns:a16="http://schemas.microsoft.com/office/drawing/2014/main" id="{C831AB0D-3235-FE23-B159-1EFA4A609570}"/>
                </a:ext>
              </a:extLst>
            </p:cNvPr>
            <p:cNvSpPr/>
            <p:nvPr/>
          </p:nvSpPr>
          <p:spPr>
            <a:xfrm>
              <a:off x="5455545" y="925297"/>
              <a:ext cx="50594" cy="59238"/>
            </a:xfrm>
            <a:custGeom>
              <a:avLst/>
              <a:gdLst>
                <a:gd name="connsiteX0" fmla="*/ 88392 w 201263"/>
                <a:gd name="connsiteY0" fmla="*/ 235648 h 235648"/>
                <a:gd name="connsiteX1" fmla="*/ 51149 w 201263"/>
                <a:gd name="connsiteY1" fmla="*/ 228981 h 235648"/>
                <a:gd name="connsiteX2" fmla="*/ 23431 w 201263"/>
                <a:gd name="connsiteY2" fmla="*/ 210026 h 235648"/>
                <a:gd name="connsiteX3" fmla="*/ 6001 w 201263"/>
                <a:gd name="connsiteY3" fmla="*/ 180784 h 235648"/>
                <a:gd name="connsiteX4" fmla="*/ 0 w 201263"/>
                <a:gd name="connsiteY4" fmla="*/ 143256 h 235648"/>
                <a:gd name="connsiteX5" fmla="*/ 0 w 201263"/>
                <a:gd name="connsiteY5" fmla="*/ 0 h 235648"/>
                <a:gd name="connsiteX6" fmla="*/ 34385 w 201263"/>
                <a:gd name="connsiteY6" fmla="*/ 0 h 235648"/>
                <a:gd name="connsiteX7" fmla="*/ 34385 w 201263"/>
                <a:gd name="connsiteY7" fmla="*/ 134493 h 235648"/>
                <a:gd name="connsiteX8" fmla="*/ 50864 w 201263"/>
                <a:gd name="connsiteY8" fmla="*/ 185261 h 235648"/>
                <a:gd name="connsiteX9" fmla="*/ 98203 w 201263"/>
                <a:gd name="connsiteY9" fmla="*/ 203930 h 235648"/>
                <a:gd name="connsiteX10" fmla="*/ 125635 w 201263"/>
                <a:gd name="connsiteY10" fmla="*/ 198787 h 235648"/>
                <a:gd name="connsiteX11" fmla="*/ 147542 w 201263"/>
                <a:gd name="connsiteY11" fmla="*/ 184118 h 235648"/>
                <a:gd name="connsiteX12" fmla="*/ 162020 w 201263"/>
                <a:gd name="connsiteY12" fmla="*/ 161163 h 235648"/>
                <a:gd name="connsiteX13" fmla="*/ 167354 w 201263"/>
                <a:gd name="connsiteY13" fmla="*/ 131826 h 235648"/>
                <a:gd name="connsiteX14" fmla="*/ 167354 w 201263"/>
                <a:gd name="connsiteY14" fmla="*/ 0 h 235648"/>
                <a:gd name="connsiteX15" fmla="*/ 201263 w 201263"/>
                <a:gd name="connsiteY15" fmla="*/ 0 h 235648"/>
                <a:gd name="connsiteX16" fmla="*/ 201263 w 201263"/>
                <a:gd name="connsiteY16" fmla="*/ 230791 h 235648"/>
                <a:gd name="connsiteX17" fmla="*/ 167354 w 201263"/>
                <a:gd name="connsiteY17" fmla="*/ 230791 h 235648"/>
                <a:gd name="connsiteX18" fmla="*/ 167354 w 201263"/>
                <a:gd name="connsiteY18" fmla="*/ 190595 h 235648"/>
                <a:gd name="connsiteX19" fmla="*/ 136969 w 201263"/>
                <a:gd name="connsiteY19" fmla="*/ 222504 h 235648"/>
                <a:gd name="connsiteX20" fmla="*/ 88297 w 201263"/>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263" h="235648">
                  <a:moveTo>
                    <a:pt x="88392" y="235648"/>
                  </a:moveTo>
                  <a:cubicBezTo>
                    <a:pt x="74390" y="235648"/>
                    <a:pt x="62008" y="233363"/>
                    <a:pt x="51149" y="228981"/>
                  </a:cubicBezTo>
                  <a:cubicBezTo>
                    <a:pt x="40291" y="224504"/>
                    <a:pt x="31052" y="218218"/>
                    <a:pt x="23431"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864" y="185261"/>
                  </a:cubicBezTo>
                  <a:cubicBezTo>
                    <a:pt x="61913" y="197739"/>
                    <a:pt x="77629" y="203930"/>
                    <a:pt x="98203" y="203930"/>
                  </a:cubicBezTo>
                  <a:cubicBezTo>
                    <a:pt x="108014" y="203930"/>
                    <a:pt x="117158" y="202216"/>
                    <a:pt x="125635" y="198787"/>
                  </a:cubicBezTo>
                  <a:cubicBezTo>
                    <a:pt x="134112" y="195358"/>
                    <a:pt x="141351" y="190500"/>
                    <a:pt x="147542" y="184118"/>
                  </a:cubicBezTo>
                  <a:cubicBezTo>
                    <a:pt x="153638" y="177736"/>
                    <a:pt x="158496" y="170116"/>
                    <a:pt x="162020" y="161163"/>
                  </a:cubicBezTo>
                  <a:cubicBezTo>
                    <a:pt x="165640" y="152305"/>
                    <a:pt x="167354" y="142494"/>
                    <a:pt x="167354" y="131826"/>
                  </a:cubicBezTo>
                  <a:lnTo>
                    <a:pt x="167354" y="0"/>
                  </a:lnTo>
                  <a:lnTo>
                    <a:pt x="201263" y="0"/>
                  </a:lnTo>
                  <a:lnTo>
                    <a:pt x="201263" y="230791"/>
                  </a:lnTo>
                  <a:lnTo>
                    <a:pt x="167354" y="230791"/>
                  </a:lnTo>
                  <a:lnTo>
                    <a:pt x="167354" y="190595"/>
                  </a:lnTo>
                  <a:cubicBezTo>
                    <a:pt x="159639" y="203073"/>
                    <a:pt x="149447" y="213741"/>
                    <a:pt x="136969" y="222504"/>
                  </a:cubicBezTo>
                  <a:cubicBezTo>
                    <a:pt x="124492" y="231267"/>
                    <a:pt x="108299" y="235648"/>
                    <a:pt x="88297" y="235648"/>
                  </a:cubicBezTo>
                  <a:close/>
                </a:path>
              </a:pathLst>
            </a:custGeom>
            <a:solidFill>
              <a:srgbClr val="44505E"/>
            </a:solidFill>
            <a:ln w="9525" cap="flat">
              <a:noFill/>
              <a:prstDash val="solid"/>
              <a:miter/>
            </a:ln>
          </p:spPr>
          <p:txBody>
            <a:bodyPr rtlCol="0" anchor="ctr"/>
            <a:lstStyle/>
            <a:p>
              <a:endParaRPr lang="pt-BR" noProof="0"/>
            </a:p>
          </p:txBody>
        </p:sp>
        <p:sp>
          <p:nvSpPr>
            <p:cNvPr id="25" name="Freeform: Shape 37">
              <a:extLst>
                <a:ext uri="{FF2B5EF4-FFF2-40B4-BE49-F238E27FC236}">
                  <a16:creationId xmlns:a16="http://schemas.microsoft.com/office/drawing/2014/main" id="{EFCA5A54-9B79-484E-533C-3FC2ACAEA939}"/>
                </a:ext>
              </a:extLst>
            </p:cNvPr>
            <p:cNvSpPr/>
            <p:nvPr/>
          </p:nvSpPr>
          <p:spPr>
            <a:xfrm>
              <a:off x="5522205" y="901353"/>
              <a:ext cx="58567" cy="83182"/>
            </a:xfrm>
            <a:custGeom>
              <a:avLst/>
              <a:gdLst>
                <a:gd name="connsiteX0" fmla="*/ 110204 w 232981"/>
                <a:gd name="connsiteY0" fmla="*/ 330898 h 330898"/>
                <a:gd name="connsiteX1" fmla="*/ 69628 w 232981"/>
                <a:gd name="connsiteY1" fmla="*/ 322897 h 330898"/>
                <a:gd name="connsiteX2" fmla="*/ 34385 w 232981"/>
                <a:gd name="connsiteY2" fmla="*/ 299466 h 330898"/>
                <a:gd name="connsiteX3" fmla="*/ 9334 w 232981"/>
                <a:gd name="connsiteY3" fmla="*/ 261938 h 330898"/>
                <a:gd name="connsiteX4" fmla="*/ 0 w 232981"/>
                <a:gd name="connsiteY4" fmla="*/ 211264 h 330898"/>
                <a:gd name="connsiteX5" fmla="*/ 0 w 232981"/>
                <a:gd name="connsiteY5" fmla="*/ 210407 h 330898"/>
                <a:gd name="connsiteX6" fmla="*/ 9334 w 232981"/>
                <a:gd name="connsiteY6" fmla="*/ 159925 h 330898"/>
                <a:gd name="connsiteX7" fmla="*/ 34385 w 232981"/>
                <a:gd name="connsiteY7" fmla="*/ 122206 h 330898"/>
                <a:gd name="connsiteX8" fmla="*/ 69628 w 232981"/>
                <a:gd name="connsiteY8" fmla="*/ 98488 h 330898"/>
                <a:gd name="connsiteX9" fmla="*/ 110204 w 232981"/>
                <a:gd name="connsiteY9" fmla="*/ 90202 h 330898"/>
                <a:gd name="connsiteX10" fmla="*/ 139636 w 232981"/>
                <a:gd name="connsiteY10" fmla="*/ 94202 h 330898"/>
                <a:gd name="connsiteX11" fmla="*/ 163735 w 232981"/>
                <a:gd name="connsiteY11" fmla="*/ 104870 h 330898"/>
                <a:gd name="connsiteX12" fmla="*/ 183166 w 232981"/>
                <a:gd name="connsiteY12" fmla="*/ 120491 h 330898"/>
                <a:gd name="connsiteX13" fmla="*/ 198596 w 232981"/>
                <a:gd name="connsiteY13" fmla="*/ 139255 h 330898"/>
                <a:gd name="connsiteX14" fmla="*/ 198596 w 232981"/>
                <a:gd name="connsiteY14" fmla="*/ 0 h 330898"/>
                <a:gd name="connsiteX15" fmla="*/ 232981 w 232981"/>
                <a:gd name="connsiteY15" fmla="*/ 0 h 330898"/>
                <a:gd name="connsiteX16" fmla="*/ 232981 w 232981"/>
                <a:gd name="connsiteY16" fmla="*/ 325850 h 330898"/>
                <a:gd name="connsiteX17" fmla="*/ 198596 w 232981"/>
                <a:gd name="connsiteY17" fmla="*/ 325850 h 330898"/>
                <a:gd name="connsiteX18" fmla="*/ 198596 w 232981"/>
                <a:gd name="connsiteY18" fmla="*/ 279463 h 330898"/>
                <a:gd name="connsiteX19" fmla="*/ 182785 w 232981"/>
                <a:gd name="connsiteY19" fmla="*/ 299085 h 330898"/>
                <a:gd name="connsiteX20" fmla="*/ 163354 w 232981"/>
                <a:gd name="connsiteY20" fmla="*/ 315658 h 330898"/>
                <a:gd name="connsiteX21" fmla="*/ 139446 w 232981"/>
                <a:gd name="connsiteY21" fmla="*/ 326803 h 330898"/>
                <a:gd name="connsiteX22" fmla="*/ 110204 w 232981"/>
                <a:gd name="connsiteY22" fmla="*/ 330803 h 330898"/>
                <a:gd name="connsiteX23" fmla="*/ 116491 w 232981"/>
                <a:gd name="connsiteY23" fmla="*/ 300133 h 330898"/>
                <a:gd name="connsiteX24" fmla="*/ 147542 w 232981"/>
                <a:gd name="connsiteY24" fmla="*/ 293656 h 330898"/>
                <a:gd name="connsiteX25" fmla="*/ 174307 w 232981"/>
                <a:gd name="connsiteY25" fmla="*/ 275368 h 330898"/>
                <a:gd name="connsiteX26" fmla="*/ 193072 w 232981"/>
                <a:gd name="connsiteY26" fmla="*/ 247269 h 330898"/>
                <a:gd name="connsiteX27" fmla="*/ 200025 w 232981"/>
                <a:gd name="connsiteY27" fmla="*/ 210883 h 330898"/>
                <a:gd name="connsiteX28" fmla="*/ 200025 w 232981"/>
                <a:gd name="connsiteY28" fmla="*/ 210026 h 330898"/>
                <a:gd name="connsiteX29" fmla="*/ 193072 w 232981"/>
                <a:gd name="connsiteY29" fmla="*/ 173641 h 330898"/>
                <a:gd name="connsiteX30" fmla="*/ 174307 w 232981"/>
                <a:gd name="connsiteY30" fmla="*/ 145732 h 330898"/>
                <a:gd name="connsiteX31" fmla="*/ 147542 w 232981"/>
                <a:gd name="connsiteY31" fmla="*/ 127635 h 330898"/>
                <a:gd name="connsiteX32" fmla="*/ 116491 w 232981"/>
                <a:gd name="connsiteY32" fmla="*/ 121158 h 330898"/>
                <a:gd name="connsiteX33" fmla="*/ 84772 w 232981"/>
                <a:gd name="connsiteY33" fmla="*/ 127159 h 330898"/>
                <a:gd name="connsiteX34" fmla="*/ 59150 w 232981"/>
                <a:gd name="connsiteY34" fmla="*/ 144589 h 330898"/>
                <a:gd name="connsiteX35" fmla="*/ 41719 w 232981"/>
                <a:gd name="connsiteY35" fmla="*/ 172498 h 330898"/>
                <a:gd name="connsiteX36" fmla="*/ 35242 w 232981"/>
                <a:gd name="connsiteY36" fmla="*/ 210026 h 330898"/>
                <a:gd name="connsiteX37" fmla="*/ 35242 w 232981"/>
                <a:gd name="connsiteY37" fmla="*/ 210883 h 330898"/>
                <a:gd name="connsiteX38" fmla="*/ 41719 w 232981"/>
                <a:gd name="connsiteY38" fmla="*/ 247936 h 330898"/>
                <a:gd name="connsiteX39" fmla="*/ 59341 w 232981"/>
                <a:gd name="connsiteY39" fmla="*/ 276034 h 330898"/>
                <a:gd name="connsiteX40" fmla="*/ 85249 w 232981"/>
                <a:gd name="connsiteY40" fmla="*/ 293941 h 330898"/>
                <a:gd name="connsiteX41" fmla="*/ 116491 w 23298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30898">
                  <a:moveTo>
                    <a:pt x="110204" y="330898"/>
                  </a:moveTo>
                  <a:cubicBezTo>
                    <a:pt x="96202" y="330898"/>
                    <a:pt x="82677" y="328231"/>
                    <a:pt x="69628" y="322897"/>
                  </a:cubicBezTo>
                  <a:cubicBezTo>
                    <a:pt x="56578" y="317563"/>
                    <a:pt x="44767" y="309753"/>
                    <a:pt x="34385" y="299466"/>
                  </a:cubicBezTo>
                  <a:cubicBezTo>
                    <a:pt x="24003" y="289179"/>
                    <a:pt x="15621" y="276701"/>
                    <a:pt x="9334" y="261938"/>
                  </a:cubicBezTo>
                  <a:cubicBezTo>
                    <a:pt x="3048" y="247174"/>
                    <a:pt x="0" y="230314"/>
                    <a:pt x="0" y="211264"/>
                  </a:cubicBezTo>
                  <a:lnTo>
                    <a:pt x="0" y="210407"/>
                  </a:lnTo>
                  <a:cubicBezTo>
                    <a:pt x="0" y="191643"/>
                    <a:pt x="3143" y="174879"/>
                    <a:pt x="9334" y="159925"/>
                  </a:cubicBezTo>
                  <a:cubicBezTo>
                    <a:pt x="15621" y="145066"/>
                    <a:pt x="23908" y="132493"/>
                    <a:pt x="34385" y="122206"/>
                  </a:cubicBezTo>
                  <a:cubicBezTo>
                    <a:pt x="44767" y="111919"/>
                    <a:pt x="56578" y="104013"/>
                    <a:pt x="69628" y="98488"/>
                  </a:cubicBezTo>
                  <a:cubicBezTo>
                    <a:pt x="82677" y="92964"/>
                    <a:pt x="96298" y="90202"/>
                    <a:pt x="110204" y="90202"/>
                  </a:cubicBezTo>
                  <a:cubicBezTo>
                    <a:pt x="120967" y="90202"/>
                    <a:pt x="130778" y="91535"/>
                    <a:pt x="139636" y="94202"/>
                  </a:cubicBezTo>
                  <a:cubicBezTo>
                    <a:pt x="148590" y="96869"/>
                    <a:pt x="156591" y="100489"/>
                    <a:pt x="163735" y="104870"/>
                  </a:cubicBezTo>
                  <a:cubicBezTo>
                    <a:pt x="170878" y="109347"/>
                    <a:pt x="177356" y="114586"/>
                    <a:pt x="183166" y="120491"/>
                  </a:cubicBezTo>
                  <a:cubicBezTo>
                    <a:pt x="188976" y="126492"/>
                    <a:pt x="194119" y="132683"/>
                    <a:pt x="198596" y="139255"/>
                  </a:cubicBezTo>
                  <a:lnTo>
                    <a:pt x="198596" y="0"/>
                  </a:lnTo>
                  <a:lnTo>
                    <a:pt x="232981" y="0"/>
                  </a:lnTo>
                  <a:lnTo>
                    <a:pt x="232981" y="325850"/>
                  </a:lnTo>
                  <a:lnTo>
                    <a:pt x="198596" y="325850"/>
                  </a:lnTo>
                  <a:lnTo>
                    <a:pt x="198596" y="279463"/>
                  </a:lnTo>
                  <a:cubicBezTo>
                    <a:pt x="193834" y="286321"/>
                    <a:pt x="188595" y="292894"/>
                    <a:pt x="182785" y="299085"/>
                  </a:cubicBezTo>
                  <a:cubicBezTo>
                    <a:pt x="176974" y="305371"/>
                    <a:pt x="170498" y="310896"/>
                    <a:pt x="163354" y="315658"/>
                  </a:cubicBezTo>
                  <a:cubicBezTo>
                    <a:pt x="156210" y="320421"/>
                    <a:pt x="148209" y="324136"/>
                    <a:pt x="139446" y="326803"/>
                  </a:cubicBezTo>
                  <a:cubicBezTo>
                    <a:pt x="130683" y="329470"/>
                    <a:pt x="120967" y="330803"/>
                    <a:pt x="110204" y="330803"/>
                  </a:cubicBezTo>
                  <a:close/>
                  <a:moveTo>
                    <a:pt x="116491" y="300133"/>
                  </a:moveTo>
                  <a:cubicBezTo>
                    <a:pt x="127159" y="300133"/>
                    <a:pt x="137541" y="297942"/>
                    <a:pt x="147542" y="293656"/>
                  </a:cubicBezTo>
                  <a:cubicBezTo>
                    <a:pt x="157544" y="289369"/>
                    <a:pt x="166402" y="283273"/>
                    <a:pt x="174307" y="275368"/>
                  </a:cubicBezTo>
                  <a:cubicBezTo>
                    <a:pt x="182213" y="267462"/>
                    <a:pt x="188404" y="258127"/>
                    <a:pt x="193072" y="247269"/>
                  </a:cubicBezTo>
                  <a:cubicBezTo>
                    <a:pt x="197644" y="236410"/>
                    <a:pt x="200025" y="224314"/>
                    <a:pt x="200025" y="210883"/>
                  </a:cubicBezTo>
                  <a:lnTo>
                    <a:pt x="200025" y="210026"/>
                  </a:lnTo>
                  <a:cubicBezTo>
                    <a:pt x="200025" y="196596"/>
                    <a:pt x="197739" y="184499"/>
                    <a:pt x="193072" y="173641"/>
                  </a:cubicBezTo>
                  <a:cubicBezTo>
                    <a:pt x="188500" y="162782"/>
                    <a:pt x="182213" y="153448"/>
                    <a:pt x="174307" y="145732"/>
                  </a:cubicBezTo>
                  <a:cubicBezTo>
                    <a:pt x="166402" y="138017"/>
                    <a:pt x="157448" y="132016"/>
                    <a:pt x="147542" y="127635"/>
                  </a:cubicBezTo>
                  <a:cubicBezTo>
                    <a:pt x="137541" y="123349"/>
                    <a:pt x="127254" y="121158"/>
                    <a:pt x="116491" y="121158"/>
                  </a:cubicBezTo>
                  <a:cubicBezTo>
                    <a:pt x="105156" y="121158"/>
                    <a:pt x="94583" y="123158"/>
                    <a:pt x="84772" y="127159"/>
                  </a:cubicBezTo>
                  <a:cubicBezTo>
                    <a:pt x="74962" y="131159"/>
                    <a:pt x="66389" y="136969"/>
                    <a:pt x="59150" y="144589"/>
                  </a:cubicBezTo>
                  <a:cubicBezTo>
                    <a:pt x="51816" y="152114"/>
                    <a:pt x="46101" y="161449"/>
                    <a:pt x="41719" y="172498"/>
                  </a:cubicBezTo>
                  <a:cubicBezTo>
                    <a:pt x="37433" y="183451"/>
                    <a:pt x="35242" y="196024"/>
                    <a:pt x="35242" y="210026"/>
                  </a:cubicBezTo>
                  <a:lnTo>
                    <a:pt x="35242" y="210883"/>
                  </a:lnTo>
                  <a:cubicBezTo>
                    <a:pt x="35242" y="224599"/>
                    <a:pt x="37433" y="236982"/>
                    <a:pt x="41719" y="247936"/>
                  </a:cubicBezTo>
                  <a:cubicBezTo>
                    <a:pt x="46006" y="258984"/>
                    <a:pt x="51911" y="268319"/>
                    <a:pt x="59341" y="276034"/>
                  </a:cubicBezTo>
                  <a:cubicBezTo>
                    <a:pt x="66770" y="283750"/>
                    <a:pt x="75438" y="289750"/>
                    <a:pt x="85249" y="293941"/>
                  </a:cubicBezTo>
                  <a:cubicBezTo>
                    <a:pt x="95059" y="298132"/>
                    <a:pt x="105442" y="300228"/>
                    <a:pt x="116491" y="300228"/>
                  </a:cubicBezTo>
                  <a:close/>
                </a:path>
              </a:pathLst>
            </a:custGeom>
            <a:solidFill>
              <a:srgbClr val="44505E"/>
            </a:solidFill>
            <a:ln w="9525" cap="flat">
              <a:noFill/>
              <a:prstDash val="solid"/>
              <a:miter/>
            </a:ln>
          </p:spPr>
          <p:txBody>
            <a:bodyPr rtlCol="0" anchor="ctr"/>
            <a:lstStyle/>
            <a:p>
              <a:endParaRPr lang="pt-BR" noProof="0"/>
            </a:p>
          </p:txBody>
        </p:sp>
        <p:sp>
          <p:nvSpPr>
            <p:cNvPr id="26" name="Freeform: Shape 38">
              <a:extLst>
                <a:ext uri="{FF2B5EF4-FFF2-40B4-BE49-F238E27FC236}">
                  <a16:creationId xmlns:a16="http://schemas.microsoft.com/office/drawing/2014/main" id="{9AB961F9-114A-1C53-0755-E7A346BAC189}"/>
                </a:ext>
              </a:extLst>
            </p:cNvPr>
            <p:cNvSpPr/>
            <p:nvPr/>
          </p:nvSpPr>
          <p:spPr>
            <a:xfrm>
              <a:off x="5596504"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6963 w 218217"/>
                <a:gd name="connsiteY3" fmla="*/ 206026 h 241077"/>
                <a:gd name="connsiteX4" fmla="*/ 116015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8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1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452 w 218217"/>
                <a:gd name="connsiteY25" fmla="*/ 106299 h 241077"/>
                <a:gd name="connsiteX26" fmla="*/ 176784 w 218217"/>
                <a:gd name="connsiteY26" fmla="*/ 76771 h 241077"/>
                <a:gd name="connsiteX27" fmla="*/ 162306 w 218217"/>
                <a:gd name="connsiteY27" fmla="*/ 52101 h 241077"/>
                <a:gd name="connsiteX28" fmla="*/ 140018 w 218217"/>
                <a:gd name="connsiteY28" fmla="*/ 35242 h 241077"/>
                <a:gd name="connsiteX29" fmla="*/ 109919 w 218217"/>
                <a:gd name="connsiteY29" fmla="*/ 29051 h 241077"/>
                <a:gd name="connsiteX30" fmla="*/ 82201 w 218217"/>
                <a:gd name="connsiteY30" fmla="*/ 34766 h 241077"/>
                <a:gd name="connsiteX31" fmla="*/ 59436 w 218217"/>
                <a:gd name="connsiteY31" fmla="*/ 50959 h 241077"/>
                <a:gd name="connsiteX32" fmla="*/ 43148 w 218217"/>
                <a:gd name="connsiteY32" fmla="*/ 75628 h 241077"/>
                <a:gd name="connsiteX33" fmla="*/ 34862 w 218217"/>
                <a:gd name="connsiteY33" fmla="*/ 106204 h 241077"/>
                <a:gd name="connsiteX34" fmla="*/ 183547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724" y="202597"/>
                    <a:pt x="86963" y="206026"/>
                  </a:cubicBezTo>
                  <a:cubicBezTo>
                    <a:pt x="96203" y="209455"/>
                    <a:pt x="105823" y="211169"/>
                    <a:pt x="116015" y="211169"/>
                  </a:cubicBezTo>
                  <a:cubicBezTo>
                    <a:pt x="132112" y="211169"/>
                    <a:pt x="145828" y="208216"/>
                    <a:pt x="157353" y="202216"/>
                  </a:cubicBezTo>
                  <a:cubicBezTo>
                    <a:pt x="168783" y="196310"/>
                    <a:pt x="179261" y="188404"/>
                    <a:pt x="188786" y="178594"/>
                  </a:cubicBezTo>
                  <a:lnTo>
                    <a:pt x="210217" y="197834"/>
                  </a:lnTo>
                  <a:cubicBezTo>
                    <a:pt x="198596" y="210979"/>
                    <a:pt x="185357" y="221361"/>
                    <a:pt x="170498" y="229267"/>
                  </a:cubicBezTo>
                  <a:cubicBezTo>
                    <a:pt x="155639"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679" y="0"/>
                    <a:pt x="110681"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452" y="106299"/>
                  </a:moveTo>
                  <a:cubicBezTo>
                    <a:pt x="182594" y="95917"/>
                    <a:pt x="180308" y="86106"/>
                    <a:pt x="176784" y="76771"/>
                  </a:cubicBezTo>
                  <a:cubicBezTo>
                    <a:pt x="173165" y="67437"/>
                    <a:pt x="168402" y="59245"/>
                    <a:pt x="162306" y="52101"/>
                  </a:cubicBezTo>
                  <a:cubicBezTo>
                    <a:pt x="156210" y="44958"/>
                    <a:pt x="148781" y="39338"/>
                    <a:pt x="140018" y="35242"/>
                  </a:cubicBezTo>
                  <a:cubicBezTo>
                    <a:pt x="131254" y="31147"/>
                    <a:pt x="121158" y="29051"/>
                    <a:pt x="109919" y="29051"/>
                  </a:cubicBezTo>
                  <a:cubicBezTo>
                    <a:pt x="100108" y="29051"/>
                    <a:pt x="90869" y="30956"/>
                    <a:pt x="82201" y="34766"/>
                  </a:cubicBezTo>
                  <a:cubicBezTo>
                    <a:pt x="73533" y="38671"/>
                    <a:pt x="66008" y="44005"/>
                    <a:pt x="59436" y="50959"/>
                  </a:cubicBezTo>
                  <a:cubicBezTo>
                    <a:pt x="52864" y="57912"/>
                    <a:pt x="47435" y="66103"/>
                    <a:pt x="43148" y="75628"/>
                  </a:cubicBezTo>
                  <a:cubicBezTo>
                    <a:pt x="38862" y="85058"/>
                    <a:pt x="36100" y="95345"/>
                    <a:pt x="34862" y="106204"/>
                  </a:cubicBezTo>
                  <a:lnTo>
                    <a:pt x="183547" y="106204"/>
                  </a:lnTo>
                  <a:close/>
                </a:path>
              </a:pathLst>
            </a:custGeom>
            <a:solidFill>
              <a:srgbClr val="44505E"/>
            </a:solidFill>
            <a:ln w="9525" cap="flat">
              <a:noFill/>
              <a:prstDash val="solid"/>
              <a:miter/>
            </a:ln>
          </p:spPr>
          <p:txBody>
            <a:bodyPr rtlCol="0" anchor="ctr"/>
            <a:lstStyle/>
            <a:p>
              <a:endParaRPr lang="pt-BR" noProof="0"/>
            </a:p>
          </p:txBody>
        </p:sp>
        <p:sp>
          <p:nvSpPr>
            <p:cNvPr id="27" name="Freeform: Shape 39">
              <a:extLst>
                <a:ext uri="{FF2B5EF4-FFF2-40B4-BE49-F238E27FC236}">
                  <a16:creationId xmlns:a16="http://schemas.microsoft.com/office/drawing/2014/main" id="{05C06250-DA74-C40E-8C09-91779B1A64F1}"/>
                </a:ext>
              </a:extLst>
            </p:cNvPr>
            <p:cNvSpPr/>
            <p:nvPr/>
          </p:nvSpPr>
          <p:spPr>
            <a:xfrm>
              <a:off x="5661680" y="924268"/>
              <a:ext cx="44656" cy="60195"/>
            </a:xfrm>
            <a:custGeom>
              <a:avLst/>
              <a:gdLst>
                <a:gd name="connsiteX0" fmla="*/ 95536 w 177641"/>
                <a:gd name="connsiteY0" fmla="*/ 239268 h 239458"/>
                <a:gd name="connsiteX1" fmla="*/ 45053 w 177641"/>
                <a:gd name="connsiteY1" fmla="*/ 230124 h 239458"/>
                <a:gd name="connsiteX2" fmla="*/ 0 w 177641"/>
                <a:gd name="connsiteY2" fmla="*/ 205359 h 239458"/>
                <a:gd name="connsiteX3" fmla="*/ 17431 w 177641"/>
                <a:gd name="connsiteY3" fmla="*/ 180785 h 239458"/>
                <a:gd name="connsiteX4" fmla="*/ 56483 w 177641"/>
                <a:gd name="connsiteY4" fmla="*/ 202692 h 239458"/>
                <a:gd name="connsiteX5" fmla="*/ 97346 w 177641"/>
                <a:gd name="connsiteY5" fmla="*/ 210217 h 239458"/>
                <a:gd name="connsiteX6" fmla="*/ 131731 w 177641"/>
                <a:gd name="connsiteY6" fmla="*/ 200406 h 239458"/>
                <a:gd name="connsiteX7" fmla="*/ 145161 w 177641"/>
                <a:gd name="connsiteY7" fmla="*/ 173641 h 239458"/>
                <a:gd name="connsiteX8" fmla="*/ 145161 w 177641"/>
                <a:gd name="connsiteY8" fmla="*/ 172784 h 239458"/>
                <a:gd name="connsiteX9" fmla="*/ 140494 w 177641"/>
                <a:gd name="connsiteY9" fmla="*/ 158020 h 239458"/>
                <a:gd name="connsiteX10" fmla="*/ 127730 w 177641"/>
                <a:gd name="connsiteY10" fmla="*/ 147066 h 239458"/>
                <a:gd name="connsiteX11" fmla="*/ 109157 w 177641"/>
                <a:gd name="connsiteY11" fmla="*/ 138779 h 239458"/>
                <a:gd name="connsiteX12" fmla="*/ 87535 w 177641"/>
                <a:gd name="connsiteY12" fmla="*/ 132112 h 239458"/>
                <a:gd name="connsiteX13" fmla="*/ 60484 w 177641"/>
                <a:gd name="connsiteY13" fmla="*/ 123444 h 239458"/>
                <a:gd name="connsiteX14" fmla="*/ 35909 w 177641"/>
                <a:gd name="connsiteY14" fmla="*/ 111633 h 239458"/>
                <a:gd name="connsiteX15" fmla="*/ 18098 w 177641"/>
                <a:gd name="connsiteY15" fmla="*/ 93726 h 239458"/>
                <a:gd name="connsiteX16" fmla="*/ 11144 w 177641"/>
                <a:gd name="connsiteY16" fmla="*/ 66961 h 239458"/>
                <a:gd name="connsiteX17" fmla="*/ 11144 w 177641"/>
                <a:gd name="connsiteY17" fmla="*/ 66008 h 239458"/>
                <a:gd name="connsiteX18" fmla="*/ 16954 w 177641"/>
                <a:gd name="connsiteY18" fmla="*/ 39053 h 239458"/>
                <a:gd name="connsiteX19" fmla="*/ 33242 w 177641"/>
                <a:gd name="connsiteY19" fmla="*/ 18098 h 239458"/>
                <a:gd name="connsiteX20" fmla="*/ 58293 w 177641"/>
                <a:gd name="connsiteY20" fmla="*/ 4667 h 239458"/>
                <a:gd name="connsiteX21" fmla="*/ 89725 w 177641"/>
                <a:gd name="connsiteY21" fmla="*/ 0 h 239458"/>
                <a:gd name="connsiteX22" fmla="*/ 133064 w 177641"/>
                <a:gd name="connsiteY22" fmla="*/ 6953 h 239458"/>
                <a:gd name="connsiteX23" fmla="*/ 172784 w 177641"/>
                <a:gd name="connsiteY23" fmla="*/ 25527 h 239458"/>
                <a:gd name="connsiteX24" fmla="*/ 157163 w 177641"/>
                <a:gd name="connsiteY24" fmla="*/ 51435 h 239458"/>
                <a:gd name="connsiteX25" fmla="*/ 123444 w 177641"/>
                <a:gd name="connsiteY25" fmla="*/ 35147 h 239458"/>
                <a:gd name="connsiteX26" fmla="*/ 88868 w 177641"/>
                <a:gd name="connsiteY26" fmla="*/ 29146 h 239458"/>
                <a:gd name="connsiteX27" fmla="*/ 56293 w 177641"/>
                <a:gd name="connsiteY27" fmla="*/ 38767 h 239458"/>
                <a:gd name="connsiteX28" fmla="*/ 44196 w 177641"/>
                <a:gd name="connsiteY28" fmla="*/ 62675 h 239458"/>
                <a:gd name="connsiteX29" fmla="*/ 44196 w 177641"/>
                <a:gd name="connsiteY29" fmla="*/ 63627 h 239458"/>
                <a:gd name="connsiteX30" fmla="*/ 49149 w 177641"/>
                <a:gd name="connsiteY30" fmla="*/ 77724 h 239458"/>
                <a:gd name="connsiteX31" fmla="*/ 62294 w 177641"/>
                <a:gd name="connsiteY31" fmla="*/ 88202 h 239458"/>
                <a:gd name="connsiteX32" fmla="*/ 81248 w 177641"/>
                <a:gd name="connsiteY32" fmla="*/ 96203 h 239458"/>
                <a:gd name="connsiteX33" fmla="*/ 103537 w 177641"/>
                <a:gd name="connsiteY33" fmla="*/ 103346 h 239458"/>
                <a:gd name="connsiteX34" fmla="*/ 130112 w 177641"/>
                <a:gd name="connsiteY34" fmla="*/ 112300 h 239458"/>
                <a:gd name="connsiteX35" fmla="*/ 154019 w 177641"/>
                <a:gd name="connsiteY35" fmla="*/ 124778 h 239458"/>
                <a:gd name="connsiteX36" fmla="*/ 171164 w 177641"/>
                <a:gd name="connsiteY36" fmla="*/ 143066 h 239458"/>
                <a:gd name="connsiteX37" fmla="*/ 177641 w 177641"/>
                <a:gd name="connsiteY37" fmla="*/ 169450 h 239458"/>
                <a:gd name="connsiteX38" fmla="*/ 177641 w 177641"/>
                <a:gd name="connsiteY38" fmla="*/ 170307 h 239458"/>
                <a:gd name="connsiteX39" fmla="*/ 171164 w 177641"/>
                <a:gd name="connsiteY39" fmla="*/ 199549 h 239458"/>
                <a:gd name="connsiteX40" fmla="*/ 153734 w 177641"/>
                <a:gd name="connsiteY40" fmla="*/ 221171 h 239458"/>
                <a:gd name="connsiteX41" fmla="*/ 127825 w 177641"/>
                <a:gd name="connsiteY41" fmla="*/ 234791 h 239458"/>
                <a:gd name="connsiteX42" fmla="*/ 95441 w 177641"/>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641" h="239458">
                  <a:moveTo>
                    <a:pt x="95536" y="239268"/>
                  </a:moveTo>
                  <a:cubicBezTo>
                    <a:pt x="78867" y="239268"/>
                    <a:pt x="62008" y="236220"/>
                    <a:pt x="45053" y="230124"/>
                  </a:cubicBezTo>
                  <a:cubicBezTo>
                    <a:pt x="28099" y="224028"/>
                    <a:pt x="13049" y="215741"/>
                    <a:pt x="0" y="205359"/>
                  </a:cubicBezTo>
                  <a:lnTo>
                    <a:pt x="17431" y="180785"/>
                  </a:lnTo>
                  <a:cubicBezTo>
                    <a:pt x="29908"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542" y="162211"/>
                    <a:pt x="140494" y="158020"/>
                  </a:cubicBezTo>
                  <a:cubicBezTo>
                    <a:pt x="137350" y="153829"/>
                    <a:pt x="133160" y="150209"/>
                    <a:pt x="127730" y="147066"/>
                  </a:cubicBezTo>
                  <a:cubicBezTo>
                    <a:pt x="122396" y="143923"/>
                    <a:pt x="116205" y="141161"/>
                    <a:pt x="109157" y="138779"/>
                  </a:cubicBezTo>
                  <a:cubicBezTo>
                    <a:pt x="102203" y="136398"/>
                    <a:pt x="94964" y="134207"/>
                    <a:pt x="87535" y="132112"/>
                  </a:cubicBezTo>
                  <a:cubicBezTo>
                    <a:pt x="78581" y="129445"/>
                    <a:pt x="69628" y="126492"/>
                    <a:pt x="60484" y="123444"/>
                  </a:cubicBezTo>
                  <a:cubicBezTo>
                    <a:pt x="51435" y="120301"/>
                    <a:pt x="43244" y="116396"/>
                    <a:pt x="35909" y="111633"/>
                  </a:cubicBezTo>
                  <a:cubicBezTo>
                    <a:pt x="28575" y="106871"/>
                    <a:pt x="22670" y="100870"/>
                    <a:pt x="18098" y="93726"/>
                  </a:cubicBezTo>
                  <a:cubicBezTo>
                    <a:pt x="13525" y="86582"/>
                    <a:pt x="11144" y="77629"/>
                    <a:pt x="11144" y="66961"/>
                  </a:cubicBezTo>
                  <a:lnTo>
                    <a:pt x="11144" y="66008"/>
                  </a:lnTo>
                  <a:cubicBezTo>
                    <a:pt x="11144" y="56198"/>
                    <a:pt x="13049" y="47149"/>
                    <a:pt x="16954" y="39053"/>
                  </a:cubicBezTo>
                  <a:cubicBezTo>
                    <a:pt x="20860" y="30861"/>
                    <a:pt x="26289" y="23908"/>
                    <a:pt x="33242" y="18098"/>
                  </a:cubicBezTo>
                  <a:cubicBezTo>
                    <a:pt x="40196" y="12287"/>
                    <a:pt x="48578" y="7811"/>
                    <a:pt x="58293" y="4667"/>
                  </a:cubicBezTo>
                  <a:cubicBezTo>
                    <a:pt x="67913" y="1524"/>
                    <a:pt x="78486" y="0"/>
                    <a:pt x="89725" y="0"/>
                  </a:cubicBezTo>
                  <a:cubicBezTo>
                    <a:pt x="104013" y="0"/>
                    <a:pt x="118396" y="2286"/>
                    <a:pt x="133064" y="6953"/>
                  </a:cubicBezTo>
                  <a:cubicBezTo>
                    <a:pt x="147638" y="11621"/>
                    <a:pt x="160877" y="17717"/>
                    <a:pt x="172784" y="25527"/>
                  </a:cubicBezTo>
                  <a:lnTo>
                    <a:pt x="157163" y="51435"/>
                  </a:lnTo>
                  <a:cubicBezTo>
                    <a:pt x="146399" y="44577"/>
                    <a:pt x="135255" y="39148"/>
                    <a:pt x="123444" y="35147"/>
                  </a:cubicBezTo>
                  <a:cubicBezTo>
                    <a:pt x="111728" y="31147"/>
                    <a:pt x="100203" y="29146"/>
                    <a:pt x="88868" y="29146"/>
                  </a:cubicBezTo>
                  <a:cubicBezTo>
                    <a:pt x="75152" y="29146"/>
                    <a:pt x="64294" y="32385"/>
                    <a:pt x="56293" y="38767"/>
                  </a:cubicBezTo>
                  <a:cubicBezTo>
                    <a:pt x="48292" y="45149"/>
                    <a:pt x="44196" y="53150"/>
                    <a:pt x="44196" y="62675"/>
                  </a:cubicBezTo>
                  <a:lnTo>
                    <a:pt x="44196" y="63627"/>
                  </a:lnTo>
                  <a:cubicBezTo>
                    <a:pt x="44196" y="68961"/>
                    <a:pt x="45815" y="73628"/>
                    <a:pt x="49149" y="77724"/>
                  </a:cubicBezTo>
                  <a:cubicBezTo>
                    <a:pt x="52388" y="81725"/>
                    <a:pt x="56769" y="85249"/>
                    <a:pt x="62294" y="88202"/>
                  </a:cubicBezTo>
                  <a:cubicBezTo>
                    <a:pt x="67818" y="91154"/>
                    <a:pt x="74104" y="93821"/>
                    <a:pt x="81248" y="96203"/>
                  </a:cubicBezTo>
                  <a:cubicBezTo>
                    <a:pt x="88392" y="98584"/>
                    <a:pt x="95821" y="100965"/>
                    <a:pt x="103537" y="103346"/>
                  </a:cubicBezTo>
                  <a:cubicBezTo>
                    <a:pt x="112490" y="106013"/>
                    <a:pt x="121349" y="108966"/>
                    <a:pt x="130112" y="112300"/>
                  </a:cubicBezTo>
                  <a:cubicBezTo>
                    <a:pt x="138875" y="115538"/>
                    <a:pt x="146875" y="119729"/>
                    <a:pt x="154019" y="124778"/>
                  </a:cubicBezTo>
                  <a:cubicBezTo>
                    <a:pt x="161163" y="129826"/>
                    <a:pt x="166878" y="135922"/>
                    <a:pt x="171164" y="143066"/>
                  </a:cubicBezTo>
                  <a:cubicBezTo>
                    <a:pt x="175450" y="150209"/>
                    <a:pt x="177641" y="158972"/>
                    <a:pt x="177641" y="169450"/>
                  </a:cubicBezTo>
                  <a:lnTo>
                    <a:pt x="177641" y="170307"/>
                  </a:lnTo>
                  <a:cubicBezTo>
                    <a:pt x="177641" y="181356"/>
                    <a:pt x="175450" y="191071"/>
                    <a:pt x="171164" y="199549"/>
                  </a:cubicBezTo>
                  <a:cubicBezTo>
                    <a:pt x="166878" y="208026"/>
                    <a:pt x="161068" y="215265"/>
                    <a:pt x="153734" y="221171"/>
                  </a:cubicBezTo>
                  <a:cubicBezTo>
                    <a:pt x="146495" y="227171"/>
                    <a:pt x="137827" y="231648"/>
                    <a:pt x="127825" y="234791"/>
                  </a:cubicBezTo>
                  <a:cubicBezTo>
                    <a:pt x="117824" y="237935"/>
                    <a:pt x="107061" y="239459"/>
                    <a:pt x="95441" y="239459"/>
                  </a:cubicBezTo>
                  <a:close/>
                </a:path>
              </a:pathLst>
            </a:custGeom>
            <a:solidFill>
              <a:srgbClr val="44505E"/>
            </a:solidFill>
            <a:ln w="9525" cap="flat">
              <a:noFill/>
              <a:prstDash val="solid"/>
              <a:miter/>
            </a:ln>
          </p:spPr>
          <p:txBody>
            <a:bodyPr rtlCol="0" anchor="ctr"/>
            <a:lstStyle/>
            <a:p>
              <a:endParaRPr lang="pt-BR" noProof="0"/>
            </a:p>
          </p:txBody>
        </p:sp>
        <p:sp>
          <p:nvSpPr>
            <p:cNvPr id="28" name="Freeform: Shape 40">
              <a:extLst>
                <a:ext uri="{FF2B5EF4-FFF2-40B4-BE49-F238E27FC236}">
                  <a16:creationId xmlns:a16="http://schemas.microsoft.com/office/drawing/2014/main" id="{5D86E755-818F-C656-E75E-8CAA1D0A90F0}"/>
                </a:ext>
              </a:extLst>
            </p:cNvPr>
            <p:cNvSpPr/>
            <p:nvPr/>
          </p:nvSpPr>
          <p:spPr>
            <a:xfrm>
              <a:off x="5752668" y="924028"/>
              <a:ext cx="58567" cy="77196"/>
            </a:xfrm>
            <a:custGeom>
              <a:avLst/>
              <a:gdLst>
                <a:gd name="connsiteX0" fmla="*/ 198596 w 232981"/>
                <a:gd name="connsiteY0" fmla="*/ 189357 h 307085"/>
                <a:gd name="connsiteX1" fmla="*/ 182785 w 232981"/>
                <a:gd name="connsiteY1" fmla="*/ 208978 h 307085"/>
                <a:gd name="connsiteX2" fmla="*/ 163354 w 232981"/>
                <a:gd name="connsiteY2" fmla="*/ 225552 h 307085"/>
                <a:gd name="connsiteX3" fmla="*/ 139446 w 232981"/>
                <a:gd name="connsiteY3" fmla="*/ 236696 h 307085"/>
                <a:gd name="connsiteX4" fmla="*/ 110204 w 232981"/>
                <a:gd name="connsiteY4" fmla="*/ 240697 h 307085"/>
                <a:gd name="connsiteX5" fmla="*/ 69628 w 232981"/>
                <a:gd name="connsiteY5" fmla="*/ 232696 h 307085"/>
                <a:gd name="connsiteX6" fmla="*/ 34385 w 232981"/>
                <a:gd name="connsiteY6" fmla="*/ 209264 h 307085"/>
                <a:gd name="connsiteX7" fmla="*/ 9335 w 232981"/>
                <a:gd name="connsiteY7" fmla="*/ 171736 h 307085"/>
                <a:gd name="connsiteX8" fmla="*/ 0 w 232981"/>
                <a:gd name="connsiteY8" fmla="*/ 121063 h 307085"/>
                <a:gd name="connsiteX9" fmla="*/ 0 w 232981"/>
                <a:gd name="connsiteY9" fmla="*/ 120205 h 307085"/>
                <a:gd name="connsiteX10" fmla="*/ 9335 w 232981"/>
                <a:gd name="connsiteY10" fmla="*/ 69723 h 307085"/>
                <a:gd name="connsiteX11" fmla="*/ 34385 w 232981"/>
                <a:gd name="connsiteY11" fmla="*/ 32004 h 307085"/>
                <a:gd name="connsiteX12" fmla="*/ 69628 w 232981"/>
                <a:gd name="connsiteY12" fmla="*/ 8287 h 307085"/>
                <a:gd name="connsiteX13" fmla="*/ 110204 w 232981"/>
                <a:gd name="connsiteY13" fmla="*/ 0 h 307085"/>
                <a:gd name="connsiteX14" fmla="*/ 139637 w 232981"/>
                <a:gd name="connsiteY14" fmla="*/ 4000 h 307085"/>
                <a:gd name="connsiteX15" fmla="*/ 163735 w 232981"/>
                <a:gd name="connsiteY15" fmla="*/ 14668 h 307085"/>
                <a:gd name="connsiteX16" fmla="*/ 183166 w 232981"/>
                <a:gd name="connsiteY16" fmla="*/ 30289 h 307085"/>
                <a:gd name="connsiteX17" fmla="*/ 198596 w 232981"/>
                <a:gd name="connsiteY17" fmla="*/ 49054 h 307085"/>
                <a:gd name="connsiteX18" fmla="*/ 198596 w 232981"/>
                <a:gd name="connsiteY18" fmla="*/ 4858 h 307085"/>
                <a:gd name="connsiteX19" fmla="*/ 232982 w 232981"/>
                <a:gd name="connsiteY19" fmla="*/ 4858 h 307085"/>
                <a:gd name="connsiteX20" fmla="*/ 232982 w 232981"/>
                <a:gd name="connsiteY20" fmla="*/ 307086 h 307085"/>
                <a:gd name="connsiteX21" fmla="*/ 198596 w 232981"/>
                <a:gd name="connsiteY21" fmla="*/ 307086 h 307085"/>
                <a:gd name="connsiteX22" fmla="*/ 198596 w 232981"/>
                <a:gd name="connsiteY22" fmla="*/ 189262 h 307085"/>
                <a:gd name="connsiteX23" fmla="*/ 116491 w 232981"/>
                <a:gd name="connsiteY23" fmla="*/ 209931 h 307085"/>
                <a:gd name="connsiteX24" fmla="*/ 147542 w 232981"/>
                <a:gd name="connsiteY24" fmla="*/ 203454 h 307085"/>
                <a:gd name="connsiteX25" fmla="*/ 174308 w 232981"/>
                <a:gd name="connsiteY25" fmla="*/ 185166 h 307085"/>
                <a:gd name="connsiteX26" fmla="*/ 193072 w 232981"/>
                <a:gd name="connsiteY26" fmla="*/ 157067 h 307085"/>
                <a:gd name="connsiteX27" fmla="*/ 200025 w 232981"/>
                <a:gd name="connsiteY27" fmla="*/ 120682 h 307085"/>
                <a:gd name="connsiteX28" fmla="*/ 200025 w 232981"/>
                <a:gd name="connsiteY28" fmla="*/ 119824 h 307085"/>
                <a:gd name="connsiteX29" fmla="*/ 193072 w 232981"/>
                <a:gd name="connsiteY29" fmla="*/ 83439 h 307085"/>
                <a:gd name="connsiteX30" fmla="*/ 174308 w 232981"/>
                <a:gd name="connsiteY30" fmla="*/ 55531 h 307085"/>
                <a:gd name="connsiteX31" fmla="*/ 147542 w 232981"/>
                <a:gd name="connsiteY31" fmla="*/ 37433 h 307085"/>
                <a:gd name="connsiteX32" fmla="*/ 116491 w 232981"/>
                <a:gd name="connsiteY32" fmla="*/ 30956 h 307085"/>
                <a:gd name="connsiteX33" fmla="*/ 84773 w 232981"/>
                <a:gd name="connsiteY33" fmla="*/ 36957 h 307085"/>
                <a:gd name="connsiteX34" fmla="*/ 59150 w 232981"/>
                <a:gd name="connsiteY34" fmla="*/ 54388 h 307085"/>
                <a:gd name="connsiteX35" fmla="*/ 41720 w 232981"/>
                <a:gd name="connsiteY35" fmla="*/ 82296 h 307085"/>
                <a:gd name="connsiteX36" fmla="*/ 35242 w 232981"/>
                <a:gd name="connsiteY36" fmla="*/ 119824 h 307085"/>
                <a:gd name="connsiteX37" fmla="*/ 35242 w 232981"/>
                <a:gd name="connsiteY37" fmla="*/ 120682 h 307085"/>
                <a:gd name="connsiteX38" fmla="*/ 41720 w 232981"/>
                <a:gd name="connsiteY38" fmla="*/ 157734 h 307085"/>
                <a:gd name="connsiteX39" fmla="*/ 59341 w 232981"/>
                <a:gd name="connsiteY39" fmla="*/ 185833 h 307085"/>
                <a:gd name="connsiteX40" fmla="*/ 85249 w 232981"/>
                <a:gd name="connsiteY40" fmla="*/ 203740 h 307085"/>
                <a:gd name="connsiteX41" fmla="*/ 116491 w 232981"/>
                <a:gd name="connsiteY41" fmla="*/ 210026 h 30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07085">
                  <a:moveTo>
                    <a:pt x="198596" y="189357"/>
                  </a:moveTo>
                  <a:cubicBezTo>
                    <a:pt x="193834" y="196215"/>
                    <a:pt x="188595" y="202787"/>
                    <a:pt x="182785" y="208978"/>
                  </a:cubicBezTo>
                  <a:cubicBezTo>
                    <a:pt x="176975" y="215265"/>
                    <a:pt x="170498" y="220789"/>
                    <a:pt x="163354" y="225552"/>
                  </a:cubicBezTo>
                  <a:cubicBezTo>
                    <a:pt x="156210" y="230314"/>
                    <a:pt x="148209" y="234029"/>
                    <a:pt x="139446" y="236696"/>
                  </a:cubicBezTo>
                  <a:cubicBezTo>
                    <a:pt x="130683" y="239363"/>
                    <a:pt x="120967" y="240697"/>
                    <a:pt x="110204" y="240697"/>
                  </a:cubicBezTo>
                  <a:cubicBezTo>
                    <a:pt x="96203" y="240697"/>
                    <a:pt x="82677" y="238030"/>
                    <a:pt x="69628" y="232696"/>
                  </a:cubicBezTo>
                  <a:cubicBezTo>
                    <a:pt x="56579" y="227362"/>
                    <a:pt x="44767" y="219551"/>
                    <a:pt x="34385" y="209264"/>
                  </a:cubicBezTo>
                  <a:cubicBezTo>
                    <a:pt x="24003" y="198977"/>
                    <a:pt x="15621" y="186499"/>
                    <a:pt x="9335" y="171736"/>
                  </a:cubicBezTo>
                  <a:cubicBezTo>
                    <a:pt x="3048" y="156972"/>
                    <a:pt x="0" y="140113"/>
                    <a:pt x="0" y="121063"/>
                  </a:cubicBezTo>
                  <a:lnTo>
                    <a:pt x="0" y="120205"/>
                  </a:lnTo>
                  <a:cubicBezTo>
                    <a:pt x="0" y="101441"/>
                    <a:pt x="3143" y="84677"/>
                    <a:pt x="9335" y="69723"/>
                  </a:cubicBezTo>
                  <a:cubicBezTo>
                    <a:pt x="15621" y="54864"/>
                    <a:pt x="23908" y="42291"/>
                    <a:pt x="34385" y="32004"/>
                  </a:cubicBezTo>
                  <a:cubicBezTo>
                    <a:pt x="44767" y="21717"/>
                    <a:pt x="56579" y="13811"/>
                    <a:pt x="69628" y="8287"/>
                  </a:cubicBezTo>
                  <a:cubicBezTo>
                    <a:pt x="82677" y="2762"/>
                    <a:pt x="96298" y="0"/>
                    <a:pt x="110204" y="0"/>
                  </a:cubicBezTo>
                  <a:cubicBezTo>
                    <a:pt x="120967" y="0"/>
                    <a:pt x="130778" y="1333"/>
                    <a:pt x="139637" y="4000"/>
                  </a:cubicBezTo>
                  <a:cubicBezTo>
                    <a:pt x="148590" y="6667"/>
                    <a:pt x="156591" y="10287"/>
                    <a:pt x="163735" y="14668"/>
                  </a:cubicBezTo>
                  <a:cubicBezTo>
                    <a:pt x="170879" y="19145"/>
                    <a:pt x="177356" y="24384"/>
                    <a:pt x="183166" y="30289"/>
                  </a:cubicBezTo>
                  <a:cubicBezTo>
                    <a:pt x="188976" y="36290"/>
                    <a:pt x="194120" y="42481"/>
                    <a:pt x="198596" y="49054"/>
                  </a:cubicBezTo>
                  <a:lnTo>
                    <a:pt x="198596" y="4858"/>
                  </a:lnTo>
                  <a:lnTo>
                    <a:pt x="232982" y="4858"/>
                  </a:lnTo>
                  <a:lnTo>
                    <a:pt x="232982" y="307086"/>
                  </a:lnTo>
                  <a:lnTo>
                    <a:pt x="198596" y="307086"/>
                  </a:lnTo>
                  <a:lnTo>
                    <a:pt x="198596" y="189262"/>
                  </a:lnTo>
                  <a:close/>
                  <a:moveTo>
                    <a:pt x="116491" y="209931"/>
                  </a:moveTo>
                  <a:cubicBezTo>
                    <a:pt x="127159" y="209931"/>
                    <a:pt x="137541" y="207740"/>
                    <a:pt x="147542" y="203454"/>
                  </a:cubicBezTo>
                  <a:cubicBezTo>
                    <a:pt x="157544" y="199168"/>
                    <a:pt x="166402" y="193072"/>
                    <a:pt x="174308" y="185166"/>
                  </a:cubicBezTo>
                  <a:cubicBezTo>
                    <a:pt x="182213" y="177260"/>
                    <a:pt x="188404" y="167926"/>
                    <a:pt x="193072" y="157067"/>
                  </a:cubicBezTo>
                  <a:cubicBezTo>
                    <a:pt x="197739" y="146209"/>
                    <a:pt x="200025" y="134112"/>
                    <a:pt x="200025" y="120682"/>
                  </a:cubicBezTo>
                  <a:lnTo>
                    <a:pt x="200025" y="119824"/>
                  </a:lnTo>
                  <a:cubicBezTo>
                    <a:pt x="200025" y="106394"/>
                    <a:pt x="197739" y="94297"/>
                    <a:pt x="193072" y="83439"/>
                  </a:cubicBezTo>
                  <a:cubicBezTo>
                    <a:pt x="188500" y="72580"/>
                    <a:pt x="182213" y="63246"/>
                    <a:pt x="174308" y="55531"/>
                  </a:cubicBezTo>
                  <a:cubicBezTo>
                    <a:pt x="166402" y="47815"/>
                    <a:pt x="157544" y="41815"/>
                    <a:pt x="147542" y="37433"/>
                  </a:cubicBezTo>
                  <a:cubicBezTo>
                    <a:pt x="137541" y="33147"/>
                    <a:pt x="127254" y="30956"/>
                    <a:pt x="116491" y="30956"/>
                  </a:cubicBezTo>
                  <a:cubicBezTo>
                    <a:pt x="105156" y="30956"/>
                    <a:pt x="94583" y="32956"/>
                    <a:pt x="84773" y="36957"/>
                  </a:cubicBezTo>
                  <a:cubicBezTo>
                    <a:pt x="74962" y="40957"/>
                    <a:pt x="66389" y="46767"/>
                    <a:pt x="59150" y="54388"/>
                  </a:cubicBezTo>
                  <a:cubicBezTo>
                    <a:pt x="51816" y="61913"/>
                    <a:pt x="46101" y="71247"/>
                    <a:pt x="41720" y="82296"/>
                  </a:cubicBezTo>
                  <a:cubicBezTo>
                    <a:pt x="37433" y="93250"/>
                    <a:pt x="35242" y="105823"/>
                    <a:pt x="35242" y="119824"/>
                  </a:cubicBezTo>
                  <a:lnTo>
                    <a:pt x="35242" y="120682"/>
                  </a:lnTo>
                  <a:cubicBezTo>
                    <a:pt x="35242" y="134398"/>
                    <a:pt x="37433" y="146780"/>
                    <a:pt x="41720" y="157734"/>
                  </a:cubicBezTo>
                  <a:cubicBezTo>
                    <a:pt x="46006" y="168783"/>
                    <a:pt x="51911" y="178117"/>
                    <a:pt x="59341" y="185833"/>
                  </a:cubicBezTo>
                  <a:cubicBezTo>
                    <a:pt x="66770" y="193548"/>
                    <a:pt x="75438" y="199549"/>
                    <a:pt x="85249" y="203740"/>
                  </a:cubicBezTo>
                  <a:cubicBezTo>
                    <a:pt x="95060" y="207931"/>
                    <a:pt x="105442" y="210026"/>
                    <a:pt x="116491" y="210026"/>
                  </a:cubicBezTo>
                  <a:close/>
                </a:path>
              </a:pathLst>
            </a:custGeom>
            <a:solidFill>
              <a:srgbClr val="44505E"/>
            </a:solidFill>
            <a:ln w="9525" cap="flat">
              <a:noFill/>
              <a:prstDash val="solid"/>
              <a:miter/>
            </a:ln>
          </p:spPr>
          <p:txBody>
            <a:bodyPr rtlCol="0" anchor="ctr"/>
            <a:lstStyle/>
            <a:p>
              <a:endParaRPr lang="pt-BR" noProof="0"/>
            </a:p>
          </p:txBody>
        </p:sp>
        <p:sp>
          <p:nvSpPr>
            <p:cNvPr id="29" name="Freeform: Shape 41">
              <a:extLst>
                <a:ext uri="{FF2B5EF4-FFF2-40B4-BE49-F238E27FC236}">
                  <a16:creationId xmlns:a16="http://schemas.microsoft.com/office/drawing/2014/main" id="{165CD8EA-1080-C122-3DD7-2F15495026E4}"/>
                </a:ext>
              </a:extLst>
            </p:cNvPr>
            <p:cNvSpPr/>
            <p:nvPr/>
          </p:nvSpPr>
          <p:spPr>
            <a:xfrm>
              <a:off x="5829624" y="925297"/>
              <a:ext cx="50618" cy="59238"/>
            </a:xfrm>
            <a:custGeom>
              <a:avLst/>
              <a:gdLst>
                <a:gd name="connsiteX0" fmla="*/ 88392 w 201358"/>
                <a:gd name="connsiteY0" fmla="*/ 235648 h 235648"/>
                <a:gd name="connsiteX1" fmla="*/ 51149 w 201358"/>
                <a:gd name="connsiteY1" fmla="*/ 228981 h 235648"/>
                <a:gd name="connsiteX2" fmla="*/ 23432 w 201358"/>
                <a:gd name="connsiteY2" fmla="*/ 210026 h 235648"/>
                <a:gd name="connsiteX3" fmla="*/ 6001 w 201358"/>
                <a:gd name="connsiteY3" fmla="*/ 180784 h 235648"/>
                <a:gd name="connsiteX4" fmla="*/ 0 w 201358"/>
                <a:gd name="connsiteY4" fmla="*/ 143256 h 235648"/>
                <a:gd name="connsiteX5" fmla="*/ 0 w 201358"/>
                <a:gd name="connsiteY5" fmla="*/ 0 h 235648"/>
                <a:gd name="connsiteX6" fmla="*/ 34385 w 201358"/>
                <a:gd name="connsiteY6" fmla="*/ 0 h 235648"/>
                <a:gd name="connsiteX7" fmla="*/ 34385 w 201358"/>
                <a:gd name="connsiteY7" fmla="*/ 134493 h 235648"/>
                <a:gd name="connsiteX8" fmla="*/ 50959 w 201358"/>
                <a:gd name="connsiteY8" fmla="*/ 185261 h 235648"/>
                <a:gd name="connsiteX9" fmla="*/ 98298 w 201358"/>
                <a:gd name="connsiteY9" fmla="*/ 203930 h 235648"/>
                <a:gd name="connsiteX10" fmla="*/ 125730 w 201358"/>
                <a:gd name="connsiteY10" fmla="*/ 198787 h 235648"/>
                <a:gd name="connsiteX11" fmla="*/ 147638 w 201358"/>
                <a:gd name="connsiteY11" fmla="*/ 184118 h 235648"/>
                <a:gd name="connsiteX12" fmla="*/ 162116 w 201358"/>
                <a:gd name="connsiteY12" fmla="*/ 161163 h 235648"/>
                <a:gd name="connsiteX13" fmla="*/ 167450 w 201358"/>
                <a:gd name="connsiteY13" fmla="*/ 131826 h 235648"/>
                <a:gd name="connsiteX14" fmla="*/ 167450 w 201358"/>
                <a:gd name="connsiteY14" fmla="*/ 0 h 235648"/>
                <a:gd name="connsiteX15" fmla="*/ 201359 w 201358"/>
                <a:gd name="connsiteY15" fmla="*/ 0 h 235648"/>
                <a:gd name="connsiteX16" fmla="*/ 201359 w 201358"/>
                <a:gd name="connsiteY16" fmla="*/ 230791 h 235648"/>
                <a:gd name="connsiteX17" fmla="*/ 167450 w 201358"/>
                <a:gd name="connsiteY17" fmla="*/ 230791 h 235648"/>
                <a:gd name="connsiteX18" fmla="*/ 167450 w 201358"/>
                <a:gd name="connsiteY18" fmla="*/ 190595 h 235648"/>
                <a:gd name="connsiteX19" fmla="*/ 137065 w 201358"/>
                <a:gd name="connsiteY19" fmla="*/ 222504 h 235648"/>
                <a:gd name="connsiteX20" fmla="*/ 88392 w 201358"/>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358" h="235648">
                  <a:moveTo>
                    <a:pt x="88392" y="235648"/>
                  </a:moveTo>
                  <a:cubicBezTo>
                    <a:pt x="74390" y="235648"/>
                    <a:pt x="62008" y="233363"/>
                    <a:pt x="51149" y="228981"/>
                  </a:cubicBezTo>
                  <a:cubicBezTo>
                    <a:pt x="40291" y="224504"/>
                    <a:pt x="31052" y="218218"/>
                    <a:pt x="23432"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959" y="185261"/>
                  </a:cubicBezTo>
                  <a:cubicBezTo>
                    <a:pt x="61913" y="197739"/>
                    <a:pt x="77724" y="203930"/>
                    <a:pt x="98298" y="203930"/>
                  </a:cubicBezTo>
                  <a:cubicBezTo>
                    <a:pt x="108109" y="203930"/>
                    <a:pt x="117253" y="202216"/>
                    <a:pt x="125730" y="198787"/>
                  </a:cubicBezTo>
                  <a:cubicBezTo>
                    <a:pt x="134207" y="195358"/>
                    <a:pt x="141446" y="190500"/>
                    <a:pt x="147638" y="184118"/>
                  </a:cubicBezTo>
                  <a:cubicBezTo>
                    <a:pt x="153734" y="177736"/>
                    <a:pt x="158591" y="170116"/>
                    <a:pt x="162116" y="161163"/>
                  </a:cubicBezTo>
                  <a:cubicBezTo>
                    <a:pt x="165735" y="152305"/>
                    <a:pt x="167450" y="142494"/>
                    <a:pt x="167450" y="131826"/>
                  </a:cubicBezTo>
                  <a:lnTo>
                    <a:pt x="167450" y="0"/>
                  </a:lnTo>
                  <a:lnTo>
                    <a:pt x="201359" y="0"/>
                  </a:lnTo>
                  <a:lnTo>
                    <a:pt x="201359" y="230791"/>
                  </a:lnTo>
                  <a:lnTo>
                    <a:pt x="167450" y="230791"/>
                  </a:lnTo>
                  <a:lnTo>
                    <a:pt x="167450" y="190595"/>
                  </a:lnTo>
                  <a:cubicBezTo>
                    <a:pt x="159734" y="203073"/>
                    <a:pt x="149543" y="213741"/>
                    <a:pt x="137065" y="222504"/>
                  </a:cubicBezTo>
                  <a:cubicBezTo>
                    <a:pt x="124587" y="231267"/>
                    <a:pt x="108395" y="235648"/>
                    <a:pt x="88392" y="235648"/>
                  </a:cubicBezTo>
                  <a:close/>
                </a:path>
              </a:pathLst>
            </a:custGeom>
            <a:solidFill>
              <a:srgbClr val="44505E"/>
            </a:solidFill>
            <a:ln w="9525" cap="flat">
              <a:noFill/>
              <a:prstDash val="solid"/>
              <a:miter/>
            </a:ln>
          </p:spPr>
          <p:txBody>
            <a:bodyPr rtlCol="0" anchor="ctr"/>
            <a:lstStyle/>
            <a:p>
              <a:endParaRPr lang="pt-BR" noProof="0"/>
            </a:p>
          </p:txBody>
        </p:sp>
        <p:sp>
          <p:nvSpPr>
            <p:cNvPr id="30" name="Freeform: Shape 42">
              <a:extLst>
                <a:ext uri="{FF2B5EF4-FFF2-40B4-BE49-F238E27FC236}">
                  <a16:creationId xmlns:a16="http://schemas.microsoft.com/office/drawing/2014/main" id="{8B5E443A-22B1-832C-3655-72673CA0D35F}"/>
                </a:ext>
              </a:extLst>
            </p:cNvPr>
            <p:cNvSpPr/>
            <p:nvPr/>
          </p:nvSpPr>
          <p:spPr>
            <a:xfrm>
              <a:off x="5896069"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7059 w 218217"/>
                <a:gd name="connsiteY3" fmla="*/ 206026 h 241077"/>
                <a:gd name="connsiteX4" fmla="*/ 116110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7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0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356 w 218217"/>
                <a:gd name="connsiteY25" fmla="*/ 106299 h 241077"/>
                <a:gd name="connsiteX26" fmla="*/ 176689 w 218217"/>
                <a:gd name="connsiteY26" fmla="*/ 76771 h 241077"/>
                <a:gd name="connsiteX27" fmla="*/ 162211 w 218217"/>
                <a:gd name="connsiteY27" fmla="*/ 52101 h 241077"/>
                <a:gd name="connsiteX28" fmla="*/ 139922 w 218217"/>
                <a:gd name="connsiteY28" fmla="*/ 35242 h 241077"/>
                <a:gd name="connsiteX29" fmla="*/ 109823 w 218217"/>
                <a:gd name="connsiteY29" fmla="*/ 29051 h 241077"/>
                <a:gd name="connsiteX30" fmla="*/ 82105 w 218217"/>
                <a:gd name="connsiteY30" fmla="*/ 34766 h 241077"/>
                <a:gd name="connsiteX31" fmla="*/ 59341 w 218217"/>
                <a:gd name="connsiteY31" fmla="*/ 50959 h 241077"/>
                <a:gd name="connsiteX32" fmla="*/ 43053 w 218217"/>
                <a:gd name="connsiteY32" fmla="*/ 75628 h 241077"/>
                <a:gd name="connsiteX33" fmla="*/ 34766 w 218217"/>
                <a:gd name="connsiteY33" fmla="*/ 106204 h 241077"/>
                <a:gd name="connsiteX34" fmla="*/ 183356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819" y="202597"/>
                    <a:pt x="87059" y="206026"/>
                  </a:cubicBezTo>
                  <a:cubicBezTo>
                    <a:pt x="96298" y="209455"/>
                    <a:pt x="105918" y="211169"/>
                    <a:pt x="116110" y="211169"/>
                  </a:cubicBezTo>
                  <a:cubicBezTo>
                    <a:pt x="132207" y="211169"/>
                    <a:pt x="145923" y="208216"/>
                    <a:pt x="157353" y="202216"/>
                  </a:cubicBezTo>
                  <a:cubicBezTo>
                    <a:pt x="168783" y="196310"/>
                    <a:pt x="179261" y="188404"/>
                    <a:pt x="188786" y="178594"/>
                  </a:cubicBezTo>
                  <a:lnTo>
                    <a:pt x="210217" y="197834"/>
                  </a:lnTo>
                  <a:cubicBezTo>
                    <a:pt x="198596" y="210979"/>
                    <a:pt x="185356" y="221361"/>
                    <a:pt x="170497" y="229267"/>
                  </a:cubicBezTo>
                  <a:cubicBezTo>
                    <a:pt x="155638"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583" y="0"/>
                    <a:pt x="110680"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356" y="106299"/>
                  </a:moveTo>
                  <a:cubicBezTo>
                    <a:pt x="182499" y="95917"/>
                    <a:pt x="180213" y="86106"/>
                    <a:pt x="176689" y="76771"/>
                  </a:cubicBezTo>
                  <a:cubicBezTo>
                    <a:pt x="173069" y="67437"/>
                    <a:pt x="168307" y="59245"/>
                    <a:pt x="162211" y="52101"/>
                  </a:cubicBezTo>
                  <a:cubicBezTo>
                    <a:pt x="156115" y="44958"/>
                    <a:pt x="148685" y="39338"/>
                    <a:pt x="139922" y="35242"/>
                  </a:cubicBezTo>
                  <a:cubicBezTo>
                    <a:pt x="131159" y="31147"/>
                    <a:pt x="121063" y="29051"/>
                    <a:pt x="109823" y="29051"/>
                  </a:cubicBezTo>
                  <a:cubicBezTo>
                    <a:pt x="100013" y="29051"/>
                    <a:pt x="90773" y="30956"/>
                    <a:pt x="82105" y="34766"/>
                  </a:cubicBezTo>
                  <a:cubicBezTo>
                    <a:pt x="73438" y="38671"/>
                    <a:pt x="65913" y="44005"/>
                    <a:pt x="59341" y="50959"/>
                  </a:cubicBezTo>
                  <a:cubicBezTo>
                    <a:pt x="52769" y="57912"/>
                    <a:pt x="47339" y="66103"/>
                    <a:pt x="43053" y="75628"/>
                  </a:cubicBezTo>
                  <a:cubicBezTo>
                    <a:pt x="38767" y="85058"/>
                    <a:pt x="36004" y="95345"/>
                    <a:pt x="34766" y="106204"/>
                  </a:cubicBezTo>
                  <a:lnTo>
                    <a:pt x="183356" y="106204"/>
                  </a:lnTo>
                  <a:close/>
                </a:path>
              </a:pathLst>
            </a:custGeom>
            <a:solidFill>
              <a:srgbClr val="44505E"/>
            </a:solidFill>
            <a:ln w="9525" cap="flat">
              <a:noFill/>
              <a:prstDash val="solid"/>
              <a:miter/>
            </a:ln>
          </p:spPr>
          <p:txBody>
            <a:bodyPr rtlCol="0" anchor="ctr"/>
            <a:lstStyle/>
            <a:p>
              <a:endParaRPr lang="pt-BR" noProof="0"/>
            </a:p>
          </p:txBody>
        </p:sp>
        <p:sp>
          <p:nvSpPr>
            <p:cNvPr id="31" name="Freeform: Shape 43">
              <a:extLst>
                <a:ext uri="{FF2B5EF4-FFF2-40B4-BE49-F238E27FC236}">
                  <a16:creationId xmlns:a16="http://schemas.microsoft.com/office/drawing/2014/main" id="{22E215BB-6E6E-DE3D-E357-0932E9F11901}"/>
                </a:ext>
              </a:extLst>
            </p:cNvPr>
            <p:cNvSpPr/>
            <p:nvPr/>
          </p:nvSpPr>
          <p:spPr>
            <a:xfrm>
              <a:off x="5994910" y="924268"/>
              <a:ext cx="44680" cy="60195"/>
            </a:xfrm>
            <a:custGeom>
              <a:avLst/>
              <a:gdLst>
                <a:gd name="connsiteX0" fmla="*/ 95536 w 177736"/>
                <a:gd name="connsiteY0" fmla="*/ 239268 h 239458"/>
                <a:gd name="connsiteX1" fmla="*/ 45053 w 177736"/>
                <a:gd name="connsiteY1" fmla="*/ 230124 h 239458"/>
                <a:gd name="connsiteX2" fmla="*/ 0 w 177736"/>
                <a:gd name="connsiteY2" fmla="*/ 205359 h 239458"/>
                <a:gd name="connsiteX3" fmla="*/ 17431 w 177736"/>
                <a:gd name="connsiteY3" fmla="*/ 180785 h 239458"/>
                <a:gd name="connsiteX4" fmla="*/ 56483 w 177736"/>
                <a:gd name="connsiteY4" fmla="*/ 202692 h 239458"/>
                <a:gd name="connsiteX5" fmla="*/ 97346 w 177736"/>
                <a:gd name="connsiteY5" fmla="*/ 210217 h 239458"/>
                <a:gd name="connsiteX6" fmla="*/ 131731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730 w 177736"/>
                <a:gd name="connsiteY10" fmla="*/ 147066 h 239458"/>
                <a:gd name="connsiteX11" fmla="*/ 109252 w 177736"/>
                <a:gd name="connsiteY11" fmla="*/ 138779 h 239458"/>
                <a:gd name="connsiteX12" fmla="*/ 87630 w 177736"/>
                <a:gd name="connsiteY12" fmla="*/ 132112 h 239458"/>
                <a:gd name="connsiteX13" fmla="*/ 60674 w 177736"/>
                <a:gd name="connsiteY13" fmla="*/ 123444 h 239458"/>
                <a:gd name="connsiteX14" fmla="*/ 36100 w 177736"/>
                <a:gd name="connsiteY14" fmla="*/ 111633 h 239458"/>
                <a:gd name="connsiteX15" fmla="*/ 18193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60 w 177736"/>
                <a:gd name="connsiteY22" fmla="*/ 6953 h 239458"/>
                <a:gd name="connsiteX23" fmla="*/ 172879 w 177736"/>
                <a:gd name="connsiteY23" fmla="*/ 25527 h 239458"/>
                <a:gd name="connsiteX24" fmla="*/ 157258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4 w 177736"/>
                <a:gd name="connsiteY32" fmla="*/ 96203 h 239458"/>
                <a:gd name="connsiteX33" fmla="*/ 103632 w 177736"/>
                <a:gd name="connsiteY33" fmla="*/ 103346 h 239458"/>
                <a:gd name="connsiteX34" fmla="*/ 130207 w 177736"/>
                <a:gd name="connsiteY34" fmla="*/ 112300 h 239458"/>
                <a:gd name="connsiteX35" fmla="*/ 154114 w 177736"/>
                <a:gd name="connsiteY35" fmla="*/ 124778 h 239458"/>
                <a:gd name="connsiteX36" fmla="*/ 171260 w 177736"/>
                <a:gd name="connsiteY36" fmla="*/ 143066 h 239458"/>
                <a:gd name="connsiteX37" fmla="*/ 177737 w 177736"/>
                <a:gd name="connsiteY37" fmla="*/ 169450 h 239458"/>
                <a:gd name="connsiteX38" fmla="*/ 177737 w 177736"/>
                <a:gd name="connsiteY38" fmla="*/ 170307 h 239458"/>
                <a:gd name="connsiteX39" fmla="*/ 171260 w 177736"/>
                <a:gd name="connsiteY39" fmla="*/ 199549 h 239458"/>
                <a:gd name="connsiteX40" fmla="*/ 153829 w 177736"/>
                <a:gd name="connsiteY40" fmla="*/ 221171 h 239458"/>
                <a:gd name="connsiteX41" fmla="*/ 127921 w 177736"/>
                <a:gd name="connsiteY41" fmla="*/ 234791 h 239458"/>
                <a:gd name="connsiteX42" fmla="*/ 95536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6" y="239268"/>
                  </a:moveTo>
                  <a:cubicBezTo>
                    <a:pt x="78867" y="239268"/>
                    <a:pt x="62008" y="236220"/>
                    <a:pt x="45053" y="230124"/>
                  </a:cubicBezTo>
                  <a:cubicBezTo>
                    <a:pt x="28099" y="224028"/>
                    <a:pt x="13049" y="215741"/>
                    <a:pt x="0" y="205359"/>
                  </a:cubicBezTo>
                  <a:lnTo>
                    <a:pt x="17431" y="180785"/>
                  </a:lnTo>
                  <a:cubicBezTo>
                    <a:pt x="29909"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637" y="162211"/>
                    <a:pt x="140494" y="158020"/>
                  </a:cubicBezTo>
                  <a:cubicBezTo>
                    <a:pt x="137351" y="153829"/>
                    <a:pt x="133160" y="150209"/>
                    <a:pt x="127730" y="147066"/>
                  </a:cubicBezTo>
                  <a:cubicBezTo>
                    <a:pt x="122396" y="143923"/>
                    <a:pt x="116205" y="141161"/>
                    <a:pt x="109252" y="138779"/>
                  </a:cubicBezTo>
                  <a:cubicBezTo>
                    <a:pt x="102299" y="136398"/>
                    <a:pt x="95060" y="134207"/>
                    <a:pt x="87630" y="132112"/>
                  </a:cubicBezTo>
                  <a:cubicBezTo>
                    <a:pt x="78677" y="129445"/>
                    <a:pt x="69723" y="126492"/>
                    <a:pt x="60674" y="123444"/>
                  </a:cubicBezTo>
                  <a:cubicBezTo>
                    <a:pt x="51626" y="120301"/>
                    <a:pt x="43434" y="116396"/>
                    <a:pt x="36100" y="111633"/>
                  </a:cubicBezTo>
                  <a:cubicBezTo>
                    <a:pt x="28766" y="106871"/>
                    <a:pt x="22860" y="100870"/>
                    <a:pt x="18193" y="93726"/>
                  </a:cubicBezTo>
                  <a:cubicBezTo>
                    <a:pt x="13621" y="86582"/>
                    <a:pt x="11239" y="77629"/>
                    <a:pt x="11239" y="66961"/>
                  </a:cubicBezTo>
                  <a:lnTo>
                    <a:pt x="11239" y="66008"/>
                  </a:lnTo>
                  <a:cubicBezTo>
                    <a:pt x="11239" y="56198"/>
                    <a:pt x="13145" y="47149"/>
                    <a:pt x="17050" y="39053"/>
                  </a:cubicBezTo>
                  <a:cubicBezTo>
                    <a:pt x="20860" y="30861"/>
                    <a:pt x="26289" y="23908"/>
                    <a:pt x="33338" y="18098"/>
                  </a:cubicBezTo>
                  <a:cubicBezTo>
                    <a:pt x="40291" y="12287"/>
                    <a:pt x="48673" y="7811"/>
                    <a:pt x="58388" y="4667"/>
                  </a:cubicBezTo>
                  <a:cubicBezTo>
                    <a:pt x="68009" y="1524"/>
                    <a:pt x="78581" y="0"/>
                    <a:pt x="89821" y="0"/>
                  </a:cubicBezTo>
                  <a:cubicBezTo>
                    <a:pt x="104108" y="0"/>
                    <a:pt x="118491" y="2286"/>
                    <a:pt x="133160" y="6953"/>
                  </a:cubicBezTo>
                  <a:cubicBezTo>
                    <a:pt x="147733" y="11621"/>
                    <a:pt x="160972" y="17717"/>
                    <a:pt x="172879" y="25527"/>
                  </a:cubicBezTo>
                  <a:lnTo>
                    <a:pt x="157258" y="51435"/>
                  </a:lnTo>
                  <a:cubicBezTo>
                    <a:pt x="146495" y="44577"/>
                    <a:pt x="135350" y="39148"/>
                    <a:pt x="123539" y="35147"/>
                  </a:cubicBezTo>
                  <a:cubicBezTo>
                    <a:pt x="111824" y="31147"/>
                    <a:pt x="100298" y="29146"/>
                    <a:pt x="88963" y="29146"/>
                  </a:cubicBezTo>
                  <a:cubicBezTo>
                    <a:pt x="75247" y="29146"/>
                    <a:pt x="64389" y="32385"/>
                    <a:pt x="56388" y="38767"/>
                  </a:cubicBezTo>
                  <a:cubicBezTo>
                    <a:pt x="48387" y="45149"/>
                    <a:pt x="44291" y="53150"/>
                    <a:pt x="44291" y="62675"/>
                  </a:cubicBezTo>
                  <a:lnTo>
                    <a:pt x="44291" y="63627"/>
                  </a:lnTo>
                  <a:cubicBezTo>
                    <a:pt x="44291" y="68961"/>
                    <a:pt x="45911" y="73628"/>
                    <a:pt x="49244" y="77724"/>
                  </a:cubicBezTo>
                  <a:cubicBezTo>
                    <a:pt x="52483" y="81725"/>
                    <a:pt x="56960" y="85249"/>
                    <a:pt x="62389" y="88202"/>
                  </a:cubicBezTo>
                  <a:cubicBezTo>
                    <a:pt x="67913" y="91154"/>
                    <a:pt x="74200" y="93821"/>
                    <a:pt x="81344" y="96203"/>
                  </a:cubicBezTo>
                  <a:cubicBezTo>
                    <a:pt x="88487" y="98584"/>
                    <a:pt x="95917" y="100965"/>
                    <a:pt x="103632" y="103346"/>
                  </a:cubicBezTo>
                  <a:cubicBezTo>
                    <a:pt x="112586" y="106013"/>
                    <a:pt x="121444" y="108966"/>
                    <a:pt x="130207" y="112300"/>
                  </a:cubicBezTo>
                  <a:cubicBezTo>
                    <a:pt x="138970" y="115538"/>
                    <a:pt x="146971" y="119729"/>
                    <a:pt x="154114" y="124778"/>
                  </a:cubicBezTo>
                  <a:cubicBezTo>
                    <a:pt x="161258" y="129826"/>
                    <a:pt x="166973" y="135922"/>
                    <a:pt x="171260" y="143066"/>
                  </a:cubicBezTo>
                  <a:cubicBezTo>
                    <a:pt x="175546" y="150209"/>
                    <a:pt x="177737" y="158972"/>
                    <a:pt x="177737" y="169450"/>
                  </a:cubicBezTo>
                  <a:lnTo>
                    <a:pt x="177737" y="170307"/>
                  </a:lnTo>
                  <a:cubicBezTo>
                    <a:pt x="177737" y="181356"/>
                    <a:pt x="175546" y="191071"/>
                    <a:pt x="171260" y="199549"/>
                  </a:cubicBezTo>
                  <a:cubicBezTo>
                    <a:pt x="166973" y="208026"/>
                    <a:pt x="161163" y="215265"/>
                    <a:pt x="153829" y="221171"/>
                  </a:cubicBezTo>
                  <a:cubicBezTo>
                    <a:pt x="146495" y="227171"/>
                    <a:pt x="137922" y="231648"/>
                    <a:pt x="127921" y="234791"/>
                  </a:cubicBezTo>
                  <a:cubicBezTo>
                    <a:pt x="117920" y="237935"/>
                    <a:pt x="107156" y="239459"/>
                    <a:pt x="95536" y="239459"/>
                  </a:cubicBezTo>
                  <a:close/>
                </a:path>
              </a:pathLst>
            </a:custGeom>
            <a:solidFill>
              <a:srgbClr val="44505E"/>
            </a:solidFill>
            <a:ln w="9525" cap="flat">
              <a:noFill/>
              <a:prstDash val="solid"/>
              <a:miter/>
            </a:ln>
          </p:spPr>
          <p:txBody>
            <a:bodyPr rtlCol="0" anchor="ctr"/>
            <a:lstStyle/>
            <a:p>
              <a:endParaRPr lang="pt-BR" noProof="0"/>
            </a:p>
          </p:txBody>
        </p:sp>
        <p:sp>
          <p:nvSpPr>
            <p:cNvPr id="32" name="Freeform: Shape 44">
              <a:extLst>
                <a:ext uri="{FF2B5EF4-FFF2-40B4-BE49-F238E27FC236}">
                  <a16:creationId xmlns:a16="http://schemas.microsoft.com/office/drawing/2014/main" id="{98BCAFA7-DC7F-D82A-B11D-9B97880EFB9B}"/>
                </a:ext>
              </a:extLst>
            </p:cNvPr>
            <p:cNvSpPr/>
            <p:nvPr/>
          </p:nvSpPr>
          <p:spPr>
            <a:xfrm>
              <a:off x="605122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4 w 202977"/>
                <a:gd name="connsiteY30" fmla="*/ 174593 h 239267"/>
                <a:gd name="connsiteX31" fmla="*/ 169735 w 202977"/>
                <a:gd name="connsiteY31" fmla="*/ 149447 h 239267"/>
                <a:gd name="connsiteX32" fmla="*/ 169735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0" y="90964"/>
                    <a:pt x="98584" y="90964"/>
                  </a:cubicBezTo>
                  <a:cubicBezTo>
                    <a:pt x="113157" y="90964"/>
                    <a:pt x="126301"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1" y="33147"/>
                    <a:pt x="63436" y="36100"/>
                  </a:cubicBezTo>
                  <a:cubicBezTo>
                    <a:pt x="52292" y="39053"/>
                    <a:pt x="41338" y="43053"/>
                    <a:pt x="30671" y="48196"/>
                  </a:cubicBezTo>
                  <a:lnTo>
                    <a:pt x="20383" y="19907"/>
                  </a:lnTo>
                  <a:cubicBezTo>
                    <a:pt x="33147" y="13906"/>
                    <a:pt x="46101" y="9049"/>
                    <a:pt x="59246" y="5429"/>
                  </a:cubicBezTo>
                  <a:cubicBezTo>
                    <a:pt x="72295"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1" y="239173"/>
                  </a:cubicBezTo>
                  <a:close/>
                  <a:moveTo>
                    <a:pt x="93154" y="211169"/>
                  </a:moveTo>
                  <a:cubicBezTo>
                    <a:pt x="103822" y="211169"/>
                    <a:pt x="113728" y="209740"/>
                    <a:pt x="122967" y="206788"/>
                  </a:cubicBezTo>
                  <a:cubicBezTo>
                    <a:pt x="132207" y="203835"/>
                    <a:pt x="140208" y="199644"/>
                    <a:pt x="147256" y="194120"/>
                  </a:cubicBezTo>
                  <a:cubicBezTo>
                    <a:pt x="154209" y="188595"/>
                    <a:pt x="159734" y="182118"/>
                    <a:pt x="163734" y="174593"/>
                  </a:cubicBezTo>
                  <a:cubicBezTo>
                    <a:pt x="167735" y="167068"/>
                    <a:pt x="169735" y="158687"/>
                    <a:pt x="169735" y="149447"/>
                  </a:cubicBezTo>
                  <a:lnTo>
                    <a:pt x="169735" y="128111"/>
                  </a:lnTo>
                  <a:cubicBezTo>
                    <a:pt x="161163" y="125730"/>
                    <a:pt x="151352" y="123539"/>
                    <a:pt x="140398" y="121444"/>
                  </a:cubicBezTo>
                  <a:cubicBezTo>
                    <a:pt x="129445" y="119348"/>
                    <a:pt x="116872"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33" name="Freeform: Shape 45">
              <a:extLst>
                <a:ext uri="{FF2B5EF4-FFF2-40B4-BE49-F238E27FC236}">
                  <a16:creationId xmlns:a16="http://schemas.microsoft.com/office/drawing/2014/main" id="{77E8B893-8437-EB03-AC95-42DF682F004B}"/>
                </a:ext>
              </a:extLst>
            </p:cNvPr>
            <p:cNvSpPr/>
            <p:nvPr/>
          </p:nvSpPr>
          <p:spPr>
            <a:xfrm>
              <a:off x="6121359" y="901377"/>
              <a:ext cx="8644" cy="81913"/>
            </a:xfrm>
            <a:custGeom>
              <a:avLst/>
              <a:gdLst>
                <a:gd name="connsiteX0" fmla="*/ 0 w 34385"/>
                <a:gd name="connsiteY0" fmla="*/ 0 h 325850"/>
                <a:gd name="connsiteX1" fmla="*/ 34385 w 34385"/>
                <a:gd name="connsiteY1" fmla="*/ 0 h 325850"/>
                <a:gd name="connsiteX2" fmla="*/ 34385 w 34385"/>
                <a:gd name="connsiteY2" fmla="*/ 325850 h 325850"/>
                <a:gd name="connsiteX3" fmla="*/ 0 w 34385"/>
                <a:gd name="connsiteY3" fmla="*/ 325850 h 325850"/>
                <a:gd name="connsiteX4" fmla="*/ 0 w 34385"/>
                <a:gd name="connsiteY4" fmla="*/ 0 h 32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 h="325850">
                  <a:moveTo>
                    <a:pt x="0" y="0"/>
                  </a:moveTo>
                  <a:lnTo>
                    <a:pt x="34385" y="0"/>
                  </a:lnTo>
                  <a:lnTo>
                    <a:pt x="34385" y="325850"/>
                  </a:lnTo>
                  <a:lnTo>
                    <a:pt x="0" y="325850"/>
                  </a:lnTo>
                  <a:lnTo>
                    <a:pt x="0" y="0"/>
                  </a:lnTo>
                  <a:close/>
                </a:path>
              </a:pathLst>
            </a:custGeom>
            <a:solidFill>
              <a:srgbClr val="44505E"/>
            </a:solidFill>
            <a:ln w="9525" cap="flat">
              <a:noFill/>
              <a:prstDash val="solid"/>
              <a:miter/>
            </a:ln>
          </p:spPr>
          <p:txBody>
            <a:bodyPr rtlCol="0" anchor="ctr"/>
            <a:lstStyle/>
            <a:p>
              <a:endParaRPr lang="pt-BR" noProof="0"/>
            </a:p>
          </p:txBody>
        </p:sp>
        <p:sp>
          <p:nvSpPr>
            <p:cNvPr id="34" name="Freeform: Shape 46">
              <a:extLst>
                <a:ext uri="{FF2B5EF4-FFF2-40B4-BE49-F238E27FC236}">
                  <a16:creationId xmlns:a16="http://schemas.microsoft.com/office/drawing/2014/main" id="{33F72411-ED7B-4751-72A7-10561364E623}"/>
                </a:ext>
              </a:extLst>
            </p:cNvPr>
            <p:cNvSpPr/>
            <p:nvPr/>
          </p:nvSpPr>
          <p:spPr>
            <a:xfrm>
              <a:off x="6144346" y="925273"/>
              <a:ext cx="58016" cy="58448"/>
            </a:xfrm>
            <a:custGeom>
              <a:avLst/>
              <a:gdLst>
                <a:gd name="connsiteX0" fmla="*/ 95 w 230790"/>
                <a:gd name="connsiteY0" fmla="*/ 0 h 232505"/>
                <a:gd name="connsiteX1" fmla="*/ 38005 w 230790"/>
                <a:gd name="connsiteY1" fmla="*/ 0 h 232505"/>
                <a:gd name="connsiteX2" fmla="*/ 115634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4"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35" name="Freeform: Shape 47">
              <a:extLst>
                <a:ext uri="{FF2B5EF4-FFF2-40B4-BE49-F238E27FC236}">
                  <a16:creationId xmlns:a16="http://schemas.microsoft.com/office/drawing/2014/main" id="{F8963A91-52B7-35E0-5B13-D918536536AA}"/>
                </a:ext>
              </a:extLst>
            </p:cNvPr>
            <p:cNvSpPr/>
            <p:nvPr/>
          </p:nvSpPr>
          <p:spPr>
            <a:xfrm>
              <a:off x="621155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8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338 w 202977"/>
                <a:gd name="connsiteY36" fmla="*/ 164497 h 239267"/>
                <a:gd name="connsiteX37" fmla="*/ 35338 w 202977"/>
                <a:gd name="connsiteY37" fmla="*/ 165449 h 239267"/>
                <a:gd name="connsiteX38" fmla="*/ 40005 w 202977"/>
                <a:gd name="connsiteY38" fmla="*/ 184785 h 239267"/>
                <a:gd name="connsiteX39" fmla="*/ 52673 w 202977"/>
                <a:gd name="connsiteY39" fmla="*/ 199263 h 239267"/>
                <a:gd name="connsiteX40" fmla="*/ 71152 w 202977"/>
                <a:gd name="connsiteY40" fmla="*/ 208121 h 239267"/>
                <a:gd name="connsiteX41" fmla="*/ 93154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438" y="239268"/>
                    <a:pt x="64961"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1" y="90964"/>
                    <a:pt x="98584" y="90964"/>
                  </a:cubicBezTo>
                  <a:cubicBezTo>
                    <a:pt x="113157" y="90964"/>
                    <a:pt x="126302" y="91821"/>
                    <a:pt x="137160" y="93631"/>
                  </a:cubicBezTo>
                  <a:cubicBezTo>
                    <a:pt x="148019" y="95440"/>
                    <a:pt x="158687" y="97822"/>
                    <a:pt x="169069" y="100774"/>
                  </a:cubicBezTo>
                  <a:lnTo>
                    <a:pt x="169069" y="93726"/>
                  </a:lnTo>
                  <a:cubicBezTo>
                    <a:pt x="169069" y="73342"/>
                    <a:pt x="163068" y="57912"/>
                    <a:pt x="151162" y="47339"/>
                  </a:cubicBezTo>
                  <a:cubicBezTo>
                    <a:pt x="139255" y="36862"/>
                    <a:pt x="122491" y="31623"/>
                    <a:pt x="100679" y="31623"/>
                  </a:cubicBezTo>
                  <a:cubicBezTo>
                    <a:pt x="86963" y="31623"/>
                    <a:pt x="74581" y="33147"/>
                    <a:pt x="63437" y="36100"/>
                  </a:cubicBezTo>
                  <a:cubicBezTo>
                    <a:pt x="52292" y="39053"/>
                    <a:pt x="41338" y="43053"/>
                    <a:pt x="30671" y="48196"/>
                  </a:cubicBezTo>
                  <a:lnTo>
                    <a:pt x="20383" y="19907"/>
                  </a:lnTo>
                  <a:cubicBezTo>
                    <a:pt x="33147" y="13906"/>
                    <a:pt x="46101" y="9049"/>
                    <a:pt x="59246" y="5429"/>
                  </a:cubicBezTo>
                  <a:cubicBezTo>
                    <a:pt x="72390"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04" y="239173"/>
                    <a:pt x="86011" y="239173"/>
                  </a:cubicBezTo>
                  <a:close/>
                  <a:moveTo>
                    <a:pt x="93154" y="211169"/>
                  </a:moveTo>
                  <a:cubicBezTo>
                    <a:pt x="103822" y="211169"/>
                    <a:pt x="113824" y="209740"/>
                    <a:pt x="122968" y="206788"/>
                  </a:cubicBezTo>
                  <a:cubicBezTo>
                    <a:pt x="132112"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5" y="119348"/>
                    <a:pt x="116777" y="118300"/>
                    <a:pt x="102584" y="118300"/>
                  </a:cubicBezTo>
                  <a:cubicBezTo>
                    <a:pt x="81248" y="118300"/>
                    <a:pt x="64675" y="122491"/>
                    <a:pt x="52959" y="130969"/>
                  </a:cubicBezTo>
                  <a:cubicBezTo>
                    <a:pt x="41243" y="139446"/>
                    <a:pt x="35338" y="150590"/>
                    <a:pt x="35338" y="164497"/>
                  </a:cubicBezTo>
                  <a:lnTo>
                    <a:pt x="35338" y="165449"/>
                  </a:lnTo>
                  <a:cubicBezTo>
                    <a:pt x="35338" y="172498"/>
                    <a:pt x="36862" y="178975"/>
                    <a:pt x="40005" y="184785"/>
                  </a:cubicBezTo>
                  <a:cubicBezTo>
                    <a:pt x="43148" y="190500"/>
                    <a:pt x="47339" y="195358"/>
                    <a:pt x="52673" y="199263"/>
                  </a:cubicBezTo>
                  <a:cubicBezTo>
                    <a:pt x="58007" y="203073"/>
                    <a:pt x="64198" y="206026"/>
                    <a:pt x="71152" y="208121"/>
                  </a:cubicBezTo>
                  <a:cubicBezTo>
                    <a:pt x="78105" y="210217"/>
                    <a:pt x="85439" y="211169"/>
                    <a:pt x="93154" y="211169"/>
                  </a:cubicBezTo>
                  <a:close/>
                </a:path>
              </a:pathLst>
            </a:custGeom>
            <a:solidFill>
              <a:srgbClr val="44505E"/>
            </a:solidFill>
            <a:ln w="9525" cap="flat">
              <a:noFill/>
              <a:prstDash val="solid"/>
              <a:miter/>
            </a:ln>
          </p:spPr>
          <p:txBody>
            <a:bodyPr rtlCol="0" anchor="ctr"/>
            <a:lstStyle/>
            <a:p>
              <a:endParaRPr lang="pt-BR" noProof="0"/>
            </a:p>
          </p:txBody>
        </p:sp>
        <p:sp>
          <p:nvSpPr>
            <p:cNvPr id="36" name="Freeform: Shape 48">
              <a:extLst>
                <a:ext uri="{FF2B5EF4-FFF2-40B4-BE49-F238E27FC236}">
                  <a16:creationId xmlns:a16="http://schemas.microsoft.com/office/drawing/2014/main" id="{C1260769-B9B5-5A2E-A288-8A4AAA4FEAC9}"/>
                </a:ext>
              </a:extLst>
            </p:cNvPr>
            <p:cNvSpPr/>
            <p:nvPr/>
          </p:nvSpPr>
          <p:spPr>
            <a:xfrm>
              <a:off x="6280899" y="923980"/>
              <a:ext cx="87995" cy="59238"/>
            </a:xfrm>
            <a:custGeom>
              <a:avLst/>
              <a:gdLst>
                <a:gd name="connsiteX0" fmla="*/ 0 w 350043"/>
                <a:gd name="connsiteY0" fmla="*/ 5144 h 235648"/>
                <a:gd name="connsiteX1" fmla="*/ 34385 w 350043"/>
                <a:gd name="connsiteY1" fmla="*/ 5144 h 235648"/>
                <a:gd name="connsiteX2" fmla="*/ 34385 w 350043"/>
                <a:gd name="connsiteY2" fmla="*/ 44005 h 235648"/>
                <a:gd name="connsiteX3" fmla="*/ 47149 w 350043"/>
                <a:gd name="connsiteY3" fmla="*/ 27432 h 235648"/>
                <a:gd name="connsiteX4" fmla="*/ 62960 w 350043"/>
                <a:gd name="connsiteY4" fmla="*/ 13335 h 235648"/>
                <a:gd name="connsiteX5" fmla="*/ 83058 w 350043"/>
                <a:gd name="connsiteY5" fmla="*/ 3715 h 235648"/>
                <a:gd name="connsiteX6" fmla="*/ 108966 w 350043"/>
                <a:gd name="connsiteY6" fmla="*/ 95 h 235648"/>
                <a:gd name="connsiteX7" fmla="*/ 155448 w 350043"/>
                <a:gd name="connsiteY7" fmla="*/ 13240 h 235648"/>
                <a:gd name="connsiteX8" fmla="*/ 183166 w 350043"/>
                <a:gd name="connsiteY8" fmla="*/ 46006 h 235648"/>
                <a:gd name="connsiteX9" fmla="*/ 197168 w 350043"/>
                <a:gd name="connsiteY9" fmla="*/ 28194 h 235648"/>
                <a:gd name="connsiteX10" fmla="*/ 214789 w 350043"/>
                <a:gd name="connsiteY10" fmla="*/ 13430 h 235648"/>
                <a:gd name="connsiteX11" fmla="*/ 236887 w 350043"/>
                <a:gd name="connsiteY11" fmla="*/ 3620 h 235648"/>
                <a:gd name="connsiteX12" fmla="*/ 264319 w 350043"/>
                <a:gd name="connsiteY12" fmla="*/ 0 h 235648"/>
                <a:gd name="connsiteX13" fmla="*/ 327279 w 350043"/>
                <a:gd name="connsiteY13" fmla="*/ 24765 h 235648"/>
                <a:gd name="connsiteX14" fmla="*/ 350044 w 350043"/>
                <a:gd name="connsiteY14" fmla="*/ 92773 h 235648"/>
                <a:gd name="connsiteX15" fmla="*/ 350044 w 350043"/>
                <a:gd name="connsiteY15" fmla="*/ 235648 h 235648"/>
                <a:gd name="connsiteX16" fmla="*/ 315659 w 350043"/>
                <a:gd name="connsiteY16" fmla="*/ 235648 h 235648"/>
                <a:gd name="connsiteX17" fmla="*/ 315659 w 350043"/>
                <a:gd name="connsiteY17" fmla="*/ 101155 h 235648"/>
                <a:gd name="connsiteX18" fmla="*/ 299847 w 350043"/>
                <a:gd name="connsiteY18" fmla="*/ 49721 h 235648"/>
                <a:gd name="connsiteX19" fmla="*/ 255937 w 350043"/>
                <a:gd name="connsiteY19" fmla="*/ 31718 h 235648"/>
                <a:gd name="connsiteX20" fmla="*/ 231362 w 350043"/>
                <a:gd name="connsiteY20" fmla="*/ 36386 h 235648"/>
                <a:gd name="connsiteX21" fmla="*/ 211074 w 350043"/>
                <a:gd name="connsiteY21" fmla="*/ 50197 h 235648"/>
                <a:gd name="connsiteX22" fmla="*/ 197263 w 350043"/>
                <a:gd name="connsiteY22" fmla="*/ 72676 h 235648"/>
                <a:gd name="connsiteX23" fmla="*/ 192119 w 350043"/>
                <a:gd name="connsiteY23" fmla="*/ 102965 h 235648"/>
                <a:gd name="connsiteX24" fmla="*/ 192119 w 350043"/>
                <a:gd name="connsiteY24" fmla="*/ 235648 h 235648"/>
                <a:gd name="connsiteX25" fmla="*/ 158210 w 350043"/>
                <a:gd name="connsiteY25" fmla="*/ 235648 h 235648"/>
                <a:gd name="connsiteX26" fmla="*/ 158210 w 350043"/>
                <a:gd name="connsiteY26" fmla="*/ 100298 h 235648"/>
                <a:gd name="connsiteX27" fmla="*/ 142399 w 350043"/>
                <a:gd name="connsiteY27" fmla="*/ 49721 h 235648"/>
                <a:gd name="connsiteX28" fmla="*/ 98870 w 350043"/>
                <a:gd name="connsiteY28" fmla="*/ 31718 h 235648"/>
                <a:gd name="connsiteX29" fmla="*/ 73438 w 350043"/>
                <a:gd name="connsiteY29" fmla="*/ 37052 h 235648"/>
                <a:gd name="connsiteX30" fmla="*/ 53150 w 350043"/>
                <a:gd name="connsiteY30" fmla="*/ 52197 h 235648"/>
                <a:gd name="connsiteX31" fmla="*/ 39529 w 350043"/>
                <a:gd name="connsiteY31" fmla="*/ 75152 h 235648"/>
                <a:gd name="connsiteX32" fmla="*/ 34576 w 350043"/>
                <a:gd name="connsiteY32" fmla="*/ 104299 h 235648"/>
                <a:gd name="connsiteX33" fmla="*/ 34576 w 350043"/>
                <a:gd name="connsiteY33" fmla="*/ 235648 h 235648"/>
                <a:gd name="connsiteX34" fmla="*/ 190 w 350043"/>
                <a:gd name="connsiteY34" fmla="*/ 235648 h 235648"/>
                <a:gd name="connsiteX35" fmla="*/ 190 w 350043"/>
                <a:gd name="connsiteY35" fmla="*/ 485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0043" h="235648">
                  <a:moveTo>
                    <a:pt x="0" y="5144"/>
                  </a:moveTo>
                  <a:lnTo>
                    <a:pt x="34385" y="5144"/>
                  </a:lnTo>
                  <a:lnTo>
                    <a:pt x="34385" y="44005"/>
                  </a:lnTo>
                  <a:cubicBezTo>
                    <a:pt x="38290" y="38386"/>
                    <a:pt x="42481" y="32861"/>
                    <a:pt x="47149" y="27432"/>
                  </a:cubicBezTo>
                  <a:cubicBezTo>
                    <a:pt x="51721" y="22098"/>
                    <a:pt x="57055" y="17431"/>
                    <a:pt x="62960" y="13335"/>
                  </a:cubicBezTo>
                  <a:cubicBezTo>
                    <a:pt x="68866" y="9335"/>
                    <a:pt x="75629" y="6096"/>
                    <a:pt x="83058" y="3715"/>
                  </a:cubicBezTo>
                  <a:cubicBezTo>
                    <a:pt x="90488" y="1334"/>
                    <a:pt x="99155" y="95"/>
                    <a:pt x="108966" y="95"/>
                  </a:cubicBezTo>
                  <a:cubicBezTo>
                    <a:pt x="127730" y="95"/>
                    <a:pt x="143161" y="4477"/>
                    <a:pt x="155448" y="13240"/>
                  </a:cubicBezTo>
                  <a:cubicBezTo>
                    <a:pt x="167640" y="22003"/>
                    <a:pt x="176879" y="32956"/>
                    <a:pt x="183166" y="46006"/>
                  </a:cubicBezTo>
                  <a:cubicBezTo>
                    <a:pt x="187357" y="39719"/>
                    <a:pt x="192024" y="33814"/>
                    <a:pt x="197168" y="28194"/>
                  </a:cubicBezTo>
                  <a:cubicBezTo>
                    <a:pt x="202406" y="22574"/>
                    <a:pt x="208217" y="17621"/>
                    <a:pt x="214789" y="13430"/>
                  </a:cubicBezTo>
                  <a:cubicBezTo>
                    <a:pt x="221361" y="9239"/>
                    <a:pt x="228695" y="6001"/>
                    <a:pt x="236887" y="3620"/>
                  </a:cubicBezTo>
                  <a:cubicBezTo>
                    <a:pt x="245078" y="1238"/>
                    <a:pt x="254222" y="0"/>
                    <a:pt x="264319" y="0"/>
                  </a:cubicBezTo>
                  <a:cubicBezTo>
                    <a:pt x="291084" y="0"/>
                    <a:pt x="312039" y="8287"/>
                    <a:pt x="327279" y="24765"/>
                  </a:cubicBezTo>
                  <a:cubicBezTo>
                    <a:pt x="342519" y="41243"/>
                    <a:pt x="350044" y="63913"/>
                    <a:pt x="350044" y="92773"/>
                  </a:cubicBezTo>
                  <a:lnTo>
                    <a:pt x="350044" y="235648"/>
                  </a:lnTo>
                  <a:lnTo>
                    <a:pt x="315659" y="235648"/>
                  </a:lnTo>
                  <a:lnTo>
                    <a:pt x="315659" y="101155"/>
                  </a:lnTo>
                  <a:cubicBezTo>
                    <a:pt x="315659" y="78867"/>
                    <a:pt x="310420" y="61722"/>
                    <a:pt x="299847" y="49721"/>
                  </a:cubicBezTo>
                  <a:cubicBezTo>
                    <a:pt x="289274" y="37719"/>
                    <a:pt x="274606" y="31718"/>
                    <a:pt x="255937" y="31718"/>
                  </a:cubicBezTo>
                  <a:cubicBezTo>
                    <a:pt x="247269" y="31718"/>
                    <a:pt x="239078" y="33242"/>
                    <a:pt x="231362" y="36386"/>
                  </a:cubicBezTo>
                  <a:cubicBezTo>
                    <a:pt x="223647" y="39529"/>
                    <a:pt x="216884" y="44101"/>
                    <a:pt x="211074" y="50197"/>
                  </a:cubicBezTo>
                  <a:cubicBezTo>
                    <a:pt x="205264" y="56293"/>
                    <a:pt x="200692" y="63818"/>
                    <a:pt x="197263" y="72676"/>
                  </a:cubicBezTo>
                  <a:cubicBezTo>
                    <a:pt x="193834" y="81629"/>
                    <a:pt x="192119" y="91726"/>
                    <a:pt x="192119" y="102965"/>
                  </a:cubicBezTo>
                  <a:lnTo>
                    <a:pt x="192119" y="235648"/>
                  </a:lnTo>
                  <a:lnTo>
                    <a:pt x="158210" y="235648"/>
                  </a:lnTo>
                  <a:lnTo>
                    <a:pt x="158210" y="100298"/>
                  </a:lnTo>
                  <a:cubicBezTo>
                    <a:pt x="158210" y="78677"/>
                    <a:pt x="152971" y="61817"/>
                    <a:pt x="142399" y="49721"/>
                  </a:cubicBezTo>
                  <a:cubicBezTo>
                    <a:pt x="131826" y="37719"/>
                    <a:pt x="117348" y="31718"/>
                    <a:pt x="98870" y="31718"/>
                  </a:cubicBezTo>
                  <a:cubicBezTo>
                    <a:pt x="89630" y="31718"/>
                    <a:pt x="81153" y="33528"/>
                    <a:pt x="73438" y="37052"/>
                  </a:cubicBezTo>
                  <a:cubicBezTo>
                    <a:pt x="65722" y="40672"/>
                    <a:pt x="58960" y="45720"/>
                    <a:pt x="53150" y="52197"/>
                  </a:cubicBezTo>
                  <a:cubicBezTo>
                    <a:pt x="47339" y="58769"/>
                    <a:pt x="42767" y="66389"/>
                    <a:pt x="39529" y="75152"/>
                  </a:cubicBezTo>
                  <a:cubicBezTo>
                    <a:pt x="36290" y="83915"/>
                    <a:pt x="34576" y="93631"/>
                    <a:pt x="34576" y="104299"/>
                  </a:cubicBezTo>
                  <a:lnTo>
                    <a:pt x="34576" y="235648"/>
                  </a:lnTo>
                  <a:lnTo>
                    <a:pt x="190" y="235648"/>
                  </a:lnTo>
                  <a:lnTo>
                    <a:pt x="190" y="4858"/>
                  </a:lnTo>
                  <a:close/>
                </a:path>
              </a:pathLst>
            </a:custGeom>
            <a:solidFill>
              <a:srgbClr val="44505E"/>
            </a:solidFill>
            <a:ln w="9525" cap="flat">
              <a:noFill/>
              <a:prstDash val="solid"/>
              <a:miter/>
            </a:ln>
          </p:spPr>
          <p:txBody>
            <a:bodyPr rtlCol="0" anchor="ctr"/>
            <a:lstStyle/>
            <a:p>
              <a:endParaRPr lang="pt-BR" noProof="0"/>
            </a:p>
          </p:txBody>
        </p:sp>
        <p:sp>
          <p:nvSpPr>
            <p:cNvPr id="37" name="Freeform: Shape 49">
              <a:extLst>
                <a:ext uri="{FF2B5EF4-FFF2-40B4-BE49-F238E27FC236}">
                  <a16:creationId xmlns:a16="http://schemas.microsoft.com/office/drawing/2014/main" id="{256595C1-0BCC-EF6E-5F32-07AD9FACB541}"/>
                </a:ext>
              </a:extLst>
            </p:cNvPr>
            <p:cNvSpPr/>
            <p:nvPr/>
          </p:nvSpPr>
          <p:spPr>
            <a:xfrm>
              <a:off x="6415537" y="925273"/>
              <a:ext cx="58016" cy="58448"/>
            </a:xfrm>
            <a:custGeom>
              <a:avLst/>
              <a:gdLst>
                <a:gd name="connsiteX0" fmla="*/ 95 w 230790"/>
                <a:gd name="connsiteY0" fmla="*/ 0 h 232505"/>
                <a:gd name="connsiteX1" fmla="*/ 38005 w 230790"/>
                <a:gd name="connsiteY1" fmla="*/ 0 h 232505"/>
                <a:gd name="connsiteX2" fmla="*/ 115633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3"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38" name="Freeform: Shape 50">
              <a:extLst>
                <a:ext uri="{FF2B5EF4-FFF2-40B4-BE49-F238E27FC236}">
                  <a16:creationId xmlns:a16="http://schemas.microsoft.com/office/drawing/2014/main" id="{90B0A109-D228-D49E-C4AE-1FEE866FE92A}"/>
                </a:ext>
              </a:extLst>
            </p:cNvPr>
            <p:cNvSpPr/>
            <p:nvPr/>
          </p:nvSpPr>
          <p:spPr>
            <a:xfrm>
              <a:off x="6487369"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286 w 39242"/>
                <a:gd name="connsiteY5" fmla="*/ 88392 h 319182"/>
                <a:gd name="connsiteX6" fmla="*/ 36671 w 39242"/>
                <a:gd name="connsiteY6" fmla="*/ 88392 h 319182"/>
                <a:gd name="connsiteX7" fmla="*/ 36671 w 39242"/>
                <a:gd name="connsiteY7" fmla="*/ 319183 h 319182"/>
                <a:gd name="connsiteX8" fmla="*/ 2286 w 39242"/>
                <a:gd name="connsiteY8" fmla="*/ 319183 h 319182"/>
                <a:gd name="connsiteX9" fmla="*/ 2286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286" y="88392"/>
                  </a:moveTo>
                  <a:lnTo>
                    <a:pt x="36671" y="88392"/>
                  </a:lnTo>
                  <a:lnTo>
                    <a:pt x="36671" y="319183"/>
                  </a:lnTo>
                  <a:lnTo>
                    <a:pt x="2286" y="319183"/>
                  </a:lnTo>
                  <a:lnTo>
                    <a:pt x="2286" y="88392"/>
                  </a:lnTo>
                  <a:close/>
                </a:path>
              </a:pathLst>
            </a:custGeom>
            <a:solidFill>
              <a:srgbClr val="44505E"/>
            </a:solidFill>
            <a:ln w="9525" cap="flat">
              <a:noFill/>
              <a:prstDash val="solid"/>
              <a:miter/>
            </a:ln>
          </p:spPr>
          <p:txBody>
            <a:bodyPr rtlCol="0" anchor="ctr"/>
            <a:lstStyle/>
            <a:p>
              <a:endParaRPr lang="pt-BR" noProof="0"/>
            </a:p>
          </p:txBody>
        </p:sp>
        <p:sp>
          <p:nvSpPr>
            <p:cNvPr id="39" name="Freeform: Shape 51">
              <a:extLst>
                <a:ext uri="{FF2B5EF4-FFF2-40B4-BE49-F238E27FC236}">
                  <a16:creationId xmlns:a16="http://schemas.microsoft.com/office/drawing/2014/main" id="{4D1D2F6D-AB17-B265-500C-0C580D4A29C6}"/>
                </a:ext>
              </a:extLst>
            </p:cNvPr>
            <p:cNvSpPr/>
            <p:nvPr/>
          </p:nvSpPr>
          <p:spPr>
            <a:xfrm>
              <a:off x="6513253" y="901353"/>
              <a:ext cx="58615" cy="83182"/>
            </a:xfrm>
            <a:custGeom>
              <a:avLst/>
              <a:gdLst>
                <a:gd name="connsiteX0" fmla="*/ 110394 w 233171"/>
                <a:gd name="connsiteY0" fmla="*/ 330898 h 330898"/>
                <a:gd name="connsiteX1" fmla="*/ 69723 w 233171"/>
                <a:gd name="connsiteY1" fmla="*/ 322897 h 330898"/>
                <a:gd name="connsiteX2" fmla="*/ 34480 w 233171"/>
                <a:gd name="connsiteY2" fmla="*/ 299466 h 330898"/>
                <a:gd name="connsiteX3" fmla="*/ 9430 w 233171"/>
                <a:gd name="connsiteY3" fmla="*/ 261938 h 330898"/>
                <a:gd name="connsiteX4" fmla="*/ 0 w 233171"/>
                <a:gd name="connsiteY4" fmla="*/ 211264 h 330898"/>
                <a:gd name="connsiteX5" fmla="*/ 0 w 233171"/>
                <a:gd name="connsiteY5" fmla="*/ 210407 h 330898"/>
                <a:gd name="connsiteX6" fmla="*/ 9430 w 233171"/>
                <a:gd name="connsiteY6" fmla="*/ 159925 h 330898"/>
                <a:gd name="connsiteX7" fmla="*/ 34480 w 233171"/>
                <a:gd name="connsiteY7" fmla="*/ 122206 h 330898"/>
                <a:gd name="connsiteX8" fmla="*/ 69723 w 233171"/>
                <a:gd name="connsiteY8" fmla="*/ 98488 h 330898"/>
                <a:gd name="connsiteX9" fmla="*/ 110394 w 233171"/>
                <a:gd name="connsiteY9" fmla="*/ 90202 h 330898"/>
                <a:gd name="connsiteX10" fmla="*/ 139827 w 233171"/>
                <a:gd name="connsiteY10" fmla="*/ 94202 h 330898"/>
                <a:gd name="connsiteX11" fmla="*/ 163925 w 233171"/>
                <a:gd name="connsiteY11" fmla="*/ 104870 h 330898"/>
                <a:gd name="connsiteX12" fmla="*/ 183356 w 233171"/>
                <a:gd name="connsiteY12" fmla="*/ 120491 h 330898"/>
                <a:gd name="connsiteX13" fmla="*/ 198787 w 233171"/>
                <a:gd name="connsiteY13" fmla="*/ 139255 h 330898"/>
                <a:gd name="connsiteX14" fmla="*/ 198787 w 233171"/>
                <a:gd name="connsiteY14" fmla="*/ 0 h 330898"/>
                <a:gd name="connsiteX15" fmla="*/ 233172 w 233171"/>
                <a:gd name="connsiteY15" fmla="*/ 0 h 330898"/>
                <a:gd name="connsiteX16" fmla="*/ 233172 w 233171"/>
                <a:gd name="connsiteY16" fmla="*/ 325850 h 330898"/>
                <a:gd name="connsiteX17" fmla="*/ 198787 w 233171"/>
                <a:gd name="connsiteY17" fmla="*/ 325850 h 330898"/>
                <a:gd name="connsiteX18" fmla="*/ 198787 w 233171"/>
                <a:gd name="connsiteY18" fmla="*/ 279463 h 330898"/>
                <a:gd name="connsiteX19" fmla="*/ 182975 w 233171"/>
                <a:gd name="connsiteY19" fmla="*/ 299085 h 330898"/>
                <a:gd name="connsiteX20" fmla="*/ 163544 w 233171"/>
                <a:gd name="connsiteY20" fmla="*/ 315658 h 330898"/>
                <a:gd name="connsiteX21" fmla="*/ 139636 w 233171"/>
                <a:gd name="connsiteY21" fmla="*/ 326803 h 330898"/>
                <a:gd name="connsiteX22" fmla="*/ 110394 w 233171"/>
                <a:gd name="connsiteY22" fmla="*/ 330803 h 330898"/>
                <a:gd name="connsiteX23" fmla="*/ 116681 w 233171"/>
                <a:gd name="connsiteY23" fmla="*/ 300133 h 330898"/>
                <a:gd name="connsiteX24" fmla="*/ 147733 w 233171"/>
                <a:gd name="connsiteY24" fmla="*/ 293656 h 330898"/>
                <a:gd name="connsiteX25" fmla="*/ 174498 w 233171"/>
                <a:gd name="connsiteY25" fmla="*/ 275368 h 330898"/>
                <a:gd name="connsiteX26" fmla="*/ 193262 w 233171"/>
                <a:gd name="connsiteY26" fmla="*/ 247269 h 330898"/>
                <a:gd name="connsiteX27" fmla="*/ 200216 w 233171"/>
                <a:gd name="connsiteY27" fmla="*/ 210883 h 330898"/>
                <a:gd name="connsiteX28" fmla="*/ 200216 w 233171"/>
                <a:gd name="connsiteY28" fmla="*/ 210026 h 330898"/>
                <a:gd name="connsiteX29" fmla="*/ 193262 w 233171"/>
                <a:gd name="connsiteY29" fmla="*/ 173641 h 330898"/>
                <a:gd name="connsiteX30" fmla="*/ 174498 w 233171"/>
                <a:gd name="connsiteY30" fmla="*/ 145732 h 330898"/>
                <a:gd name="connsiteX31" fmla="*/ 147733 w 233171"/>
                <a:gd name="connsiteY31" fmla="*/ 127635 h 330898"/>
                <a:gd name="connsiteX32" fmla="*/ 116681 w 233171"/>
                <a:gd name="connsiteY32" fmla="*/ 121158 h 330898"/>
                <a:gd name="connsiteX33" fmla="*/ 84963 w 233171"/>
                <a:gd name="connsiteY33" fmla="*/ 127159 h 330898"/>
                <a:gd name="connsiteX34" fmla="*/ 59341 w 233171"/>
                <a:gd name="connsiteY34" fmla="*/ 144589 h 330898"/>
                <a:gd name="connsiteX35" fmla="*/ 41910 w 233171"/>
                <a:gd name="connsiteY35" fmla="*/ 172498 h 330898"/>
                <a:gd name="connsiteX36" fmla="*/ 35433 w 233171"/>
                <a:gd name="connsiteY36" fmla="*/ 210026 h 330898"/>
                <a:gd name="connsiteX37" fmla="*/ 35433 w 233171"/>
                <a:gd name="connsiteY37" fmla="*/ 210883 h 330898"/>
                <a:gd name="connsiteX38" fmla="*/ 41910 w 233171"/>
                <a:gd name="connsiteY38" fmla="*/ 247936 h 330898"/>
                <a:gd name="connsiteX39" fmla="*/ 59531 w 233171"/>
                <a:gd name="connsiteY39" fmla="*/ 276034 h 330898"/>
                <a:gd name="connsiteX40" fmla="*/ 85439 w 233171"/>
                <a:gd name="connsiteY40" fmla="*/ 293941 h 330898"/>
                <a:gd name="connsiteX41" fmla="*/ 116681 w 23317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3171" h="330898">
                  <a:moveTo>
                    <a:pt x="110394" y="330898"/>
                  </a:moveTo>
                  <a:cubicBezTo>
                    <a:pt x="96393" y="330898"/>
                    <a:pt x="82868" y="328231"/>
                    <a:pt x="69723" y="322897"/>
                  </a:cubicBezTo>
                  <a:cubicBezTo>
                    <a:pt x="56674" y="317563"/>
                    <a:pt x="44863" y="309753"/>
                    <a:pt x="34480" y="299466"/>
                  </a:cubicBezTo>
                  <a:cubicBezTo>
                    <a:pt x="24003" y="289179"/>
                    <a:pt x="15716" y="276701"/>
                    <a:pt x="9430" y="261938"/>
                  </a:cubicBezTo>
                  <a:cubicBezTo>
                    <a:pt x="3143" y="247174"/>
                    <a:pt x="0" y="230314"/>
                    <a:pt x="0" y="211264"/>
                  </a:cubicBezTo>
                  <a:lnTo>
                    <a:pt x="0" y="210407"/>
                  </a:lnTo>
                  <a:cubicBezTo>
                    <a:pt x="0" y="191643"/>
                    <a:pt x="3143" y="174879"/>
                    <a:pt x="9430" y="159925"/>
                  </a:cubicBezTo>
                  <a:cubicBezTo>
                    <a:pt x="15716" y="145066"/>
                    <a:pt x="24003" y="132493"/>
                    <a:pt x="34480" y="122206"/>
                  </a:cubicBezTo>
                  <a:cubicBezTo>
                    <a:pt x="44863" y="111919"/>
                    <a:pt x="56674" y="104013"/>
                    <a:pt x="69723" y="98488"/>
                  </a:cubicBezTo>
                  <a:cubicBezTo>
                    <a:pt x="82868" y="92964"/>
                    <a:pt x="96393" y="90202"/>
                    <a:pt x="110394" y="90202"/>
                  </a:cubicBezTo>
                  <a:cubicBezTo>
                    <a:pt x="121158" y="90202"/>
                    <a:pt x="130969" y="91535"/>
                    <a:pt x="139827" y="94202"/>
                  </a:cubicBezTo>
                  <a:cubicBezTo>
                    <a:pt x="148780" y="96869"/>
                    <a:pt x="156782" y="100489"/>
                    <a:pt x="163925" y="104870"/>
                  </a:cubicBezTo>
                  <a:cubicBezTo>
                    <a:pt x="171069" y="109347"/>
                    <a:pt x="177546" y="114586"/>
                    <a:pt x="183356" y="120491"/>
                  </a:cubicBezTo>
                  <a:cubicBezTo>
                    <a:pt x="189166" y="126492"/>
                    <a:pt x="194310" y="132683"/>
                    <a:pt x="198787" y="139255"/>
                  </a:cubicBezTo>
                  <a:lnTo>
                    <a:pt x="198787" y="0"/>
                  </a:lnTo>
                  <a:lnTo>
                    <a:pt x="233172" y="0"/>
                  </a:lnTo>
                  <a:lnTo>
                    <a:pt x="233172" y="325850"/>
                  </a:lnTo>
                  <a:lnTo>
                    <a:pt x="198787" y="325850"/>
                  </a:lnTo>
                  <a:lnTo>
                    <a:pt x="198787" y="279463"/>
                  </a:lnTo>
                  <a:cubicBezTo>
                    <a:pt x="194024" y="286321"/>
                    <a:pt x="188786" y="292894"/>
                    <a:pt x="182975" y="299085"/>
                  </a:cubicBezTo>
                  <a:cubicBezTo>
                    <a:pt x="177165" y="305371"/>
                    <a:pt x="170688" y="310896"/>
                    <a:pt x="163544" y="315658"/>
                  </a:cubicBezTo>
                  <a:cubicBezTo>
                    <a:pt x="156400" y="320421"/>
                    <a:pt x="148494" y="324136"/>
                    <a:pt x="139636" y="326803"/>
                  </a:cubicBezTo>
                  <a:cubicBezTo>
                    <a:pt x="130873" y="329470"/>
                    <a:pt x="121158" y="330803"/>
                    <a:pt x="110394" y="330803"/>
                  </a:cubicBezTo>
                  <a:close/>
                  <a:moveTo>
                    <a:pt x="116681" y="300133"/>
                  </a:moveTo>
                  <a:cubicBezTo>
                    <a:pt x="127445" y="300133"/>
                    <a:pt x="137732" y="297942"/>
                    <a:pt x="147733" y="293656"/>
                  </a:cubicBezTo>
                  <a:cubicBezTo>
                    <a:pt x="157734" y="289369"/>
                    <a:pt x="166592" y="283273"/>
                    <a:pt x="174498" y="275368"/>
                  </a:cubicBezTo>
                  <a:cubicBezTo>
                    <a:pt x="182404" y="267462"/>
                    <a:pt x="188595" y="258127"/>
                    <a:pt x="193262" y="247269"/>
                  </a:cubicBezTo>
                  <a:cubicBezTo>
                    <a:pt x="197834" y="236410"/>
                    <a:pt x="200216" y="224314"/>
                    <a:pt x="200216" y="210883"/>
                  </a:cubicBezTo>
                  <a:lnTo>
                    <a:pt x="200216" y="210026"/>
                  </a:lnTo>
                  <a:cubicBezTo>
                    <a:pt x="200216" y="196596"/>
                    <a:pt x="197929" y="184499"/>
                    <a:pt x="193262" y="173641"/>
                  </a:cubicBezTo>
                  <a:cubicBezTo>
                    <a:pt x="188595" y="162782"/>
                    <a:pt x="182404" y="153448"/>
                    <a:pt x="174498" y="145732"/>
                  </a:cubicBezTo>
                  <a:cubicBezTo>
                    <a:pt x="166592" y="138017"/>
                    <a:pt x="157639" y="132016"/>
                    <a:pt x="147733" y="127635"/>
                  </a:cubicBezTo>
                  <a:cubicBezTo>
                    <a:pt x="137732" y="123349"/>
                    <a:pt x="127445" y="121158"/>
                    <a:pt x="116681" y="121158"/>
                  </a:cubicBezTo>
                  <a:cubicBezTo>
                    <a:pt x="105346" y="121158"/>
                    <a:pt x="94774" y="123158"/>
                    <a:pt x="84963" y="127159"/>
                  </a:cubicBezTo>
                  <a:cubicBezTo>
                    <a:pt x="75152" y="131159"/>
                    <a:pt x="66580" y="136969"/>
                    <a:pt x="59341" y="144589"/>
                  </a:cubicBezTo>
                  <a:cubicBezTo>
                    <a:pt x="52007" y="152114"/>
                    <a:pt x="46291" y="161449"/>
                    <a:pt x="41910" y="172498"/>
                  </a:cubicBezTo>
                  <a:cubicBezTo>
                    <a:pt x="37624" y="183451"/>
                    <a:pt x="35433" y="196024"/>
                    <a:pt x="35433" y="210026"/>
                  </a:cubicBezTo>
                  <a:lnTo>
                    <a:pt x="35433" y="210883"/>
                  </a:lnTo>
                  <a:cubicBezTo>
                    <a:pt x="35433" y="224599"/>
                    <a:pt x="37624" y="236982"/>
                    <a:pt x="41910" y="247936"/>
                  </a:cubicBezTo>
                  <a:cubicBezTo>
                    <a:pt x="46196" y="258984"/>
                    <a:pt x="52101" y="268319"/>
                    <a:pt x="59531" y="276034"/>
                  </a:cubicBezTo>
                  <a:cubicBezTo>
                    <a:pt x="66960" y="283750"/>
                    <a:pt x="75629" y="289750"/>
                    <a:pt x="85439" y="293941"/>
                  </a:cubicBezTo>
                  <a:cubicBezTo>
                    <a:pt x="95250" y="298132"/>
                    <a:pt x="105632" y="300228"/>
                    <a:pt x="116681" y="300228"/>
                  </a:cubicBezTo>
                  <a:close/>
                </a:path>
              </a:pathLst>
            </a:custGeom>
            <a:solidFill>
              <a:srgbClr val="44505E"/>
            </a:solidFill>
            <a:ln w="9525" cap="flat">
              <a:noFill/>
              <a:prstDash val="solid"/>
              <a:miter/>
            </a:ln>
          </p:spPr>
          <p:txBody>
            <a:bodyPr rtlCol="0" anchor="ctr"/>
            <a:lstStyle/>
            <a:p>
              <a:endParaRPr lang="pt-BR" noProof="0"/>
            </a:p>
          </p:txBody>
        </p:sp>
        <p:sp>
          <p:nvSpPr>
            <p:cNvPr id="40" name="Freeform: Shape 52">
              <a:extLst>
                <a:ext uri="{FF2B5EF4-FFF2-40B4-BE49-F238E27FC236}">
                  <a16:creationId xmlns:a16="http://schemas.microsoft.com/office/drawing/2014/main" id="{379929CB-7E3F-1EBB-DB1F-DC74838CB92F}"/>
                </a:ext>
              </a:extLst>
            </p:cNvPr>
            <p:cNvSpPr/>
            <p:nvPr/>
          </p:nvSpPr>
          <p:spPr>
            <a:xfrm>
              <a:off x="6586762"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0 w 202977"/>
                <a:gd name="connsiteY16" fmla="*/ 48196 h 239267"/>
                <a:gd name="connsiteX17" fmla="*/ 20383 w 202977"/>
                <a:gd name="connsiteY17" fmla="*/ 19907 h 239267"/>
                <a:gd name="connsiteX18" fmla="*/ 59245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0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1"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675" y="92678"/>
                    <a:pt x="84011" y="90964"/>
                    <a:pt x="98584" y="90964"/>
                  </a:cubicBezTo>
                  <a:cubicBezTo>
                    <a:pt x="113157" y="90964"/>
                    <a:pt x="126302"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0" y="33147"/>
                    <a:pt x="63436" y="36100"/>
                  </a:cubicBezTo>
                  <a:cubicBezTo>
                    <a:pt x="52292" y="39053"/>
                    <a:pt x="41338" y="43053"/>
                    <a:pt x="30670" y="48196"/>
                  </a:cubicBezTo>
                  <a:lnTo>
                    <a:pt x="20383" y="19907"/>
                  </a:lnTo>
                  <a:cubicBezTo>
                    <a:pt x="33147" y="13906"/>
                    <a:pt x="46101" y="9049"/>
                    <a:pt x="59245" y="5429"/>
                  </a:cubicBezTo>
                  <a:cubicBezTo>
                    <a:pt x="72294" y="1810"/>
                    <a:pt x="87344" y="0"/>
                    <a:pt x="104299" y="0"/>
                  </a:cubicBezTo>
                  <a:cubicBezTo>
                    <a:pt x="137064" y="0"/>
                    <a:pt x="161925" y="8477"/>
                    <a:pt x="178879" y="25432"/>
                  </a:cubicBezTo>
                  <a:cubicBezTo>
                    <a:pt x="194976"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0" y="239173"/>
                  </a:cubicBezTo>
                  <a:close/>
                  <a:moveTo>
                    <a:pt x="93154" y="211169"/>
                  </a:moveTo>
                  <a:cubicBezTo>
                    <a:pt x="103822" y="211169"/>
                    <a:pt x="113729" y="209740"/>
                    <a:pt x="122967" y="206788"/>
                  </a:cubicBezTo>
                  <a:cubicBezTo>
                    <a:pt x="132207"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4" y="119348"/>
                    <a:pt x="116871"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41" name="Freeform: Shape 53">
              <a:extLst>
                <a:ext uri="{FF2B5EF4-FFF2-40B4-BE49-F238E27FC236}">
                  <a16:creationId xmlns:a16="http://schemas.microsoft.com/office/drawing/2014/main" id="{CD280255-1825-B658-67D4-0E68D714C593}"/>
                </a:ext>
              </a:extLst>
            </p:cNvPr>
            <p:cNvSpPr/>
            <p:nvPr/>
          </p:nvSpPr>
          <p:spPr>
            <a:xfrm>
              <a:off x="6651291" y="924268"/>
              <a:ext cx="44680" cy="60195"/>
            </a:xfrm>
            <a:custGeom>
              <a:avLst/>
              <a:gdLst>
                <a:gd name="connsiteX0" fmla="*/ 95535 w 177736"/>
                <a:gd name="connsiteY0" fmla="*/ 239268 h 239458"/>
                <a:gd name="connsiteX1" fmla="*/ 45053 w 177736"/>
                <a:gd name="connsiteY1" fmla="*/ 230124 h 239458"/>
                <a:gd name="connsiteX2" fmla="*/ 0 w 177736"/>
                <a:gd name="connsiteY2" fmla="*/ 205359 h 239458"/>
                <a:gd name="connsiteX3" fmla="*/ 17430 w 177736"/>
                <a:gd name="connsiteY3" fmla="*/ 180785 h 239458"/>
                <a:gd name="connsiteX4" fmla="*/ 56483 w 177736"/>
                <a:gd name="connsiteY4" fmla="*/ 202692 h 239458"/>
                <a:gd name="connsiteX5" fmla="*/ 97345 w 177736"/>
                <a:gd name="connsiteY5" fmla="*/ 210217 h 239458"/>
                <a:gd name="connsiteX6" fmla="*/ 131730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825 w 177736"/>
                <a:gd name="connsiteY10" fmla="*/ 147066 h 239458"/>
                <a:gd name="connsiteX11" fmla="*/ 109251 w 177736"/>
                <a:gd name="connsiteY11" fmla="*/ 138779 h 239458"/>
                <a:gd name="connsiteX12" fmla="*/ 87630 w 177736"/>
                <a:gd name="connsiteY12" fmla="*/ 132112 h 239458"/>
                <a:gd name="connsiteX13" fmla="*/ 60579 w 177736"/>
                <a:gd name="connsiteY13" fmla="*/ 123444 h 239458"/>
                <a:gd name="connsiteX14" fmla="*/ 36004 w 177736"/>
                <a:gd name="connsiteY14" fmla="*/ 111633 h 239458"/>
                <a:gd name="connsiteX15" fmla="*/ 18192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59 w 177736"/>
                <a:gd name="connsiteY22" fmla="*/ 6953 h 239458"/>
                <a:gd name="connsiteX23" fmla="*/ 172878 w 177736"/>
                <a:gd name="connsiteY23" fmla="*/ 25527 h 239458"/>
                <a:gd name="connsiteX24" fmla="*/ 157257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3 w 177736"/>
                <a:gd name="connsiteY32" fmla="*/ 96203 h 239458"/>
                <a:gd name="connsiteX33" fmla="*/ 103631 w 177736"/>
                <a:gd name="connsiteY33" fmla="*/ 103346 h 239458"/>
                <a:gd name="connsiteX34" fmla="*/ 130207 w 177736"/>
                <a:gd name="connsiteY34" fmla="*/ 112300 h 239458"/>
                <a:gd name="connsiteX35" fmla="*/ 154114 w 177736"/>
                <a:gd name="connsiteY35" fmla="*/ 124778 h 239458"/>
                <a:gd name="connsiteX36" fmla="*/ 171259 w 177736"/>
                <a:gd name="connsiteY36" fmla="*/ 143066 h 239458"/>
                <a:gd name="connsiteX37" fmla="*/ 177736 w 177736"/>
                <a:gd name="connsiteY37" fmla="*/ 169450 h 239458"/>
                <a:gd name="connsiteX38" fmla="*/ 177736 w 177736"/>
                <a:gd name="connsiteY38" fmla="*/ 170307 h 239458"/>
                <a:gd name="connsiteX39" fmla="*/ 171259 w 177736"/>
                <a:gd name="connsiteY39" fmla="*/ 199549 h 239458"/>
                <a:gd name="connsiteX40" fmla="*/ 153828 w 177736"/>
                <a:gd name="connsiteY40" fmla="*/ 221171 h 239458"/>
                <a:gd name="connsiteX41" fmla="*/ 127921 w 177736"/>
                <a:gd name="connsiteY41" fmla="*/ 234791 h 239458"/>
                <a:gd name="connsiteX42" fmla="*/ 95535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5" y="239268"/>
                  </a:moveTo>
                  <a:cubicBezTo>
                    <a:pt x="78867" y="239268"/>
                    <a:pt x="62007" y="236220"/>
                    <a:pt x="45053" y="230124"/>
                  </a:cubicBezTo>
                  <a:cubicBezTo>
                    <a:pt x="28098" y="224028"/>
                    <a:pt x="13049" y="215741"/>
                    <a:pt x="0" y="205359"/>
                  </a:cubicBezTo>
                  <a:lnTo>
                    <a:pt x="17430" y="180785"/>
                  </a:lnTo>
                  <a:cubicBezTo>
                    <a:pt x="29908" y="190310"/>
                    <a:pt x="42957" y="197644"/>
                    <a:pt x="56483" y="202692"/>
                  </a:cubicBezTo>
                  <a:cubicBezTo>
                    <a:pt x="70009" y="207740"/>
                    <a:pt x="83629" y="210217"/>
                    <a:pt x="97345" y="210217"/>
                  </a:cubicBezTo>
                  <a:cubicBezTo>
                    <a:pt x="111061" y="210217"/>
                    <a:pt x="122777" y="206978"/>
                    <a:pt x="131730" y="200406"/>
                  </a:cubicBezTo>
                  <a:cubicBezTo>
                    <a:pt x="140684" y="193834"/>
                    <a:pt x="145161" y="184976"/>
                    <a:pt x="145161" y="173641"/>
                  </a:cubicBezTo>
                  <a:lnTo>
                    <a:pt x="145161" y="172784"/>
                  </a:lnTo>
                  <a:cubicBezTo>
                    <a:pt x="145161" y="167164"/>
                    <a:pt x="143541" y="162211"/>
                    <a:pt x="140494" y="158020"/>
                  </a:cubicBezTo>
                  <a:cubicBezTo>
                    <a:pt x="137350" y="153829"/>
                    <a:pt x="133159" y="150209"/>
                    <a:pt x="127825" y="147066"/>
                  </a:cubicBezTo>
                  <a:cubicBezTo>
                    <a:pt x="122491" y="143923"/>
                    <a:pt x="116300" y="141161"/>
                    <a:pt x="109251" y="138779"/>
                  </a:cubicBezTo>
                  <a:cubicBezTo>
                    <a:pt x="102298" y="136398"/>
                    <a:pt x="95059" y="134207"/>
                    <a:pt x="87630" y="132112"/>
                  </a:cubicBezTo>
                  <a:cubicBezTo>
                    <a:pt x="78676" y="129445"/>
                    <a:pt x="69722" y="126492"/>
                    <a:pt x="60579" y="123444"/>
                  </a:cubicBezTo>
                  <a:cubicBezTo>
                    <a:pt x="51530" y="120301"/>
                    <a:pt x="43339" y="116396"/>
                    <a:pt x="36004" y="111633"/>
                  </a:cubicBezTo>
                  <a:cubicBezTo>
                    <a:pt x="28670" y="106871"/>
                    <a:pt x="22764" y="100870"/>
                    <a:pt x="18192" y="93726"/>
                  </a:cubicBezTo>
                  <a:cubicBezTo>
                    <a:pt x="13525" y="86582"/>
                    <a:pt x="11239" y="77629"/>
                    <a:pt x="11239" y="66961"/>
                  </a:cubicBezTo>
                  <a:lnTo>
                    <a:pt x="11239" y="66008"/>
                  </a:lnTo>
                  <a:cubicBezTo>
                    <a:pt x="11239" y="56198"/>
                    <a:pt x="13144" y="47149"/>
                    <a:pt x="17050" y="39053"/>
                  </a:cubicBezTo>
                  <a:cubicBezTo>
                    <a:pt x="20955" y="30861"/>
                    <a:pt x="26384" y="23908"/>
                    <a:pt x="33338" y="18098"/>
                  </a:cubicBezTo>
                  <a:cubicBezTo>
                    <a:pt x="40291" y="12287"/>
                    <a:pt x="48673" y="7811"/>
                    <a:pt x="58388" y="4667"/>
                  </a:cubicBezTo>
                  <a:cubicBezTo>
                    <a:pt x="68008" y="1524"/>
                    <a:pt x="78581" y="0"/>
                    <a:pt x="89821" y="0"/>
                  </a:cubicBezTo>
                  <a:cubicBezTo>
                    <a:pt x="104108" y="0"/>
                    <a:pt x="118586" y="2286"/>
                    <a:pt x="133159" y="6953"/>
                  </a:cubicBezTo>
                  <a:cubicBezTo>
                    <a:pt x="147732" y="11621"/>
                    <a:pt x="160972" y="17717"/>
                    <a:pt x="172878" y="25527"/>
                  </a:cubicBezTo>
                  <a:lnTo>
                    <a:pt x="157257" y="51435"/>
                  </a:lnTo>
                  <a:cubicBezTo>
                    <a:pt x="146494" y="44577"/>
                    <a:pt x="135255" y="39148"/>
                    <a:pt x="123539" y="35147"/>
                  </a:cubicBezTo>
                  <a:cubicBezTo>
                    <a:pt x="111823" y="31147"/>
                    <a:pt x="100203" y="29146"/>
                    <a:pt x="88963" y="29146"/>
                  </a:cubicBezTo>
                  <a:cubicBezTo>
                    <a:pt x="75247" y="29146"/>
                    <a:pt x="64389" y="32385"/>
                    <a:pt x="56388" y="38767"/>
                  </a:cubicBezTo>
                  <a:cubicBezTo>
                    <a:pt x="48291" y="45149"/>
                    <a:pt x="44291" y="53150"/>
                    <a:pt x="44291" y="62675"/>
                  </a:cubicBezTo>
                  <a:lnTo>
                    <a:pt x="44291" y="63627"/>
                  </a:lnTo>
                  <a:cubicBezTo>
                    <a:pt x="44291" y="68961"/>
                    <a:pt x="45910" y="73628"/>
                    <a:pt x="49244" y="77724"/>
                  </a:cubicBezTo>
                  <a:cubicBezTo>
                    <a:pt x="52482" y="81725"/>
                    <a:pt x="56864" y="85249"/>
                    <a:pt x="62389" y="88202"/>
                  </a:cubicBezTo>
                  <a:cubicBezTo>
                    <a:pt x="67913" y="91154"/>
                    <a:pt x="74200" y="93821"/>
                    <a:pt x="81343" y="96203"/>
                  </a:cubicBezTo>
                  <a:cubicBezTo>
                    <a:pt x="88487" y="98584"/>
                    <a:pt x="95916" y="100965"/>
                    <a:pt x="103631" y="103346"/>
                  </a:cubicBezTo>
                  <a:cubicBezTo>
                    <a:pt x="112585" y="106013"/>
                    <a:pt x="121444" y="108966"/>
                    <a:pt x="130207" y="112300"/>
                  </a:cubicBezTo>
                  <a:cubicBezTo>
                    <a:pt x="138969" y="115538"/>
                    <a:pt x="146971" y="119729"/>
                    <a:pt x="154114" y="124778"/>
                  </a:cubicBezTo>
                  <a:cubicBezTo>
                    <a:pt x="161258" y="129826"/>
                    <a:pt x="166973" y="135922"/>
                    <a:pt x="171259" y="143066"/>
                  </a:cubicBezTo>
                  <a:cubicBezTo>
                    <a:pt x="175546" y="150209"/>
                    <a:pt x="177736" y="158972"/>
                    <a:pt x="177736" y="169450"/>
                  </a:cubicBezTo>
                  <a:lnTo>
                    <a:pt x="177736" y="170307"/>
                  </a:lnTo>
                  <a:cubicBezTo>
                    <a:pt x="177736" y="181356"/>
                    <a:pt x="175546" y="191071"/>
                    <a:pt x="171259" y="199549"/>
                  </a:cubicBezTo>
                  <a:cubicBezTo>
                    <a:pt x="166973" y="208026"/>
                    <a:pt x="161163" y="215265"/>
                    <a:pt x="153828" y="221171"/>
                  </a:cubicBezTo>
                  <a:cubicBezTo>
                    <a:pt x="146589" y="227171"/>
                    <a:pt x="137922" y="231648"/>
                    <a:pt x="127921" y="234791"/>
                  </a:cubicBezTo>
                  <a:cubicBezTo>
                    <a:pt x="117919" y="237935"/>
                    <a:pt x="107156" y="239459"/>
                    <a:pt x="95535" y="239459"/>
                  </a:cubicBezTo>
                  <a:close/>
                </a:path>
              </a:pathLst>
            </a:custGeom>
            <a:solidFill>
              <a:srgbClr val="44505E"/>
            </a:solidFill>
            <a:ln w="9525" cap="flat">
              <a:noFill/>
              <a:prstDash val="solid"/>
              <a:miter/>
            </a:ln>
          </p:spPr>
          <p:txBody>
            <a:bodyPr rtlCol="0" anchor="ctr"/>
            <a:lstStyle/>
            <a:p>
              <a:endParaRPr lang="pt-BR" noProof="0"/>
            </a:p>
          </p:txBody>
        </p:sp>
        <p:sp>
          <p:nvSpPr>
            <p:cNvPr id="42" name="Freeform: Shape 54">
              <a:extLst>
                <a:ext uri="{FF2B5EF4-FFF2-40B4-BE49-F238E27FC236}">
                  <a16:creationId xmlns:a16="http://schemas.microsoft.com/office/drawing/2014/main" id="{CD4F2BBD-62E0-1F2D-EE23-1E007B935391}"/>
                </a:ext>
              </a:extLst>
            </p:cNvPr>
            <p:cNvSpPr/>
            <p:nvPr/>
          </p:nvSpPr>
          <p:spPr>
            <a:xfrm>
              <a:off x="5250320" y="846952"/>
              <a:ext cx="1459036" cy="16186"/>
            </a:xfrm>
            <a:custGeom>
              <a:avLst/>
              <a:gdLst>
                <a:gd name="connsiteX0" fmla="*/ 0 w 5804058"/>
                <a:gd name="connsiteY0" fmla="*/ 0 h 64388"/>
                <a:gd name="connsiteX1" fmla="*/ 5804059 w 5804058"/>
                <a:gd name="connsiteY1" fmla="*/ 0 h 64388"/>
                <a:gd name="connsiteX2" fmla="*/ 5804059 w 5804058"/>
                <a:gd name="connsiteY2" fmla="*/ 64389 h 64388"/>
                <a:gd name="connsiteX3" fmla="*/ 0 w 5804058"/>
                <a:gd name="connsiteY3" fmla="*/ 64389 h 64388"/>
              </a:gdLst>
              <a:ahLst/>
              <a:cxnLst>
                <a:cxn ang="0">
                  <a:pos x="connsiteX0" y="connsiteY0"/>
                </a:cxn>
                <a:cxn ang="0">
                  <a:pos x="connsiteX1" y="connsiteY1"/>
                </a:cxn>
                <a:cxn ang="0">
                  <a:pos x="connsiteX2" y="connsiteY2"/>
                </a:cxn>
                <a:cxn ang="0">
                  <a:pos x="connsiteX3" y="connsiteY3"/>
                </a:cxn>
              </a:cxnLst>
              <a:rect l="l" t="t" r="r" b="b"/>
              <a:pathLst>
                <a:path w="5804058" h="64388">
                  <a:moveTo>
                    <a:pt x="0" y="0"/>
                  </a:moveTo>
                  <a:lnTo>
                    <a:pt x="5804059" y="0"/>
                  </a:lnTo>
                  <a:lnTo>
                    <a:pt x="5804059" y="64389"/>
                  </a:lnTo>
                  <a:lnTo>
                    <a:pt x="0" y="64389"/>
                  </a:lnTo>
                  <a:close/>
                </a:path>
              </a:pathLst>
            </a:custGeom>
            <a:solidFill>
              <a:srgbClr val="44505E"/>
            </a:solidFill>
            <a:ln w="9525" cap="flat">
              <a:noFill/>
              <a:prstDash val="solid"/>
              <a:miter/>
            </a:ln>
          </p:spPr>
          <p:txBody>
            <a:bodyPr rtlCol="0" anchor="ctr"/>
            <a:lstStyle/>
            <a:p>
              <a:endParaRPr lang="pt-BR" noProof="0"/>
            </a:p>
          </p:txBody>
        </p:sp>
        <p:sp>
          <p:nvSpPr>
            <p:cNvPr id="43" name="Freeform: Shape 55">
              <a:extLst>
                <a:ext uri="{FF2B5EF4-FFF2-40B4-BE49-F238E27FC236}">
                  <a16:creationId xmlns:a16="http://schemas.microsoft.com/office/drawing/2014/main" id="{CBE271A6-6B79-B4B6-214A-AA09CFD9C041}"/>
                </a:ext>
              </a:extLst>
            </p:cNvPr>
            <p:cNvSpPr/>
            <p:nvPr/>
          </p:nvSpPr>
          <p:spPr>
            <a:xfrm>
              <a:off x="6902633" y="268821"/>
              <a:ext cx="273418" cy="601046"/>
            </a:xfrm>
            <a:custGeom>
              <a:avLst/>
              <a:gdLst>
                <a:gd name="connsiteX0" fmla="*/ 0 w 1087659"/>
                <a:gd name="connsiteY0" fmla="*/ 210979 h 2390965"/>
                <a:gd name="connsiteX1" fmla="*/ 125063 w 1087659"/>
                <a:gd name="connsiteY1" fmla="*/ 103442 h 2390965"/>
                <a:gd name="connsiteX2" fmla="*/ 250031 w 1087659"/>
                <a:gd name="connsiteY2" fmla="*/ 210979 h 2390965"/>
                <a:gd name="connsiteX3" fmla="*/ 250031 w 1087659"/>
                <a:gd name="connsiteY3" fmla="*/ 1922717 h 2390965"/>
                <a:gd name="connsiteX4" fmla="*/ 249841 w 1087659"/>
                <a:gd name="connsiteY4" fmla="*/ 1922717 h 2390965"/>
                <a:gd name="connsiteX5" fmla="*/ 249841 w 1087659"/>
                <a:gd name="connsiteY5" fmla="*/ 1925955 h 2390965"/>
                <a:gd name="connsiteX6" fmla="*/ 333756 w 1087659"/>
                <a:gd name="connsiteY6" fmla="*/ 2100263 h 2390965"/>
                <a:gd name="connsiteX7" fmla="*/ 335566 w 1087659"/>
                <a:gd name="connsiteY7" fmla="*/ 2101787 h 2390965"/>
                <a:gd name="connsiteX8" fmla="*/ 336042 w 1087659"/>
                <a:gd name="connsiteY8" fmla="*/ 2102168 h 2390965"/>
                <a:gd name="connsiteX9" fmla="*/ 543877 w 1087659"/>
                <a:gd name="connsiteY9" fmla="*/ 2175891 h 2390965"/>
                <a:gd name="connsiteX10" fmla="*/ 749998 w 1087659"/>
                <a:gd name="connsiteY10" fmla="*/ 2103692 h 2390965"/>
                <a:gd name="connsiteX11" fmla="*/ 751713 w 1087659"/>
                <a:gd name="connsiteY11" fmla="*/ 2102168 h 2390965"/>
                <a:gd name="connsiteX12" fmla="*/ 752189 w 1087659"/>
                <a:gd name="connsiteY12" fmla="*/ 2101787 h 2390965"/>
                <a:gd name="connsiteX13" fmla="*/ 837819 w 1087659"/>
                <a:gd name="connsiteY13" fmla="*/ 1922812 h 2390965"/>
                <a:gd name="connsiteX14" fmla="*/ 837819 w 1087659"/>
                <a:gd name="connsiteY14" fmla="*/ 107537 h 2390965"/>
                <a:gd name="connsiteX15" fmla="*/ 962787 w 1087659"/>
                <a:gd name="connsiteY15" fmla="*/ 0 h 2390965"/>
                <a:gd name="connsiteX16" fmla="*/ 1087660 w 1087659"/>
                <a:gd name="connsiteY16" fmla="*/ 107537 h 2390965"/>
                <a:gd name="connsiteX17" fmla="*/ 1087660 w 1087659"/>
                <a:gd name="connsiteY17" fmla="*/ 1922621 h 2390965"/>
                <a:gd name="connsiteX18" fmla="*/ 928307 w 1087659"/>
                <a:gd name="connsiteY18" fmla="*/ 2253234 h 2390965"/>
                <a:gd name="connsiteX19" fmla="*/ 928116 w 1087659"/>
                <a:gd name="connsiteY19" fmla="*/ 2253424 h 2390965"/>
                <a:gd name="connsiteX20" fmla="*/ 927830 w 1087659"/>
                <a:gd name="connsiteY20" fmla="*/ 2253710 h 2390965"/>
                <a:gd name="connsiteX21" fmla="*/ 927354 w 1087659"/>
                <a:gd name="connsiteY21" fmla="*/ 2254187 h 2390965"/>
                <a:gd name="connsiteX22" fmla="*/ 543783 w 1087659"/>
                <a:gd name="connsiteY22" fmla="*/ 2390966 h 2390965"/>
                <a:gd name="connsiteX23" fmla="*/ 159734 w 1087659"/>
                <a:gd name="connsiteY23" fmla="*/ 2253710 h 2390965"/>
                <a:gd name="connsiteX24" fmla="*/ 159734 w 1087659"/>
                <a:gd name="connsiteY24" fmla="*/ 2253424 h 2390965"/>
                <a:gd name="connsiteX25" fmla="*/ 159353 w 1087659"/>
                <a:gd name="connsiteY25" fmla="*/ 2253234 h 2390965"/>
                <a:gd name="connsiteX26" fmla="*/ 158877 w 1087659"/>
                <a:gd name="connsiteY26" fmla="*/ 2252948 h 2390965"/>
                <a:gd name="connsiteX27" fmla="*/ 0 w 1087659"/>
                <a:gd name="connsiteY27" fmla="*/ 1922621 h 2390965"/>
                <a:gd name="connsiteX28" fmla="*/ 0 w 1087659"/>
                <a:gd name="connsiteY28" fmla="*/ 1922621 h 2390965"/>
                <a:gd name="connsiteX29" fmla="*/ 0 w 1087659"/>
                <a:gd name="connsiteY29" fmla="*/ 210979 h 239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87659" h="2390965">
                  <a:moveTo>
                    <a:pt x="0" y="210979"/>
                  </a:moveTo>
                  <a:cubicBezTo>
                    <a:pt x="0" y="151638"/>
                    <a:pt x="56007" y="103442"/>
                    <a:pt x="125063" y="103442"/>
                  </a:cubicBezTo>
                  <a:cubicBezTo>
                    <a:pt x="194120" y="103442"/>
                    <a:pt x="250031" y="151638"/>
                    <a:pt x="250031" y="210979"/>
                  </a:cubicBezTo>
                  <a:lnTo>
                    <a:pt x="250031" y="1922717"/>
                  </a:lnTo>
                  <a:lnTo>
                    <a:pt x="249841" y="1922717"/>
                  </a:lnTo>
                  <a:lnTo>
                    <a:pt x="249841" y="1925955"/>
                  </a:lnTo>
                  <a:cubicBezTo>
                    <a:pt x="250793" y="1994059"/>
                    <a:pt x="282797" y="2055495"/>
                    <a:pt x="333756" y="2100263"/>
                  </a:cubicBezTo>
                  <a:lnTo>
                    <a:pt x="335566" y="2101787"/>
                  </a:lnTo>
                  <a:lnTo>
                    <a:pt x="336042" y="2102168"/>
                  </a:lnTo>
                  <a:cubicBezTo>
                    <a:pt x="388906" y="2147697"/>
                    <a:pt x="462343" y="2175891"/>
                    <a:pt x="543877" y="2175891"/>
                  </a:cubicBezTo>
                  <a:cubicBezTo>
                    <a:pt x="625411" y="2175891"/>
                    <a:pt x="697420" y="2148364"/>
                    <a:pt x="749998" y="2103692"/>
                  </a:cubicBezTo>
                  <a:lnTo>
                    <a:pt x="751713" y="2102168"/>
                  </a:lnTo>
                  <a:lnTo>
                    <a:pt x="752189" y="2101787"/>
                  </a:lnTo>
                  <a:cubicBezTo>
                    <a:pt x="805053" y="2056352"/>
                    <a:pt x="837819" y="1993011"/>
                    <a:pt x="837819" y="1922812"/>
                  </a:cubicBezTo>
                  <a:lnTo>
                    <a:pt x="837819" y="107537"/>
                  </a:lnTo>
                  <a:cubicBezTo>
                    <a:pt x="837819" y="48196"/>
                    <a:pt x="893731" y="0"/>
                    <a:pt x="962787" y="0"/>
                  </a:cubicBezTo>
                  <a:cubicBezTo>
                    <a:pt x="1031843" y="0"/>
                    <a:pt x="1087660" y="48196"/>
                    <a:pt x="1087660" y="107537"/>
                  </a:cubicBezTo>
                  <a:lnTo>
                    <a:pt x="1087660" y="1922621"/>
                  </a:lnTo>
                  <a:cubicBezTo>
                    <a:pt x="1087660" y="2051399"/>
                    <a:pt x="1026795" y="2168366"/>
                    <a:pt x="928307" y="2253234"/>
                  </a:cubicBezTo>
                  <a:lnTo>
                    <a:pt x="928116" y="2253424"/>
                  </a:lnTo>
                  <a:lnTo>
                    <a:pt x="927830" y="2253710"/>
                  </a:lnTo>
                  <a:lnTo>
                    <a:pt x="927354" y="2254187"/>
                  </a:lnTo>
                  <a:cubicBezTo>
                    <a:pt x="828770" y="2338673"/>
                    <a:pt x="693134" y="2390966"/>
                    <a:pt x="543783" y="2390966"/>
                  </a:cubicBezTo>
                  <a:cubicBezTo>
                    <a:pt x="394430" y="2390966"/>
                    <a:pt x="258413" y="2338483"/>
                    <a:pt x="159734" y="2253710"/>
                  </a:cubicBezTo>
                  <a:lnTo>
                    <a:pt x="159734" y="2253424"/>
                  </a:lnTo>
                  <a:cubicBezTo>
                    <a:pt x="159734" y="2253424"/>
                    <a:pt x="159353" y="2253234"/>
                    <a:pt x="159353" y="2253234"/>
                  </a:cubicBezTo>
                  <a:lnTo>
                    <a:pt x="158877" y="2252948"/>
                  </a:lnTo>
                  <a:cubicBezTo>
                    <a:pt x="60770" y="2167985"/>
                    <a:pt x="0" y="2051304"/>
                    <a:pt x="0" y="1922621"/>
                  </a:cubicBezTo>
                  <a:lnTo>
                    <a:pt x="0" y="1922621"/>
                  </a:lnTo>
                  <a:lnTo>
                    <a:pt x="0" y="210979"/>
                  </a:lnTo>
                  <a:close/>
                </a:path>
              </a:pathLst>
            </a:custGeom>
            <a:solidFill>
              <a:srgbClr val="8FC640"/>
            </a:solidFill>
            <a:ln w="9525" cap="flat">
              <a:noFill/>
              <a:prstDash val="solid"/>
              <a:miter/>
            </a:ln>
          </p:spPr>
          <p:txBody>
            <a:bodyPr rtlCol="0" anchor="ctr"/>
            <a:lstStyle/>
            <a:p>
              <a:endParaRPr lang="pt-BR" noProof="0"/>
            </a:p>
          </p:txBody>
        </p:sp>
        <p:sp>
          <p:nvSpPr>
            <p:cNvPr id="44" name="Freeform: Shape 56">
              <a:extLst>
                <a:ext uri="{FF2B5EF4-FFF2-40B4-BE49-F238E27FC236}">
                  <a16:creationId xmlns:a16="http://schemas.microsoft.com/office/drawing/2014/main" id="{56151E0F-0978-C862-34AC-6FCF8F9916CE}"/>
                </a:ext>
              </a:extLst>
            </p:cNvPr>
            <p:cNvSpPr/>
            <p:nvPr/>
          </p:nvSpPr>
          <p:spPr>
            <a:xfrm>
              <a:off x="7013590" y="213965"/>
              <a:ext cx="54018" cy="562280"/>
            </a:xfrm>
            <a:custGeom>
              <a:avLst/>
              <a:gdLst>
                <a:gd name="connsiteX0" fmla="*/ 0 w 214883"/>
                <a:gd name="connsiteY0" fmla="*/ 107537 h 2236755"/>
                <a:gd name="connsiteX1" fmla="*/ 107537 w 214883"/>
                <a:gd name="connsiteY1" fmla="*/ 0 h 2236755"/>
                <a:gd name="connsiteX2" fmla="*/ 214884 w 214883"/>
                <a:gd name="connsiteY2" fmla="*/ 107537 h 2236755"/>
                <a:gd name="connsiteX3" fmla="*/ 214884 w 214883"/>
                <a:gd name="connsiteY3" fmla="*/ 2129219 h 2236755"/>
                <a:gd name="connsiteX4" fmla="*/ 107537 w 214883"/>
                <a:gd name="connsiteY4" fmla="*/ 2236756 h 2236755"/>
                <a:gd name="connsiteX5" fmla="*/ 0 w 214883"/>
                <a:gd name="connsiteY5" fmla="*/ 2129219 h 2236755"/>
                <a:gd name="connsiteX6" fmla="*/ 0 w 214883"/>
                <a:gd name="connsiteY6" fmla="*/ 107537 h 223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 h="2236755">
                  <a:moveTo>
                    <a:pt x="0" y="107537"/>
                  </a:moveTo>
                  <a:cubicBezTo>
                    <a:pt x="0" y="48197"/>
                    <a:pt x="48101" y="0"/>
                    <a:pt x="107537" y="0"/>
                  </a:cubicBezTo>
                  <a:cubicBezTo>
                    <a:pt x="166973" y="0"/>
                    <a:pt x="214884" y="48197"/>
                    <a:pt x="214884" y="107537"/>
                  </a:cubicBezTo>
                  <a:lnTo>
                    <a:pt x="214884" y="2129219"/>
                  </a:lnTo>
                  <a:cubicBezTo>
                    <a:pt x="214884" y="2188559"/>
                    <a:pt x="166782" y="2236756"/>
                    <a:pt x="107537" y="2236756"/>
                  </a:cubicBezTo>
                  <a:cubicBezTo>
                    <a:pt x="48291" y="2236756"/>
                    <a:pt x="0" y="2188559"/>
                    <a:pt x="0" y="2129219"/>
                  </a:cubicBezTo>
                  <a:lnTo>
                    <a:pt x="0" y="107537"/>
                  </a:lnTo>
                  <a:close/>
                </a:path>
              </a:pathLst>
            </a:custGeom>
            <a:solidFill>
              <a:srgbClr val="3698B0"/>
            </a:solidFill>
            <a:ln w="9525" cap="flat">
              <a:noFill/>
              <a:prstDash val="solid"/>
              <a:miter/>
            </a:ln>
          </p:spPr>
          <p:txBody>
            <a:bodyPr rtlCol="0" anchor="ctr"/>
            <a:lstStyle/>
            <a:p>
              <a:endParaRPr lang="pt-BR" noProof="0"/>
            </a:p>
          </p:txBody>
        </p:sp>
        <p:sp>
          <p:nvSpPr>
            <p:cNvPr id="45" name="Freeform: Shape 57">
              <a:extLst>
                <a:ext uri="{FF2B5EF4-FFF2-40B4-BE49-F238E27FC236}">
                  <a16:creationId xmlns:a16="http://schemas.microsoft.com/office/drawing/2014/main" id="{65380B51-69D2-38FF-C708-1CDD2E1AA523}"/>
                </a:ext>
              </a:extLst>
            </p:cNvPr>
            <p:cNvSpPr/>
            <p:nvPr/>
          </p:nvSpPr>
          <p:spPr>
            <a:xfrm>
              <a:off x="6795770" y="332991"/>
              <a:ext cx="485994" cy="649437"/>
            </a:xfrm>
            <a:custGeom>
              <a:avLst/>
              <a:gdLst>
                <a:gd name="connsiteX0" fmla="*/ 1933290 w 1933289"/>
                <a:gd name="connsiteY0" fmla="*/ 138017 h 2583465"/>
                <a:gd name="connsiteX1" fmla="*/ 1933290 w 1933289"/>
                <a:gd name="connsiteY1" fmla="*/ 1734122 h 2583465"/>
                <a:gd name="connsiteX2" fmla="*/ 1796606 w 1933289"/>
                <a:gd name="connsiteY2" fmla="*/ 2229136 h 2583465"/>
                <a:gd name="connsiteX3" fmla="*/ 977742 w 1933289"/>
                <a:gd name="connsiteY3" fmla="*/ 2583466 h 2583465"/>
                <a:gd name="connsiteX4" fmla="*/ 955357 w 1933289"/>
                <a:gd name="connsiteY4" fmla="*/ 2583466 h 2583465"/>
                <a:gd name="connsiteX5" fmla="*/ 136589 w 1933289"/>
                <a:gd name="connsiteY5" fmla="*/ 2229136 h 2583465"/>
                <a:gd name="connsiteX6" fmla="*/ 0 w 1933289"/>
                <a:gd name="connsiteY6" fmla="*/ 1734122 h 2583465"/>
                <a:gd name="connsiteX7" fmla="*/ 0 w 1933289"/>
                <a:gd name="connsiteY7" fmla="*/ 794194 h 2583465"/>
                <a:gd name="connsiteX8" fmla="*/ 137827 w 1933289"/>
                <a:gd name="connsiteY8" fmla="*/ 656273 h 2583465"/>
                <a:gd name="connsiteX9" fmla="*/ 275463 w 1933289"/>
                <a:gd name="connsiteY9" fmla="*/ 794194 h 2583465"/>
                <a:gd name="connsiteX10" fmla="*/ 275463 w 1933289"/>
                <a:gd name="connsiteY10" fmla="*/ 1734122 h 2583465"/>
                <a:gd name="connsiteX11" fmla="*/ 354235 w 1933289"/>
                <a:gd name="connsiteY11" fmla="*/ 2059686 h 2583465"/>
                <a:gd name="connsiteX12" fmla="*/ 958215 w 1933289"/>
                <a:gd name="connsiteY12" fmla="*/ 2307527 h 2583465"/>
                <a:gd name="connsiteX13" fmla="*/ 974789 w 1933289"/>
                <a:gd name="connsiteY13" fmla="*/ 2307527 h 2583465"/>
                <a:gd name="connsiteX14" fmla="*/ 1578959 w 1933289"/>
                <a:gd name="connsiteY14" fmla="*/ 2059686 h 2583465"/>
                <a:gd name="connsiteX15" fmla="*/ 1657636 w 1933289"/>
                <a:gd name="connsiteY15" fmla="*/ 1734122 h 2583465"/>
                <a:gd name="connsiteX16" fmla="*/ 1657636 w 1933289"/>
                <a:gd name="connsiteY16" fmla="*/ 138017 h 2583465"/>
                <a:gd name="connsiteX17" fmla="*/ 1795463 w 1933289"/>
                <a:gd name="connsiteY17" fmla="*/ 0 h 2583465"/>
                <a:gd name="connsiteX18" fmla="*/ 1933290 w 1933289"/>
                <a:gd name="connsiteY18" fmla="*/ 138017 h 25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3289" h="2583465">
                  <a:moveTo>
                    <a:pt x="1933290" y="138017"/>
                  </a:moveTo>
                  <a:lnTo>
                    <a:pt x="1933290" y="1734122"/>
                  </a:lnTo>
                  <a:cubicBezTo>
                    <a:pt x="1933290" y="1870996"/>
                    <a:pt x="1919002" y="2071211"/>
                    <a:pt x="1796606" y="2229136"/>
                  </a:cubicBezTo>
                  <a:cubicBezTo>
                    <a:pt x="1634395" y="2438305"/>
                    <a:pt x="1432084" y="2578703"/>
                    <a:pt x="977742" y="2583466"/>
                  </a:cubicBezTo>
                  <a:lnTo>
                    <a:pt x="955357" y="2583466"/>
                  </a:lnTo>
                  <a:cubicBezTo>
                    <a:pt x="501015" y="2578703"/>
                    <a:pt x="298704" y="2438400"/>
                    <a:pt x="136589" y="2229136"/>
                  </a:cubicBezTo>
                  <a:cubicBezTo>
                    <a:pt x="14192" y="2071211"/>
                    <a:pt x="0" y="1870996"/>
                    <a:pt x="0" y="1734122"/>
                  </a:cubicBezTo>
                  <a:lnTo>
                    <a:pt x="0" y="794194"/>
                  </a:lnTo>
                  <a:cubicBezTo>
                    <a:pt x="0" y="718185"/>
                    <a:pt x="61436" y="656273"/>
                    <a:pt x="137827" y="656273"/>
                  </a:cubicBezTo>
                  <a:cubicBezTo>
                    <a:pt x="214217" y="656273"/>
                    <a:pt x="275463" y="718185"/>
                    <a:pt x="275463" y="794194"/>
                  </a:cubicBezTo>
                  <a:lnTo>
                    <a:pt x="275463" y="1734122"/>
                  </a:lnTo>
                  <a:cubicBezTo>
                    <a:pt x="275463" y="1887188"/>
                    <a:pt x="300324" y="1990630"/>
                    <a:pt x="354235" y="2059686"/>
                  </a:cubicBezTo>
                  <a:cubicBezTo>
                    <a:pt x="476250" y="2217611"/>
                    <a:pt x="609791" y="2304479"/>
                    <a:pt x="958215" y="2307527"/>
                  </a:cubicBezTo>
                  <a:lnTo>
                    <a:pt x="974789" y="2307527"/>
                  </a:lnTo>
                  <a:cubicBezTo>
                    <a:pt x="1323499" y="2304479"/>
                    <a:pt x="1456563" y="2217611"/>
                    <a:pt x="1578959" y="2059686"/>
                  </a:cubicBezTo>
                  <a:cubicBezTo>
                    <a:pt x="1632490" y="1990630"/>
                    <a:pt x="1657636" y="1887093"/>
                    <a:pt x="1657636" y="1734122"/>
                  </a:cubicBezTo>
                  <a:lnTo>
                    <a:pt x="1657636" y="138017"/>
                  </a:lnTo>
                  <a:cubicBezTo>
                    <a:pt x="1657636" y="61531"/>
                    <a:pt x="1719453" y="0"/>
                    <a:pt x="1795463" y="0"/>
                  </a:cubicBezTo>
                  <a:cubicBezTo>
                    <a:pt x="1871472" y="0"/>
                    <a:pt x="1933290" y="61531"/>
                    <a:pt x="1933290" y="138017"/>
                  </a:cubicBezTo>
                </a:path>
              </a:pathLst>
            </a:custGeom>
            <a:solidFill>
              <a:srgbClr val="49306E"/>
            </a:solidFill>
            <a:ln w="9525" cap="flat">
              <a:noFill/>
              <a:prstDash val="solid"/>
              <a:miter/>
            </a:ln>
          </p:spPr>
          <p:txBody>
            <a:bodyPr rtlCol="0" anchor="ctr"/>
            <a:lstStyle/>
            <a:p>
              <a:endParaRPr lang="pt-BR" noProof="0"/>
            </a:p>
          </p:txBody>
        </p:sp>
      </p:grpSp>
      <p:sp>
        <p:nvSpPr>
          <p:cNvPr id="46" name="Título 1">
            <a:extLst>
              <a:ext uri="{FF2B5EF4-FFF2-40B4-BE49-F238E27FC236}">
                <a16:creationId xmlns:a16="http://schemas.microsoft.com/office/drawing/2014/main" id="{5A392494-2083-B266-1C33-C7EA0DD022E5}"/>
              </a:ext>
            </a:extLst>
          </p:cNvPr>
          <p:cNvSpPr txBox="1">
            <a:spLocks/>
          </p:cNvSpPr>
          <p:nvPr/>
        </p:nvSpPr>
        <p:spPr>
          <a:xfrm>
            <a:off x="2157359" y="238418"/>
            <a:ext cx="10058400" cy="631231"/>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pt-BR" sz="3600" b="1">
                <a:solidFill>
                  <a:srgbClr val="3299B1"/>
                </a:solidFill>
                <a:latin typeface="Agency FB" panose="020B0503020202020204" pitchFamily="34" charset="0"/>
              </a:rPr>
              <a:t>Considerações – PAV </a:t>
            </a:r>
          </a:p>
        </p:txBody>
      </p:sp>
      <p:sp>
        <p:nvSpPr>
          <p:cNvPr id="62" name="Google Shape;97;p15">
            <a:extLst>
              <a:ext uri="{FF2B5EF4-FFF2-40B4-BE49-F238E27FC236}">
                <a16:creationId xmlns:a16="http://schemas.microsoft.com/office/drawing/2014/main" id="{01842086-8CDD-073C-4B36-BEDD4FB1F7C5}"/>
              </a:ext>
            </a:extLst>
          </p:cNvPr>
          <p:cNvSpPr txBox="1">
            <a:spLocks/>
          </p:cNvSpPr>
          <p:nvPr/>
        </p:nvSpPr>
        <p:spPr>
          <a:xfrm>
            <a:off x="542931" y="1924906"/>
            <a:ext cx="11111138" cy="4351338"/>
          </a:xfrm>
          <a:prstGeom prst="rect">
            <a:avLst/>
          </a:prstGeom>
          <a:noFill/>
          <a:ln>
            <a:noFill/>
          </a:ln>
        </p:spPr>
        <p:txBody>
          <a:bodyPr spcFirstLastPara="1" wrap="square" lIns="91425" tIns="45700" rIns="91425" bIns="45700" anchor="t" anchorCtr="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215265" algn="just">
              <a:spcBef>
                <a:spcPts val="0"/>
              </a:spcBef>
              <a:buClr>
                <a:schemeClr val="dk1"/>
              </a:buClr>
              <a:buSzPct val="100000"/>
            </a:pPr>
            <a:r>
              <a:rPr lang="pt-BR" sz="2400" b="1" i="1"/>
              <a:t>Staphylococcus</a:t>
            </a:r>
            <a:r>
              <a:rPr lang="pt-BR" sz="2400" b="1"/>
              <a:t> coagulase negativo</a:t>
            </a:r>
            <a:r>
              <a:rPr lang="pt-BR" sz="2400"/>
              <a:t>, </a:t>
            </a:r>
            <a:r>
              <a:rPr lang="pt-BR" sz="2400" b="1" i="1"/>
              <a:t>Enterococcus</a:t>
            </a:r>
            <a:r>
              <a:rPr lang="pt-BR" sz="2400"/>
              <a:t> </a:t>
            </a:r>
            <a:r>
              <a:rPr lang="pt-BR" sz="2400" b="1"/>
              <a:t>spp</a:t>
            </a:r>
            <a:r>
              <a:rPr lang="pt-BR" sz="2400"/>
              <a:t>., </a:t>
            </a:r>
            <a:r>
              <a:rPr lang="pt-BR" sz="2400" b="1" i="1"/>
              <a:t>Candida</a:t>
            </a:r>
            <a:r>
              <a:rPr lang="pt-BR" sz="2400" b="1"/>
              <a:t> spp</a:t>
            </a:r>
            <a:r>
              <a:rPr lang="pt-BR" sz="2400"/>
              <a:t>. ou outras leveduras não são considerados agentes etiológicos de PAV, mesmo quando identificados em hemoculturas. Só podem ser considerados para diagnóstico de PAV se identificados em cultura de líquido pleural ou cultura de tecido pulmonar (biopsia). </a:t>
            </a:r>
          </a:p>
          <a:p>
            <a:pPr indent="-215265" algn="just">
              <a:spcBef>
                <a:spcPts val="0"/>
              </a:spcBef>
              <a:buClr>
                <a:schemeClr val="dk1"/>
              </a:buClr>
              <a:buSzPct val="100000"/>
            </a:pPr>
            <a:endParaRPr lang="pt-BR" sz="2400"/>
          </a:p>
          <a:p>
            <a:pPr indent="-215265" algn="just">
              <a:spcBef>
                <a:spcPts val="0"/>
              </a:spcBef>
              <a:buClr>
                <a:schemeClr val="dk1"/>
              </a:buClr>
              <a:buSzPct val="100000"/>
            </a:pPr>
            <a:r>
              <a:rPr lang="pt-BR" sz="2400"/>
              <a:t>Exceção: em </a:t>
            </a:r>
            <a:r>
              <a:rPr lang="pt-BR" sz="2400" b="1"/>
              <a:t>imunodeprimidos</a:t>
            </a:r>
            <a:r>
              <a:rPr lang="pt-BR" sz="2400"/>
              <a:t>, podemos ter PAV por </a:t>
            </a:r>
            <a:r>
              <a:rPr lang="pt-BR" sz="2400" b="1" i="1"/>
              <a:t>Candida</a:t>
            </a:r>
            <a:r>
              <a:rPr lang="pt-BR" sz="2400"/>
              <a:t> </a:t>
            </a:r>
            <a:r>
              <a:rPr lang="pt-BR" sz="2400" b="1"/>
              <a:t>spp.</a:t>
            </a:r>
          </a:p>
        </p:txBody>
      </p:sp>
    </p:spTree>
    <p:extLst>
      <p:ext uri="{BB962C8B-B14F-4D97-AF65-F5344CB8AC3E}">
        <p14:creationId xmlns:p14="http://schemas.microsoft.com/office/powerpoint/2010/main" val="250605340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B405EE-A84A-82B4-84C0-A71308643837}"/>
            </a:ext>
          </a:extLst>
        </p:cNvPr>
        <p:cNvGrpSpPr/>
        <p:nvPr/>
      </p:nvGrpSpPr>
      <p:grpSpPr>
        <a:xfrm>
          <a:off x="0" y="0"/>
          <a:ext cx="0" cy="0"/>
          <a:chOff x="0" y="0"/>
          <a:chExt cx="0" cy="0"/>
        </a:xfrm>
      </p:grpSpPr>
      <p:grpSp>
        <p:nvGrpSpPr>
          <p:cNvPr id="2" name="Group 12">
            <a:extLst>
              <a:ext uri="{FF2B5EF4-FFF2-40B4-BE49-F238E27FC236}">
                <a16:creationId xmlns:a16="http://schemas.microsoft.com/office/drawing/2014/main" id="{FBB8AEE5-E784-C058-41CB-B522BD36BB9A}"/>
              </a:ext>
            </a:extLst>
          </p:cNvPr>
          <p:cNvGrpSpPr/>
          <p:nvPr/>
        </p:nvGrpSpPr>
        <p:grpSpPr>
          <a:xfrm>
            <a:off x="304800" y="249455"/>
            <a:ext cx="1193800" cy="462985"/>
            <a:chOff x="5245100" y="211355"/>
            <a:chExt cx="2036664" cy="789869"/>
          </a:xfrm>
        </p:grpSpPr>
        <p:sp>
          <p:nvSpPr>
            <p:cNvPr id="3" name="Freeform: Shape 13">
              <a:extLst>
                <a:ext uri="{FF2B5EF4-FFF2-40B4-BE49-F238E27FC236}">
                  <a16:creationId xmlns:a16="http://schemas.microsoft.com/office/drawing/2014/main" id="{0638F787-0C3E-00B7-0FD7-37C7301389A1}"/>
                </a:ext>
              </a:extLst>
            </p:cNvPr>
            <p:cNvSpPr/>
            <p:nvPr/>
          </p:nvSpPr>
          <p:spPr>
            <a:xfrm>
              <a:off x="5245100" y="308520"/>
              <a:ext cx="247894" cy="322815"/>
            </a:xfrm>
            <a:custGeom>
              <a:avLst/>
              <a:gdLst>
                <a:gd name="connsiteX0" fmla="*/ 529590 w 986123"/>
                <a:gd name="connsiteY0" fmla="*/ 1284160 h 1284160"/>
                <a:gd name="connsiteX1" fmla="*/ 249650 w 986123"/>
                <a:gd name="connsiteY1" fmla="*/ 1235107 h 1284160"/>
                <a:gd name="connsiteX2" fmla="*/ 0 w 986123"/>
                <a:gd name="connsiteY2" fmla="*/ 1084421 h 1284160"/>
                <a:gd name="connsiteX3" fmla="*/ 162306 w 986123"/>
                <a:gd name="connsiteY3" fmla="*/ 890016 h 1284160"/>
                <a:gd name="connsiteX4" fmla="*/ 337947 w 986123"/>
                <a:gd name="connsiteY4" fmla="*/ 1000601 h 1284160"/>
                <a:gd name="connsiteX5" fmla="*/ 535019 w 986123"/>
                <a:gd name="connsiteY5" fmla="*/ 1041654 h 1284160"/>
                <a:gd name="connsiteX6" fmla="*/ 667893 w 986123"/>
                <a:gd name="connsiteY6" fmla="*/ 1010412 h 1284160"/>
                <a:gd name="connsiteX7" fmla="*/ 715137 w 986123"/>
                <a:gd name="connsiteY7" fmla="*/ 923925 h 1284160"/>
                <a:gd name="connsiteX8" fmla="*/ 715137 w 986123"/>
                <a:gd name="connsiteY8" fmla="*/ 920305 h 1284160"/>
                <a:gd name="connsiteX9" fmla="*/ 705326 w 986123"/>
                <a:gd name="connsiteY9" fmla="*/ 873062 h 1284160"/>
                <a:gd name="connsiteX10" fmla="*/ 667798 w 986123"/>
                <a:gd name="connsiteY10" fmla="*/ 834676 h 1284160"/>
                <a:gd name="connsiteX11" fmla="*/ 590931 w 986123"/>
                <a:gd name="connsiteY11" fmla="*/ 798957 h 1284160"/>
                <a:gd name="connsiteX12" fmla="*/ 463106 w 986123"/>
                <a:gd name="connsiteY12" fmla="*/ 761524 h 1284160"/>
                <a:gd name="connsiteX13" fmla="*/ 291465 w 986123"/>
                <a:gd name="connsiteY13" fmla="*/ 709803 h 1284160"/>
                <a:gd name="connsiteX14" fmla="*/ 160973 w 986123"/>
                <a:gd name="connsiteY14" fmla="*/ 639318 h 1284160"/>
                <a:gd name="connsiteX15" fmla="*/ 77819 w 986123"/>
                <a:gd name="connsiteY15" fmla="*/ 535019 h 1284160"/>
                <a:gd name="connsiteX16" fmla="*/ 48292 w 986123"/>
                <a:gd name="connsiteY16" fmla="*/ 379857 h 1284160"/>
                <a:gd name="connsiteX17" fmla="*/ 48292 w 986123"/>
                <a:gd name="connsiteY17" fmla="*/ 376238 h 1284160"/>
                <a:gd name="connsiteX18" fmla="*/ 80201 w 986123"/>
                <a:gd name="connsiteY18" fmla="*/ 222028 h 1284160"/>
                <a:gd name="connsiteX19" fmla="*/ 169640 w 986123"/>
                <a:gd name="connsiteY19" fmla="*/ 103441 h 1284160"/>
                <a:gd name="connsiteX20" fmla="*/ 307181 w 986123"/>
                <a:gd name="connsiteY20" fmla="*/ 26765 h 1284160"/>
                <a:gd name="connsiteX21" fmla="*/ 483394 w 986123"/>
                <a:gd name="connsiteY21" fmla="*/ 0 h 1284160"/>
                <a:gd name="connsiteX22" fmla="*/ 735711 w 986123"/>
                <a:gd name="connsiteY22" fmla="*/ 41053 h 1284160"/>
                <a:gd name="connsiteX23" fmla="*/ 946976 w 986123"/>
                <a:gd name="connsiteY23" fmla="*/ 158687 h 1284160"/>
                <a:gd name="connsiteX24" fmla="*/ 804291 w 986123"/>
                <a:gd name="connsiteY24" fmla="*/ 365569 h 1284160"/>
                <a:gd name="connsiteX25" fmla="*/ 640271 w 986123"/>
                <a:gd name="connsiteY25" fmla="*/ 275558 h 1284160"/>
                <a:gd name="connsiteX26" fmla="*/ 479774 w 986123"/>
                <a:gd name="connsiteY26" fmla="*/ 242602 h 1284160"/>
                <a:gd name="connsiteX27" fmla="*/ 359378 w 986123"/>
                <a:gd name="connsiteY27" fmla="*/ 273844 h 1284160"/>
                <a:gd name="connsiteX28" fmla="*/ 319278 w 986123"/>
                <a:gd name="connsiteY28" fmla="*/ 351377 h 1284160"/>
                <a:gd name="connsiteX29" fmla="*/ 319278 w 986123"/>
                <a:gd name="connsiteY29" fmla="*/ 354997 h 1284160"/>
                <a:gd name="connsiteX30" fmla="*/ 330899 w 986123"/>
                <a:gd name="connsiteY30" fmla="*/ 407575 h 1284160"/>
                <a:gd name="connsiteX31" fmla="*/ 372904 w 986123"/>
                <a:gd name="connsiteY31" fmla="*/ 447675 h 1284160"/>
                <a:gd name="connsiteX32" fmla="*/ 456057 w 986123"/>
                <a:gd name="connsiteY32" fmla="*/ 481489 h 1284160"/>
                <a:gd name="connsiteX33" fmla="*/ 589217 w 986123"/>
                <a:gd name="connsiteY33" fmla="*/ 518922 h 1284160"/>
                <a:gd name="connsiteX34" fmla="*/ 758190 w 986123"/>
                <a:gd name="connsiteY34" fmla="*/ 575120 h 1284160"/>
                <a:gd name="connsiteX35" fmla="*/ 883349 w 986123"/>
                <a:gd name="connsiteY35" fmla="*/ 649986 h 1284160"/>
                <a:gd name="connsiteX36" fmla="*/ 960215 w 986123"/>
                <a:gd name="connsiteY36" fmla="*/ 752570 h 1284160"/>
                <a:gd name="connsiteX37" fmla="*/ 986123 w 986123"/>
                <a:gd name="connsiteY37" fmla="*/ 893445 h 1284160"/>
                <a:gd name="connsiteX38" fmla="*/ 986123 w 986123"/>
                <a:gd name="connsiteY38" fmla="*/ 897064 h 1284160"/>
                <a:gd name="connsiteX39" fmla="*/ 952500 w 986123"/>
                <a:gd name="connsiteY39" fmla="*/ 1062038 h 1284160"/>
                <a:gd name="connsiteX40" fmla="*/ 858584 w 986123"/>
                <a:gd name="connsiteY40" fmla="*/ 1183291 h 1284160"/>
                <a:gd name="connsiteX41" fmla="*/ 714851 w 986123"/>
                <a:gd name="connsiteY41" fmla="*/ 1258157 h 1284160"/>
                <a:gd name="connsiteX42" fmla="*/ 529685 w 986123"/>
                <a:gd name="connsiteY42" fmla="*/ 1284065 h 128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6123" h="1284160">
                  <a:moveTo>
                    <a:pt x="529590" y="1284160"/>
                  </a:moveTo>
                  <a:cubicBezTo>
                    <a:pt x="434435" y="1284160"/>
                    <a:pt x="341186" y="1267777"/>
                    <a:pt x="249650" y="1235107"/>
                  </a:cubicBezTo>
                  <a:cubicBezTo>
                    <a:pt x="158115" y="1202436"/>
                    <a:pt x="74867" y="1152239"/>
                    <a:pt x="0" y="1084421"/>
                  </a:cubicBezTo>
                  <a:lnTo>
                    <a:pt x="162306" y="890016"/>
                  </a:lnTo>
                  <a:cubicBezTo>
                    <a:pt x="219361" y="936403"/>
                    <a:pt x="277844" y="973264"/>
                    <a:pt x="337947" y="1000601"/>
                  </a:cubicBezTo>
                  <a:cubicBezTo>
                    <a:pt x="397955" y="1027938"/>
                    <a:pt x="463677" y="1041654"/>
                    <a:pt x="535019" y="1041654"/>
                  </a:cubicBezTo>
                  <a:cubicBezTo>
                    <a:pt x="592074" y="1041654"/>
                    <a:pt x="636365" y="1031272"/>
                    <a:pt x="667893" y="1010412"/>
                  </a:cubicBezTo>
                  <a:cubicBezTo>
                    <a:pt x="699421" y="989647"/>
                    <a:pt x="715137" y="960787"/>
                    <a:pt x="715137" y="923925"/>
                  </a:cubicBezTo>
                  <a:lnTo>
                    <a:pt x="715137" y="920305"/>
                  </a:lnTo>
                  <a:cubicBezTo>
                    <a:pt x="715137" y="902494"/>
                    <a:pt x="711803" y="886777"/>
                    <a:pt x="705326" y="873062"/>
                  </a:cubicBezTo>
                  <a:cubicBezTo>
                    <a:pt x="698754" y="859441"/>
                    <a:pt x="686276" y="846582"/>
                    <a:pt x="667798" y="834676"/>
                  </a:cubicBezTo>
                  <a:cubicBezTo>
                    <a:pt x="649319" y="822770"/>
                    <a:pt x="623697" y="810863"/>
                    <a:pt x="590931" y="798957"/>
                  </a:cubicBezTo>
                  <a:cubicBezTo>
                    <a:pt x="558165" y="787146"/>
                    <a:pt x="515493" y="774573"/>
                    <a:pt x="463106" y="761524"/>
                  </a:cubicBezTo>
                  <a:cubicBezTo>
                    <a:pt x="399955" y="746093"/>
                    <a:pt x="342710" y="728853"/>
                    <a:pt x="291465" y="709803"/>
                  </a:cubicBezTo>
                  <a:cubicBezTo>
                    <a:pt x="240221" y="690753"/>
                    <a:pt x="196691" y="667322"/>
                    <a:pt x="160973" y="639318"/>
                  </a:cubicBezTo>
                  <a:cubicBezTo>
                    <a:pt x="125159" y="611410"/>
                    <a:pt x="97536" y="576644"/>
                    <a:pt x="77819" y="535019"/>
                  </a:cubicBezTo>
                  <a:cubicBezTo>
                    <a:pt x="58103" y="493395"/>
                    <a:pt x="48292" y="441674"/>
                    <a:pt x="48292" y="379857"/>
                  </a:cubicBezTo>
                  <a:lnTo>
                    <a:pt x="48292" y="376238"/>
                  </a:lnTo>
                  <a:cubicBezTo>
                    <a:pt x="48292" y="319183"/>
                    <a:pt x="58865" y="267748"/>
                    <a:pt x="80201" y="222028"/>
                  </a:cubicBezTo>
                  <a:cubicBezTo>
                    <a:pt x="101441" y="176308"/>
                    <a:pt x="131255" y="136779"/>
                    <a:pt x="169640" y="103441"/>
                  </a:cubicBezTo>
                  <a:cubicBezTo>
                    <a:pt x="208026" y="70199"/>
                    <a:pt x="253841" y="44577"/>
                    <a:pt x="307181" y="26765"/>
                  </a:cubicBezTo>
                  <a:cubicBezTo>
                    <a:pt x="360426" y="8953"/>
                    <a:pt x="419195" y="0"/>
                    <a:pt x="483394" y="0"/>
                  </a:cubicBezTo>
                  <a:cubicBezTo>
                    <a:pt x="574929" y="0"/>
                    <a:pt x="659035" y="13716"/>
                    <a:pt x="735711" y="41053"/>
                  </a:cubicBezTo>
                  <a:cubicBezTo>
                    <a:pt x="812387" y="68389"/>
                    <a:pt x="882777" y="107632"/>
                    <a:pt x="946976" y="158687"/>
                  </a:cubicBezTo>
                  <a:lnTo>
                    <a:pt x="804291" y="365569"/>
                  </a:lnTo>
                  <a:cubicBezTo>
                    <a:pt x="748379" y="327565"/>
                    <a:pt x="693706" y="297561"/>
                    <a:pt x="640271" y="275558"/>
                  </a:cubicBezTo>
                  <a:cubicBezTo>
                    <a:pt x="586740" y="253555"/>
                    <a:pt x="533305" y="242602"/>
                    <a:pt x="479774" y="242602"/>
                  </a:cubicBezTo>
                  <a:cubicBezTo>
                    <a:pt x="426244" y="242602"/>
                    <a:pt x="386144" y="252984"/>
                    <a:pt x="359378" y="273844"/>
                  </a:cubicBezTo>
                  <a:cubicBezTo>
                    <a:pt x="332613" y="294608"/>
                    <a:pt x="319278" y="320516"/>
                    <a:pt x="319278" y="351377"/>
                  </a:cubicBezTo>
                  <a:lnTo>
                    <a:pt x="319278" y="354997"/>
                  </a:lnTo>
                  <a:cubicBezTo>
                    <a:pt x="319278" y="375190"/>
                    <a:pt x="323183" y="392716"/>
                    <a:pt x="330899" y="407575"/>
                  </a:cubicBezTo>
                  <a:cubicBezTo>
                    <a:pt x="338614" y="422434"/>
                    <a:pt x="352616" y="435864"/>
                    <a:pt x="372904" y="447675"/>
                  </a:cubicBezTo>
                  <a:cubicBezTo>
                    <a:pt x="393192" y="459581"/>
                    <a:pt x="420910" y="470821"/>
                    <a:pt x="456057" y="481489"/>
                  </a:cubicBezTo>
                  <a:cubicBezTo>
                    <a:pt x="491204" y="492157"/>
                    <a:pt x="535591" y="504730"/>
                    <a:pt x="589217" y="518922"/>
                  </a:cubicBezTo>
                  <a:cubicBezTo>
                    <a:pt x="652367" y="535591"/>
                    <a:pt x="708660" y="554260"/>
                    <a:pt x="758190" y="575120"/>
                  </a:cubicBezTo>
                  <a:cubicBezTo>
                    <a:pt x="807625" y="595979"/>
                    <a:pt x="849344" y="620935"/>
                    <a:pt x="883349" y="649986"/>
                  </a:cubicBezTo>
                  <a:cubicBezTo>
                    <a:pt x="917353" y="679132"/>
                    <a:pt x="942975" y="713327"/>
                    <a:pt x="960215" y="752570"/>
                  </a:cubicBezTo>
                  <a:cubicBezTo>
                    <a:pt x="977456" y="791813"/>
                    <a:pt x="986123" y="838772"/>
                    <a:pt x="986123" y="893445"/>
                  </a:cubicBezTo>
                  <a:lnTo>
                    <a:pt x="986123" y="897064"/>
                  </a:lnTo>
                  <a:cubicBezTo>
                    <a:pt x="986123" y="958882"/>
                    <a:pt x="974884" y="1013841"/>
                    <a:pt x="952500" y="1062038"/>
                  </a:cubicBezTo>
                  <a:cubicBezTo>
                    <a:pt x="930021" y="1110139"/>
                    <a:pt x="898779" y="1150620"/>
                    <a:pt x="858584" y="1183291"/>
                  </a:cubicBezTo>
                  <a:cubicBezTo>
                    <a:pt x="818388" y="1216057"/>
                    <a:pt x="770477" y="1241012"/>
                    <a:pt x="714851" y="1258157"/>
                  </a:cubicBezTo>
                  <a:cubicBezTo>
                    <a:pt x="659130" y="1275398"/>
                    <a:pt x="597503" y="1284065"/>
                    <a:pt x="529685" y="1284065"/>
                  </a:cubicBezTo>
                  <a:close/>
                </a:path>
              </a:pathLst>
            </a:custGeom>
            <a:solidFill>
              <a:srgbClr val="44505E"/>
            </a:solidFill>
            <a:ln w="9525" cap="flat">
              <a:noFill/>
              <a:prstDash val="solid"/>
              <a:miter/>
            </a:ln>
          </p:spPr>
          <p:txBody>
            <a:bodyPr rtlCol="0" anchor="ctr"/>
            <a:lstStyle/>
            <a:p>
              <a:endParaRPr lang="pt-BR" noProof="0"/>
            </a:p>
          </p:txBody>
        </p:sp>
        <p:sp>
          <p:nvSpPr>
            <p:cNvPr id="4" name="Freeform: Shape 16">
              <a:extLst>
                <a:ext uri="{FF2B5EF4-FFF2-40B4-BE49-F238E27FC236}">
                  <a16:creationId xmlns:a16="http://schemas.microsoft.com/office/drawing/2014/main" id="{0E56AA17-DBFD-467B-BAD9-6649733BD5F5}"/>
                </a:ext>
              </a:extLst>
            </p:cNvPr>
            <p:cNvSpPr/>
            <p:nvPr/>
          </p:nvSpPr>
          <p:spPr>
            <a:xfrm>
              <a:off x="5492084" y="310867"/>
              <a:ext cx="332584" cy="315991"/>
            </a:xfrm>
            <a:custGeom>
              <a:avLst/>
              <a:gdLst>
                <a:gd name="connsiteX0" fmla="*/ 534924 w 1323022"/>
                <a:gd name="connsiteY0" fmla="*/ 0 h 1257014"/>
                <a:gd name="connsiteX1" fmla="*/ 788099 w 1323022"/>
                <a:gd name="connsiteY1" fmla="*/ 0 h 1257014"/>
                <a:gd name="connsiteX2" fmla="*/ 1323023 w 1323022"/>
                <a:gd name="connsiteY2" fmla="*/ 1257014 h 1257014"/>
                <a:gd name="connsiteX3" fmla="*/ 1035939 w 1323022"/>
                <a:gd name="connsiteY3" fmla="*/ 1257014 h 1257014"/>
                <a:gd name="connsiteX4" fmla="*/ 921829 w 1323022"/>
                <a:gd name="connsiteY4" fmla="*/ 977075 h 1257014"/>
                <a:gd name="connsiteX5" fmla="*/ 394049 w 1323022"/>
                <a:gd name="connsiteY5" fmla="*/ 977075 h 1257014"/>
                <a:gd name="connsiteX6" fmla="*/ 279940 w 1323022"/>
                <a:gd name="connsiteY6" fmla="*/ 1257014 h 1257014"/>
                <a:gd name="connsiteX7" fmla="*/ 0 w 1323022"/>
                <a:gd name="connsiteY7" fmla="*/ 1257014 h 1257014"/>
                <a:gd name="connsiteX8" fmla="*/ 534924 w 1323022"/>
                <a:gd name="connsiteY8" fmla="*/ 0 h 1257014"/>
                <a:gd name="connsiteX9" fmla="*/ 823817 w 1323022"/>
                <a:gd name="connsiteY9" fmla="*/ 734568 h 1257014"/>
                <a:gd name="connsiteX10" fmla="*/ 657987 w 1323022"/>
                <a:gd name="connsiteY10" fmla="*/ 329851 h 1257014"/>
                <a:gd name="connsiteX11" fmla="*/ 492157 w 1323022"/>
                <a:gd name="connsiteY11" fmla="*/ 734568 h 1257014"/>
                <a:gd name="connsiteX12" fmla="*/ 823817 w 1323022"/>
                <a:gd name="connsiteY12" fmla="*/ 734568 h 125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022" h="1257014">
                  <a:moveTo>
                    <a:pt x="534924" y="0"/>
                  </a:moveTo>
                  <a:lnTo>
                    <a:pt x="788099" y="0"/>
                  </a:lnTo>
                  <a:lnTo>
                    <a:pt x="1323023" y="1257014"/>
                  </a:lnTo>
                  <a:lnTo>
                    <a:pt x="1035939" y="1257014"/>
                  </a:lnTo>
                  <a:lnTo>
                    <a:pt x="921829" y="977075"/>
                  </a:lnTo>
                  <a:lnTo>
                    <a:pt x="394049" y="977075"/>
                  </a:lnTo>
                  <a:lnTo>
                    <a:pt x="279940" y="1257014"/>
                  </a:lnTo>
                  <a:lnTo>
                    <a:pt x="0" y="1257014"/>
                  </a:lnTo>
                  <a:lnTo>
                    <a:pt x="534924" y="0"/>
                  </a:lnTo>
                  <a:close/>
                  <a:moveTo>
                    <a:pt x="823817" y="734568"/>
                  </a:moveTo>
                  <a:lnTo>
                    <a:pt x="657987" y="329851"/>
                  </a:lnTo>
                  <a:lnTo>
                    <a:pt x="492157" y="734568"/>
                  </a:lnTo>
                  <a:lnTo>
                    <a:pt x="823817" y="734568"/>
                  </a:lnTo>
                  <a:close/>
                </a:path>
              </a:pathLst>
            </a:custGeom>
            <a:solidFill>
              <a:srgbClr val="44505E"/>
            </a:solidFill>
            <a:ln w="9525" cap="flat">
              <a:noFill/>
              <a:prstDash val="solid"/>
              <a:miter/>
            </a:ln>
          </p:spPr>
          <p:txBody>
            <a:bodyPr rtlCol="0" anchor="ctr"/>
            <a:lstStyle/>
            <a:p>
              <a:endParaRPr lang="pt-BR" noProof="0"/>
            </a:p>
          </p:txBody>
        </p:sp>
        <p:sp>
          <p:nvSpPr>
            <p:cNvPr id="5" name="Freeform: Shape 17">
              <a:extLst>
                <a:ext uri="{FF2B5EF4-FFF2-40B4-BE49-F238E27FC236}">
                  <a16:creationId xmlns:a16="http://schemas.microsoft.com/office/drawing/2014/main" id="{D679C0D1-C11F-EEFF-5CA7-E4A0F0DA7FFE}"/>
                </a:ext>
              </a:extLst>
            </p:cNvPr>
            <p:cNvSpPr/>
            <p:nvPr/>
          </p:nvSpPr>
          <p:spPr>
            <a:xfrm>
              <a:off x="5834078" y="211355"/>
              <a:ext cx="273442" cy="420435"/>
            </a:xfrm>
            <a:custGeom>
              <a:avLst/>
              <a:gdLst>
                <a:gd name="connsiteX0" fmla="*/ 540258 w 1087754"/>
                <a:gd name="connsiteY0" fmla="*/ 1672495 h 1672494"/>
                <a:gd name="connsiteX1" fmla="*/ 144399 w 1087754"/>
                <a:gd name="connsiteY1" fmla="*/ 1533430 h 1672494"/>
                <a:gd name="connsiteX2" fmla="*/ 0 w 1087754"/>
                <a:gd name="connsiteY2" fmla="*/ 1117949 h 1672494"/>
                <a:gd name="connsiteX3" fmla="*/ 0 w 1087754"/>
                <a:gd name="connsiteY3" fmla="*/ 404717 h 1672494"/>
                <a:gd name="connsiteX4" fmla="*/ 274606 w 1087754"/>
                <a:gd name="connsiteY4" fmla="*/ 404717 h 1672494"/>
                <a:gd name="connsiteX5" fmla="*/ 274606 w 1087754"/>
                <a:gd name="connsiteY5" fmla="*/ 1110806 h 1672494"/>
                <a:gd name="connsiteX6" fmla="*/ 345948 w 1087754"/>
                <a:gd name="connsiteY6" fmla="*/ 1341692 h 1672494"/>
                <a:gd name="connsiteX7" fmla="*/ 543877 w 1087754"/>
                <a:gd name="connsiteY7" fmla="*/ 1419225 h 1672494"/>
                <a:gd name="connsiteX8" fmla="*/ 741807 w 1087754"/>
                <a:gd name="connsiteY8" fmla="*/ 1344359 h 1672494"/>
                <a:gd name="connsiteX9" fmla="*/ 813149 w 1087754"/>
                <a:gd name="connsiteY9" fmla="*/ 1119664 h 1672494"/>
                <a:gd name="connsiteX10" fmla="*/ 813149 w 1087754"/>
                <a:gd name="connsiteY10" fmla="*/ 404717 h 1672494"/>
                <a:gd name="connsiteX11" fmla="*/ 1087755 w 1087754"/>
                <a:gd name="connsiteY11" fmla="*/ 404717 h 1672494"/>
                <a:gd name="connsiteX12" fmla="*/ 1087755 w 1087754"/>
                <a:gd name="connsiteY12" fmla="*/ 1108996 h 1672494"/>
                <a:gd name="connsiteX13" fmla="*/ 1049369 w 1087754"/>
                <a:gd name="connsiteY13" fmla="*/ 1356836 h 1672494"/>
                <a:gd name="connsiteX14" fmla="*/ 939737 w 1087754"/>
                <a:gd name="connsiteY14" fmla="*/ 1532477 h 1672494"/>
                <a:gd name="connsiteX15" fmla="*/ 766763 w 1087754"/>
                <a:gd name="connsiteY15" fmla="*/ 1637729 h 1672494"/>
                <a:gd name="connsiteX16" fmla="*/ 540353 w 1087754"/>
                <a:gd name="connsiteY16" fmla="*/ 1672495 h 1672494"/>
                <a:gd name="connsiteX17" fmla="*/ 622268 w 1087754"/>
                <a:gd name="connsiteY17" fmla="*/ 0 h 1672494"/>
                <a:gd name="connsiteX18" fmla="*/ 855821 w 1087754"/>
                <a:gd name="connsiteY18" fmla="*/ 101632 h 1672494"/>
                <a:gd name="connsiteX19" fmla="*/ 627602 w 1087754"/>
                <a:gd name="connsiteY19" fmla="*/ 315563 h 1672494"/>
                <a:gd name="connsiteX20" fmla="*/ 420719 w 1087754"/>
                <a:gd name="connsiteY20" fmla="*/ 315563 h 1672494"/>
                <a:gd name="connsiteX21" fmla="*/ 622268 w 1087754"/>
                <a:gd name="connsiteY21" fmla="*/ 0 h 16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754" h="1672494">
                  <a:moveTo>
                    <a:pt x="540258" y="1672495"/>
                  </a:moveTo>
                  <a:cubicBezTo>
                    <a:pt x="372618" y="1672495"/>
                    <a:pt x="240697" y="1626108"/>
                    <a:pt x="144399" y="1533430"/>
                  </a:cubicBezTo>
                  <a:cubicBezTo>
                    <a:pt x="48101" y="1440752"/>
                    <a:pt x="0" y="1302258"/>
                    <a:pt x="0" y="1117949"/>
                  </a:cubicBezTo>
                  <a:lnTo>
                    <a:pt x="0" y="404717"/>
                  </a:lnTo>
                  <a:lnTo>
                    <a:pt x="274606" y="404717"/>
                  </a:lnTo>
                  <a:lnTo>
                    <a:pt x="274606" y="1110806"/>
                  </a:lnTo>
                  <a:cubicBezTo>
                    <a:pt x="274606" y="1213009"/>
                    <a:pt x="298418" y="1289971"/>
                    <a:pt x="345948" y="1341692"/>
                  </a:cubicBezTo>
                  <a:cubicBezTo>
                    <a:pt x="393478" y="1393412"/>
                    <a:pt x="459486" y="1419225"/>
                    <a:pt x="543877" y="1419225"/>
                  </a:cubicBezTo>
                  <a:cubicBezTo>
                    <a:pt x="628269" y="1419225"/>
                    <a:pt x="694277" y="1394270"/>
                    <a:pt x="741807" y="1344359"/>
                  </a:cubicBezTo>
                  <a:cubicBezTo>
                    <a:pt x="789337" y="1294448"/>
                    <a:pt x="813149" y="1219581"/>
                    <a:pt x="813149" y="1119664"/>
                  </a:cubicBezTo>
                  <a:lnTo>
                    <a:pt x="813149" y="404717"/>
                  </a:lnTo>
                  <a:lnTo>
                    <a:pt x="1087755" y="404717"/>
                  </a:lnTo>
                  <a:lnTo>
                    <a:pt x="1087755" y="1108996"/>
                  </a:lnTo>
                  <a:cubicBezTo>
                    <a:pt x="1087755" y="1204151"/>
                    <a:pt x="1074992" y="1286732"/>
                    <a:pt x="1049369" y="1356836"/>
                  </a:cubicBezTo>
                  <a:cubicBezTo>
                    <a:pt x="1023747" y="1426940"/>
                    <a:pt x="987266" y="1485519"/>
                    <a:pt x="939737" y="1532477"/>
                  </a:cubicBezTo>
                  <a:cubicBezTo>
                    <a:pt x="892207" y="1579436"/>
                    <a:pt x="834485" y="1614488"/>
                    <a:pt x="766763" y="1637729"/>
                  </a:cubicBezTo>
                  <a:cubicBezTo>
                    <a:pt x="699040" y="1660874"/>
                    <a:pt x="623507" y="1672495"/>
                    <a:pt x="540353" y="1672495"/>
                  </a:cubicBezTo>
                  <a:close/>
                  <a:moveTo>
                    <a:pt x="622268" y="0"/>
                  </a:moveTo>
                  <a:lnTo>
                    <a:pt x="855821" y="101632"/>
                  </a:lnTo>
                  <a:lnTo>
                    <a:pt x="627602" y="315563"/>
                  </a:lnTo>
                  <a:lnTo>
                    <a:pt x="420719" y="315563"/>
                  </a:lnTo>
                  <a:lnTo>
                    <a:pt x="622268" y="0"/>
                  </a:lnTo>
                  <a:close/>
                </a:path>
              </a:pathLst>
            </a:custGeom>
            <a:solidFill>
              <a:srgbClr val="44505E"/>
            </a:solidFill>
            <a:ln w="9525" cap="flat">
              <a:noFill/>
              <a:prstDash val="solid"/>
              <a:miter/>
            </a:ln>
          </p:spPr>
          <p:txBody>
            <a:bodyPr rtlCol="0" anchor="ctr"/>
            <a:lstStyle/>
            <a:p>
              <a:endParaRPr lang="pt-BR" noProof="0"/>
            </a:p>
          </p:txBody>
        </p:sp>
        <p:sp>
          <p:nvSpPr>
            <p:cNvPr id="6" name="Freeform: Shape 18">
              <a:extLst>
                <a:ext uri="{FF2B5EF4-FFF2-40B4-BE49-F238E27FC236}">
                  <a16:creationId xmlns:a16="http://schemas.microsoft.com/office/drawing/2014/main" id="{ECF93F16-6AA6-53CF-BCBE-C01F8D642AB1}"/>
                </a:ext>
              </a:extLst>
            </p:cNvPr>
            <p:cNvSpPr/>
            <p:nvPr/>
          </p:nvSpPr>
          <p:spPr>
            <a:xfrm>
              <a:off x="6143795" y="313094"/>
              <a:ext cx="289101" cy="313764"/>
            </a:xfrm>
            <a:custGeom>
              <a:avLst/>
              <a:gdLst>
                <a:gd name="connsiteX0" fmla="*/ 0 w 1150048"/>
                <a:gd name="connsiteY0" fmla="*/ 0 h 1248155"/>
                <a:gd name="connsiteX1" fmla="*/ 486728 w 1150048"/>
                <a:gd name="connsiteY1" fmla="*/ 0 h 1248155"/>
                <a:gd name="connsiteX2" fmla="*/ 755047 w 1150048"/>
                <a:gd name="connsiteY2" fmla="*/ 47244 h 1248155"/>
                <a:gd name="connsiteX3" fmla="*/ 965454 w 1150048"/>
                <a:gd name="connsiteY3" fmla="*/ 178308 h 1248155"/>
                <a:gd name="connsiteX4" fmla="*/ 1101852 w 1150048"/>
                <a:gd name="connsiteY4" fmla="*/ 375380 h 1248155"/>
                <a:gd name="connsiteX5" fmla="*/ 1150049 w 1150048"/>
                <a:gd name="connsiteY5" fmla="*/ 620554 h 1248155"/>
                <a:gd name="connsiteX6" fmla="*/ 1150049 w 1150048"/>
                <a:gd name="connsiteY6" fmla="*/ 624173 h 1248155"/>
                <a:gd name="connsiteX7" fmla="*/ 1101852 w 1150048"/>
                <a:gd name="connsiteY7" fmla="*/ 870204 h 1248155"/>
                <a:gd name="connsiteX8" fmla="*/ 965454 w 1150048"/>
                <a:gd name="connsiteY8" fmla="*/ 1068134 h 1248155"/>
                <a:gd name="connsiteX9" fmla="*/ 755047 w 1150048"/>
                <a:gd name="connsiteY9" fmla="*/ 1200055 h 1248155"/>
                <a:gd name="connsiteX10" fmla="*/ 486728 w 1150048"/>
                <a:gd name="connsiteY10" fmla="*/ 1248156 h 1248155"/>
                <a:gd name="connsiteX11" fmla="*/ 0 w 1150048"/>
                <a:gd name="connsiteY11" fmla="*/ 1248156 h 1248155"/>
                <a:gd name="connsiteX12" fmla="*/ 0 w 1150048"/>
                <a:gd name="connsiteY12" fmla="*/ 0 h 1248155"/>
                <a:gd name="connsiteX13" fmla="*/ 486728 w 1150048"/>
                <a:gd name="connsiteY13" fmla="*/ 1000315 h 1248155"/>
                <a:gd name="connsiteX14" fmla="*/ 640080 w 1150048"/>
                <a:gd name="connsiteY14" fmla="*/ 973550 h 1248155"/>
                <a:gd name="connsiteX15" fmla="*/ 758667 w 1150048"/>
                <a:gd name="connsiteY15" fmla="*/ 896874 h 1248155"/>
                <a:gd name="connsiteX16" fmla="*/ 835343 w 1150048"/>
                <a:gd name="connsiteY16" fmla="*/ 779240 h 1248155"/>
                <a:gd name="connsiteX17" fmla="*/ 862965 w 1150048"/>
                <a:gd name="connsiteY17" fmla="*/ 627698 h 1248155"/>
                <a:gd name="connsiteX18" fmla="*/ 862965 w 1150048"/>
                <a:gd name="connsiteY18" fmla="*/ 624078 h 1248155"/>
                <a:gd name="connsiteX19" fmla="*/ 835343 w 1150048"/>
                <a:gd name="connsiteY19" fmla="*/ 472535 h 1248155"/>
                <a:gd name="connsiteX20" fmla="*/ 758667 w 1150048"/>
                <a:gd name="connsiteY20" fmla="*/ 353092 h 1248155"/>
                <a:gd name="connsiteX21" fmla="*/ 640080 w 1150048"/>
                <a:gd name="connsiteY21" fmla="*/ 275558 h 1248155"/>
                <a:gd name="connsiteX22" fmla="*/ 486728 w 1150048"/>
                <a:gd name="connsiteY22" fmla="*/ 247936 h 1248155"/>
                <a:gd name="connsiteX23" fmla="*/ 274511 w 1150048"/>
                <a:gd name="connsiteY23" fmla="*/ 247936 h 1248155"/>
                <a:gd name="connsiteX24" fmla="*/ 274511 w 1150048"/>
                <a:gd name="connsiteY24" fmla="*/ 1000411 h 1248155"/>
                <a:gd name="connsiteX25" fmla="*/ 486728 w 1150048"/>
                <a:gd name="connsiteY25" fmla="*/ 1000411 h 124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50048" h="1248155">
                  <a:moveTo>
                    <a:pt x="0" y="0"/>
                  </a:moveTo>
                  <a:lnTo>
                    <a:pt x="486728" y="0"/>
                  </a:lnTo>
                  <a:cubicBezTo>
                    <a:pt x="584168" y="0"/>
                    <a:pt x="673608" y="15811"/>
                    <a:pt x="755047" y="47244"/>
                  </a:cubicBezTo>
                  <a:cubicBezTo>
                    <a:pt x="836486" y="78772"/>
                    <a:pt x="906590" y="122396"/>
                    <a:pt x="965454" y="178308"/>
                  </a:cubicBezTo>
                  <a:cubicBezTo>
                    <a:pt x="1024319" y="234220"/>
                    <a:pt x="1069753" y="299847"/>
                    <a:pt x="1101852" y="375380"/>
                  </a:cubicBezTo>
                  <a:cubicBezTo>
                    <a:pt x="1133951" y="450914"/>
                    <a:pt x="1150049" y="532543"/>
                    <a:pt x="1150049" y="620554"/>
                  </a:cubicBezTo>
                  <a:lnTo>
                    <a:pt x="1150049" y="624173"/>
                  </a:lnTo>
                  <a:cubicBezTo>
                    <a:pt x="1150049" y="712184"/>
                    <a:pt x="1133951" y="794195"/>
                    <a:pt x="1101852" y="870204"/>
                  </a:cubicBezTo>
                  <a:cubicBezTo>
                    <a:pt x="1069753" y="946309"/>
                    <a:pt x="1024319" y="1012222"/>
                    <a:pt x="965454" y="1068134"/>
                  </a:cubicBezTo>
                  <a:cubicBezTo>
                    <a:pt x="906590" y="1124045"/>
                    <a:pt x="836486" y="1167956"/>
                    <a:pt x="755047" y="1200055"/>
                  </a:cubicBezTo>
                  <a:cubicBezTo>
                    <a:pt x="673608" y="1232154"/>
                    <a:pt x="584168" y="1248156"/>
                    <a:pt x="486728" y="1248156"/>
                  </a:cubicBezTo>
                  <a:lnTo>
                    <a:pt x="0" y="1248156"/>
                  </a:lnTo>
                  <a:lnTo>
                    <a:pt x="0" y="0"/>
                  </a:lnTo>
                  <a:close/>
                  <a:moveTo>
                    <a:pt x="486728" y="1000315"/>
                  </a:moveTo>
                  <a:cubicBezTo>
                    <a:pt x="542639" y="1000315"/>
                    <a:pt x="593693" y="991457"/>
                    <a:pt x="640080" y="973550"/>
                  </a:cubicBezTo>
                  <a:cubicBezTo>
                    <a:pt x="686467" y="955739"/>
                    <a:pt x="725900" y="930211"/>
                    <a:pt x="758667" y="896874"/>
                  </a:cubicBezTo>
                  <a:cubicBezTo>
                    <a:pt x="791337" y="863632"/>
                    <a:pt x="816864" y="824389"/>
                    <a:pt x="835343" y="779240"/>
                  </a:cubicBezTo>
                  <a:cubicBezTo>
                    <a:pt x="853726" y="734092"/>
                    <a:pt x="862965" y="683609"/>
                    <a:pt x="862965" y="627698"/>
                  </a:cubicBezTo>
                  <a:lnTo>
                    <a:pt x="862965" y="624078"/>
                  </a:lnTo>
                  <a:cubicBezTo>
                    <a:pt x="862965" y="569404"/>
                    <a:pt x="853726" y="518827"/>
                    <a:pt x="835343" y="472535"/>
                  </a:cubicBezTo>
                  <a:cubicBezTo>
                    <a:pt x="816864" y="426149"/>
                    <a:pt x="791337" y="386334"/>
                    <a:pt x="758667" y="353092"/>
                  </a:cubicBezTo>
                  <a:cubicBezTo>
                    <a:pt x="725996" y="319849"/>
                    <a:pt x="686467" y="293941"/>
                    <a:pt x="640080" y="275558"/>
                  </a:cubicBezTo>
                  <a:cubicBezTo>
                    <a:pt x="593693" y="257175"/>
                    <a:pt x="542639" y="247936"/>
                    <a:pt x="486728" y="247936"/>
                  </a:cubicBezTo>
                  <a:lnTo>
                    <a:pt x="274511" y="247936"/>
                  </a:lnTo>
                  <a:lnTo>
                    <a:pt x="274511" y="1000411"/>
                  </a:lnTo>
                  <a:lnTo>
                    <a:pt x="486728" y="1000411"/>
                  </a:lnTo>
                  <a:close/>
                </a:path>
              </a:pathLst>
            </a:custGeom>
            <a:solidFill>
              <a:srgbClr val="44505E"/>
            </a:solidFill>
            <a:ln w="9525" cap="flat">
              <a:noFill/>
              <a:prstDash val="solid"/>
              <a:miter/>
            </a:ln>
          </p:spPr>
          <p:txBody>
            <a:bodyPr rtlCol="0" anchor="ctr"/>
            <a:lstStyle/>
            <a:p>
              <a:endParaRPr lang="pt-BR" noProof="0"/>
            </a:p>
          </p:txBody>
        </p:sp>
        <p:sp>
          <p:nvSpPr>
            <p:cNvPr id="7" name="Freeform: Shape 19">
              <a:extLst>
                <a:ext uri="{FF2B5EF4-FFF2-40B4-BE49-F238E27FC236}">
                  <a16:creationId xmlns:a16="http://schemas.microsoft.com/office/drawing/2014/main" id="{5E9F3372-0B66-D060-B914-24A2E403852C}"/>
                </a:ext>
              </a:extLst>
            </p:cNvPr>
            <p:cNvSpPr/>
            <p:nvPr/>
          </p:nvSpPr>
          <p:spPr>
            <a:xfrm>
              <a:off x="6460217" y="313094"/>
              <a:ext cx="238459" cy="313788"/>
            </a:xfrm>
            <a:custGeom>
              <a:avLst/>
              <a:gdLst>
                <a:gd name="connsiteX0" fmla="*/ 95 w 948594"/>
                <a:gd name="connsiteY0" fmla="*/ 0 h 1248251"/>
                <a:gd name="connsiteX1" fmla="*/ 939737 w 948594"/>
                <a:gd name="connsiteY1" fmla="*/ 0 h 1248251"/>
                <a:gd name="connsiteX2" fmla="*/ 939737 w 948594"/>
                <a:gd name="connsiteY2" fmla="*/ 244316 h 1248251"/>
                <a:gd name="connsiteX3" fmla="*/ 271081 w 948594"/>
                <a:gd name="connsiteY3" fmla="*/ 244316 h 1248251"/>
                <a:gd name="connsiteX4" fmla="*/ 271081 w 948594"/>
                <a:gd name="connsiteY4" fmla="*/ 497491 h 1248251"/>
                <a:gd name="connsiteX5" fmla="*/ 859441 w 948594"/>
                <a:gd name="connsiteY5" fmla="*/ 497491 h 1248251"/>
                <a:gd name="connsiteX6" fmla="*/ 859441 w 948594"/>
                <a:gd name="connsiteY6" fmla="*/ 741807 h 1248251"/>
                <a:gd name="connsiteX7" fmla="*/ 271081 w 948594"/>
                <a:gd name="connsiteY7" fmla="*/ 741807 h 1248251"/>
                <a:gd name="connsiteX8" fmla="*/ 271081 w 948594"/>
                <a:gd name="connsiteY8" fmla="*/ 1003935 h 1248251"/>
                <a:gd name="connsiteX9" fmla="*/ 948595 w 948594"/>
                <a:gd name="connsiteY9" fmla="*/ 1003935 h 1248251"/>
                <a:gd name="connsiteX10" fmla="*/ 948595 w 948594"/>
                <a:gd name="connsiteY10" fmla="*/ 1248251 h 1248251"/>
                <a:gd name="connsiteX11" fmla="*/ 0 w 948594"/>
                <a:gd name="connsiteY11" fmla="*/ 1248251 h 1248251"/>
                <a:gd name="connsiteX12" fmla="*/ 0 w 948594"/>
                <a:gd name="connsiteY12" fmla="*/ 0 h 124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594" h="1248251">
                  <a:moveTo>
                    <a:pt x="95" y="0"/>
                  </a:moveTo>
                  <a:lnTo>
                    <a:pt x="939737" y="0"/>
                  </a:lnTo>
                  <a:lnTo>
                    <a:pt x="939737" y="244316"/>
                  </a:lnTo>
                  <a:lnTo>
                    <a:pt x="271081" y="244316"/>
                  </a:lnTo>
                  <a:lnTo>
                    <a:pt x="271081" y="497491"/>
                  </a:lnTo>
                  <a:lnTo>
                    <a:pt x="859441" y="497491"/>
                  </a:lnTo>
                  <a:lnTo>
                    <a:pt x="859441" y="741807"/>
                  </a:lnTo>
                  <a:lnTo>
                    <a:pt x="271081" y="741807"/>
                  </a:lnTo>
                  <a:lnTo>
                    <a:pt x="271081" y="1003935"/>
                  </a:lnTo>
                  <a:lnTo>
                    <a:pt x="948595" y="1003935"/>
                  </a:lnTo>
                  <a:lnTo>
                    <a:pt x="948595" y="1248251"/>
                  </a:lnTo>
                  <a:lnTo>
                    <a:pt x="0" y="1248251"/>
                  </a:lnTo>
                  <a:lnTo>
                    <a:pt x="0" y="0"/>
                  </a:lnTo>
                  <a:close/>
                </a:path>
              </a:pathLst>
            </a:custGeom>
            <a:solidFill>
              <a:srgbClr val="44505E"/>
            </a:solidFill>
            <a:ln w="9525" cap="flat">
              <a:noFill/>
              <a:prstDash val="solid"/>
              <a:miter/>
            </a:ln>
          </p:spPr>
          <p:txBody>
            <a:bodyPr rtlCol="0" anchor="ctr"/>
            <a:lstStyle/>
            <a:p>
              <a:endParaRPr lang="pt-BR" noProof="0"/>
            </a:p>
          </p:txBody>
        </p:sp>
        <p:sp>
          <p:nvSpPr>
            <p:cNvPr id="8" name="Freeform: Shape 20">
              <a:extLst>
                <a:ext uri="{FF2B5EF4-FFF2-40B4-BE49-F238E27FC236}">
                  <a16:creationId xmlns:a16="http://schemas.microsoft.com/office/drawing/2014/main" id="{FE37D50F-1720-7C01-08C9-8CC69924A3E1}"/>
                </a:ext>
              </a:extLst>
            </p:cNvPr>
            <p:cNvSpPr/>
            <p:nvPr/>
          </p:nvSpPr>
          <p:spPr>
            <a:xfrm>
              <a:off x="5253193" y="699983"/>
              <a:ext cx="90796" cy="97883"/>
            </a:xfrm>
            <a:custGeom>
              <a:avLst/>
              <a:gdLst>
                <a:gd name="connsiteX0" fmla="*/ 191548 w 361187"/>
                <a:gd name="connsiteY0" fmla="*/ 389382 h 389381"/>
                <a:gd name="connsiteX1" fmla="*/ 116300 w 361187"/>
                <a:gd name="connsiteY1" fmla="*/ 375285 h 389381"/>
                <a:gd name="connsiteX2" fmla="*/ 55531 w 361187"/>
                <a:gd name="connsiteY2" fmla="*/ 335756 h 389381"/>
                <a:gd name="connsiteX3" fmla="*/ 14859 w 361187"/>
                <a:gd name="connsiteY3" fmla="*/ 274606 h 389381"/>
                <a:gd name="connsiteX4" fmla="*/ 0 w 361187"/>
                <a:gd name="connsiteY4" fmla="*/ 195834 h 389381"/>
                <a:gd name="connsiteX5" fmla="*/ 0 w 361187"/>
                <a:gd name="connsiteY5" fmla="*/ 194405 h 389381"/>
                <a:gd name="connsiteX6" fmla="*/ 13430 w 361187"/>
                <a:gd name="connsiteY6" fmla="*/ 118777 h 389381"/>
                <a:gd name="connsiteX7" fmla="*/ 51245 w 361187"/>
                <a:gd name="connsiteY7" fmla="*/ 56959 h 389381"/>
                <a:gd name="connsiteX8" fmla="*/ 108871 w 361187"/>
                <a:gd name="connsiteY8" fmla="*/ 15240 h 389381"/>
                <a:gd name="connsiteX9" fmla="*/ 182404 w 361187"/>
                <a:gd name="connsiteY9" fmla="*/ 0 h 389381"/>
                <a:gd name="connsiteX10" fmla="*/ 260509 w 361187"/>
                <a:gd name="connsiteY10" fmla="*/ 16288 h 389381"/>
                <a:gd name="connsiteX11" fmla="*/ 316325 w 361187"/>
                <a:gd name="connsiteY11" fmla="*/ 60103 h 389381"/>
                <a:gd name="connsiteX12" fmla="*/ 349853 w 361187"/>
                <a:gd name="connsiteY12" fmla="*/ 124015 h 389381"/>
                <a:gd name="connsiteX13" fmla="*/ 361188 w 361187"/>
                <a:gd name="connsiteY13" fmla="*/ 200692 h 389381"/>
                <a:gd name="connsiteX14" fmla="*/ 360807 w 361187"/>
                <a:gd name="connsiteY14" fmla="*/ 212312 h 389381"/>
                <a:gd name="connsiteX15" fmla="*/ 359759 w 361187"/>
                <a:gd name="connsiteY15" fmla="*/ 224695 h 389381"/>
                <a:gd name="connsiteX16" fmla="*/ 85534 w 361187"/>
                <a:gd name="connsiteY16" fmla="*/ 224695 h 389381"/>
                <a:gd name="connsiteX17" fmla="*/ 121920 w 361187"/>
                <a:gd name="connsiteY17" fmla="*/ 294989 h 389381"/>
                <a:gd name="connsiteX18" fmla="*/ 192977 w 361187"/>
                <a:gd name="connsiteY18" fmla="*/ 319373 h 389381"/>
                <a:gd name="connsiteX19" fmla="*/ 248126 w 361187"/>
                <a:gd name="connsiteY19" fmla="*/ 308038 h 389381"/>
                <a:gd name="connsiteX20" fmla="*/ 294037 w 361187"/>
                <a:gd name="connsiteY20" fmla="*/ 274796 h 389381"/>
                <a:gd name="connsiteX21" fmla="*/ 344234 w 361187"/>
                <a:gd name="connsiteY21" fmla="*/ 319278 h 389381"/>
                <a:gd name="connsiteX22" fmla="*/ 280226 w 361187"/>
                <a:gd name="connsiteY22" fmla="*/ 370141 h 389381"/>
                <a:gd name="connsiteX23" fmla="*/ 191548 w 361187"/>
                <a:gd name="connsiteY23" fmla="*/ 389191 h 389381"/>
                <a:gd name="connsiteX24" fmla="*/ 276320 w 361187"/>
                <a:gd name="connsiteY24" fmla="*/ 168211 h 389381"/>
                <a:gd name="connsiteX25" fmla="*/ 267176 w 361187"/>
                <a:gd name="connsiteY25" fmla="*/ 129730 h 389381"/>
                <a:gd name="connsiteX26" fmla="*/ 248126 w 361187"/>
                <a:gd name="connsiteY26" fmla="*/ 98679 h 389381"/>
                <a:gd name="connsiteX27" fmla="*/ 219551 w 361187"/>
                <a:gd name="connsiteY27" fmla="*/ 77819 h 389381"/>
                <a:gd name="connsiteX28" fmla="*/ 181737 w 361187"/>
                <a:gd name="connsiteY28" fmla="*/ 70009 h 389381"/>
                <a:gd name="connsiteX29" fmla="*/ 116396 w 361187"/>
                <a:gd name="connsiteY29" fmla="*/ 97250 h 389381"/>
                <a:gd name="connsiteX30" fmla="*/ 84963 w 361187"/>
                <a:gd name="connsiteY30" fmla="*/ 168307 h 389381"/>
                <a:gd name="connsiteX31" fmla="*/ 276511 w 361187"/>
                <a:gd name="connsiteY31" fmla="*/ 168307 h 38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187" h="389381">
                  <a:moveTo>
                    <a:pt x="191548" y="389382"/>
                  </a:moveTo>
                  <a:cubicBezTo>
                    <a:pt x="164687" y="389382"/>
                    <a:pt x="139637" y="384715"/>
                    <a:pt x="116300" y="375285"/>
                  </a:cubicBezTo>
                  <a:cubicBezTo>
                    <a:pt x="92964" y="365855"/>
                    <a:pt x="72771" y="352711"/>
                    <a:pt x="55531" y="335756"/>
                  </a:cubicBezTo>
                  <a:cubicBezTo>
                    <a:pt x="38291" y="318802"/>
                    <a:pt x="24765" y="298418"/>
                    <a:pt x="14859" y="274606"/>
                  </a:cubicBezTo>
                  <a:cubicBezTo>
                    <a:pt x="4953" y="250793"/>
                    <a:pt x="0" y="224599"/>
                    <a:pt x="0" y="195834"/>
                  </a:cubicBezTo>
                  <a:lnTo>
                    <a:pt x="0" y="194405"/>
                  </a:lnTo>
                  <a:cubicBezTo>
                    <a:pt x="0" y="167545"/>
                    <a:pt x="4477" y="142399"/>
                    <a:pt x="13430" y="118777"/>
                  </a:cubicBezTo>
                  <a:cubicBezTo>
                    <a:pt x="22384" y="95250"/>
                    <a:pt x="34957" y="74581"/>
                    <a:pt x="51245" y="56959"/>
                  </a:cubicBezTo>
                  <a:cubicBezTo>
                    <a:pt x="67532" y="39338"/>
                    <a:pt x="86677" y="25432"/>
                    <a:pt x="108871" y="15240"/>
                  </a:cubicBezTo>
                  <a:cubicBezTo>
                    <a:pt x="131064" y="5143"/>
                    <a:pt x="155543" y="0"/>
                    <a:pt x="182404" y="0"/>
                  </a:cubicBezTo>
                  <a:cubicBezTo>
                    <a:pt x="212122" y="0"/>
                    <a:pt x="238125" y="5429"/>
                    <a:pt x="260509" y="16288"/>
                  </a:cubicBezTo>
                  <a:cubicBezTo>
                    <a:pt x="282893" y="27146"/>
                    <a:pt x="301466" y="41719"/>
                    <a:pt x="316325" y="60103"/>
                  </a:cubicBezTo>
                  <a:cubicBezTo>
                    <a:pt x="331184" y="78486"/>
                    <a:pt x="342329" y="99822"/>
                    <a:pt x="349853" y="124015"/>
                  </a:cubicBezTo>
                  <a:cubicBezTo>
                    <a:pt x="357378" y="148304"/>
                    <a:pt x="361188" y="173831"/>
                    <a:pt x="361188" y="200692"/>
                  </a:cubicBezTo>
                  <a:cubicBezTo>
                    <a:pt x="361188" y="204502"/>
                    <a:pt x="361093" y="208312"/>
                    <a:pt x="360807" y="212312"/>
                  </a:cubicBezTo>
                  <a:cubicBezTo>
                    <a:pt x="360521" y="216313"/>
                    <a:pt x="360236" y="220409"/>
                    <a:pt x="359759" y="224695"/>
                  </a:cubicBezTo>
                  <a:lnTo>
                    <a:pt x="85534" y="224695"/>
                  </a:lnTo>
                  <a:cubicBezTo>
                    <a:pt x="90202" y="255365"/>
                    <a:pt x="102394" y="278797"/>
                    <a:pt x="121920" y="294989"/>
                  </a:cubicBezTo>
                  <a:cubicBezTo>
                    <a:pt x="141446" y="311277"/>
                    <a:pt x="165164" y="319373"/>
                    <a:pt x="192977" y="319373"/>
                  </a:cubicBezTo>
                  <a:cubicBezTo>
                    <a:pt x="214217" y="319373"/>
                    <a:pt x="232505" y="315563"/>
                    <a:pt x="248126" y="308038"/>
                  </a:cubicBezTo>
                  <a:cubicBezTo>
                    <a:pt x="263652" y="300514"/>
                    <a:pt x="278987" y="289465"/>
                    <a:pt x="294037" y="274796"/>
                  </a:cubicBezTo>
                  <a:lnTo>
                    <a:pt x="344234" y="319278"/>
                  </a:lnTo>
                  <a:cubicBezTo>
                    <a:pt x="326327" y="340519"/>
                    <a:pt x="304991" y="357473"/>
                    <a:pt x="280226" y="370141"/>
                  </a:cubicBezTo>
                  <a:cubicBezTo>
                    <a:pt x="255461" y="382810"/>
                    <a:pt x="225933" y="389191"/>
                    <a:pt x="191548" y="389191"/>
                  </a:cubicBezTo>
                  <a:close/>
                  <a:moveTo>
                    <a:pt x="276320" y="168211"/>
                  </a:moveTo>
                  <a:cubicBezTo>
                    <a:pt x="274892" y="154591"/>
                    <a:pt x="271844" y="141732"/>
                    <a:pt x="267176" y="129730"/>
                  </a:cubicBezTo>
                  <a:cubicBezTo>
                    <a:pt x="262414" y="117729"/>
                    <a:pt x="256127" y="107347"/>
                    <a:pt x="248126" y="98679"/>
                  </a:cubicBezTo>
                  <a:cubicBezTo>
                    <a:pt x="240125" y="89916"/>
                    <a:pt x="230600" y="82963"/>
                    <a:pt x="219551" y="77819"/>
                  </a:cubicBezTo>
                  <a:cubicBezTo>
                    <a:pt x="208502" y="72676"/>
                    <a:pt x="195834" y="70009"/>
                    <a:pt x="181737" y="70009"/>
                  </a:cubicBezTo>
                  <a:cubicBezTo>
                    <a:pt x="155353" y="70009"/>
                    <a:pt x="133541" y="79057"/>
                    <a:pt x="116396" y="97250"/>
                  </a:cubicBezTo>
                  <a:cubicBezTo>
                    <a:pt x="99155" y="115348"/>
                    <a:pt x="88678" y="139065"/>
                    <a:pt x="84963" y="168307"/>
                  </a:cubicBezTo>
                  <a:lnTo>
                    <a:pt x="276511" y="168307"/>
                  </a:lnTo>
                  <a:close/>
                </a:path>
              </a:pathLst>
            </a:custGeom>
            <a:solidFill>
              <a:srgbClr val="44505E"/>
            </a:solidFill>
            <a:ln w="9525" cap="flat">
              <a:noFill/>
              <a:prstDash val="solid"/>
              <a:miter/>
            </a:ln>
          </p:spPr>
          <p:txBody>
            <a:bodyPr rtlCol="0" anchor="ctr"/>
            <a:lstStyle/>
            <a:p>
              <a:endParaRPr lang="pt-BR" noProof="0"/>
            </a:p>
          </p:txBody>
        </p:sp>
        <p:sp>
          <p:nvSpPr>
            <p:cNvPr id="9" name="Freeform: Shape 21">
              <a:extLst>
                <a:ext uri="{FF2B5EF4-FFF2-40B4-BE49-F238E27FC236}">
                  <a16:creationId xmlns:a16="http://schemas.microsoft.com/office/drawing/2014/main" id="{CB4029C5-8231-E0D1-8B59-B23976A9B88B}"/>
                </a:ext>
              </a:extLst>
            </p:cNvPr>
            <p:cNvSpPr/>
            <p:nvPr/>
          </p:nvSpPr>
          <p:spPr>
            <a:xfrm>
              <a:off x="5365659"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5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8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3 w 568166"/>
                <a:gd name="connsiteY21" fmla="*/ 381000 h 381000"/>
                <a:gd name="connsiteX22" fmla="*/ 240983 w 568166"/>
                <a:gd name="connsiteY22" fmla="*/ 168783 h 381000"/>
                <a:gd name="connsiteX23" fmla="*/ 221266 w 568166"/>
                <a:gd name="connsiteY23" fmla="*/ 101822 h 381000"/>
                <a:gd name="connsiteX24" fmla="*/ 165640 w 568166"/>
                <a:gd name="connsiteY24" fmla="*/ 78581 h 381000"/>
                <a:gd name="connsiteX25" fmla="*/ 108014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70" y="48196"/>
                    <a:pt x="105918" y="40576"/>
                  </a:cubicBezTo>
                  <a:cubicBezTo>
                    <a:pt x="112967" y="32956"/>
                    <a:pt x="121063" y="26099"/>
                    <a:pt x="130207" y="19907"/>
                  </a:cubicBezTo>
                  <a:cubicBezTo>
                    <a:pt x="139351" y="13716"/>
                    <a:pt x="149733" y="8858"/>
                    <a:pt x="161163" y="5334"/>
                  </a:cubicBezTo>
                  <a:cubicBezTo>
                    <a:pt x="172688" y="1714"/>
                    <a:pt x="185452" y="0"/>
                    <a:pt x="199549" y="0"/>
                  </a:cubicBezTo>
                  <a:cubicBezTo>
                    <a:pt x="226314" y="0"/>
                    <a:pt x="248984" y="6096"/>
                    <a:pt x="267557" y="18193"/>
                  </a:cubicBezTo>
                  <a:cubicBezTo>
                    <a:pt x="286131" y="30289"/>
                    <a:pt x="300323" y="46387"/>
                    <a:pt x="310134" y="66294"/>
                  </a:cubicBezTo>
                  <a:cubicBezTo>
                    <a:pt x="325279" y="46387"/>
                    <a:pt x="343091" y="30289"/>
                    <a:pt x="363665" y="18193"/>
                  </a:cubicBezTo>
                  <a:cubicBezTo>
                    <a:pt x="384239" y="6096"/>
                    <a:pt x="408718" y="0"/>
                    <a:pt x="437007" y="0"/>
                  </a:cubicBezTo>
                  <a:cubicBezTo>
                    <a:pt x="478060"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8" y="78486"/>
                  </a:cubicBezTo>
                  <a:cubicBezTo>
                    <a:pt x="382810" y="78486"/>
                    <a:pt x="364141" y="86392"/>
                    <a:pt x="349377" y="102108"/>
                  </a:cubicBezTo>
                  <a:cubicBezTo>
                    <a:pt x="334613" y="117824"/>
                    <a:pt x="327184" y="140779"/>
                    <a:pt x="327184" y="170879"/>
                  </a:cubicBezTo>
                  <a:lnTo>
                    <a:pt x="327184" y="381000"/>
                  </a:lnTo>
                  <a:lnTo>
                    <a:pt x="240983" y="381000"/>
                  </a:lnTo>
                  <a:lnTo>
                    <a:pt x="240983" y="168783"/>
                  </a:lnTo>
                  <a:cubicBezTo>
                    <a:pt x="240983" y="139637"/>
                    <a:pt x="234410" y="117348"/>
                    <a:pt x="221266" y="101822"/>
                  </a:cubicBezTo>
                  <a:cubicBezTo>
                    <a:pt x="208121" y="86296"/>
                    <a:pt x="189643" y="78581"/>
                    <a:pt x="165640" y="78581"/>
                  </a:cubicBezTo>
                  <a:cubicBezTo>
                    <a:pt x="141637" y="78581"/>
                    <a:pt x="122492" y="86773"/>
                    <a:pt x="108014"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10" name="Freeform: Shape 22">
              <a:extLst>
                <a:ext uri="{FF2B5EF4-FFF2-40B4-BE49-F238E27FC236}">
                  <a16:creationId xmlns:a16="http://schemas.microsoft.com/office/drawing/2014/main" id="{58644BBA-848C-6C7D-9983-AACB11FF1180}"/>
                </a:ext>
              </a:extLst>
            </p:cNvPr>
            <p:cNvSpPr/>
            <p:nvPr/>
          </p:nvSpPr>
          <p:spPr>
            <a:xfrm>
              <a:off x="5587693" y="700007"/>
              <a:ext cx="84211" cy="95752"/>
            </a:xfrm>
            <a:custGeom>
              <a:avLst/>
              <a:gdLst>
                <a:gd name="connsiteX0" fmla="*/ 95 w 334994"/>
                <a:gd name="connsiteY0" fmla="*/ 7715 h 380904"/>
                <a:gd name="connsiteX1" fmla="*/ 86296 w 334994"/>
                <a:gd name="connsiteY1" fmla="*/ 7715 h 380904"/>
                <a:gd name="connsiteX2" fmla="*/ 86296 w 334994"/>
                <a:gd name="connsiteY2" fmla="*/ 66294 h 380904"/>
                <a:gd name="connsiteX3" fmla="*/ 106394 w 334994"/>
                <a:gd name="connsiteY3" fmla="*/ 40958 h 380904"/>
                <a:gd name="connsiteX4" fmla="*/ 131731 w 334994"/>
                <a:gd name="connsiteY4" fmla="*/ 19907 h 380904"/>
                <a:gd name="connsiteX5" fmla="*/ 163449 w 334994"/>
                <a:gd name="connsiteY5" fmla="*/ 5334 h 380904"/>
                <a:gd name="connsiteX6" fmla="*/ 202597 w 334994"/>
                <a:gd name="connsiteY6" fmla="*/ 0 h 380904"/>
                <a:gd name="connsiteX7" fmla="*/ 300514 w 334994"/>
                <a:gd name="connsiteY7" fmla="*/ 38862 h 380904"/>
                <a:gd name="connsiteX8" fmla="*/ 334994 w 334994"/>
                <a:gd name="connsiteY8" fmla="*/ 143446 h 380904"/>
                <a:gd name="connsiteX9" fmla="*/ 334994 w 334994"/>
                <a:gd name="connsiteY9" fmla="*/ 380905 h 380904"/>
                <a:gd name="connsiteX10" fmla="*/ 248793 w 334994"/>
                <a:gd name="connsiteY10" fmla="*/ 380905 h 380904"/>
                <a:gd name="connsiteX11" fmla="*/ 248793 w 334994"/>
                <a:gd name="connsiteY11" fmla="*/ 169450 h 380904"/>
                <a:gd name="connsiteX12" fmla="*/ 228124 w 334994"/>
                <a:gd name="connsiteY12" fmla="*/ 102108 h 380904"/>
                <a:gd name="connsiteX13" fmla="*/ 169640 w 334994"/>
                <a:gd name="connsiteY13" fmla="*/ 78486 h 380904"/>
                <a:gd name="connsiteX14" fmla="*/ 109347 w 334994"/>
                <a:gd name="connsiteY14" fmla="*/ 102775 h 380904"/>
                <a:gd name="connsiteX15" fmla="*/ 86201 w 334994"/>
                <a:gd name="connsiteY15" fmla="*/ 170783 h 380904"/>
                <a:gd name="connsiteX16" fmla="*/ 86201 w 334994"/>
                <a:gd name="connsiteY16" fmla="*/ 380905 h 380904"/>
                <a:gd name="connsiteX17" fmla="*/ 0 w 334994"/>
                <a:gd name="connsiteY17" fmla="*/ 380905 h 380904"/>
                <a:gd name="connsiteX18" fmla="*/ 0 w 334994"/>
                <a:gd name="connsiteY18" fmla="*/ 7810 h 38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94" h="380904">
                  <a:moveTo>
                    <a:pt x="95" y="7715"/>
                  </a:moveTo>
                  <a:lnTo>
                    <a:pt x="86296" y="7715"/>
                  </a:lnTo>
                  <a:lnTo>
                    <a:pt x="86296" y="66294"/>
                  </a:lnTo>
                  <a:cubicBezTo>
                    <a:pt x="92392" y="57245"/>
                    <a:pt x="99060" y="48863"/>
                    <a:pt x="106394" y="40958"/>
                  </a:cubicBezTo>
                  <a:cubicBezTo>
                    <a:pt x="113633" y="33147"/>
                    <a:pt x="122110" y="26099"/>
                    <a:pt x="131731" y="19907"/>
                  </a:cubicBezTo>
                  <a:cubicBezTo>
                    <a:pt x="141351" y="13716"/>
                    <a:pt x="151924" y="8858"/>
                    <a:pt x="163449" y="5334"/>
                  </a:cubicBezTo>
                  <a:cubicBezTo>
                    <a:pt x="174974" y="1714"/>
                    <a:pt x="188024" y="0"/>
                    <a:pt x="202597" y="0"/>
                  </a:cubicBezTo>
                  <a:cubicBezTo>
                    <a:pt x="244888" y="0"/>
                    <a:pt x="277559" y="12954"/>
                    <a:pt x="300514" y="38862"/>
                  </a:cubicBezTo>
                  <a:cubicBezTo>
                    <a:pt x="323564" y="64770"/>
                    <a:pt x="334994" y="99631"/>
                    <a:pt x="334994" y="143446"/>
                  </a:cubicBezTo>
                  <a:lnTo>
                    <a:pt x="334994" y="380905"/>
                  </a:lnTo>
                  <a:lnTo>
                    <a:pt x="248793" y="380905"/>
                  </a:lnTo>
                  <a:lnTo>
                    <a:pt x="248793" y="169450"/>
                  </a:lnTo>
                  <a:cubicBezTo>
                    <a:pt x="248793" y="140303"/>
                    <a:pt x="241935" y="117824"/>
                    <a:pt x="228124" y="102108"/>
                  </a:cubicBezTo>
                  <a:cubicBezTo>
                    <a:pt x="214313" y="86392"/>
                    <a:pt x="194881" y="78486"/>
                    <a:pt x="169640" y="78486"/>
                  </a:cubicBezTo>
                  <a:cubicBezTo>
                    <a:pt x="144399" y="78486"/>
                    <a:pt x="124777" y="86582"/>
                    <a:pt x="109347" y="102775"/>
                  </a:cubicBezTo>
                  <a:cubicBezTo>
                    <a:pt x="93917" y="118967"/>
                    <a:pt x="86201" y="141637"/>
                    <a:pt x="86201" y="170783"/>
                  </a:cubicBezTo>
                  <a:lnTo>
                    <a:pt x="86201" y="380905"/>
                  </a:lnTo>
                  <a:lnTo>
                    <a:pt x="0" y="380905"/>
                  </a:lnTo>
                  <a:lnTo>
                    <a:pt x="0" y="7810"/>
                  </a:lnTo>
                  <a:close/>
                </a:path>
              </a:pathLst>
            </a:custGeom>
            <a:solidFill>
              <a:srgbClr val="44505E"/>
            </a:solidFill>
            <a:ln w="9525" cap="flat">
              <a:noFill/>
              <a:prstDash val="solid"/>
              <a:miter/>
            </a:ln>
          </p:spPr>
          <p:txBody>
            <a:bodyPr rtlCol="0" anchor="ctr"/>
            <a:lstStyle/>
            <a:p>
              <a:endParaRPr lang="pt-BR" noProof="0"/>
            </a:p>
          </p:txBody>
        </p:sp>
        <p:sp>
          <p:nvSpPr>
            <p:cNvPr id="11" name="Freeform: Shape 23">
              <a:extLst>
                <a:ext uri="{FF2B5EF4-FFF2-40B4-BE49-F238E27FC236}">
                  <a16:creationId xmlns:a16="http://schemas.microsoft.com/office/drawing/2014/main" id="{9EF1DD6C-FF1E-A42A-1E07-3DE271DE3C60}"/>
                </a:ext>
              </a:extLst>
            </p:cNvPr>
            <p:cNvSpPr/>
            <p:nvPr/>
          </p:nvSpPr>
          <p:spPr>
            <a:xfrm>
              <a:off x="5692712" y="699959"/>
              <a:ext cx="100015" cy="97908"/>
            </a:xfrm>
            <a:custGeom>
              <a:avLst/>
              <a:gdLst>
                <a:gd name="connsiteX0" fmla="*/ 197834 w 397859"/>
                <a:gd name="connsiteY0" fmla="*/ 389477 h 389477"/>
                <a:gd name="connsiteX1" fmla="*/ 119063 w 397859"/>
                <a:gd name="connsiteY1" fmla="*/ 374237 h 389477"/>
                <a:gd name="connsiteX2" fmla="*/ 56197 w 397859"/>
                <a:gd name="connsiteY2" fmla="*/ 332899 h 389477"/>
                <a:gd name="connsiteX3" fmla="*/ 14859 w 397859"/>
                <a:gd name="connsiteY3" fmla="*/ 271463 h 389477"/>
                <a:gd name="connsiteX4" fmla="*/ 0 w 397859"/>
                <a:gd name="connsiteY4" fmla="*/ 196501 h 389477"/>
                <a:gd name="connsiteX5" fmla="*/ 0 w 397859"/>
                <a:gd name="connsiteY5" fmla="*/ 195072 h 389477"/>
                <a:gd name="connsiteX6" fmla="*/ 15145 w 397859"/>
                <a:gd name="connsiteY6" fmla="*/ 119444 h 389477"/>
                <a:gd name="connsiteX7" fmla="*/ 56864 w 397859"/>
                <a:gd name="connsiteY7" fmla="*/ 57626 h 389477"/>
                <a:gd name="connsiteX8" fmla="*/ 119729 w 397859"/>
                <a:gd name="connsiteY8" fmla="*/ 15526 h 389477"/>
                <a:gd name="connsiteX9" fmla="*/ 199263 w 397859"/>
                <a:gd name="connsiteY9" fmla="*/ 0 h 389477"/>
                <a:gd name="connsiteX10" fmla="*/ 278797 w 397859"/>
                <a:gd name="connsiteY10" fmla="*/ 15240 h 389477"/>
                <a:gd name="connsiteX11" fmla="*/ 341662 w 397859"/>
                <a:gd name="connsiteY11" fmla="*/ 56959 h 389477"/>
                <a:gd name="connsiteX12" fmla="*/ 383000 w 397859"/>
                <a:gd name="connsiteY12" fmla="*/ 118396 h 389477"/>
                <a:gd name="connsiteX13" fmla="*/ 397859 w 397859"/>
                <a:gd name="connsiteY13" fmla="*/ 193643 h 389477"/>
                <a:gd name="connsiteX14" fmla="*/ 397859 w 397859"/>
                <a:gd name="connsiteY14" fmla="*/ 195072 h 389477"/>
                <a:gd name="connsiteX15" fmla="*/ 382619 w 397859"/>
                <a:gd name="connsiteY15" fmla="*/ 270034 h 389477"/>
                <a:gd name="connsiteX16" fmla="*/ 340900 w 397859"/>
                <a:gd name="connsiteY16" fmla="*/ 331851 h 389477"/>
                <a:gd name="connsiteX17" fmla="*/ 277654 w 397859"/>
                <a:gd name="connsiteY17" fmla="*/ 373856 h 389477"/>
                <a:gd name="connsiteX18" fmla="*/ 197834 w 397859"/>
                <a:gd name="connsiteY18" fmla="*/ 389382 h 389477"/>
                <a:gd name="connsiteX19" fmla="*/ 199263 w 397859"/>
                <a:gd name="connsiteY19" fmla="*/ 315278 h 389477"/>
                <a:gd name="connsiteX20" fmla="*/ 245935 w 397859"/>
                <a:gd name="connsiteY20" fmla="*/ 305753 h 389477"/>
                <a:gd name="connsiteX21" fmla="*/ 281368 w 397859"/>
                <a:gd name="connsiteY21" fmla="*/ 279940 h 389477"/>
                <a:gd name="connsiteX22" fmla="*/ 303847 w 397859"/>
                <a:gd name="connsiteY22" fmla="*/ 242125 h 389477"/>
                <a:gd name="connsiteX23" fmla="*/ 311563 w 397859"/>
                <a:gd name="connsiteY23" fmla="*/ 196501 h 389477"/>
                <a:gd name="connsiteX24" fmla="*/ 311563 w 397859"/>
                <a:gd name="connsiteY24" fmla="*/ 195072 h 389477"/>
                <a:gd name="connsiteX25" fmla="*/ 303181 w 397859"/>
                <a:gd name="connsiteY25" fmla="*/ 148400 h 389477"/>
                <a:gd name="connsiteX26" fmla="*/ 279654 w 397859"/>
                <a:gd name="connsiteY26" fmla="*/ 110204 h 389477"/>
                <a:gd name="connsiteX27" fmla="*/ 243840 w 397859"/>
                <a:gd name="connsiteY27" fmla="*/ 84392 h 389477"/>
                <a:gd name="connsiteX28" fmla="*/ 197834 w 397859"/>
                <a:gd name="connsiteY28" fmla="*/ 74867 h 389477"/>
                <a:gd name="connsiteX29" fmla="*/ 151829 w 397859"/>
                <a:gd name="connsiteY29" fmla="*/ 84392 h 389477"/>
                <a:gd name="connsiteX30" fmla="*/ 116396 w 397859"/>
                <a:gd name="connsiteY30" fmla="*/ 109823 h 389477"/>
                <a:gd name="connsiteX31" fmla="*/ 93917 w 397859"/>
                <a:gd name="connsiteY31" fmla="*/ 147638 h 389477"/>
                <a:gd name="connsiteX32" fmla="*/ 86201 w 397859"/>
                <a:gd name="connsiteY32" fmla="*/ 193548 h 389477"/>
                <a:gd name="connsiteX33" fmla="*/ 86201 w 397859"/>
                <a:gd name="connsiteY33" fmla="*/ 194977 h 389477"/>
                <a:gd name="connsiteX34" fmla="*/ 94583 w 397859"/>
                <a:gd name="connsiteY34" fmla="*/ 241268 h 389477"/>
                <a:gd name="connsiteX35" fmla="*/ 118110 w 397859"/>
                <a:gd name="connsiteY35" fmla="*/ 279463 h 389477"/>
                <a:gd name="connsiteX36" fmla="*/ 153924 w 397859"/>
                <a:gd name="connsiteY36" fmla="*/ 305562 h 389477"/>
                <a:gd name="connsiteX37" fmla="*/ 199263 w 397859"/>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859" h="389477">
                  <a:moveTo>
                    <a:pt x="197834" y="389477"/>
                  </a:moveTo>
                  <a:cubicBezTo>
                    <a:pt x="169545" y="389477"/>
                    <a:pt x="143351" y="384429"/>
                    <a:pt x="119063" y="374237"/>
                  </a:cubicBezTo>
                  <a:cubicBezTo>
                    <a:pt x="94774" y="364141"/>
                    <a:pt x="73819" y="350330"/>
                    <a:pt x="56197" y="332899"/>
                  </a:cubicBezTo>
                  <a:cubicBezTo>
                    <a:pt x="38481" y="315468"/>
                    <a:pt x="24765" y="294989"/>
                    <a:pt x="14859" y="271463"/>
                  </a:cubicBezTo>
                  <a:cubicBezTo>
                    <a:pt x="4953" y="247936"/>
                    <a:pt x="0" y="222980"/>
                    <a:pt x="0" y="196501"/>
                  </a:cubicBezTo>
                  <a:lnTo>
                    <a:pt x="0" y="195072"/>
                  </a:lnTo>
                  <a:cubicBezTo>
                    <a:pt x="0" y="168212"/>
                    <a:pt x="5048" y="143066"/>
                    <a:pt x="15145" y="119444"/>
                  </a:cubicBezTo>
                  <a:cubicBezTo>
                    <a:pt x="25241" y="95917"/>
                    <a:pt x="39148" y="75248"/>
                    <a:pt x="56864" y="57626"/>
                  </a:cubicBezTo>
                  <a:cubicBezTo>
                    <a:pt x="74581" y="39910"/>
                    <a:pt x="95536" y="25908"/>
                    <a:pt x="119729" y="15526"/>
                  </a:cubicBezTo>
                  <a:cubicBezTo>
                    <a:pt x="144018" y="5144"/>
                    <a:pt x="170497" y="0"/>
                    <a:pt x="199263" y="0"/>
                  </a:cubicBezTo>
                  <a:cubicBezTo>
                    <a:pt x="228029" y="0"/>
                    <a:pt x="254508" y="5048"/>
                    <a:pt x="278797" y="15240"/>
                  </a:cubicBezTo>
                  <a:cubicBezTo>
                    <a:pt x="303085" y="25337"/>
                    <a:pt x="324041" y="39243"/>
                    <a:pt x="341662" y="56959"/>
                  </a:cubicBezTo>
                  <a:cubicBezTo>
                    <a:pt x="359378" y="74676"/>
                    <a:pt x="373094" y="95155"/>
                    <a:pt x="383000" y="118396"/>
                  </a:cubicBezTo>
                  <a:cubicBezTo>
                    <a:pt x="392906" y="141732"/>
                    <a:pt x="397859" y="166783"/>
                    <a:pt x="397859" y="193643"/>
                  </a:cubicBezTo>
                  <a:lnTo>
                    <a:pt x="397859" y="195072"/>
                  </a:lnTo>
                  <a:cubicBezTo>
                    <a:pt x="397859" y="221456"/>
                    <a:pt x="392811" y="246412"/>
                    <a:pt x="382619" y="270034"/>
                  </a:cubicBezTo>
                  <a:cubicBezTo>
                    <a:pt x="372523" y="293561"/>
                    <a:pt x="358616" y="314230"/>
                    <a:pt x="340900" y="331851"/>
                  </a:cubicBezTo>
                  <a:cubicBezTo>
                    <a:pt x="323183" y="349472"/>
                    <a:pt x="302133" y="363569"/>
                    <a:pt x="277654" y="373856"/>
                  </a:cubicBezTo>
                  <a:cubicBezTo>
                    <a:pt x="253175" y="384238"/>
                    <a:pt x="226504" y="389382"/>
                    <a:pt x="197834" y="389382"/>
                  </a:cubicBezTo>
                  <a:close/>
                  <a:moveTo>
                    <a:pt x="199263" y="315278"/>
                  </a:moveTo>
                  <a:cubicBezTo>
                    <a:pt x="216598" y="315278"/>
                    <a:pt x="232124" y="312039"/>
                    <a:pt x="245935" y="305753"/>
                  </a:cubicBezTo>
                  <a:cubicBezTo>
                    <a:pt x="259747" y="299371"/>
                    <a:pt x="271558" y="290798"/>
                    <a:pt x="281368" y="279940"/>
                  </a:cubicBezTo>
                  <a:cubicBezTo>
                    <a:pt x="291179" y="269081"/>
                    <a:pt x="298704" y="256508"/>
                    <a:pt x="303847" y="242125"/>
                  </a:cubicBezTo>
                  <a:cubicBezTo>
                    <a:pt x="308991" y="227743"/>
                    <a:pt x="311563" y="212598"/>
                    <a:pt x="311563" y="196501"/>
                  </a:cubicBezTo>
                  <a:lnTo>
                    <a:pt x="311563" y="195072"/>
                  </a:lnTo>
                  <a:cubicBezTo>
                    <a:pt x="311563" y="178594"/>
                    <a:pt x="308800" y="163068"/>
                    <a:pt x="303181" y="148400"/>
                  </a:cubicBezTo>
                  <a:cubicBezTo>
                    <a:pt x="297561" y="133826"/>
                    <a:pt x="289750" y="121063"/>
                    <a:pt x="279654" y="110204"/>
                  </a:cubicBezTo>
                  <a:cubicBezTo>
                    <a:pt x="269558" y="99346"/>
                    <a:pt x="257651" y="90773"/>
                    <a:pt x="243840" y="84392"/>
                  </a:cubicBezTo>
                  <a:cubicBezTo>
                    <a:pt x="230029" y="78010"/>
                    <a:pt x="214693" y="74867"/>
                    <a:pt x="197834" y="74867"/>
                  </a:cubicBezTo>
                  <a:cubicBezTo>
                    <a:pt x="180975" y="74867"/>
                    <a:pt x="165640" y="78010"/>
                    <a:pt x="151829" y="84392"/>
                  </a:cubicBezTo>
                  <a:cubicBezTo>
                    <a:pt x="138017" y="90773"/>
                    <a:pt x="126206" y="99250"/>
                    <a:pt x="116396" y="109823"/>
                  </a:cubicBezTo>
                  <a:cubicBezTo>
                    <a:pt x="106585" y="120396"/>
                    <a:pt x="99060" y="133064"/>
                    <a:pt x="93917" y="147638"/>
                  </a:cubicBezTo>
                  <a:cubicBezTo>
                    <a:pt x="88773" y="162211"/>
                    <a:pt x="86201" y="177546"/>
                    <a:pt x="86201" y="193548"/>
                  </a:cubicBezTo>
                  <a:lnTo>
                    <a:pt x="86201" y="194977"/>
                  </a:lnTo>
                  <a:cubicBezTo>
                    <a:pt x="86201" y="211455"/>
                    <a:pt x="88963" y="226886"/>
                    <a:pt x="94583" y="241268"/>
                  </a:cubicBezTo>
                  <a:cubicBezTo>
                    <a:pt x="100203" y="255651"/>
                    <a:pt x="108013" y="268319"/>
                    <a:pt x="118110" y="279463"/>
                  </a:cubicBezTo>
                  <a:cubicBezTo>
                    <a:pt x="128206" y="290513"/>
                    <a:pt x="140113" y="299275"/>
                    <a:pt x="153924" y="305562"/>
                  </a:cubicBezTo>
                  <a:cubicBezTo>
                    <a:pt x="167735" y="311944"/>
                    <a:pt x="182880"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12" name="Freeform: Shape 24">
              <a:extLst>
                <a:ext uri="{FF2B5EF4-FFF2-40B4-BE49-F238E27FC236}">
                  <a16:creationId xmlns:a16="http://schemas.microsoft.com/office/drawing/2014/main" id="{98344D83-CC04-524C-135B-FC56107D6808}"/>
                </a:ext>
              </a:extLst>
            </p:cNvPr>
            <p:cNvSpPr/>
            <p:nvPr/>
          </p:nvSpPr>
          <p:spPr>
            <a:xfrm>
              <a:off x="5806925"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2 w 296894"/>
                <a:gd name="connsiteY36" fmla="*/ 224980 h 386714"/>
                <a:gd name="connsiteX37" fmla="*/ 296894 w 296894"/>
                <a:gd name="connsiteY37" fmla="*/ 267938 h 386714"/>
                <a:gd name="connsiteX38" fmla="*/ 296894 w 296894"/>
                <a:gd name="connsiteY38" fmla="*/ 269367 h 386714"/>
                <a:gd name="connsiteX39" fmla="*/ 286322 w 296894"/>
                <a:gd name="connsiteY39" fmla="*/ 320897 h 386714"/>
                <a:gd name="connsiteX40" fmla="*/ 256984 w 296894"/>
                <a:gd name="connsiteY40" fmla="*/ 357188 h 386714"/>
                <a:gd name="connsiteX41" fmla="*/ 212789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8" y="298704"/>
                    <a:pt x="100013" y="306514"/>
                  </a:cubicBezTo>
                  <a:cubicBezTo>
                    <a:pt x="120967" y="314325"/>
                    <a:pt x="141161" y="318135"/>
                    <a:pt x="160401" y="318135"/>
                  </a:cubicBezTo>
                  <a:cubicBezTo>
                    <a:pt x="179642" y="318135"/>
                    <a:pt x="192976"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2" y="241078"/>
                    <a:pt x="176498" y="237553"/>
                    <a:pt x="166402" y="234220"/>
                  </a:cubicBezTo>
                  <a:cubicBezTo>
                    <a:pt x="156305" y="230886"/>
                    <a:pt x="145733" y="227647"/>
                    <a:pt x="134969" y="224314"/>
                  </a:cubicBezTo>
                  <a:cubicBezTo>
                    <a:pt x="121253" y="220599"/>
                    <a:pt x="107537" y="216122"/>
                    <a:pt x="93631" y="210884"/>
                  </a:cubicBezTo>
                  <a:cubicBezTo>
                    <a:pt x="79724" y="205740"/>
                    <a:pt x="67246" y="198977"/>
                    <a:pt x="56197" y="190786"/>
                  </a:cubicBezTo>
                  <a:cubicBezTo>
                    <a:pt x="45149" y="182594"/>
                    <a:pt x="36100" y="172307"/>
                    <a:pt x="28956" y="160115"/>
                  </a:cubicBezTo>
                  <a:cubicBezTo>
                    <a:pt x="21908"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5"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7" y="156210"/>
                    <a:pt x="180975" y="159448"/>
                  </a:cubicBezTo>
                  <a:cubicBezTo>
                    <a:pt x="194596" y="163639"/>
                    <a:pt x="208312" y="168592"/>
                    <a:pt x="222028" y="174212"/>
                  </a:cubicBezTo>
                  <a:cubicBezTo>
                    <a:pt x="235649" y="179832"/>
                    <a:pt x="248031" y="186785"/>
                    <a:pt x="259080" y="194977"/>
                  </a:cubicBezTo>
                  <a:cubicBezTo>
                    <a:pt x="270129" y="203168"/>
                    <a:pt x="279273" y="213169"/>
                    <a:pt x="286322" y="224980"/>
                  </a:cubicBezTo>
                  <a:cubicBezTo>
                    <a:pt x="293370" y="236696"/>
                    <a:pt x="296894" y="251079"/>
                    <a:pt x="296894" y="267938"/>
                  </a:cubicBezTo>
                  <a:lnTo>
                    <a:pt x="296894" y="269367"/>
                  </a:lnTo>
                  <a:cubicBezTo>
                    <a:pt x="296894" y="289084"/>
                    <a:pt x="293370" y="306229"/>
                    <a:pt x="286322" y="320897"/>
                  </a:cubicBezTo>
                  <a:cubicBezTo>
                    <a:pt x="279273" y="335470"/>
                    <a:pt x="269462" y="347567"/>
                    <a:pt x="256984" y="357188"/>
                  </a:cubicBezTo>
                  <a:cubicBezTo>
                    <a:pt x="244507" y="366808"/>
                    <a:pt x="229743" y="374142"/>
                    <a:pt x="212789"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13" name="Freeform: Shape 25">
              <a:extLst>
                <a:ext uri="{FF2B5EF4-FFF2-40B4-BE49-F238E27FC236}">
                  <a16:creationId xmlns:a16="http://schemas.microsoft.com/office/drawing/2014/main" id="{3DF05A25-2EC4-D1FE-CD6A-2A0FA5523406}"/>
                </a:ext>
              </a:extLst>
            </p:cNvPr>
            <p:cNvSpPr/>
            <p:nvPr/>
          </p:nvSpPr>
          <p:spPr>
            <a:xfrm>
              <a:off x="589573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6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160" y="318135"/>
                    <a:pt x="160401" y="318135"/>
                  </a:cubicBezTo>
                  <a:cubicBezTo>
                    <a:pt x="179641" y="318135"/>
                    <a:pt x="192976"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4"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792"/>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14" name="Freeform: Shape 26">
              <a:extLst>
                <a:ext uri="{FF2B5EF4-FFF2-40B4-BE49-F238E27FC236}">
                  <a16:creationId xmlns:a16="http://schemas.microsoft.com/office/drawing/2014/main" id="{64FF132C-786E-8790-727C-C82EDB203D67}"/>
                </a:ext>
              </a:extLst>
            </p:cNvPr>
            <p:cNvSpPr/>
            <p:nvPr/>
          </p:nvSpPr>
          <p:spPr>
            <a:xfrm>
              <a:off x="5985812" y="700558"/>
              <a:ext cx="85097" cy="97141"/>
            </a:xfrm>
            <a:custGeom>
              <a:avLst/>
              <a:gdLst>
                <a:gd name="connsiteX0" fmla="*/ 253651 w 338518"/>
                <a:gd name="connsiteY0" fmla="*/ 378619 h 386429"/>
                <a:gd name="connsiteX1" fmla="*/ 253651 w 338518"/>
                <a:gd name="connsiteY1" fmla="*/ 332708 h 386429"/>
                <a:gd name="connsiteX2" fmla="*/ 204883 w 338518"/>
                <a:gd name="connsiteY2" fmla="*/ 370904 h 386429"/>
                <a:gd name="connsiteX3" fmla="*/ 132779 w 338518"/>
                <a:gd name="connsiteY3" fmla="*/ 386429 h 386429"/>
                <a:gd name="connsiteX4" fmla="*/ 81915 w 338518"/>
                <a:gd name="connsiteY4" fmla="*/ 379000 h 386429"/>
                <a:gd name="connsiteX5" fmla="*/ 39910 w 338518"/>
                <a:gd name="connsiteY5" fmla="*/ 357092 h 386429"/>
                <a:gd name="connsiteX6" fmla="*/ 10954 w 338518"/>
                <a:gd name="connsiteY6" fmla="*/ 321088 h 386429"/>
                <a:gd name="connsiteX7" fmla="*/ 0 w 338518"/>
                <a:gd name="connsiteY7" fmla="*/ 271272 h 386429"/>
                <a:gd name="connsiteX8" fmla="*/ 0 w 338518"/>
                <a:gd name="connsiteY8" fmla="*/ 269843 h 386429"/>
                <a:gd name="connsiteX9" fmla="*/ 11335 w 338518"/>
                <a:gd name="connsiteY9" fmla="*/ 215741 h 386429"/>
                <a:gd name="connsiteX10" fmla="*/ 42767 w 338518"/>
                <a:gd name="connsiteY10" fmla="*/ 177546 h 386429"/>
                <a:gd name="connsiteX11" fmla="*/ 90773 w 338518"/>
                <a:gd name="connsiteY11" fmla="*/ 154972 h 386429"/>
                <a:gd name="connsiteX12" fmla="*/ 151162 w 338518"/>
                <a:gd name="connsiteY12" fmla="*/ 147542 h 386429"/>
                <a:gd name="connsiteX13" fmla="*/ 208788 w 338518"/>
                <a:gd name="connsiteY13" fmla="*/ 151829 h 386429"/>
                <a:gd name="connsiteX14" fmla="*/ 254413 w 338518"/>
                <a:gd name="connsiteY14" fmla="*/ 163163 h 386429"/>
                <a:gd name="connsiteX15" fmla="*/ 254413 w 338518"/>
                <a:gd name="connsiteY15" fmla="*/ 156115 h 386429"/>
                <a:gd name="connsiteX16" fmla="*/ 230696 w 338518"/>
                <a:gd name="connsiteY16" fmla="*/ 96774 h 386429"/>
                <a:gd name="connsiteX17" fmla="*/ 162496 w 338518"/>
                <a:gd name="connsiteY17" fmla="*/ 76295 h 386429"/>
                <a:gd name="connsiteX18" fmla="*/ 106013 w 338518"/>
                <a:gd name="connsiteY18" fmla="*/ 82677 h 386429"/>
                <a:gd name="connsiteX19" fmla="*/ 55816 w 338518"/>
                <a:gd name="connsiteY19" fmla="*/ 99632 h 386429"/>
                <a:gd name="connsiteX20" fmla="*/ 32480 w 338518"/>
                <a:gd name="connsiteY20" fmla="*/ 31052 h 386429"/>
                <a:gd name="connsiteX21" fmla="*/ 96107 w 338518"/>
                <a:gd name="connsiteY21" fmla="*/ 8477 h 386429"/>
                <a:gd name="connsiteX22" fmla="*/ 174593 w 338518"/>
                <a:gd name="connsiteY22" fmla="*/ 0 h 386429"/>
                <a:gd name="connsiteX23" fmla="*/ 298228 w 338518"/>
                <a:gd name="connsiteY23" fmla="*/ 41338 h 386429"/>
                <a:gd name="connsiteX24" fmla="*/ 338519 w 338518"/>
                <a:gd name="connsiteY24" fmla="*/ 157544 h 386429"/>
                <a:gd name="connsiteX25" fmla="*/ 338519 w 338518"/>
                <a:gd name="connsiteY25" fmla="*/ 378714 h 386429"/>
                <a:gd name="connsiteX26" fmla="*/ 253746 w 338518"/>
                <a:gd name="connsiteY26" fmla="*/ 378714 h 386429"/>
                <a:gd name="connsiteX27" fmla="*/ 255746 w 338518"/>
                <a:gd name="connsiteY27" fmla="*/ 222409 h 386429"/>
                <a:gd name="connsiteX28" fmla="*/ 217265 w 338518"/>
                <a:gd name="connsiteY28" fmla="*/ 211836 h 386429"/>
                <a:gd name="connsiteX29" fmla="*/ 170307 w 338518"/>
                <a:gd name="connsiteY29" fmla="*/ 207550 h 386429"/>
                <a:gd name="connsiteX30" fmla="*/ 107442 w 338518"/>
                <a:gd name="connsiteY30" fmla="*/ 223075 h 386429"/>
                <a:gd name="connsiteX31" fmla="*/ 84868 w 338518"/>
                <a:gd name="connsiteY31" fmla="*/ 265462 h 386429"/>
                <a:gd name="connsiteX32" fmla="*/ 84868 w 338518"/>
                <a:gd name="connsiteY32" fmla="*/ 266891 h 386429"/>
                <a:gd name="connsiteX33" fmla="*/ 105728 w 338518"/>
                <a:gd name="connsiteY33" fmla="*/ 307848 h 386429"/>
                <a:gd name="connsiteX34" fmla="*/ 156972 w 338518"/>
                <a:gd name="connsiteY34" fmla="*/ 321945 h 386429"/>
                <a:gd name="connsiteX35" fmla="*/ 196215 w 338518"/>
                <a:gd name="connsiteY35" fmla="*/ 316325 h 386429"/>
                <a:gd name="connsiteX36" fmla="*/ 227647 w 338518"/>
                <a:gd name="connsiteY36" fmla="*/ 300419 h 386429"/>
                <a:gd name="connsiteX37" fmla="*/ 248507 w 338518"/>
                <a:gd name="connsiteY37" fmla="*/ 275654 h 386429"/>
                <a:gd name="connsiteX38" fmla="*/ 255937 w 338518"/>
                <a:gd name="connsiteY38" fmla="*/ 243459 h 386429"/>
                <a:gd name="connsiteX39" fmla="*/ 255937 w 338518"/>
                <a:gd name="connsiteY39" fmla="*/ 222218 h 3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8518" h="386429">
                  <a:moveTo>
                    <a:pt x="253651" y="378619"/>
                  </a:moveTo>
                  <a:lnTo>
                    <a:pt x="253651" y="332708"/>
                  </a:lnTo>
                  <a:cubicBezTo>
                    <a:pt x="240887" y="347758"/>
                    <a:pt x="224695" y="360521"/>
                    <a:pt x="204883" y="370904"/>
                  </a:cubicBezTo>
                  <a:cubicBezTo>
                    <a:pt x="185071" y="381286"/>
                    <a:pt x="161068" y="386429"/>
                    <a:pt x="132779" y="386429"/>
                  </a:cubicBezTo>
                  <a:cubicBezTo>
                    <a:pt x="114871" y="386429"/>
                    <a:pt x="97917" y="383953"/>
                    <a:pt x="81915" y="379000"/>
                  </a:cubicBezTo>
                  <a:cubicBezTo>
                    <a:pt x="65913" y="374047"/>
                    <a:pt x="51911" y="366713"/>
                    <a:pt x="39910" y="357092"/>
                  </a:cubicBezTo>
                  <a:cubicBezTo>
                    <a:pt x="27908" y="347472"/>
                    <a:pt x="18193" y="335471"/>
                    <a:pt x="10954" y="321088"/>
                  </a:cubicBezTo>
                  <a:cubicBezTo>
                    <a:pt x="3620" y="306705"/>
                    <a:pt x="0" y="290132"/>
                    <a:pt x="0" y="271272"/>
                  </a:cubicBezTo>
                  <a:lnTo>
                    <a:pt x="0" y="269843"/>
                  </a:lnTo>
                  <a:cubicBezTo>
                    <a:pt x="0" y="249079"/>
                    <a:pt x="3810" y="231077"/>
                    <a:pt x="11335" y="215741"/>
                  </a:cubicBezTo>
                  <a:cubicBezTo>
                    <a:pt x="18859" y="200406"/>
                    <a:pt x="29337" y="187738"/>
                    <a:pt x="42767" y="177546"/>
                  </a:cubicBezTo>
                  <a:cubicBezTo>
                    <a:pt x="56197" y="167450"/>
                    <a:pt x="72199" y="159925"/>
                    <a:pt x="90773" y="154972"/>
                  </a:cubicBezTo>
                  <a:cubicBezTo>
                    <a:pt x="109347" y="150019"/>
                    <a:pt x="129540" y="147542"/>
                    <a:pt x="151162" y="147542"/>
                  </a:cubicBezTo>
                  <a:cubicBezTo>
                    <a:pt x="172783" y="147542"/>
                    <a:pt x="192976" y="148971"/>
                    <a:pt x="208788" y="151829"/>
                  </a:cubicBezTo>
                  <a:cubicBezTo>
                    <a:pt x="224599" y="154686"/>
                    <a:pt x="239744" y="158401"/>
                    <a:pt x="254413" y="163163"/>
                  </a:cubicBezTo>
                  <a:lnTo>
                    <a:pt x="254413" y="156115"/>
                  </a:lnTo>
                  <a:cubicBezTo>
                    <a:pt x="254413" y="130207"/>
                    <a:pt x="246507" y="110395"/>
                    <a:pt x="230696" y="96774"/>
                  </a:cubicBezTo>
                  <a:cubicBezTo>
                    <a:pt x="214884" y="83153"/>
                    <a:pt x="192214" y="76295"/>
                    <a:pt x="162496" y="76295"/>
                  </a:cubicBezTo>
                  <a:cubicBezTo>
                    <a:pt x="141351" y="76295"/>
                    <a:pt x="122491" y="78391"/>
                    <a:pt x="106013" y="82677"/>
                  </a:cubicBezTo>
                  <a:cubicBezTo>
                    <a:pt x="89535" y="86963"/>
                    <a:pt x="72771" y="92583"/>
                    <a:pt x="55816" y="99632"/>
                  </a:cubicBezTo>
                  <a:lnTo>
                    <a:pt x="32480" y="31052"/>
                  </a:lnTo>
                  <a:cubicBezTo>
                    <a:pt x="53149" y="21622"/>
                    <a:pt x="74390" y="14097"/>
                    <a:pt x="96107" y="8477"/>
                  </a:cubicBezTo>
                  <a:cubicBezTo>
                    <a:pt x="117729" y="2858"/>
                    <a:pt x="143923" y="0"/>
                    <a:pt x="174593" y="0"/>
                  </a:cubicBezTo>
                  <a:cubicBezTo>
                    <a:pt x="230124" y="0"/>
                    <a:pt x="271367" y="13811"/>
                    <a:pt x="298228" y="41338"/>
                  </a:cubicBezTo>
                  <a:cubicBezTo>
                    <a:pt x="325088" y="68866"/>
                    <a:pt x="338519" y="107633"/>
                    <a:pt x="338519" y="157544"/>
                  </a:cubicBezTo>
                  <a:lnTo>
                    <a:pt x="338519" y="378714"/>
                  </a:lnTo>
                  <a:lnTo>
                    <a:pt x="253746" y="378714"/>
                  </a:lnTo>
                  <a:close/>
                  <a:moveTo>
                    <a:pt x="255746" y="222409"/>
                  </a:moveTo>
                  <a:cubicBezTo>
                    <a:pt x="244888" y="218123"/>
                    <a:pt x="232029" y="214598"/>
                    <a:pt x="217265" y="211836"/>
                  </a:cubicBezTo>
                  <a:cubicBezTo>
                    <a:pt x="202406" y="208979"/>
                    <a:pt x="186785" y="207550"/>
                    <a:pt x="170307" y="207550"/>
                  </a:cubicBezTo>
                  <a:cubicBezTo>
                    <a:pt x="143446" y="207550"/>
                    <a:pt x="122491" y="212693"/>
                    <a:pt x="107442" y="223075"/>
                  </a:cubicBezTo>
                  <a:cubicBezTo>
                    <a:pt x="92392" y="233458"/>
                    <a:pt x="84868" y="247555"/>
                    <a:pt x="84868" y="265462"/>
                  </a:cubicBezTo>
                  <a:lnTo>
                    <a:pt x="84868" y="266891"/>
                  </a:lnTo>
                  <a:cubicBezTo>
                    <a:pt x="84868" y="284798"/>
                    <a:pt x="91821" y="298418"/>
                    <a:pt x="105728" y="307848"/>
                  </a:cubicBezTo>
                  <a:cubicBezTo>
                    <a:pt x="119634" y="317278"/>
                    <a:pt x="136684" y="321945"/>
                    <a:pt x="156972" y="321945"/>
                  </a:cubicBezTo>
                  <a:cubicBezTo>
                    <a:pt x="171069" y="321945"/>
                    <a:pt x="184213" y="320040"/>
                    <a:pt x="196215" y="316325"/>
                  </a:cubicBezTo>
                  <a:cubicBezTo>
                    <a:pt x="208216" y="312515"/>
                    <a:pt x="218694" y="307277"/>
                    <a:pt x="227647" y="300419"/>
                  </a:cubicBezTo>
                  <a:cubicBezTo>
                    <a:pt x="236601" y="293561"/>
                    <a:pt x="243554" y="285369"/>
                    <a:pt x="248507" y="275654"/>
                  </a:cubicBezTo>
                  <a:cubicBezTo>
                    <a:pt x="253460" y="266033"/>
                    <a:pt x="255937" y="255270"/>
                    <a:pt x="255937" y="243459"/>
                  </a:cubicBezTo>
                  <a:lnTo>
                    <a:pt x="255937" y="222218"/>
                  </a:lnTo>
                  <a:close/>
                </a:path>
              </a:pathLst>
            </a:custGeom>
            <a:solidFill>
              <a:srgbClr val="44505E"/>
            </a:solidFill>
            <a:ln w="9525" cap="flat">
              <a:noFill/>
              <a:prstDash val="solid"/>
              <a:miter/>
            </a:ln>
          </p:spPr>
          <p:txBody>
            <a:bodyPr rtlCol="0" anchor="ctr"/>
            <a:lstStyle/>
            <a:p>
              <a:endParaRPr lang="pt-BR" noProof="0"/>
            </a:p>
          </p:txBody>
        </p:sp>
        <p:sp>
          <p:nvSpPr>
            <p:cNvPr id="15" name="Freeform: Shape 27">
              <a:extLst>
                <a:ext uri="{FF2B5EF4-FFF2-40B4-BE49-F238E27FC236}">
                  <a16:creationId xmlns:a16="http://schemas.microsoft.com/office/drawing/2014/main" id="{70C3C92F-3D42-99FA-6B06-2CF5AD625925}"/>
                </a:ext>
              </a:extLst>
            </p:cNvPr>
            <p:cNvSpPr/>
            <p:nvPr/>
          </p:nvSpPr>
          <p:spPr>
            <a:xfrm>
              <a:off x="6088843" y="700318"/>
              <a:ext cx="74610" cy="97213"/>
            </a:xfrm>
            <a:custGeom>
              <a:avLst/>
              <a:gdLst>
                <a:gd name="connsiteX0" fmla="*/ 158305 w 296799"/>
                <a:gd name="connsiteY0" fmla="*/ 386715 h 386714"/>
                <a:gd name="connsiteX1" fmla="*/ 76676 w 296799"/>
                <a:gd name="connsiteY1" fmla="*/ 372427 h 386714"/>
                <a:gd name="connsiteX2" fmla="*/ 0 w 296799"/>
                <a:gd name="connsiteY2" fmla="*/ 330327 h 386714"/>
                <a:gd name="connsiteX3" fmla="*/ 38195 w 296799"/>
                <a:gd name="connsiteY3" fmla="*/ 272224 h 386714"/>
                <a:gd name="connsiteX4" fmla="*/ 100013 w 296799"/>
                <a:gd name="connsiteY4" fmla="*/ 306514 h 386714"/>
                <a:gd name="connsiteX5" fmla="*/ 160401 w 296799"/>
                <a:gd name="connsiteY5" fmla="*/ 318135 h 386714"/>
                <a:gd name="connsiteX6" fmla="*/ 203168 w 296799"/>
                <a:gd name="connsiteY6" fmla="*/ 307181 h 386714"/>
                <a:gd name="connsiteX7" fmla="*/ 218408 w 296799"/>
                <a:gd name="connsiteY7" fmla="*/ 277939 h 386714"/>
                <a:gd name="connsiteX8" fmla="*/ 218408 w 296799"/>
                <a:gd name="connsiteY8" fmla="*/ 276511 h 386714"/>
                <a:gd name="connsiteX9" fmla="*/ 211646 w 296799"/>
                <a:gd name="connsiteY9" fmla="*/ 258223 h 386714"/>
                <a:gd name="connsiteX10" fmla="*/ 193262 w 296799"/>
                <a:gd name="connsiteY10" fmla="*/ 244792 h 386714"/>
                <a:gd name="connsiteX11" fmla="*/ 166402 w 296799"/>
                <a:gd name="connsiteY11" fmla="*/ 234220 h 386714"/>
                <a:gd name="connsiteX12" fmla="*/ 134969 w 296799"/>
                <a:gd name="connsiteY12" fmla="*/ 224314 h 386714"/>
                <a:gd name="connsiteX13" fmla="*/ 93631 w 296799"/>
                <a:gd name="connsiteY13" fmla="*/ 210884 h 386714"/>
                <a:gd name="connsiteX14" fmla="*/ 56197 w 296799"/>
                <a:gd name="connsiteY14" fmla="*/ 190786 h 386714"/>
                <a:gd name="connsiteX15" fmla="*/ 28956 w 296799"/>
                <a:gd name="connsiteY15" fmla="*/ 160115 h 386714"/>
                <a:gd name="connsiteX16" fmla="*/ 18383 w 296799"/>
                <a:gd name="connsiteY16" fmla="*/ 114967 h 386714"/>
                <a:gd name="connsiteX17" fmla="*/ 18383 w 296799"/>
                <a:gd name="connsiteY17" fmla="*/ 113538 h 386714"/>
                <a:gd name="connsiteX18" fmla="*/ 28575 w 296799"/>
                <a:gd name="connsiteY18" fmla="*/ 66294 h 386714"/>
                <a:gd name="connsiteX19" fmla="*/ 56864 w 296799"/>
                <a:gd name="connsiteY19" fmla="*/ 30385 h 386714"/>
                <a:gd name="connsiteX20" fmla="*/ 99250 w 296799"/>
                <a:gd name="connsiteY20" fmla="*/ 7810 h 386714"/>
                <a:gd name="connsiteX21" fmla="*/ 151162 w 296799"/>
                <a:gd name="connsiteY21" fmla="*/ 0 h 386714"/>
                <a:gd name="connsiteX22" fmla="*/ 222504 w 296799"/>
                <a:gd name="connsiteY22" fmla="*/ 11430 h 386714"/>
                <a:gd name="connsiteX23" fmla="*/ 288227 w 296799"/>
                <a:gd name="connsiteY23" fmla="*/ 42863 h 386714"/>
                <a:gd name="connsiteX24" fmla="*/ 254317 w 296799"/>
                <a:gd name="connsiteY24" fmla="*/ 103918 h 386714"/>
                <a:gd name="connsiteX25" fmla="*/ 199930 w 296799"/>
                <a:gd name="connsiteY25" fmla="*/ 78105 h 386714"/>
                <a:gd name="connsiteX26" fmla="*/ 149066 w 296799"/>
                <a:gd name="connsiteY26" fmla="*/ 68580 h 386714"/>
                <a:gd name="connsiteX27" fmla="*/ 110585 w 296799"/>
                <a:gd name="connsiteY27" fmla="*/ 79153 h 386714"/>
                <a:gd name="connsiteX28" fmla="*/ 96774 w 296799"/>
                <a:gd name="connsiteY28" fmla="*/ 105918 h 386714"/>
                <a:gd name="connsiteX29" fmla="*/ 96774 w 296799"/>
                <a:gd name="connsiteY29" fmla="*/ 107347 h 386714"/>
                <a:gd name="connsiteX30" fmla="*/ 103822 w 296799"/>
                <a:gd name="connsiteY30" fmla="*/ 124587 h 386714"/>
                <a:gd name="connsiteX31" fmla="*/ 122587 w 296799"/>
                <a:gd name="connsiteY31" fmla="*/ 138017 h 386714"/>
                <a:gd name="connsiteX32" fmla="*/ 149447 w 296799"/>
                <a:gd name="connsiteY32" fmla="*/ 149257 h 386714"/>
                <a:gd name="connsiteX33" fmla="*/ 180880 w 296799"/>
                <a:gd name="connsiteY33" fmla="*/ 159448 h 386714"/>
                <a:gd name="connsiteX34" fmla="*/ 221837 w 296799"/>
                <a:gd name="connsiteY34" fmla="*/ 174212 h 386714"/>
                <a:gd name="connsiteX35" fmla="*/ 258985 w 296799"/>
                <a:gd name="connsiteY35" fmla="*/ 194977 h 386714"/>
                <a:gd name="connsiteX36" fmla="*/ 286226 w 296799"/>
                <a:gd name="connsiteY36" fmla="*/ 224980 h 386714"/>
                <a:gd name="connsiteX37" fmla="*/ 296799 w 296799"/>
                <a:gd name="connsiteY37" fmla="*/ 267938 h 386714"/>
                <a:gd name="connsiteX38" fmla="*/ 296799 w 296799"/>
                <a:gd name="connsiteY38" fmla="*/ 269367 h 386714"/>
                <a:gd name="connsiteX39" fmla="*/ 286226 w 296799"/>
                <a:gd name="connsiteY39" fmla="*/ 320897 h 386714"/>
                <a:gd name="connsiteX40" fmla="*/ 256889 w 296799"/>
                <a:gd name="connsiteY40" fmla="*/ 357188 h 386714"/>
                <a:gd name="connsiteX41" fmla="*/ 212693 w 296799"/>
                <a:gd name="connsiteY41" fmla="*/ 379095 h 386714"/>
                <a:gd name="connsiteX42" fmla="*/ 158305 w 296799"/>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799"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065" y="318135"/>
                    <a:pt x="160401" y="318135"/>
                  </a:cubicBezTo>
                  <a:cubicBezTo>
                    <a:pt x="179737" y="318135"/>
                    <a:pt x="193072"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828" y="227647"/>
                    <a:pt x="134969" y="224314"/>
                  </a:cubicBezTo>
                  <a:cubicBezTo>
                    <a:pt x="121348" y="220599"/>
                    <a:pt x="107537" y="216122"/>
                    <a:pt x="93631" y="210884"/>
                  </a:cubicBezTo>
                  <a:cubicBezTo>
                    <a:pt x="79724" y="205740"/>
                    <a:pt x="67246" y="198977"/>
                    <a:pt x="56197" y="190786"/>
                  </a:cubicBezTo>
                  <a:cubicBezTo>
                    <a:pt x="45148" y="182594"/>
                    <a:pt x="36004"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874" y="0"/>
                    <a:pt x="151162" y="0"/>
                  </a:cubicBezTo>
                  <a:cubicBezTo>
                    <a:pt x="174688" y="0"/>
                    <a:pt x="198501" y="3810"/>
                    <a:pt x="222504" y="11430"/>
                  </a:cubicBezTo>
                  <a:cubicBezTo>
                    <a:pt x="246507" y="19050"/>
                    <a:pt x="268414" y="29527"/>
                    <a:pt x="288227" y="42863"/>
                  </a:cubicBezTo>
                  <a:lnTo>
                    <a:pt x="254317"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774" y="95155"/>
                    <a:pt x="96774" y="105918"/>
                  </a:cubicBezTo>
                  <a:lnTo>
                    <a:pt x="96774" y="107347"/>
                  </a:lnTo>
                  <a:cubicBezTo>
                    <a:pt x="96774" y="113919"/>
                    <a:pt x="99155" y="119634"/>
                    <a:pt x="103822" y="124587"/>
                  </a:cubicBezTo>
                  <a:cubicBezTo>
                    <a:pt x="108490" y="129540"/>
                    <a:pt x="114776" y="134017"/>
                    <a:pt x="122587" y="138017"/>
                  </a:cubicBezTo>
                  <a:cubicBezTo>
                    <a:pt x="130397" y="142018"/>
                    <a:pt x="139351" y="145732"/>
                    <a:pt x="149447" y="149257"/>
                  </a:cubicBezTo>
                  <a:cubicBezTo>
                    <a:pt x="159544" y="152781"/>
                    <a:pt x="170021" y="156210"/>
                    <a:pt x="180880" y="159448"/>
                  </a:cubicBezTo>
                  <a:cubicBezTo>
                    <a:pt x="194500" y="163639"/>
                    <a:pt x="208216" y="168592"/>
                    <a:pt x="221837" y="174212"/>
                  </a:cubicBezTo>
                  <a:cubicBezTo>
                    <a:pt x="235458" y="179832"/>
                    <a:pt x="247840" y="186785"/>
                    <a:pt x="258985" y="194977"/>
                  </a:cubicBezTo>
                  <a:cubicBezTo>
                    <a:pt x="270034" y="203168"/>
                    <a:pt x="279178" y="213169"/>
                    <a:pt x="286226" y="224980"/>
                  </a:cubicBezTo>
                  <a:cubicBezTo>
                    <a:pt x="293275" y="236696"/>
                    <a:pt x="296799" y="251079"/>
                    <a:pt x="296799" y="267938"/>
                  </a:cubicBezTo>
                  <a:lnTo>
                    <a:pt x="296799" y="269367"/>
                  </a:lnTo>
                  <a:cubicBezTo>
                    <a:pt x="296799" y="289084"/>
                    <a:pt x="293275" y="306229"/>
                    <a:pt x="286226" y="320897"/>
                  </a:cubicBezTo>
                  <a:cubicBezTo>
                    <a:pt x="279178" y="335470"/>
                    <a:pt x="269367" y="347567"/>
                    <a:pt x="256889" y="357188"/>
                  </a:cubicBezTo>
                  <a:cubicBezTo>
                    <a:pt x="244412" y="366808"/>
                    <a:pt x="229648" y="374142"/>
                    <a:pt x="212693" y="379095"/>
                  </a:cubicBezTo>
                  <a:cubicBezTo>
                    <a:pt x="195739" y="384048"/>
                    <a:pt x="177641" y="386524"/>
                    <a:pt x="158305" y="386524"/>
                  </a:cubicBezTo>
                  <a:close/>
                </a:path>
              </a:pathLst>
            </a:custGeom>
            <a:solidFill>
              <a:srgbClr val="44505E"/>
            </a:solidFill>
            <a:ln w="9525" cap="flat">
              <a:noFill/>
              <a:prstDash val="solid"/>
              <a:miter/>
            </a:ln>
          </p:spPr>
          <p:txBody>
            <a:bodyPr rtlCol="0" anchor="ctr"/>
            <a:lstStyle/>
            <a:p>
              <a:endParaRPr lang="pt-BR" noProof="0"/>
            </a:p>
          </p:txBody>
        </p:sp>
        <p:sp>
          <p:nvSpPr>
            <p:cNvPr id="16" name="Freeform: Shape 28">
              <a:extLst>
                <a:ext uri="{FF2B5EF4-FFF2-40B4-BE49-F238E27FC236}">
                  <a16:creationId xmlns:a16="http://schemas.microsoft.com/office/drawing/2014/main" id="{6D11DB5E-B368-ACBF-A545-47492872B460}"/>
                </a:ext>
              </a:extLst>
            </p:cNvPr>
            <p:cNvSpPr/>
            <p:nvPr/>
          </p:nvSpPr>
          <p:spPr>
            <a:xfrm>
              <a:off x="6238590"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4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7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2 w 568166"/>
                <a:gd name="connsiteY21" fmla="*/ 381000 h 381000"/>
                <a:gd name="connsiteX22" fmla="*/ 240982 w 568166"/>
                <a:gd name="connsiteY22" fmla="*/ 168783 h 381000"/>
                <a:gd name="connsiteX23" fmla="*/ 221266 w 568166"/>
                <a:gd name="connsiteY23" fmla="*/ 101822 h 381000"/>
                <a:gd name="connsiteX24" fmla="*/ 165640 w 568166"/>
                <a:gd name="connsiteY24" fmla="*/ 78581 h 381000"/>
                <a:gd name="connsiteX25" fmla="*/ 108013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69" y="48196"/>
                    <a:pt x="105918" y="40576"/>
                  </a:cubicBezTo>
                  <a:cubicBezTo>
                    <a:pt x="112966" y="32956"/>
                    <a:pt x="121063" y="26099"/>
                    <a:pt x="130207" y="19907"/>
                  </a:cubicBezTo>
                  <a:cubicBezTo>
                    <a:pt x="139351" y="13716"/>
                    <a:pt x="149638" y="8858"/>
                    <a:pt x="161163" y="5334"/>
                  </a:cubicBezTo>
                  <a:cubicBezTo>
                    <a:pt x="172688" y="1714"/>
                    <a:pt x="185452" y="0"/>
                    <a:pt x="199549" y="0"/>
                  </a:cubicBezTo>
                  <a:cubicBezTo>
                    <a:pt x="226314" y="0"/>
                    <a:pt x="248983" y="6096"/>
                    <a:pt x="267557" y="18193"/>
                  </a:cubicBezTo>
                  <a:cubicBezTo>
                    <a:pt x="286131" y="30289"/>
                    <a:pt x="300323" y="46387"/>
                    <a:pt x="310134" y="66294"/>
                  </a:cubicBezTo>
                  <a:cubicBezTo>
                    <a:pt x="325279" y="46387"/>
                    <a:pt x="343090" y="30289"/>
                    <a:pt x="363664" y="18193"/>
                  </a:cubicBezTo>
                  <a:cubicBezTo>
                    <a:pt x="384238" y="6096"/>
                    <a:pt x="408718" y="0"/>
                    <a:pt x="437007" y="0"/>
                  </a:cubicBezTo>
                  <a:cubicBezTo>
                    <a:pt x="478155"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7" y="78486"/>
                  </a:cubicBezTo>
                  <a:cubicBezTo>
                    <a:pt x="382809" y="78486"/>
                    <a:pt x="364141" y="86392"/>
                    <a:pt x="349377" y="102108"/>
                  </a:cubicBezTo>
                  <a:cubicBezTo>
                    <a:pt x="334613" y="117824"/>
                    <a:pt x="327184" y="140779"/>
                    <a:pt x="327184" y="170879"/>
                  </a:cubicBezTo>
                  <a:lnTo>
                    <a:pt x="327184" y="381000"/>
                  </a:lnTo>
                  <a:lnTo>
                    <a:pt x="240982" y="381000"/>
                  </a:lnTo>
                  <a:lnTo>
                    <a:pt x="240982" y="168783"/>
                  </a:lnTo>
                  <a:cubicBezTo>
                    <a:pt x="240982" y="139637"/>
                    <a:pt x="234410" y="117348"/>
                    <a:pt x="221266" y="101822"/>
                  </a:cubicBezTo>
                  <a:cubicBezTo>
                    <a:pt x="208121" y="86296"/>
                    <a:pt x="189547" y="78581"/>
                    <a:pt x="165640" y="78581"/>
                  </a:cubicBezTo>
                  <a:cubicBezTo>
                    <a:pt x="141732" y="78581"/>
                    <a:pt x="122491" y="86773"/>
                    <a:pt x="108013"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17" name="Freeform: Shape 29">
              <a:extLst>
                <a:ext uri="{FF2B5EF4-FFF2-40B4-BE49-F238E27FC236}">
                  <a16:creationId xmlns:a16="http://schemas.microsoft.com/office/drawing/2014/main" id="{FA483A0D-EC2B-0AA0-F6B5-17314E5C99CF}"/>
                </a:ext>
              </a:extLst>
            </p:cNvPr>
            <p:cNvSpPr/>
            <p:nvPr/>
          </p:nvSpPr>
          <p:spPr>
            <a:xfrm>
              <a:off x="6400979" y="664258"/>
              <a:ext cx="85097" cy="133441"/>
            </a:xfrm>
            <a:custGeom>
              <a:avLst/>
              <a:gdLst>
                <a:gd name="connsiteX0" fmla="*/ 253651 w 338518"/>
                <a:gd name="connsiteY0" fmla="*/ 523018 h 530828"/>
                <a:gd name="connsiteX1" fmla="*/ 253651 w 338518"/>
                <a:gd name="connsiteY1" fmla="*/ 477107 h 530828"/>
                <a:gd name="connsiteX2" fmla="*/ 204883 w 338518"/>
                <a:gd name="connsiteY2" fmla="*/ 515303 h 530828"/>
                <a:gd name="connsiteX3" fmla="*/ 132779 w 338518"/>
                <a:gd name="connsiteY3" fmla="*/ 530828 h 530828"/>
                <a:gd name="connsiteX4" fmla="*/ 81915 w 338518"/>
                <a:gd name="connsiteY4" fmla="*/ 523399 h 530828"/>
                <a:gd name="connsiteX5" fmla="*/ 39910 w 338518"/>
                <a:gd name="connsiteY5" fmla="*/ 501491 h 530828"/>
                <a:gd name="connsiteX6" fmla="*/ 10954 w 338518"/>
                <a:gd name="connsiteY6" fmla="*/ 465487 h 530828"/>
                <a:gd name="connsiteX7" fmla="*/ 0 w 338518"/>
                <a:gd name="connsiteY7" fmla="*/ 415671 h 530828"/>
                <a:gd name="connsiteX8" fmla="*/ 0 w 338518"/>
                <a:gd name="connsiteY8" fmla="*/ 414242 h 530828"/>
                <a:gd name="connsiteX9" fmla="*/ 11335 w 338518"/>
                <a:gd name="connsiteY9" fmla="*/ 360140 h 530828"/>
                <a:gd name="connsiteX10" fmla="*/ 42767 w 338518"/>
                <a:gd name="connsiteY10" fmla="*/ 321945 h 530828"/>
                <a:gd name="connsiteX11" fmla="*/ 90773 w 338518"/>
                <a:gd name="connsiteY11" fmla="*/ 299371 h 530828"/>
                <a:gd name="connsiteX12" fmla="*/ 151162 w 338518"/>
                <a:gd name="connsiteY12" fmla="*/ 291941 h 530828"/>
                <a:gd name="connsiteX13" fmla="*/ 208788 w 338518"/>
                <a:gd name="connsiteY13" fmla="*/ 296228 h 530828"/>
                <a:gd name="connsiteX14" fmla="*/ 254413 w 338518"/>
                <a:gd name="connsiteY14" fmla="*/ 307562 h 530828"/>
                <a:gd name="connsiteX15" fmla="*/ 254413 w 338518"/>
                <a:gd name="connsiteY15" fmla="*/ 300514 h 530828"/>
                <a:gd name="connsiteX16" fmla="*/ 230696 w 338518"/>
                <a:gd name="connsiteY16" fmla="*/ 241173 h 530828"/>
                <a:gd name="connsiteX17" fmla="*/ 162496 w 338518"/>
                <a:gd name="connsiteY17" fmla="*/ 220694 h 530828"/>
                <a:gd name="connsiteX18" fmla="*/ 106013 w 338518"/>
                <a:gd name="connsiteY18" fmla="*/ 227076 h 530828"/>
                <a:gd name="connsiteX19" fmla="*/ 55817 w 338518"/>
                <a:gd name="connsiteY19" fmla="*/ 244031 h 530828"/>
                <a:gd name="connsiteX20" fmla="*/ 32480 w 338518"/>
                <a:gd name="connsiteY20" fmla="*/ 175451 h 530828"/>
                <a:gd name="connsiteX21" fmla="*/ 96107 w 338518"/>
                <a:gd name="connsiteY21" fmla="*/ 152876 h 530828"/>
                <a:gd name="connsiteX22" fmla="*/ 174593 w 338518"/>
                <a:gd name="connsiteY22" fmla="*/ 144399 h 530828"/>
                <a:gd name="connsiteX23" fmla="*/ 298228 w 338518"/>
                <a:gd name="connsiteY23" fmla="*/ 185738 h 530828"/>
                <a:gd name="connsiteX24" fmla="*/ 338519 w 338518"/>
                <a:gd name="connsiteY24" fmla="*/ 301943 h 530828"/>
                <a:gd name="connsiteX25" fmla="*/ 338519 w 338518"/>
                <a:gd name="connsiteY25" fmla="*/ 523113 h 530828"/>
                <a:gd name="connsiteX26" fmla="*/ 253746 w 338518"/>
                <a:gd name="connsiteY26" fmla="*/ 523113 h 530828"/>
                <a:gd name="connsiteX27" fmla="*/ 45911 w 338518"/>
                <a:gd name="connsiteY27" fmla="*/ 95441 h 530828"/>
                <a:gd name="connsiteX28" fmla="*/ 75248 w 338518"/>
                <a:gd name="connsiteY28" fmla="*/ 29718 h 530828"/>
                <a:gd name="connsiteX29" fmla="*/ 125063 w 338518"/>
                <a:gd name="connsiteY29" fmla="*/ 7144 h 530828"/>
                <a:gd name="connsiteX30" fmla="*/ 154019 w 338518"/>
                <a:gd name="connsiteY30" fmla="*/ 11716 h 530828"/>
                <a:gd name="connsiteX31" fmla="*/ 181261 w 338518"/>
                <a:gd name="connsiteY31" fmla="*/ 21622 h 530828"/>
                <a:gd name="connsiteX32" fmla="*/ 205645 w 338518"/>
                <a:gd name="connsiteY32" fmla="*/ 31147 h 530828"/>
                <a:gd name="connsiteX33" fmla="*/ 226790 w 338518"/>
                <a:gd name="connsiteY33" fmla="*/ 35338 h 530828"/>
                <a:gd name="connsiteX34" fmla="*/ 250127 w 338518"/>
                <a:gd name="connsiteY34" fmla="*/ 26861 h 530828"/>
                <a:gd name="connsiteX35" fmla="*/ 265652 w 338518"/>
                <a:gd name="connsiteY35" fmla="*/ 0 h 530828"/>
                <a:gd name="connsiteX36" fmla="*/ 312991 w 338518"/>
                <a:gd name="connsiteY36" fmla="*/ 14859 h 530828"/>
                <a:gd name="connsiteX37" fmla="*/ 283655 w 338518"/>
                <a:gd name="connsiteY37" fmla="*/ 79820 h 530828"/>
                <a:gd name="connsiteX38" fmla="*/ 233839 w 338518"/>
                <a:gd name="connsiteY38" fmla="*/ 102394 h 530828"/>
                <a:gd name="connsiteX39" fmla="*/ 204883 w 338518"/>
                <a:gd name="connsiteY39" fmla="*/ 98203 h 530828"/>
                <a:gd name="connsiteX40" fmla="*/ 177641 w 338518"/>
                <a:gd name="connsiteY40" fmla="*/ 88678 h 530828"/>
                <a:gd name="connsiteX41" fmla="*/ 152876 w 338518"/>
                <a:gd name="connsiteY41" fmla="*/ 78772 h 530828"/>
                <a:gd name="connsiteX42" fmla="*/ 132017 w 338518"/>
                <a:gd name="connsiteY42" fmla="*/ 74200 h 530828"/>
                <a:gd name="connsiteX43" fmla="*/ 108680 w 338518"/>
                <a:gd name="connsiteY43" fmla="*/ 82677 h 530828"/>
                <a:gd name="connsiteX44" fmla="*/ 93154 w 338518"/>
                <a:gd name="connsiteY44" fmla="*/ 109538 h 530828"/>
                <a:gd name="connsiteX45" fmla="*/ 45815 w 338518"/>
                <a:gd name="connsiteY45" fmla="*/ 95441 h 530828"/>
                <a:gd name="connsiteX46" fmla="*/ 255842 w 338518"/>
                <a:gd name="connsiteY46" fmla="*/ 366808 h 530828"/>
                <a:gd name="connsiteX47" fmla="*/ 217361 w 338518"/>
                <a:gd name="connsiteY47" fmla="*/ 356235 h 530828"/>
                <a:gd name="connsiteX48" fmla="*/ 170402 w 338518"/>
                <a:gd name="connsiteY48" fmla="*/ 351949 h 530828"/>
                <a:gd name="connsiteX49" fmla="*/ 107537 w 338518"/>
                <a:gd name="connsiteY49" fmla="*/ 367475 h 530828"/>
                <a:gd name="connsiteX50" fmla="*/ 84963 w 338518"/>
                <a:gd name="connsiteY50" fmla="*/ 409861 h 530828"/>
                <a:gd name="connsiteX51" fmla="*/ 84963 w 338518"/>
                <a:gd name="connsiteY51" fmla="*/ 411290 h 530828"/>
                <a:gd name="connsiteX52" fmla="*/ 105823 w 338518"/>
                <a:gd name="connsiteY52" fmla="*/ 452247 h 530828"/>
                <a:gd name="connsiteX53" fmla="*/ 157067 w 338518"/>
                <a:gd name="connsiteY53" fmla="*/ 466344 h 530828"/>
                <a:gd name="connsiteX54" fmla="*/ 196310 w 338518"/>
                <a:gd name="connsiteY54" fmla="*/ 460724 h 530828"/>
                <a:gd name="connsiteX55" fmla="*/ 227743 w 338518"/>
                <a:gd name="connsiteY55" fmla="*/ 444818 h 530828"/>
                <a:gd name="connsiteX56" fmla="*/ 248603 w 338518"/>
                <a:gd name="connsiteY56" fmla="*/ 420053 h 530828"/>
                <a:gd name="connsiteX57" fmla="*/ 256032 w 338518"/>
                <a:gd name="connsiteY57" fmla="*/ 387858 h 530828"/>
                <a:gd name="connsiteX58" fmla="*/ 256032 w 338518"/>
                <a:gd name="connsiteY58" fmla="*/ 366617 h 5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8518" h="530828">
                  <a:moveTo>
                    <a:pt x="253651" y="523018"/>
                  </a:moveTo>
                  <a:lnTo>
                    <a:pt x="253651" y="477107"/>
                  </a:lnTo>
                  <a:cubicBezTo>
                    <a:pt x="240887" y="492157"/>
                    <a:pt x="224695" y="504920"/>
                    <a:pt x="204883" y="515303"/>
                  </a:cubicBezTo>
                  <a:cubicBezTo>
                    <a:pt x="185071" y="525685"/>
                    <a:pt x="161068" y="530828"/>
                    <a:pt x="132779" y="530828"/>
                  </a:cubicBezTo>
                  <a:cubicBezTo>
                    <a:pt x="114871" y="530828"/>
                    <a:pt x="97917" y="528352"/>
                    <a:pt x="81915" y="523399"/>
                  </a:cubicBezTo>
                  <a:cubicBezTo>
                    <a:pt x="65913" y="518446"/>
                    <a:pt x="51911" y="511112"/>
                    <a:pt x="39910" y="501491"/>
                  </a:cubicBezTo>
                  <a:cubicBezTo>
                    <a:pt x="27908" y="491871"/>
                    <a:pt x="18193" y="479870"/>
                    <a:pt x="10954" y="465487"/>
                  </a:cubicBezTo>
                  <a:cubicBezTo>
                    <a:pt x="3620" y="451104"/>
                    <a:pt x="0" y="434531"/>
                    <a:pt x="0" y="415671"/>
                  </a:cubicBezTo>
                  <a:lnTo>
                    <a:pt x="0" y="414242"/>
                  </a:lnTo>
                  <a:cubicBezTo>
                    <a:pt x="0" y="393478"/>
                    <a:pt x="3810" y="375476"/>
                    <a:pt x="11335" y="360140"/>
                  </a:cubicBezTo>
                  <a:cubicBezTo>
                    <a:pt x="18860" y="344805"/>
                    <a:pt x="29337" y="332137"/>
                    <a:pt x="42767" y="321945"/>
                  </a:cubicBezTo>
                  <a:cubicBezTo>
                    <a:pt x="56198" y="311849"/>
                    <a:pt x="72200" y="304324"/>
                    <a:pt x="90773" y="299371"/>
                  </a:cubicBezTo>
                  <a:cubicBezTo>
                    <a:pt x="109347" y="294418"/>
                    <a:pt x="129540" y="291941"/>
                    <a:pt x="151162" y="291941"/>
                  </a:cubicBezTo>
                  <a:cubicBezTo>
                    <a:pt x="172784" y="291941"/>
                    <a:pt x="192977" y="293370"/>
                    <a:pt x="208788" y="296228"/>
                  </a:cubicBezTo>
                  <a:cubicBezTo>
                    <a:pt x="224600" y="299085"/>
                    <a:pt x="239744" y="302800"/>
                    <a:pt x="254413" y="307562"/>
                  </a:cubicBezTo>
                  <a:lnTo>
                    <a:pt x="254413" y="300514"/>
                  </a:lnTo>
                  <a:cubicBezTo>
                    <a:pt x="254413" y="274606"/>
                    <a:pt x="246507" y="254794"/>
                    <a:pt x="230696" y="241173"/>
                  </a:cubicBezTo>
                  <a:cubicBezTo>
                    <a:pt x="214884" y="227552"/>
                    <a:pt x="192215" y="220694"/>
                    <a:pt x="162496" y="220694"/>
                  </a:cubicBezTo>
                  <a:cubicBezTo>
                    <a:pt x="141351" y="220694"/>
                    <a:pt x="122492" y="222790"/>
                    <a:pt x="106013" y="227076"/>
                  </a:cubicBezTo>
                  <a:cubicBezTo>
                    <a:pt x="89535" y="231362"/>
                    <a:pt x="72771" y="236982"/>
                    <a:pt x="55817" y="244031"/>
                  </a:cubicBezTo>
                  <a:lnTo>
                    <a:pt x="32480" y="175451"/>
                  </a:lnTo>
                  <a:cubicBezTo>
                    <a:pt x="53150" y="166021"/>
                    <a:pt x="74390" y="158496"/>
                    <a:pt x="96107" y="152876"/>
                  </a:cubicBezTo>
                  <a:cubicBezTo>
                    <a:pt x="117729" y="147257"/>
                    <a:pt x="143923" y="144399"/>
                    <a:pt x="174593" y="144399"/>
                  </a:cubicBezTo>
                  <a:cubicBezTo>
                    <a:pt x="230124" y="144399"/>
                    <a:pt x="271367" y="158210"/>
                    <a:pt x="298228" y="185738"/>
                  </a:cubicBezTo>
                  <a:cubicBezTo>
                    <a:pt x="325088" y="213265"/>
                    <a:pt x="338519" y="252032"/>
                    <a:pt x="338519" y="301943"/>
                  </a:cubicBezTo>
                  <a:lnTo>
                    <a:pt x="338519" y="523113"/>
                  </a:lnTo>
                  <a:lnTo>
                    <a:pt x="253746" y="523113"/>
                  </a:lnTo>
                  <a:close/>
                  <a:moveTo>
                    <a:pt x="45911" y="95441"/>
                  </a:moveTo>
                  <a:cubicBezTo>
                    <a:pt x="53912" y="66675"/>
                    <a:pt x="63722" y="44768"/>
                    <a:pt x="75248" y="29718"/>
                  </a:cubicBezTo>
                  <a:cubicBezTo>
                    <a:pt x="86773" y="14669"/>
                    <a:pt x="103442" y="7144"/>
                    <a:pt x="125063" y="7144"/>
                  </a:cubicBezTo>
                  <a:cubicBezTo>
                    <a:pt x="134969" y="7144"/>
                    <a:pt x="144590" y="8668"/>
                    <a:pt x="154019" y="11716"/>
                  </a:cubicBezTo>
                  <a:cubicBezTo>
                    <a:pt x="163449" y="14764"/>
                    <a:pt x="172498" y="18098"/>
                    <a:pt x="181261" y="21622"/>
                  </a:cubicBezTo>
                  <a:cubicBezTo>
                    <a:pt x="189929" y="25146"/>
                    <a:pt x="198120" y="28385"/>
                    <a:pt x="205645" y="31147"/>
                  </a:cubicBezTo>
                  <a:cubicBezTo>
                    <a:pt x="213170" y="34004"/>
                    <a:pt x="220218" y="35338"/>
                    <a:pt x="226790" y="35338"/>
                  </a:cubicBezTo>
                  <a:cubicBezTo>
                    <a:pt x="237173" y="35338"/>
                    <a:pt x="244888" y="32480"/>
                    <a:pt x="250127" y="26861"/>
                  </a:cubicBezTo>
                  <a:cubicBezTo>
                    <a:pt x="255270" y="21241"/>
                    <a:pt x="260509" y="12287"/>
                    <a:pt x="265652" y="0"/>
                  </a:cubicBezTo>
                  <a:lnTo>
                    <a:pt x="312991" y="14859"/>
                  </a:lnTo>
                  <a:cubicBezTo>
                    <a:pt x="304991" y="43148"/>
                    <a:pt x="295180" y="64770"/>
                    <a:pt x="283655" y="79820"/>
                  </a:cubicBezTo>
                  <a:cubicBezTo>
                    <a:pt x="272129" y="94869"/>
                    <a:pt x="255461" y="102394"/>
                    <a:pt x="233839" y="102394"/>
                  </a:cubicBezTo>
                  <a:cubicBezTo>
                    <a:pt x="223933" y="102394"/>
                    <a:pt x="214313" y="100965"/>
                    <a:pt x="204883" y="98203"/>
                  </a:cubicBezTo>
                  <a:cubicBezTo>
                    <a:pt x="195453" y="95345"/>
                    <a:pt x="186404" y="92202"/>
                    <a:pt x="177641" y="88678"/>
                  </a:cubicBezTo>
                  <a:cubicBezTo>
                    <a:pt x="168878" y="85154"/>
                    <a:pt x="160687" y="81820"/>
                    <a:pt x="152876" y="78772"/>
                  </a:cubicBezTo>
                  <a:cubicBezTo>
                    <a:pt x="145066" y="75724"/>
                    <a:pt x="138113" y="74200"/>
                    <a:pt x="132017" y="74200"/>
                  </a:cubicBezTo>
                  <a:cubicBezTo>
                    <a:pt x="121634" y="74200"/>
                    <a:pt x="113919" y="77057"/>
                    <a:pt x="108680" y="82677"/>
                  </a:cubicBezTo>
                  <a:cubicBezTo>
                    <a:pt x="103537" y="88297"/>
                    <a:pt x="98298" y="97250"/>
                    <a:pt x="93154" y="109538"/>
                  </a:cubicBezTo>
                  <a:lnTo>
                    <a:pt x="45815" y="95441"/>
                  </a:lnTo>
                  <a:close/>
                  <a:moveTo>
                    <a:pt x="255842" y="366808"/>
                  </a:moveTo>
                  <a:cubicBezTo>
                    <a:pt x="244983" y="362522"/>
                    <a:pt x="232124" y="358997"/>
                    <a:pt x="217361" y="356235"/>
                  </a:cubicBezTo>
                  <a:cubicBezTo>
                    <a:pt x="202502" y="353378"/>
                    <a:pt x="186880" y="351949"/>
                    <a:pt x="170402" y="351949"/>
                  </a:cubicBezTo>
                  <a:cubicBezTo>
                    <a:pt x="143542" y="351949"/>
                    <a:pt x="122587" y="357092"/>
                    <a:pt x="107537" y="367475"/>
                  </a:cubicBezTo>
                  <a:cubicBezTo>
                    <a:pt x="92488" y="377857"/>
                    <a:pt x="84963" y="391954"/>
                    <a:pt x="84963" y="409861"/>
                  </a:cubicBezTo>
                  <a:lnTo>
                    <a:pt x="84963" y="411290"/>
                  </a:lnTo>
                  <a:cubicBezTo>
                    <a:pt x="84963" y="429197"/>
                    <a:pt x="91916" y="442817"/>
                    <a:pt x="105823" y="452247"/>
                  </a:cubicBezTo>
                  <a:cubicBezTo>
                    <a:pt x="119729" y="461677"/>
                    <a:pt x="136779" y="466344"/>
                    <a:pt x="157067" y="466344"/>
                  </a:cubicBezTo>
                  <a:cubicBezTo>
                    <a:pt x="171164" y="466344"/>
                    <a:pt x="184309" y="464439"/>
                    <a:pt x="196310" y="460724"/>
                  </a:cubicBezTo>
                  <a:cubicBezTo>
                    <a:pt x="208312" y="456914"/>
                    <a:pt x="218789" y="451676"/>
                    <a:pt x="227743" y="444818"/>
                  </a:cubicBezTo>
                  <a:cubicBezTo>
                    <a:pt x="236696" y="437960"/>
                    <a:pt x="243650" y="429768"/>
                    <a:pt x="248603" y="420053"/>
                  </a:cubicBezTo>
                  <a:cubicBezTo>
                    <a:pt x="253555" y="410432"/>
                    <a:pt x="256032" y="399669"/>
                    <a:pt x="256032" y="387858"/>
                  </a:cubicBezTo>
                  <a:lnTo>
                    <a:pt x="256032" y="366617"/>
                  </a:lnTo>
                  <a:close/>
                </a:path>
              </a:pathLst>
            </a:custGeom>
            <a:solidFill>
              <a:srgbClr val="44505E"/>
            </a:solidFill>
            <a:ln w="9525" cap="flat">
              <a:noFill/>
              <a:prstDash val="solid"/>
              <a:miter/>
            </a:ln>
          </p:spPr>
          <p:txBody>
            <a:bodyPr rtlCol="0" anchor="ctr"/>
            <a:lstStyle/>
            <a:p>
              <a:endParaRPr lang="pt-BR" noProof="0"/>
            </a:p>
          </p:txBody>
        </p:sp>
        <p:sp>
          <p:nvSpPr>
            <p:cNvPr id="18" name="Freeform: Shape 30">
              <a:extLst>
                <a:ext uri="{FF2B5EF4-FFF2-40B4-BE49-F238E27FC236}">
                  <a16:creationId xmlns:a16="http://schemas.microsoft.com/office/drawing/2014/main" id="{C05394C8-3081-70CF-9BF9-2693ACB1339B}"/>
                </a:ext>
              </a:extLst>
            </p:cNvPr>
            <p:cNvSpPr/>
            <p:nvPr/>
          </p:nvSpPr>
          <p:spPr>
            <a:xfrm>
              <a:off x="6506477" y="699959"/>
              <a:ext cx="100038" cy="97908"/>
            </a:xfrm>
            <a:custGeom>
              <a:avLst/>
              <a:gdLst>
                <a:gd name="connsiteX0" fmla="*/ 197834 w 397954"/>
                <a:gd name="connsiteY0" fmla="*/ 389477 h 389477"/>
                <a:gd name="connsiteX1" fmla="*/ 119063 w 397954"/>
                <a:gd name="connsiteY1" fmla="*/ 374237 h 389477"/>
                <a:gd name="connsiteX2" fmla="*/ 56198 w 397954"/>
                <a:gd name="connsiteY2" fmla="*/ 332899 h 389477"/>
                <a:gd name="connsiteX3" fmla="*/ 14859 w 397954"/>
                <a:gd name="connsiteY3" fmla="*/ 271463 h 389477"/>
                <a:gd name="connsiteX4" fmla="*/ 0 w 397954"/>
                <a:gd name="connsiteY4" fmla="*/ 196501 h 389477"/>
                <a:gd name="connsiteX5" fmla="*/ 0 w 397954"/>
                <a:gd name="connsiteY5" fmla="*/ 195072 h 389477"/>
                <a:gd name="connsiteX6" fmla="*/ 15240 w 397954"/>
                <a:gd name="connsiteY6" fmla="*/ 119444 h 389477"/>
                <a:gd name="connsiteX7" fmla="*/ 56960 w 397954"/>
                <a:gd name="connsiteY7" fmla="*/ 57626 h 389477"/>
                <a:gd name="connsiteX8" fmla="*/ 119825 w 397954"/>
                <a:gd name="connsiteY8" fmla="*/ 15526 h 389477"/>
                <a:gd name="connsiteX9" fmla="*/ 199358 w 397954"/>
                <a:gd name="connsiteY9" fmla="*/ 0 h 389477"/>
                <a:gd name="connsiteX10" fmla="*/ 278892 w 397954"/>
                <a:gd name="connsiteY10" fmla="*/ 15240 h 389477"/>
                <a:gd name="connsiteX11" fmla="*/ 341757 w 397954"/>
                <a:gd name="connsiteY11" fmla="*/ 56959 h 389477"/>
                <a:gd name="connsiteX12" fmla="*/ 383096 w 397954"/>
                <a:gd name="connsiteY12" fmla="*/ 118396 h 389477"/>
                <a:gd name="connsiteX13" fmla="*/ 397955 w 397954"/>
                <a:gd name="connsiteY13" fmla="*/ 193643 h 389477"/>
                <a:gd name="connsiteX14" fmla="*/ 397955 w 397954"/>
                <a:gd name="connsiteY14" fmla="*/ 195072 h 389477"/>
                <a:gd name="connsiteX15" fmla="*/ 382714 w 397954"/>
                <a:gd name="connsiteY15" fmla="*/ 270034 h 389477"/>
                <a:gd name="connsiteX16" fmla="*/ 340995 w 397954"/>
                <a:gd name="connsiteY16" fmla="*/ 331851 h 389477"/>
                <a:gd name="connsiteX17" fmla="*/ 277749 w 397954"/>
                <a:gd name="connsiteY17" fmla="*/ 373856 h 389477"/>
                <a:gd name="connsiteX18" fmla="*/ 197834 w 397954"/>
                <a:gd name="connsiteY18" fmla="*/ 389382 h 389477"/>
                <a:gd name="connsiteX19" fmla="*/ 199263 w 397954"/>
                <a:gd name="connsiteY19" fmla="*/ 315278 h 389477"/>
                <a:gd name="connsiteX20" fmla="*/ 245936 w 397954"/>
                <a:gd name="connsiteY20" fmla="*/ 305753 h 389477"/>
                <a:gd name="connsiteX21" fmla="*/ 281369 w 397954"/>
                <a:gd name="connsiteY21" fmla="*/ 279940 h 389477"/>
                <a:gd name="connsiteX22" fmla="*/ 303848 w 397954"/>
                <a:gd name="connsiteY22" fmla="*/ 242125 h 389477"/>
                <a:gd name="connsiteX23" fmla="*/ 311563 w 397954"/>
                <a:gd name="connsiteY23" fmla="*/ 196501 h 389477"/>
                <a:gd name="connsiteX24" fmla="*/ 311563 w 397954"/>
                <a:gd name="connsiteY24" fmla="*/ 195072 h 389477"/>
                <a:gd name="connsiteX25" fmla="*/ 303181 w 397954"/>
                <a:gd name="connsiteY25" fmla="*/ 148400 h 389477"/>
                <a:gd name="connsiteX26" fmla="*/ 279654 w 397954"/>
                <a:gd name="connsiteY26" fmla="*/ 110204 h 389477"/>
                <a:gd name="connsiteX27" fmla="*/ 243840 w 397954"/>
                <a:gd name="connsiteY27" fmla="*/ 84392 h 389477"/>
                <a:gd name="connsiteX28" fmla="*/ 197834 w 397954"/>
                <a:gd name="connsiteY28" fmla="*/ 74867 h 389477"/>
                <a:gd name="connsiteX29" fmla="*/ 151829 w 397954"/>
                <a:gd name="connsiteY29" fmla="*/ 84392 h 389477"/>
                <a:gd name="connsiteX30" fmla="*/ 116396 w 397954"/>
                <a:gd name="connsiteY30" fmla="*/ 109823 h 389477"/>
                <a:gd name="connsiteX31" fmla="*/ 93916 w 397954"/>
                <a:gd name="connsiteY31" fmla="*/ 147638 h 389477"/>
                <a:gd name="connsiteX32" fmla="*/ 86201 w 397954"/>
                <a:gd name="connsiteY32" fmla="*/ 193548 h 389477"/>
                <a:gd name="connsiteX33" fmla="*/ 86201 w 397954"/>
                <a:gd name="connsiteY33" fmla="*/ 194977 h 389477"/>
                <a:gd name="connsiteX34" fmla="*/ 94583 w 397954"/>
                <a:gd name="connsiteY34" fmla="*/ 241268 h 389477"/>
                <a:gd name="connsiteX35" fmla="*/ 118110 w 397954"/>
                <a:gd name="connsiteY35" fmla="*/ 279463 h 389477"/>
                <a:gd name="connsiteX36" fmla="*/ 153924 w 397954"/>
                <a:gd name="connsiteY36" fmla="*/ 305562 h 389477"/>
                <a:gd name="connsiteX37" fmla="*/ 199263 w 397954"/>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954" h="389477">
                  <a:moveTo>
                    <a:pt x="197834" y="389477"/>
                  </a:moveTo>
                  <a:cubicBezTo>
                    <a:pt x="169545" y="389477"/>
                    <a:pt x="143351" y="384429"/>
                    <a:pt x="119063" y="374237"/>
                  </a:cubicBezTo>
                  <a:cubicBezTo>
                    <a:pt x="94774" y="364141"/>
                    <a:pt x="73819" y="350330"/>
                    <a:pt x="56198" y="332899"/>
                  </a:cubicBezTo>
                  <a:cubicBezTo>
                    <a:pt x="38576" y="315468"/>
                    <a:pt x="24765" y="294989"/>
                    <a:pt x="14859" y="271463"/>
                  </a:cubicBezTo>
                  <a:cubicBezTo>
                    <a:pt x="4953" y="247936"/>
                    <a:pt x="0" y="222980"/>
                    <a:pt x="0" y="196501"/>
                  </a:cubicBezTo>
                  <a:lnTo>
                    <a:pt x="0" y="195072"/>
                  </a:lnTo>
                  <a:cubicBezTo>
                    <a:pt x="0" y="168212"/>
                    <a:pt x="5049" y="143066"/>
                    <a:pt x="15240" y="119444"/>
                  </a:cubicBezTo>
                  <a:cubicBezTo>
                    <a:pt x="25337" y="95917"/>
                    <a:pt x="39243" y="75248"/>
                    <a:pt x="56960" y="57626"/>
                  </a:cubicBezTo>
                  <a:cubicBezTo>
                    <a:pt x="74676" y="39910"/>
                    <a:pt x="95631" y="25908"/>
                    <a:pt x="119825" y="15526"/>
                  </a:cubicBezTo>
                  <a:cubicBezTo>
                    <a:pt x="144113" y="5144"/>
                    <a:pt x="170593" y="0"/>
                    <a:pt x="199358" y="0"/>
                  </a:cubicBezTo>
                  <a:cubicBezTo>
                    <a:pt x="228124" y="0"/>
                    <a:pt x="254604" y="5048"/>
                    <a:pt x="278892" y="15240"/>
                  </a:cubicBezTo>
                  <a:cubicBezTo>
                    <a:pt x="303181" y="25337"/>
                    <a:pt x="324136" y="39243"/>
                    <a:pt x="341757" y="56959"/>
                  </a:cubicBezTo>
                  <a:cubicBezTo>
                    <a:pt x="359379" y="74676"/>
                    <a:pt x="373189" y="95155"/>
                    <a:pt x="383096" y="118396"/>
                  </a:cubicBezTo>
                  <a:cubicBezTo>
                    <a:pt x="393002" y="141732"/>
                    <a:pt x="397955" y="166783"/>
                    <a:pt x="397955" y="193643"/>
                  </a:cubicBezTo>
                  <a:lnTo>
                    <a:pt x="397955" y="195072"/>
                  </a:lnTo>
                  <a:cubicBezTo>
                    <a:pt x="397955" y="221456"/>
                    <a:pt x="392906" y="246412"/>
                    <a:pt x="382714" y="270034"/>
                  </a:cubicBezTo>
                  <a:cubicBezTo>
                    <a:pt x="372618" y="293561"/>
                    <a:pt x="358712" y="314230"/>
                    <a:pt x="340995" y="331851"/>
                  </a:cubicBezTo>
                  <a:cubicBezTo>
                    <a:pt x="323279" y="349472"/>
                    <a:pt x="302229" y="363569"/>
                    <a:pt x="277749" y="373856"/>
                  </a:cubicBezTo>
                  <a:cubicBezTo>
                    <a:pt x="253270" y="384238"/>
                    <a:pt x="226600" y="389382"/>
                    <a:pt x="197834" y="389382"/>
                  </a:cubicBezTo>
                  <a:close/>
                  <a:moveTo>
                    <a:pt x="199263" y="315278"/>
                  </a:moveTo>
                  <a:cubicBezTo>
                    <a:pt x="216598" y="315278"/>
                    <a:pt x="232124" y="312039"/>
                    <a:pt x="245936" y="305753"/>
                  </a:cubicBezTo>
                  <a:cubicBezTo>
                    <a:pt x="259747" y="299371"/>
                    <a:pt x="271558" y="290798"/>
                    <a:pt x="281369" y="279940"/>
                  </a:cubicBezTo>
                  <a:cubicBezTo>
                    <a:pt x="291179" y="269081"/>
                    <a:pt x="298704" y="256508"/>
                    <a:pt x="303848" y="242125"/>
                  </a:cubicBezTo>
                  <a:cubicBezTo>
                    <a:pt x="308991" y="227743"/>
                    <a:pt x="311563" y="212598"/>
                    <a:pt x="311563" y="196501"/>
                  </a:cubicBezTo>
                  <a:lnTo>
                    <a:pt x="311563" y="195072"/>
                  </a:lnTo>
                  <a:cubicBezTo>
                    <a:pt x="311563" y="178594"/>
                    <a:pt x="308706" y="163068"/>
                    <a:pt x="303181" y="148400"/>
                  </a:cubicBezTo>
                  <a:cubicBezTo>
                    <a:pt x="297561" y="133826"/>
                    <a:pt x="289750" y="121063"/>
                    <a:pt x="279654" y="110204"/>
                  </a:cubicBezTo>
                  <a:cubicBezTo>
                    <a:pt x="269557" y="99346"/>
                    <a:pt x="257651" y="90773"/>
                    <a:pt x="243840" y="84392"/>
                  </a:cubicBezTo>
                  <a:cubicBezTo>
                    <a:pt x="230029" y="78010"/>
                    <a:pt x="214694" y="74867"/>
                    <a:pt x="197834" y="74867"/>
                  </a:cubicBezTo>
                  <a:cubicBezTo>
                    <a:pt x="180975" y="74867"/>
                    <a:pt x="165640" y="78010"/>
                    <a:pt x="151829" y="84392"/>
                  </a:cubicBezTo>
                  <a:cubicBezTo>
                    <a:pt x="138017" y="90773"/>
                    <a:pt x="126206" y="99250"/>
                    <a:pt x="116396" y="109823"/>
                  </a:cubicBezTo>
                  <a:cubicBezTo>
                    <a:pt x="106585" y="120396"/>
                    <a:pt x="99060" y="133064"/>
                    <a:pt x="93916" y="147638"/>
                  </a:cubicBezTo>
                  <a:cubicBezTo>
                    <a:pt x="88773" y="162211"/>
                    <a:pt x="86201" y="177546"/>
                    <a:pt x="86201" y="193548"/>
                  </a:cubicBezTo>
                  <a:lnTo>
                    <a:pt x="86201" y="194977"/>
                  </a:lnTo>
                  <a:cubicBezTo>
                    <a:pt x="86201" y="211455"/>
                    <a:pt x="89059" y="226886"/>
                    <a:pt x="94583" y="241268"/>
                  </a:cubicBezTo>
                  <a:cubicBezTo>
                    <a:pt x="100203" y="255651"/>
                    <a:pt x="108014" y="268319"/>
                    <a:pt x="118110" y="279463"/>
                  </a:cubicBezTo>
                  <a:cubicBezTo>
                    <a:pt x="128207" y="290608"/>
                    <a:pt x="140113" y="299275"/>
                    <a:pt x="153924" y="305562"/>
                  </a:cubicBezTo>
                  <a:cubicBezTo>
                    <a:pt x="167735" y="311944"/>
                    <a:pt x="182785"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19" name="Freeform: Shape 31">
              <a:extLst>
                <a:ext uri="{FF2B5EF4-FFF2-40B4-BE49-F238E27FC236}">
                  <a16:creationId xmlns:a16="http://schemas.microsoft.com/office/drawing/2014/main" id="{A1D1428E-3C57-CC01-8772-4C20EFC35E6C}"/>
                </a:ext>
              </a:extLst>
            </p:cNvPr>
            <p:cNvSpPr/>
            <p:nvPr/>
          </p:nvSpPr>
          <p:spPr>
            <a:xfrm>
              <a:off x="662071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1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7 w 296894"/>
                <a:gd name="connsiteY23" fmla="*/ 42863 h 386714"/>
                <a:gd name="connsiteX24" fmla="*/ 254318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7 w 296894"/>
                <a:gd name="connsiteY30" fmla="*/ 124587 h 386714"/>
                <a:gd name="connsiteX31" fmla="*/ 122682 w 296894"/>
                <a:gd name="connsiteY31" fmla="*/ 138017 h 386714"/>
                <a:gd name="connsiteX32" fmla="*/ 149543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6" y="348901"/>
                    <a:pt x="0" y="330327"/>
                  </a:cubicBezTo>
                  <a:lnTo>
                    <a:pt x="38195" y="272224"/>
                  </a:lnTo>
                  <a:cubicBezTo>
                    <a:pt x="58484" y="287274"/>
                    <a:pt x="79057" y="298704"/>
                    <a:pt x="100013" y="306514"/>
                  </a:cubicBezTo>
                  <a:cubicBezTo>
                    <a:pt x="120968" y="314325"/>
                    <a:pt x="141161" y="318135"/>
                    <a:pt x="160401" y="318135"/>
                  </a:cubicBezTo>
                  <a:cubicBezTo>
                    <a:pt x="179641" y="318135"/>
                    <a:pt x="192977"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1" y="241078"/>
                    <a:pt x="176498" y="237553"/>
                    <a:pt x="166401"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2" y="40195"/>
                    <a:pt x="56864" y="30385"/>
                  </a:cubicBezTo>
                  <a:cubicBezTo>
                    <a:pt x="68866" y="20479"/>
                    <a:pt x="82962" y="12954"/>
                    <a:pt x="99250" y="7810"/>
                  </a:cubicBezTo>
                  <a:cubicBezTo>
                    <a:pt x="115538" y="2667"/>
                    <a:pt x="132779" y="0"/>
                    <a:pt x="151162" y="0"/>
                  </a:cubicBezTo>
                  <a:cubicBezTo>
                    <a:pt x="174688" y="0"/>
                    <a:pt x="198501" y="3810"/>
                    <a:pt x="222504" y="11430"/>
                  </a:cubicBezTo>
                  <a:cubicBezTo>
                    <a:pt x="246507" y="19050"/>
                    <a:pt x="268414" y="29527"/>
                    <a:pt x="288227" y="42863"/>
                  </a:cubicBezTo>
                  <a:lnTo>
                    <a:pt x="254318"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7" y="124587"/>
                  </a:cubicBezTo>
                  <a:cubicBezTo>
                    <a:pt x="108585" y="129540"/>
                    <a:pt x="114871" y="134017"/>
                    <a:pt x="122682" y="138017"/>
                  </a:cubicBezTo>
                  <a:cubicBezTo>
                    <a:pt x="130493" y="142018"/>
                    <a:pt x="139351" y="145732"/>
                    <a:pt x="149543"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696"/>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0" name="Freeform: Shape 32">
              <a:extLst>
                <a:ext uri="{FF2B5EF4-FFF2-40B4-BE49-F238E27FC236}">
                  <a16:creationId xmlns:a16="http://schemas.microsoft.com/office/drawing/2014/main" id="{F158CE1F-B299-BF32-687C-C89B3EC2C2C3}"/>
                </a:ext>
              </a:extLst>
            </p:cNvPr>
            <p:cNvSpPr/>
            <p:nvPr/>
          </p:nvSpPr>
          <p:spPr>
            <a:xfrm>
              <a:off x="526693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4 w 202977"/>
                <a:gd name="connsiteY17" fmla="*/ 19907 h 239267"/>
                <a:gd name="connsiteX18" fmla="*/ 59246 w 202977"/>
                <a:gd name="connsiteY18" fmla="*/ 5429 h 239267"/>
                <a:gd name="connsiteX19" fmla="*/ 104299 w 202977"/>
                <a:gd name="connsiteY19" fmla="*/ 0 h 239267"/>
                <a:gd name="connsiteX20" fmla="*/ 178880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5 w 202977"/>
                <a:gd name="connsiteY27" fmla="*/ 211169 h 239267"/>
                <a:gd name="connsiteX28" fmla="*/ 122968 w 202977"/>
                <a:gd name="connsiteY28" fmla="*/ 206788 h 239267"/>
                <a:gd name="connsiteX29" fmla="*/ 147257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9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9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3" y="99155"/>
                    <a:pt x="58674" y="95917"/>
                  </a:cubicBezTo>
                  <a:cubicBezTo>
                    <a:pt x="70771" y="92678"/>
                    <a:pt x="84011" y="90964"/>
                    <a:pt x="98584" y="90964"/>
                  </a:cubicBezTo>
                  <a:cubicBezTo>
                    <a:pt x="113157" y="90964"/>
                    <a:pt x="126301" y="91821"/>
                    <a:pt x="137160" y="93631"/>
                  </a:cubicBezTo>
                  <a:cubicBezTo>
                    <a:pt x="148019" y="95440"/>
                    <a:pt x="158687" y="97822"/>
                    <a:pt x="169069" y="100774"/>
                  </a:cubicBezTo>
                  <a:lnTo>
                    <a:pt x="169069" y="93726"/>
                  </a:lnTo>
                  <a:cubicBezTo>
                    <a:pt x="169069" y="73342"/>
                    <a:pt x="163068" y="57912"/>
                    <a:pt x="151162" y="47339"/>
                  </a:cubicBezTo>
                  <a:cubicBezTo>
                    <a:pt x="139256" y="36862"/>
                    <a:pt x="122492" y="31623"/>
                    <a:pt x="100679" y="31623"/>
                  </a:cubicBezTo>
                  <a:cubicBezTo>
                    <a:pt x="86963" y="31623"/>
                    <a:pt x="74581" y="33147"/>
                    <a:pt x="63437" y="36100"/>
                  </a:cubicBezTo>
                  <a:cubicBezTo>
                    <a:pt x="52292" y="39053"/>
                    <a:pt x="41339" y="43053"/>
                    <a:pt x="30671" y="48196"/>
                  </a:cubicBezTo>
                  <a:lnTo>
                    <a:pt x="20384" y="19907"/>
                  </a:lnTo>
                  <a:cubicBezTo>
                    <a:pt x="33147" y="13906"/>
                    <a:pt x="46101" y="9049"/>
                    <a:pt x="59246" y="5429"/>
                  </a:cubicBezTo>
                  <a:cubicBezTo>
                    <a:pt x="72295" y="1810"/>
                    <a:pt x="87344" y="0"/>
                    <a:pt x="104299" y="0"/>
                  </a:cubicBezTo>
                  <a:cubicBezTo>
                    <a:pt x="137065" y="0"/>
                    <a:pt x="161925" y="8477"/>
                    <a:pt x="178880"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99" y="239173"/>
                    <a:pt x="86011" y="239173"/>
                  </a:cubicBezTo>
                  <a:close/>
                  <a:moveTo>
                    <a:pt x="93155" y="211169"/>
                  </a:moveTo>
                  <a:cubicBezTo>
                    <a:pt x="103823" y="211169"/>
                    <a:pt x="113728" y="209740"/>
                    <a:pt x="122968" y="206788"/>
                  </a:cubicBezTo>
                  <a:cubicBezTo>
                    <a:pt x="132207" y="203835"/>
                    <a:pt x="140208" y="199644"/>
                    <a:pt x="147257"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9" y="121444"/>
                  </a:cubicBezTo>
                  <a:cubicBezTo>
                    <a:pt x="129445" y="119348"/>
                    <a:pt x="116776"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244" y="190500"/>
                    <a:pt x="47435" y="195358"/>
                    <a:pt x="52769" y="199263"/>
                  </a:cubicBezTo>
                  <a:cubicBezTo>
                    <a:pt x="58103" y="203073"/>
                    <a:pt x="64294" y="206026"/>
                    <a:pt x="71247" y="208121"/>
                  </a:cubicBezTo>
                  <a:cubicBezTo>
                    <a:pt x="78200" y="210217"/>
                    <a:pt x="85535"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21" name="Freeform: Shape 33">
              <a:extLst>
                <a:ext uri="{FF2B5EF4-FFF2-40B4-BE49-F238E27FC236}">
                  <a16:creationId xmlns:a16="http://schemas.microsoft.com/office/drawing/2014/main" id="{D7867D6F-2D3F-070E-CC95-5EB6EFBCFEE3}"/>
                </a:ext>
              </a:extLst>
            </p:cNvPr>
            <p:cNvSpPr/>
            <p:nvPr/>
          </p:nvSpPr>
          <p:spPr>
            <a:xfrm>
              <a:off x="5331227"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9" y="303276"/>
                    <a:pt x="71438" y="300895"/>
                  </a:cubicBezTo>
                  <a:cubicBezTo>
                    <a:pt x="63437"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2"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22" name="Freeform: Shape 34">
              <a:extLst>
                <a:ext uri="{FF2B5EF4-FFF2-40B4-BE49-F238E27FC236}">
                  <a16:creationId xmlns:a16="http://schemas.microsoft.com/office/drawing/2014/main" id="{D12DA843-60F3-DBBA-BE2C-00BC49805529}"/>
                </a:ext>
              </a:extLst>
            </p:cNvPr>
            <p:cNvSpPr/>
            <p:nvPr/>
          </p:nvSpPr>
          <p:spPr>
            <a:xfrm>
              <a:off x="5381845"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191 w 39242"/>
                <a:gd name="connsiteY5" fmla="*/ 88392 h 319182"/>
                <a:gd name="connsiteX6" fmla="*/ 36576 w 39242"/>
                <a:gd name="connsiteY6" fmla="*/ 88392 h 319182"/>
                <a:gd name="connsiteX7" fmla="*/ 36576 w 39242"/>
                <a:gd name="connsiteY7" fmla="*/ 319183 h 319182"/>
                <a:gd name="connsiteX8" fmla="*/ 2191 w 39242"/>
                <a:gd name="connsiteY8" fmla="*/ 319183 h 319182"/>
                <a:gd name="connsiteX9" fmla="*/ 2191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191" y="88392"/>
                  </a:moveTo>
                  <a:lnTo>
                    <a:pt x="36576" y="88392"/>
                  </a:lnTo>
                  <a:lnTo>
                    <a:pt x="36576" y="319183"/>
                  </a:lnTo>
                  <a:lnTo>
                    <a:pt x="2191" y="319183"/>
                  </a:lnTo>
                  <a:lnTo>
                    <a:pt x="2191" y="88392"/>
                  </a:lnTo>
                  <a:close/>
                </a:path>
              </a:pathLst>
            </a:custGeom>
            <a:solidFill>
              <a:srgbClr val="44505E"/>
            </a:solidFill>
            <a:ln w="9525" cap="flat">
              <a:noFill/>
              <a:prstDash val="solid"/>
              <a:miter/>
            </a:ln>
          </p:spPr>
          <p:txBody>
            <a:bodyPr rtlCol="0" anchor="ctr"/>
            <a:lstStyle/>
            <a:p>
              <a:endParaRPr lang="pt-BR" noProof="0"/>
            </a:p>
          </p:txBody>
        </p:sp>
        <p:sp>
          <p:nvSpPr>
            <p:cNvPr id="23" name="Freeform: Shape 35">
              <a:extLst>
                <a:ext uri="{FF2B5EF4-FFF2-40B4-BE49-F238E27FC236}">
                  <a16:creationId xmlns:a16="http://schemas.microsoft.com/office/drawing/2014/main" id="{ACED4A19-15DB-33B7-B1E6-5B17F3A7CC92}"/>
                </a:ext>
              </a:extLst>
            </p:cNvPr>
            <p:cNvSpPr/>
            <p:nvPr/>
          </p:nvSpPr>
          <p:spPr>
            <a:xfrm>
              <a:off x="5406076"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8" y="303276"/>
                    <a:pt x="71438" y="300895"/>
                  </a:cubicBezTo>
                  <a:cubicBezTo>
                    <a:pt x="63436"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1"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24" name="Freeform: Shape 36">
              <a:extLst>
                <a:ext uri="{FF2B5EF4-FFF2-40B4-BE49-F238E27FC236}">
                  <a16:creationId xmlns:a16="http://schemas.microsoft.com/office/drawing/2014/main" id="{B7B1C9BA-E46C-46A7-B0AB-90817C4CB01C}"/>
                </a:ext>
              </a:extLst>
            </p:cNvPr>
            <p:cNvSpPr/>
            <p:nvPr/>
          </p:nvSpPr>
          <p:spPr>
            <a:xfrm>
              <a:off x="5455545" y="925297"/>
              <a:ext cx="50594" cy="59238"/>
            </a:xfrm>
            <a:custGeom>
              <a:avLst/>
              <a:gdLst>
                <a:gd name="connsiteX0" fmla="*/ 88392 w 201263"/>
                <a:gd name="connsiteY0" fmla="*/ 235648 h 235648"/>
                <a:gd name="connsiteX1" fmla="*/ 51149 w 201263"/>
                <a:gd name="connsiteY1" fmla="*/ 228981 h 235648"/>
                <a:gd name="connsiteX2" fmla="*/ 23431 w 201263"/>
                <a:gd name="connsiteY2" fmla="*/ 210026 h 235648"/>
                <a:gd name="connsiteX3" fmla="*/ 6001 w 201263"/>
                <a:gd name="connsiteY3" fmla="*/ 180784 h 235648"/>
                <a:gd name="connsiteX4" fmla="*/ 0 w 201263"/>
                <a:gd name="connsiteY4" fmla="*/ 143256 h 235648"/>
                <a:gd name="connsiteX5" fmla="*/ 0 w 201263"/>
                <a:gd name="connsiteY5" fmla="*/ 0 h 235648"/>
                <a:gd name="connsiteX6" fmla="*/ 34385 w 201263"/>
                <a:gd name="connsiteY6" fmla="*/ 0 h 235648"/>
                <a:gd name="connsiteX7" fmla="*/ 34385 w 201263"/>
                <a:gd name="connsiteY7" fmla="*/ 134493 h 235648"/>
                <a:gd name="connsiteX8" fmla="*/ 50864 w 201263"/>
                <a:gd name="connsiteY8" fmla="*/ 185261 h 235648"/>
                <a:gd name="connsiteX9" fmla="*/ 98203 w 201263"/>
                <a:gd name="connsiteY9" fmla="*/ 203930 h 235648"/>
                <a:gd name="connsiteX10" fmla="*/ 125635 w 201263"/>
                <a:gd name="connsiteY10" fmla="*/ 198787 h 235648"/>
                <a:gd name="connsiteX11" fmla="*/ 147542 w 201263"/>
                <a:gd name="connsiteY11" fmla="*/ 184118 h 235648"/>
                <a:gd name="connsiteX12" fmla="*/ 162020 w 201263"/>
                <a:gd name="connsiteY12" fmla="*/ 161163 h 235648"/>
                <a:gd name="connsiteX13" fmla="*/ 167354 w 201263"/>
                <a:gd name="connsiteY13" fmla="*/ 131826 h 235648"/>
                <a:gd name="connsiteX14" fmla="*/ 167354 w 201263"/>
                <a:gd name="connsiteY14" fmla="*/ 0 h 235648"/>
                <a:gd name="connsiteX15" fmla="*/ 201263 w 201263"/>
                <a:gd name="connsiteY15" fmla="*/ 0 h 235648"/>
                <a:gd name="connsiteX16" fmla="*/ 201263 w 201263"/>
                <a:gd name="connsiteY16" fmla="*/ 230791 h 235648"/>
                <a:gd name="connsiteX17" fmla="*/ 167354 w 201263"/>
                <a:gd name="connsiteY17" fmla="*/ 230791 h 235648"/>
                <a:gd name="connsiteX18" fmla="*/ 167354 w 201263"/>
                <a:gd name="connsiteY18" fmla="*/ 190595 h 235648"/>
                <a:gd name="connsiteX19" fmla="*/ 136969 w 201263"/>
                <a:gd name="connsiteY19" fmla="*/ 222504 h 235648"/>
                <a:gd name="connsiteX20" fmla="*/ 88297 w 201263"/>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263" h="235648">
                  <a:moveTo>
                    <a:pt x="88392" y="235648"/>
                  </a:moveTo>
                  <a:cubicBezTo>
                    <a:pt x="74390" y="235648"/>
                    <a:pt x="62008" y="233363"/>
                    <a:pt x="51149" y="228981"/>
                  </a:cubicBezTo>
                  <a:cubicBezTo>
                    <a:pt x="40291" y="224504"/>
                    <a:pt x="31052" y="218218"/>
                    <a:pt x="23431"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864" y="185261"/>
                  </a:cubicBezTo>
                  <a:cubicBezTo>
                    <a:pt x="61913" y="197739"/>
                    <a:pt x="77629" y="203930"/>
                    <a:pt x="98203" y="203930"/>
                  </a:cubicBezTo>
                  <a:cubicBezTo>
                    <a:pt x="108014" y="203930"/>
                    <a:pt x="117158" y="202216"/>
                    <a:pt x="125635" y="198787"/>
                  </a:cubicBezTo>
                  <a:cubicBezTo>
                    <a:pt x="134112" y="195358"/>
                    <a:pt x="141351" y="190500"/>
                    <a:pt x="147542" y="184118"/>
                  </a:cubicBezTo>
                  <a:cubicBezTo>
                    <a:pt x="153638" y="177736"/>
                    <a:pt x="158496" y="170116"/>
                    <a:pt x="162020" y="161163"/>
                  </a:cubicBezTo>
                  <a:cubicBezTo>
                    <a:pt x="165640" y="152305"/>
                    <a:pt x="167354" y="142494"/>
                    <a:pt x="167354" y="131826"/>
                  </a:cubicBezTo>
                  <a:lnTo>
                    <a:pt x="167354" y="0"/>
                  </a:lnTo>
                  <a:lnTo>
                    <a:pt x="201263" y="0"/>
                  </a:lnTo>
                  <a:lnTo>
                    <a:pt x="201263" y="230791"/>
                  </a:lnTo>
                  <a:lnTo>
                    <a:pt x="167354" y="230791"/>
                  </a:lnTo>
                  <a:lnTo>
                    <a:pt x="167354" y="190595"/>
                  </a:lnTo>
                  <a:cubicBezTo>
                    <a:pt x="159639" y="203073"/>
                    <a:pt x="149447" y="213741"/>
                    <a:pt x="136969" y="222504"/>
                  </a:cubicBezTo>
                  <a:cubicBezTo>
                    <a:pt x="124492" y="231267"/>
                    <a:pt x="108299" y="235648"/>
                    <a:pt x="88297" y="235648"/>
                  </a:cubicBezTo>
                  <a:close/>
                </a:path>
              </a:pathLst>
            </a:custGeom>
            <a:solidFill>
              <a:srgbClr val="44505E"/>
            </a:solidFill>
            <a:ln w="9525" cap="flat">
              <a:noFill/>
              <a:prstDash val="solid"/>
              <a:miter/>
            </a:ln>
          </p:spPr>
          <p:txBody>
            <a:bodyPr rtlCol="0" anchor="ctr"/>
            <a:lstStyle/>
            <a:p>
              <a:endParaRPr lang="pt-BR" noProof="0"/>
            </a:p>
          </p:txBody>
        </p:sp>
        <p:sp>
          <p:nvSpPr>
            <p:cNvPr id="25" name="Freeform: Shape 37">
              <a:extLst>
                <a:ext uri="{FF2B5EF4-FFF2-40B4-BE49-F238E27FC236}">
                  <a16:creationId xmlns:a16="http://schemas.microsoft.com/office/drawing/2014/main" id="{23BD4C39-0FDC-680D-F3AA-A144A2D83112}"/>
                </a:ext>
              </a:extLst>
            </p:cNvPr>
            <p:cNvSpPr/>
            <p:nvPr/>
          </p:nvSpPr>
          <p:spPr>
            <a:xfrm>
              <a:off x="5522205" y="901353"/>
              <a:ext cx="58567" cy="83182"/>
            </a:xfrm>
            <a:custGeom>
              <a:avLst/>
              <a:gdLst>
                <a:gd name="connsiteX0" fmla="*/ 110204 w 232981"/>
                <a:gd name="connsiteY0" fmla="*/ 330898 h 330898"/>
                <a:gd name="connsiteX1" fmla="*/ 69628 w 232981"/>
                <a:gd name="connsiteY1" fmla="*/ 322897 h 330898"/>
                <a:gd name="connsiteX2" fmla="*/ 34385 w 232981"/>
                <a:gd name="connsiteY2" fmla="*/ 299466 h 330898"/>
                <a:gd name="connsiteX3" fmla="*/ 9334 w 232981"/>
                <a:gd name="connsiteY3" fmla="*/ 261938 h 330898"/>
                <a:gd name="connsiteX4" fmla="*/ 0 w 232981"/>
                <a:gd name="connsiteY4" fmla="*/ 211264 h 330898"/>
                <a:gd name="connsiteX5" fmla="*/ 0 w 232981"/>
                <a:gd name="connsiteY5" fmla="*/ 210407 h 330898"/>
                <a:gd name="connsiteX6" fmla="*/ 9334 w 232981"/>
                <a:gd name="connsiteY6" fmla="*/ 159925 h 330898"/>
                <a:gd name="connsiteX7" fmla="*/ 34385 w 232981"/>
                <a:gd name="connsiteY7" fmla="*/ 122206 h 330898"/>
                <a:gd name="connsiteX8" fmla="*/ 69628 w 232981"/>
                <a:gd name="connsiteY8" fmla="*/ 98488 h 330898"/>
                <a:gd name="connsiteX9" fmla="*/ 110204 w 232981"/>
                <a:gd name="connsiteY9" fmla="*/ 90202 h 330898"/>
                <a:gd name="connsiteX10" fmla="*/ 139636 w 232981"/>
                <a:gd name="connsiteY10" fmla="*/ 94202 h 330898"/>
                <a:gd name="connsiteX11" fmla="*/ 163735 w 232981"/>
                <a:gd name="connsiteY11" fmla="*/ 104870 h 330898"/>
                <a:gd name="connsiteX12" fmla="*/ 183166 w 232981"/>
                <a:gd name="connsiteY12" fmla="*/ 120491 h 330898"/>
                <a:gd name="connsiteX13" fmla="*/ 198596 w 232981"/>
                <a:gd name="connsiteY13" fmla="*/ 139255 h 330898"/>
                <a:gd name="connsiteX14" fmla="*/ 198596 w 232981"/>
                <a:gd name="connsiteY14" fmla="*/ 0 h 330898"/>
                <a:gd name="connsiteX15" fmla="*/ 232981 w 232981"/>
                <a:gd name="connsiteY15" fmla="*/ 0 h 330898"/>
                <a:gd name="connsiteX16" fmla="*/ 232981 w 232981"/>
                <a:gd name="connsiteY16" fmla="*/ 325850 h 330898"/>
                <a:gd name="connsiteX17" fmla="*/ 198596 w 232981"/>
                <a:gd name="connsiteY17" fmla="*/ 325850 h 330898"/>
                <a:gd name="connsiteX18" fmla="*/ 198596 w 232981"/>
                <a:gd name="connsiteY18" fmla="*/ 279463 h 330898"/>
                <a:gd name="connsiteX19" fmla="*/ 182785 w 232981"/>
                <a:gd name="connsiteY19" fmla="*/ 299085 h 330898"/>
                <a:gd name="connsiteX20" fmla="*/ 163354 w 232981"/>
                <a:gd name="connsiteY20" fmla="*/ 315658 h 330898"/>
                <a:gd name="connsiteX21" fmla="*/ 139446 w 232981"/>
                <a:gd name="connsiteY21" fmla="*/ 326803 h 330898"/>
                <a:gd name="connsiteX22" fmla="*/ 110204 w 232981"/>
                <a:gd name="connsiteY22" fmla="*/ 330803 h 330898"/>
                <a:gd name="connsiteX23" fmla="*/ 116491 w 232981"/>
                <a:gd name="connsiteY23" fmla="*/ 300133 h 330898"/>
                <a:gd name="connsiteX24" fmla="*/ 147542 w 232981"/>
                <a:gd name="connsiteY24" fmla="*/ 293656 h 330898"/>
                <a:gd name="connsiteX25" fmla="*/ 174307 w 232981"/>
                <a:gd name="connsiteY25" fmla="*/ 275368 h 330898"/>
                <a:gd name="connsiteX26" fmla="*/ 193072 w 232981"/>
                <a:gd name="connsiteY26" fmla="*/ 247269 h 330898"/>
                <a:gd name="connsiteX27" fmla="*/ 200025 w 232981"/>
                <a:gd name="connsiteY27" fmla="*/ 210883 h 330898"/>
                <a:gd name="connsiteX28" fmla="*/ 200025 w 232981"/>
                <a:gd name="connsiteY28" fmla="*/ 210026 h 330898"/>
                <a:gd name="connsiteX29" fmla="*/ 193072 w 232981"/>
                <a:gd name="connsiteY29" fmla="*/ 173641 h 330898"/>
                <a:gd name="connsiteX30" fmla="*/ 174307 w 232981"/>
                <a:gd name="connsiteY30" fmla="*/ 145732 h 330898"/>
                <a:gd name="connsiteX31" fmla="*/ 147542 w 232981"/>
                <a:gd name="connsiteY31" fmla="*/ 127635 h 330898"/>
                <a:gd name="connsiteX32" fmla="*/ 116491 w 232981"/>
                <a:gd name="connsiteY32" fmla="*/ 121158 h 330898"/>
                <a:gd name="connsiteX33" fmla="*/ 84772 w 232981"/>
                <a:gd name="connsiteY33" fmla="*/ 127159 h 330898"/>
                <a:gd name="connsiteX34" fmla="*/ 59150 w 232981"/>
                <a:gd name="connsiteY34" fmla="*/ 144589 h 330898"/>
                <a:gd name="connsiteX35" fmla="*/ 41719 w 232981"/>
                <a:gd name="connsiteY35" fmla="*/ 172498 h 330898"/>
                <a:gd name="connsiteX36" fmla="*/ 35242 w 232981"/>
                <a:gd name="connsiteY36" fmla="*/ 210026 h 330898"/>
                <a:gd name="connsiteX37" fmla="*/ 35242 w 232981"/>
                <a:gd name="connsiteY37" fmla="*/ 210883 h 330898"/>
                <a:gd name="connsiteX38" fmla="*/ 41719 w 232981"/>
                <a:gd name="connsiteY38" fmla="*/ 247936 h 330898"/>
                <a:gd name="connsiteX39" fmla="*/ 59341 w 232981"/>
                <a:gd name="connsiteY39" fmla="*/ 276034 h 330898"/>
                <a:gd name="connsiteX40" fmla="*/ 85249 w 232981"/>
                <a:gd name="connsiteY40" fmla="*/ 293941 h 330898"/>
                <a:gd name="connsiteX41" fmla="*/ 116491 w 23298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30898">
                  <a:moveTo>
                    <a:pt x="110204" y="330898"/>
                  </a:moveTo>
                  <a:cubicBezTo>
                    <a:pt x="96202" y="330898"/>
                    <a:pt x="82677" y="328231"/>
                    <a:pt x="69628" y="322897"/>
                  </a:cubicBezTo>
                  <a:cubicBezTo>
                    <a:pt x="56578" y="317563"/>
                    <a:pt x="44767" y="309753"/>
                    <a:pt x="34385" y="299466"/>
                  </a:cubicBezTo>
                  <a:cubicBezTo>
                    <a:pt x="24003" y="289179"/>
                    <a:pt x="15621" y="276701"/>
                    <a:pt x="9334" y="261938"/>
                  </a:cubicBezTo>
                  <a:cubicBezTo>
                    <a:pt x="3048" y="247174"/>
                    <a:pt x="0" y="230314"/>
                    <a:pt x="0" y="211264"/>
                  </a:cubicBezTo>
                  <a:lnTo>
                    <a:pt x="0" y="210407"/>
                  </a:lnTo>
                  <a:cubicBezTo>
                    <a:pt x="0" y="191643"/>
                    <a:pt x="3143" y="174879"/>
                    <a:pt x="9334" y="159925"/>
                  </a:cubicBezTo>
                  <a:cubicBezTo>
                    <a:pt x="15621" y="145066"/>
                    <a:pt x="23908" y="132493"/>
                    <a:pt x="34385" y="122206"/>
                  </a:cubicBezTo>
                  <a:cubicBezTo>
                    <a:pt x="44767" y="111919"/>
                    <a:pt x="56578" y="104013"/>
                    <a:pt x="69628" y="98488"/>
                  </a:cubicBezTo>
                  <a:cubicBezTo>
                    <a:pt x="82677" y="92964"/>
                    <a:pt x="96298" y="90202"/>
                    <a:pt x="110204" y="90202"/>
                  </a:cubicBezTo>
                  <a:cubicBezTo>
                    <a:pt x="120967" y="90202"/>
                    <a:pt x="130778" y="91535"/>
                    <a:pt x="139636" y="94202"/>
                  </a:cubicBezTo>
                  <a:cubicBezTo>
                    <a:pt x="148590" y="96869"/>
                    <a:pt x="156591" y="100489"/>
                    <a:pt x="163735" y="104870"/>
                  </a:cubicBezTo>
                  <a:cubicBezTo>
                    <a:pt x="170878" y="109347"/>
                    <a:pt x="177356" y="114586"/>
                    <a:pt x="183166" y="120491"/>
                  </a:cubicBezTo>
                  <a:cubicBezTo>
                    <a:pt x="188976" y="126492"/>
                    <a:pt x="194119" y="132683"/>
                    <a:pt x="198596" y="139255"/>
                  </a:cubicBezTo>
                  <a:lnTo>
                    <a:pt x="198596" y="0"/>
                  </a:lnTo>
                  <a:lnTo>
                    <a:pt x="232981" y="0"/>
                  </a:lnTo>
                  <a:lnTo>
                    <a:pt x="232981" y="325850"/>
                  </a:lnTo>
                  <a:lnTo>
                    <a:pt x="198596" y="325850"/>
                  </a:lnTo>
                  <a:lnTo>
                    <a:pt x="198596" y="279463"/>
                  </a:lnTo>
                  <a:cubicBezTo>
                    <a:pt x="193834" y="286321"/>
                    <a:pt x="188595" y="292894"/>
                    <a:pt x="182785" y="299085"/>
                  </a:cubicBezTo>
                  <a:cubicBezTo>
                    <a:pt x="176974" y="305371"/>
                    <a:pt x="170498" y="310896"/>
                    <a:pt x="163354" y="315658"/>
                  </a:cubicBezTo>
                  <a:cubicBezTo>
                    <a:pt x="156210" y="320421"/>
                    <a:pt x="148209" y="324136"/>
                    <a:pt x="139446" y="326803"/>
                  </a:cubicBezTo>
                  <a:cubicBezTo>
                    <a:pt x="130683" y="329470"/>
                    <a:pt x="120967" y="330803"/>
                    <a:pt x="110204" y="330803"/>
                  </a:cubicBezTo>
                  <a:close/>
                  <a:moveTo>
                    <a:pt x="116491" y="300133"/>
                  </a:moveTo>
                  <a:cubicBezTo>
                    <a:pt x="127159" y="300133"/>
                    <a:pt x="137541" y="297942"/>
                    <a:pt x="147542" y="293656"/>
                  </a:cubicBezTo>
                  <a:cubicBezTo>
                    <a:pt x="157544" y="289369"/>
                    <a:pt x="166402" y="283273"/>
                    <a:pt x="174307" y="275368"/>
                  </a:cubicBezTo>
                  <a:cubicBezTo>
                    <a:pt x="182213" y="267462"/>
                    <a:pt x="188404" y="258127"/>
                    <a:pt x="193072" y="247269"/>
                  </a:cubicBezTo>
                  <a:cubicBezTo>
                    <a:pt x="197644" y="236410"/>
                    <a:pt x="200025" y="224314"/>
                    <a:pt x="200025" y="210883"/>
                  </a:cubicBezTo>
                  <a:lnTo>
                    <a:pt x="200025" y="210026"/>
                  </a:lnTo>
                  <a:cubicBezTo>
                    <a:pt x="200025" y="196596"/>
                    <a:pt x="197739" y="184499"/>
                    <a:pt x="193072" y="173641"/>
                  </a:cubicBezTo>
                  <a:cubicBezTo>
                    <a:pt x="188500" y="162782"/>
                    <a:pt x="182213" y="153448"/>
                    <a:pt x="174307" y="145732"/>
                  </a:cubicBezTo>
                  <a:cubicBezTo>
                    <a:pt x="166402" y="138017"/>
                    <a:pt x="157448" y="132016"/>
                    <a:pt x="147542" y="127635"/>
                  </a:cubicBezTo>
                  <a:cubicBezTo>
                    <a:pt x="137541" y="123349"/>
                    <a:pt x="127254" y="121158"/>
                    <a:pt x="116491" y="121158"/>
                  </a:cubicBezTo>
                  <a:cubicBezTo>
                    <a:pt x="105156" y="121158"/>
                    <a:pt x="94583" y="123158"/>
                    <a:pt x="84772" y="127159"/>
                  </a:cubicBezTo>
                  <a:cubicBezTo>
                    <a:pt x="74962" y="131159"/>
                    <a:pt x="66389" y="136969"/>
                    <a:pt x="59150" y="144589"/>
                  </a:cubicBezTo>
                  <a:cubicBezTo>
                    <a:pt x="51816" y="152114"/>
                    <a:pt x="46101" y="161449"/>
                    <a:pt x="41719" y="172498"/>
                  </a:cubicBezTo>
                  <a:cubicBezTo>
                    <a:pt x="37433" y="183451"/>
                    <a:pt x="35242" y="196024"/>
                    <a:pt x="35242" y="210026"/>
                  </a:cubicBezTo>
                  <a:lnTo>
                    <a:pt x="35242" y="210883"/>
                  </a:lnTo>
                  <a:cubicBezTo>
                    <a:pt x="35242" y="224599"/>
                    <a:pt x="37433" y="236982"/>
                    <a:pt x="41719" y="247936"/>
                  </a:cubicBezTo>
                  <a:cubicBezTo>
                    <a:pt x="46006" y="258984"/>
                    <a:pt x="51911" y="268319"/>
                    <a:pt x="59341" y="276034"/>
                  </a:cubicBezTo>
                  <a:cubicBezTo>
                    <a:pt x="66770" y="283750"/>
                    <a:pt x="75438" y="289750"/>
                    <a:pt x="85249" y="293941"/>
                  </a:cubicBezTo>
                  <a:cubicBezTo>
                    <a:pt x="95059" y="298132"/>
                    <a:pt x="105442" y="300228"/>
                    <a:pt x="116491" y="300228"/>
                  </a:cubicBezTo>
                  <a:close/>
                </a:path>
              </a:pathLst>
            </a:custGeom>
            <a:solidFill>
              <a:srgbClr val="44505E"/>
            </a:solidFill>
            <a:ln w="9525" cap="flat">
              <a:noFill/>
              <a:prstDash val="solid"/>
              <a:miter/>
            </a:ln>
          </p:spPr>
          <p:txBody>
            <a:bodyPr rtlCol="0" anchor="ctr"/>
            <a:lstStyle/>
            <a:p>
              <a:endParaRPr lang="pt-BR" noProof="0"/>
            </a:p>
          </p:txBody>
        </p:sp>
        <p:sp>
          <p:nvSpPr>
            <p:cNvPr id="26" name="Freeform: Shape 38">
              <a:extLst>
                <a:ext uri="{FF2B5EF4-FFF2-40B4-BE49-F238E27FC236}">
                  <a16:creationId xmlns:a16="http://schemas.microsoft.com/office/drawing/2014/main" id="{55E01144-AAEA-B0F4-66EA-ADD56BC977A5}"/>
                </a:ext>
              </a:extLst>
            </p:cNvPr>
            <p:cNvSpPr/>
            <p:nvPr/>
          </p:nvSpPr>
          <p:spPr>
            <a:xfrm>
              <a:off x="5596504"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6963 w 218217"/>
                <a:gd name="connsiteY3" fmla="*/ 206026 h 241077"/>
                <a:gd name="connsiteX4" fmla="*/ 116015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8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1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452 w 218217"/>
                <a:gd name="connsiteY25" fmla="*/ 106299 h 241077"/>
                <a:gd name="connsiteX26" fmla="*/ 176784 w 218217"/>
                <a:gd name="connsiteY26" fmla="*/ 76771 h 241077"/>
                <a:gd name="connsiteX27" fmla="*/ 162306 w 218217"/>
                <a:gd name="connsiteY27" fmla="*/ 52101 h 241077"/>
                <a:gd name="connsiteX28" fmla="*/ 140018 w 218217"/>
                <a:gd name="connsiteY28" fmla="*/ 35242 h 241077"/>
                <a:gd name="connsiteX29" fmla="*/ 109919 w 218217"/>
                <a:gd name="connsiteY29" fmla="*/ 29051 h 241077"/>
                <a:gd name="connsiteX30" fmla="*/ 82201 w 218217"/>
                <a:gd name="connsiteY30" fmla="*/ 34766 h 241077"/>
                <a:gd name="connsiteX31" fmla="*/ 59436 w 218217"/>
                <a:gd name="connsiteY31" fmla="*/ 50959 h 241077"/>
                <a:gd name="connsiteX32" fmla="*/ 43148 w 218217"/>
                <a:gd name="connsiteY32" fmla="*/ 75628 h 241077"/>
                <a:gd name="connsiteX33" fmla="*/ 34862 w 218217"/>
                <a:gd name="connsiteY33" fmla="*/ 106204 h 241077"/>
                <a:gd name="connsiteX34" fmla="*/ 183547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724" y="202597"/>
                    <a:pt x="86963" y="206026"/>
                  </a:cubicBezTo>
                  <a:cubicBezTo>
                    <a:pt x="96203" y="209455"/>
                    <a:pt x="105823" y="211169"/>
                    <a:pt x="116015" y="211169"/>
                  </a:cubicBezTo>
                  <a:cubicBezTo>
                    <a:pt x="132112" y="211169"/>
                    <a:pt x="145828" y="208216"/>
                    <a:pt x="157353" y="202216"/>
                  </a:cubicBezTo>
                  <a:cubicBezTo>
                    <a:pt x="168783" y="196310"/>
                    <a:pt x="179261" y="188404"/>
                    <a:pt x="188786" y="178594"/>
                  </a:cubicBezTo>
                  <a:lnTo>
                    <a:pt x="210217" y="197834"/>
                  </a:lnTo>
                  <a:cubicBezTo>
                    <a:pt x="198596" y="210979"/>
                    <a:pt x="185357" y="221361"/>
                    <a:pt x="170498" y="229267"/>
                  </a:cubicBezTo>
                  <a:cubicBezTo>
                    <a:pt x="155639"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679" y="0"/>
                    <a:pt x="110681"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452" y="106299"/>
                  </a:moveTo>
                  <a:cubicBezTo>
                    <a:pt x="182594" y="95917"/>
                    <a:pt x="180308" y="86106"/>
                    <a:pt x="176784" y="76771"/>
                  </a:cubicBezTo>
                  <a:cubicBezTo>
                    <a:pt x="173165" y="67437"/>
                    <a:pt x="168402" y="59245"/>
                    <a:pt x="162306" y="52101"/>
                  </a:cubicBezTo>
                  <a:cubicBezTo>
                    <a:pt x="156210" y="44958"/>
                    <a:pt x="148781" y="39338"/>
                    <a:pt x="140018" y="35242"/>
                  </a:cubicBezTo>
                  <a:cubicBezTo>
                    <a:pt x="131254" y="31147"/>
                    <a:pt x="121158" y="29051"/>
                    <a:pt x="109919" y="29051"/>
                  </a:cubicBezTo>
                  <a:cubicBezTo>
                    <a:pt x="100108" y="29051"/>
                    <a:pt x="90869" y="30956"/>
                    <a:pt x="82201" y="34766"/>
                  </a:cubicBezTo>
                  <a:cubicBezTo>
                    <a:pt x="73533" y="38671"/>
                    <a:pt x="66008" y="44005"/>
                    <a:pt x="59436" y="50959"/>
                  </a:cubicBezTo>
                  <a:cubicBezTo>
                    <a:pt x="52864" y="57912"/>
                    <a:pt x="47435" y="66103"/>
                    <a:pt x="43148" y="75628"/>
                  </a:cubicBezTo>
                  <a:cubicBezTo>
                    <a:pt x="38862" y="85058"/>
                    <a:pt x="36100" y="95345"/>
                    <a:pt x="34862" y="106204"/>
                  </a:cubicBezTo>
                  <a:lnTo>
                    <a:pt x="183547" y="106204"/>
                  </a:lnTo>
                  <a:close/>
                </a:path>
              </a:pathLst>
            </a:custGeom>
            <a:solidFill>
              <a:srgbClr val="44505E"/>
            </a:solidFill>
            <a:ln w="9525" cap="flat">
              <a:noFill/>
              <a:prstDash val="solid"/>
              <a:miter/>
            </a:ln>
          </p:spPr>
          <p:txBody>
            <a:bodyPr rtlCol="0" anchor="ctr"/>
            <a:lstStyle/>
            <a:p>
              <a:endParaRPr lang="pt-BR" noProof="0"/>
            </a:p>
          </p:txBody>
        </p:sp>
        <p:sp>
          <p:nvSpPr>
            <p:cNvPr id="27" name="Freeform: Shape 39">
              <a:extLst>
                <a:ext uri="{FF2B5EF4-FFF2-40B4-BE49-F238E27FC236}">
                  <a16:creationId xmlns:a16="http://schemas.microsoft.com/office/drawing/2014/main" id="{117D169F-CA99-B4EF-1B8C-2EC992C9DB6C}"/>
                </a:ext>
              </a:extLst>
            </p:cNvPr>
            <p:cNvSpPr/>
            <p:nvPr/>
          </p:nvSpPr>
          <p:spPr>
            <a:xfrm>
              <a:off x="5661680" y="924268"/>
              <a:ext cx="44656" cy="60195"/>
            </a:xfrm>
            <a:custGeom>
              <a:avLst/>
              <a:gdLst>
                <a:gd name="connsiteX0" fmla="*/ 95536 w 177641"/>
                <a:gd name="connsiteY0" fmla="*/ 239268 h 239458"/>
                <a:gd name="connsiteX1" fmla="*/ 45053 w 177641"/>
                <a:gd name="connsiteY1" fmla="*/ 230124 h 239458"/>
                <a:gd name="connsiteX2" fmla="*/ 0 w 177641"/>
                <a:gd name="connsiteY2" fmla="*/ 205359 h 239458"/>
                <a:gd name="connsiteX3" fmla="*/ 17431 w 177641"/>
                <a:gd name="connsiteY3" fmla="*/ 180785 h 239458"/>
                <a:gd name="connsiteX4" fmla="*/ 56483 w 177641"/>
                <a:gd name="connsiteY4" fmla="*/ 202692 h 239458"/>
                <a:gd name="connsiteX5" fmla="*/ 97346 w 177641"/>
                <a:gd name="connsiteY5" fmla="*/ 210217 h 239458"/>
                <a:gd name="connsiteX6" fmla="*/ 131731 w 177641"/>
                <a:gd name="connsiteY6" fmla="*/ 200406 h 239458"/>
                <a:gd name="connsiteX7" fmla="*/ 145161 w 177641"/>
                <a:gd name="connsiteY7" fmla="*/ 173641 h 239458"/>
                <a:gd name="connsiteX8" fmla="*/ 145161 w 177641"/>
                <a:gd name="connsiteY8" fmla="*/ 172784 h 239458"/>
                <a:gd name="connsiteX9" fmla="*/ 140494 w 177641"/>
                <a:gd name="connsiteY9" fmla="*/ 158020 h 239458"/>
                <a:gd name="connsiteX10" fmla="*/ 127730 w 177641"/>
                <a:gd name="connsiteY10" fmla="*/ 147066 h 239458"/>
                <a:gd name="connsiteX11" fmla="*/ 109157 w 177641"/>
                <a:gd name="connsiteY11" fmla="*/ 138779 h 239458"/>
                <a:gd name="connsiteX12" fmla="*/ 87535 w 177641"/>
                <a:gd name="connsiteY12" fmla="*/ 132112 h 239458"/>
                <a:gd name="connsiteX13" fmla="*/ 60484 w 177641"/>
                <a:gd name="connsiteY13" fmla="*/ 123444 h 239458"/>
                <a:gd name="connsiteX14" fmla="*/ 35909 w 177641"/>
                <a:gd name="connsiteY14" fmla="*/ 111633 h 239458"/>
                <a:gd name="connsiteX15" fmla="*/ 18098 w 177641"/>
                <a:gd name="connsiteY15" fmla="*/ 93726 h 239458"/>
                <a:gd name="connsiteX16" fmla="*/ 11144 w 177641"/>
                <a:gd name="connsiteY16" fmla="*/ 66961 h 239458"/>
                <a:gd name="connsiteX17" fmla="*/ 11144 w 177641"/>
                <a:gd name="connsiteY17" fmla="*/ 66008 h 239458"/>
                <a:gd name="connsiteX18" fmla="*/ 16954 w 177641"/>
                <a:gd name="connsiteY18" fmla="*/ 39053 h 239458"/>
                <a:gd name="connsiteX19" fmla="*/ 33242 w 177641"/>
                <a:gd name="connsiteY19" fmla="*/ 18098 h 239458"/>
                <a:gd name="connsiteX20" fmla="*/ 58293 w 177641"/>
                <a:gd name="connsiteY20" fmla="*/ 4667 h 239458"/>
                <a:gd name="connsiteX21" fmla="*/ 89725 w 177641"/>
                <a:gd name="connsiteY21" fmla="*/ 0 h 239458"/>
                <a:gd name="connsiteX22" fmla="*/ 133064 w 177641"/>
                <a:gd name="connsiteY22" fmla="*/ 6953 h 239458"/>
                <a:gd name="connsiteX23" fmla="*/ 172784 w 177641"/>
                <a:gd name="connsiteY23" fmla="*/ 25527 h 239458"/>
                <a:gd name="connsiteX24" fmla="*/ 157163 w 177641"/>
                <a:gd name="connsiteY24" fmla="*/ 51435 h 239458"/>
                <a:gd name="connsiteX25" fmla="*/ 123444 w 177641"/>
                <a:gd name="connsiteY25" fmla="*/ 35147 h 239458"/>
                <a:gd name="connsiteX26" fmla="*/ 88868 w 177641"/>
                <a:gd name="connsiteY26" fmla="*/ 29146 h 239458"/>
                <a:gd name="connsiteX27" fmla="*/ 56293 w 177641"/>
                <a:gd name="connsiteY27" fmla="*/ 38767 h 239458"/>
                <a:gd name="connsiteX28" fmla="*/ 44196 w 177641"/>
                <a:gd name="connsiteY28" fmla="*/ 62675 h 239458"/>
                <a:gd name="connsiteX29" fmla="*/ 44196 w 177641"/>
                <a:gd name="connsiteY29" fmla="*/ 63627 h 239458"/>
                <a:gd name="connsiteX30" fmla="*/ 49149 w 177641"/>
                <a:gd name="connsiteY30" fmla="*/ 77724 h 239458"/>
                <a:gd name="connsiteX31" fmla="*/ 62294 w 177641"/>
                <a:gd name="connsiteY31" fmla="*/ 88202 h 239458"/>
                <a:gd name="connsiteX32" fmla="*/ 81248 w 177641"/>
                <a:gd name="connsiteY32" fmla="*/ 96203 h 239458"/>
                <a:gd name="connsiteX33" fmla="*/ 103537 w 177641"/>
                <a:gd name="connsiteY33" fmla="*/ 103346 h 239458"/>
                <a:gd name="connsiteX34" fmla="*/ 130112 w 177641"/>
                <a:gd name="connsiteY34" fmla="*/ 112300 h 239458"/>
                <a:gd name="connsiteX35" fmla="*/ 154019 w 177641"/>
                <a:gd name="connsiteY35" fmla="*/ 124778 h 239458"/>
                <a:gd name="connsiteX36" fmla="*/ 171164 w 177641"/>
                <a:gd name="connsiteY36" fmla="*/ 143066 h 239458"/>
                <a:gd name="connsiteX37" fmla="*/ 177641 w 177641"/>
                <a:gd name="connsiteY37" fmla="*/ 169450 h 239458"/>
                <a:gd name="connsiteX38" fmla="*/ 177641 w 177641"/>
                <a:gd name="connsiteY38" fmla="*/ 170307 h 239458"/>
                <a:gd name="connsiteX39" fmla="*/ 171164 w 177641"/>
                <a:gd name="connsiteY39" fmla="*/ 199549 h 239458"/>
                <a:gd name="connsiteX40" fmla="*/ 153734 w 177641"/>
                <a:gd name="connsiteY40" fmla="*/ 221171 h 239458"/>
                <a:gd name="connsiteX41" fmla="*/ 127825 w 177641"/>
                <a:gd name="connsiteY41" fmla="*/ 234791 h 239458"/>
                <a:gd name="connsiteX42" fmla="*/ 95441 w 177641"/>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641" h="239458">
                  <a:moveTo>
                    <a:pt x="95536" y="239268"/>
                  </a:moveTo>
                  <a:cubicBezTo>
                    <a:pt x="78867" y="239268"/>
                    <a:pt x="62008" y="236220"/>
                    <a:pt x="45053" y="230124"/>
                  </a:cubicBezTo>
                  <a:cubicBezTo>
                    <a:pt x="28099" y="224028"/>
                    <a:pt x="13049" y="215741"/>
                    <a:pt x="0" y="205359"/>
                  </a:cubicBezTo>
                  <a:lnTo>
                    <a:pt x="17431" y="180785"/>
                  </a:lnTo>
                  <a:cubicBezTo>
                    <a:pt x="29908"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542" y="162211"/>
                    <a:pt x="140494" y="158020"/>
                  </a:cubicBezTo>
                  <a:cubicBezTo>
                    <a:pt x="137350" y="153829"/>
                    <a:pt x="133160" y="150209"/>
                    <a:pt x="127730" y="147066"/>
                  </a:cubicBezTo>
                  <a:cubicBezTo>
                    <a:pt x="122396" y="143923"/>
                    <a:pt x="116205" y="141161"/>
                    <a:pt x="109157" y="138779"/>
                  </a:cubicBezTo>
                  <a:cubicBezTo>
                    <a:pt x="102203" y="136398"/>
                    <a:pt x="94964" y="134207"/>
                    <a:pt x="87535" y="132112"/>
                  </a:cubicBezTo>
                  <a:cubicBezTo>
                    <a:pt x="78581" y="129445"/>
                    <a:pt x="69628" y="126492"/>
                    <a:pt x="60484" y="123444"/>
                  </a:cubicBezTo>
                  <a:cubicBezTo>
                    <a:pt x="51435" y="120301"/>
                    <a:pt x="43244" y="116396"/>
                    <a:pt x="35909" y="111633"/>
                  </a:cubicBezTo>
                  <a:cubicBezTo>
                    <a:pt x="28575" y="106871"/>
                    <a:pt x="22670" y="100870"/>
                    <a:pt x="18098" y="93726"/>
                  </a:cubicBezTo>
                  <a:cubicBezTo>
                    <a:pt x="13525" y="86582"/>
                    <a:pt x="11144" y="77629"/>
                    <a:pt x="11144" y="66961"/>
                  </a:cubicBezTo>
                  <a:lnTo>
                    <a:pt x="11144" y="66008"/>
                  </a:lnTo>
                  <a:cubicBezTo>
                    <a:pt x="11144" y="56198"/>
                    <a:pt x="13049" y="47149"/>
                    <a:pt x="16954" y="39053"/>
                  </a:cubicBezTo>
                  <a:cubicBezTo>
                    <a:pt x="20860" y="30861"/>
                    <a:pt x="26289" y="23908"/>
                    <a:pt x="33242" y="18098"/>
                  </a:cubicBezTo>
                  <a:cubicBezTo>
                    <a:pt x="40196" y="12287"/>
                    <a:pt x="48578" y="7811"/>
                    <a:pt x="58293" y="4667"/>
                  </a:cubicBezTo>
                  <a:cubicBezTo>
                    <a:pt x="67913" y="1524"/>
                    <a:pt x="78486" y="0"/>
                    <a:pt x="89725" y="0"/>
                  </a:cubicBezTo>
                  <a:cubicBezTo>
                    <a:pt x="104013" y="0"/>
                    <a:pt x="118396" y="2286"/>
                    <a:pt x="133064" y="6953"/>
                  </a:cubicBezTo>
                  <a:cubicBezTo>
                    <a:pt x="147638" y="11621"/>
                    <a:pt x="160877" y="17717"/>
                    <a:pt x="172784" y="25527"/>
                  </a:cubicBezTo>
                  <a:lnTo>
                    <a:pt x="157163" y="51435"/>
                  </a:lnTo>
                  <a:cubicBezTo>
                    <a:pt x="146399" y="44577"/>
                    <a:pt x="135255" y="39148"/>
                    <a:pt x="123444" y="35147"/>
                  </a:cubicBezTo>
                  <a:cubicBezTo>
                    <a:pt x="111728" y="31147"/>
                    <a:pt x="100203" y="29146"/>
                    <a:pt x="88868" y="29146"/>
                  </a:cubicBezTo>
                  <a:cubicBezTo>
                    <a:pt x="75152" y="29146"/>
                    <a:pt x="64294" y="32385"/>
                    <a:pt x="56293" y="38767"/>
                  </a:cubicBezTo>
                  <a:cubicBezTo>
                    <a:pt x="48292" y="45149"/>
                    <a:pt x="44196" y="53150"/>
                    <a:pt x="44196" y="62675"/>
                  </a:cubicBezTo>
                  <a:lnTo>
                    <a:pt x="44196" y="63627"/>
                  </a:lnTo>
                  <a:cubicBezTo>
                    <a:pt x="44196" y="68961"/>
                    <a:pt x="45815" y="73628"/>
                    <a:pt x="49149" y="77724"/>
                  </a:cubicBezTo>
                  <a:cubicBezTo>
                    <a:pt x="52388" y="81725"/>
                    <a:pt x="56769" y="85249"/>
                    <a:pt x="62294" y="88202"/>
                  </a:cubicBezTo>
                  <a:cubicBezTo>
                    <a:pt x="67818" y="91154"/>
                    <a:pt x="74104" y="93821"/>
                    <a:pt x="81248" y="96203"/>
                  </a:cubicBezTo>
                  <a:cubicBezTo>
                    <a:pt x="88392" y="98584"/>
                    <a:pt x="95821" y="100965"/>
                    <a:pt x="103537" y="103346"/>
                  </a:cubicBezTo>
                  <a:cubicBezTo>
                    <a:pt x="112490" y="106013"/>
                    <a:pt x="121349" y="108966"/>
                    <a:pt x="130112" y="112300"/>
                  </a:cubicBezTo>
                  <a:cubicBezTo>
                    <a:pt x="138875" y="115538"/>
                    <a:pt x="146875" y="119729"/>
                    <a:pt x="154019" y="124778"/>
                  </a:cubicBezTo>
                  <a:cubicBezTo>
                    <a:pt x="161163" y="129826"/>
                    <a:pt x="166878" y="135922"/>
                    <a:pt x="171164" y="143066"/>
                  </a:cubicBezTo>
                  <a:cubicBezTo>
                    <a:pt x="175450" y="150209"/>
                    <a:pt x="177641" y="158972"/>
                    <a:pt x="177641" y="169450"/>
                  </a:cubicBezTo>
                  <a:lnTo>
                    <a:pt x="177641" y="170307"/>
                  </a:lnTo>
                  <a:cubicBezTo>
                    <a:pt x="177641" y="181356"/>
                    <a:pt x="175450" y="191071"/>
                    <a:pt x="171164" y="199549"/>
                  </a:cubicBezTo>
                  <a:cubicBezTo>
                    <a:pt x="166878" y="208026"/>
                    <a:pt x="161068" y="215265"/>
                    <a:pt x="153734" y="221171"/>
                  </a:cubicBezTo>
                  <a:cubicBezTo>
                    <a:pt x="146495" y="227171"/>
                    <a:pt x="137827" y="231648"/>
                    <a:pt x="127825" y="234791"/>
                  </a:cubicBezTo>
                  <a:cubicBezTo>
                    <a:pt x="117824" y="237935"/>
                    <a:pt x="107061" y="239459"/>
                    <a:pt x="95441" y="239459"/>
                  </a:cubicBezTo>
                  <a:close/>
                </a:path>
              </a:pathLst>
            </a:custGeom>
            <a:solidFill>
              <a:srgbClr val="44505E"/>
            </a:solidFill>
            <a:ln w="9525" cap="flat">
              <a:noFill/>
              <a:prstDash val="solid"/>
              <a:miter/>
            </a:ln>
          </p:spPr>
          <p:txBody>
            <a:bodyPr rtlCol="0" anchor="ctr"/>
            <a:lstStyle/>
            <a:p>
              <a:endParaRPr lang="pt-BR" noProof="0"/>
            </a:p>
          </p:txBody>
        </p:sp>
        <p:sp>
          <p:nvSpPr>
            <p:cNvPr id="28" name="Freeform: Shape 40">
              <a:extLst>
                <a:ext uri="{FF2B5EF4-FFF2-40B4-BE49-F238E27FC236}">
                  <a16:creationId xmlns:a16="http://schemas.microsoft.com/office/drawing/2014/main" id="{868294D9-8777-C53E-5216-F84702DDF16B}"/>
                </a:ext>
              </a:extLst>
            </p:cNvPr>
            <p:cNvSpPr/>
            <p:nvPr/>
          </p:nvSpPr>
          <p:spPr>
            <a:xfrm>
              <a:off x="5752668" y="924028"/>
              <a:ext cx="58567" cy="77196"/>
            </a:xfrm>
            <a:custGeom>
              <a:avLst/>
              <a:gdLst>
                <a:gd name="connsiteX0" fmla="*/ 198596 w 232981"/>
                <a:gd name="connsiteY0" fmla="*/ 189357 h 307085"/>
                <a:gd name="connsiteX1" fmla="*/ 182785 w 232981"/>
                <a:gd name="connsiteY1" fmla="*/ 208978 h 307085"/>
                <a:gd name="connsiteX2" fmla="*/ 163354 w 232981"/>
                <a:gd name="connsiteY2" fmla="*/ 225552 h 307085"/>
                <a:gd name="connsiteX3" fmla="*/ 139446 w 232981"/>
                <a:gd name="connsiteY3" fmla="*/ 236696 h 307085"/>
                <a:gd name="connsiteX4" fmla="*/ 110204 w 232981"/>
                <a:gd name="connsiteY4" fmla="*/ 240697 h 307085"/>
                <a:gd name="connsiteX5" fmla="*/ 69628 w 232981"/>
                <a:gd name="connsiteY5" fmla="*/ 232696 h 307085"/>
                <a:gd name="connsiteX6" fmla="*/ 34385 w 232981"/>
                <a:gd name="connsiteY6" fmla="*/ 209264 h 307085"/>
                <a:gd name="connsiteX7" fmla="*/ 9335 w 232981"/>
                <a:gd name="connsiteY7" fmla="*/ 171736 h 307085"/>
                <a:gd name="connsiteX8" fmla="*/ 0 w 232981"/>
                <a:gd name="connsiteY8" fmla="*/ 121063 h 307085"/>
                <a:gd name="connsiteX9" fmla="*/ 0 w 232981"/>
                <a:gd name="connsiteY9" fmla="*/ 120205 h 307085"/>
                <a:gd name="connsiteX10" fmla="*/ 9335 w 232981"/>
                <a:gd name="connsiteY10" fmla="*/ 69723 h 307085"/>
                <a:gd name="connsiteX11" fmla="*/ 34385 w 232981"/>
                <a:gd name="connsiteY11" fmla="*/ 32004 h 307085"/>
                <a:gd name="connsiteX12" fmla="*/ 69628 w 232981"/>
                <a:gd name="connsiteY12" fmla="*/ 8287 h 307085"/>
                <a:gd name="connsiteX13" fmla="*/ 110204 w 232981"/>
                <a:gd name="connsiteY13" fmla="*/ 0 h 307085"/>
                <a:gd name="connsiteX14" fmla="*/ 139637 w 232981"/>
                <a:gd name="connsiteY14" fmla="*/ 4000 h 307085"/>
                <a:gd name="connsiteX15" fmla="*/ 163735 w 232981"/>
                <a:gd name="connsiteY15" fmla="*/ 14668 h 307085"/>
                <a:gd name="connsiteX16" fmla="*/ 183166 w 232981"/>
                <a:gd name="connsiteY16" fmla="*/ 30289 h 307085"/>
                <a:gd name="connsiteX17" fmla="*/ 198596 w 232981"/>
                <a:gd name="connsiteY17" fmla="*/ 49054 h 307085"/>
                <a:gd name="connsiteX18" fmla="*/ 198596 w 232981"/>
                <a:gd name="connsiteY18" fmla="*/ 4858 h 307085"/>
                <a:gd name="connsiteX19" fmla="*/ 232982 w 232981"/>
                <a:gd name="connsiteY19" fmla="*/ 4858 h 307085"/>
                <a:gd name="connsiteX20" fmla="*/ 232982 w 232981"/>
                <a:gd name="connsiteY20" fmla="*/ 307086 h 307085"/>
                <a:gd name="connsiteX21" fmla="*/ 198596 w 232981"/>
                <a:gd name="connsiteY21" fmla="*/ 307086 h 307085"/>
                <a:gd name="connsiteX22" fmla="*/ 198596 w 232981"/>
                <a:gd name="connsiteY22" fmla="*/ 189262 h 307085"/>
                <a:gd name="connsiteX23" fmla="*/ 116491 w 232981"/>
                <a:gd name="connsiteY23" fmla="*/ 209931 h 307085"/>
                <a:gd name="connsiteX24" fmla="*/ 147542 w 232981"/>
                <a:gd name="connsiteY24" fmla="*/ 203454 h 307085"/>
                <a:gd name="connsiteX25" fmla="*/ 174308 w 232981"/>
                <a:gd name="connsiteY25" fmla="*/ 185166 h 307085"/>
                <a:gd name="connsiteX26" fmla="*/ 193072 w 232981"/>
                <a:gd name="connsiteY26" fmla="*/ 157067 h 307085"/>
                <a:gd name="connsiteX27" fmla="*/ 200025 w 232981"/>
                <a:gd name="connsiteY27" fmla="*/ 120682 h 307085"/>
                <a:gd name="connsiteX28" fmla="*/ 200025 w 232981"/>
                <a:gd name="connsiteY28" fmla="*/ 119824 h 307085"/>
                <a:gd name="connsiteX29" fmla="*/ 193072 w 232981"/>
                <a:gd name="connsiteY29" fmla="*/ 83439 h 307085"/>
                <a:gd name="connsiteX30" fmla="*/ 174308 w 232981"/>
                <a:gd name="connsiteY30" fmla="*/ 55531 h 307085"/>
                <a:gd name="connsiteX31" fmla="*/ 147542 w 232981"/>
                <a:gd name="connsiteY31" fmla="*/ 37433 h 307085"/>
                <a:gd name="connsiteX32" fmla="*/ 116491 w 232981"/>
                <a:gd name="connsiteY32" fmla="*/ 30956 h 307085"/>
                <a:gd name="connsiteX33" fmla="*/ 84773 w 232981"/>
                <a:gd name="connsiteY33" fmla="*/ 36957 h 307085"/>
                <a:gd name="connsiteX34" fmla="*/ 59150 w 232981"/>
                <a:gd name="connsiteY34" fmla="*/ 54388 h 307085"/>
                <a:gd name="connsiteX35" fmla="*/ 41720 w 232981"/>
                <a:gd name="connsiteY35" fmla="*/ 82296 h 307085"/>
                <a:gd name="connsiteX36" fmla="*/ 35242 w 232981"/>
                <a:gd name="connsiteY36" fmla="*/ 119824 h 307085"/>
                <a:gd name="connsiteX37" fmla="*/ 35242 w 232981"/>
                <a:gd name="connsiteY37" fmla="*/ 120682 h 307085"/>
                <a:gd name="connsiteX38" fmla="*/ 41720 w 232981"/>
                <a:gd name="connsiteY38" fmla="*/ 157734 h 307085"/>
                <a:gd name="connsiteX39" fmla="*/ 59341 w 232981"/>
                <a:gd name="connsiteY39" fmla="*/ 185833 h 307085"/>
                <a:gd name="connsiteX40" fmla="*/ 85249 w 232981"/>
                <a:gd name="connsiteY40" fmla="*/ 203740 h 307085"/>
                <a:gd name="connsiteX41" fmla="*/ 116491 w 232981"/>
                <a:gd name="connsiteY41" fmla="*/ 210026 h 30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07085">
                  <a:moveTo>
                    <a:pt x="198596" y="189357"/>
                  </a:moveTo>
                  <a:cubicBezTo>
                    <a:pt x="193834" y="196215"/>
                    <a:pt x="188595" y="202787"/>
                    <a:pt x="182785" y="208978"/>
                  </a:cubicBezTo>
                  <a:cubicBezTo>
                    <a:pt x="176975" y="215265"/>
                    <a:pt x="170498" y="220789"/>
                    <a:pt x="163354" y="225552"/>
                  </a:cubicBezTo>
                  <a:cubicBezTo>
                    <a:pt x="156210" y="230314"/>
                    <a:pt x="148209" y="234029"/>
                    <a:pt x="139446" y="236696"/>
                  </a:cubicBezTo>
                  <a:cubicBezTo>
                    <a:pt x="130683" y="239363"/>
                    <a:pt x="120967" y="240697"/>
                    <a:pt x="110204" y="240697"/>
                  </a:cubicBezTo>
                  <a:cubicBezTo>
                    <a:pt x="96203" y="240697"/>
                    <a:pt x="82677" y="238030"/>
                    <a:pt x="69628" y="232696"/>
                  </a:cubicBezTo>
                  <a:cubicBezTo>
                    <a:pt x="56579" y="227362"/>
                    <a:pt x="44767" y="219551"/>
                    <a:pt x="34385" y="209264"/>
                  </a:cubicBezTo>
                  <a:cubicBezTo>
                    <a:pt x="24003" y="198977"/>
                    <a:pt x="15621" y="186499"/>
                    <a:pt x="9335" y="171736"/>
                  </a:cubicBezTo>
                  <a:cubicBezTo>
                    <a:pt x="3048" y="156972"/>
                    <a:pt x="0" y="140113"/>
                    <a:pt x="0" y="121063"/>
                  </a:cubicBezTo>
                  <a:lnTo>
                    <a:pt x="0" y="120205"/>
                  </a:lnTo>
                  <a:cubicBezTo>
                    <a:pt x="0" y="101441"/>
                    <a:pt x="3143" y="84677"/>
                    <a:pt x="9335" y="69723"/>
                  </a:cubicBezTo>
                  <a:cubicBezTo>
                    <a:pt x="15621" y="54864"/>
                    <a:pt x="23908" y="42291"/>
                    <a:pt x="34385" y="32004"/>
                  </a:cubicBezTo>
                  <a:cubicBezTo>
                    <a:pt x="44767" y="21717"/>
                    <a:pt x="56579" y="13811"/>
                    <a:pt x="69628" y="8287"/>
                  </a:cubicBezTo>
                  <a:cubicBezTo>
                    <a:pt x="82677" y="2762"/>
                    <a:pt x="96298" y="0"/>
                    <a:pt x="110204" y="0"/>
                  </a:cubicBezTo>
                  <a:cubicBezTo>
                    <a:pt x="120967" y="0"/>
                    <a:pt x="130778" y="1333"/>
                    <a:pt x="139637" y="4000"/>
                  </a:cubicBezTo>
                  <a:cubicBezTo>
                    <a:pt x="148590" y="6667"/>
                    <a:pt x="156591" y="10287"/>
                    <a:pt x="163735" y="14668"/>
                  </a:cubicBezTo>
                  <a:cubicBezTo>
                    <a:pt x="170879" y="19145"/>
                    <a:pt x="177356" y="24384"/>
                    <a:pt x="183166" y="30289"/>
                  </a:cubicBezTo>
                  <a:cubicBezTo>
                    <a:pt x="188976" y="36290"/>
                    <a:pt x="194120" y="42481"/>
                    <a:pt x="198596" y="49054"/>
                  </a:cubicBezTo>
                  <a:lnTo>
                    <a:pt x="198596" y="4858"/>
                  </a:lnTo>
                  <a:lnTo>
                    <a:pt x="232982" y="4858"/>
                  </a:lnTo>
                  <a:lnTo>
                    <a:pt x="232982" y="307086"/>
                  </a:lnTo>
                  <a:lnTo>
                    <a:pt x="198596" y="307086"/>
                  </a:lnTo>
                  <a:lnTo>
                    <a:pt x="198596" y="189262"/>
                  </a:lnTo>
                  <a:close/>
                  <a:moveTo>
                    <a:pt x="116491" y="209931"/>
                  </a:moveTo>
                  <a:cubicBezTo>
                    <a:pt x="127159" y="209931"/>
                    <a:pt x="137541" y="207740"/>
                    <a:pt x="147542" y="203454"/>
                  </a:cubicBezTo>
                  <a:cubicBezTo>
                    <a:pt x="157544" y="199168"/>
                    <a:pt x="166402" y="193072"/>
                    <a:pt x="174308" y="185166"/>
                  </a:cubicBezTo>
                  <a:cubicBezTo>
                    <a:pt x="182213" y="177260"/>
                    <a:pt x="188404" y="167926"/>
                    <a:pt x="193072" y="157067"/>
                  </a:cubicBezTo>
                  <a:cubicBezTo>
                    <a:pt x="197739" y="146209"/>
                    <a:pt x="200025" y="134112"/>
                    <a:pt x="200025" y="120682"/>
                  </a:cubicBezTo>
                  <a:lnTo>
                    <a:pt x="200025" y="119824"/>
                  </a:lnTo>
                  <a:cubicBezTo>
                    <a:pt x="200025" y="106394"/>
                    <a:pt x="197739" y="94297"/>
                    <a:pt x="193072" y="83439"/>
                  </a:cubicBezTo>
                  <a:cubicBezTo>
                    <a:pt x="188500" y="72580"/>
                    <a:pt x="182213" y="63246"/>
                    <a:pt x="174308" y="55531"/>
                  </a:cubicBezTo>
                  <a:cubicBezTo>
                    <a:pt x="166402" y="47815"/>
                    <a:pt x="157544" y="41815"/>
                    <a:pt x="147542" y="37433"/>
                  </a:cubicBezTo>
                  <a:cubicBezTo>
                    <a:pt x="137541" y="33147"/>
                    <a:pt x="127254" y="30956"/>
                    <a:pt x="116491" y="30956"/>
                  </a:cubicBezTo>
                  <a:cubicBezTo>
                    <a:pt x="105156" y="30956"/>
                    <a:pt x="94583" y="32956"/>
                    <a:pt x="84773" y="36957"/>
                  </a:cubicBezTo>
                  <a:cubicBezTo>
                    <a:pt x="74962" y="40957"/>
                    <a:pt x="66389" y="46767"/>
                    <a:pt x="59150" y="54388"/>
                  </a:cubicBezTo>
                  <a:cubicBezTo>
                    <a:pt x="51816" y="61913"/>
                    <a:pt x="46101" y="71247"/>
                    <a:pt x="41720" y="82296"/>
                  </a:cubicBezTo>
                  <a:cubicBezTo>
                    <a:pt x="37433" y="93250"/>
                    <a:pt x="35242" y="105823"/>
                    <a:pt x="35242" y="119824"/>
                  </a:cubicBezTo>
                  <a:lnTo>
                    <a:pt x="35242" y="120682"/>
                  </a:lnTo>
                  <a:cubicBezTo>
                    <a:pt x="35242" y="134398"/>
                    <a:pt x="37433" y="146780"/>
                    <a:pt x="41720" y="157734"/>
                  </a:cubicBezTo>
                  <a:cubicBezTo>
                    <a:pt x="46006" y="168783"/>
                    <a:pt x="51911" y="178117"/>
                    <a:pt x="59341" y="185833"/>
                  </a:cubicBezTo>
                  <a:cubicBezTo>
                    <a:pt x="66770" y="193548"/>
                    <a:pt x="75438" y="199549"/>
                    <a:pt x="85249" y="203740"/>
                  </a:cubicBezTo>
                  <a:cubicBezTo>
                    <a:pt x="95060" y="207931"/>
                    <a:pt x="105442" y="210026"/>
                    <a:pt x="116491" y="210026"/>
                  </a:cubicBezTo>
                  <a:close/>
                </a:path>
              </a:pathLst>
            </a:custGeom>
            <a:solidFill>
              <a:srgbClr val="44505E"/>
            </a:solidFill>
            <a:ln w="9525" cap="flat">
              <a:noFill/>
              <a:prstDash val="solid"/>
              <a:miter/>
            </a:ln>
          </p:spPr>
          <p:txBody>
            <a:bodyPr rtlCol="0" anchor="ctr"/>
            <a:lstStyle/>
            <a:p>
              <a:endParaRPr lang="pt-BR" noProof="0"/>
            </a:p>
          </p:txBody>
        </p:sp>
        <p:sp>
          <p:nvSpPr>
            <p:cNvPr id="29" name="Freeform: Shape 41">
              <a:extLst>
                <a:ext uri="{FF2B5EF4-FFF2-40B4-BE49-F238E27FC236}">
                  <a16:creationId xmlns:a16="http://schemas.microsoft.com/office/drawing/2014/main" id="{4A232854-B491-22E7-1D48-87953E30B07B}"/>
                </a:ext>
              </a:extLst>
            </p:cNvPr>
            <p:cNvSpPr/>
            <p:nvPr/>
          </p:nvSpPr>
          <p:spPr>
            <a:xfrm>
              <a:off x="5829624" y="925297"/>
              <a:ext cx="50618" cy="59238"/>
            </a:xfrm>
            <a:custGeom>
              <a:avLst/>
              <a:gdLst>
                <a:gd name="connsiteX0" fmla="*/ 88392 w 201358"/>
                <a:gd name="connsiteY0" fmla="*/ 235648 h 235648"/>
                <a:gd name="connsiteX1" fmla="*/ 51149 w 201358"/>
                <a:gd name="connsiteY1" fmla="*/ 228981 h 235648"/>
                <a:gd name="connsiteX2" fmla="*/ 23432 w 201358"/>
                <a:gd name="connsiteY2" fmla="*/ 210026 h 235648"/>
                <a:gd name="connsiteX3" fmla="*/ 6001 w 201358"/>
                <a:gd name="connsiteY3" fmla="*/ 180784 h 235648"/>
                <a:gd name="connsiteX4" fmla="*/ 0 w 201358"/>
                <a:gd name="connsiteY4" fmla="*/ 143256 h 235648"/>
                <a:gd name="connsiteX5" fmla="*/ 0 w 201358"/>
                <a:gd name="connsiteY5" fmla="*/ 0 h 235648"/>
                <a:gd name="connsiteX6" fmla="*/ 34385 w 201358"/>
                <a:gd name="connsiteY6" fmla="*/ 0 h 235648"/>
                <a:gd name="connsiteX7" fmla="*/ 34385 w 201358"/>
                <a:gd name="connsiteY7" fmla="*/ 134493 h 235648"/>
                <a:gd name="connsiteX8" fmla="*/ 50959 w 201358"/>
                <a:gd name="connsiteY8" fmla="*/ 185261 h 235648"/>
                <a:gd name="connsiteX9" fmla="*/ 98298 w 201358"/>
                <a:gd name="connsiteY9" fmla="*/ 203930 h 235648"/>
                <a:gd name="connsiteX10" fmla="*/ 125730 w 201358"/>
                <a:gd name="connsiteY10" fmla="*/ 198787 h 235648"/>
                <a:gd name="connsiteX11" fmla="*/ 147638 w 201358"/>
                <a:gd name="connsiteY11" fmla="*/ 184118 h 235648"/>
                <a:gd name="connsiteX12" fmla="*/ 162116 w 201358"/>
                <a:gd name="connsiteY12" fmla="*/ 161163 h 235648"/>
                <a:gd name="connsiteX13" fmla="*/ 167450 w 201358"/>
                <a:gd name="connsiteY13" fmla="*/ 131826 h 235648"/>
                <a:gd name="connsiteX14" fmla="*/ 167450 w 201358"/>
                <a:gd name="connsiteY14" fmla="*/ 0 h 235648"/>
                <a:gd name="connsiteX15" fmla="*/ 201359 w 201358"/>
                <a:gd name="connsiteY15" fmla="*/ 0 h 235648"/>
                <a:gd name="connsiteX16" fmla="*/ 201359 w 201358"/>
                <a:gd name="connsiteY16" fmla="*/ 230791 h 235648"/>
                <a:gd name="connsiteX17" fmla="*/ 167450 w 201358"/>
                <a:gd name="connsiteY17" fmla="*/ 230791 h 235648"/>
                <a:gd name="connsiteX18" fmla="*/ 167450 w 201358"/>
                <a:gd name="connsiteY18" fmla="*/ 190595 h 235648"/>
                <a:gd name="connsiteX19" fmla="*/ 137065 w 201358"/>
                <a:gd name="connsiteY19" fmla="*/ 222504 h 235648"/>
                <a:gd name="connsiteX20" fmla="*/ 88392 w 201358"/>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358" h="235648">
                  <a:moveTo>
                    <a:pt x="88392" y="235648"/>
                  </a:moveTo>
                  <a:cubicBezTo>
                    <a:pt x="74390" y="235648"/>
                    <a:pt x="62008" y="233363"/>
                    <a:pt x="51149" y="228981"/>
                  </a:cubicBezTo>
                  <a:cubicBezTo>
                    <a:pt x="40291" y="224504"/>
                    <a:pt x="31052" y="218218"/>
                    <a:pt x="23432"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959" y="185261"/>
                  </a:cubicBezTo>
                  <a:cubicBezTo>
                    <a:pt x="61913" y="197739"/>
                    <a:pt x="77724" y="203930"/>
                    <a:pt x="98298" y="203930"/>
                  </a:cubicBezTo>
                  <a:cubicBezTo>
                    <a:pt x="108109" y="203930"/>
                    <a:pt x="117253" y="202216"/>
                    <a:pt x="125730" y="198787"/>
                  </a:cubicBezTo>
                  <a:cubicBezTo>
                    <a:pt x="134207" y="195358"/>
                    <a:pt x="141446" y="190500"/>
                    <a:pt x="147638" y="184118"/>
                  </a:cubicBezTo>
                  <a:cubicBezTo>
                    <a:pt x="153734" y="177736"/>
                    <a:pt x="158591" y="170116"/>
                    <a:pt x="162116" y="161163"/>
                  </a:cubicBezTo>
                  <a:cubicBezTo>
                    <a:pt x="165735" y="152305"/>
                    <a:pt x="167450" y="142494"/>
                    <a:pt x="167450" y="131826"/>
                  </a:cubicBezTo>
                  <a:lnTo>
                    <a:pt x="167450" y="0"/>
                  </a:lnTo>
                  <a:lnTo>
                    <a:pt x="201359" y="0"/>
                  </a:lnTo>
                  <a:lnTo>
                    <a:pt x="201359" y="230791"/>
                  </a:lnTo>
                  <a:lnTo>
                    <a:pt x="167450" y="230791"/>
                  </a:lnTo>
                  <a:lnTo>
                    <a:pt x="167450" y="190595"/>
                  </a:lnTo>
                  <a:cubicBezTo>
                    <a:pt x="159734" y="203073"/>
                    <a:pt x="149543" y="213741"/>
                    <a:pt x="137065" y="222504"/>
                  </a:cubicBezTo>
                  <a:cubicBezTo>
                    <a:pt x="124587" y="231267"/>
                    <a:pt x="108395" y="235648"/>
                    <a:pt x="88392" y="235648"/>
                  </a:cubicBezTo>
                  <a:close/>
                </a:path>
              </a:pathLst>
            </a:custGeom>
            <a:solidFill>
              <a:srgbClr val="44505E"/>
            </a:solidFill>
            <a:ln w="9525" cap="flat">
              <a:noFill/>
              <a:prstDash val="solid"/>
              <a:miter/>
            </a:ln>
          </p:spPr>
          <p:txBody>
            <a:bodyPr rtlCol="0" anchor="ctr"/>
            <a:lstStyle/>
            <a:p>
              <a:endParaRPr lang="pt-BR" noProof="0"/>
            </a:p>
          </p:txBody>
        </p:sp>
        <p:sp>
          <p:nvSpPr>
            <p:cNvPr id="30" name="Freeform: Shape 42">
              <a:extLst>
                <a:ext uri="{FF2B5EF4-FFF2-40B4-BE49-F238E27FC236}">
                  <a16:creationId xmlns:a16="http://schemas.microsoft.com/office/drawing/2014/main" id="{47954333-E4F0-C1DE-2E3E-219F10C414C6}"/>
                </a:ext>
              </a:extLst>
            </p:cNvPr>
            <p:cNvSpPr/>
            <p:nvPr/>
          </p:nvSpPr>
          <p:spPr>
            <a:xfrm>
              <a:off x="5896069"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7059 w 218217"/>
                <a:gd name="connsiteY3" fmla="*/ 206026 h 241077"/>
                <a:gd name="connsiteX4" fmla="*/ 116110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7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0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356 w 218217"/>
                <a:gd name="connsiteY25" fmla="*/ 106299 h 241077"/>
                <a:gd name="connsiteX26" fmla="*/ 176689 w 218217"/>
                <a:gd name="connsiteY26" fmla="*/ 76771 h 241077"/>
                <a:gd name="connsiteX27" fmla="*/ 162211 w 218217"/>
                <a:gd name="connsiteY27" fmla="*/ 52101 h 241077"/>
                <a:gd name="connsiteX28" fmla="*/ 139922 w 218217"/>
                <a:gd name="connsiteY28" fmla="*/ 35242 h 241077"/>
                <a:gd name="connsiteX29" fmla="*/ 109823 w 218217"/>
                <a:gd name="connsiteY29" fmla="*/ 29051 h 241077"/>
                <a:gd name="connsiteX30" fmla="*/ 82105 w 218217"/>
                <a:gd name="connsiteY30" fmla="*/ 34766 h 241077"/>
                <a:gd name="connsiteX31" fmla="*/ 59341 w 218217"/>
                <a:gd name="connsiteY31" fmla="*/ 50959 h 241077"/>
                <a:gd name="connsiteX32" fmla="*/ 43053 w 218217"/>
                <a:gd name="connsiteY32" fmla="*/ 75628 h 241077"/>
                <a:gd name="connsiteX33" fmla="*/ 34766 w 218217"/>
                <a:gd name="connsiteY33" fmla="*/ 106204 h 241077"/>
                <a:gd name="connsiteX34" fmla="*/ 183356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819" y="202597"/>
                    <a:pt x="87059" y="206026"/>
                  </a:cubicBezTo>
                  <a:cubicBezTo>
                    <a:pt x="96298" y="209455"/>
                    <a:pt x="105918" y="211169"/>
                    <a:pt x="116110" y="211169"/>
                  </a:cubicBezTo>
                  <a:cubicBezTo>
                    <a:pt x="132207" y="211169"/>
                    <a:pt x="145923" y="208216"/>
                    <a:pt x="157353" y="202216"/>
                  </a:cubicBezTo>
                  <a:cubicBezTo>
                    <a:pt x="168783" y="196310"/>
                    <a:pt x="179261" y="188404"/>
                    <a:pt x="188786" y="178594"/>
                  </a:cubicBezTo>
                  <a:lnTo>
                    <a:pt x="210217" y="197834"/>
                  </a:lnTo>
                  <a:cubicBezTo>
                    <a:pt x="198596" y="210979"/>
                    <a:pt x="185356" y="221361"/>
                    <a:pt x="170497" y="229267"/>
                  </a:cubicBezTo>
                  <a:cubicBezTo>
                    <a:pt x="155638"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583" y="0"/>
                    <a:pt x="110680"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356" y="106299"/>
                  </a:moveTo>
                  <a:cubicBezTo>
                    <a:pt x="182499" y="95917"/>
                    <a:pt x="180213" y="86106"/>
                    <a:pt x="176689" y="76771"/>
                  </a:cubicBezTo>
                  <a:cubicBezTo>
                    <a:pt x="173069" y="67437"/>
                    <a:pt x="168307" y="59245"/>
                    <a:pt x="162211" y="52101"/>
                  </a:cubicBezTo>
                  <a:cubicBezTo>
                    <a:pt x="156115" y="44958"/>
                    <a:pt x="148685" y="39338"/>
                    <a:pt x="139922" y="35242"/>
                  </a:cubicBezTo>
                  <a:cubicBezTo>
                    <a:pt x="131159" y="31147"/>
                    <a:pt x="121063" y="29051"/>
                    <a:pt x="109823" y="29051"/>
                  </a:cubicBezTo>
                  <a:cubicBezTo>
                    <a:pt x="100013" y="29051"/>
                    <a:pt x="90773" y="30956"/>
                    <a:pt x="82105" y="34766"/>
                  </a:cubicBezTo>
                  <a:cubicBezTo>
                    <a:pt x="73438" y="38671"/>
                    <a:pt x="65913" y="44005"/>
                    <a:pt x="59341" y="50959"/>
                  </a:cubicBezTo>
                  <a:cubicBezTo>
                    <a:pt x="52769" y="57912"/>
                    <a:pt x="47339" y="66103"/>
                    <a:pt x="43053" y="75628"/>
                  </a:cubicBezTo>
                  <a:cubicBezTo>
                    <a:pt x="38767" y="85058"/>
                    <a:pt x="36004" y="95345"/>
                    <a:pt x="34766" y="106204"/>
                  </a:cubicBezTo>
                  <a:lnTo>
                    <a:pt x="183356" y="106204"/>
                  </a:lnTo>
                  <a:close/>
                </a:path>
              </a:pathLst>
            </a:custGeom>
            <a:solidFill>
              <a:srgbClr val="44505E"/>
            </a:solidFill>
            <a:ln w="9525" cap="flat">
              <a:noFill/>
              <a:prstDash val="solid"/>
              <a:miter/>
            </a:ln>
          </p:spPr>
          <p:txBody>
            <a:bodyPr rtlCol="0" anchor="ctr"/>
            <a:lstStyle/>
            <a:p>
              <a:endParaRPr lang="pt-BR" noProof="0"/>
            </a:p>
          </p:txBody>
        </p:sp>
        <p:sp>
          <p:nvSpPr>
            <p:cNvPr id="31" name="Freeform: Shape 43">
              <a:extLst>
                <a:ext uri="{FF2B5EF4-FFF2-40B4-BE49-F238E27FC236}">
                  <a16:creationId xmlns:a16="http://schemas.microsoft.com/office/drawing/2014/main" id="{D5865783-252A-576A-C1C8-73CA5BE8E77E}"/>
                </a:ext>
              </a:extLst>
            </p:cNvPr>
            <p:cNvSpPr/>
            <p:nvPr/>
          </p:nvSpPr>
          <p:spPr>
            <a:xfrm>
              <a:off x="5994910" y="924268"/>
              <a:ext cx="44680" cy="60195"/>
            </a:xfrm>
            <a:custGeom>
              <a:avLst/>
              <a:gdLst>
                <a:gd name="connsiteX0" fmla="*/ 95536 w 177736"/>
                <a:gd name="connsiteY0" fmla="*/ 239268 h 239458"/>
                <a:gd name="connsiteX1" fmla="*/ 45053 w 177736"/>
                <a:gd name="connsiteY1" fmla="*/ 230124 h 239458"/>
                <a:gd name="connsiteX2" fmla="*/ 0 w 177736"/>
                <a:gd name="connsiteY2" fmla="*/ 205359 h 239458"/>
                <a:gd name="connsiteX3" fmla="*/ 17431 w 177736"/>
                <a:gd name="connsiteY3" fmla="*/ 180785 h 239458"/>
                <a:gd name="connsiteX4" fmla="*/ 56483 w 177736"/>
                <a:gd name="connsiteY4" fmla="*/ 202692 h 239458"/>
                <a:gd name="connsiteX5" fmla="*/ 97346 w 177736"/>
                <a:gd name="connsiteY5" fmla="*/ 210217 h 239458"/>
                <a:gd name="connsiteX6" fmla="*/ 131731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730 w 177736"/>
                <a:gd name="connsiteY10" fmla="*/ 147066 h 239458"/>
                <a:gd name="connsiteX11" fmla="*/ 109252 w 177736"/>
                <a:gd name="connsiteY11" fmla="*/ 138779 h 239458"/>
                <a:gd name="connsiteX12" fmla="*/ 87630 w 177736"/>
                <a:gd name="connsiteY12" fmla="*/ 132112 h 239458"/>
                <a:gd name="connsiteX13" fmla="*/ 60674 w 177736"/>
                <a:gd name="connsiteY13" fmla="*/ 123444 h 239458"/>
                <a:gd name="connsiteX14" fmla="*/ 36100 w 177736"/>
                <a:gd name="connsiteY14" fmla="*/ 111633 h 239458"/>
                <a:gd name="connsiteX15" fmla="*/ 18193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60 w 177736"/>
                <a:gd name="connsiteY22" fmla="*/ 6953 h 239458"/>
                <a:gd name="connsiteX23" fmla="*/ 172879 w 177736"/>
                <a:gd name="connsiteY23" fmla="*/ 25527 h 239458"/>
                <a:gd name="connsiteX24" fmla="*/ 157258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4 w 177736"/>
                <a:gd name="connsiteY32" fmla="*/ 96203 h 239458"/>
                <a:gd name="connsiteX33" fmla="*/ 103632 w 177736"/>
                <a:gd name="connsiteY33" fmla="*/ 103346 h 239458"/>
                <a:gd name="connsiteX34" fmla="*/ 130207 w 177736"/>
                <a:gd name="connsiteY34" fmla="*/ 112300 h 239458"/>
                <a:gd name="connsiteX35" fmla="*/ 154114 w 177736"/>
                <a:gd name="connsiteY35" fmla="*/ 124778 h 239458"/>
                <a:gd name="connsiteX36" fmla="*/ 171260 w 177736"/>
                <a:gd name="connsiteY36" fmla="*/ 143066 h 239458"/>
                <a:gd name="connsiteX37" fmla="*/ 177737 w 177736"/>
                <a:gd name="connsiteY37" fmla="*/ 169450 h 239458"/>
                <a:gd name="connsiteX38" fmla="*/ 177737 w 177736"/>
                <a:gd name="connsiteY38" fmla="*/ 170307 h 239458"/>
                <a:gd name="connsiteX39" fmla="*/ 171260 w 177736"/>
                <a:gd name="connsiteY39" fmla="*/ 199549 h 239458"/>
                <a:gd name="connsiteX40" fmla="*/ 153829 w 177736"/>
                <a:gd name="connsiteY40" fmla="*/ 221171 h 239458"/>
                <a:gd name="connsiteX41" fmla="*/ 127921 w 177736"/>
                <a:gd name="connsiteY41" fmla="*/ 234791 h 239458"/>
                <a:gd name="connsiteX42" fmla="*/ 95536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6" y="239268"/>
                  </a:moveTo>
                  <a:cubicBezTo>
                    <a:pt x="78867" y="239268"/>
                    <a:pt x="62008" y="236220"/>
                    <a:pt x="45053" y="230124"/>
                  </a:cubicBezTo>
                  <a:cubicBezTo>
                    <a:pt x="28099" y="224028"/>
                    <a:pt x="13049" y="215741"/>
                    <a:pt x="0" y="205359"/>
                  </a:cubicBezTo>
                  <a:lnTo>
                    <a:pt x="17431" y="180785"/>
                  </a:lnTo>
                  <a:cubicBezTo>
                    <a:pt x="29909"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637" y="162211"/>
                    <a:pt x="140494" y="158020"/>
                  </a:cubicBezTo>
                  <a:cubicBezTo>
                    <a:pt x="137351" y="153829"/>
                    <a:pt x="133160" y="150209"/>
                    <a:pt x="127730" y="147066"/>
                  </a:cubicBezTo>
                  <a:cubicBezTo>
                    <a:pt x="122396" y="143923"/>
                    <a:pt x="116205" y="141161"/>
                    <a:pt x="109252" y="138779"/>
                  </a:cubicBezTo>
                  <a:cubicBezTo>
                    <a:pt x="102299" y="136398"/>
                    <a:pt x="95060" y="134207"/>
                    <a:pt x="87630" y="132112"/>
                  </a:cubicBezTo>
                  <a:cubicBezTo>
                    <a:pt x="78677" y="129445"/>
                    <a:pt x="69723" y="126492"/>
                    <a:pt x="60674" y="123444"/>
                  </a:cubicBezTo>
                  <a:cubicBezTo>
                    <a:pt x="51626" y="120301"/>
                    <a:pt x="43434" y="116396"/>
                    <a:pt x="36100" y="111633"/>
                  </a:cubicBezTo>
                  <a:cubicBezTo>
                    <a:pt x="28766" y="106871"/>
                    <a:pt x="22860" y="100870"/>
                    <a:pt x="18193" y="93726"/>
                  </a:cubicBezTo>
                  <a:cubicBezTo>
                    <a:pt x="13621" y="86582"/>
                    <a:pt x="11239" y="77629"/>
                    <a:pt x="11239" y="66961"/>
                  </a:cubicBezTo>
                  <a:lnTo>
                    <a:pt x="11239" y="66008"/>
                  </a:lnTo>
                  <a:cubicBezTo>
                    <a:pt x="11239" y="56198"/>
                    <a:pt x="13145" y="47149"/>
                    <a:pt x="17050" y="39053"/>
                  </a:cubicBezTo>
                  <a:cubicBezTo>
                    <a:pt x="20860" y="30861"/>
                    <a:pt x="26289" y="23908"/>
                    <a:pt x="33338" y="18098"/>
                  </a:cubicBezTo>
                  <a:cubicBezTo>
                    <a:pt x="40291" y="12287"/>
                    <a:pt x="48673" y="7811"/>
                    <a:pt x="58388" y="4667"/>
                  </a:cubicBezTo>
                  <a:cubicBezTo>
                    <a:pt x="68009" y="1524"/>
                    <a:pt x="78581" y="0"/>
                    <a:pt x="89821" y="0"/>
                  </a:cubicBezTo>
                  <a:cubicBezTo>
                    <a:pt x="104108" y="0"/>
                    <a:pt x="118491" y="2286"/>
                    <a:pt x="133160" y="6953"/>
                  </a:cubicBezTo>
                  <a:cubicBezTo>
                    <a:pt x="147733" y="11621"/>
                    <a:pt x="160972" y="17717"/>
                    <a:pt x="172879" y="25527"/>
                  </a:cubicBezTo>
                  <a:lnTo>
                    <a:pt x="157258" y="51435"/>
                  </a:lnTo>
                  <a:cubicBezTo>
                    <a:pt x="146495" y="44577"/>
                    <a:pt x="135350" y="39148"/>
                    <a:pt x="123539" y="35147"/>
                  </a:cubicBezTo>
                  <a:cubicBezTo>
                    <a:pt x="111824" y="31147"/>
                    <a:pt x="100298" y="29146"/>
                    <a:pt x="88963" y="29146"/>
                  </a:cubicBezTo>
                  <a:cubicBezTo>
                    <a:pt x="75247" y="29146"/>
                    <a:pt x="64389" y="32385"/>
                    <a:pt x="56388" y="38767"/>
                  </a:cubicBezTo>
                  <a:cubicBezTo>
                    <a:pt x="48387" y="45149"/>
                    <a:pt x="44291" y="53150"/>
                    <a:pt x="44291" y="62675"/>
                  </a:cubicBezTo>
                  <a:lnTo>
                    <a:pt x="44291" y="63627"/>
                  </a:lnTo>
                  <a:cubicBezTo>
                    <a:pt x="44291" y="68961"/>
                    <a:pt x="45911" y="73628"/>
                    <a:pt x="49244" y="77724"/>
                  </a:cubicBezTo>
                  <a:cubicBezTo>
                    <a:pt x="52483" y="81725"/>
                    <a:pt x="56960" y="85249"/>
                    <a:pt x="62389" y="88202"/>
                  </a:cubicBezTo>
                  <a:cubicBezTo>
                    <a:pt x="67913" y="91154"/>
                    <a:pt x="74200" y="93821"/>
                    <a:pt x="81344" y="96203"/>
                  </a:cubicBezTo>
                  <a:cubicBezTo>
                    <a:pt x="88487" y="98584"/>
                    <a:pt x="95917" y="100965"/>
                    <a:pt x="103632" y="103346"/>
                  </a:cubicBezTo>
                  <a:cubicBezTo>
                    <a:pt x="112586" y="106013"/>
                    <a:pt x="121444" y="108966"/>
                    <a:pt x="130207" y="112300"/>
                  </a:cubicBezTo>
                  <a:cubicBezTo>
                    <a:pt x="138970" y="115538"/>
                    <a:pt x="146971" y="119729"/>
                    <a:pt x="154114" y="124778"/>
                  </a:cubicBezTo>
                  <a:cubicBezTo>
                    <a:pt x="161258" y="129826"/>
                    <a:pt x="166973" y="135922"/>
                    <a:pt x="171260" y="143066"/>
                  </a:cubicBezTo>
                  <a:cubicBezTo>
                    <a:pt x="175546" y="150209"/>
                    <a:pt x="177737" y="158972"/>
                    <a:pt x="177737" y="169450"/>
                  </a:cubicBezTo>
                  <a:lnTo>
                    <a:pt x="177737" y="170307"/>
                  </a:lnTo>
                  <a:cubicBezTo>
                    <a:pt x="177737" y="181356"/>
                    <a:pt x="175546" y="191071"/>
                    <a:pt x="171260" y="199549"/>
                  </a:cubicBezTo>
                  <a:cubicBezTo>
                    <a:pt x="166973" y="208026"/>
                    <a:pt x="161163" y="215265"/>
                    <a:pt x="153829" y="221171"/>
                  </a:cubicBezTo>
                  <a:cubicBezTo>
                    <a:pt x="146495" y="227171"/>
                    <a:pt x="137922" y="231648"/>
                    <a:pt x="127921" y="234791"/>
                  </a:cubicBezTo>
                  <a:cubicBezTo>
                    <a:pt x="117920" y="237935"/>
                    <a:pt x="107156" y="239459"/>
                    <a:pt x="95536" y="239459"/>
                  </a:cubicBezTo>
                  <a:close/>
                </a:path>
              </a:pathLst>
            </a:custGeom>
            <a:solidFill>
              <a:srgbClr val="44505E"/>
            </a:solidFill>
            <a:ln w="9525" cap="flat">
              <a:noFill/>
              <a:prstDash val="solid"/>
              <a:miter/>
            </a:ln>
          </p:spPr>
          <p:txBody>
            <a:bodyPr rtlCol="0" anchor="ctr"/>
            <a:lstStyle/>
            <a:p>
              <a:endParaRPr lang="pt-BR" noProof="0"/>
            </a:p>
          </p:txBody>
        </p:sp>
        <p:sp>
          <p:nvSpPr>
            <p:cNvPr id="32" name="Freeform: Shape 44">
              <a:extLst>
                <a:ext uri="{FF2B5EF4-FFF2-40B4-BE49-F238E27FC236}">
                  <a16:creationId xmlns:a16="http://schemas.microsoft.com/office/drawing/2014/main" id="{D95749FC-15DC-61A7-AFB7-8BAF62F53D53}"/>
                </a:ext>
              </a:extLst>
            </p:cNvPr>
            <p:cNvSpPr/>
            <p:nvPr/>
          </p:nvSpPr>
          <p:spPr>
            <a:xfrm>
              <a:off x="605122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4 w 202977"/>
                <a:gd name="connsiteY30" fmla="*/ 174593 h 239267"/>
                <a:gd name="connsiteX31" fmla="*/ 169735 w 202977"/>
                <a:gd name="connsiteY31" fmla="*/ 149447 h 239267"/>
                <a:gd name="connsiteX32" fmla="*/ 169735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0" y="90964"/>
                    <a:pt x="98584" y="90964"/>
                  </a:cubicBezTo>
                  <a:cubicBezTo>
                    <a:pt x="113157" y="90964"/>
                    <a:pt x="126301"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1" y="33147"/>
                    <a:pt x="63436" y="36100"/>
                  </a:cubicBezTo>
                  <a:cubicBezTo>
                    <a:pt x="52292" y="39053"/>
                    <a:pt x="41338" y="43053"/>
                    <a:pt x="30671" y="48196"/>
                  </a:cubicBezTo>
                  <a:lnTo>
                    <a:pt x="20383" y="19907"/>
                  </a:lnTo>
                  <a:cubicBezTo>
                    <a:pt x="33147" y="13906"/>
                    <a:pt x="46101" y="9049"/>
                    <a:pt x="59246" y="5429"/>
                  </a:cubicBezTo>
                  <a:cubicBezTo>
                    <a:pt x="72295"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1" y="239173"/>
                  </a:cubicBezTo>
                  <a:close/>
                  <a:moveTo>
                    <a:pt x="93154" y="211169"/>
                  </a:moveTo>
                  <a:cubicBezTo>
                    <a:pt x="103822" y="211169"/>
                    <a:pt x="113728" y="209740"/>
                    <a:pt x="122967" y="206788"/>
                  </a:cubicBezTo>
                  <a:cubicBezTo>
                    <a:pt x="132207" y="203835"/>
                    <a:pt x="140208" y="199644"/>
                    <a:pt x="147256" y="194120"/>
                  </a:cubicBezTo>
                  <a:cubicBezTo>
                    <a:pt x="154209" y="188595"/>
                    <a:pt x="159734" y="182118"/>
                    <a:pt x="163734" y="174593"/>
                  </a:cubicBezTo>
                  <a:cubicBezTo>
                    <a:pt x="167735" y="167068"/>
                    <a:pt x="169735" y="158687"/>
                    <a:pt x="169735" y="149447"/>
                  </a:cubicBezTo>
                  <a:lnTo>
                    <a:pt x="169735" y="128111"/>
                  </a:lnTo>
                  <a:cubicBezTo>
                    <a:pt x="161163" y="125730"/>
                    <a:pt x="151352" y="123539"/>
                    <a:pt x="140398" y="121444"/>
                  </a:cubicBezTo>
                  <a:cubicBezTo>
                    <a:pt x="129445" y="119348"/>
                    <a:pt x="116872"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33" name="Freeform: Shape 45">
              <a:extLst>
                <a:ext uri="{FF2B5EF4-FFF2-40B4-BE49-F238E27FC236}">
                  <a16:creationId xmlns:a16="http://schemas.microsoft.com/office/drawing/2014/main" id="{61F7907F-D582-648D-47C4-5A873DB91DCF}"/>
                </a:ext>
              </a:extLst>
            </p:cNvPr>
            <p:cNvSpPr/>
            <p:nvPr/>
          </p:nvSpPr>
          <p:spPr>
            <a:xfrm>
              <a:off x="6121359" y="901377"/>
              <a:ext cx="8644" cy="81913"/>
            </a:xfrm>
            <a:custGeom>
              <a:avLst/>
              <a:gdLst>
                <a:gd name="connsiteX0" fmla="*/ 0 w 34385"/>
                <a:gd name="connsiteY0" fmla="*/ 0 h 325850"/>
                <a:gd name="connsiteX1" fmla="*/ 34385 w 34385"/>
                <a:gd name="connsiteY1" fmla="*/ 0 h 325850"/>
                <a:gd name="connsiteX2" fmla="*/ 34385 w 34385"/>
                <a:gd name="connsiteY2" fmla="*/ 325850 h 325850"/>
                <a:gd name="connsiteX3" fmla="*/ 0 w 34385"/>
                <a:gd name="connsiteY3" fmla="*/ 325850 h 325850"/>
                <a:gd name="connsiteX4" fmla="*/ 0 w 34385"/>
                <a:gd name="connsiteY4" fmla="*/ 0 h 32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 h="325850">
                  <a:moveTo>
                    <a:pt x="0" y="0"/>
                  </a:moveTo>
                  <a:lnTo>
                    <a:pt x="34385" y="0"/>
                  </a:lnTo>
                  <a:lnTo>
                    <a:pt x="34385" y="325850"/>
                  </a:lnTo>
                  <a:lnTo>
                    <a:pt x="0" y="325850"/>
                  </a:lnTo>
                  <a:lnTo>
                    <a:pt x="0" y="0"/>
                  </a:lnTo>
                  <a:close/>
                </a:path>
              </a:pathLst>
            </a:custGeom>
            <a:solidFill>
              <a:srgbClr val="44505E"/>
            </a:solidFill>
            <a:ln w="9525" cap="flat">
              <a:noFill/>
              <a:prstDash val="solid"/>
              <a:miter/>
            </a:ln>
          </p:spPr>
          <p:txBody>
            <a:bodyPr rtlCol="0" anchor="ctr"/>
            <a:lstStyle/>
            <a:p>
              <a:endParaRPr lang="pt-BR" noProof="0"/>
            </a:p>
          </p:txBody>
        </p:sp>
        <p:sp>
          <p:nvSpPr>
            <p:cNvPr id="34" name="Freeform: Shape 46">
              <a:extLst>
                <a:ext uri="{FF2B5EF4-FFF2-40B4-BE49-F238E27FC236}">
                  <a16:creationId xmlns:a16="http://schemas.microsoft.com/office/drawing/2014/main" id="{42FE6E20-221D-1C32-42AC-CB3B0A0FD8D3}"/>
                </a:ext>
              </a:extLst>
            </p:cNvPr>
            <p:cNvSpPr/>
            <p:nvPr/>
          </p:nvSpPr>
          <p:spPr>
            <a:xfrm>
              <a:off x="6144346" y="925273"/>
              <a:ext cx="58016" cy="58448"/>
            </a:xfrm>
            <a:custGeom>
              <a:avLst/>
              <a:gdLst>
                <a:gd name="connsiteX0" fmla="*/ 95 w 230790"/>
                <a:gd name="connsiteY0" fmla="*/ 0 h 232505"/>
                <a:gd name="connsiteX1" fmla="*/ 38005 w 230790"/>
                <a:gd name="connsiteY1" fmla="*/ 0 h 232505"/>
                <a:gd name="connsiteX2" fmla="*/ 115634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4"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35" name="Freeform: Shape 47">
              <a:extLst>
                <a:ext uri="{FF2B5EF4-FFF2-40B4-BE49-F238E27FC236}">
                  <a16:creationId xmlns:a16="http://schemas.microsoft.com/office/drawing/2014/main" id="{761F0C71-9074-37DE-09DC-400455D58022}"/>
                </a:ext>
              </a:extLst>
            </p:cNvPr>
            <p:cNvSpPr/>
            <p:nvPr/>
          </p:nvSpPr>
          <p:spPr>
            <a:xfrm>
              <a:off x="621155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8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338 w 202977"/>
                <a:gd name="connsiteY36" fmla="*/ 164497 h 239267"/>
                <a:gd name="connsiteX37" fmla="*/ 35338 w 202977"/>
                <a:gd name="connsiteY37" fmla="*/ 165449 h 239267"/>
                <a:gd name="connsiteX38" fmla="*/ 40005 w 202977"/>
                <a:gd name="connsiteY38" fmla="*/ 184785 h 239267"/>
                <a:gd name="connsiteX39" fmla="*/ 52673 w 202977"/>
                <a:gd name="connsiteY39" fmla="*/ 199263 h 239267"/>
                <a:gd name="connsiteX40" fmla="*/ 71152 w 202977"/>
                <a:gd name="connsiteY40" fmla="*/ 208121 h 239267"/>
                <a:gd name="connsiteX41" fmla="*/ 93154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438" y="239268"/>
                    <a:pt x="64961"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1" y="90964"/>
                    <a:pt x="98584" y="90964"/>
                  </a:cubicBezTo>
                  <a:cubicBezTo>
                    <a:pt x="113157" y="90964"/>
                    <a:pt x="126302" y="91821"/>
                    <a:pt x="137160" y="93631"/>
                  </a:cubicBezTo>
                  <a:cubicBezTo>
                    <a:pt x="148019" y="95440"/>
                    <a:pt x="158687" y="97822"/>
                    <a:pt x="169069" y="100774"/>
                  </a:cubicBezTo>
                  <a:lnTo>
                    <a:pt x="169069" y="93726"/>
                  </a:lnTo>
                  <a:cubicBezTo>
                    <a:pt x="169069" y="73342"/>
                    <a:pt x="163068" y="57912"/>
                    <a:pt x="151162" y="47339"/>
                  </a:cubicBezTo>
                  <a:cubicBezTo>
                    <a:pt x="139255" y="36862"/>
                    <a:pt x="122491" y="31623"/>
                    <a:pt x="100679" y="31623"/>
                  </a:cubicBezTo>
                  <a:cubicBezTo>
                    <a:pt x="86963" y="31623"/>
                    <a:pt x="74581" y="33147"/>
                    <a:pt x="63437" y="36100"/>
                  </a:cubicBezTo>
                  <a:cubicBezTo>
                    <a:pt x="52292" y="39053"/>
                    <a:pt x="41338" y="43053"/>
                    <a:pt x="30671" y="48196"/>
                  </a:cubicBezTo>
                  <a:lnTo>
                    <a:pt x="20383" y="19907"/>
                  </a:lnTo>
                  <a:cubicBezTo>
                    <a:pt x="33147" y="13906"/>
                    <a:pt x="46101" y="9049"/>
                    <a:pt x="59246" y="5429"/>
                  </a:cubicBezTo>
                  <a:cubicBezTo>
                    <a:pt x="72390"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04" y="239173"/>
                    <a:pt x="86011" y="239173"/>
                  </a:cubicBezTo>
                  <a:close/>
                  <a:moveTo>
                    <a:pt x="93154" y="211169"/>
                  </a:moveTo>
                  <a:cubicBezTo>
                    <a:pt x="103822" y="211169"/>
                    <a:pt x="113824" y="209740"/>
                    <a:pt x="122968" y="206788"/>
                  </a:cubicBezTo>
                  <a:cubicBezTo>
                    <a:pt x="132112"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5" y="119348"/>
                    <a:pt x="116777" y="118300"/>
                    <a:pt x="102584" y="118300"/>
                  </a:cubicBezTo>
                  <a:cubicBezTo>
                    <a:pt x="81248" y="118300"/>
                    <a:pt x="64675" y="122491"/>
                    <a:pt x="52959" y="130969"/>
                  </a:cubicBezTo>
                  <a:cubicBezTo>
                    <a:pt x="41243" y="139446"/>
                    <a:pt x="35338" y="150590"/>
                    <a:pt x="35338" y="164497"/>
                  </a:cubicBezTo>
                  <a:lnTo>
                    <a:pt x="35338" y="165449"/>
                  </a:lnTo>
                  <a:cubicBezTo>
                    <a:pt x="35338" y="172498"/>
                    <a:pt x="36862" y="178975"/>
                    <a:pt x="40005" y="184785"/>
                  </a:cubicBezTo>
                  <a:cubicBezTo>
                    <a:pt x="43148" y="190500"/>
                    <a:pt x="47339" y="195358"/>
                    <a:pt x="52673" y="199263"/>
                  </a:cubicBezTo>
                  <a:cubicBezTo>
                    <a:pt x="58007" y="203073"/>
                    <a:pt x="64198" y="206026"/>
                    <a:pt x="71152" y="208121"/>
                  </a:cubicBezTo>
                  <a:cubicBezTo>
                    <a:pt x="78105" y="210217"/>
                    <a:pt x="85439" y="211169"/>
                    <a:pt x="93154" y="211169"/>
                  </a:cubicBezTo>
                  <a:close/>
                </a:path>
              </a:pathLst>
            </a:custGeom>
            <a:solidFill>
              <a:srgbClr val="44505E"/>
            </a:solidFill>
            <a:ln w="9525" cap="flat">
              <a:noFill/>
              <a:prstDash val="solid"/>
              <a:miter/>
            </a:ln>
          </p:spPr>
          <p:txBody>
            <a:bodyPr rtlCol="0" anchor="ctr"/>
            <a:lstStyle/>
            <a:p>
              <a:endParaRPr lang="pt-BR" noProof="0"/>
            </a:p>
          </p:txBody>
        </p:sp>
        <p:sp>
          <p:nvSpPr>
            <p:cNvPr id="36" name="Freeform: Shape 48">
              <a:extLst>
                <a:ext uri="{FF2B5EF4-FFF2-40B4-BE49-F238E27FC236}">
                  <a16:creationId xmlns:a16="http://schemas.microsoft.com/office/drawing/2014/main" id="{5A004254-A7F5-9F67-AEDC-DC04F022C2D1}"/>
                </a:ext>
              </a:extLst>
            </p:cNvPr>
            <p:cNvSpPr/>
            <p:nvPr/>
          </p:nvSpPr>
          <p:spPr>
            <a:xfrm>
              <a:off x="6280899" y="923980"/>
              <a:ext cx="87995" cy="59238"/>
            </a:xfrm>
            <a:custGeom>
              <a:avLst/>
              <a:gdLst>
                <a:gd name="connsiteX0" fmla="*/ 0 w 350043"/>
                <a:gd name="connsiteY0" fmla="*/ 5144 h 235648"/>
                <a:gd name="connsiteX1" fmla="*/ 34385 w 350043"/>
                <a:gd name="connsiteY1" fmla="*/ 5144 h 235648"/>
                <a:gd name="connsiteX2" fmla="*/ 34385 w 350043"/>
                <a:gd name="connsiteY2" fmla="*/ 44005 h 235648"/>
                <a:gd name="connsiteX3" fmla="*/ 47149 w 350043"/>
                <a:gd name="connsiteY3" fmla="*/ 27432 h 235648"/>
                <a:gd name="connsiteX4" fmla="*/ 62960 w 350043"/>
                <a:gd name="connsiteY4" fmla="*/ 13335 h 235648"/>
                <a:gd name="connsiteX5" fmla="*/ 83058 w 350043"/>
                <a:gd name="connsiteY5" fmla="*/ 3715 h 235648"/>
                <a:gd name="connsiteX6" fmla="*/ 108966 w 350043"/>
                <a:gd name="connsiteY6" fmla="*/ 95 h 235648"/>
                <a:gd name="connsiteX7" fmla="*/ 155448 w 350043"/>
                <a:gd name="connsiteY7" fmla="*/ 13240 h 235648"/>
                <a:gd name="connsiteX8" fmla="*/ 183166 w 350043"/>
                <a:gd name="connsiteY8" fmla="*/ 46006 h 235648"/>
                <a:gd name="connsiteX9" fmla="*/ 197168 w 350043"/>
                <a:gd name="connsiteY9" fmla="*/ 28194 h 235648"/>
                <a:gd name="connsiteX10" fmla="*/ 214789 w 350043"/>
                <a:gd name="connsiteY10" fmla="*/ 13430 h 235648"/>
                <a:gd name="connsiteX11" fmla="*/ 236887 w 350043"/>
                <a:gd name="connsiteY11" fmla="*/ 3620 h 235648"/>
                <a:gd name="connsiteX12" fmla="*/ 264319 w 350043"/>
                <a:gd name="connsiteY12" fmla="*/ 0 h 235648"/>
                <a:gd name="connsiteX13" fmla="*/ 327279 w 350043"/>
                <a:gd name="connsiteY13" fmla="*/ 24765 h 235648"/>
                <a:gd name="connsiteX14" fmla="*/ 350044 w 350043"/>
                <a:gd name="connsiteY14" fmla="*/ 92773 h 235648"/>
                <a:gd name="connsiteX15" fmla="*/ 350044 w 350043"/>
                <a:gd name="connsiteY15" fmla="*/ 235648 h 235648"/>
                <a:gd name="connsiteX16" fmla="*/ 315659 w 350043"/>
                <a:gd name="connsiteY16" fmla="*/ 235648 h 235648"/>
                <a:gd name="connsiteX17" fmla="*/ 315659 w 350043"/>
                <a:gd name="connsiteY17" fmla="*/ 101155 h 235648"/>
                <a:gd name="connsiteX18" fmla="*/ 299847 w 350043"/>
                <a:gd name="connsiteY18" fmla="*/ 49721 h 235648"/>
                <a:gd name="connsiteX19" fmla="*/ 255937 w 350043"/>
                <a:gd name="connsiteY19" fmla="*/ 31718 h 235648"/>
                <a:gd name="connsiteX20" fmla="*/ 231362 w 350043"/>
                <a:gd name="connsiteY20" fmla="*/ 36386 h 235648"/>
                <a:gd name="connsiteX21" fmla="*/ 211074 w 350043"/>
                <a:gd name="connsiteY21" fmla="*/ 50197 h 235648"/>
                <a:gd name="connsiteX22" fmla="*/ 197263 w 350043"/>
                <a:gd name="connsiteY22" fmla="*/ 72676 h 235648"/>
                <a:gd name="connsiteX23" fmla="*/ 192119 w 350043"/>
                <a:gd name="connsiteY23" fmla="*/ 102965 h 235648"/>
                <a:gd name="connsiteX24" fmla="*/ 192119 w 350043"/>
                <a:gd name="connsiteY24" fmla="*/ 235648 h 235648"/>
                <a:gd name="connsiteX25" fmla="*/ 158210 w 350043"/>
                <a:gd name="connsiteY25" fmla="*/ 235648 h 235648"/>
                <a:gd name="connsiteX26" fmla="*/ 158210 w 350043"/>
                <a:gd name="connsiteY26" fmla="*/ 100298 h 235648"/>
                <a:gd name="connsiteX27" fmla="*/ 142399 w 350043"/>
                <a:gd name="connsiteY27" fmla="*/ 49721 h 235648"/>
                <a:gd name="connsiteX28" fmla="*/ 98870 w 350043"/>
                <a:gd name="connsiteY28" fmla="*/ 31718 h 235648"/>
                <a:gd name="connsiteX29" fmla="*/ 73438 w 350043"/>
                <a:gd name="connsiteY29" fmla="*/ 37052 h 235648"/>
                <a:gd name="connsiteX30" fmla="*/ 53150 w 350043"/>
                <a:gd name="connsiteY30" fmla="*/ 52197 h 235648"/>
                <a:gd name="connsiteX31" fmla="*/ 39529 w 350043"/>
                <a:gd name="connsiteY31" fmla="*/ 75152 h 235648"/>
                <a:gd name="connsiteX32" fmla="*/ 34576 w 350043"/>
                <a:gd name="connsiteY32" fmla="*/ 104299 h 235648"/>
                <a:gd name="connsiteX33" fmla="*/ 34576 w 350043"/>
                <a:gd name="connsiteY33" fmla="*/ 235648 h 235648"/>
                <a:gd name="connsiteX34" fmla="*/ 190 w 350043"/>
                <a:gd name="connsiteY34" fmla="*/ 235648 h 235648"/>
                <a:gd name="connsiteX35" fmla="*/ 190 w 350043"/>
                <a:gd name="connsiteY35" fmla="*/ 485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0043" h="235648">
                  <a:moveTo>
                    <a:pt x="0" y="5144"/>
                  </a:moveTo>
                  <a:lnTo>
                    <a:pt x="34385" y="5144"/>
                  </a:lnTo>
                  <a:lnTo>
                    <a:pt x="34385" y="44005"/>
                  </a:lnTo>
                  <a:cubicBezTo>
                    <a:pt x="38290" y="38386"/>
                    <a:pt x="42481" y="32861"/>
                    <a:pt x="47149" y="27432"/>
                  </a:cubicBezTo>
                  <a:cubicBezTo>
                    <a:pt x="51721" y="22098"/>
                    <a:pt x="57055" y="17431"/>
                    <a:pt x="62960" y="13335"/>
                  </a:cubicBezTo>
                  <a:cubicBezTo>
                    <a:pt x="68866" y="9335"/>
                    <a:pt x="75629" y="6096"/>
                    <a:pt x="83058" y="3715"/>
                  </a:cubicBezTo>
                  <a:cubicBezTo>
                    <a:pt x="90488" y="1334"/>
                    <a:pt x="99155" y="95"/>
                    <a:pt x="108966" y="95"/>
                  </a:cubicBezTo>
                  <a:cubicBezTo>
                    <a:pt x="127730" y="95"/>
                    <a:pt x="143161" y="4477"/>
                    <a:pt x="155448" y="13240"/>
                  </a:cubicBezTo>
                  <a:cubicBezTo>
                    <a:pt x="167640" y="22003"/>
                    <a:pt x="176879" y="32956"/>
                    <a:pt x="183166" y="46006"/>
                  </a:cubicBezTo>
                  <a:cubicBezTo>
                    <a:pt x="187357" y="39719"/>
                    <a:pt x="192024" y="33814"/>
                    <a:pt x="197168" y="28194"/>
                  </a:cubicBezTo>
                  <a:cubicBezTo>
                    <a:pt x="202406" y="22574"/>
                    <a:pt x="208217" y="17621"/>
                    <a:pt x="214789" y="13430"/>
                  </a:cubicBezTo>
                  <a:cubicBezTo>
                    <a:pt x="221361" y="9239"/>
                    <a:pt x="228695" y="6001"/>
                    <a:pt x="236887" y="3620"/>
                  </a:cubicBezTo>
                  <a:cubicBezTo>
                    <a:pt x="245078" y="1238"/>
                    <a:pt x="254222" y="0"/>
                    <a:pt x="264319" y="0"/>
                  </a:cubicBezTo>
                  <a:cubicBezTo>
                    <a:pt x="291084" y="0"/>
                    <a:pt x="312039" y="8287"/>
                    <a:pt x="327279" y="24765"/>
                  </a:cubicBezTo>
                  <a:cubicBezTo>
                    <a:pt x="342519" y="41243"/>
                    <a:pt x="350044" y="63913"/>
                    <a:pt x="350044" y="92773"/>
                  </a:cubicBezTo>
                  <a:lnTo>
                    <a:pt x="350044" y="235648"/>
                  </a:lnTo>
                  <a:lnTo>
                    <a:pt x="315659" y="235648"/>
                  </a:lnTo>
                  <a:lnTo>
                    <a:pt x="315659" y="101155"/>
                  </a:lnTo>
                  <a:cubicBezTo>
                    <a:pt x="315659" y="78867"/>
                    <a:pt x="310420" y="61722"/>
                    <a:pt x="299847" y="49721"/>
                  </a:cubicBezTo>
                  <a:cubicBezTo>
                    <a:pt x="289274" y="37719"/>
                    <a:pt x="274606" y="31718"/>
                    <a:pt x="255937" y="31718"/>
                  </a:cubicBezTo>
                  <a:cubicBezTo>
                    <a:pt x="247269" y="31718"/>
                    <a:pt x="239078" y="33242"/>
                    <a:pt x="231362" y="36386"/>
                  </a:cubicBezTo>
                  <a:cubicBezTo>
                    <a:pt x="223647" y="39529"/>
                    <a:pt x="216884" y="44101"/>
                    <a:pt x="211074" y="50197"/>
                  </a:cubicBezTo>
                  <a:cubicBezTo>
                    <a:pt x="205264" y="56293"/>
                    <a:pt x="200692" y="63818"/>
                    <a:pt x="197263" y="72676"/>
                  </a:cubicBezTo>
                  <a:cubicBezTo>
                    <a:pt x="193834" y="81629"/>
                    <a:pt x="192119" y="91726"/>
                    <a:pt x="192119" y="102965"/>
                  </a:cubicBezTo>
                  <a:lnTo>
                    <a:pt x="192119" y="235648"/>
                  </a:lnTo>
                  <a:lnTo>
                    <a:pt x="158210" y="235648"/>
                  </a:lnTo>
                  <a:lnTo>
                    <a:pt x="158210" y="100298"/>
                  </a:lnTo>
                  <a:cubicBezTo>
                    <a:pt x="158210" y="78677"/>
                    <a:pt x="152971" y="61817"/>
                    <a:pt x="142399" y="49721"/>
                  </a:cubicBezTo>
                  <a:cubicBezTo>
                    <a:pt x="131826" y="37719"/>
                    <a:pt x="117348" y="31718"/>
                    <a:pt x="98870" y="31718"/>
                  </a:cubicBezTo>
                  <a:cubicBezTo>
                    <a:pt x="89630" y="31718"/>
                    <a:pt x="81153" y="33528"/>
                    <a:pt x="73438" y="37052"/>
                  </a:cubicBezTo>
                  <a:cubicBezTo>
                    <a:pt x="65722" y="40672"/>
                    <a:pt x="58960" y="45720"/>
                    <a:pt x="53150" y="52197"/>
                  </a:cubicBezTo>
                  <a:cubicBezTo>
                    <a:pt x="47339" y="58769"/>
                    <a:pt x="42767" y="66389"/>
                    <a:pt x="39529" y="75152"/>
                  </a:cubicBezTo>
                  <a:cubicBezTo>
                    <a:pt x="36290" y="83915"/>
                    <a:pt x="34576" y="93631"/>
                    <a:pt x="34576" y="104299"/>
                  </a:cubicBezTo>
                  <a:lnTo>
                    <a:pt x="34576" y="235648"/>
                  </a:lnTo>
                  <a:lnTo>
                    <a:pt x="190" y="235648"/>
                  </a:lnTo>
                  <a:lnTo>
                    <a:pt x="190" y="4858"/>
                  </a:lnTo>
                  <a:close/>
                </a:path>
              </a:pathLst>
            </a:custGeom>
            <a:solidFill>
              <a:srgbClr val="44505E"/>
            </a:solidFill>
            <a:ln w="9525" cap="flat">
              <a:noFill/>
              <a:prstDash val="solid"/>
              <a:miter/>
            </a:ln>
          </p:spPr>
          <p:txBody>
            <a:bodyPr rtlCol="0" anchor="ctr"/>
            <a:lstStyle/>
            <a:p>
              <a:endParaRPr lang="pt-BR" noProof="0"/>
            </a:p>
          </p:txBody>
        </p:sp>
        <p:sp>
          <p:nvSpPr>
            <p:cNvPr id="37" name="Freeform: Shape 49">
              <a:extLst>
                <a:ext uri="{FF2B5EF4-FFF2-40B4-BE49-F238E27FC236}">
                  <a16:creationId xmlns:a16="http://schemas.microsoft.com/office/drawing/2014/main" id="{502569CD-C20D-75A6-2E28-F81C7AB30091}"/>
                </a:ext>
              </a:extLst>
            </p:cNvPr>
            <p:cNvSpPr/>
            <p:nvPr/>
          </p:nvSpPr>
          <p:spPr>
            <a:xfrm>
              <a:off x="6415537" y="925273"/>
              <a:ext cx="58016" cy="58448"/>
            </a:xfrm>
            <a:custGeom>
              <a:avLst/>
              <a:gdLst>
                <a:gd name="connsiteX0" fmla="*/ 95 w 230790"/>
                <a:gd name="connsiteY0" fmla="*/ 0 h 232505"/>
                <a:gd name="connsiteX1" fmla="*/ 38005 w 230790"/>
                <a:gd name="connsiteY1" fmla="*/ 0 h 232505"/>
                <a:gd name="connsiteX2" fmla="*/ 115633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3"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38" name="Freeform: Shape 50">
              <a:extLst>
                <a:ext uri="{FF2B5EF4-FFF2-40B4-BE49-F238E27FC236}">
                  <a16:creationId xmlns:a16="http://schemas.microsoft.com/office/drawing/2014/main" id="{7603F1E1-7261-709B-1F60-CA9483403F07}"/>
                </a:ext>
              </a:extLst>
            </p:cNvPr>
            <p:cNvSpPr/>
            <p:nvPr/>
          </p:nvSpPr>
          <p:spPr>
            <a:xfrm>
              <a:off x="6487369"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286 w 39242"/>
                <a:gd name="connsiteY5" fmla="*/ 88392 h 319182"/>
                <a:gd name="connsiteX6" fmla="*/ 36671 w 39242"/>
                <a:gd name="connsiteY6" fmla="*/ 88392 h 319182"/>
                <a:gd name="connsiteX7" fmla="*/ 36671 w 39242"/>
                <a:gd name="connsiteY7" fmla="*/ 319183 h 319182"/>
                <a:gd name="connsiteX8" fmla="*/ 2286 w 39242"/>
                <a:gd name="connsiteY8" fmla="*/ 319183 h 319182"/>
                <a:gd name="connsiteX9" fmla="*/ 2286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286" y="88392"/>
                  </a:moveTo>
                  <a:lnTo>
                    <a:pt x="36671" y="88392"/>
                  </a:lnTo>
                  <a:lnTo>
                    <a:pt x="36671" y="319183"/>
                  </a:lnTo>
                  <a:lnTo>
                    <a:pt x="2286" y="319183"/>
                  </a:lnTo>
                  <a:lnTo>
                    <a:pt x="2286" y="88392"/>
                  </a:lnTo>
                  <a:close/>
                </a:path>
              </a:pathLst>
            </a:custGeom>
            <a:solidFill>
              <a:srgbClr val="44505E"/>
            </a:solidFill>
            <a:ln w="9525" cap="flat">
              <a:noFill/>
              <a:prstDash val="solid"/>
              <a:miter/>
            </a:ln>
          </p:spPr>
          <p:txBody>
            <a:bodyPr rtlCol="0" anchor="ctr"/>
            <a:lstStyle/>
            <a:p>
              <a:endParaRPr lang="pt-BR" noProof="0"/>
            </a:p>
          </p:txBody>
        </p:sp>
        <p:sp>
          <p:nvSpPr>
            <p:cNvPr id="39" name="Freeform: Shape 51">
              <a:extLst>
                <a:ext uri="{FF2B5EF4-FFF2-40B4-BE49-F238E27FC236}">
                  <a16:creationId xmlns:a16="http://schemas.microsoft.com/office/drawing/2014/main" id="{B4795FEA-85AC-A8B0-D6EA-89746FDF65AB}"/>
                </a:ext>
              </a:extLst>
            </p:cNvPr>
            <p:cNvSpPr/>
            <p:nvPr/>
          </p:nvSpPr>
          <p:spPr>
            <a:xfrm>
              <a:off x="6513253" y="901353"/>
              <a:ext cx="58615" cy="83182"/>
            </a:xfrm>
            <a:custGeom>
              <a:avLst/>
              <a:gdLst>
                <a:gd name="connsiteX0" fmla="*/ 110394 w 233171"/>
                <a:gd name="connsiteY0" fmla="*/ 330898 h 330898"/>
                <a:gd name="connsiteX1" fmla="*/ 69723 w 233171"/>
                <a:gd name="connsiteY1" fmla="*/ 322897 h 330898"/>
                <a:gd name="connsiteX2" fmla="*/ 34480 w 233171"/>
                <a:gd name="connsiteY2" fmla="*/ 299466 h 330898"/>
                <a:gd name="connsiteX3" fmla="*/ 9430 w 233171"/>
                <a:gd name="connsiteY3" fmla="*/ 261938 h 330898"/>
                <a:gd name="connsiteX4" fmla="*/ 0 w 233171"/>
                <a:gd name="connsiteY4" fmla="*/ 211264 h 330898"/>
                <a:gd name="connsiteX5" fmla="*/ 0 w 233171"/>
                <a:gd name="connsiteY5" fmla="*/ 210407 h 330898"/>
                <a:gd name="connsiteX6" fmla="*/ 9430 w 233171"/>
                <a:gd name="connsiteY6" fmla="*/ 159925 h 330898"/>
                <a:gd name="connsiteX7" fmla="*/ 34480 w 233171"/>
                <a:gd name="connsiteY7" fmla="*/ 122206 h 330898"/>
                <a:gd name="connsiteX8" fmla="*/ 69723 w 233171"/>
                <a:gd name="connsiteY8" fmla="*/ 98488 h 330898"/>
                <a:gd name="connsiteX9" fmla="*/ 110394 w 233171"/>
                <a:gd name="connsiteY9" fmla="*/ 90202 h 330898"/>
                <a:gd name="connsiteX10" fmla="*/ 139827 w 233171"/>
                <a:gd name="connsiteY10" fmla="*/ 94202 h 330898"/>
                <a:gd name="connsiteX11" fmla="*/ 163925 w 233171"/>
                <a:gd name="connsiteY11" fmla="*/ 104870 h 330898"/>
                <a:gd name="connsiteX12" fmla="*/ 183356 w 233171"/>
                <a:gd name="connsiteY12" fmla="*/ 120491 h 330898"/>
                <a:gd name="connsiteX13" fmla="*/ 198787 w 233171"/>
                <a:gd name="connsiteY13" fmla="*/ 139255 h 330898"/>
                <a:gd name="connsiteX14" fmla="*/ 198787 w 233171"/>
                <a:gd name="connsiteY14" fmla="*/ 0 h 330898"/>
                <a:gd name="connsiteX15" fmla="*/ 233172 w 233171"/>
                <a:gd name="connsiteY15" fmla="*/ 0 h 330898"/>
                <a:gd name="connsiteX16" fmla="*/ 233172 w 233171"/>
                <a:gd name="connsiteY16" fmla="*/ 325850 h 330898"/>
                <a:gd name="connsiteX17" fmla="*/ 198787 w 233171"/>
                <a:gd name="connsiteY17" fmla="*/ 325850 h 330898"/>
                <a:gd name="connsiteX18" fmla="*/ 198787 w 233171"/>
                <a:gd name="connsiteY18" fmla="*/ 279463 h 330898"/>
                <a:gd name="connsiteX19" fmla="*/ 182975 w 233171"/>
                <a:gd name="connsiteY19" fmla="*/ 299085 h 330898"/>
                <a:gd name="connsiteX20" fmla="*/ 163544 w 233171"/>
                <a:gd name="connsiteY20" fmla="*/ 315658 h 330898"/>
                <a:gd name="connsiteX21" fmla="*/ 139636 w 233171"/>
                <a:gd name="connsiteY21" fmla="*/ 326803 h 330898"/>
                <a:gd name="connsiteX22" fmla="*/ 110394 w 233171"/>
                <a:gd name="connsiteY22" fmla="*/ 330803 h 330898"/>
                <a:gd name="connsiteX23" fmla="*/ 116681 w 233171"/>
                <a:gd name="connsiteY23" fmla="*/ 300133 h 330898"/>
                <a:gd name="connsiteX24" fmla="*/ 147733 w 233171"/>
                <a:gd name="connsiteY24" fmla="*/ 293656 h 330898"/>
                <a:gd name="connsiteX25" fmla="*/ 174498 w 233171"/>
                <a:gd name="connsiteY25" fmla="*/ 275368 h 330898"/>
                <a:gd name="connsiteX26" fmla="*/ 193262 w 233171"/>
                <a:gd name="connsiteY26" fmla="*/ 247269 h 330898"/>
                <a:gd name="connsiteX27" fmla="*/ 200216 w 233171"/>
                <a:gd name="connsiteY27" fmla="*/ 210883 h 330898"/>
                <a:gd name="connsiteX28" fmla="*/ 200216 w 233171"/>
                <a:gd name="connsiteY28" fmla="*/ 210026 h 330898"/>
                <a:gd name="connsiteX29" fmla="*/ 193262 w 233171"/>
                <a:gd name="connsiteY29" fmla="*/ 173641 h 330898"/>
                <a:gd name="connsiteX30" fmla="*/ 174498 w 233171"/>
                <a:gd name="connsiteY30" fmla="*/ 145732 h 330898"/>
                <a:gd name="connsiteX31" fmla="*/ 147733 w 233171"/>
                <a:gd name="connsiteY31" fmla="*/ 127635 h 330898"/>
                <a:gd name="connsiteX32" fmla="*/ 116681 w 233171"/>
                <a:gd name="connsiteY32" fmla="*/ 121158 h 330898"/>
                <a:gd name="connsiteX33" fmla="*/ 84963 w 233171"/>
                <a:gd name="connsiteY33" fmla="*/ 127159 h 330898"/>
                <a:gd name="connsiteX34" fmla="*/ 59341 w 233171"/>
                <a:gd name="connsiteY34" fmla="*/ 144589 h 330898"/>
                <a:gd name="connsiteX35" fmla="*/ 41910 w 233171"/>
                <a:gd name="connsiteY35" fmla="*/ 172498 h 330898"/>
                <a:gd name="connsiteX36" fmla="*/ 35433 w 233171"/>
                <a:gd name="connsiteY36" fmla="*/ 210026 h 330898"/>
                <a:gd name="connsiteX37" fmla="*/ 35433 w 233171"/>
                <a:gd name="connsiteY37" fmla="*/ 210883 h 330898"/>
                <a:gd name="connsiteX38" fmla="*/ 41910 w 233171"/>
                <a:gd name="connsiteY38" fmla="*/ 247936 h 330898"/>
                <a:gd name="connsiteX39" fmla="*/ 59531 w 233171"/>
                <a:gd name="connsiteY39" fmla="*/ 276034 h 330898"/>
                <a:gd name="connsiteX40" fmla="*/ 85439 w 233171"/>
                <a:gd name="connsiteY40" fmla="*/ 293941 h 330898"/>
                <a:gd name="connsiteX41" fmla="*/ 116681 w 23317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3171" h="330898">
                  <a:moveTo>
                    <a:pt x="110394" y="330898"/>
                  </a:moveTo>
                  <a:cubicBezTo>
                    <a:pt x="96393" y="330898"/>
                    <a:pt x="82868" y="328231"/>
                    <a:pt x="69723" y="322897"/>
                  </a:cubicBezTo>
                  <a:cubicBezTo>
                    <a:pt x="56674" y="317563"/>
                    <a:pt x="44863" y="309753"/>
                    <a:pt x="34480" y="299466"/>
                  </a:cubicBezTo>
                  <a:cubicBezTo>
                    <a:pt x="24003" y="289179"/>
                    <a:pt x="15716" y="276701"/>
                    <a:pt x="9430" y="261938"/>
                  </a:cubicBezTo>
                  <a:cubicBezTo>
                    <a:pt x="3143" y="247174"/>
                    <a:pt x="0" y="230314"/>
                    <a:pt x="0" y="211264"/>
                  </a:cubicBezTo>
                  <a:lnTo>
                    <a:pt x="0" y="210407"/>
                  </a:lnTo>
                  <a:cubicBezTo>
                    <a:pt x="0" y="191643"/>
                    <a:pt x="3143" y="174879"/>
                    <a:pt x="9430" y="159925"/>
                  </a:cubicBezTo>
                  <a:cubicBezTo>
                    <a:pt x="15716" y="145066"/>
                    <a:pt x="24003" y="132493"/>
                    <a:pt x="34480" y="122206"/>
                  </a:cubicBezTo>
                  <a:cubicBezTo>
                    <a:pt x="44863" y="111919"/>
                    <a:pt x="56674" y="104013"/>
                    <a:pt x="69723" y="98488"/>
                  </a:cubicBezTo>
                  <a:cubicBezTo>
                    <a:pt x="82868" y="92964"/>
                    <a:pt x="96393" y="90202"/>
                    <a:pt x="110394" y="90202"/>
                  </a:cubicBezTo>
                  <a:cubicBezTo>
                    <a:pt x="121158" y="90202"/>
                    <a:pt x="130969" y="91535"/>
                    <a:pt x="139827" y="94202"/>
                  </a:cubicBezTo>
                  <a:cubicBezTo>
                    <a:pt x="148780" y="96869"/>
                    <a:pt x="156782" y="100489"/>
                    <a:pt x="163925" y="104870"/>
                  </a:cubicBezTo>
                  <a:cubicBezTo>
                    <a:pt x="171069" y="109347"/>
                    <a:pt x="177546" y="114586"/>
                    <a:pt x="183356" y="120491"/>
                  </a:cubicBezTo>
                  <a:cubicBezTo>
                    <a:pt x="189166" y="126492"/>
                    <a:pt x="194310" y="132683"/>
                    <a:pt x="198787" y="139255"/>
                  </a:cubicBezTo>
                  <a:lnTo>
                    <a:pt x="198787" y="0"/>
                  </a:lnTo>
                  <a:lnTo>
                    <a:pt x="233172" y="0"/>
                  </a:lnTo>
                  <a:lnTo>
                    <a:pt x="233172" y="325850"/>
                  </a:lnTo>
                  <a:lnTo>
                    <a:pt x="198787" y="325850"/>
                  </a:lnTo>
                  <a:lnTo>
                    <a:pt x="198787" y="279463"/>
                  </a:lnTo>
                  <a:cubicBezTo>
                    <a:pt x="194024" y="286321"/>
                    <a:pt x="188786" y="292894"/>
                    <a:pt x="182975" y="299085"/>
                  </a:cubicBezTo>
                  <a:cubicBezTo>
                    <a:pt x="177165" y="305371"/>
                    <a:pt x="170688" y="310896"/>
                    <a:pt x="163544" y="315658"/>
                  </a:cubicBezTo>
                  <a:cubicBezTo>
                    <a:pt x="156400" y="320421"/>
                    <a:pt x="148494" y="324136"/>
                    <a:pt x="139636" y="326803"/>
                  </a:cubicBezTo>
                  <a:cubicBezTo>
                    <a:pt x="130873" y="329470"/>
                    <a:pt x="121158" y="330803"/>
                    <a:pt x="110394" y="330803"/>
                  </a:cubicBezTo>
                  <a:close/>
                  <a:moveTo>
                    <a:pt x="116681" y="300133"/>
                  </a:moveTo>
                  <a:cubicBezTo>
                    <a:pt x="127445" y="300133"/>
                    <a:pt x="137732" y="297942"/>
                    <a:pt x="147733" y="293656"/>
                  </a:cubicBezTo>
                  <a:cubicBezTo>
                    <a:pt x="157734" y="289369"/>
                    <a:pt x="166592" y="283273"/>
                    <a:pt x="174498" y="275368"/>
                  </a:cubicBezTo>
                  <a:cubicBezTo>
                    <a:pt x="182404" y="267462"/>
                    <a:pt x="188595" y="258127"/>
                    <a:pt x="193262" y="247269"/>
                  </a:cubicBezTo>
                  <a:cubicBezTo>
                    <a:pt x="197834" y="236410"/>
                    <a:pt x="200216" y="224314"/>
                    <a:pt x="200216" y="210883"/>
                  </a:cubicBezTo>
                  <a:lnTo>
                    <a:pt x="200216" y="210026"/>
                  </a:lnTo>
                  <a:cubicBezTo>
                    <a:pt x="200216" y="196596"/>
                    <a:pt x="197929" y="184499"/>
                    <a:pt x="193262" y="173641"/>
                  </a:cubicBezTo>
                  <a:cubicBezTo>
                    <a:pt x="188595" y="162782"/>
                    <a:pt x="182404" y="153448"/>
                    <a:pt x="174498" y="145732"/>
                  </a:cubicBezTo>
                  <a:cubicBezTo>
                    <a:pt x="166592" y="138017"/>
                    <a:pt x="157639" y="132016"/>
                    <a:pt x="147733" y="127635"/>
                  </a:cubicBezTo>
                  <a:cubicBezTo>
                    <a:pt x="137732" y="123349"/>
                    <a:pt x="127445" y="121158"/>
                    <a:pt x="116681" y="121158"/>
                  </a:cubicBezTo>
                  <a:cubicBezTo>
                    <a:pt x="105346" y="121158"/>
                    <a:pt x="94774" y="123158"/>
                    <a:pt x="84963" y="127159"/>
                  </a:cubicBezTo>
                  <a:cubicBezTo>
                    <a:pt x="75152" y="131159"/>
                    <a:pt x="66580" y="136969"/>
                    <a:pt x="59341" y="144589"/>
                  </a:cubicBezTo>
                  <a:cubicBezTo>
                    <a:pt x="52007" y="152114"/>
                    <a:pt x="46291" y="161449"/>
                    <a:pt x="41910" y="172498"/>
                  </a:cubicBezTo>
                  <a:cubicBezTo>
                    <a:pt x="37624" y="183451"/>
                    <a:pt x="35433" y="196024"/>
                    <a:pt x="35433" y="210026"/>
                  </a:cubicBezTo>
                  <a:lnTo>
                    <a:pt x="35433" y="210883"/>
                  </a:lnTo>
                  <a:cubicBezTo>
                    <a:pt x="35433" y="224599"/>
                    <a:pt x="37624" y="236982"/>
                    <a:pt x="41910" y="247936"/>
                  </a:cubicBezTo>
                  <a:cubicBezTo>
                    <a:pt x="46196" y="258984"/>
                    <a:pt x="52101" y="268319"/>
                    <a:pt x="59531" y="276034"/>
                  </a:cubicBezTo>
                  <a:cubicBezTo>
                    <a:pt x="66960" y="283750"/>
                    <a:pt x="75629" y="289750"/>
                    <a:pt x="85439" y="293941"/>
                  </a:cubicBezTo>
                  <a:cubicBezTo>
                    <a:pt x="95250" y="298132"/>
                    <a:pt x="105632" y="300228"/>
                    <a:pt x="116681" y="300228"/>
                  </a:cubicBezTo>
                  <a:close/>
                </a:path>
              </a:pathLst>
            </a:custGeom>
            <a:solidFill>
              <a:srgbClr val="44505E"/>
            </a:solidFill>
            <a:ln w="9525" cap="flat">
              <a:noFill/>
              <a:prstDash val="solid"/>
              <a:miter/>
            </a:ln>
          </p:spPr>
          <p:txBody>
            <a:bodyPr rtlCol="0" anchor="ctr"/>
            <a:lstStyle/>
            <a:p>
              <a:endParaRPr lang="pt-BR" noProof="0"/>
            </a:p>
          </p:txBody>
        </p:sp>
        <p:sp>
          <p:nvSpPr>
            <p:cNvPr id="40" name="Freeform: Shape 52">
              <a:extLst>
                <a:ext uri="{FF2B5EF4-FFF2-40B4-BE49-F238E27FC236}">
                  <a16:creationId xmlns:a16="http://schemas.microsoft.com/office/drawing/2014/main" id="{8A92E72C-4BFB-4F8C-BE4E-E329514811EE}"/>
                </a:ext>
              </a:extLst>
            </p:cNvPr>
            <p:cNvSpPr/>
            <p:nvPr/>
          </p:nvSpPr>
          <p:spPr>
            <a:xfrm>
              <a:off x="6586762"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0 w 202977"/>
                <a:gd name="connsiteY16" fmla="*/ 48196 h 239267"/>
                <a:gd name="connsiteX17" fmla="*/ 20383 w 202977"/>
                <a:gd name="connsiteY17" fmla="*/ 19907 h 239267"/>
                <a:gd name="connsiteX18" fmla="*/ 59245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0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1"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675" y="92678"/>
                    <a:pt x="84011" y="90964"/>
                    <a:pt x="98584" y="90964"/>
                  </a:cubicBezTo>
                  <a:cubicBezTo>
                    <a:pt x="113157" y="90964"/>
                    <a:pt x="126302"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0" y="33147"/>
                    <a:pt x="63436" y="36100"/>
                  </a:cubicBezTo>
                  <a:cubicBezTo>
                    <a:pt x="52292" y="39053"/>
                    <a:pt x="41338" y="43053"/>
                    <a:pt x="30670" y="48196"/>
                  </a:cubicBezTo>
                  <a:lnTo>
                    <a:pt x="20383" y="19907"/>
                  </a:lnTo>
                  <a:cubicBezTo>
                    <a:pt x="33147" y="13906"/>
                    <a:pt x="46101" y="9049"/>
                    <a:pt x="59245" y="5429"/>
                  </a:cubicBezTo>
                  <a:cubicBezTo>
                    <a:pt x="72294" y="1810"/>
                    <a:pt x="87344" y="0"/>
                    <a:pt x="104299" y="0"/>
                  </a:cubicBezTo>
                  <a:cubicBezTo>
                    <a:pt x="137064" y="0"/>
                    <a:pt x="161925" y="8477"/>
                    <a:pt x="178879" y="25432"/>
                  </a:cubicBezTo>
                  <a:cubicBezTo>
                    <a:pt x="194976"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0" y="239173"/>
                  </a:cubicBezTo>
                  <a:close/>
                  <a:moveTo>
                    <a:pt x="93154" y="211169"/>
                  </a:moveTo>
                  <a:cubicBezTo>
                    <a:pt x="103822" y="211169"/>
                    <a:pt x="113729" y="209740"/>
                    <a:pt x="122967" y="206788"/>
                  </a:cubicBezTo>
                  <a:cubicBezTo>
                    <a:pt x="132207"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4" y="119348"/>
                    <a:pt x="116871"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41" name="Freeform: Shape 53">
              <a:extLst>
                <a:ext uri="{FF2B5EF4-FFF2-40B4-BE49-F238E27FC236}">
                  <a16:creationId xmlns:a16="http://schemas.microsoft.com/office/drawing/2014/main" id="{70BB5A63-5790-1012-5E60-4A7525C1FD02}"/>
                </a:ext>
              </a:extLst>
            </p:cNvPr>
            <p:cNvSpPr/>
            <p:nvPr/>
          </p:nvSpPr>
          <p:spPr>
            <a:xfrm>
              <a:off x="6651291" y="924268"/>
              <a:ext cx="44680" cy="60195"/>
            </a:xfrm>
            <a:custGeom>
              <a:avLst/>
              <a:gdLst>
                <a:gd name="connsiteX0" fmla="*/ 95535 w 177736"/>
                <a:gd name="connsiteY0" fmla="*/ 239268 h 239458"/>
                <a:gd name="connsiteX1" fmla="*/ 45053 w 177736"/>
                <a:gd name="connsiteY1" fmla="*/ 230124 h 239458"/>
                <a:gd name="connsiteX2" fmla="*/ 0 w 177736"/>
                <a:gd name="connsiteY2" fmla="*/ 205359 h 239458"/>
                <a:gd name="connsiteX3" fmla="*/ 17430 w 177736"/>
                <a:gd name="connsiteY3" fmla="*/ 180785 h 239458"/>
                <a:gd name="connsiteX4" fmla="*/ 56483 w 177736"/>
                <a:gd name="connsiteY4" fmla="*/ 202692 h 239458"/>
                <a:gd name="connsiteX5" fmla="*/ 97345 w 177736"/>
                <a:gd name="connsiteY5" fmla="*/ 210217 h 239458"/>
                <a:gd name="connsiteX6" fmla="*/ 131730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825 w 177736"/>
                <a:gd name="connsiteY10" fmla="*/ 147066 h 239458"/>
                <a:gd name="connsiteX11" fmla="*/ 109251 w 177736"/>
                <a:gd name="connsiteY11" fmla="*/ 138779 h 239458"/>
                <a:gd name="connsiteX12" fmla="*/ 87630 w 177736"/>
                <a:gd name="connsiteY12" fmla="*/ 132112 h 239458"/>
                <a:gd name="connsiteX13" fmla="*/ 60579 w 177736"/>
                <a:gd name="connsiteY13" fmla="*/ 123444 h 239458"/>
                <a:gd name="connsiteX14" fmla="*/ 36004 w 177736"/>
                <a:gd name="connsiteY14" fmla="*/ 111633 h 239458"/>
                <a:gd name="connsiteX15" fmla="*/ 18192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59 w 177736"/>
                <a:gd name="connsiteY22" fmla="*/ 6953 h 239458"/>
                <a:gd name="connsiteX23" fmla="*/ 172878 w 177736"/>
                <a:gd name="connsiteY23" fmla="*/ 25527 h 239458"/>
                <a:gd name="connsiteX24" fmla="*/ 157257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3 w 177736"/>
                <a:gd name="connsiteY32" fmla="*/ 96203 h 239458"/>
                <a:gd name="connsiteX33" fmla="*/ 103631 w 177736"/>
                <a:gd name="connsiteY33" fmla="*/ 103346 h 239458"/>
                <a:gd name="connsiteX34" fmla="*/ 130207 w 177736"/>
                <a:gd name="connsiteY34" fmla="*/ 112300 h 239458"/>
                <a:gd name="connsiteX35" fmla="*/ 154114 w 177736"/>
                <a:gd name="connsiteY35" fmla="*/ 124778 h 239458"/>
                <a:gd name="connsiteX36" fmla="*/ 171259 w 177736"/>
                <a:gd name="connsiteY36" fmla="*/ 143066 h 239458"/>
                <a:gd name="connsiteX37" fmla="*/ 177736 w 177736"/>
                <a:gd name="connsiteY37" fmla="*/ 169450 h 239458"/>
                <a:gd name="connsiteX38" fmla="*/ 177736 w 177736"/>
                <a:gd name="connsiteY38" fmla="*/ 170307 h 239458"/>
                <a:gd name="connsiteX39" fmla="*/ 171259 w 177736"/>
                <a:gd name="connsiteY39" fmla="*/ 199549 h 239458"/>
                <a:gd name="connsiteX40" fmla="*/ 153828 w 177736"/>
                <a:gd name="connsiteY40" fmla="*/ 221171 h 239458"/>
                <a:gd name="connsiteX41" fmla="*/ 127921 w 177736"/>
                <a:gd name="connsiteY41" fmla="*/ 234791 h 239458"/>
                <a:gd name="connsiteX42" fmla="*/ 95535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5" y="239268"/>
                  </a:moveTo>
                  <a:cubicBezTo>
                    <a:pt x="78867" y="239268"/>
                    <a:pt x="62007" y="236220"/>
                    <a:pt x="45053" y="230124"/>
                  </a:cubicBezTo>
                  <a:cubicBezTo>
                    <a:pt x="28098" y="224028"/>
                    <a:pt x="13049" y="215741"/>
                    <a:pt x="0" y="205359"/>
                  </a:cubicBezTo>
                  <a:lnTo>
                    <a:pt x="17430" y="180785"/>
                  </a:lnTo>
                  <a:cubicBezTo>
                    <a:pt x="29908" y="190310"/>
                    <a:pt x="42957" y="197644"/>
                    <a:pt x="56483" y="202692"/>
                  </a:cubicBezTo>
                  <a:cubicBezTo>
                    <a:pt x="70009" y="207740"/>
                    <a:pt x="83629" y="210217"/>
                    <a:pt x="97345" y="210217"/>
                  </a:cubicBezTo>
                  <a:cubicBezTo>
                    <a:pt x="111061" y="210217"/>
                    <a:pt x="122777" y="206978"/>
                    <a:pt x="131730" y="200406"/>
                  </a:cubicBezTo>
                  <a:cubicBezTo>
                    <a:pt x="140684" y="193834"/>
                    <a:pt x="145161" y="184976"/>
                    <a:pt x="145161" y="173641"/>
                  </a:cubicBezTo>
                  <a:lnTo>
                    <a:pt x="145161" y="172784"/>
                  </a:lnTo>
                  <a:cubicBezTo>
                    <a:pt x="145161" y="167164"/>
                    <a:pt x="143541" y="162211"/>
                    <a:pt x="140494" y="158020"/>
                  </a:cubicBezTo>
                  <a:cubicBezTo>
                    <a:pt x="137350" y="153829"/>
                    <a:pt x="133159" y="150209"/>
                    <a:pt x="127825" y="147066"/>
                  </a:cubicBezTo>
                  <a:cubicBezTo>
                    <a:pt x="122491" y="143923"/>
                    <a:pt x="116300" y="141161"/>
                    <a:pt x="109251" y="138779"/>
                  </a:cubicBezTo>
                  <a:cubicBezTo>
                    <a:pt x="102298" y="136398"/>
                    <a:pt x="95059" y="134207"/>
                    <a:pt x="87630" y="132112"/>
                  </a:cubicBezTo>
                  <a:cubicBezTo>
                    <a:pt x="78676" y="129445"/>
                    <a:pt x="69722" y="126492"/>
                    <a:pt x="60579" y="123444"/>
                  </a:cubicBezTo>
                  <a:cubicBezTo>
                    <a:pt x="51530" y="120301"/>
                    <a:pt x="43339" y="116396"/>
                    <a:pt x="36004" y="111633"/>
                  </a:cubicBezTo>
                  <a:cubicBezTo>
                    <a:pt x="28670" y="106871"/>
                    <a:pt x="22764" y="100870"/>
                    <a:pt x="18192" y="93726"/>
                  </a:cubicBezTo>
                  <a:cubicBezTo>
                    <a:pt x="13525" y="86582"/>
                    <a:pt x="11239" y="77629"/>
                    <a:pt x="11239" y="66961"/>
                  </a:cubicBezTo>
                  <a:lnTo>
                    <a:pt x="11239" y="66008"/>
                  </a:lnTo>
                  <a:cubicBezTo>
                    <a:pt x="11239" y="56198"/>
                    <a:pt x="13144" y="47149"/>
                    <a:pt x="17050" y="39053"/>
                  </a:cubicBezTo>
                  <a:cubicBezTo>
                    <a:pt x="20955" y="30861"/>
                    <a:pt x="26384" y="23908"/>
                    <a:pt x="33338" y="18098"/>
                  </a:cubicBezTo>
                  <a:cubicBezTo>
                    <a:pt x="40291" y="12287"/>
                    <a:pt x="48673" y="7811"/>
                    <a:pt x="58388" y="4667"/>
                  </a:cubicBezTo>
                  <a:cubicBezTo>
                    <a:pt x="68008" y="1524"/>
                    <a:pt x="78581" y="0"/>
                    <a:pt x="89821" y="0"/>
                  </a:cubicBezTo>
                  <a:cubicBezTo>
                    <a:pt x="104108" y="0"/>
                    <a:pt x="118586" y="2286"/>
                    <a:pt x="133159" y="6953"/>
                  </a:cubicBezTo>
                  <a:cubicBezTo>
                    <a:pt x="147732" y="11621"/>
                    <a:pt x="160972" y="17717"/>
                    <a:pt x="172878" y="25527"/>
                  </a:cubicBezTo>
                  <a:lnTo>
                    <a:pt x="157257" y="51435"/>
                  </a:lnTo>
                  <a:cubicBezTo>
                    <a:pt x="146494" y="44577"/>
                    <a:pt x="135255" y="39148"/>
                    <a:pt x="123539" y="35147"/>
                  </a:cubicBezTo>
                  <a:cubicBezTo>
                    <a:pt x="111823" y="31147"/>
                    <a:pt x="100203" y="29146"/>
                    <a:pt x="88963" y="29146"/>
                  </a:cubicBezTo>
                  <a:cubicBezTo>
                    <a:pt x="75247" y="29146"/>
                    <a:pt x="64389" y="32385"/>
                    <a:pt x="56388" y="38767"/>
                  </a:cubicBezTo>
                  <a:cubicBezTo>
                    <a:pt x="48291" y="45149"/>
                    <a:pt x="44291" y="53150"/>
                    <a:pt x="44291" y="62675"/>
                  </a:cubicBezTo>
                  <a:lnTo>
                    <a:pt x="44291" y="63627"/>
                  </a:lnTo>
                  <a:cubicBezTo>
                    <a:pt x="44291" y="68961"/>
                    <a:pt x="45910" y="73628"/>
                    <a:pt x="49244" y="77724"/>
                  </a:cubicBezTo>
                  <a:cubicBezTo>
                    <a:pt x="52482" y="81725"/>
                    <a:pt x="56864" y="85249"/>
                    <a:pt x="62389" y="88202"/>
                  </a:cubicBezTo>
                  <a:cubicBezTo>
                    <a:pt x="67913" y="91154"/>
                    <a:pt x="74200" y="93821"/>
                    <a:pt x="81343" y="96203"/>
                  </a:cubicBezTo>
                  <a:cubicBezTo>
                    <a:pt x="88487" y="98584"/>
                    <a:pt x="95916" y="100965"/>
                    <a:pt x="103631" y="103346"/>
                  </a:cubicBezTo>
                  <a:cubicBezTo>
                    <a:pt x="112585" y="106013"/>
                    <a:pt x="121444" y="108966"/>
                    <a:pt x="130207" y="112300"/>
                  </a:cubicBezTo>
                  <a:cubicBezTo>
                    <a:pt x="138969" y="115538"/>
                    <a:pt x="146971" y="119729"/>
                    <a:pt x="154114" y="124778"/>
                  </a:cubicBezTo>
                  <a:cubicBezTo>
                    <a:pt x="161258" y="129826"/>
                    <a:pt x="166973" y="135922"/>
                    <a:pt x="171259" y="143066"/>
                  </a:cubicBezTo>
                  <a:cubicBezTo>
                    <a:pt x="175546" y="150209"/>
                    <a:pt x="177736" y="158972"/>
                    <a:pt x="177736" y="169450"/>
                  </a:cubicBezTo>
                  <a:lnTo>
                    <a:pt x="177736" y="170307"/>
                  </a:lnTo>
                  <a:cubicBezTo>
                    <a:pt x="177736" y="181356"/>
                    <a:pt x="175546" y="191071"/>
                    <a:pt x="171259" y="199549"/>
                  </a:cubicBezTo>
                  <a:cubicBezTo>
                    <a:pt x="166973" y="208026"/>
                    <a:pt x="161163" y="215265"/>
                    <a:pt x="153828" y="221171"/>
                  </a:cubicBezTo>
                  <a:cubicBezTo>
                    <a:pt x="146589" y="227171"/>
                    <a:pt x="137922" y="231648"/>
                    <a:pt x="127921" y="234791"/>
                  </a:cubicBezTo>
                  <a:cubicBezTo>
                    <a:pt x="117919" y="237935"/>
                    <a:pt x="107156" y="239459"/>
                    <a:pt x="95535" y="239459"/>
                  </a:cubicBezTo>
                  <a:close/>
                </a:path>
              </a:pathLst>
            </a:custGeom>
            <a:solidFill>
              <a:srgbClr val="44505E"/>
            </a:solidFill>
            <a:ln w="9525" cap="flat">
              <a:noFill/>
              <a:prstDash val="solid"/>
              <a:miter/>
            </a:ln>
          </p:spPr>
          <p:txBody>
            <a:bodyPr rtlCol="0" anchor="ctr"/>
            <a:lstStyle/>
            <a:p>
              <a:endParaRPr lang="pt-BR" noProof="0"/>
            </a:p>
          </p:txBody>
        </p:sp>
        <p:sp>
          <p:nvSpPr>
            <p:cNvPr id="42" name="Freeform: Shape 54">
              <a:extLst>
                <a:ext uri="{FF2B5EF4-FFF2-40B4-BE49-F238E27FC236}">
                  <a16:creationId xmlns:a16="http://schemas.microsoft.com/office/drawing/2014/main" id="{63B3349C-105F-C466-FC06-A4DB4C999273}"/>
                </a:ext>
              </a:extLst>
            </p:cNvPr>
            <p:cNvSpPr/>
            <p:nvPr/>
          </p:nvSpPr>
          <p:spPr>
            <a:xfrm>
              <a:off x="5250320" y="846952"/>
              <a:ext cx="1459036" cy="16186"/>
            </a:xfrm>
            <a:custGeom>
              <a:avLst/>
              <a:gdLst>
                <a:gd name="connsiteX0" fmla="*/ 0 w 5804058"/>
                <a:gd name="connsiteY0" fmla="*/ 0 h 64388"/>
                <a:gd name="connsiteX1" fmla="*/ 5804059 w 5804058"/>
                <a:gd name="connsiteY1" fmla="*/ 0 h 64388"/>
                <a:gd name="connsiteX2" fmla="*/ 5804059 w 5804058"/>
                <a:gd name="connsiteY2" fmla="*/ 64389 h 64388"/>
                <a:gd name="connsiteX3" fmla="*/ 0 w 5804058"/>
                <a:gd name="connsiteY3" fmla="*/ 64389 h 64388"/>
              </a:gdLst>
              <a:ahLst/>
              <a:cxnLst>
                <a:cxn ang="0">
                  <a:pos x="connsiteX0" y="connsiteY0"/>
                </a:cxn>
                <a:cxn ang="0">
                  <a:pos x="connsiteX1" y="connsiteY1"/>
                </a:cxn>
                <a:cxn ang="0">
                  <a:pos x="connsiteX2" y="connsiteY2"/>
                </a:cxn>
                <a:cxn ang="0">
                  <a:pos x="connsiteX3" y="connsiteY3"/>
                </a:cxn>
              </a:cxnLst>
              <a:rect l="l" t="t" r="r" b="b"/>
              <a:pathLst>
                <a:path w="5804058" h="64388">
                  <a:moveTo>
                    <a:pt x="0" y="0"/>
                  </a:moveTo>
                  <a:lnTo>
                    <a:pt x="5804059" y="0"/>
                  </a:lnTo>
                  <a:lnTo>
                    <a:pt x="5804059" y="64389"/>
                  </a:lnTo>
                  <a:lnTo>
                    <a:pt x="0" y="64389"/>
                  </a:lnTo>
                  <a:close/>
                </a:path>
              </a:pathLst>
            </a:custGeom>
            <a:solidFill>
              <a:srgbClr val="44505E"/>
            </a:solidFill>
            <a:ln w="9525" cap="flat">
              <a:noFill/>
              <a:prstDash val="solid"/>
              <a:miter/>
            </a:ln>
          </p:spPr>
          <p:txBody>
            <a:bodyPr rtlCol="0" anchor="ctr"/>
            <a:lstStyle/>
            <a:p>
              <a:endParaRPr lang="pt-BR" noProof="0"/>
            </a:p>
          </p:txBody>
        </p:sp>
        <p:sp>
          <p:nvSpPr>
            <p:cNvPr id="43" name="Freeform: Shape 55">
              <a:extLst>
                <a:ext uri="{FF2B5EF4-FFF2-40B4-BE49-F238E27FC236}">
                  <a16:creationId xmlns:a16="http://schemas.microsoft.com/office/drawing/2014/main" id="{F148DD7B-3C1A-00B2-1C02-9A7FEF46F054}"/>
                </a:ext>
              </a:extLst>
            </p:cNvPr>
            <p:cNvSpPr/>
            <p:nvPr/>
          </p:nvSpPr>
          <p:spPr>
            <a:xfrm>
              <a:off x="6902633" y="268821"/>
              <a:ext cx="273418" cy="601046"/>
            </a:xfrm>
            <a:custGeom>
              <a:avLst/>
              <a:gdLst>
                <a:gd name="connsiteX0" fmla="*/ 0 w 1087659"/>
                <a:gd name="connsiteY0" fmla="*/ 210979 h 2390965"/>
                <a:gd name="connsiteX1" fmla="*/ 125063 w 1087659"/>
                <a:gd name="connsiteY1" fmla="*/ 103442 h 2390965"/>
                <a:gd name="connsiteX2" fmla="*/ 250031 w 1087659"/>
                <a:gd name="connsiteY2" fmla="*/ 210979 h 2390965"/>
                <a:gd name="connsiteX3" fmla="*/ 250031 w 1087659"/>
                <a:gd name="connsiteY3" fmla="*/ 1922717 h 2390965"/>
                <a:gd name="connsiteX4" fmla="*/ 249841 w 1087659"/>
                <a:gd name="connsiteY4" fmla="*/ 1922717 h 2390965"/>
                <a:gd name="connsiteX5" fmla="*/ 249841 w 1087659"/>
                <a:gd name="connsiteY5" fmla="*/ 1925955 h 2390965"/>
                <a:gd name="connsiteX6" fmla="*/ 333756 w 1087659"/>
                <a:gd name="connsiteY6" fmla="*/ 2100263 h 2390965"/>
                <a:gd name="connsiteX7" fmla="*/ 335566 w 1087659"/>
                <a:gd name="connsiteY7" fmla="*/ 2101787 h 2390965"/>
                <a:gd name="connsiteX8" fmla="*/ 336042 w 1087659"/>
                <a:gd name="connsiteY8" fmla="*/ 2102168 h 2390965"/>
                <a:gd name="connsiteX9" fmla="*/ 543877 w 1087659"/>
                <a:gd name="connsiteY9" fmla="*/ 2175891 h 2390965"/>
                <a:gd name="connsiteX10" fmla="*/ 749998 w 1087659"/>
                <a:gd name="connsiteY10" fmla="*/ 2103692 h 2390965"/>
                <a:gd name="connsiteX11" fmla="*/ 751713 w 1087659"/>
                <a:gd name="connsiteY11" fmla="*/ 2102168 h 2390965"/>
                <a:gd name="connsiteX12" fmla="*/ 752189 w 1087659"/>
                <a:gd name="connsiteY12" fmla="*/ 2101787 h 2390965"/>
                <a:gd name="connsiteX13" fmla="*/ 837819 w 1087659"/>
                <a:gd name="connsiteY13" fmla="*/ 1922812 h 2390965"/>
                <a:gd name="connsiteX14" fmla="*/ 837819 w 1087659"/>
                <a:gd name="connsiteY14" fmla="*/ 107537 h 2390965"/>
                <a:gd name="connsiteX15" fmla="*/ 962787 w 1087659"/>
                <a:gd name="connsiteY15" fmla="*/ 0 h 2390965"/>
                <a:gd name="connsiteX16" fmla="*/ 1087660 w 1087659"/>
                <a:gd name="connsiteY16" fmla="*/ 107537 h 2390965"/>
                <a:gd name="connsiteX17" fmla="*/ 1087660 w 1087659"/>
                <a:gd name="connsiteY17" fmla="*/ 1922621 h 2390965"/>
                <a:gd name="connsiteX18" fmla="*/ 928307 w 1087659"/>
                <a:gd name="connsiteY18" fmla="*/ 2253234 h 2390965"/>
                <a:gd name="connsiteX19" fmla="*/ 928116 w 1087659"/>
                <a:gd name="connsiteY19" fmla="*/ 2253424 h 2390965"/>
                <a:gd name="connsiteX20" fmla="*/ 927830 w 1087659"/>
                <a:gd name="connsiteY20" fmla="*/ 2253710 h 2390965"/>
                <a:gd name="connsiteX21" fmla="*/ 927354 w 1087659"/>
                <a:gd name="connsiteY21" fmla="*/ 2254187 h 2390965"/>
                <a:gd name="connsiteX22" fmla="*/ 543783 w 1087659"/>
                <a:gd name="connsiteY22" fmla="*/ 2390966 h 2390965"/>
                <a:gd name="connsiteX23" fmla="*/ 159734 w 1087659"/>
                <a:gd name="connsiteY23" fmla="*/ 2253710 h 2390965"/>
                <a:gd name="connsiteX24" fmla="*/ 159734 w 1087659"/>
                <a:gd name="connsiteY24" fmla="*/ 2253424 h 2390965"/>
                <a:gd name="connsiteX25" fmla="*/ 159353 w 1087659"/>
                <a:gd name="connsiteY25" fmla="*/ 2253234 h 2390965"/>
                <a:gd name="connsiteX26" fmla="*/ 158877 w 1087659"/>
                <a:gd name="connsiteY26" fmla="*/ 2252948 h 2390965"/>
                <a:gd name="connsiteX27" fmla="*/ 0 w 1087659"/>
                <a:gd name="connsiteY27" fmla="*/ 1922621 h 2390965"/>
                <a:gd name="connsiteX28" fmla="*/ 0 w 1087659"/>
                <a:gd name="connsiteY28" fmla="*/ 1922621 h 2390965"/>
                <a:gd name="connsiteX29" fmla="*/ 0 w 1087659"/>
                <a:gd name="connsiteY29" fmla="*/ 210979 h 239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87659" h="2390965">
                  <a:moveTo>
                    <a:pt x="0" y="210979"/>
                  </a:moveTo>
                  <a:cubicBezTo>
                    <a:pt x="0" y="151638"/>
                    <a:pt x="56007" y="103442"/>
                    <a:pt x="125063" y="103442"/>
                  </a:cubicBezTo>
                  <a:cubicBezTo>
                    <a:pt x="194120" y="103442"/>
                    <a:pt x="250031" y="151638"/>
                    <a:pt x="250031" y="210979"/>
                  </a:cubicBezTo>
                  <a:lnTo>
                    <a:pt x="250031" y="1922717"/>
                  </a:lnTo>
                  <a:lnTo>
                    <a:pt x="249841" y="1922717"/>
                  </a:lnTo>
                  <a:lnTo>
                    <a:pt x="249841" y="1925955"/>
                  </a:lnTo>
                  <a:cubicBezTo>
                    <a:pt x="250793" y="1994059"/>
                    <a:pt x="282797" y="2055495"/>
                    <a:pt x="333756" y="2100263"/>
                  </a:cubicBezTo>
                  <a:lnTo>
                    <a:pt x="335566" y="2101787"/>
                  </a:lnTo>
                  <a:lnTo>
                    <a:pt x="336042" y="2102168"/>
                  </a:lnTo>
                  <a:cubicBezTo>
                    <a:pt x="388906" y="2147697"/>
                    <a:pt x="462343" y="2175891"/>
                    <a:pt x="543877" y="2175891"/>
                  </a:cubicBezTo>
                  <a:cubicBezTo>
                    <a:pt x="625411" y="2175891"/>
                    <a:pt x="697420" y="2148364"/>
                    <a:pt x="749998" y="2103692"/>
                  </a:cubicBezTo>
                  <a:lnTo>
                    <a:pt x="751713" y="2102168"/>
                  </a:lnTo>
                  <a:lnTo>
                    <a:pt x="752189" y="2101787"/>
                  </a:lnTo>
                  <a:cubicBezTo>
                    <a:pt x="805053" y="2056352"/>
                    <a:pt x="837819" y="1993011"/>
                    <a:pt x="837819" y="1922812"/>
                  </a:cubicBezTo>
                  <a:lnTo>
                    <a:pt x="837819" y="107537"/>
                  </a:lnTo>
                  <a:cubicBezTo>
                    <a:pt x="837819" y="48196"/>
                    <a:pt x="893731" y="0"/>
                    <a:pt x="962787" y="0"/>
                  </a:cubicBezTo>
                  <a:cubicBezTo>
                    <a:pt x="1031843" y="0"/>
                    <a:pt x="1087660" y="48196"/>
                    <a:pt x="1087660" y="107537"/>
                  </a:cubicBezTo>
                  <a:lnTo>
                    <a:pt x="1087660" y="1922621"/>
                  </a:lnTo>
                  <a:cubicBezTo>
                    <a:pt x="1087660" y="2051399"/>
                    <a:pt x="1026795" y="2168366"/>
                    <a:pt x="928307" y="2253234"/>
                  </a:cubicBezTo>
                  <a:lnTo>
                    <a:pt x="928116" y="2253424"/>
                  </a:lnTo>
                  <a:lnTo>
                    <a:pt x="927830" y="2253710"/>
                  </a:lnTo>
                  <a:lnTo>
                    <a:pt x="927354" y="2254187"/>
                  </a:lnTo>
                  <a:cubicBezTo>
                    <a:pt x="828770" y="2338673"/>
                    <a:pt x="693134" y="2390966"/>
                    <a:pt x="543783" y="2390966"/>
                  </a:cubicBezTo>
                  <a:cubicBezTo>
                    <a:pt x="394430" y="2390966"/>
                    <a:pt x="258413" y="2338483"/>
                    <a:pt x="159734" y="2253710"/>
                  </a:cubicBezTo>
                  <a:lnTo>
                    <a:pt x="159734" y="2253424"/>
                  </a:lnTo>
                  <a:cubicBezTo>
                    <a:pt x="159734" y="2253424"/>
                    <a:pt x="159353" y="2253234"/>
                    <a:pt x="159353" y="2253234"/>
                  </a:cubicBezTo>
                  <a:lnTo>
                    <a:pt x="158877" y="2252948"/>
                  </a:lnTo>
                  <a:cubicBezTo>
                    <a:pt x="60770" y="2167985"/>
                    <a:pt x="0" y="2051304"/>
                    <a:pt x="0" y="1922621"/>
                  </a:cubicBezTo>
                  <a:lnTo>
                    <a:pt x="0" y="1922621"/>
                  </a:lnTo>
                  <a:lnTo>
                    <a:pt x="0" y="210979"/>
                  </a:lnTo>
                  <a:close/>
                </a:path>
              </a:pathLst>
            </a:custGeom>
            <a:solidFill>
              <a:srgbClr val="8FC640"/>
            </a:solidFill>
            <a:ln w="9525" cap="flat">
              <a:noFill/>
              <a:prstDash val="solid"/>
              <a:miter/>
            </a:ln>
          </p:spPr>
          <p:txBody>
            <a:bodyPr rtlCol="0" anchor="ctr"/>
            <a:lstStyle/>
            <a:p>
              <a:endParaRPr lang="pt-BR" noProof="0"/>
            </a:p>
          </p:txBody>
        </p:sp>
        <p:sp>
          <p:nvSpPr>
            <p:cNvPr id="44" name="Freeform: Shape 56">
              <a:extLst>
                <a:ext uri="{FF2B5EF4-FFF2-40B4-BE49-F238E27FC236}">
                  <a16:creationId xmlns:a16="http://schemas.microsoft.com/office/drawing/2014/main" id="{18FA413E-A1AC-CEEB-F3D7-7A1034C84C9E}"/>
                </a:ext>
              </a:extLst>
            </p:cNvPr>
            <p:cNvSpPr/>
            <p:nvPr/>
          </p:nvSpPr>
          <p:spPr>
            <a:xfrm>
              <a:off x="7013590" y="213965"/>
              <a:ext cx="54018" cy="562280"/>
            </a:xfrm>
            <a:custGeom>
              <a:avLst/>
              <a:gdLst>
                <a:gd name="connsiteX0" fmla="*/ 0 w 214883"/>
                <a:gd name="connsiteY0" fmla="*/ 107537 h 2236755"/>
                <a:gd name="connsiteX1" fmla="*/ 107537 w 214883"/>
                <a:gd name="connsiteY1" fmla="*/ 0 h 2236755"/>
                <a:gd name="connsiteX2" fmla="*/ 214884 w 214883"/>
                <a:gd name="connsiteY2" fmla="*/ 107537 h 2236755"/>
                <a:gd name="connsiteX3" fmla="*/ 214884 w 214883"/>
                <a:gd name="connsiteY3" fmla="*/ 2129219 h 2236755"/>
                <a:gd name="connsiteX4" fmla="*/ 107537 w 214883"/>
                <a:gd name="connsiteY4" fmla="*/ 2236756 h 2236755"/>
                <a:gd name="connsiteX5" fmla="*/ 0 w 214883"/>
                <a:gd name="connsiteY5" fmla="*/ 2129219 h 2236755"/>
                <a:gd name="connsiteX6" fmla="*/ 0 w 214883"/>
                <a:gd name="connsiteY6" fmla="*/ 107537 h 223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 h="2236755">
                  <a:moveTo>
                    <a:pt x="0" y="107537"/>
                  </a:moveTo>
                  <a:cubicBezTo>
                    <a:pt x="0" y="48197"/>
                    <a:pt x="48101" y="0"/>
                    <a:pt x="107537" y="0"/>
                  </a:cubicBezTo>
                  <a:cubicBezTo>
                    <a:pt x="166973" y="0"/>
                    <a:pt x="214884" y="48197"/>
                    <a:pt x="214884" y="107537"/>
                  </a:cubicBezTo>
                  <a:lnTo>
                    <a:pt x="214884" y="2129219"/>
                  </a:lnTo>
                  <a:cubicBezTo>
                    <a:pt x="214884" y="2188559"/>
                    <a:pt x="166782" y="2236756"/>
                    <a:pt x="107537" y="2236756"/>
                  </a:cubicBezTo>
                  <a:cubicBezTo>
                    <a:pt x="48291" y="2236756"/>
                    <a:pt x="0" y="2188559"/>
                    <a:pt x="0" y="2129219"/>
                  </a:cubicBezTo>
                  <a:lnTo>
                    <a:pt x="0" y="107537"/>
                  </a:lnTo>
                  <a:close/>
                </a:path>
              </a:pathLst>
            </a:custGeom>
            <a:solidFill>
              <a:srgbClr val="3698B0"/>
            </a:solidFill>
            <a:ln w="9525" cap="flat">
              <a:noFill/>
              <a:prstDash val="solid"/>
              <a:miter/>
            </a:ln>
          </p:spPr>
          <p:txBody>
            <a:bodyPr rtlCol="0" anchor="ctr"/>
            <a:lstStyle/>
            <a:p>
              <a:endParaRPr lang="pt-BR" noProof="0"/>
            </a:p>
          </p:txBody>
        </p:sp>
        <p:sp>
          <p:nvSpPr>
            <p:cNvPr id="45" name="Freeform: Shape 57">
              <a:extLst>
                <a:ext uri="{FF2B5EF4-FFF2-40B4-BE49-F238E27FC236}">
                  <a16:creationId xmlns:a16="http://schemas.microsoft.com/office/drawing/2014/main" id="{F841D9F9-BFD3-4633-5739-327F1F90D12C}"/>
                </a:ext>
              </a:extLst>
            </p:cNvPr>
            <p:cNvSpPr/>
            <p:nvPr/>
          </p:nvSpPr>
          <p:spPr>
            <a:xfrm>
              <a:off x="6795770" y="332991"/>
              <a:ext cx="485994" cy="649437"/>
            </a:xfrm>
            <a:custGeom>
              <a:avLst/>
              <a:gdLst>
                <a:gd name="connsiteX0" fmla="*/ 1933290 w 1933289"/>
                <a:gd name="connsiteY0" fmla="*/ 138017 h 2583465"/>
                <a:gd name="connsiteX1" fmla="*/ 1933290 w 1933289"/>
                <a:gd name="connsiteY1" fmla="*/ 1734122 h 2583465"/>
                <a:gd name="connsiteX2" fmla="*/ 1796606 w 1933289"/>
                <a:gd name="connsiteY2" fmla="*/ 2229136 h 2583465"/>
                <a:gd name="connsiteX3" fmla="*/ 977742 w 1933289"/>
                <a:gd name="connsiteY3" fmla="*/ 2583466 h 2583465"/>
                <a:gd name="connsiteX4" fmla="*/ 955357 w 1933289"/>
                <a:gd name="connsiteY4" fmla="*/ 2583466 h 2583465"/>
                <a:gd name="connsiteX5" fmla="*/ 136589 w 1933289"/>
                <a:gd name="connsiteY5" fmla="*/ 2229136 h 2583465"/>
                <a:gd name="connsiteX6" fmla="*/ 0 w 1933289"/>
                <a:gd name="connsiteY6" fmla="*/ 1734122 h 2583465"/>
                <a:gd name="connsiteX7" fmla="*/ 0 w 1933289"/>
                <a:gd name="connsiteY7" fmla="*/ 794194 h 2583465"/>
                <a:gd name="connsiteX8" fmla="*/ 137827 w 1933289"/>
                <a:gd name="connsiteY8" fmla="*/ 656273 h 2583465"/>
                <a:gd name="connsiteX9" fmla="*/ 275463 w 1933289"/>
                <a:gd name="connsiteY9" fmla="*/ 794194 h 2583465"/>
                <a:gd name="connsiteX10" fmla="*/ 275463 w 1933289"/>
                <a:gd name="connsiteY10" fmla="*/ 1734122 h 2583465"/>
                <a:gd name="connsiteX11" fmla="*/ 354235 w 1933289"/>
                <a:gd name="connsiteY11" fmla="*/ 2059686 h 2583465"/>
                <a:gd name="connsiteX12" fmla="*/ 958215 w 1933289"/>
                <a:gd name="connsiteY12" fmla="*/ 2307527 h 2583465"/>
                <a:gd name="connsiteX13" fmla="*/ 974789 w 1933289"/>
                <a:gd name="connsiteY13" fmla="*/ 2307527 h 2583465"/>
                <a:gd name="connsiteX14" fmla="*/ 1578959 w 1933289"/>
                <a:gd name="connsiteY14" fmla="*/ 2059686 h 2583465"/>
                <a:gd name="connsiteX15" fmla="*/ 1657636 w 1933289"/>
                <a:gd name="connsiteY15" fmla="*/ 1734122 h 2583465"/>
                <a:gd name="connsiteX16" fmla="*/ 1657636 w 1933289"/>
                <a:gd name="connsiteY16" fmla="*/ 138017 h 2583465"/>
                <a:gd name="connsiteX17" fmla="*/ 1795463 w 1933289"/>
                <a:gd name="connsiteY17" fmla="*/ 0 h 2583465"/>
                <a:gd name="connsiteX18" fmla="*/ 1933290 w 1933289"/>
                <a:gd name="connsiteY18" fmla="*/ 138017 h 25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3289" h="2583465">
                  <a:moveTo>
                    <a:pt x="1933290" y="138017"/>
                  </a:moveTo>
                  <a:lnTo>
                    <a:pt x="1933290" y="1734122"/>
                  </a:lnTo>
                  <a:cubicBezTo>
                    <a:pt x="1933290" y="1870996"/>
                    <a:pt x="1919002" y="2071211"/>
                    <a:pt x="1796606" y="2229136"/>
                  </a:cubicBezTo>
                  <a:cubicBezTo>
                    <a:pt x="1634395" y="2438305"/>
                    <a:pt x="1432084" y="2578703"/>
                    <a:pt x="977742" y="2583466"/>
                  </a:cubicBezTo>
                  <a:lnTo>
                    <a:pt x="955357" y="2583466"/>
                  </a:lnTo>
                  <a:cubicBezTo>
                    <a:pt x="501015" y="2578703"/>
                    <a:pt x="298704" y="2438400"/>
                    <a:pt x="136589" y="2229136"/>
                  </a:cubicBezTo>
                  <a:cubicBezTo>
                    <a:pt x="14192" y="2071211"/>
                    <a:pt x="0" y="1870996"/>
                    <a:pt x="0" y="1734122"/>
                  </a:cubicBezTo>
                  <a:lnTo>
                    <a:pt x="0" y="794194"/>
                  </a:lnTo>
                  <a:cubicBezTo>
                    <a:pt x="0" y="718185"/>
                    <a:pt x="61436" y="656273"/>
                    <a:pt x="137827" y="656273"/>
                  </a:cubicBezTo>
                  <a:cubicBezTo>
                    <a:pt x="214217" y="656273"/>
                    <a:pt x="275463" y="718185"/>
                    <a:pt x="275463" y="794194"/>
                  </a:cubicBezTo>
                  <a:lnTo>
                    <a:pt x="275463" y="1734122"/>
                  </a:lnTo>
                  <a:cubicBezTo>
                    <a:pt x="275463" y="1887188"/>
                    <a:pt x="300324" y="1990630"/>
                    <a:pt x="354235" y="2059686"/>
                  </a:cubicBezTo>
                  <a:cubicBezTo>
                    <a:pt x="476250" y="2217611"/>
                    <a:pt x="609791" y="2304479"/>
                    <a:pt x="958215" y="2307527"/>
                  </a:cubicBezTo>
                  <a:lnTo>
                    <a:pt x="974789" y="2307527"/>
                  </a:lnTo>
                  <a:cubicBezTo>
                    <a:pt x="1323499" y="2304479"/>
                    <a:pt x="1456563" y="2217611"/>
                    <a:pt x="1578959" y="2059686"/>
                  </a:cubicBezTo>
                  <a:cubicBezTo>
                    <a:pt x="1632490" y="1990630"/>
                    <a:pt x="1657636" y="1887093"/>
                    <a:pt x="1657636" y="1734122"/>
                  </a:cubicBezTo>
                  <a:lnTo>
                    <a:pt x="1657636" y="138017"/>
                  </a:lnTo>
                  <a:cubicBezTo>
                    <a:pt x="1657636" y="61531"/>
                    <a:pt x="1719453" y="0"/>
                    <a:pt x="1795463" y="0"/>
                  </a:cubicBezTo>
                  <a:cubicBezTo>
                    <a:pt x="1871472" y="0"/>
                    <a:pt x="1933290" y="61531"/>
                    <a:pt x="1933290" y="138017"/>
                  </a:cubicBezTo>
                </a:path>
              </a:pathLst>
            </a:custGeom>
            <a:solidFill>
              <a:srgbClr val="49306E"/>
            </a:solidFill>
            <a:ln w="9525" cap="flat">
              <a:noFill/>
              <a:prstDash val="solid"/>
              <a:miter/>
            </a:ln>
          </p:spPr>
          <p:txBody>
            <a:bodyPr rtlCol="0" anchor="ctr"/>
            <a:lstStyle/>
            <a:p>
              <a:endParaRPr lang="pt-BR" noProof="0"/>
            </a:p>
          </p:txBody>
        </p:sp>
      </p:grpSp>
      <p:sp>
        <p:nvSpPr>
          <p:cNvPr id="46" name="Título 1">
            <a:extLst>
              <a:ext uri="{FF2B5EF4-FFF2-40B4-BE49-F238E27FC236}">
                <a16:creationId xmlns:a16="http://schemas.microsoft.com/office/drawing/2014/main" id="{C71521D6-3E4D-3706-60CE-28BDB03F3F23}"/>
              </a:ext>
            </a:extLst>
          </p:cNvPr>
          <p:cNvSpPr txBox="1">
            <a:spLocks/>
          </p:cNvSpPr>
          <p:nvPr/>
        </p:nvSpPr>
        <p:spPr>
          <a:xfrm>
            <a:off x="3861210" y="3113384"/>
            <a:ext cx="3578939" cy="631231"/>
          </a:xfrm>
          <a:prstGeom prst="rect">
            <a:avLst/>
          </a:prstGeom>
        </p:spPr>
        <p:txBody>
          <a:bodyPr>
            <a:normAutofit fontScale="8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pt-BR" sz="5800" b="1">
                <a:solidFill>
                  <a:srgbClr val="3299B1"/>
                </a:solidFill>
                <a:latin typeface="Agency FB" panose="020B0503020202020204" pitchFamily="34" charset="0"/>
              </a:rPr>
              <a:t>Dúvidas</a:t>
            </a:r>
            <a:endParaRPr lang="pt-BR" sz="3600" b="1">
              <a:solidFill>
                <a:srgbClr val="3299B1"/>
              </a:solidFill>
              <a:latin typeface="Agency FB" panose="020B0503020202020204" pitchFamily="34" charset="0"/>
            </a:endParaRPr>
          </a:p>
        </p:txBody>
      </p:sp>
    </p:spTree>
    <p:extLst>
      <p:ext uri="{BB962C8B-B14F-4D97-AF65-F5344CB8AC3E}">
        <p14:creationId xmlns:p14="http://schemas.microsoft.com/office/powerpoint/2010/main" val="40044375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666F98-26DD-5C5E-7C2F-96B0C6DE9C8C}"/>
            </a:ext>
          </a:extLst>
        </p:cNvPr>
        <p:cNvGrpSpPr/>
        <p:nvPr/>
      </p:nvGrpSpPr>
      <p:grpSpPr>
        <a:xfrm>
          <a:off x="0" y="0"/>
          <a:ext cx="0" cy="0"/>
          <a:chOff x="0" y="0"/>
          <a:chExt cx="0" cy="0"/>
        </a:xfrm>
      </p:grpSpPr>
      <p:sp>
        <p:nvSpPr>
          <p:cNvPr id="1041" name="Retângulo 1040">
            <a:extLst>
              <a:ext uri="{FF2B5EF4-FFF2-40B4-BE49-F238E27FC236}">
                <a16:creationId xmlns:a16="http://schemas.microsoft.com/office/drawing/2014/main" id="{D0E5C825-3087-6145-2C48-7B01CA543D9F}"/>
              </a:ext>
            </a:extLst>
          </p:cNvPr>
          <p:cNvSpPr/>
          <p:nvPr/>
        </p:nvSpPr>
        <p:spPr>
          <a:xfrm>
            <a:off x="1" y="1163740"/>
            <a:ext cx="12192000" cy="495862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graphicFrame>
        <p:nvGraphicFramePr>
          <p:cNvPr id="12" name="think-cell data - do not delete" hidden="1">
            <a:extLst>
              <a:ext uri="{FF2B5EF4-FFF2-40B4-BE49-F238E27FC236}">
                <a16:creationId xmlns:a16="http://schemas.microsoft.com/office/drawing/2014/main" id="{A62D5B49-1C89-A6BF-69CF-A7278D144B0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8" progId="TCLayout.ActiveDocument.1">
                  <p:embed/>
                </p:oleObj>
              </mc:Choice>
              <mc:Fallback>
                <p:oleObj name="think-cell Slide" r:id="rId4" imgW="306" imgH="308" progId="TCLayout.ActiveDocument.1">
                  <p:embed/>
                  <p:pic>
                    <p:nvPicPr>
                      <p:cNvPr id="12" name="think-cell data - do not delete" hidden="1">
                        <a:extLst>
                          <a:ext uri="{FF2B5EF4-FFF2-40B4-BE49-F238E27FC236}">
                            <a16:creationId xmlns:a16="http://schemas.microsoft.com/office/drawing/2014/main" id="{A62D5B49-1C89-A6BF-69CF-A7278D144B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3" name="Group 12">
            <a:extLst>
              <a:ext uri="{FF2B5EF4-FFF2-40B4-BE49-F238E27FC236}">
                <a16:creationId xmlns:a16="http://schemas.microsoft.com/office/drawing/2014/main" id="{ECF470D8-005B-13CD-4532-7F8D0DD1C10D}"/>
              </a:ext>
            </a:extLst>
          </p:cNvPr>
          <p:cNvGrpSpPr/>
          <p:nvPr/>
        </p:nvGrpSpPr>
        <p:grpSpPr>
          <a:xfrm>
            <a:off x="304800" y="249455"/>
            <a:ext cx="1193800" cy="462985"/>
            <a:chOff x="5245100" y="211355"/>
            <a:chExt cx="2036664" cy="789869"/>
          </a:xfrm>
        </p:grpSpPr>
        <p:sp>
          <p:nvSpPr>
            <p:cNvPr id="4" name="Freeform: Shape 13">
              <a:extLst>
                <a:ext uri="{FF2B5EF4-FFF2-40B4-BE49-F238E27FC236}">
                  <a16:creationId xmlns:a16="http://schemas.microsoft.com/office/drawing/2014/main" id="{E56391DF-2233-CE44-4EAD-D659DEE8A88B}"/>
                </a:ext>
              </a:extLst>
            </p:cNvPr>
            <p:cNvSpPr/>
            <p:nvPr/>
          </p:nvSpPr>
          <p:spPr>
            <a:xfrm>
              <a:off x="5245100" y="308520"/>
              <a:ext cx="247894" cy="322815"/>
            </a:xfrm>
            <a:custGeom>
              <a:avLst/>
              <a:gdLst>
                <a:gd name="connsiteX0" fmla="*/ 529590 w 986123"/>
                <a:gd name="connsiteY0" fmla="*/ 1284160 h 1284160"/>
                <a:gd name="connsiteX1" fmla="*/ 249650 w 986123"/>
                <a:gd name="connsiteY1" fmla="*/ 1235107 h 1284160"/>
                <a:gd name="connsiteX2" fmla="*/ 0 w 986123"/>
                <a:gd name="connsiteY2" fmla="*/ 1084421 h 1284160"/>
                <a:gd name="connsiteX3" fmla="*/ 162306 w 986123"/>
                <a:gd name="connsiteY3" fmla="*/ 890016 h 1284160"/>
                <a:gd name="connsiteX4" fmla="*/ 337947 w 986123"/>
                <a:gd name="connsiteY4" fmla="*/ 1000601 h 1284160"/>
                <a:gd name="connsiteX5" fmla="*/ 535019 w 986123"/>
                <a:gd name="connsiteY5" fmla="*/ 1041654 h 1284160"/>
                <a:gd name="connsiteX6" fmla="*/ 667893 w 986123"/>
                <a:gd name="connsiteY6" fmla="*/ 1010412 h 1284160"/>
                <a:gd name="connsiteX7" fmla="*/ 715137 w 986123"/>
                <a:gd name="connsiteY7" fmla="*/ 923925 h 1284160"/>
                <a:gd name="connsiteX8" fmla="*/ 715137 w 986123"/>
                <a:gd name="connsiteY8" fmla="*/ 920305 h 1284160"/>
                <a:gd name="connsiteX9" fmla="*/ 705326 w 986123"/>
                <a:gd name="connsiteY9" fmla="*/ 873062 h 1284160"/>
                <a:gd name="connsiteX10" fmla="*/ 667798 w 986123"/>
                <a:gd name="connsiteY10" fmla="*/ 834676 h 1284160"/>
                <a:gd name="connsiteX11" fmla="*/ 590931 w 986123"/>
                <a:gd name="connsiteY11" fmla="*/ 798957 h 1284160"/>
                <a:gd name="connsiteX12" fmla="*/ 463106 w 986123"/>
                <a:gd name="connsiteY12" fmla="*/ 761524 h 1284160"/>
                <a:gd name="connsiteX13" fmla="*/ 291465 w 986123"/>
                <a:gd name="connsiteY13" fmla="*/ 709803 h 1284160"/>
                <a:gd name="connsiteX14" fmla="*/ 160973 w 986123"/>
                <a:gd name="connsiteY14" fmla="*/ 639318 h 1284160"/>
                <a:gd name="connsiteX15" fmla="*/ 77819 w 986123"/>
                <a:gd name="connsiteY15" fmla="*/ 535019 h 1284160"/>
                <a:gd name="connsiteX16" fmla="*/ 48292 w 986123"/>
                <a:gd name="connsiteY16" fmla="*/ 379857 h 1284160"/>
                <a:gd name="connsiteX17" fmla="*/ 48292 w 986123"/>
                <a:gd name="connsiteY17" fmla="*/ 376238 h 1284160"/>
                <a:gd name="connsiteX18" fmla="*/ 80201 w 986123"/>
                <a:gd name="connsiteY18" fmla="*/ 222028 h 1284160"/>
                <a:gd name="connsiteX19" fmla="*/ 169640 w 986123"/>
                <a:gd name="connsiteY19" fmla="*/ 103441 h 1284160"/>
                <a:gd name="connsiteX20" fmla="*/ 307181 w 986123"/>
                <a:gd name="connsiteY20" fmla="*/ 26765 h 1284160"/>
                <a:gd name="connsiteX21" fmla="*/ 483394 w 986123"/>
                <a:gd name="connsiteY21" fmla="*/ 0 h 1284160"/>
                <a:gd name="connsiteX22" fmla="*/ 735711 w 986123"/>
                <a:gd name="connsiteY22" fmla="*/ 41053 h 1284160"/>
                <a:gd name="connsiteX23" fmla="*/ 946976 w 986123"/>
                <a:gd name="connsiteY23" fmla="*/ 158687 h 1284160"/>
                <a:gd name="connsiteX24" fmla="*/ 804291 w 986123"/>
                <a:gd name="connsiteY24" fmla="*/ 365569 h 1284160"/>
                <a:gd name="connsiteX25" fmla="*/ 640271 w 986123"/>
                <a:gd name="connsiteY25" fmla="*/ 275558 h 1284160"/>
                <a:gd name="connsiteX26" fmla="*/ 479774 w 986123"/>
                <a:gd name="connsiteY26" fmla="*/ 242602 h 1284160"/>
                <a:gd name="connsiteX27" fmla="*/ 359378 w 986123"/>
                <a:gd name="connsiteY27" fmla="*/ 273844 h 1284160"/>
                <a:gd name="connsiteX28" fmla="*/ 319278 w 986123"/>
                <a:gd name="connsiteY28" fmla="*/ 351377 h 1284160"/>
                <a:gd name="connsiteX29" fmla="*/ 319278 w 986123"/>
                <a:gd name="connsiteY29" fmla="*/ 354997 h 1284160"/>
                <a:gd name="connsiteX30" fmla="*/ 330899 w 986123"/>
                <a:gd name="connsiteY30" fmla="*/ 407575 h 1284160"/>
                <a:gd name="connsiteX31" fmla="*/ 372904 w 986123"/>
                <a:gd name="connsiteY31" fmla="*/ 447675 h 1284160"/>
                <a:gd name="connsiteX32" fmla="*/ 456057 w 986123"/>
                <a:gd name="connsiteY32" fmla="*/ 481489 h 1284160"/>
                <a:gd name="connsiteX33" fmla="*/ 589217 w 986123"/>
                <a:gd name="connsiteY33" fmla="*/ 518922 h 1284160"/>
                <a:gd name="connsiteX34" fmla="*/ 758190 w 986123"/>
                <a:gd name="connsiteY34" fmla="*/ 575120 h 1284160"/>
                <a:gd name="connsiteX35" fmla="*/ 883349 w 986123"/>
                <a:gd name="connsiteY35" fmla="*/ 649986 h 1284160"/>
                <a:gd name="connsiteX36" fmla="*/ 960215 w 986123"/>
                <a:gd name="connsiteY36" fmla="*/ 752570 h 1284160"/>
                <a:gd name="connsiteX37" fmla="*/ 986123 w 986123"/>
                <a:gd name="connsiteY37" fmla="*/ 893445 h 1284160"/>
                <a:gd name="connsiteX38" fmla="*/ 986123 w 986123"/>
                <a:gd name="connsiteY38" fmla="*/ 897064 h 1284160"/>
                <a:gd name="connsiteX39" fmla="*/ 952500 w 986123"/>
                <a:gd name="connsiteY39" fmla="*/ 1062038 h 1284160"/>
                <a:gd name="connsiteX40" fmla="*/ 858584 w 986123"/>
                <a:gd name="connsiteY40" fmla="*/ 1183291 h 1284160"/>
                <a:gd name="connsiteX41" fmla="*/ 714851 w 986123"/>
                <a:gd name="connsiteY41" fmla="*/ 1258157 h 1284160"/>
                <a:gd name="connsiteX42" fmla="*/ 529685 w 986123"/>
                <a:gd name="connsiteY42" fmla="*/ 1284065 h 128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6123" h="1284160">
                  <a:moveTo>
                    <a:pt x="529590" y="1284160"/>
                  </a:moveTo>
                  <a:cubicBezTo>
                    <a:pt x="434435" y="1284160"/>
                    <a:pt x="341186" y="1267777"/>
                    <a:pt x="249650" y="1235107"/>
                  </a:cubicBezTo>
                  <a:cubicBezTo>
                    <a:pt x="158115" y="1202436"/>
                    <a:pt x="74867" y="1152239"/>
                    <a:pt x="0" y="1084421"/>
                  </a:cubicBezTo>
                  <a:lnTo>
                    <a:pt x="162306" y="890016"/>
                  </a:lnTo>
                  <a:cubicBezTo>
                    <a:pt x="219361" y="936403"/>
                    <a:pt x="277844" y="973264"/>
                    <a:pt x="337947" y="1000601"/>
                  </a:cubicBezTo>
                  <a:cubicBezTo>
                    <a:pt x="397955" y="1027938"/>
                    <a:pt x="463677" y="1041654"/>
                    <a:pt x="535019" y="1041654"/>
                  </a:cubicBezTo>
                  <a:cubicBezTo>
                    <a:pt x="592074" y="1041654"/>
                    <a:pt x="636365" y="1031272"/>
                    <a:pt x="667893" y="1010412"/>
                  </a:cubicBezTo>
                  <a:cubicBezTo>
                    <a:pt x="699421" y="989647"/>
                    <a:pt x="715137" y="960787"/>
                    <a:pt x="715137" y="923925"/>
                  </a:cubicBezTo>
                  <a:lnTo>
                    <a:pt x="715137" y="920305"/>
                  </a:lnTo>
                  <a:cubicBezTo>
                    <a:pt x="715137" y="902494"/>
                    <a:pt x="711803" y="886777"/>
                    <a:pt x="705326" y="873062"/>
                  </a:cubicBezTo>
                  <a:cubicBezTo>
                    <a:pt x="698754" y="859441"/>
                    <a:pt x="686276" y="846582"/>
                    <a:pt x="667798" y="834676"/>
                  </a:cubicBezTo>
                  <a:cubicBezTo>
                    <a:pt x="649319" y="822770"/>
                    <a:pt x="623697" y="810863"/>
                    <a:pt x="590931" y="798957"/>
                  </a:cubicBezTo>
                  <a:cubicBezTo>
                    <a:pt x="558165" y="787146"/>
                    <a:pt x="515493" y="774573"/>
                    <a:pt x="463106" y="761524"/>
                  </a:cubicBezTo>
                  <a:cubicBezTo>
                    <a:pt x="399955" y="746093"/>
                    <a:pt x="342710" y="728853"/>
                    <a:pt x="291465" y="709803"/>
                  </a:cubicBezTo>
                  <a:cubicBezTo>
                    <a:pt x="240221" y="690753"/>
                    <a:pt x="196691" y="667322"/>
                    <a:pt x="160973" y="639318"/>
                  </a:cubicBezTo>
                  <a:cubicBezTo>
                    <a:pt x="125159" y="611410"/>
                    <a:pt x="97536" y="576644"/>
                    <a:pt x="77819" y="535019"/>
                  </a:cubicBezTo>
                  <a:cubicBezTo>
                    <a:pt x="58103" y="493395"/>
                    <a:pt x="48292" y="441674"/>
                    <a:pt x="48292" y="379857"/>
                  </a:cubicBezTo>
                  <a:lnTo>
                    <a:pt x="48292" y="376238"/>
                  </a:lnTo>
                  <a:cubicBezTo>
                    <a:pt x="48292" y="319183"/>
                    <a:pt x="58865" y="267748"/>
                    <a:pt x="80201" y="222028"/>
                  </a:cubicBezTo>
                  <a:cubicBezTo>
                    <a:pt x="101441" y="176308"/>
                    <a:pt x="131255" y="136779"/>
                    <a:pt x="169640" y="103441"/>
                  </a:cubicBezTo>
                  <a:cubicBezTo>
                    <a:pt x="208026" y="70199"/>
                    <a:pt x="253841" y="44577"/>
                    <a:pt x="307181" y="26765"/>
                  </a:cubicBezTo>
                  <a:cubicBezTo>
                    <a:pt x="360426" y="8953"/>
                    <a:pt x="419195" y="0"/>
                    <a:pt x="483394" y="0"/>
                  </a:cubicBezTo>
                  <a:cubicBezTo>
                    <a:pt x="574929" y="0"/>
                    <a:pt x="659035" y="13716"/>
                    <a:pt x="735711" y="41053"/>
                  </a:cubicBezTo>
                  <a:cubicBezTo>
                    <a:pt x="812387" y="68389"/>
                    <a:pt x="882777" y="107632"/>
                    <a:pt x="946976" y="158687"/>
                  </a:cubicBezTo>
                  <a:lnTo>
                    <a:pt x="804291" y="365569"/>
                  </a:lnTo>
                  <a:cubicBezTo>
                    <a:pt x="748379" y="327565"/>
                    <a:pt x="693706" y="297561"/>
                    <a:pt x="640271" y="275558"/>
                  </a:cubicBezTo>
                  <a:cubicBezTo>
                    <a:pt x="586740" y="253555"/>
                    <a:pt x="533305" y="242602"/>
                    <a:pt x="479774" y="242602"/>
                  </a:cubicBezTo>
                  <a:cubicBezTo>
                    <a:pt x="426244" y="242602"/>
                    <a:pt x="386144" y="252984"/>
                    <a:pt x="359378" y="273844"/>
                  </a:cubicBezTo>
                  <a:cubicBezTo>
                    <a:pt x="332613" y="294608"/>
                    <a:pt x="319278" y="320516"/>
                    <a:pt x="319278" y="351377"/>
                  </a:cubicBezTo>
                  <a:lnTo>
                    <a:pt x="319278" y="354997"/>
                  </a:lnTo>
                  <a:cubicBezTo>
                    <a:pt x="319278" y="375190"/>
                    <a:pt x="323183" y="392716"/>
                    <a:pt x="330899" y="407575"/>
                  </a:cubicBezTo>
                  <a:cubicBezTo>
                    <a:pt x="338614" y="422434"/>
                    <a:pt x="352616" y="435864"/>
                    <a:pt x="372904" y="447675"/>
                  </a:cubicBezTo>
                  <a:cubicBezTo>
                    <a:pt x="393192" y="459581"/>
                    <a:pt x="420910" y="470821"/>
                    <a:pt x="456057" y="481489"/>
                  </a:cubicBezTo>
                  <a:cubicBezTo>
                    <a:pt x="491204" y="492157"/>
                    <a:pt x="535591" y="504730"/>
                    <a:pt x="589217" y="518922"/>
                  </a:cubicBezTo>
                  <a:cubicBezTo>
                    <a:pt x="652367" y="535591"/>
                    <a:pt x="708660" y="554260"/>
                    <a:pt x="758190" y="575120"/>
                  </a:cubicBezTo>
                  <a:cubicBezTo>
                    <a:pt x="807625" y="595979"/>
                    <a:pt x="849344" y="620935"/>
                    <a:pt x="883349" y="649986"/>
                  </a:cubicBezTo>
                  <a:cubicBezTo>
                    <a:pt x="917353" y="679132"/>
                    <a:pt x="942975" y="713327"/>
                    <a:pt x="960215" y="752570"/>
                  </a:cubicBezTo>
                  <a:cubicBezTo>
                    <a:pt x="977456" y="791813"/>
                    <a:pt x="986123" y="838772"/>
                    <a:pt x="986123" y="893445"/>
                  </a:cubicBezTo>
                  <a:lnTo>
                    <a:pt x="986123" y="897064"/>
                  </a:lnTo>
                  <a:cubicBezTo>
                    <a:pt x="986123" y="958882"/>
                    <a:pt x="974884" y="1013841"/>
                    <a:pt x="952500" y="1062038"/>
                  </a:cubicBezTo>
                  <a:cubicBezTo>
                    <a:pt x="930021" y="1110139"/>
                    <a:pt x="898779" y="1150620"/>
                    <a:pt x="858584" y="1183291"/>
                  </a:cubicBezTo>
                  <a:cubicBezTo>
                    <a:pt x="818388" y="1216057"/>
                    <a:pt x="770477" y="1241012"/>
                    <a:pt x="714851" y="1258157"/>
                  </a:cubicBezTo>
                  <a:cubicBezTo>
                    <a:pt x="659130" y="1275398"/>
                    <a:pt x="597503" y="1284065"/>
                    <a:pt x="529685" y="1284065"/>
                  </a:cubicBezTo>
                  <a:close/>
                </a:path>
              </a:pathLst>
            </a:custGeom>
            <a:solidFill>
              <a:srgbClr val="44505E"/>
            </a:solidFill>
            <a:ln w="9525" cap="flat">
              <a:noFill/>
              <a:prstDash val="solid"/>
              <a:miter/>
            </a:ln>
          </p:spPr>
          <p:txBody>
            <a:bodyPr rtlCol="0" anchor="ctr"/>
            <a:lstStyle/>
            <a:p>
              <a:endParaRPr lang="pt-BR" noProof="0"/>
            </a:p>
          </p:txBody>
        </p:sp>
        <p:sp>
          <p:nvSpPr>
            <p:cNvPr id="5" name="Freeform: Shape 16">
              <a:extLst>
                <a:ext uri="{FF2B5EF4-FFF2-40B4-BE49-F238E27FC236}">
                  <a16:creationId xmlns:a16="http://schemas.microsoft.com/office/drawing/2014/main" id="{077B1567-1307-C8F0-5B90-D0A005B2A704}"/>
                </a:ext>
              </a:extLst>
            </p:cNvPr>
            <p:cNvSpPr/>
            <p:nvPr/>
          </p:nvSpPr>
          <p:spPr>
            <a:xfrm>
              <a:off x="5492084" y="310867"/>
              <a:ext cx="332584" cy="315991"/>
            </a:xfrm>
            <a:custGeom>
              <a:avLst/>
              <a:gdLst>
                <a:gd name="connsiteX0" fmla="*/ 534924 w 1323022"/>
                <a:gd name="connsiteY0" fmla="*/ 0 h 1257014"/>
                <a:gd name="connsiteX1" fmla="*/ 788099 w 1323022"/>
                <a:gd name="connsiteY1" fmla="*/ 0 h 1257014"/>
                <a:gd name="connsiteX2" fmla="*/ 1323023 w 1323022"/>
                <a:gd name="connsiteY2" fmla="*/ 1257014 h 1257014"/>
                <a:gd name="connsiteX3" fmla="*/ 1035939 w 1323022"/>
                <a:gd name="connsiteY3" fmla="*/ 1257014 h 1257014"/>
                <a:gd name="connsiteX4" fmla="*/ 921829 w 1323022"/>
                <a:gd name="connsiteY4" fmla="*/ 977075 h 1257014"/>
                <a:gd name="connsiteX5" fmla="*/ 394049 w 1323022"/>
                <a:gd name="connsiteY5" fmla="*/ 977075 h 1257014"/>
                <a:gd name="connsiteX6" fmla="*/ 279940 w 1323022"/>
                <a:gd name="connsiteY6" fmla="*/ 1257014 h 1257014"/>
                <a:gd name="connsiteX7" fmla="*/ 0 w 1323022"/>
                <a:gd name="connsiteY7" fmla="*/ 1257014 h 1257014"/>
                <a:gd name="connsiteX8" fmla="*/ 534924 w 1323022"/>
                <a:gd name="connsiteY8" fmla="*/ 0 h 1257014"/>
                <a:gd name="connsiteX9" fmla="*/ 823817 w 1323022"/>
                <a:gd name="connsiteY9" fmla="*/ 734568 h 1257014"/>
                <a:gd name="connsiteX10" fmla="*/ 657987 w 1323022"/>
                <a:gd name="connsiteY10" fmla="*/ 329851 h 1257014"/>
                <a:gd name="connsiteX11" fmla="*/ 492157 w 1323022"/>
                <a:gd name="connsiteY11" fmla="*/ 734568 h 1257014"/>
                <a:gd name="connsiteX12" fmla="*/ 823817 w 1323022"/>
                <a:gd name="connsiteY12" fmla="*/ 734568 h 125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022" h="1257014">
                  <a:moveTo>
                    <a:pt x="534924" y="0"/>
                  </a:moveTo>
                  <a:lnTo>
                    <a:pt x="788099" y="0"/>
                  </a:lnTo>
                  <a:lnTo>
                    <a:pt x="1323023" y="1257014"/>
                  </a:lnTo>
                  <a:lnTo>
                    <a:pt x="1035939" y="1257014"/>
                  </a:lnTo>
                  <a:lnTo>
                    <a:pt x="921829" y="977075"/>
                  </a:lnTo>
                  <a:lnTo>
                    <a:pt x="394049" y="977075"/>
                  </a:lnTo>
                  <a:lnTo>
                    <a:pt x="279940" y="1257014"/>
                  </a:lnTo>
                  <a:lnTo>
                    <a:pt x="0" y="1257014"/>
                  </a:lnTo>
                  <a:lnTo>
                    <a:pt x="534924" y="0"/>
                  </a:lnTo>
                  <a:close/>
                  <a:moveTo>
                    <a:pt x="823817" y="734568"/>
                  </a:moveTo>
                  <a:lnTo>
                    <a:pt x="657987" y="329851"/>
                  </a:lnTo>
                  <a:lnTo>
                    <a:pt x="492157" y="734568"/>
                  </a:lnTo>
                  <a:lnTo>
                    <a:pt x="823817" y="734568"/>
                  </a:lnTo>
                  <a:close/>
                </a:path>
              </a:pathLst>
            </a:custGeom>
            <a:solidFill>
              <a:srgbClr val="44505E"/>
            </a:solidFill>
            <a:ln w="9525" cap="flat">
              <a:noFill/>
              <a:prstDash val="solid"/>
              <a:miter/>
            </a:ln>
          </p:spPr>
          <p:txBody>
            <a:bodyPr rtlCol="0" anchor="ctr"/>
            <a:lstStyle/>
            <a:p>
              <a:endParaRPr lang="pt-BR" noProof="0"/>
            </a:p>
          </p:txBody>
        </p:sp>
        <p:sp>
          <p:nvSpPr>
            <p:cNvPr id="8" name="Freeform: Shape 17">
              <a:extLst>
                <a:ext uri="{FF2B5EF4-FFF2-40B4-BE49-F238E27FC236}">
                  <a16:creationId xmlns:a16="http://schemas.microsoft.com/office/drawing/2014/main" id="{D197BACD-295A-4429-038D-A65A9C8DCF36}"/>
                </a:ext>
              </a:extLst>
            </p:cNvPr>
            <p:cNvSpPr/>
            <p:nvPr/>
          </p:nvSpPr>
          <p:spPr>
            <a:xfrm>
              <a:off x="5834078" y="211355"/>
              <a:ext cx="273442" cy="420435"/>
            </a:xfrm>
            <a:custGeom>
              <a:avLst/>
              <a:gdLst>
                <a:gd name="connsiteX0" fmla="*/ 540258 w 1087754"/>
                <a:gd name="connsiteY0" fmla="*/ 1672495 h 1672494"/>
                <a:gd name="connsiteX1" fmla="*/ 144399 w 1087754"/>
                <a:gd name="connsiteY1" fmla="*/ 1533430 h 1672494"/>
                <a:gd name="connsiteX2" fmla="*/ 0 w 1087754"/>
                <a:gd name="connsiteY2" fmla="*/ 1117949 h 1672494"/>
                <a:gd name="connsiteX3" fmla="*/ 0 w 1087754"/>
                <a:gd name="connsiteY3" fmla="*/ 404717 h 1672494"/>
                <a:gd name="connsiteX4" fmla="*/ 274606 w 1087754"/>
                <a:gd name="connsiteY4" fmla="*/ 404717 h 1672494"/>
                <a:gd name="connsiteX5" fmla="*/ 274606 w 1087754"/>
                <a:gd name="connsiteY5" fmla="*/ 1110806 h 1672494"/>
                <a:gd name="connsiteX6" fmla="*/ 345948 w 1087754"/>
                <a:gd name="connsiteY6" fmla="*/ 1341692 h 1672494"/>
                <a:gd name="connsiteX7" fmla="*/ 543877 w 1087754"/>
                <a:gd name="connsiteY7" fmla="*/ 1419225 h 1672494"/>
                <a:gd name="connsiteX8" fmla="*/ 741807 w 1087754"/>
                <a:gd name="connsiteY8" fmla="*/ 1344359 h 1672494"/>
                <a:gd name="connsiteX9" fmla="*/ 813149 w 1087754"/>
                <a:gd name="connsiteY9" fmla="*/ 1119664 h 1672494"/>
                <a:gd name="connsiteX10" fmla="*/ 813149 w 1087754"/>
                <a:gd name="connsiteY10" fmla="*/ 404717 h 1672494"/>
                <a:gd name="connsiteX11" fmla="*/ 1087755 w 1087754"/>
                <a:gd name="connsiteY11" fmla="*/ 404717 h 1672494"/>
                <a:gd name="connsiteX12" fmla="*/ 1087755 w 1087754"/>
                <a:gd name="connsiteY12" fmla="*/ 1108996 h 1672494"/>
                <a:gd name="connsiteX13" fmla="*/ 1049369 w 1087754"/>
                <a:gd name="connsiteY13" fmla="*/ 1356836 h 1672494"/>
                <a:gd name="connsiteX14" fmla="*/ 939737 w 1087754"/>
                <a:gd name="connsiteY14" fmla="*/ 1532477 h 1672494"/>
                <a:gd name="connsiteX15" fmla="*/ 766763 w 1087754"/>
                <a:gd name="connsiteY15" fmla="*/ 1637729 h 1672494"/>
                <a:gd name="connsiteX16" fmla="*/ 540353 w 1087754"/>
                <a:gd name="connsiteY16" fmla="*/ 1672495 h 1672494"/>
                <a:gd name="connsiteX17" fmla="*/ 622268 w 1087754"/>
                <a:gd name="connsiteY17" fmla="*/ 0 h 1672494"/>
                <a:gd name="connsiteX18" fmla="*/ 855821 w 1087754"/>
                <a:gd name="connsiteY18" fmla="*/ 101632 h 1672494"/>
                <a:gd name="connsiteX19" fmla="*/ 627602 w 1087754"/>
                <a:gd name="connsiteY19" fmla="*/ 315563 h 1672494"/>
                <a:gd name="connsiteX20" fmla="*/ 420719 w 1087754"/>
                <a:gd name="connsiteY20" fmla="*/ 315563 h 1672494"/>
                <a:gd name="connsiteX21" fmla="*/ 622268 w 1087754"/>
                <a:gd name="connsiteY21" fmla="*/ 0 h 16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754" h="1672494">
                  <a:moveTo>
                    <a:pt x="540258" y="1672495"/>
                  </a:moveTo>
                  <a:cubicBezTo>
                    <a:pt x="372618" y="1672495"/>
                    <a:pt x="240697" y="1626108"/>
                    <a:pt x="144399" y="1533430"/>
                  </a:cubicBezTo>
                  <a:cubicBezTo>
                    <a:pt x="48101" y="1440752"/>
                    <a:pt x="0" y="1302258"/>
                    <a:pt x="0" y="1117949"/>
                  </a:cubicBezTo>
                  <a:lnTo>
                    <a:pt x="0" y="404717"/>
                  </a:lnTo>
                  <a:lnTo>
                    <a:pt x="274606" y="404717"/>
                  </a:lnTo>
                  <a:lnTo>
                    <a:pt x="274606" y="1110806"/>
                  </a:lnTo>
                  <a:cubicBezTo>
                    <a:pt x="274606" y="1213009"/>
                    <a:pt x="298418" y="1289971"/>
                    <a:pt x="345948" y="1341692"/>
                  </a:cubicBezTo>
                  <a:cubicBezTo>
                    <a:pt x="393478" y="1393412"/>
                    <a:pt x="459486" y="1419225"/>
                    <a:pt x="543877" y="1419225"/>
                  </a:cubicBezTo>
                  <a:cubicBezTo>
                    <a:pt x="628269" y="1419225"/>
                    <a:pt x="694277" y="1394270"/>
                    <a:pt x="741807" y="1344359"/>
                  </a:cubicBezTo>
                  <a:cubicBezTo>
                    <a:pt x="789337" y="1294448"/>
                    <a:pt x="813149" y="1219581"/>
                    <a:pt x="813149" y="1119664"/>
                  </a:cubicBezTo>
                  <a:lnTo>
                    <a:pt x="813149" y="404717"/>
                  </a:lnTo>
                  <a:lnTo>
                    <a:pt x="1087755" y="404717"/>
                  </a:lnTo>
                  <a:lnTo>
                    <a:pt x="1087755" y="1108996"/>
                  </a:lnTo>
                  <a:cubicBezTo>
                    <a:pt x="1087755" y="1204151"/>
                    <a:pt x="1074992" y="1286732"/>
                    <a:pt x="1049369" y="1356836"/>
                  </a:cubicBezTo>
                  <a:cubicBezTo>
                    <a:pt x="1023747" y="1426940"/>
                    <a:pt x="987266" y="1485519"/>
                    <a:pt x="939737" y="1532477"/>
                  </a:cubicBezTo>
                  <a:cubicBezTo>
                    <a:pt x="892207" y="1579436"/>
                    <a:pt x="834485" y="1614488"/>
                    <a:pt x="766763" y="1637729"/>
                  </a:cubicBezTo>
                  <a:cubicBezTo>
                    <a:pt x="699040" y="1660874"/>
                    <a:pt x="623507" y="1672495"/>
                    <a:pt x="540353" y="1672495"/>
                  </a:cubicBezTo>
                  <a:close/>
                  <a:moveTo>
                    <a:pt x="622268" y="0"/>
                  </a:moveTo>
                  <a:lnTo>
                    <a:pt x="855821" y="101632"/>
                  </a:lnTo>
                  <a:lnTo>
                    <a:pt x="627602" y="315563"/>
                  </a:lnTo>
                  <a:lnTo>
                    <a:pt x="420719" y="315563"/>
                  </a:lnTo>
                  <a:lnTo>
                    <a:pt x="622268" y="0"/>
                  </a:lnTo>
                  <a:close/>
                </a:path>
              </a:pathLst>
            </a:custGeom>
            <a:solidFill>
              <a:srgbClr val="44505E"/>
            </a:solidFill>
            <a:ln w="9525" cap="flat">
              <a:noFill/>
              <a:prstDash val="solid"/>
              <a:miter/>
            </a:ln>
          </p:spPr>
          <p:txBody>
            <a:bodyPr rtlCol="0" anchor="ctr"/>
            <a:lstStyle/>
            <a:p>
              <a:endParaRPr lang="pt-BR" noProof="0"/>
            </a:p>
          </p:txBody>
        </p:sp>
        <p:sp>
          <p:nvSpPr>
            <p:cNvPr id="10" name="Freeform: Shape 18">
              <a:extLst>
                <a:ext uri="{FF2B5EF4-FFF2-40B4-BE49-F238E27FC236}">
                  <a16:creationId xmlns:a16="http://schemas.microsoft.com/office/drawing/2014/main" id="{BB439B9A-D27B-05B0-A7F6-39FB5D632F32}"/>
                </a:ext>
              </a:extLst>
            </p:cNvPr>
            <p:cNvSpPr/>
            <p:nvPr/>
          </p:nvSpPr>
          <p:spPr>
            <a:xfrm>
              <a:off x="6143795" y="313094"/>
              <a:ext cx="289101" cy="313764"/>
            </a:xfrm>
            <a:custGeom>
              <a:avLst/>
              <a:gdLst>
                <a:gd name="connsiteX0" fmla="*/ 0 w 1150048"/>
                <a:gd name="connsiteY0" fmla="*/ 0 h 1248155"/>
                <a:gd name="connsiteX1" fmla="*/ 486728 w 1150048"/>
                <a:gd name="connsiteY1" fmla="*/ 0 h 1248155"/>
                <a:gd name="connsiteX2" fmla="*/ 755047 w 1150048"/>
                <a:gd name="connsiteY2" fmla="*/ 47244 h 1248155"/>
                <a:gd name="connsiteX3" fmla="*/ 965454 w 1150048"/>
                <a:gd name="connsiteY3" fmla="*/ 178308 h 1248155"/>
                <a:gd name="connsiteX4" fmla="*/ 1101852 w 1150048"/>
                <a:gd name="connsiteY4" fmla="*/ 375380 h 1248155"/>
                <a:gd name="connsiteX5" fmla="*/ 1150049 w 1150048"/>
                <a:gd name="connsiteY5" fmla="*/ 620554 h 1248155"/>
                <a:gd name="connsiteX6" fmla="*/ 1150049 w 1150048"/>
                <a:gd name="connsiteY6" fmla="*/ 624173 h 1248155"/>
                <a:gd name="connsiteX7" fmla="*/ 1101852 w 1150048"/>
                <a:gd name="connsiteY7" fmla="*/ 870204 h 1248155"/>
                <a:gd name="connsiteX8" fmla="*/ 965454 w 1150048"/>
                <a:gd name="connsiteY8" fmla="*/ 1068134 h 1248155"/>
                <a:gd name="connsiteX9" fmla="*/ 755047 w 1150048"/>
                <a:gd name="connsiteY9" fmla="*/ 1200055 h 1248155"/>
                <a:gd name="connsiteX10" fmla="*/ 486728 w 1150048"/>
                <a:gd name="connsiteY10" fmla="*/ 1248156 h 1248155"/>
                <a:gd name="connsiteX11" fmla="*/ 0 w 1150048"/>
                <a:gd name="connsiteY11" fmla="*/ 1248156 h 1248155"/>
                <a:gd name="connsiteX12" fmla="*/ 0 w 1150048"/>
                <a:gd name="connsiteY12" fmla="*/ 0 h 1248155"/>
                <a:gd name="connsiteX13" fmla="*/ 486728 w 1150048"/>
                <a:gd name="connsiteY13" fmla="*/ 1000315 h 1248155"/>
                <a:gd name="connsiteX14" fmla="*/ 640080 w 1150048"/>
                <a:gd name="connsiteY14" fmla="*/ 973550 h 1248155"/>
                <a:gd name="connsiteX15" fmla="*/ 758667 w 1150048"/>
                <a:gd name="connsiteY15" fmla="*/ 896874 h 1248155"/>
                <a:gd name="connsiteX16" fmla="*/ 835343 w 1150048"/>
                <a:gd name="connsiteY16" fmla="*/ 779240 h 1248155"/>
                <a:gd name="connsiteX17" fmla="*/ 862965 w 1150048"/>
                <a:gd name="connsiteY17" fmla="*/ 627698 h 1248155"/>
                <a:gd name="connsiteX18" fmla="*/ 862965 w 1150048"/>
                <a:gd name="connsiteY18" fmla="*/ 624078 h 1248155"/>
                <a:gd name="connsiteX19" fmla="*/ 835343 w 1150048"/>
                <a:gd name="connsiteY19" fmla="*/ 472535 h 1248155"/>
                <a:gd name="connsiteX20" fmla="*/ 758667 w 1150048"/>
                <a:gd name="connsiteY20" fmla="*/ 353092 h 1248155"/>
                <a:gd name="connsiteX21" fmla="*/ 640080 w 1150048"/>
                <a:gd name="connsiteY21" fmla="*/ 275558 h 1248155"/>
                <a:gd name="connsiteX22" fmla="*/ 486728 w 1150048"/>
                <a:gd name="connsiteY22" fmla="*/ 247936 h 1248155"/>
                <a:gd name="connsiteX23" fmla="*/ 274511 w 1150048"/>
                <a:gd name="connsiteY23" fmla="*/ 247936 h 1248155"/>
                <a:gd name="connsiteX24" fmla="*/ 274511 w 1150048"/>
                <a:gd name="connsiteY24" fmla="*/ 1000411 h 1248155"/>
                <a:gd name="connsiteX25" fmla="*/ 486728 w 1150048"/>
                <a:gd name="connsiteY25" fmla="*/ 1000411 h 124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50048" h="1248155">
                  <a:moveTo>
                    <a:pt x="0" y="0"/>
                  </a:moveTo>
                  <a:lnTo>
                    <a:pt x="486728" y="0"/>
                  </a:lnTo>
                  <a:cubicBezTo>
                    <a:pt x="584168" y="0"/>
                    <a:pt x="673608" y="15811"/>
                    <a:pt x="755047" y="47244"/>
                  </a:cubicBezTo>
                  <a:cubicBezTo>
                    <a:pt x="836486" y="78772"/>
                    <a:pt x="906590" y="122396"/>
                    <a:pt x="965454" y="178308"/>
                  </a:cubicBezTo>
                  <a:cubicBezTo>
                    <a:pt x="1024319" y="234220"/>
                    <a:pt x="1069753" y="299847"/>
                    <a:pt x="1101852" y="375380"/>
                  </a:cubicBezTo>
                  <a:cubicBezTo>
                    <a:pt x="1133951" y="450914"/>
                    <a:pt x="1150049" y="532543"/>
                    <a:pt x="1150049" y="620554"/>
                  </a:cubicBezTo>
                  <a:lnTo>
                    <a:pt x="1150049" y="624173"/>
                  </a:lnTo>
                  <a:cubicBezTo>
                    <a:pt x="1150049" y="712184"/>
                    <a:pt x="1133951" y="794195"/>
                    <a:pt x="1101852" y="870204"/>
                  </a:cubicBezTo>
                  <a:cubicBezTo>
                    <a:pt x="1069753" y="946309"/>
                    <a:pt x="1024319" y="1012222"/>
                    <a:pt x="965454" y="1068134"/>
                  </a:cubicBezTo>
                  <a:cubicBezTo>
                    <a:pt x="906590" y="1124045"/>
                    <a:pt x="836486" y="1167956"/>
                    <a:pt x="755047" y="1200055"/>
                  </a:cubicBezTo>
                  <a:cubicBezTo>
                    <a:pt x="673608" y="1232154"/>
                    <a:pt x="584168" y="1248156"/>
                    <a:pt x="486728" y="1248156"/>
                  </a:cubicBezTo>
                  <a:lnTo>
                    <a:pt x="0" y="1248156"/>
                  </a:lnTo>
                  <a:lnTo>
                    <a:pt x="0" y="0"/>
                  </a:lnTo>
                  <a:close/>
                  <a:moveTo>
                    <a:pt x="486728" y="1000315"/>
                  </a:moveTo>
                  <a:cubicBezTo>
                    <a:pt x="542639" y="1000315"/>
                    <a:pt x="593693" y="991457"/>
                    <a:pt x="640080" y="973550"/>
                  </a:cubicBezTo>
                  <a:cubicBezTo>
                    <a:pt x="686467" y="955739"/>
                    <a:pt x="725900" y="930211"/>
                    <a:pt x="758667" y="896874"/>
                  </a:cubicBezTo>
                  <a:cubicBezTo>
                    <a:pt x="791337" y="863632"/>
                    <a:pt x="816864" y="824389"/>
                    <a:pt x="835343" y="779240"/>
                  </a:cubicBezTo>
                  <a:cubicBezTo>
                    <a:pt x="853726" y="734092"/>
                    <a:pt x="862965" y="683609"/>
                    <a:pt x="862965" y="627698"/>
                  </a:cubicBezTo>
                  <a:lnTo>
                    <a:pt x="862965" y="624078"/>
                  </a:lnTo>
                  <a:cubicBezTo>
                    <a:pt x="862965" y="569404"/>
                    <a:pt x="853726" y="518827"/>
                    <a:pt x="835343" y="472535"/>
                  </a:cubicBezTo>
                  <a:cubicBezTo>
                    <a:pt x="816864" y="426149"/>
                    <a:pt x="791337" y="386334"/>
                    <a:pt x="758667" y="353092"/>
                  </a:cubicBezTo>
                  <a:cubicBezTo>
                    <a:pt x="725996" y="319849"/>
                    <a:pt x="686467" y="293941"/>
                    <a:pt x="640080" y="275558"/>
                  </a:cubicBezTo>
                  <a:cubicBezTo>
                    <a:pt x="593693" y="257175"/>
                    <a:pt x="542639" y="247936"/>
                    <a:pt x="486728" y="247936"/>
                  </a:cubicBezTo>
                  <a:lnTo>
                    <a:pt x="274511" y="247936"/>
                  </a:lnTo>
                  <a:lnTo>
                    <a:pt x="274511" y="1000411"/>
                  </a:lnTo>
                  <a:lnTo>
                    <a:pt x="486728" y="1000411"/>
                  </a:lnTo>
                  <a:close/>
                </a:path>
              </a:pathLst>
            </a:custGeom>
            <a:solidFill>
              <a:srgbClr val="44505E"/>
            </a:solidFill>
            <a:ln w="9525" cap="flat">
              <a:noFill/>
              <a:prstDash val="solid"/>
              <a:miter/>
            </a:ln>
          </p:spPr>
          <p:txBody>
            <a:bodyPr rtlCol="0" anchor="ctr"/>
            <a:lstStyle/>
            <a:p>
              <a:endParaRPr lang="pt-BR" noProof="0"/>
            </a:p>
          </p:txBody>
        </p:sp>
        <p:sp>
          <p:nvSpPr>
            <p:cNvPr id="16" name="Freeform: Shape 19">
              <a:extLst>
                <a:ext uri="{FF2B5EF4-FFF2-40B4-BE49-F238E27FC236}">
                  <a16:creationId xmlns:a16="http://schemas.microsoft.com/office/drawing/2014/main" id="{89EF8E0C-D2FB-E92B-B7C7-11B8459C42AE}"/>
                </a:ext>
              </a:extLst>
            </p:cNvPr>
            <p:cNvSpPr/>
            <p:nvPr/>
          </p:nvSpPr>
          <p:spPr>
            <a:xfrm>
              <a:off x="6460217" y="313094"/>
              <a:ext cx="238459" cy="313788"/>
            </a:xfrm>
            <a:custGeom>
              <a:avLst/>
              <a:gdLst>
                <a:gd name="connsiteX0" fmla="*/ 95 w 948594"/>
                <a:gd name="connsiteY0" fmla="*/ 0 h 1248251"/>
                <a:gd name="connsiteX1" fmla="*/ 939737 w 948594"/>
                <a:gd name="connsiteY1" fmla="*/ 0 h 1248251"/>
                <a:gd name="connsiteX2" fmla="*/ 939737 w 948594"/>
                <a:gd name="connsiteY2" fmla="*/ 244316 h 1248251"/>
                <a:gd name="connsiteX3" fmla="*/ 271081 w 948594"/>
                <a:gd name="connsiteY3" fmla="*/ 244316 h 1248251"/>
                <a:gd name="connsiteX4" fmla="*/ 271081 w 948594"/>
                <a:gd name="connsiteY4" fmla="*/ 497491 h 1248251"/>
                <a:gd name="connsiteX5" fmla="*/ 859441 w 948594"/>
                <a:gd name="connsiteY5" fmla="*/ 497491 h 1248251"/>
                <a:gd name="connsiteX6" fmla="*/ 859441 w 948594"/>
                <a:gd name="connsiteY6" fmla="*/ 741807 h 1248251"/>
                <a:gd name="connsiteX7" fmla="*/ 271081 w 948594"/>
                <a:gd name="connsiteY7" fmla="*/ 741807 h 1248251"/>
                <a:gd name="connsiteX8" fmla="*/ 271081 w 948594"/>
                <a:gd name="connsiteY8" fmla="*/ 1003935 h 1248251"/>
                <a:gd name="connsiteX9" fmla="*/ 948595 w 948594"/>
                <a:gd name="connsiteY9" fmla="*/ 1003935 h 1248251"/>
                <a:gd name="connsiteX10" fmla="*/ 948595 w 948594"/>
                <a:gd name="connsiteY10" fmla="*/ 1248251 h 1248251"/>
                <a:gd name="connsiteX11" fmla="*/ 0 w 948594"/>
                <a:gd name="connsiteY11" fmla="*/ 1248251 h 1248251"/>
                <a:gd name="connsiteX12" fmla="*/ 0 w 948594"/>
                <a:gd name="connsiteY12" fmla="*/ 0 h 124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594" h="1248251">
                  <a:moveTo>
                    <a:pt x="95" y="0"/>
                  </a:moveTo>
                  <a:lnTo>
                    <a:pt x="939737" y="0"/>
                  </a:lnTo>
                  <a:lnTo>
                    <a:pt x="939737" y="244316"/>
                  </a:lnTo>
                  <a:lnTo>
                    <a:pt x="271081" y="244316"/>
                  </a:lnTo>
                  <a:lnTo>
                    <a:pt x="271081" y="497491"/>
                  </a:lnTo>
                  <a:lnTo>
                    <a:pt x="859441" y="497491"/>
                  </a:lnTo>
                  <a:lnTo>
                    <a:pt x="859441" y="741807"/>
                  </a:lnTo>
                  <a:lnTo>
                    <a:pt x="271081" y="741807"/>
                  </a:lnTo>
                  <a:lnTo>
                    <a:pt x="271081" y="1003935"/>
                  </a:lnTo>
                  <a:lnTo>
                    <a:pt x="948595" y="1003935"/>
                  </a:lnTo>
                  <a:lnTo>
                    <a:pt x="948595" y="1248251"/>
                  </a:lnTo>
                  <a:lnTo>
                    <a:pt x="0" y="1248251"/>
                  </a:lnTo>
                  <a:lnTo>
                    <a:pt x="0" y="0"/>
                  </a:lnTo>
                  <a:close/>
                </a:path>
              </a:pathLst>
            </a:custGeom>
            <a:solidFill>
              <a:srgbClr val="44505E"/>
            </a:solidFill>
            <a:ln w="9525" cap="flat">
              <a:noFill/>
              <a:prstDash val="solid"/>
              <a:miter/>
            </a:ln>
          </p:spPr>
          <p:txBody>
            <a:bodyPr rtlCol="0" anchor="ctr"/>
            <a:lstStyle/>
            <a:p>
              <a:endParaRPr lang="pt-BR" noProof="0"/>
            </a:p>
          </p:txBody>
        </p:sp>
        <p:sp>
          <p:nvSpPr>
            <p:cNvPr id="59" name="Freeform: Shape 20">
              <a:extLst>
                <a:ext uri="{FF2B5EF4-FFF2-40B4-BE49-F238E27FC236}">
                  <a16:creationId xmlns:a16="http://schemas.microsoft.com/office/drawing/2014/main" id="{38948615-4B58-8E27-72D9-11E0E00EE1F9}"/>
                </a:ext>
              </a:extLst>
            </p:cNvPr>
            <p:cNvSpPr/>
            <p:nvPr/>
          </p:nvSpPr>
          <p:spPr>
            <a:xfrm>
              <a:off x="5253193" y="699983"/>
              <a:ext cx="90796" cy="97883"/>
            </a:xfrm>
            <a:custGeom>
              <a:avLst/>
              <a:gdLst>
                <a:gd name="connsiteX0" fmla="*/ 191548 w 361187"/>
                <a:gd name="connsiteY0" fmla="*/ 389382 h 389381"/>
                <a:gd name="connsiteX1" fmla="*/ 116300 w 361187"/>
                <a:gd name="connsiteY1" fmla="*/ 375285 h 389381"/>
                <a:gd name="connsiteX2" fmla="*/ 55531 w 361187"/>
                <a:gd name="connsiteY2" fmla="*/ 335756 h 389381"/>
                <a:gd name="connsiteX3" fmla="*/ 14859 w 361187"/>
                <a:gd name="connsiteY3" fmla="*/ 274606 h 389381"/>
                <a:gd name="connsiteX4" fmla="*/ 0 w 361187"/>
                <a:gd name="connsiteY4" fmla="*/ 195834 h 389381"/>
                <a:gd name="connsiteX5" fmla="*/ 0 w 361187"/>
                <a:gd name="connsiteY5" fmla="*/ 194405 h 389381"/>
                <a:gd name="connsiteX6" fmla="*/ 13430 w 361187"/>
                <a:gd name="connsiteY6" fmla="*/ 118777 h 389381"/>
                <a:gd name="connsiteX7" fmla="*/ 51245 w 361187"/>
                <a:gd name="connsiteY7" fmla="*/ 56959 h 389381"/>
                <a:gd name="connsiteX8" fmla="*/ 108871 w 361187"/>
                <a:gd name="connsiteY8" fmla="*/ 15240 h 389381"/>
                <a:gd name="connsiteX9" fmla="*/ 182404 w 361187"/>
                <a:gd name="connsiteY9" fmla="*/ 0 h 389381"/>
                <a:gd name="connsiteX10" fmla="*/ 260509 w 361187"/>
                <a:gd name="connsiteY10" fmla="*/ 16288 h 389381"/>
                <a:gd name="connsiteX11" fmla="*/ 316325 w 361187"/>
                <a:gd name="connsiteY11" fmla="*/ 60103 h 389381"/>
                <a:gd name="connsiteX12" fmla="*/ 349853 w 361187"/>
                <a:gd name="connsiteY12" fmla="*/ 124015 h 389381"/>
                <a:gd name="connsiteX13" fmla="*/ 361188 w 361187"/>
                <a:gd name="connsiteY13" fmla="*/ 200692 h 389381"/>
                <a:gd name="connsiteX14" fmla="*/ 360807 w 361187"/>
                <a:gd name="connsiteY14" fmla="*/ 212312 h 389381"/>
                <a:gd name="connsiteX15" fmla="*/ 359759 w 361187"/>
                <a:gd name="connsiteY15" fmla="*/ 224695 h 389381"/>
                <a:gd name="connsiteX16" fmla="*/ 85534 w 361187"/>
                <a:gd name="connsiteY16" fmla="*/ 224695 h 389381"/>
                <a:gd name="connsiteX17" fmla="*/ 121920 w 361187"/>
                <a:gd name="connsiteY17" fmla="*/ 294989 h 389381"/>
                <a:gd name="connsiteX18" fmla="*/ 192977 w 361187"/>
                <a:gd name="connsiteY18" fmla="*/ 319373 h 389381"/>
                <a:gd name="connsiteX19" fmla="*/ 248126 w 361187"/>
                <a:gd name="connsiteY19" fmla="*/ 308038 h 389381"/>
                <a:gd name="connsiteX20" fmla="*/ 294037 w 361187"/>
                <a:gd name="connsiteY20" fmla="*/ 274796 h 389381"/>
                <a:gd name="connsiteX21" fmla="*/ 344234 w 361187"/>
                <a:gd name="connsiteY21" fmla="*/ 319278 h 389381"/>
                <a:gd name="connsiteX22" fmla="*/ 280226 w 361187"/>
                <a:gd name="connsiteY22" fmla="*/ 370141 h 389381"/>
                <a:gd name="connsiteX23" fmla="*/ 191548 w 361187"/>
                <a:gd name="connsiteY23" fmla="*/ 389191 h 389381"/>
                <a:gd name="connsiteX24" fmla="*/ 276320 w 361187"/>
                <a:gd name="connsiteY24" fmla="*/ 168211 h 389381"/>
                <a:gd name="connsiteX25" fmla="*/ 267176 w 361187"/>
                <a:gd name="connsiteY25" fmla="*/ 129730 h 389381"/>
                <a:gd name="connsiteX26" fmla="*/ 248126 w 361187"/>
                <a:gd name="connsiteY26" fmla="*/ 98679 h 389381"/>
                <a:gd name="connsiteX27" fmla="*/ 219551 w 361187"/>
                <a:gd name="connsiteY27" fmla="*/ 77819 h 389381"/>
                <a:gd name="connsiteX28" fmla="*/ 181737 w 361187"/>
                <a:gd name="connsiteY28" fmla="*/ 70009 h 389381"/>
                <a:gd name="connsiteX29" fmla="*/ 116396 w 361187"/>
                <a:gd name="connsiteY29" fmla="*/ 97250 h 389381"/>
                <a:gd name="connsiteX30" fmla="*/ 84963 w 361187"/>
                <a:gd name="connsiteY30" fmla="*/ 168307 h 389381"/>
                <a:gd name="connsiteX31" fmla="*/ 276511 w 361187"/>
                <a:gd name="connsiteY31" fmla="*/ 168307 h 38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187" h="389381">
                  <a:moveTo>
                    <a:pt x="191548" y="389382"/>
                  </a:moveTo>
                  <a:cubicBezTo>
                    <a:pt x="164687" y="389382"/>
                    <a:pt x="139637" y="384715"/>
                    <a:pt x="116300" y="375285"/>
                  </a:cubicBezTo>
                  <a:cubicBezTo>
                    <a:pt x="92964" y="365855"/>
                    <a:pt x="72771" y="352711"/>
                    <a:pt x="55531" y="335756"/>
                  </a:cubicBezTo>
                  <a:cubicBezTo>
                    <a:pt x="38291" y="318802"/>
                    <a:pt x="24765" y="298418"/>
                    <a:pt x="14859" y="274606"/>
                  </a:cubicBezTo>
                  <a:cubicBezTo>
                    <a:pt x="4953" y="250793"/>
                    <a:pt x="0" y="224599"/>
                    <a:pt x="0" y="195834"/>
                  </a:cubicBezTo>
                  <a:lnTo>
                    <a:pt x="0" y="194405"/>
                  </a:lnTo>
                  <a:cubicBezTo>
                    <a:pt x="0" y="167545"/>
                    <a:pt x="4477" y="142399"/>
                    <a:pt x="13430" y="118777"/>
                  </a:cubicBezTo>
                  <a:cubicBezTo>
                    <a:pt x="22384" y="95250"/>
                    <a:pt x="34957" y="74581"/>
                    <a:pt x="51245" y="56959"/>
                  </a:cubicBezTo>
                  <a:cubicBezTo>
                    <a:pt x="67532" y="39338"/>
                    <a:pt x="86677" y="25432"/>
                    <a:pt x="108871" y="15240"/>
                  </a:cubicBezTo>
                  <a:cubicBezTo>
                    <a:pt x="131064" y="5143"/>
                    <a:pt x="155543" y="0"/>
                    <a:pt x="182404" y="0"/>
                  </a:cubicBezTo>
                  <a:cubicBezTo>
                    <a:pt x="212122" y="0"/>
                    <a:pt x="238125" y="5429"/>
                    <a:pt x="260509" y="16288"/>
                  </a:cubicBezTo>
                  <a:cubicBezTo>
                    <a:pt x="282893" y="27146"/>
                    <a:pt x="301466" y="41719"/>
                    <a:pt x="316325" y="60103"/>
                  </a:cubicBezTo>
                  <a:cubicBezTo>
                    <a:pt x="331184" y="78486"/>
                    <a:pt x="342329" y="99822"/>
                    <a:pt x="349853" y="124015"/>
                  </a:cubicBezTo>
                  <a:cubicBezTo>
                    <a:pt x="357378" y="148304"/>
                    <a:pt x="361188" y="173831"/>
                    <a:pt x="361188" y="200692"/>
                  </a:cubicBezTo>
                  <a:cubicBezTo>
                    <a:pt x="361188" y="204502"/>
                    <a:pt x="361093" y="208312"/>
                    <a:pt x="360807" y="212312"/>
                  </a:cubicBezTo>
                  <a:cubicBezTo>
                    <a:pt x="360521" y="216313"/>
                    <a:pt x="360236" y="220409"/>
                    <a:pt x="359759" y="224695"/>
                  </a:cubicBezTo>
                  <a:lnTo>
                    <a:pt x="85534" y="224695"/>
                  </a:lnTo>
                  <a:cubicBezTo>
                    <a:pt x="90202" y="255365"/>
                    <a:pt x="102394" y="278797"/>
                    <a:pt x="121920" y="294989"/>
                  </a:cubicBezTo>
                  <a:cubicBezTo>
                    <a:pt x="141446" y="311277"/>
                    <a:pt x="165164" y="319373"/>
                    <a:pt x="192977" y="319373"/>
                  </a:cubicBezTo>
                  <a:cubicBezTo>
                    <a:pt x="214217" y="319373"/>
                    <a:pt x="232505" y="315563"/>
                    <a:pt x="248126" y="308038"/>
                  </a:cubicBezTo>
                  <a:cubicBezTo>
                    <a:pt x="263652" y="300514"/>
                    <a:pt x="278987" y="289465"/>
                    <a:pt x="294037" y="274796"/>
                  </a:cubicBezTo>
                  <a:lnTo>
                    <a:pt x="344234" y="319278"/>
                  </a:lnTo>
                  <a:cubicBezTo>
                    <a:pt x="326327" y="340519"/>
                    <a:pt x="304991" y="357473"/>
                    <a:pt x="280226" y="370141"/>
                  </a:cubicBezTo>
                  <a:cubicBezTo>
                    <a:pt x="255461" y="382810"/>
                    <a:pt x="225933" y="389191"/>
                    <a:pt x="191548" y="389191"/>
                  </a:cubicBezTo>
                  <a:close/>
                  <a:moveTo>
                    <a:pt x="276320" y="168211"/>
                  </a:moveTo>
                  <a:cubicBezTo>
                    <a:pt x="274892" y="154591"/>
                    <a:pt x="271844" y="141732"/>
                    <a:pt x="267176" y="129730"/>
                  </a:cubicBezTo>
                  <a:cubicBezTo>
                    <a:pt x="262414" y="117729"/>
                    <a:pt x="256127" y="107347"/>
                    <a:pt x="248126" y="98679"/>
                  </a:cubicBezTo>
                  <a:cubicBezTo>
                    <a:pt x="240125" y="89916"/>
                    <a:pt x="230600" y="82963"/>
                    <a:pt x="219551" y="77819"/>
                  </a:cubicBezTo>
                  <a:cubicBezTo>
                    <a:pt x="208502" y="72676"/>
                    <a:pt x="195834" y="70009"/>
                    <a:pt x="181737" y="70009"/>
                  </a:cubicBezTo>
                  <a:cubicBezTo>
                    <a:pt x="155353" y="70009"/>
                    <a:pt x="133541" y="79057"/>
                    <a:pt x="116396" y="97250"/>
                  </a:cubicBezTo>
                  <a:cubicBezTo>
                    <a:pt x="99155" y="115348"/>
                    <a:pt x="88678" y="139065"/>
                    <a:pt x="84963" y="168307"/>
                  </a:cubicBezTo>
                  <a:lnTo>
                    <a:pt x="276511" y="168307"/>
                  </a:lnTo>
                  <a:close/>
                </a:path>
              </a:pathLst>
            </a:custGeom>
            <a:solidFill>
              <a:srgbClr val="44505E"/>
            </a:solidFill>
            <a:ln w="9525" cap="flat">
              <a:noFill/>
              <a:prstDash val="solid"/>
              <a:miter/>
            </a:ln>
          </p:spPr>
          <p:txBody>
            <a:bodyPr rtlCol="0" anchor="ctr"/>
            <a:lstStyle/>
            <a:p>
              <a:endParaRPr lang="pt-BR" noProof="0"/>
            </a:p>
          </p:txBody>
        </p:sp>
        <p:sp>
          <p:nvSpPr>
            <p:cNvPr id="60" name="Freeform: Shape 21">
              <a:extLst>
                <a:ext uri="{FF2B5EF4-FFF2-40B4-BE49-F238E27FC236}">
                  <a16:creationId xmlns:a16="http://schemas.microsoft.com/office/drawing/2014/main" id="{8E654F4F-2D43-194F-B837-B72175A7A23C}"/>
                </a:ext>
              </a:extLst>
            </p:cNvPr>
            <p:cNvSpPr/>
            <p:nvPr/>
          </p:nvSpPr>
          <p:spPr>
            <a:xfrm>
              <a:off x="5365659"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5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8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3 w 568166"/>
                <a:gd name="connsiteY21" fmla="*/ 381000 h 381000"/>
                <a:gd name="connsiteX22" fmla="*/ 240983 w 568166"/>
                <a:gd name="connsiteY22" fmla="*/ 168783 h 381000"/>
                <a:gd name="connsiteX23" fmla="*/ 221266 w 568166"/>
                <a:gd name="connsiteY23" fmla="*/ 101822 h 381000"/>
                <a:gd name="connsiteX24" fmla="*/ 165640 w 568166"/>
                <a:gd name="connsiteY24" fmla="*/ 78581 h 381000"/>
                <a:gd name="connsiteX25" fmla="*/ 108014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70" y="48196"/>
                    <a:pt x="105918" y="40576"/>
                  </a:cubicBezTo>
                  <a:cubicBezTo>
                    <a:pt x="112967" y="32956"/>
                    <a:pt x="121063" y="26099"/>
                    <a:pt x="130207" y="19907"/>
                  </a:cubicBezTo>
                  <a:cubicBezTo>
                    <a:pt x="139351" y="13716"/>
                    <a:pt x="149733" y="8858"/>
                    <a:pt x="161163" y="5334"/>
                  </a:cubicBezTo>
                  <a:cubicBezTo>
                    <a:pt x="172688" y="1714"/>
                    <a:pt x="185452" y="0"/>
                    <a:pt x="199549" y="0"/>
                  </a:cubicBezTo>
                  <a:cubicBezTo>
                    <a:pt x="226314" y="0"/>
                    <a:pt x="248984" y="6096"/>
                    <a:pt x="267557" y="18193"/>
                  </a:cubicBezTo>
                  <a:cubicBezTo>
                    <a:pt x="286131" y="30289"/>
                    <a:pt x="300323" y="46387"/>
                    <a:pt x="310134" y="66294"/>
                  </a:cubicBezTo>
                  <a:cubicBezTo>
                    <a:pt x="325279" y="46387"/>
                    <a:pt x="343091" y="30289"/>
                    <a:pt x="363665" y="18193"/>
                  </a:cubicBezTo>
                  <a:cubicBezTo>
                    <a:pt x="384239" y="6096"/>
                    <a:pt x="408718" y="0"/>
                    <a:pt x="437007" y="0"/>
                  </a:cubicBezTo>
                  <a:cubicBezTo>
                    <a:pt x="478060"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8" y="78486"/>
                  </a:cubicBezTo>
                  <a:cubicBezTo>
                    <a:pt x="382810" y="78486"/>
                    <a:pt x="364141" y="86392"/>
                    <a:pt x="349377" y="102108"/>
                  </a:cubicBezTo>
                  <a:cubicBezTo>
                    <a:pt x="334613" y="117824"/>
                    <a:pt x="327184" y="140779"/>
                    <a:pt x="327184" y="170879"/>
                  </a:cubicBezTo>
                  <a:lnTo>
                    <a:pt x="327184" y="381000"/>
                  </a:lnTo>
                  <a:lnTo>
                    <a:pt x="240983" y="381000"/>
                  </a:lnTo>
                  <a:lnTo>
                    <a:pt x="240983" y="168783"/>
                  </a:lnTo>
                  <a:cubicBezTo>
                    <a:pt x="240983" y="139637"/>
                    <a:pt x="234410" y="117348"/>
                    <a:pt x="221266" y="101822"/>
                  </a:cubicBezTo>
                  <a:cubicBezTo>
                    <a:pt x="208121" y="86296"/>
                    <a:pt x="189643" y="78581"/>
                    <a:pt x="165640" y="78581"/>
                  </a:cubicBezTo>
                  <a:cubicBezTo>
                    <a:pt x="141637" y="78581"/>
                    <a:pt x="122492" y="86773"/>
                    <a:pt x="108014"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61" name="Freeform: Shape 22">
              <a:extLst>
                <a:ext uri="{FF2B5EF4-FFF2-40B4-BE49-F238E27FC236}">
                  <a16:creationId xmlns:a16="http://schemas.microsoft.com/office/drawing/2014/main" id="{6B31391A-A2F7-20B5-E916-814C4378B803}"/>
                </a:ext>
              </a:extLst>
            </p:cNvPr>
            <p:cNvSpPr/>
            <p:nvPr/>
          </p:nvSpPr>
          <p:spPr>
            <a:xfrm>
              <a:off x="5587693" y="700007"/>
              <a:ext cx="84211" cy="95752"/>
            </a:xfrm>
            <a:custGeom>
              <a:avLst/>
              <a:gdLst>
                <a:gd name="connsiteX0" fmla="*/ 95 w 334994"/>
                <a:gd name="connsiteY0" fmla="*/ 7715 h 380904"/>
                <a:gd name="connsiteX1" fmla="*/ 86296 w 334994"/>
                <a:gd name="connsiteY1" fmla="*/ 7715 h 380904"/>
                <a:gd name="connsiteX2" fmla="*/ 86296 w 334994"/>
                <a:gd name="connsiteY2" fmla="*/ 66294 h 380904"/>
                <a:gd name="connsiteX3" fmla="*/ 106394 w 334994"/>
                <a:gd name="connsiteY3" fmla="*/ 40958 h 380904"/>
                <a:gd name="connsiteX4" fmla="*/ 131731 w 334994"/>
                <a:gd name="connsiteY4" fmla="*/ 19907 h 380904"/>
                <a:gd name="connsiteX5" fmla="*/ 163449 w 334994"/>
                <a:gd name="connsiteY5" fmla="*/ 5334 h 380904"/>
                <a:gd name="connsiteX6" fmla="*/ 202597 w 334994"/>
                <a:gd name="connsiteY6" fmla="*/ 0 h 380904"/>
                <a:gd name="connsiteX7" fmla="*/ 300514 w 334994"/>
                <a:gd name="connsiteY7" fmla="*/ 38862 h 380904"/>
                <a:gd name="connsiteX8" fmla="*/ 334994 w 334994"/>
                <a:gd name="connsiteY8" fmla="*/ 143446 h 380904"/>
                <a:gd name="connsiteX9" fmla="*/ 334994 w 334994"/>
                <a:gd name="connsiteY9" fmla="*/ 380905 h 380904"/>
                <a:gd name="connsiteX10" fmla="*/ 248793 w 334994"/>
                <a:gd name="connsiteY10" fmla="*/ 380905 h 380904"/>
                <a:gd name="connsiteX11" fmla="*/ 248793 w 334994"/>
                <a:gd name="connsiteY11" fmla="*/ 169450 h 380904"/>
                <a:gd name="connsiteX12" fmla="*/ 228124 w 334994"/>
                <a:gd name="connsiteY12" fmla="*/ 102108 h 380904"/>
                <a:gd name="connsiteX13" fmla="*/ 169640 w 334994"/>
                <a:gd name="connsiteY13" fmla="*/ 78486 h 380904"/>
                <a:gd name="connsiteX14" fmla="*/ 109347 w 334994"/>
                <a:gd name="connsiteY14" fmla="*/ 102775 h 380904"/>
                <a:gd name="connsiteX15" fmla="*/ 86201 w 334994"/>
                <a:gd name="connsiteY15" fmla="*/ 170783 h 380904"/>
                <a:gd name="connsiteX16" fmla="*/ 86201 w 334994"/>
                <a:gd name="connsiteY16" fmla="*/ 380905 h 380904"/>
                <a:gd name="connsiteX17" fmla="*/ 0 w 334994"/>
                <a:gd name="connsiteY17" fmla="*/ 380905 h 380904"/>
                <a:gd name="connsiteX18" fmla="*/ 0 w 334994"/>
                <a:gd name="connsiteY18" fmla="*/ 7810 h 38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94" h="380904">
                  <a:moveTo>
                    <a:pt x="95" y="7715"/>
                  </a:moveTo>
                  <a:lnTo>
                    <a:pt x="86296" y="7715"/>
                  </a:lnTo>
                  <a:lnTo>
                    <a:pt x="86296" y="66294"/>
                  </a:lnTo>
                  <a:cubicBezTo>
                    <a:pt x="92392" y="57245"/>
                    <a:pt x="99060" y="48863"/>
                    <a:pt x="106394" y="40958"/>
                  </a:cubicBezTo>
                  <a:cubicBezTo>
                    <a:pt x="113633" y="33147"/>
                    <a:pt x="122110" y="26099"/>
                    <a:pt x="131731" y="19907"/>
                  </a:cubicBezTo>
                  <a:cubicBezTo>
                    <a:pt x="141351" y="13716"/>
                    <a:pt x="151924" y="8858"/>
                    <a:pt x="163449" y="5334"/>
                  </a:cubicBezTo>
                  <a:cubicBezTo>
                    <a:pt x="174974" y="1714"/>
                    <a:pt x="188024" y="0"/>
                    <a:pt x="202597" y="0"/>
                  </a:cubicBezTo>
                  <a:cubicBezTo>
                    <a:pt x="244888" y="0"/>
                    <a:pt x="277559" y="12954"/>
                    <a:pt x="300514" y="38862"/>
                  </a:cubicBezTo>
                  <a:cubicBezTo>
                    <a:pt x="323564" y="64770"/>
                    <a:pt x="334994" y="99631"/>
                    <a:pt x="334994" y="143446"/>
                  </a:cubicBezTo>
                  <a:lnTo>
                    <a:pt x="334994" y="380905"/>
                  </a:lnTo>
                  <a:lnTo>
                    <a:pt x="248793" y="380905"/>
                  </a:lnTo>
                  <a:lnTo>
                    <a:pt x="248793" y="169450"/>
                  </a:lnTo>
                  <a:cubicBezTo>
                    <a:pt x="248793" y="140303"/>
                    <a:pt x="241935" y="117824"/>
                    <a:pt x="228124" y="102108"/>
                  </a:cubicBezTo>
                  <a:cubicBezTo>
                    <a:pt x="214313" y="86392"/>
                    <a:pt x="194881" y="78486"/>
                    <a:pt x="169640" y="78486"/>
                  </a:cubicBezTo>
                  <a:cubicBezTo>
                    <a:pt x="144399" y="78486"/>
                    <a:pt x="124777" y="86582"/>
                    <a:pt x="109347" y="102775"/>
                  </a:cubicBezTo>
                  <a:cubicBezTo>
                    <a:pt x="93917" y="118967"/>
                    <a:pt x="86201" y="141637"/>
                    <a:pt x="86201" y="170783"/>
                  </a:cubicBezTo>
                  <a:lnTo>
                    <a:pt x="86201" y="380905"/>
                  </a:lnTo>
                  <a:lnTo>
                    <a:pt x="0" y="380905"/>
                  </a:lnTo>
                  <a:lnTo>
                    <a:pt x="0" y="7810"/>
                  </a:lnTo>
                  <a:close/>
                </a:path>
              </a:pathLst>
            </a:custGeom>
            <a:solidFill>
              <a:srgbClr val="44505E"/>
            </a:solidFill>
            <a:ln w="9525" cap="flat">
              <a:noFill/>
              <a:prstDash val="solid"/>
              <a:miter/>
            </a:ln>
          </p:spPr>
          <p:txBody>
            <a:bodyPr rtlCol="0" anchor="ctr"/>
            <a:lstStyle/>
            <a:p>
              <a:endParaRPr lang="pt-BR" noProof="0"/>
            </a:p>
          </p:txBody>
        </p:sp>
        <p:sp>
          <p:nvSpPr>
            <p:cNvPr id="62" name="Freeform: Shape 23">
              <a:extLst>
                <a:ext uri="{FF2B5EF4-FFF2-40B4-BE49-F238E27FC236}">
                  <a16:creationId xmlns:a16="http://schemas.microsoft.com/office/drawing/2014/main" id="{25C0D481-87D7-DF44-DE90-12D8B84B3B7C}"/>
                </a:ext>
              </a:extLst>
            </p:cNvPr>
            <p:cNvSpPr/>
            <p:nvPr/>
          </p:nvSpPr>
          <p:spPr>
            <a:xfrm>
              <a:off x="5692712" y="699959"/>
              <a:ext cx="100015" cy="97908"/>
            </a:xfrm>
            <a:custGeom>
              <a:avLst/>
              <a:gdLst>
                <a:gd name="connsiteX0" fmla="*/ 197834 w 397859"/>
                <a:gd name="connsiteY0" fmla="*/ 389477 h 389477"/>
                <a:gd name="connsiteX1" fmla="*/ 119063 w 397859"/>
                <a:gd name="connsiteY1" fmla="*/ 374237 h 389477"/>
                <a:gd name="connsiteX2" fmla="*/ 56197 w 397859"/>
                <a:gd name="connsiteY2" fmla="*/ 332899 h 389477"/>
                <a:gd name="connsiteX3" fmla="*/ 14859 w 397859"/>
                <a:gd name="connsiteY3" fmla="*/ 271463 h 389477"/>
                <a:gd name="connsiteX4" fmla="*/ 0 w 397859"/>
                <a:gd name="connsiteY4" fmla="*/ 196501 h 389477"/>
                <a:gd name="connsiteX5" fmla="*/ 0 w 397859"/>
                <a:gd name="connsiteY5" fmla="*/ 195072 h 389477"/>
                <a:gd name="connsiteX6" fmla="*/ 15145 w 397859"/>
                <a:gd name="connsiteY6" fmla="*/ 119444 h 389477"/>
                <a:gd name="connsiteX7" fmla="*/ 56864 w 397859"/>
                <a:gd name="connsiteY7" fmla="*/ 57626 h 389477"/>
                <a:gd name="connsiteX8" fmla="*/ 119729 w 397859"/>
                <a:gd name="connsiteY8" fmla="*/ 15526 h 389477"/>
                <a:gd name="connsiteX9" fmla="*/ 199263 w 397859"/>
                <a:gd name="connsiteY9" fmla="*/ 0 h 389477"/>
                <a:gd name="connsiteX10" fmla="*/ 278797 w 397859"/>
                <a:gd name="connsiteY10" fmla="*/ 15240 h 389477"/>
                <a:gd name="connsiteX11" fmla="*/ 341662 w 397859"/>
                <a:gd name="connsiteY11" fmla="*/ 56959 h 389477"/>
                <a:gd name="connsiteX12" fmla="*/ 383000 w 397859"/>
                <a:gd name="connsiteY12" fmla="*/ 118396 h 389477"/>
                <a:gd name="connsiteX13" fmla="*/ 397859 w 397859"/>
                <a:gd name="connsiteY13" fmla="*/ 193643 h 389477"/>
                <a:gd name="connsiteX14" fmla="*/ 397859 w 397859"/>
                <a:gd name="connsiteY14" fmla="*/ 195072 h 389477"/>
                <a:gd name="connsiteX15" fmla="*/ 382619 w 397859"/>
                <a:gd name="connsiteY15" fmla="*/ 270034 h 389477"/>
                <a:gd name="connsiteX16" fmla="*/ 340900 w 397859"/>
                <a:gd name="connsiteY16" fmla="*/ 331851 h 389477"/>
                <a:gd name="connsiteX17" fmla="*/ 277654 w 397859"/>
                <a:gd name="connsiteY17" fmla="*/ 373856 h 389477"/>
                <a:gd name="connsiteX18" fmla="*/ 197834 w 397859"/>
                <a:gd name="connsiteY18" fmla="*/ 389382 h 389477"/>
                <a:gd name="connsiteX19" fmla="*/ 199263 w 397859"/>
                <a:gd name="connsiteY19" fmla="*/ 315278 h 389477"/>
                <a:gd name="connsiteX20" fmla="*/ 245935 w 397859"/>
                <a:gd name="connsiteY20" fmla="*/ 305753 h 389477"/>
                <a:gd name="connsiteX21" fmla="*/ 281368 w 397859"/>
                <a:gd name="connsiteY21" fmla="*/ 279940 h 389477"/>
                <a:gd name="connsiteX22" fmla="*/ 303847 w 397859"/>
                <a:gd name="connsiteY22" fmla="*/ 242125 h 389477"/>
                <a:gd name="connsiteX23" fmla="*/ 311563 w 397859"/>
                <a:gd name="connsiteY23" fmla="*/ 196501 h 389477"/>
                <a:gd name="connsiteX24" fmla="*/ 311563 w 397859"/>
                <a:gd name="connsiteY24" fmla="*/ 195072 h 389477"/>
                <a:gd name="connsiteX25" fmla="*/ 303181 w 397859"/>
                <a:gd name="connsiteY25" fmla="*/ 148400 h 389477"/>
                <a:gd name="connsiteX26" fmla="*/ 279654 w 397859"/>
                <a:gd name="connsiteY26" fmla="*/ 110204 h 389477"/>
                <a:gd name="connsiteX27" fmla="*/ 243840 w 397859"/>
                <a:gd name="connsiteY27" fmla="*/ 84392 h 389477"/>
                <a:gd name="connsiteX28" fmla="*/ 197834 w 397859"/>
                <a:gd name="connsiteY28" fmla="*/ 74867 h 389477"/>
                <a:gd name="connsiteX29" fmla="*/ 151829 w 397859"/>
                <a:gd name="connsiteY29" fmla="*/ 84392 h 389477"/>
                <a:gd name="connsiteX30" fmla="*/ 116396 w 397859"/>
                <a:gd name="connsiteY30" fmla="*/ 109823 h 389477"/>
                <a:gd name="connsiteX31" fmla="*/ 93917 w 397859"/>
                <a:gd name="connsiteY31" fmla="*/ 147638 h 389477"/>
                <a:gd name="connsiteX32" fmla="*/ 86201 w 397859"/>
                <a:gd name="connsiteY32" fmla="*/ 193548 h 389477"/>
                <a:gd name="connsiteX33" fmla="*/ 86201 w 397859"/>
                <a:gd name="connsiteY33" fmla="*/ 194977 h 389477"/>
                <a:gd name="connsiteX34" fmla="*/ 94583 w 397859"/>
                <a:gd name="connsiteY34" fmla="*/ 241268 h 389477"/>
                <a:gd name="connsiteX35" fmla="*/ 118110 w 397859"/>
                <a:gd name="connsiteY35" fmla="*/ 279463 h 389477"/>
                <a:gd name="connsiteX36" fmla="*/ 153924 w 397859"/>
                <a:gd name="connsiteY36" fmla="*/ 305562 h 389477"/>
                <a:gd name="connsiteX37" fmla="*/ 199263 w 397859"/>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859" h="389477">
                  <a:moveTo>
                    <a:pt x="197834" y="389477"/>
                  </a:moveTo>
                  <a:cubicBezTo>
                    <a:pt x="169545" y="389477"/>
                    <a:pt x="143351" y="384429"/>
                    <a:pt x="119063" y="374237"/>
                  </a:cubicBezTo>
                  <a:cubicBezTo>
                    <a:pt x="94774" y="364141"/>
                    <a:pt x="73819" y="350330"/>
                    <a:pt x="56197" y="332899"/>
                  </a:cubicBezTo>
                  <a:cubicBezTo>
                    <a:pt x="38481" y="315468"/>
                    <a:pt x="24765" y="294989"/>
                    <a:pt x="14859" y="271463"/>
                  </a:cubicBezTo>
                  <a:cubicBezTo>
                    <a:pt x="4953" y="247936"/>
                    <a:pt x="0" y="222980"/>
                    <a:pt x="0" y="196501"/>
                  </a:cubicBezTo>
                  <a:lnTo>
                    <a:pt x="0" y="195072"/>
                  </a:lnTo>
                  <a:cubicBezTo>
                    <a:pt x="0" y="168212"/>
                    <a:pt x="5048" y="143066"/>
                    <a:pt x="15145" y="119444"/>
                  </a:cubicBezTo>
                  <a:cubicBezTo>
                    <a:pt x="25241" y="95917"/>
                    <a:pt x="39148" y="75248"/>
                    <a:pt x="56864" y="57626"/>
                  </a:cubicBezTo>
                  <a:cubicBezTo>
                    <a:pt x="74581" y="39910"/>
                    <a:pt x="95536" y="25908"/>
                    <a:pt x="119729" y="15526"/>
                  </a:cubicBezTo>
                  <a:cubicBezTo>
                    <a:pt x="144018" y="5144"/>
                    <a:pt x="170497" y="0"/>
                    <a:pt x="199263" y="0"/>
                  </a:cubicBezTo>
                  <a:cubicBezTo>
                    <a:pt x="228029" y="0"/>
                    <a:pt x="254508" y="5048"/>
                    <a:pt x="278797" y="15240"/>
                  </a:cubicBezTo>
                  <a:cubicBezTo>
                    <a:pt x="303085" y="25337"/>
                    <a:pt x="324041" y="39243"/>
                    <a:pt x="341662" y="56959"/>
                  </a:cubicBezTo>
                  <a:cubicBezTo>
                    <a:pt x="359378" y="74676"/>
                    <a:pt x="373094" y="95155"/>
                    <a:pt x="383000" y="118396"/>
                  </a:cubicBezTo>
                  <a:cubicBezTo>
                    <a:pt x="392906" y="141732"/>
                    <a:pt x="397859" y="166783"/>
                    <a:pt x="397859" y="193643"/>
                  </a:cubicBezTo>
                  <a:lnTo>
                    <a:pt x="397859" y="195072"/>
                  </a:lnTo>
                  <a:cubicBezTo>
                    <a:pt x="397859" y="221456"/>
                    <a:pt x="392811" y="246412"/>
                    <a:pt x="382619" y="270034"/>
                  </a:cubicBezTo>
                  <a:cubicBezTo>
                    <a:pt x="372523" y="293561"/>
                    <a:pt x="358616" y="314230"/>
                    <a:pt x="340900" y="331851"/>
                  </a:cubicBezTo>
                  <a:cubicBezTo>
                    <a:pt x="323183" y="349472"/>
                    <a:pt x="302133" y="363569"/>
                    <a:pt x="277654" y="373856"/>
                  </a:cubicBezTo>
                  <a:cubicBezTo>
                    <a:pt x="253175" y="384238"/>
                    <a:pt x="226504" y="389382"/>
                    <a:pt x="197834" y="389382"/>
                  </a:cubicBezTo>
                  <a:close/>
                  <a:moveTo>
                    <a:pt x="199263" y="315278"/>
                  </a:moveTo>
                  <a:cubicBezTo>
                    <a:pt x="216598" y="315278"/>
                    <a:pt x="232124" y="312039"/>
                    <a:pt x="245935" y="305753"/>
                  </a:cubicBezTo>
                  <a:cubicBezTo>
                    <a:pt x="259747" y="299371"/>
                    <a:pt x="271558" y="290798"/>
                    <a:pt x="281368" y="279940"/>
                  </a:cubicBezTo>
                  <a:cubicBezTo>
                    <a:pt x="291179" y="269081"/>
                    <a:pt x="298704" y="256508"/>
                    <a:pt x="303847" y="242125"/>
                  </a:cubicBezTo>
                  <a:cubicBezTo>
                    <a:pt x="308991" y="227743"/>
                    <a:pt x="311563" y="212598"/>
                    <a:pt x="311563" y="196501"/>
                  </a:cubicBezTo>
                  <a:lnTo>
                    <a:pt x="311563" y="195072"/>
                  </a:lnTo>
                  <a:cubicBezTo>
                    <a:pt x="311563" y="178594"/>
                    <a:pt x="308800" y="163068"/>
                    <a:pt x="303181" y="148400"/>
                  </a:cubicBezTo>
                  <a:cubicBezTo>
                    <a:pt x="297561" y="133826"/>
                    <a:pt x="289750" y="121063"/>
                    <a:pt x="279654" y="110204"/>
                  </a:cubicBezTo>
                  <a:cubicBezTo>
                    <a:pt x="269558" y="99346"/>
                    <a:pt x="257651" y="90773"/>
                    <a:pt x="243840" y="84392"/>
                  </a:cubicBezTo>
                  <a:cubicBezTo>
                    <a:pt x="230029" y="78010"/>
                    <a:pt x="214693" y="74867"/>
                    <a:pt x="197834" y="74867"/>
                  </a:cubicBezTo>
                  <a:cubicBezTo>
                    <a:pt x="180975" y="74867"/>
                    <a:pt x="165640" y="78010"/>
                    <a:pt x="151829" y="84392"/>
                  </a:cubicBezTo>
                  <a:cubicBezTo>
                    <a:pt x="138017" y="90773"/>
                    <a:pt x="126206" y="99250"/>
                    <a:pt x="116396" y="109823"/>
                  </a:cubicBezTo>
                  <a:cubicBezTo>
                    <a:pt x="106585" y="120396"/>
                    <a:pt x="99060" y="133064"/>
                    <a:pt x="93917" y="147638"/>
                  </a:cubicBezTo>
                  <a:cubicBezTo>
                    <a:pt x="88773" y="162211"/>
                    <a:pt x="86201" y="177546"/>
                    <a:pt x="86201" y="193548"/>
                  </a:cubicBezTo>
                  <a:lnTo>
                    <a:pt x="86201" y="194977"/>
                  </a:lnTo>
                  <a:cubicBezTo>
                    <a:pt x="86201" y="211455"/>
                    <a:pt x="88963" y="226886"/>
                    <a:pt x="94583" y="241268"/>
                  </a:cubicBezTo>
                  <a:cubicBezTo>
                    <a:pt x="100203" y="255651"/>
                    <a:pt x="108013" y="268319"/>
                    <a:pt x="118110" y="279463"/>
                  </a:cubicBezTo>
                  <a:cubicBezTo>
                    <a:pt x="128206" y="290513"/>
                    <a:pt x="140113" y="299275"/>
                    <a:pt x="153924" y="305562"/>
                  </a:cubicBezTo>
                  <a:cubicBezTo>
                    <a:pt x="167735" y="311944"/>
                    <a:pt x="182880"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63" name="Freeform: Shape 24">
              <a:extLst>
                <a:ext uri="{FF2B5EF4-FFF2-40B4-BE49-F238E27FC236}">
                  <a16:creationId xmlns:a16="http://schemas.microsoft.com/office/drawing/2014/main" id="{2C7E5F75-2AD5-9618-C96D-12CB86C1BAA5}"/>
                </a:ext>
              </a:extLst>
            </p:cNvPr>
            <p:cNvSpPr/>
            <p:nvPr/>
          </p:nvSpPr>
          <p:spPr>
            <a:xfrm>
              <a:off x="5806925"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2 w 296894"/>
                <a:gd name="connsiteY36" fmla="*/ 224980 h 386714"/>
                <a:gd name="connsiteX37" fmla="*/ 296894 w 296894"/>
                <a:gd name="connsiteY37" fmla="*/ 267938 h 386714"/>
                <a:gd name="connsiteX38" fmla="*/ 296894 w 296894"/>
                <a:gd name="connsiteY38" fmla="*/ 269367 h 386714"/>
                <a:gd name="connsiteX39" fmla="*/ 286322 w 296894"/>
                <a:gd name="connsiteY39" fmla="*/ 320897 h 386714"/>
                <a:gd name="connsiteX40" fmla="*/ 256984 w 296894"/>
                <a:gd name="connsiteY40" fmla="*/ 357188 h 386714"/>
                <a:gd name="connsiteX41" fmla="*/ 212789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8" y="298704"/>
                    <a:pt x="100013" y="306514"/>
                  </a:cubicBezTo>
                  <a:cubicBezTo>
                    <a:pt x="120967" y="314325"/>
                    <a:pt x="141161" y="318135"/>
                    <a:pt x="160401" y="318135"/>
                  </a:cubicBezTo>
                  <a:cubicBezTo>
                    <a:pt x="179642" y="318135"/>
                    <a:pt x="192976"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2" y="241078"/>
                    <a:pt x="176498" y="237553"/>
                    <a:pt x="166402" y="234220"/>
                  </a:cubicBezTo>
                  <a:cubicBezTo>
                    <a:pt x="156305" y="230886"/>
                    <a:pt x="145733" y="227647"/>
                    <a:pt x="134969" y="224314"/>
                  </a:cubicBezTo>
                  <a:cubicBezTo>
                    <a:pt x="121253" y="220599"/>
                    <a:pt x="107537" y="216122"/>
                    <a:pt x="93631" y="210884"/>
                  </a:cubicBezTo>
                  <a:cubicBezTo>
                    <a:pt x="79724" y="205740"/>
                    <a:pt x="67246" y="198977"/>
                    <a:pt x="56197" y="190786"/>
                  </a:cubicBezTo>
                  <a:cubicBezTo>
                    <a:pt x="45149" y="182594"/>
                    <a:pt x="36100" y="172307"/>
                    <a:pt x="28956" y="160115"/>
                  </a:cubicBezTo>
                  <a:cubicBezTo>
                    <a:pt x="21908"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5"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7" y="156210"/>
                    <a:pt x="180975" y="159448"/>
                  </a:cubicBezTo>
                  <a:cubicBezTo>
                    <a:pt x="194596" y="163639"/>
                    <a:pt x="208312" y="168592"/>
                    <a:pt x="222028" y="174212"/>
                  </a:cubicBezTo>
                  <a:cubicBezTo>
                    <a:pt x="235649" y="179832"/>
                    <a:pt x="248031" y="186785"/>
                    <a:pt x="259080" y="194977"/>
                  </a:cubicBezTo>
                  <a:cubicBezTo>
                    <a:pt x="270129" y="203168"/>
                    <a:pt x="279273" y="213169"/>
                    <a:pt x="286322" y="224980"/>
                  </a:cubicBezTo>
                  <a:cubicBezTo>
                    <a:pt x="293370" y="236696"/>
                    <a:pt x="296894" y="251079"/>
                    <a:pt x="296894" y="267938"/>
                  </a:cubicBezTo>
                  <a:lnTo>
                    <a:pt x="296894" y="269367"/>
                  </a:lnTo>
                  <a:cubicBezTo>
                    <a:pt x="296894" y="289084"/>
                    <a:pt x="293370" y="306229"/>
                    <a:pt x="286322" y="320897"/>
                  </a:cubicBezTo>
                  <a:cubicBezTo>
                    <a:pt x="279273" y="335470"/>
                    <a:pt x="269462" y="347567"/>
                    <a:pt x="256984" y="357188"/>
                  </a:cubicBezTo>
                  <a:cubicBezTo>
                    <a:pt x="244507" y="366808"/>
                    <a:pt x="229743" y="374142"/>
                    <a:pt x="212789"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64" name="Freeform: Shape 25">
              <a:extLst>
                <a:ext uri="{FF2B5EF4-FFF2-40B4-BE49-F238E27FC236}">
                  <a16:creationId xmlns:a16="http://schemas.microsoft.com/office/drawing/2014/main" id="{D766187E-D2BE-582F-3347-8A06A155065E}"/>
                </a:ext>
              </a:extLst>
            </p:cNvPr>
            <p:cNvSpPr/>
            <p:nvPr/>
          </p:nvSpPr>
          <p:spPr>
            <a:xfrm>
              <a:off x="589573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6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160" y="318135"/>
                    <a:pt x="160401" y="318135"/>
                  </a:cubicBezTo>
                  <a:cubicBezTo>
                    <a:pt x="179641" y="318135"/>
                    <a:pt x="192976"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4"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792"/>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65" name="Freeform: Shape 26">
              <a:extLst>
                <a:ext uri="{FF2B5EF4-FFF2-40B4-BE49-F238E27FC236}">
                  <a16:creationId xmlns:a16="http://schemas.microsoft.com/office/drawing/2014/main" id="{B147FAAB-E252-2995-E6FC-AD6D8DBCB29D}"/>
                </a:ext>
              </a:extLst>
            </p:cNvPr>
            <p:cNvSpPr/>
            <p:nvPr/>
          </p:nvSpPr>
          <p:spPr>
            <a:xfrm>
              <a:off x="5985812" y="700558"/>
              <a:ext cx="85097" cy="97141"/>
            </a:xfrm>
            <a:custGeom>
              <a:avLst/>
              <a:gdLst>
                <a:gd name="connsiteX0" fmla="*/ 253651 w 338518"/>
                <a:gd name="connsiteY0" fmla="*/ 378619 h 386429"/>
                <a:gd name="connsiteX1" fmla="*/ 253651 w 338518"/>
                <a:gd name="connsiteY1" fmla="*/ 332708 h 386429"/>
                <a:gd name="connsiteX2" fmla="*/ 204883 w 338518"/>
                <a:gd name="connsiteY2" fmla="*/ 370904 h 386429"/>
                <a:gd name="connsiteX3" fmla="*/ 132779 w 338518"/>
                <a:gd name="connsiteY3" fmla="*/ 386429 h 386429"/>
                <a:gd name="connsiteX4" fmla="*/ 81915 w 338518"/>
                <a:gd name="connsiteY4" fmla="*/ 379000 h 386429"/>
                <a:gd name="connsiteX5" fmla="*/ 39910 w 338518"/>
                <a:gd name="connsiteY5" fmla="*/ 357092 h 386429"/>
                <a:gd name="connsiteX6" fmla="*/ 10954 w 338518"/>
                <a:gd name="connsiteY6" fmla="*/ 321088 h 386429"/>
                <a:gd name="connsiteX7" fmla="*/ 0 w 338518"/>
                <a:gd name="connsiteY7" fmla="*/ 271272 h 386429"/>
                <a:gd name="connsiteX8" fmla="*/ 0 w 338518"/>
                <a:gd name="connsiteY8" fmla="*/ 269843 h 386429"/>
                <a:gd name="connsiteX9" fmla="*/ 11335 w 338518"/>
                <a:gd name="connsiteY9" fmla="*/ 215741 h 386429"/>
                <a:gd name="connsiteX10" fmla="*/ 42767 w 338518"/>
                <a:gd name="connsiteY10" fmla="*/ 177546 h 386429"/>
                <a:gd name="connsiteX11" fmla="*/ 90773 w 338518"/>
                <a:gd name="connsiteY11" fmla="*/ 154972 h 386429"/>
                <a:gd name="connsiteX12" fmla="*/ 151162 w 338518"/>
                <a:gd name="connsiteY12" fmla="*/ 147542 h 386429"/>
                <a:gd name="connsiteX13" fmla="*/ 208788 w 338518"/>
                <a:gd name="connsiteY13" fmla="*/ 151829 h 386429"/>
                <a:gd name="connsiteX14" fmla="*/ 254413 w 338518"/>
                <a:gd name="connsiteY14" fmla="*/ 163163 h 386429"/>
                <a:gd name="connsiteX15" fmla="*/ 254413 w 338518"/>
                <a:gd name="connsiteY15" fmla="*/ 156115 h 386429"/>
                <a:gd name="connsiteX16" fmla="*/ 230696 w 338518"/>
                <a:gd name="connsiteY16" fmla="*/ 96774 h 386429"/>
                <a:gd name="connsiteX17" fmla="*/ 162496 w 338518"/>
                <a:gd name="connsiteY17" fmla="*/ 76295 h 386429"/>
                <a:gd name="connsiteX18" fmla="*/ 106013 w 338518"/>
                <a:gd name="connsiteY18" fmla="*/ 82677 h 386429"/>
                <a:gd name="connsiteX19" fmla="*/ 55816 w 338518"/>
                <a:gd name="connsiteY19" fmla="*/ 99632 h 386429"/>
                <a:gd name="connsiteX20" fmla="*/ 32480 w 338518"/>
                <a:gd name="connsiteY20" fmla="*/ 31052 h 386429"/>
                <a:gd name="connsiteX21" fmla="*/ 96107 w 338518"/>
                <a:gd name="connsiteY21" fmla="*/ 8477 h 386429"/>
                <a:gd name="connsiteX22" fmla="*/ 174593 w 338518"/>
                <a:gd name="connsiteY22" fmla="*/ 0 h 386429"/>
                <a:gd name="connsiteX23" fmla="*/ 298228 w 338518"/>
                <a:gd name="connsiteY23" fmla="*/ 41338 h 386429"/>
                <a:gd name="connsiteX24" fmla="*/ 338519 w 338518"/>
                <a:gd name="connsiteY24" fmla="*/ 157544 h 386429"/>
                <a:gd name="connsiteX25" fmla="*/ 338519 w 338518"/>
                <a:gd name="connsiteY25" fmla="*/ 378714 h 386429"/>
                <a:gd name="connsiteX26" fmla="*/ 253746 w 338518"/>
                <a:gd name="connsiteY26" fmla="*/ 378714 h 386429"/>
                <a:gd name="connsiteX27" fmla="*/ 255746 w 338518"/>
                <a:gd name="connsiteY27" fmla="*/ 222409 h 386429"/>
                <a:gd name="connsiteX28" fmla="*/ 217265 w 338518"/>
                <a:gd name="connsiteY28" fmla="*/ 211836 h 386429"/>
                <a:gd name="connsiteX29" fmla="*/ 170307 w 338518"/>
                <a:gd name="connsiteY29" fmla="*/ 207550 h 386429"/>
                <a:gd name="connsiteX30" fmla="*/ 107442 w 338518"/>
                <a:gd name="connsiteY30" fmla="*/ 223075 h 386429"/>
                <a:gd name="connsiteX31" fmla="*/ 84868 w 338518"/>
                <a:gd name="connsiteY31" fmla="*/ 265462 h 386429"/>
                <a:gd name="connsiteX32" fmla="*/ 84868 w 338518"/>
                <a:gd name="connsiteY32" fmla="*/ 266891 h 386429"/>
                <a:gd name="connsiteX33" fmla="*/ 105728 w 338518"/>
                <a:gd name="connsiteY33" fmla="*/ 307848 h 386429"/>
                <a:gd name="connsiteX34" fmla="*/ 156972 w 338518"/>
                <a:gd name="connsiteY34" fmla="*/ 321945 h 386429"/>
                <a:gd name="connsiteX35" fmla="*/ 196215 w 338518"/>
                <a:gd name="connsiteY35" fmla="*/ 316325 h 386429"/>
                <a:gd name="connsiteX36" fmla="*/ 227647 w 338518"/>
                <a:gd name="connsiteY36" fmla="*/ 300419 h 386429"/>
                <a:gd name="connsiteX37" fmla="*/ 248507 w 338518"/>
                <a:gd name="connsiteY37" fmla="*/ 275654 h 386429"/>
                <a:gd name="connsiteX38" fmla="*/ 255937 w 338518"/>
                <a:gd name="connsiteY38" fmla="*/ 243459 h 386429"/>
                <a:gd name="connsiteX39" fmla="*/ 255937 w 338518"/>
                <a:gd name="connsiteY39" fmla="*/ 222218 h 3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8518" h="386429">
                  <a:moveTo>
                    <a:pt x="253651" y="378619"/>
                  </a:moveTo>
                  <a:lnTo>
                    <a:pt x="253651" y="332708"/>
                  </a:lnTo>
                  <a:cubicBezTo>
                    <a:pt x="240887" y="347758"/>
                    <a:pt x="224695" y="360521"/>
                    <a:pt x="204883" y="370904"/>
                  </a:cubicBezTo>
                  <a:cubicBezTo>
                    <a:pt x="185071" y="381286"/>
                    <a:pt x="161068" y="386429"/>
                    <a:pt x="132779" y="386429"/>
                  </a:cubicBezTo>
                  <a:cubicBezTo>
                    <a:pt x="114871" y="386429"/>
                    <a:pt x="97917" y="383953"/>
                    <a:pt x="81915" y="379000"/>
                  </a:cubicBezTo>
                  <a:cubicBezTo>
                    <a:pt x="65913" y="374047"/>
                    <a:pt x="51911" y="366713"/>
                    <a:pt x="39910" y="357092"/>
                  </a:cubicBezTo>
                  <a:cubicBezTo>
                    <a:pt x="27908" y="347472"/>
                    <a:pt x="18193" y="335471"/>
                    <a:pt x="10954" y="321088"/>
                  </a:cubicBezTo>
                  <a:cubicBezTo>
                    <a:pt x="3620" y="306705"/>
                    <a:pt x="0" y="290132"/>
                    <a:pt x="0" y="271272"/>
                  </a:cubicBezTo>
                  <a:lnTo>
                    <a:pt x="0" y="269843"/>
                  </a:lnTo>
                  <a:cubicBezTo>
                    <a:pt x="0" y="249079"/>
                    <a:pt x="3810" y="231077"/>
                    <a:pt x="11335" y="215741"/>
                  </a:cubicBezTo>
                  <a:cubicBezTo>
                    <a:pt x="18859" y="200406"/>
                    <a:pt x="29337" y="187738"/>
                    <a:pt x="42767" y="177546"/>
                  </a:cubicBezTo>
                  <a:cubicBezTo>
                    <a:pt x="56197" y="167450"/>
                    <a:pt x="72199" y="159925"/>
                    <a:pt x="90773" y="154972"/>
                  </a:cubicBezTo>
                  <a:cubicBezTo>
                    <a:pt x="109347" y="150019"/>
                    <a:pt x="129540" y="147542"/>
                    <a:pt x="151162" y="147542"/>
                  </a:cubicBezTo>
                  <a:cubicBezTo>
                    <a:pt x="172783" y="147542"/>
                    <a:pt x="192976" y="148971"/>
                    <a:pt x="208788" y="151829"/>
                  </a:cubicBezTo>
                  <a:cubicBezTo>
                    <a:pt x="224599" y="154686"/>
                    <a:pt x="239744" y="158401"/>
                    <a:pt x="254413" y="163163"/>
                  </a:cubicBezTo>
                  <a:lnTo>
                    <a:pt x="254413" y="156115"/>
                  </a:lnTo>
                  <a:cubicBezTo>
                    <a:pt x="254413" y="130207"/>
                    <a:pt x="246507" y="110395"/>
                    <a:pt x="230696" y="96774"/>
                  </a:cubicBezTo>
                  <a:cubicBezTo>
                    <a:pt x="214884" y="83153"/>
                    <a:pt x="192214" y="76295"/>
                    <a:pt x="162496" y="76295"/>
                  </a:cubicBezTo>
                  <a:cubicBezTo>
                    <a:pt x="141351" y="76295"/>
                    <a:pt x="122491" y="78391"/>
                    <a:pt x="106013" y="82677"/>
                  </a:cubicBezTo>
                  <a:cubicBezTo>
                    <a:pt x="89535" y="86963"/>
                    <a:pt x="72771" y="92583"/>
                    <a:pt x="55816" y="99632"/>
                  </a:cubicBezTo>
                  <a:lnTo>
                    <a:pt x="32480" y="31052"/>
                  </a:lnTo>
                  <a:cubicBezTo>
                    <a:pt x="53149" y="21622"/>
                    <a:pt x="74390" y="14097"/>
                    <a:pt x="96107" y="8477"/>
                  </a:cubicBezTo>
                  <a:cubicBezTo>
                    <a:pt x="117729" y="2858"/>
                    <a:pt x="143923" y="0"/>
                    <a:pt x="174593" y="0"/>
                  </a:cubicBezTo>
                  <a:cubicBezTo>
                    <a:pt x="230124" y="0"/>
                    <a:pt x="271367" y="13811"/>
                    <a:pt x="298228" y="41338"/>
                  </a:cubicBezTo>
                  <a:cubicBezTo>
                    <a:pt x="325088" y="68866"/>
                    <a:pt x="338519" y="107633"/>
                    <a:pt x="338519" y="157544"/>
                  </a:cubicBezTo>
                  <a:lnTo>
                    <a:pt x="338519" y="378714"/>
                  </a:lnTo>
                  <a:lnTo>
                    <a:pt x="253746" y="378714"/>
                  </a:lnTo>
                  <a:close/>
                  <a:moveTo>
                    <a:pt x="255746" y="222409"/>
                  </a:moveTo>
                  <a:cubicBezTo>
                    <a:pt x="244888" y="218123"/>
                    <a:pt x="232029" y="214598"/>
                    <a:pt x="217265" y="211836"/>
                  </a:cubicBezTo>
                  <a:cubicBezTo>
                    <a:pt x="202406" y="208979"/>
                    <a:pt x="186785" y="207550"/>
                    <a:pt x="170307" y="207550"/>
                  </a:cubicBezTo>
                  <a:cubicBezTo>
                    <a:pt x="143446" y="207550"/>
                    <a:pt x="122491" y="212693"/>
                    <a:pt x="107442" y="223075"/>
                  </a:cubicBezTo>
                  <a:cubicBezTo>
                    <a:pt x="92392" y="233458"/>
                    <a:pt x="84868" y="247555"/>
                    <a:pt x="84868" y="265462"/>
                  </a:cubicBezTo>
                  <a:lnTo>
                    <a:pt x="84868" y="266891"/>
                  </a:lnTo>
                  <a:cubicBezTo>
                    <a:pt x="84868" y="284798"/>
                    <a:pt x="91821" y="298418"/>
                    <a:pt x="105728" y="307848"/>
                  </a:cubicBezTo>
                  <a:cubicBezTo>
                    <a:pt x="119634" y="317278"/>
                    <a:pt x="136684" y="321945"/>
                    <a:pt x="156972" y="321945"/>
                  </a:cubicBezTo>
                  <a:cubicBezTo>
                    <a:pt x="171069" y="321945"/>
                    <a:pt x="184213" y="320040"/>
                    <a:pt x="196215" y="316325"/>
                  </a:cubicBezTo>
                  <a:cubicBezTo>
                    <a:pt x="208216" y="312515"/>
                    <a:pt x="218694" y="307277"/>
                    <a:pt x="227647" y="300419"/>
                  </a:cubicBezTo>
                  <a:cubicBezTo>
                    <a:pt x="236601" y="293561"/>
                    <a:pt x="243554" y="285369"/>
                    <a:pt x="248507" y="275654"/>
                  </a:cubicBezTo>
                  <a:cubicBezTo>
                    <a:pt x="253460" y="266033"/>
                    <a:pt x="255937" y="255270"/>
                    <a:pt x="255937" y="243459"/>
                  </a:cubicBezTo>
                  <a:lnTo>
                    <a:pt x="255937" y="222218"/>
                  </a:lnTo>
                  <a:close/>
                </a:path>
              </a:pathLst>
            </a:custGeom>
            <a:solidFill>
              <a:srgbClr val="44505E"/>
            </a:solidFill>
            <a:ln w="9525" cap="flat">
              <a:noFill/>
              <a:prstDash val="solid"/>
              <a:miter/>
            </a:ln>
          </p:spPr>
          <p:txBody>
            <a:bodyPr rtlCol="0" anchor="ctr"/>
            <a:lstStyle/>
            <a:p>
              <a:endParaRPr lang="pt-BR" noProof="0"/>
            </a:p>
          </p:txBody>
        </p:sp>
        <p:sp>
          <p:nvSpPr>
            <p:cNvPr id="66" name="Freeform: Shape 27">
              <a:extLst>
                <a:ext uri="{FF2B5EF4-FFF2-40B4-BE49-F238E27FC236}">
                  <a16:creationId xmlns:a16="http://schemas.microsoft.com/office/drawing/2014/main" id="{63E916E2-9A6D-4748-BDDC-CADFF9B0CF1C}"/>
                </a:ext>
              </a:extLst>
            </p:cNvPr>
            <p:cNvSpPr/>
            <p:nvPr/>
          </p:nvSpPr>
          <p:spPr>
            <a:xfrm>
              <a:off x="6088843" y="700318"/>
              <a:ext cx="74610" cy="97213"/>
            </a:xfrm>
            <a:custGeom>
              <a:avLst/>
              <a:gdLst>
                <a:gd name="connsiteX0" fmla="*/ 158305 w 296799"/>
                <a:gd name="connsiteY0" fmla="*/ 386715 h 386714"/>
                <a:gd name="connsiteX1" fmla="*/ 76676 w 296799"/>
                <a:gd name="connsiteY1" fmla="*/ 372427 h 386714"/>
                <a:gd name="connsiteX2" fmla="*/ 0 w 296799"/>
                <a:gd name="connsiteY2" fmla="*/ 330327 h 386714"/>
                <a:gd name="connsiteX3" fmla="*/ 38195 w 296799"/>
                <a:gd name="connsiteY3" fmla="*/ 272224 h 386714"/>
                <a:gd name="connsiteX4" fmla="*/ 100013 w 296799"/>
                <a:gd name="connsiteY4" fmla="*/ 306514 h 386714"/>
                <a:gd name="connsiteX5" fmla="*/ 160401 w 296799"/>
                <a:gd name="connsiteY5" fmla="*/ 318135 h 386714"/>
                <a:gd name="connsiteX6" fmla="*/ 203168 w 296799"/>
                <a:gd name="connsiteY6" fmla="*/ 307181 h 386714"/>
                <a:gd name="connsiteX7" fmla="*/ 218408 w 296799"/>
                <a:gd name="connsiteY7" fmla="*/ 277939 h 386714"/>
                <a:gd name="connsiteX8" fmla="*/ 218408 w 296799"/>
                <a:gd name="connsiteY8" fmla="*/ 276511 h 386714"/>
                <a:gd name="connsiteX9" fmla="*/ 211646 w 296799"/>
                <a:gd name="connsiteY9" fmla="*/ 258223 h 386714"/>
                <a:gd name="connsiteX10" fmla="*/ 193262 w 296799"/>
                <a:gd name="connsiteY10" fmla="*/ 244792 h 386714"/>
                <a:gd name="connsiteX11" fmla="*/ 166402 w 296799"/>
                <a:gd name="connsiteY11" fmla="*/ 234220 h 386714"/>
                <a:gd name="connsiteX12" fmla="*/ 134969 w 296799"/>
                <a:gd name="connsiteY12" fmla="*/ 224314 h 386714"/>
                <a:gd name="connsiteX13" fmla="*/ 93631 w 296799"/>
                <a:gd name="connsiteY13" fmla="*/ 210884 h 386714"/>
                <a:gd name="connsiteX14" fmla="*/ 56197 w 296799"/>
                <a:gd name="connsiteY14" fmla="*/ 190786 h 386714"/>
                <a:gd name="connsiteX15" fmla="*/ 28956 w 296799"/>
                <a:gd name="connsiteY15" fmla="*/ 160115 h 386714"/>
                <a:gd name="connsiteX16" fmla="*/ 18383 w 296799"/>
                <a:gd name="connsiteY16" fmla="*/ 114967 h 386714"/>
                <a:gd name="connsiteX17" fmla="*/ 18383 w 296799"/>
                <a:gd name="connsiteY17" fmla="*/ 113538 h 386714"/>
                <a:gd name="connsiteX18" fmla="*/ 28575 w 296799"/>
                <a:gd name="connsiteY18" fmla="*/ 66294 h 386714"/>
                <a:gd name="connsiteX19" fmla="*/ 56864 w 296799"/>
                <a:gd name="connsiteY19" fmla="*/ 30385 h 386714"/>
                <a:gd name="connsiteX20" fmla="*/ 99250 w 296799"/>
                <a:gd name="connsiteY20" fmla="*/ 7810 h 386714"/>
                <a:gd name="connsiteX21" fmla="*/ 151162 w 296799"/>
                <a:gd name="connsiteY21" fmla="*/ 0 h 386714"/>
                <a:gd name="connsiteX22" fmla="*/ 222504 w 296799"/>
                <a:gd name="connsiteY22" fmla="*/ 11430 h 386714"/>
                <a:gd name="connsiteX23" fmla="*/ 288227 w 296799"/>
                <a:gd name="connsiteY23" fmla="*/ 42863 h 386714"/>
                <a:gd name="connsiteX24" fmla="*/ 254317 w 296799"/>
                <a:gd name="connsiteY24" fmla="*/ 103918 h 386714"/>
                <a:gd name="connsiteX25" fmla="*/ 199930 w 296799"/>
                <a:gd name="connsiteY25" fmla="*/ 78105 h 386714"/>
                <a:gd name="connsiteX26" fmla="*/ 149066 w 296799"/>
                <a:gd name="connsiteY26" fmla="*/ 68580 h 386714"/>
                <a:gd name="connsiteX27" fmla="*/ 110585 w 296799"/>
                <a:gd name="connsiteY27" fmla="*/ 79153 h 386714"/>
                <a:gd name="connsiteX28" fmla="*/ 96774 w 296799"/>
                <a:gd name="connsiteY28" fmla="*/ 105918 h 386714"/>
                <a:gd name="connsiteX29" fmla="*/ 96774 w 296799"/>
                <a:gd name="connsiteY29" fmla="*/ 107347 h 386714"/>
                <a:gd name="connsiteX30" fmla="*/ 103822 w 296799"/>
                <a:gd name="connsiteY30" fmla="*/ 124587 h 386714"/>
                <a:gd name="connsiteX31" fmla="*/ 122587 w 296799"/>
                <a:gd name="connsiteY31" fmla="*/ 138017 h 386714"/>
                <a:gd name="connsiteX32" fmla="*/ 149447 w 296799"/>
                <a:gd name="connsiteY32" fmla="*/ 149257 h 386714"/>
                <a:gd name="connsiteX33" fmla="*/ 180880 w 296799"/>
                <a:gd name="connsiteY33" fmla="*/ 159448 h 386714"/>
                <a:gd name="connsiteX34" fmla="*/ 221837 w 296799"/>
                <a:gd name="connsiteY34" fmla="*/ 174212 h 386714"/>
                <a:gd name="connsiteX35" fmla="*/ 258985 w 296799"/>
                <a:gd name="connsiteY35" fmla="*/ 194977 h 386714"/>
                <a:gd name="connsiteX36" fmla="*/ 286226 w 296799"/>
                <a:gd name="connsiteY36" fmla="*/ 224980 h 386714"/>
                <a:gd name="connsiteX37" fmla="*/ 296799 w 296799"/>
                <a:gd name="connsiteY37" fmla="*/ 267938 h 386714"/>
                <a:gd name="connsiteX38" fmla="*/ 296799 w 296799"/>
                <a:gd name="connsiteY38" fmla="*/ 269367 h 386714"/>
                <a:gd name="connsiteX39" fmla="*/ 286226 w 296799"/>
                <a:gd name="connsiteY39" fmla="*/ 320897 h 386714"/>
                <a:gd name="connsiteX40" fmla="*/ 256889 w 296799"/>
                <a:gd name="connsiteY40" fmla="*/ 357188 h 386714"/>
                <a:gd name="connsiteX41" fmla="*/ 212693 w 296799"/>
                <a:gd name="connsiteY41" fmla="*/ 379095 h 386714"/>
                <a:gd name="connsiteX42" fmla="*/ 158305 w 296799"/>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799"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065" y="318135"/>
                    <a:pt x="160401" y="318135"/>
                  </a:cubicBezTo>
                  <a:cubicBezTo>
                    <a:pt x="179737" y="318135"/>
                    <a:pt x="193072"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828" y="227647"/>
                    <a:pt x="134969" y="224314"/>
                  </a:cubicBezTo>
                  <a:cubicBezTo>
                    <a:pt x="121348" y="220599"/>
                    <a:pt x="107537" y="216122"/>
                    <a:pt x="93631" y="210884"/>
                  </a:cubicBezTo>
                  <a:cubicBezTo>
                    <a:pt x="79724" y="205740"/>
                    <a:pt x="67246" y="198977"/>
                    <a:pt x="56197" y="190786"/>
                  </a:cubicBezTo>
                  <a:cubicBezTo>
                    <a:pt x="45148" y="182594"/>
                    <a:pt x="36004"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874" y="0"/>
                    <a:pt x="151162" y="0"/>
                  </a:cubicBezTo>
                  <a:cubicBezTo>
                    <a:pt x="174688" y="0"/>
                    <a:pt x="198501" y="3810"/>
                    <a:pt x="222504" y="11430"/>
                  </a:cubicBezTo>
                  <a:cubicBezTo>
                    <a:pt x="246507" y="19050"/>
                    <a:pt x="268414" y="29527"/>
                    <a:pt x="288227" y="42863"/>
                  </a:cubicBezTo>
                  <a:lnTo>
                    <a:pt x="254317"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774" y="95155"/>
                    <a:pt x="96774" y="105918"/>
                  </a:cubicBezTo>
                  <a:lnTo>
                    <a:pt x="96774" y="107347"/>
                  </a:lnTo>
                  <a:cubicBezTo>
                    <a:pt x="96774" y="113919"/>
                    <a:pt x="99155" y="119634"/>
                    <a:pt x="103822" y="124587"/>
                  </a:cubicBezTo>
                  <a:cubicBezTo>
                    <a:pt x="108490" y="129540"/>
                    <a:pt x="114776" y="134017"/>
                    <a:pt x="122587" y="138017"/>
                  </a:cubicBezTo>
                  <a:cubicBezTo>
                    <a:pt x="130397" y="142018"/>
                    <a:pt x="139351" y="145732"/>
                    <a:pt x="149447" y="149257"/>
                  </a:cubicBezTo>
                  <a:cubicBezTo>
                    <a:pt x="159544" y="152781"/>
                    <a:pt x="170021" y="156210"/>
                    <a:pt x="180880" y="159448"/>
                  </a:cubicBezTo>
                  <a:cubicBezTo>
                    <a:pt x="194500" y="163639"/>
                    <a:pt x="208216" y="168592"/>
                    <a:pt x="221837" y="174212"/>
                  </a:cubicBezTo>
                  <a:cubicBezTo>
                    <a:pt x="235458" y="179832"/>
                    <a:pt x="247840" y="186785"/>
                    <a:pt x="258985" y="194977"/>
                  </a:cubicBezTo>
                  <a:cubicBezTo>
                    <a:pt x="270034" y="203168"/>
                    <a:pt x="279178" y="213169"/>
                    <a:pt x="286226" y="224980"/>
                  </a:cubicBezTo>
                  <a:cubicBezTo>
                    <a:pt x="293275" y="236696"/>
                    <a:pt x="296799" y="251079"/>
                    <a:pt x="296799" y="267938"/>
                  </a:cubicBezTo>
                  <a:lnTo>
                    <a:pt x="296799" y="269367"/>
                  </a:lnTo>
                  <a:cubicBezTo>
                    <a:pt x="296799" y="289084"/>
                    <a:pt x="293275" y="306229"/>
                    <a:pt x="286226" y="320897"/>
                  </a:cubicBezTo>
                  <a:cubicBezTo>
                    <a:pt x="279178" y="335470"/>
                    <a:pt x="269367" y="347567"/>
                    <a:pt x="256889" y="357188"/>
                  </a:cubicBezTo>
                  <a:cubicBezTo>
                    <a:pt x="244412" y="366808"/>
                    <a:pt x="229648" y="374142"/>
                    <a:pt x="212693" y="379095"/>
                  </a:cubicBezTo>
                  <a:cubicBezTo>
                    <a:pt x="195739" y="384048"/>
                    <a:pt x="177641" y="386524"/>
                    <a:pt x="158305" y="386524"/>
                  </a:cubicBezTo>
                  <a:close/>
                </a:path>
              </a:pathLst>
            </a:custGeom>
            <a:solidFill>
              <a:srgbClr val="44505E"/>
            </a:solidFill>
            <a:ln w="9525" cap="flat">
              <a:noFill/>
              <a:prstDash val="solid"/>
              <a:miter/>
            </a:ln>
          </p:spPr>
          <p:txBody>
            <a:bodyPr rtlCol="0" anchor="ctr"/>
            <a:lstStyle/>
            <a:p>
              <a:endParaRPr lang="pt-BR" noProof="0"/>
            </a:p>
          </p:txBody>
        </p:sp>
        <p:sp>
          <p:nvSpPr>
            <p:cNvPr id="67" name="Freeform: Shape 28">
              <a:extLst>
                <a:ext uri="{FF2B5EF4-FFF2-40B4-BE49-F238E27FC236}">
                  <a16:creationId xmlns:a16="http://schemas.microsoft.com/office/drawing/2014/main" id="{FE59D9E7-985B-C26F-789E-15D67B6B6833}"/>
                </a:ext>
              </a:extLst>
            </p:cNvPr>
            <p:cNvSpPr/>
            <p:nvPr/>
          </p:nvSpPr>
          <p:spPr>
            <a:xfrm>
              <a:off x="6238590"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4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7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2 w 568166"/>
                <a:gd name="connsiteY21" fmla="*/ 381000 h 381000"/>
                <a:gd name="connsiteX22" fmla="*/ 240982 w 568166"/>
                <a:gd name="connsiteY22" fmla="*/ 168783 h 381000"/>
                <a:gd name="connsiteX23" fmla="*/ 221266 w 568166"/>
                <a:gd name="connsiteY23" fmla="*/ 101822 h 381000"/>
                <a:gd name="connsiteX24" fmla="*/ 165640 w 568166"/>
                <a:gd name="connsiteY24" fmla="*/ 78581 h 381000"/>
                <a:gd name="connsiteX25" fmla="*/ 108013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69" y="48196"/>
                    <a:pt x="105918" y="40576"/>
                  </a:cubicBezTo>
                  <a:cubicBezTo>
                    <a:pt x="112966" y="32956"/>
                    <a:pt x="121063" y="26099"/>
                    <a:pt x="130207" y="19907"/>
                  </a:cubicBezTo>
                  <a:cubicBezTo>
                    <a:pt x="139351" y="13716"/>
                    <a:pt x="149638" y="8858"/>
                    <a:pt x="161163" y="5334"/>
                  </a:cubicBezTo>
                  <a:cubicBezTo>
                    <a:pt x="172688" y="1714"/>
                    <a:pt x="185452" y="0"/>
                    <a:pt x="199549" y="0"/>
                  </a:cubicBezTo>
                  <a:cubicBezTo>
                    <a:pt x="226314" y="0"/>
                    <a:pt x="248983" y="6096"/>
                    <a:pt x="267557" y="18193"/>
                  </a:cubicBezTo>
                  <a:cubicBezTo>
                    <a:pt x="286131" y="30289"/>
                    <a:pt x="300323" y="46387"/>
                    <a:pt x="310134" y="66294"/>
                  </a:cubicBezTo>
                  <a:cubicBezTo>
                    <a:pt x="325279" y="46387"/>
                    <a:pt x="343090" y="30289"/>
                    <a:pt x="363664" y="18193"/>
                  </a:cubicBezTo>
                  <a:cubicBezTo>
                    <a:pt x="384238" y="6096"/>
                    <a:pt x="408718" y="0"/>
                    <a:pt x="437007" y="0"/>
                  </a:cubicBezTo>
                  <a:cubicBezTo>
                    <a:pt x="478155"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7" y="78486"/>
                  </a:cubicBezTo>
                  <a:cubicBezTo>
                    <a:pt x="382809" y="78486"/>
                    <a:pt x="364141" y="86392"/>
                    <a:pt x="349377" y="102108"/>
                  </a:cubicBezTo>
                  <a:cubicBezTo>
                    <a:pt x="334613" y="117824"/>
                    <a:pt x="327184" y="140779"/>
                    <a:pt x="327184" y="170879"/>
                  </a:cubicBezTo>
                  <a:lnTo>
                    <a:pt x="327184" y="381000"/>
                  </a:lnTo>
                  <a:lnTo>
                    <a:pt x="240982" y="381000"/>
                  </a:lnTo>
                  <a:lnTo>
                    <a:pt x="240982" y="168783"/>
                  </a:lnTo>
                  <a:cubicBezTo>
                    <a:pt x="240982" y="139637"/>
                    <a:pt x="234410" y="117348"/>
                    <a:pt x="221266" y="101822"/>
                  </a:cubicBezTo>
                  <a:cubicBezTo>
                    <a:pt x="208121" y="86296"/>
                    <a:pt x="189547" y="78581"/>
                    <a:pt x="165640" y="78581"/>
                  </a:cubicBezTo>
                  <a:cubicBezTo>
                    <a:pt x="141732" y="78581"/>
                    <a:pt x="122491" y="86773"/>
                    <a:pt x="108013"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68" name="Freeform: Shape 29">
              <a:extLst>
                <a:ext uri="{FF2B5EF4-FFF2-40B4-BE49-F238E27FC236}">
                  <a16:creationId xmlns:a16="http://schemas.microsoft.com/office/drawing/2014/main" id="{20C6391F-EFD9-895F-4F94-1175001270D8}"/>
                </a:ext>
              </a:extLst>
            </p:cNvPr>
            <p:cNvSpPr/>
            <p:nvPr/>
          </p:nvSpPr>
          <p:spPr>
            <a:xfrm>
              <a:off x="6400979" y="664258"/>
              <a:ext cx="85097" cy="133441"/>
            </a:xfrm>
            <a:custGeom>
              <a:avLst/>
              <a:gdLst>
                <a:gd name="connsiteX0" fmla="*/ 253651 w 338518"/>
                <a:gd name="connsiteY0" fmla="*/ 523018 h 530828"/>
                <a:gd name="connsiteX1" fmla="*/ 253651 w 338518"/>
                <a:gd name="connsiteY1" fmla="*/ 477107 h 530828"/>
                <a:gd name="connsiteX2" fmla="*/ 204883 w 338518"/>
                <a:gd name="connsiteY2" fmla="*/ 515303 h 530828"/>
                <a:gd name="connsiteX3" fmla="*/ 132779 w 338518"/>
                <a:gd name="connsiteY3" fmla="*/ 530828 h 530828"/>
                <a:gd name="connsiteX4" fmla="*/ 81915 w 338518"/>
                <a:gd name="connsiteY4" fmla="*/ 523399 h 530828"/>
                <a:gd name="connsiteX5" fmla="*/ 39910 w 338518"/>
                <a:gd name="connsiteY5" fmla="*/ 501491 h 530828"/>
                <a:gd name="connsiteX6" fmla="*/ 10954 w 338518"/>
                <a:gd name="connsiteY6" fmla="*/ 465487 h 530828"/>
                <a:gd name="connsiteX7" fmla="*/ 0 w 338518"/>
                <a:gd name="connsiteY7" fmla="*/ 415671 h 530828"/>
                <a:gd name="connsiteX8" fmla="*/ 0 w 338518"/>
                <a:gd name="connsiteY8" fmla="*/ 414242 h 530828"/>
                <a:gd name="connsiteX9" fmla="*/ 11335 w 338518"/>
                <a:gd name="connsiteY9" fmla="*/ 360140 h 530828"/>
                <a:gd name="connsiteX10" fmla="*/ 42767 w 338518"/>
                <a:gd name="connsiteY10" fmla="*/ 321945 h 530828"/>
                <a:gd name="connsiteX11" fmla="*/ 90773 w 338518"/>
                <a:gd name="connsiteY11" fmla="*/ 299371 h 530828"/>
                <a:gd name="connsiteX12" fmla="*/ 151162 w 338518"/>
                <a:gd name="connsiteY12" fmla="*/ 291941 h 530828"/>
                <a:gd name="connsiteX13" fmla="*/ 208788 w 338518"/>
                <a:gd name="connsiteY13" fmla="*/ 296228 h 530828"/>
                <a:gd name="connsiteX14" fmla="*/ 254413 w 338518"/>
                <a:gd name="connsiteY14" fmla="*/ 307562 h 530828"/>
                <a:gd name="connsiteX15" fmla="*/ 254413 w 338518"/>
                <a:gd name="connsiteY15" fmla="*/ 300514 h 530828"/>
                <a:gd name="connsiteX16" fmla="*/ 230696 w 338518"/>
                <a:gd name="connsiteY16" fmla="*/ 241173 h 530828"/>
                <a:gd name="connsiteX17" fmla="*/ 162496 w 338518"/>
                <a:gd name="connsiteY17" fmla="*/ 220694 h 530828"/>
                <a:gd name="connsiteX18" fmla="*/ 106013 w 338518"/>
                <a:gd name="connsiteY18" fmla="*/ 227076 h 530828"/>
                <a:gd name="connsiteX19" fmla="*/ 55817 w 338518"/>
                <a:gd name="connsiteY19" fmla="*/ 244031 h 530828"/>
                <a:gd name="connsiteX20" fmla="*/ 32480 w 338518"/>
                <a:gd name="connsiteY20" fmla="*/ 175451 h 530828"/>
                <a:gd name="connsiteX21" fmla="*/ 96107 w 338518"/>
                <a:gd name="connsiteY21" fmla="*/ 152876 h 530828"/>
                <a:gd name="connsiteX22" fmla="*/ 174593 w 338518"/>
                <a:gd name="connsiteY22" fmla="*/ 144399 h 530828"/>
                <a:gd name="connsiteX23" fmla="*/ 298228 w 338518"/>
                <a:gd name="connsiteY23" fmla="*/ 185738 h 530828"/>
                <a:gd name="connsiteX24" fmla="*/ 338519 w 338518"/>
                <a:gd name="connsiteY24" fmla="*/ 301943 h 530828"/>
                <a:gd name="connsiteX25" fmla="*/ 338519 w 338518"/>
                <a:gd name="connsiteY25" fmla="*/ 523113 h 530828"/>
                <a:gd name="connsiteX26" fmla="*/ 253746 w 338518"/>
                <a:gd name="connsiteY26" fmla="*/ 523113 h 530828"/>
                <a:gd name="connsiteX27" fmla="*/ 45911 w 338518"/>
                <a:gd name="connsiteY27" fmla="*/ 95441 h 530828"/>
                <a:gd name="connsiteX28" fmla="*/ 75248 w 338518"/>
                <a:gd name="connsiteY28" fmla="*/ 29718 h 530828"/>
                <a:gd name="connsiteX29" fmla="*/ 125063 w 338518"/>
                <a:gd name="connsiteY29" fmla="*/ 7144 h 530828"/>
                <a:gd name="connsiteX30" fmla="*/ 154019 w 338518"/>
                <a:gd name="connsiteY30" fmla="*/ 11716 h 530828"/>
                <a:gd name="connsiteX31" fmla="*/ 181261 w 338518"/>
                <a:gd name="connsiteY31" fmla="*/ 21622 h 530828"/>
                <a:gd name="connsiteX32" fmla="*/ 205645 w 338518"/>
                <a:gd name="connsiteY32" fmla="*/ 31147 h 530828"/>
                <a:gd name="connsiteX33" fmla="*/ 226790 w 338518"/>
                <a:gd name="connsiteY33" fmla="*/ 35338 h 530828"/>
                <a:gd name="connsiteX34" fmla="*/ 250127 w 338518"/>
                <a:gd name="connsiteY34" fmla="*/ 26861 h 530828"/>
                <a:gd name="connsiteX35" fmla="*/ 265652 w 338518"/>
                <a:gd name="connsiteY35" fmla="*/ 0 h 530828"/>
                <a:gd name="connsiteX36" fmla="*/ 312991 w 338518"/>
                <a:gd name="connsiteY36" fmla="*/ 14859 h 530828"/>
                <a:gd name="connsiteX37" fmla="*/ 283655 w 338518"/>
                <a:gd name="connsiteY37" fmla="*/ 79820 h 530828"/>
                <a:gd name="connsiteX38" fmla="*/ 233839 w 338518"/>
                <a:gd name="connsiteY38" fmla="*/ 102394 h 530828"/>
                <a:gd name="connsiteX39" fmla="*/ 204883 w 338518"/>
                <a:gd name="connsiteY39" fmla="*/ 98203 h 530828"/>
                <a:gd name="connsiteX40" fmla="*/ 177641 w 338518"/>
                <a:gd name="connsiteY40" fmla="*/ 88678 h 530828"/>
                <a:gd name="connsiteX41" fmla="*/ 152876 w 338518"/>
                <a:gd name="connsiteY41" fmla="*/ 78772 h 530828"/>
                <a:gd name="connsiteX42" fmla="*/ 132017 w 338518"/>
                <a:gd name="connsiteY42" fmla="*/ 74200 h 530828"/>
                <a:gd name="connsiteX43" fmla="*/ 108680 w 338518"/>
                <a:gd name="connsiteY43" fmla="*/ 82677 h 530828"/>
                <a:gd name="connsiteX44" fmla="*/ 93154 w 338518"/>
                <a:gd name="connsiteY44" fmla="*/ 109538 h 530828"/>
                <a:gd name="connsiteX45" fmla="*/ 45815 w 338518"/>
                <a:gd name="connsiteY45" fmla="*/ 95441 h 530828"/>
                <a:gd name="connsiteX46" fmla="*/ 255842 w 338518"/>
                <a:gd name="connsiteY46" fmla="*/ 366808 h 530828"/>
                <a:gd name="connsiteX47" fmla="*/ 217361 w 338518"/>
                <a:gd name="connsiteY47" fmla="*/ 356235 h 530828"/>
                <a:gd name="connsiteX48" fmla="*/ 170402 w 338518"/>
                <a:gd name="connsiteY48" fmla="*/ 351949 h 530828"/>
                <a:gd name="connsiteX49" fmla="*/ 107537 w 338518"/>
                <a:gd name="connsiteY49" fmla="*/ 367475 h 530828"/>
                <a:gd name="connsiteX50" fmla="*/ 84963 w 338518"/>
                <a:gd name="connsiteY50" fmla="*/ 409861 h 530828"/>
                <a:gd name="connsiteX51" fmla="*/ 84963 w 338518"/>
                <a:gd name="connsiteY51" fmla="*/ 411290 h 530828"/>
                <a:gd name="connsiteX52" fmla="*/ 105823 w 338518"/>
                <a:gd name="connsiteY52" fmla="*/ 452247 h 530828"/>
                <a:gd name="connsiteX53" fmla="*/ 157067 w 338518"/>
                <a:gd name="connsiteY53" fmla="*/ 466344 h 530828"/>
                <a:gd name="connsiteX54" fmla="*/ 196310 w 338518"/>
                <a:gd name="connsiteY54" fmla="*/ 460724 h 530828"/>
                <a:gd name="connsiteX55" fmla="*/ 227743 w 338518"/>
                <a:gd name="connsiteY55" fmla="*/ 444818 h 530828"/>
                <a:gd name="connsiteX56" fmla="*/ 248603 w 338518"/>
                <a:gd name="connsiteY56" fmla="*/ 420053 h 530828"/>
                <a:gd name="connsiteX57" fmla="*/ 256032 w 338518"/>
                <a:gd name="connsiteY57" fmla="*/ 387858 h 530828"/>
                <a:gd name="connsiteX58" fmla="*/ 256032 w 338518"/>
                <a:gd name="connsiteY58" fmla="*/ 366617 h 5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8518" h="530828">
                  <a:moveTo>
                    <a:pt x="253651" y="523018"/>
                  </a:moveTo>
                  <a:lnTo>
                    <a:pt x="253651" y="477107"/>
                  </a:lnTo>
                  <a:cubicBezTo>
                    <a:pt x="240887" y="492157"/>
                    <a:pt x="224695" y="504920"/>
                    <a:pt x="204883" y="515303"/>
                  </a:cubicBezTo>
                  <a:cubicBezTo>
                    <a:pt x="185071" y="525685"/>
                    <a:pt x="161068" y="530828"/>
                    <a:pt x="132779" y="530828"/>
                  </a:cubicBezTo>
                  <a:cubicBezTo>
                    <a:pt x="114871" y="530828"/>
                    <a:pt x="97917" y="528352"/>
                    <a:pt x="81915" y="523399"/>
                  </a:cubicBezTo>
                  <a:cubicBezTo>
                    <a:pt x="65913" y="518446"/>
                    <a:pt x="51911" y="511112"/>
                    <a:pt x="39910" y="501491"/>
                  </a:cubicBezTo>
                  <a:cubicBezTo>
                    <a:pt x="27908" y="491871"/>
                    <a:pt x="18193" y="479870"/>
                    <a:pt x="10954" y="465487"/>
                  </a:cubicBezTo>
                  <a:cubicBezTo>
                    <a:pt x="3620" y="451104"/>
                    <a:pt x="0" y="434531"/>
                    <a:pt x="0" y="415671"/>
                  </a:cubicBezTo>
                  <a:lnTo>
                    <a:pt x="0" y="414242"/>
                  </a:lnTo>
                  <a:cubicBezTo>
                    <a:pt x="0" y="393478"/>
                    <a:pt x="3810" y="375476"/>
                    <a:pt x="11335" y="360140"/>
                  </a:cubicBezTo>
                  <a:cubicBezTo>
                    <a:pt x="18860" y="344805"/>
                    <a:pt x="29337" y="332137"/>
                    <a:pt x="42767" y="321945"/>
                  </a:cubicBezTo>
                  <a:cubicBezTo>
                    <a:pt x="56198" y="311849"/>
                    <a:pt x="72200" y="304324"/>
                    <a:pt x="90773" y="299371"/>
                  </a:cubicBezTo>
                  <a:cubicBezTo>
                    <a:pt x="109347" y="294418"/>
                    <a:pt x="129540" y="291941"/>
                    <a:pt x="151162" y="291941"/>
                  </a:cubicBezTo>
                  <a:cubicBezTo>
                    <a:pt x="172784" y="291941"/>
                    <a:pt x="192977" y="293370"/>
                    <a:pt x="208788" y="296228"/>
                  </a:cubicBezTo>
                  <a:cubicBezTo>
                    <a:pt x="224600" y="299085"/>
                    <a:pt x="239744" y="302800"/>
                    <a:pt x="254413" y="307562"/>
                  </a:cubicBezTo>
                  <a:lnTo>
                    <a:pt x="254413" y="300514"/>
                  </a:lnTo>
                  <a:cubicBezTo>
                    <a:pt x="254413" y="274606"/>
                    <a:pt x="246507" y="254794"/>
                    <a:pt x="230696" y="241173"/>
                  </a:cubicBezTo>
                  <a:cubicBezTo>
                    <a:pt x="214884" y="227552"/>
                    <a:pt x="192215" y="220694"/>
                    <a:pt x="162496" y="220694"/>
                  </a:cubicBezTo>
                  <a:cubicBezTo>
                    <a:pt x="141351" y="220694"/>
                    <a:pt x="122492" y="222790"/>
                    <a:pt x="106013" y="227076"/>
                  </a:cubicBezTo>
                  <a:cubicBezTo>
                    <a:pt x="89535" y="231362"/>
                    <a:pt x="72771" y="236982"/>
                    <a:pt x="55817" y="244031"/>
                  </a:cubicBezTo>
                  <a:lnTo>
                    <a:pt x="32480" y="175451"/>
                  </a:lnTo>
                  <a:cubicBezTo>
                    <a:pt x="53150" y="166021"/>
                    <a:pt x="74390" y="158496"/>
                    <a:pt x="96107" y="152876"/>
                  </a:cubicBezTo>
                  <a:cubicBezTo>
                    <a:pt x="117729" y="147257"/>
                    <a:pt x="143923" y="144399"/>
                    <a:pt x="174593" y="144399"/>
                  </a:cubicBezTo>
                  <a:cubicBezTo>
                    <a:pt x="230124" y="144399"/>
                    <a:pt x="271367" y="158210"/>
                    <a:pt x="298228" y="185738"/>
                  </a:cubicBezTo>
                  <a:cubicBezTo>
                    <a:pt x="325088" y="213265"/>
                    <a:pt x="338519" y="252032"/>
                    <a:pt x="338519" y="301943"/>
                  </a:cubicBezTo>
                  <a:lnTo>
                    <a:pt x="338519" y="523113"/>
                  </a:lnTo>
                  <a:lnTo>
                    <a:pt x="253746" y="523113"/>
                  </a:lnTo>
                  <a:close/>
                  <a:moveTo>
                    <a:pt x="45911" y="95441"/>
                  </a:moveTo>
                  <a:cubicBezTo>
                    <a:pt x="53912" y="66675"/>
                    <a:pt x="63722" y="44768"/>
                    <a:pt x="75248" y="29718"/>
                  </a:cubicBezTo>
                  <a:cubicBezTo>
                    <a:pt x="86773" y="14669"/>
                    <a:pt x="103442" y="7144"/>
                    <a:pt x="125063" y="7144"/>
                  </a:cubicBezTo>
                  <a:cubicBezTo>
                    <a:pt x="134969" y="7144"/>
                    <a:pt x="144590" y="8668"/>
                    <a:pt x="154019" y="11716"/>
                  </a:cubicBezTo>
                  <a:cubicBezTo>
                    <a:pt x="163449" y="14764"/>
                    <a:pt x="172498" y="18098"/>
                    <a:pt x="181261" y="21622"/>
                  </a:cubicBezTo>
                  <a:cubicBezTo>
                    <a:pt x="189929" y="25146"/>
                    <a:pt x="198120" y="28385"/>
                    <a:pt x="205645" y="31147"/>
                  </a:cubicBezTo>
                  <a:cubicBezTo>
                    <a:pt x="213170" y="34004"/>
                    <a:pt x="220218" y="35338"/>
                    <a:pt x="226790" y="35338"/>
                  </a:cubicBezTo>
                  <a:cubicBezTo>
                    <a:pt x="237173" y="35338"/>
                    <a:pt x="244888" y="32480"/>
                    <a:pt x="250127" y="26861"/>
                  </a:cubicBezTo>
                  <a:cubicBezTo>
                    <a:pt x="255270" y="21241"/>
                    <a:pt x="260509" y="12287"/>
                    <a:pt x="265652" y="0"/>
                  </a:cubicBezTo>
                  <a:lnTo>
                    <a:pt x="312991" y="14859"/>
                  </a:lnTo>
                  <a:cubicBezTo>
                    <a:pt x="304991" y="43148"/>
                    <a:pt x="295180" y="64770"/>
                    <a:pt x="283655" y="79820"/>
                  </a:cubicBezTo>
                  <a:cubicBezTo>
                    <a:pt x="272129" y="94869"/>
                    <a:pt x="255461" y="102394"/>
                    <a:pt x="233839" y="102394"/>
                  </a:cubicBezTo>
                  <a:cubicBezTo>
                    <a:pt x="223933" y="102394"/>
                    <a:pt x="214313" y="100965"/>
                    <a:pt x="204883" y="98203"/>
                  </a:cubicBezTo>
                  <a:cubicBezTo>
                    <a:pt x="195453" y="95345"/>
                    <a:pt x="186404" y="92202"/>
                    <a:pt x="177641" y="88678"/>
                  </a:cubicBezTo>
                  <a:cubicBezTo>
                    <a:pt x="168878" y="85154"/>
                    <a:pt x="160687" y="81820"/>
                    <a:pt x="152876" y="78772"/>
                  </a:cubicBezTo>
                  <a:cubicBezTo>
                    <a:pt x="145066" y="75724"/>
                    <a:pt x="138113" y="74200"/>
                    <a:pt x="132017" y="74200"/>
                  </a:cubicBezTo>
                  <a:cubicBezTo>
                    <a:pt x="121634" y="74200"/>
                    <a:pt x="113919" y="77057"/>
                    <a:pt x="108680" y="82677"/>
                  </a:cubicBezTo>
                  <a:cubicBezTo>
                    <a:pt x="103537" y="88297"/>
                    <a:pt x="98298" y="97250"/>
                    <a:pt x="93154" y="109538"/>
                  </a:cubicBezTo>
                  <a:lnTo>
                    <a:pt x="45815" y="95441"/>
                  </a:lnTo>
                  <a:close/>
                  <a:moveTo>
                    <a:pt x="255842" y="366808"/>
                  </a:moveTo>
                  <a:cubicBezTo>
                    <a:pt x="244983" y="362522"/>
                    <a:pt x="232124" y="358997"/>
                    <a:pt x="217361" y="356235"/>
                  </a:cubicBezTo>
                  <a:cubicBezTo>
                    <a:pt x="202502" y="353378"/>
                    <a:pt x="186880" y="351949"/>
                    <a:pt x="170402" y="351949"/>
                  </a:cubicBezTo>
                  <a:cubicBezTo>
                    <a:pt x="143542" y="351949"/>
                    <a:pt x="122587" y="357092"/>
                    <a:pt x="107537" y="367475"/>
                  </a:cubicBezTo>
                  <a:cubicBezTo>
                    <a:pt x="92488" y="377857"/>
                    <a:pt x="84963" y="391954"/>
                    <a:pt x="84963" y="409861"/>
                  </a:cubicBezTo>
                  <a:lnTo>
                    <a:pt x="84963" y="411290"/>
                  </a:lnTo>
                  <a:cubicBezTo>
                    <a:pt x="84963" y="429197"/>
                    <a:pt x="91916" y="442817"/>
                    <a:pt x="105823" y="452247"/>
                  </a:cubicBezTo>
                  <a:cubicBezTo>
                    <a:pt x="119729" y="461677"/>
                    <a:pt x="136779" y="466344"/>
                    <a:pt x="157067" y="466344"/>
                  </a:cubicBezTo>
                  <a:cubicBezTo>
                    <a:pt x="171164" y="466344"/>
                    <a:pt x="184309" y="464439"/>
                    <a:pt x="196310" y="460724"/>
                  </a:cubicBezTo>
                  <a:cubicBezTo>
                    <a:pt x="208312" y="456914"/>
                    <a:pt x="218789" y="451676"/>
                    <a:pt x="227743" y="444818"/>
                  </a:cubicBezTo>
                  <a:cubicBezTo>
                    <a:pt x="236696" y="437960"/>
                    <a:pt x="243650" y="429768"/>
                    <a:pt x="248603" y="420053"/>
                  </a:cubicBezTo>
                  <a:cubicBezTo>
                    <a:pt x="253555" y="410432"/>
                    <a:pt x="256032" y="399669"/>
                    <a:pt x="256032" y="387858"/>
                  </a:cubicBezTo>
                  <a:lnTo>
                    <a:pt x="256032" y="366617"/>
                  </a:lnTo>
                  <a:close/>
                </a:path>
              </a:pathLst>
            </a:custGeom>
            <a:solidFill>
              <a:srgbClr val="44505E"/>
            </a:solidFill>
            <a:ln w="9525" cap="flat">
              <a:noFill/>
              <a:prstDash val="solid"/>
              <a:miter/>
            </a:ln>
          </p:spPr>
          <p:txBody>
            <a:bodyPr rtlCol="0" anchor="ctr"/>
            <a:lstStyle/>
            <a:p>
              <a:endParaRPr lang="pt-BR" noProof="0"/>
            </a:p>
          </p:txBody>
        </p:sp>
        <p:sp>
          <p:nvSpPr>
            <p:cNvPr id="69" name="Freeform: Shape 30">
              <a:extLst>
                <a:ext uri="{FF2B5EF4-FFF2-40B4-BE49-F238E27FC236}">
                  <a16:creationId xmlns:a16="http://schemas.microsoft.com/office/drawing/2014/main" id="{11A0FC34-CDF7-D855-2302-BB54B2748D7B}"/>
                </a:ext>
              </a:extLst>
            </p:cNvPr>
            <p:cNvSpPr/>
            <p:nvPr/>
          </p:nvSpPr>
          <p:spPr>
            <a:xfrm>
              <a:off x="6506477" y="699959"/>
              <a:ext cx="100038" cy="97908"/>
            </a:xfrm>
            <a:custGeom>
              <a:avLst/>
              <a:gdLst>
                <a:gd name="connsiteX0" fmla="*/ 197834 w 397954"/>
                <a:gd name="connsiteY0" fmla="*/ 389477 h 389477"/>
                <a:gd name="connsiteX1" fmla="*/ 119063 w 397954"/>
                <a:gd name="connsiteY1" fmla="*/ 374237 h 389477"/>
                <a:gd name="connsiteX2" fmla="*/ 56198 w 397954"/>
                <a:gd name="connsiteY2" fmla="*/ 332899 h 389477"/>
                <a:gd name="connsiteX3" fmla="*/ 14859 w 397954"/>
                <a:gd name="connsiteY3" fmla="*/ 271463 h 389477"/>
                <a:gd name="connsiteX4" fmla="*/ 0 w 397954"/>
                <a:gd name="connsiteY4" fmla="*/ 196501 h 389477"/>
                <a:gd name="connsiteX5" fmla="*/ 0 w 397954"/>
                <a:gd name="connsiteY5" fmla="*/ 195072 h 389477"/>
                <a:gd name="connsiteX6" fmla="*/ 15240 w 397954"/>
                <a:gd name="connsiteY6" fmla="*/ 119444 h 389477"/>
                <a:gd name="connsiteX7" fmla="*/ 56960 w 397954"/>
                <a:gd name="connsiteY7" fmla="*/ 57626 h 389477"/>
                <a:gd name="connsiteX8" fmla="*/ 119825 w 397954"/>
                <a:gd name="connsiteY8" fmla="*/ 15526 h 389477"/>
                <a:gd name="connsiteX9" fmla="*/ 199358 w 397954"/>
                <a:gd name="connsiteY9" fmla="*/ 0 h 389477"/>
                <a:gd name="connsiteX10" fmla="*/ 278892 w 397954"/>
                <a:gd name="connsiteY10" fmla="*/ 15240 h 389477"/>
                <a:gd name="connsiteX11" fmla="*/ 341757 w 397954"/>
                <a:gd name="connsiteY11" fmla="*/ 56959 h 389477"/>
                <a:gd name="connsiteX12" fmla="*/ 383096 w 397954"/>
                <a:gd name="connsiteY12" fmla="*/ 118396 h 389477"/>
                <a:gd name="connsiteX13" fmla="*/ 397955 w 397954"/>
                <a:gd name="connsiteY13" fmla="*/ 193643 h 389477"/>
                <a:gd name="connsiteX14" fmla="*/ 397955 w 397954"/>
                <a:gd name="connsiteY14" fmla="*/ 195072 h 389477"/>
                <a:gd name="connsiteX15" fmla="*/ 382714 w 397954"/>
                <a:gd name="connsiteY15" fmla="*/ 270034 h 389477"/>
                <a:gd name="connsiteX16" fmla="*/ 340995 w 397954"/>
                <a:gd name="connsiteY16" fmla="*/ 331851 h 389477"/>
                <a:gd name="connsiteX17" fmla="*/ 277749 w 397954"/>
                <a:gd name="connsiteY17" fmla="*/ 373856 h 389477"/>
                <a:gd name="connsiteX18" fmla="*/ 197834 w 397954"/>
                <a:gd name="connsiteY18" fmla="*/ 389382 h 389477"/>
                <a:gd name="connsiteX19" fmla="*/ 199263 w 397954"/>
                <a:gd name="connsiteY19" fmla="*/ 315278 h 389477"/>
                <a:gd name="connsiteX20" fmla="*/ 245936 w 397954"/>
                <a:gd name="connsiteY20" fmla="*/ 305753 h 389477"/>
                <a:gd name="connsiteX21" fmla="*/ 281369 w 397954"/>
                <a:gd name="connsiteY21" fmla="*/ 279940 h 389477"/>
                <a:gd name="connsiteX22" fmla="*/ 303848 w 397954"/>
                <a:gd name="connsiteY22" fmla="*/ 242125 h 389477"/>
                <a:gd name="connsiteX23" fmla="*/ 311563 w 397954"/>
                <a:gd name="connsiteY23" fmla="*/ 196501 h 389477"/>
                <a:gd name="connsiteX24" fmla="*/ 311563 w 397954"/>
                <a:gd name="connsiteY24" fmla="*/ 195072 h 389477"/>
                <a:gd name="connsiteX25" fmla="*/ 303181 w 397954"/>
                <a:gd name="connsiteY25" fmla="*/ 148400 h 389477"/>
                <a:gd name="connsiteX26" fmla="*/ 279654 w 397954"/>
                <a:gd name="connsiteY26" fmla="*/ 110204 h 389477"/>
                <a:gd name="connsiteX27" fmla="*/ 243840 w 397954"/>
                <a:gd name="connsiteY27" fmla="*/ 84392 h 389477"/>
                <a:gd name="connsiteX28" fmla="*/ 197834 w 397954"/>
                <a:gd name="connsiteY28" fmla="*/ 74867 h 389477"/>
                <a:gd name="connsiteX29" fmla="*/ 151829 w 397954"/>
                <a:gd name="connsiteY29" fmla="*/ 84392 h 389477"/>
                <a:gd name="connsiteX30" fmla="*/ 116396 w 397954"/>
                <a:gd name="connsiteY30" fmla="*/ 109823 h 389477"/>
                <a:gd name="connsiteX31" fmla="*/ 93916 w 397954"/>
                <a:gd name="connsiteY31" fmla="*/ 147638 h 389477"/>
                <a:gd name="connsiteX32" fmla="*/ 86201 w 397954"/>
                <a:gd name="connsiteY32" fmla="*/ 193548 h 389477"/>
                <a:gd name="connsiteX33" fmla="*/ 86201 w 397954"/>
                <a:gd name="connsiteY33" fmla="*/ 194977 h 389477"/>
                <a:gd name="connsiteX34" fmla="*/ 94583 w 397954"/>
                <a:gd name="connsiteY34" fmla="*/ 241268 h 389477"/>
                <a:gd name="connsiteX35" fmla="*/ 118110 w 397954"/>
                <a:gd name="connsiteY35" fmla="*/ 279463 h 389477"/>
                <a:gd name="connsiteX36" fmla="*/ 153924 w 397954"/>
                <a:gd name="connsiteY36" fmla="*/ 305562 h 389477"/>
                <a:gd name="connsiteX37" fmla="*/ 199263 w 397954"/>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954" h="389477">
                  <a:moveTo>
                    <a:pt x="197834" y="389477"/>
                  </a:moveTo>
                  <a:cubicBezTo>
                    <a:pt x="169545" y="389477"/>
                    <a:pt x="143351" y="384429"/>
                    <a:pt x="119063" y="374237"/>
                  </a:cubicBezTo>
                  <a:cubicBezTo>
                    <a:pt x="94774" y="364141"/>
                    <a:pt x="73819" y="350330"/>
                    <a:pt x="56198" y="332899"/>
                  </a:cubicBezTo>
                  <a:cubicBezTo>
                    <a:pt x="38576" y="315468"/>
                    <a:pt x="24765" y="294989"/>
                    <a:pt x="14859" y="271463"/>
                  </a:cubicBezTo>
                  <a:cubicBezTo>
                    <a:pt x="4953" y="247936"/>
                    <a:pt x="0" y="222980"/>
                    <a:pt x="0" y="196501"/>
                  </a:cubicBezTo>
                  <a:lnTo>
                    <a:pt x="0" y="195072"/>
                  </a:lnTo>
                  <a:cubicBezTo>
                    <a:pt x="0" y="168212"/>
                    <a:pt x="5049" y="143066"/>
                    <a:pt x="15240" y="119444"/>
                  </a:cubicBezTo>
                  <a:cubicBezTo>
                    <a:pt x="25337" y="95917"/>
                    <a:pt x="39243" y="75248"/>
                    <a:pt x="56960" y="57626"/>
                  </a:cubicBezTo>
                  <a:cubicBezTo>
                    <a:pt x="74676" y="39910"/>
                    <a:pt x="95631" y="25908"/>
                    <a:pt x="119825" y="15526"/>
                  </a:cubicBezTo>
                  <a:cubicBezTo>
                    <a:pt x="144113" y="5144"/>
                    <a:pt x="170593" y="0"/>
                    <a:pt x="199358" y="0"/>
                  </a:cubicBezTo>
                  <a:cubicBezTo>
                    <a:pt x="228124" y="0"/>
                    <a:pt x="254604" y="5048"/>
                    <a:pt x="278892" y="15240"/>
                  </a:cubicBezTo>
                  <a:cubicBezTo>
                    <a:pt x="303181" y="25337"/>
                    <a:pt x="324136" y="39243"/>
                    <a:pt x="341757" y="56959"/>
                  </a:cubicBezTo>
                  <a:cubicBezTo>
                    <a:pt x="359379" y="74676"/>
                    <a:pt x="373189" y="95155"/>
                    <a:pt x="383096" y="118396"/>
                  </a:cubicBezTo>
                  <a:cubicBezTo>
                    <a:pt x="393002" y="141732"/>
                    <a:pt x="397955" y="166783"/>
                    <a:pt x="397955" y="193643"/>
                  </a:cubicBezTo>
                  <a:lnTo>
                    <a:pt x="397955" y="195072"/>
                  </a:lnTo>
                  <a:cubicBezTo>
                    <a:pt x="397955" y="221456"/>
                    <a:pt x="392906" y="246412"/>
                    <a:pt x="382714" y="270034"/>
                  </a:cubicBezTo>
                  <a:cubicBezTo>
                    <a:pt x="372618" y="293561"/>
                    <a:pt x="358712" y="314230"/>
                    <a:pt x="340995" y="331851"/>
                  </a:cubicBezTo>
                  <a:cubicBezTo>
                    <a:pt x="323279" y="349472"/>
                    <a:pt x="302229" y="363569"/>
                    <a:pt x="277749" y="373856"/>
                  </a:cubicBezTo>
                  <a:cubicBezTo>
                    <a:pt x="253270" y="384238"/>
                    <a:pt x="226600" y="389382"/>
                    <a:pt x="197834" y="389382"/>
                  </a:cubicBezTo>
                  <a:close/>
                  <a:moveTo>
                    <a:pt x="199263" y="315278"/>
                  </a:moveTo>
                  <a:cubicBezTo>
                    <a:pt x="216598" y="315278"/>
                    <a:pt x="232124" y="312039"/>
                    <a:pt x="245936" y="305753"/>
                  </a:cubicBezTo>
                  <a:cubicBezTo>
                    <a:pt x="259747" y="299371"/>
                    <a:pt x="271558" y="290798"/>
                    <a:pt x="281369" y="279940"/>
                  </a:cubicBezTo>
                  <a:cubicBezTo>
                    <a:pt x="291179" y="269081"/>
                    <a:pt x="298704" y="256508"/>
                    <a:pt x="303848" y="242125"/>
                  </a:cubicBezTo>
                  <a:cubicBezTo>
                    <a:pt x="308991" y="227743"/>
                    <a:pt x="311563" y="212598"/>
                    <a:pt x="311563" y="196501"/>
                  </a:cubicBezTo>
                  <a:lnTo>
                    <a:pt x="311563" y="195072"/>
                  </a:lnTo>
                  <a:cubicBezTo>
                    <a:pt x="311563" y="178594"/>
                    <a:pt x="308706" y="163068"/>
                    <a:pt x="303181" y="148400"/>
                  </a:cubicBezTo>
                  <a:cubicBezTo>
                    <a:pt x="297561" y="133826"/>
                    <a:pt x="289750" y="121063"/>
                    <a:pt x="279654" y="110204"/>
                  </a:cubicBezTo>
                  <a:cubicBezTo>
                    <a:pt x="269557" y="99346"/>
                    <a:pt x="257651" y="90773"/>
                    <a:pt x="243840" y="84392"/>
                  </a:cubicBezTo>
                  <a:cubicBezTo>
                    <a:pt x="230029" y="78010"/>
                    <a:pt x="214694" y="74867"/>
                    <a:pt x="197834" y="74867"/>
                  </a:cubicBezTo>
                  <a:cubicBezTo>
                    <a:pt x="180975" y="74867"/>
                    <a:pt x="165640" y="78010"/>
                    <a:pt x="151829" y="84392"/>
                  </a:cubicBezTo>
                  <a:cubicBezTo>
                    <a:pt x="138017" y="90773"/>
                    <a:pt x="126206" y="99250"/>
                    <a:pt x="116396" y="109823"/>
                  </a:cubicBezTo>
                  <a:cubicBezTo>
                    <a:pt x="106585" y="120396"/>
                    <a:pt x="99060" y="133064"/>
                    <a:pt x="93916" y="147638"/>
                  </a:cubicBezTo>
                  <a:cubicBezTo>
                    <a:pt x="88773" y="162211"/>
                    <a:pt x="86201" y="177546"/>
                    <a:pt x="86201" y="193548"/>
                  </a:cubicBezTo>
                  <a:lnTo>
                    <a:pt x="86201" y="194977"/>
                  </a:lnTo>
                  <a:cubicBezTo>
                    <a:pt x="86201" y="211455"/>
                    <a:pt x="89059" y="226886"/>
                    <a:pt x="94583" y="241268"/>
                  </a:cubicBezTo>
                  <a:cubicBezTo>
                    <a:pt x="100203" y="255651"/>
                    <a:pt x="108014" y="268319"/>
                    <a:pt x="118110" y="279463"/>
                  </a:cubicBezTo>
                  <a:cubicBezTo>
                    <a:pt x="128207" y="290608"/>
                    <a:pt x="140113" y="299275"/>
                    <a:pt x="153924" y="305562"/>
                  </a:cubicBezTo>
                  <a:cubicBezTo>
                    <a:pt x="167735" y="311944"/>
                    <a:pt x="182785"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70" name="Freeform: Shape 31">
              <a:extLst>
                <a:ext uri="{FF2B5EF4-FFF2-40B4-BE49-F238E27FC236}">
                  <a16:creationId xmlns:a16="http://schemas.microsoft.com/office/drawing/2014/main" id="{D791859B-6DE3-280E-414E-507E21D8053F}"/>
                </a:ext>
              </a:extLst>
            </p:cNvPr>
            <p:cNvSpPr/>
            <p:nvPr/>
          </p:nvSpPr>
          <p:spPr>
            <a:xfrm>
              <a:off x="662071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1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7 w 296894"/>
                <a:gd name="connsiteY23" fmla="*/ 42863 h 386714"/>
                <a:gd name="connsiteX24" fmla="*/ 254318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7 w 296894"/>
                <a:gd name="connsiteY30" fmla="*/ 124587 h 386714"/>
                <a:gd name="connsiteX31" fmla="*/ 122682 w 296894"/>
                <a:gd name="connsiteY31" fmla="*/ 138017 h 386714"/>
                <a:gd name="connsiteX32" fmla="*/ 149543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6" y="348901"/>
                    <a:pt x="0" y="330327"/>
                  </a:cubicBezTo>
                  <a:lnTo>
                    <a:pt x="38195" y="272224"/>
                  </a:lnTo>
                  <a:cubicBezTo>
                    <a:pt x="58484" y="287274"/>
                    <a:pt x="79057" y="298704"/>
                    <a:pt x="100013" y="306514"/>
                  </a:cubicBezTo>
                  <a:cubicBezTo>
                    <a:pt x="120968" y="314325"/>
                    <a:pt x="141161" y="318135"/>
                    <a:pt x="160401" y="318135"/>
                  </a:cubicBezTo>
                  <a:cubicBezTo>
                    <a:pt x="179641" y="318135"/>
                    <a:pt x="192977"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1" y="241078"/>
                    <a:pt x="176498" y="237553"/>
                    <a:pt x="166401"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2" y="40195"/>
                    <a:pt x="56864" y="30385"/>
                  </a:cubicBezTo>
                  <a:cubicBezTo>
                    <a:pt x="68866" y="20479"/>
                    <a:pt x="82962" y="12954"/>
                    <a:pt x="99250" y="7810"/>
                  </a:cubicBezTo>
                  <a:cubicBezTo>
                    <a:pt x="115538" y="2667"/>
                    <a:pt x="132779" y="0"/>
                    <a:pt x="151162" y="0"/>
                  </a:cubicBezTo>
                  <a:cubicBezTo>
                    <a:pt x="174688" y="0"/>
                    <a:pt x="198501" y="3810"/>
                    <a:pt x="222504" y="11430"/>
                  </a:cubicBezTo>
                  <a:cubicBezTo>
                    <a:pt x="246507" y="19050"/>
                    <a:pt x="268414" y="29527"/>
                    <a:pt x="288227" y="42863"/>
                  </a:cubicBezTo>
                  <a:lnTo>
                    <a:pt x="254318"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7" y="124587"/>
                  </a:cubicBezTo>
                  <a:cubicBezTo>
                    <a:pt x="108585" y="129540"/>
                    <a:pt x="114871" y="134017"/>
                    <a:pt x="122682" y="138017"/>
                  </a:cubicBezTo>
                  <a:cubicBezTo>
                    <a:pt x="130493" y="142018"/>
                    <a:pt x="139351" y="145732"/>
                    <a:pt x="149543"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696"/>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71" name="Freeform: Shape 32">
              <a:extLst>
                <a:ext uri="{FF2B5EF4-FFF2-40B4-BE49-F238E27FC236}">
                  <a16:creationId xmlns:a16="http://schemas.microsoft.com/office/drawing/2014/main" id="{67F0483E-C48B-D20D-FADE-944C7BFE653A}"/>
                </a:ext>
              </a:extLst>
            </p:cNvPr>
            <p:cNvSpPr/>
            <p:nvPr/>
          </p:nvSpPr>
          <p:spPr>
            <a:xfrm>
              <a:off x="526693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4 w 202977"/>
                <a:gd name="connsiteY17" fmla="*/ 19907 h 239267"/>
                <a:gd name="connsiteX18" fmla="*/ 59246 w 202977"/>
                <a:gd name="connsiteY18" fmla="*/ 5429 h 239267"/>
                <a:gd name="connsiteX19" fmla="*/ 104299 w 202977"/>
                <a:gd name="connsiteY19" fmla="*/ 0 h 239267"/>
                <a:gd name="connsiteX20" fmla="*/ 178880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5 w 202977"/>
                <a:gd name="connsiteY27" fmla="*/ 211169 h 239267"/>
                <a:gd name="connsiteX28" fmla="*/ 122968 w 202977"/>
                <a:gd name="connsiteY28" fmla="*/ 206788 h 239267"/>
                <a:gd name="connsiteX29" fmla="*/ 147257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9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9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3" y="99155"/>
                    <a:pt x="58674" y="95917"/>
                  </a:cubicBezTo>
                  <a:cubicBezTo>
                    <a:pt x="70771" y="92678"/>
                    <a:pt x="84011" y="90964"/>
                    <a:pt x="98584" y="90964"/>
                  </a:cubicBezTo>
                  <a:cubicBezTo>
                    <a:pt x="113157" y="90964"/>
                    <a:pt x="126301" y="91821"/>
                    <a:pt x="137160" y="93631"/>
                  </a:cubicBezTo>
                  <a:cubicBezTo>
                    <a:pt x="148019" y="95440"/>
                    <a:pt x="158687" y="97822"/>
                    <a:pt x="169069" y="100774"/>
                  </a:cubicBezTo>
                  <a:lnTo>
                    <a:pt x="169069" y="93726"/>
                  </a:lnTo>
                  <a:cubicBezTo>
                    <a:pt x="169069" y="73342"/>
                    <a:pt x="163068" y="57912"/>
                    <a:pt x="151162" y="47339"/>
                  </a:cubicBezTo>
                  <a:cubicBezTo>
                    <a:pt x="139256" y="36862"/>
                    <a:pt x="122492" y="31623"/>
                    <a:pt x="100679" y="31623"/>
                  </a:cubicBezTo>
                  <a:cubicBezTo>
                    <a:pt x="86963" y="31623"/>
                    <a:pt x="74581" y="33147"/>
                    <a:pt x="63437" y="36100"/>
                  </a:cubicBezTo>
                  <a:cubicBezTo>
                    <a:pt x="52292" y="39053"/>
                    <a:pt x="41339" y="43053"/>
                    <a:pt x="30671" y="48196"/>
                  </a:cubicBezTo>
                  <a:lnTo>
                    <a:pt x="20384" y="19907"/>
                  </a:lnTo>
                  <a:cubicBezTo>
                    <a:pt x="33147" y="13906"/>
                    <a:pt x="46101" y="9049"/>
                    <a:pt x="59246" y="5429"/>
                  </a:cubicBezTo>
                  <a:cubicBezTo>
                    <a:pt x="72295" y="1810"/>
                    <a:pt x="87344" y="0"/>
                    <a:pt x="104299" y="0"/>
                  </a:cubicBezTo>
                  <a:cubicBezTo>
                    <a:pt x="137065" y="0"/>
                    <a:pt x="161925" y="8477"/>
                    <a:pt x="178880"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99" y="239173"/>
                    <a:pt x="86011" y="239173"/>
                  </a:cubicBezTo>
                  <a:close/>
                  <a:moveTo>
                    <a:pt x="93155" y="211169"/>
                  </a:moveTo>
                  <a:cubicBezTo>
                    <a:pt x="103823" y="211169"/>
                    <a:pt x="113728" y="209740"/>
                    <a:pt x="122968" y="206788"/>
                  </a:cubicBezTo>
                  <a:cubicBezTo>
                    <a:pt x="132207" y="203835"/>
                    <a:pt x="140208" y="199644"/>
                    <a:pt x="147257"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9" y="121444"/>
                  </a:cubicBezTo>
                  <a:cubicBezTo>
                    <a:pt x="129445" y="119348"/>
                    <a:pt x="116776"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244" y="190500"/>
                    <a:pt x="47435" y="195358"/>
                    <a:pt x="52769" y="199263"/>
                  </a:cubicBezTo>
                  <a:cubicBezTo>
                    <a:pt x="58103" y="203073"/>
                    <a:pt x="64294" y="206026"/>
                    <a:pt x="71247" y="208121"/>
                  </a:cubicBezTo>
                  <a:cubicBezTo>
                    <a:pt x="78200" y="210217"/>
                    <a:pt x="85535"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72" name="Freeform: Shape 33">
              <a:extLst>
                <a:ext uri="{FF2B5EF4-FFF2-40B4-BE49-F238E27FC236}">
                  <a16:creationId xmlns:a16="http://schemas.microsoft.com/office/drawing/2014/main" id="{18F94DB5-A62E-7F30-FD83-FB08657A82F5}"/>
                </a:ext>
              </a:extLst>
            </p:cNvPr>
            <p:cNvSpPr/>
            <p:nvPr/>
          </p:nvSpPr>
          <p:spPr>
            <a:xfrm>
              <a:off x="5331227"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9" y="303276"/>
                    <a:pt x="71438" y="300895"/>
                  </a:cubicBezTo>
                  <a:cubicBezTo>
                    <a:pt x="63437"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2"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73" name="Freeform: Shape 34">
              <a:extLst>
                <a:ext uri="{FF2B5EF4-FFF2-40B4-BE49-F238E27FC236}">
                  <a16:creationId xmlns:a16="http://schemas.microsoft.com/office/drawing/2014/main" id="{5B59E20B-CE56-7FA1-9470-E712AE103EB9}"/>
                </a:ext>
              </a:extLst>
            </p:cNvPr>
            <p:cNvSpPr/>
            <p:nvPr/>
          </p:nvSpPr>
          <p:spPr>
            <a:xfrm>
              <a:off x="5381845"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191 w 39242"/>
                <a:gd name="connsiteY5" fmla="*/ 88392 h 319182"/>
                <a:gd name="connsiteX6" fmla="*/ 36576 w 39242"/>
                <a:gd name="connsiteY6" fmla="*/ 88392 h 319182"/>
                <a:gd name="connsiteX7" fmla="*/ 36576 w 39242"/>
                <a:gd name="connsiteY7" fmla="*/ 319183 h 319182"/>
                <a:gd name="connsiteX8" fmla="*/ 2191 w 39242"/>
                <a:gd name="connsiteY8" fmla="*/ 319183 h 319182"/>
                <a:gd name="connsiteX9" fmla="*/ 2191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191" y="88392"/>
                  </a:moveTo>
                  <a:lnTo>
                    <a:pt x="36576" y="88392"/>
                  </a:lnTo>
                  <a:lnTo>
                    <a:pt x="36576" y="319183"/>
                  </a:lnTo>
                  <a:lnTo>
                    <a:pt x="2191" y="319183"/>
                  </a:lnTo>
                  <a:lnTo>
                    <a:pt x="2191" y="88392"/>
                  </a:lnTo>
                  <a:close/>
                </a:path>
              </a:pathLst>
            </a:custGeom>
            <a:solidFill>
              <a:srgbClr val="44505E"/>
            </a:solidFill>
            <a:ln w="9525" cap="flat">
              <a:noFill/>
              <a:prstDash val="solid"/>
              <a:miter/>
            </a:ln>
          </p:spPr>
          <p:txBody>
            <a:bodyPr rtlCol="0" anchor="ctr"/>
            <a:lstStyle/>
            <a:p>
              <a:endParaRPr lang="pt-BR" noProof="0"/>
            </a:p>
          </p:txBody>
        </p:sp>
        <p:sp>
          <p:nvSpPr>
            <p:cNvPr id="74" name="Freeform: Shape 35">
              <a:extLst>
                <a:ext uri="{FF2B5EF4-FFF2-40B4-BE49-F238E27FC236}">
                  <a16:creationId xmlns:a16="http://schemas.microsoft.com/office/drawing/2014/main" id="{5357F654-832A-EBC4-6B35-D34050118A5F}"/>
                </a:ext>
              </a:extLst>
            </p:cNvPr>
            <p:cNvSpPr/>
            <p:nvPr/>
          </p:nvSpPr>
          <p:spPr>
            <a:xfrm>
              <a:off x="5406076"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8" y="303276"/>
                    <a:pt x="71438" y="300895"/>
                  </a:cubicBezTo>
                  <a:cubicBezTo>
                    <a:pt x="63436"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1"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75" name="Freeform: Shape 36">
              <a:extLst>
                <a:ext uri="{FF2B5EF4-FFF2-40B4-BE49-F238E27FC236}">
                  <a16:creationId xmlns:a16="http://schemas.microsoft.com/office/drawing/2014/main" id="{837D3D20-F789-A76A-AD49-2A2BF743C496}"/>
                </a:ext>
              </a:extLst>
            </p:cNvPr>
            <p:cNvSpPr/>
            <p:nvPr/>
          </p:nvSpPr>
          <p:spPr>
            <a:xfrm>
              <a:off x="5455545" y="925297"/>
              <a:ext cx="50594" cy="59238"/>
            </a:xfrm>
            <a:custGeom>
              <a:avLst/>
              <a:gdLst>
                <a:gd name="connsiteX0" fmla="*/ 88392 w 201263"/>
                <a:gd name="connsiteY0" fmla="*/ 235648 h 235648"/>
                <a:gd name="connsiteX1" fmla="*/ 51149 w 201263"/>
                <a:gd name="connsiteY1" fmla="*/ 228981 h 235648"/>
                <a:gd name="connsiteX2" fmla="*/ 23431 w 201263"/>
                <a:gd name="connsiteY2" fmla="*/ 210026 h 235648"/>
                <a:gd name="connsiteX3" fmla="*/ 6001 w 201263"/>
                <a:gd name="connsiteY3" fmla="*/ 180784 h 235648"/>
                <a:gd name="connsiteX4" fmla="*/ 0 w 201263"/>
                <a:gd name="connsiteY4" fmla="*/ 143256 h 235648"/>
                <a:gd name="connsiteX5" fmla="*/ 0 w 201263"/>
                <a:gd name="connsiteY5" fmla="*/ 0 h 235648"/>
                <a:gd name="connsiteX6" fmla="*/ 34385 w 201263"/>
                <a:gd name="connsiteY6" fmla="*/ 0 h 235648"/>
                <a:gd name="connsiteX7" fmla="*/ 34385 w 201263"/>
                <a:gd name="connsiteY7" fmla="*/ 134493 h 235648"/>
                <a:gd name="connsiteX8" fmla="*/ 50864 w 201263"/>
                <a:gd name="connsiteY8" fmla="*/ 185261 h 235648"/>
                <a:gd name="connsiteX9" fmla="*/ 98203 w 201263"/>
                <a:gd name="connsiteY9" fmla="*/ 203930 h 235648"/>
                <a:gd name="connsiteX10" fmla="*/ 125635 w 201263"/>
                <a:gd name="connsiteY10" fmla="*/ 198787 h 235648"/>
                <a:gd name="connsiteX11" fmla="*/ 147542 w 201263"/>
                <a:gd name="connsiteY11" fmla="*/ 184118 h 235648"/>
                <a:gd name="connsiteX12" fmla="*/ 162020 w 201263"/>
                <a:gd name="connsiteY12" fmla="*/ 161163 h 235648"/>
                <a:gd name="connsiteX13" fmla="*/ 167354 w 201263"/>
                <a:gd name="connsiteY13" fmla="*/ 131826 h 235648"/>
                <a:gd name="connsiteX14" fmla="*/ 167354 w 201263"/>
                <a:gd name="connsiteY14" fmla="*/ 0 h 235648"/>
                <a:gd name="connsiteX15" fmla="*/ 201263 w 201263"/>
                <a:gd name="connsiteY15" fmla="*/ 0 h 235648"/>
                <a:gd name="connsiteX16" fmla="*/ 201263 w 201263"/>
                <a:gd name="connsiteY16" fmla="*/ 230791 h 235648"/>
                <a:gd name="connsiteX17" fmla="*/ 167354 w 201263"/>
                <a:gd name="connsiteY17" fmla="*/ 230791 h 235648"/>
                <a:gd name="connsiteX18" fmla="*/ 167354 w 201263"/>
                <a:gd name="connsiteY18" fmla="*/ 190595 h 235648"/>
                <a:gd name="connsiteX19" fmla="*/ 136969 w 201263"/>
                <a:gd name="connsiteY19" fmla="*/ 222504 h 235648"/>
                <a:gd name="connsiteX20" fmla="*/ 88297 w 201263"/>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263" h="235648">
                  <a:moveTo>
                    <a:pt x="88392" y="235648"/>
                  </a:moveTo>
                  <a:cubicBezTo>
                    <a:pt x="74390" y="235648"/>
                    <a:pt x="62008" y="233363"/>
                    <a:pt x="51149" y="228981"/>
                  </a:cubicBezTo>
                  <a:cubicBezTo>
                    <a:pt x="40291" y="224504"/>
                    <a:pt x="31052" y="218218"/>
                    <a:pt x="23431"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864" y="185261"/>
                  </a:cubicBezTo>
                  <a:cubicBezTo>
                    <a:pt x="61913" y="197739"/>
                    <a:pt x="77629" y="203930"/>
                    <a:pt x="98203" y="203930"/>
                  </a:cubicBezTo>
                  <a:cubicBezTo>
                    <a:pt x="108014" y="203930"/>
                    <a:pt x="117158" y="202216"/>
                    <a:pt x="125635" y="198787"/>
                  </a:cubicBezTo>
                  <a:cubicBezTo>
                    <a:pt x="134112" y="195358"/>
                    <a:pt x="141351" y="190500"/>
                    <a:pt x="147542" y="184118"/>
                  </a:cubicBezTo>
                  <a:cubicBezTo>
                    <a:pt x="153638" y="177736"/>
                    <a:pt x="158496" y="170116"/>
                    <a:pt x="162020" y="161163"/>
                  </a:cubicBezTo>
                  <a:cubicBezTo>
                    <a:pt x="165640" y="152305"/>
                    <a:pt x="167354" y="142494"/>
                    <a:pt x="167354" y="131826"/>
                  </a:cubicBezTo>
                  <a:lnTo>
                    <a:pt x="167354" y="0"/>
                  </a:lnTo>
                  <a:lnTo>
                    <a:pt x="201263" y="0"/>
                  </a:lnTo>
                  <a:lnTo>
                    <a:pt x="201263" y="230791"/>
                  </a:lnTo>
                  <a:lnTo>
                    <a:pt x="167354" y="230791"/>
                  </a:lnTo>
                  <a:lnTo>
                    <a:pt x="167354" y="190595"/>
                  </a:lnTo>
                  <a:cubicBezTo>
                    <a:pt x="159639" y="203073"/>
                    <a:pt x="149447" y="213741"/>
                    <a:pt x="136969" y="222504"/>
                  </a:cubicBezTo>
                  <a:cubicBezTo>
                    <a:pt x="124492" y="231267"/>
                    <a:pt x="108299" y="235648"/>
                    <a:pt x="88297" y="235648"/>
                  </a:cubicBezTo>
                  <a:close/>
                </a:path>
              </a:pathLst>
            </a:custGeom>
            <a:solidFill>
              <a:srgbClr val="44505E"/>
            </a:solidFill>
            <a:ln w="9525" cap="flat">
              <a:noFill/>
              <a:prstDash val="solid"/>
              <a:miter/>
            </a:ln>
          </p:spPr>
          <p:txBody>
            <a:bodyPr rtlCol="0" anchor="ctr"/>
            <a:lstStyle/>
            <a:p>
              <a:endParaRPr lang="pt-BR" noProof="0"/>
            </a:p>
          </p:txBody>
        </p:sp>
        <p:sp>
          <p:nvSpPr>
            <p:cNvPr id="76" name="Freeform: Shape 37">
              <a:extLst>
                <a:ext uri="{FF2B5EF4-FFF2-40B4-BE49-F238E27FC236}">
                  <a16:creationId xmlns:a16="http://schemas.microsoft.com/office/drawing/2014/main" id="{8667707E-64E4-B42C-D5A3-8210BDDAC974}"/>
                </a:ext>
              </a:extLst>
            </p:cNvPr>
            <p:cNvSpPr/>
            <p:nvPr/>
          </p:nvSpPr>
          <p:spPr>
            <a:xfrm>
              <a:off x="5522205" y="901353"/>
              <a:ext cx="58567" cy="83182"/>
            </a:xfrm>
            <a:custGeom>
              <a:avLst/>
              <a:gdLst>
                <a:gd name="connsiteX0" fmla="*/ 110204 w 232981"/>
                <a:gd name="connsiteY0" fmla="*/ 330898 h 330898"/>
                <a:gd name="connsiteX1" fmla="*/ 69628 w 232981"/>
                <a:gd name="connsiteY1" fmla="*/ 322897 h 330898"/>
                <a:gd name="connsiteX2" fmla="*/ 34385 w 232981"/>
                <a:gd name="connsiteY2" fmla="*/ 299466 h 330898"/>
                <a:gd name="connsiteX3" fmla="*/ 9334 w 232981"/>
                <a:gd name="connsiteY3" fmla="*/ 261938 h 330898"/>
                <a:gd name="connsiteX4" fmla="*/ 0 w 232981"/>
                <a:gd name="connsiteY4" fmla="*/ 211264 h 330898"/>
                <a:gd name="connsiteX5" fmla="*/ 0 w 232981"/>
                <a:gd name="connsiteY5" fmla="*/ 210407 h 330898"/>
                <a:gd name="connsiteX6" fmla="*/ 9334 w 232981"/>
                <a:gd name="connsiteY6" fmla="*/ 159925 h 330898"/>
                <a:gd name="connsiteX7" fmla="*/ 34385 w 232981"/>
                <a:gd name="connsiteY7" fmla="*/ 122206 h 330898"/>
                <a:gd name="connsiteX8" fmla="*/ 69628 w 232981"/>
                <a:gd name="connsiteY8" fmla="*/ 98488 h 330898"/>
                <a:gd name="connsiteX9" fmla="*/ 110204 w 232981"/>
                <a:gd name="connsiteY9" fmla="*/ 90202 h 330898"/>
                <a:gd name="connsiteX10" fmla="*/ 139636 w 232981"/>
                <a:gd name="connsiteY10" fmla="*/ 94202 h 330898"/>
                <a:gd name="connsiteX11" fmla="*/ 163735 w 232981"/>
                <a:gd name="connsiteY11" fmla="*/ 104870 h 330898"/>
                <a:gd name="connsiteX12" fmla="*/ 183166 w 232981"/>
                <a:gd name="connsiteY12" fmla="*/ 120491 h 330898"/>
                <a:gd name="connsiteX13" fmla="*/ 198596 w 232981"/>
                <a:gd name="connsiteY13" fmla="*/ 139255 h 330898"/>
                <a:gd name="connsiteX14" fmla="*/ 198596 w 232981"/>
                <a:gd name="connsiteY14" fmla="*/ 0 h 330898"/>
                <a:gd name="connsiteX15" fmla="*/ 232981 w 232981"/>
                <a:gd name="connsiteY15" fmla="*/ 0 h 330898"/>
                <a:gd name="connsiteX16" fmla="*/ 232981 w 232981"/>
                <a:gd name="connsiteY16" fmla="*/ 325850 h 330898"/>
                <a:gd name="connsiteX17" fmla="*/ 198596 w 232981"/>
                <a:gd name="connsiteY17" fmla="*/ 325850 h 330898"/>
                <a:gd name="connsiteX18" fmla="*/ 198596 w 232981"/>
                <a:gd name="connsiteY18" fmla="*/ 279463 h 330898"/>
                <a:gd name="connsiteX19" fmla="*/ 182785 w 232981"/>
                <a:gd name="connsiteY19" fmla="*/ 299085 h 330898"/>
                <a:gd name="connsiteX20" fmla="*/ 163354 w 232981"/>
                <a:gd name="connsiteY20" fmla="*/ 315658 h 330898"/>
                <a:gd name="connsiteX21" fmla="*/ 139446 w 232981"/>
                <a:gd name="connsiteY21" fmla="*/ 326803 h 330898"/>
                <a:gd name="connsiteX22" fmla="*/ 110204 w 232981"/>
                <a:gd name="connsiteY22" fmla="*/ 330803 h 330898"/>
                <a:gd name="connsiteX23" fmla="*/ 116491 w 232981"/>
                <a:gd name="connsiteY23" fmla="*/ 300133 h 330898"/>
                <a:gd name="connsiteX24" fmla="*/ 147542 w 232981"/>
                <a:gd name="connsiteY24" fmla="*/ 293656 h 330898"/>
                <a:gd name="connsiteX25" fmla="*/ 174307 w 232981"/>
                <a:gd name="connsiteY25" fmla="*/ 275368 h 330898"/>
                <a:gd name="connsiteX26" fmla="*/ 193072 w 232981"/>
                <a:gd name="connsiteY26" fmla="*/ 247269 h 330898"/>
                <a:gd name="connsiteX27" fmla="*/ 200025 w 232981"/>
                <a:gd name="connsiteY27" fmla="*/ 210883 h 330898"/>
                <a:gd name="connsiteX28" fmla="*/ 200025 w 232981"/>
                <a:gd name="connsiteY28" fmla="*/ 210026 h 330898"/>
                <a:gd name="connsiteX29" fmla="*/ 193072 w 232981"/>
                <a:gd name="connsiteY29" fmla="*/ 173641 h 330898"/>
                <a:gd name="connsiteX30" fmla="*/ 174307 w 232981"/>
                <a:gd name="connsiteY30" fmla="*/ 145732 h 330898"/>
                <a:gd name="connsiteX31" fmla="*/ 147542 w 232981"/>
                <a:gd name="connsiteY31" fmla="*/ 127635 h 330898"/>
                <a:gd name="connsiteX32" fmla="*/ 116491 w 232981"/>
                <a:gd name="connsiteY32" fmla="*/ 121158 h 330898"/>
                <a:gd name="connsiteX33" fmla="*/ 84772 w 232981"/>
                <a:gd name="connsiteY33" fmla="*/ 127159 h 330898"/>
                <a:gd name="connsiteX34" fmla="*/ 59150 w 232981"/>
                <a:gd name="connsiteY34" fmla="*/ 144589 h 330898"/>
                <a:gd name="connsiteX35" fmla="*/ 41719 w 232981"/>
                <a:gd name="connsiteY35" fmla="*/ 172498 h 330898"/>
                <a:gd name="connsiteX36" fmla="*/ 35242 w 232981"/>
                <a:gd name="connsiteY36" fmla="*/ 210026 h 330898"/>
                <a:gd name="connsiteX37" fmla="*/ 35242 w 232981"/>
                <a:gd name="connsiteY37" fmla="*/ 210883 h 330898"/>
                <a:gd name="connsiteX38" fmla="*/ 41719 w 232981"/>
                <a:gd name="connsiteY38" fmla="*/ 247936 h 330898"/>
                <a:gd name="connsiteX39" fmla="*/ 59341 w 232981"/>
                <a:gd name="connsiteY39" fmla="*/ 276034 h 330898"/>
                <a:gd name="connsiteX40" fmla="*/ 85249 w 232981"/>
                <a:gd name="connsiteY40" fmla="*/ 293941 h 330898"/>
                <a:gd name="connsiteX41" fmla="*/ 116491 w 23298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30898">
                  <a:moveTo>
                    <a:pt x="110204" y="330898"/>
                  </a:moveTo>
                  <a:cubicBezTo>
                    <a:pt x="96202" y="330898"/>
                    <a:pt x="82677" y="328231"/>
                    <a:pt x="69628" y="322897"/>
                  </a:cubicBezTo>
                  <a:cubicBezTo>
                    <a:pt x="56578" y="317563"/>
                    <a:pt x="44767" y="309753"/>
                    <a:pt x="34385" y="299466"/>
                  </a:cubicBezTo>
                  <a:cubicBezTo>
                    <a:pt x="24003" y="289179"/>
                    <a:pt x="15621" y="276701"/>
                    <a:pt x="9334" y="261938"/>
                  </a:cubicBezTo>
                  <a:cubicBezTo>
                    <a:pt x="3048" y="247174"/>
                    <a:pt x="0" y="230314"/>
                    <a:pt x="0" y="211264"/>
                  </a:cubicBezTo>
                  <a:lnTo>
                    <a:pt x="0" y="210407"/>
                  </a:lnTo>
                  <a:cubicBezTo>
                    <a:pt x="0" y="191643"/>
                    <a:pt x="3143" y="174879"/>
                    <a:pt x="9334" y="159925"/>
                  </a:cubicBezTo>
                  <a:cubicBezTo>
                    <a:pt x="15621" y="145066"/>
                    <a:pt x="23908" y="132493"/>
                    <a:pt x="34385" y="122206"/>
                  </a:cubicBezTo>
                  <a:cubicBezTo>
                    <a:pt x="44767" y="111919"/>
                    <a:pt x="56578" y="104013"/>
                    <a:pt x="69628" y="98488"/>
                  </a:cubicBezTo>
                  <a:cubicBezTo>
                    <a:pt x="82677" y="92964"/>
                    <a:pt x="96298" y="90202"/>
                    <a:pt x="110204" y="90202"/>
                  </a:cubicBezTo>
                  <a:cubicBezTo>
                    <a:pt x="120967" y="90202"/>
                    <a:pt x="130778" y="91535"/>
                    <a:pt x="139636" y="94202"/>
                  </a:cubicBezTo>
                  <a:cubicBezTo>
                    <a:pt x="148590" y="96869"/>
                    <a:pt x="156591" y="100489"/>
                    <a:pt x="163735" y="104870"/>
                  </a:cubicBezTo>
                  <a:cubicBezTo>
                    <a:pt x="170878" y="109347"/>
                    <a:pt x="177356" y="114586"/>
                    <a:pt x="183166" y="120491"/>
                  </a:cubicBezTo>
                  <a:cubicBezTo>
                    <a:pt x="188976" y="126492"/>
                    <a:pt x="194119" y="132683"/>
                    <a:pt x="198596" y="139255"/>
                  </a:cubicBezTo>
                  <a:lnTo>
                    <a:pt x="198596" y="0"/>
                  </a:lnTo>
                  <a:lnTo>
                    <a:pt x="232981" y="0"/>
                  </a:lnTo>
                  <a:lnTo>
                    <a:pt x="232981" y="325850"/>
                  </a:lnTo>
                  <a:lnTo>
                    <a:pt x="198596" y="325850"/>
                  </a:lnTo>
                  <a:lnTo>
                    <a:pt x="198596" y="279463"/>
                  </a:lnTo>
                  <a:cubicBezTo>
                    <a:pt x="193834" y="286321"/>
                    <a:pt x="188595" y="292894"/>
                    <a:pt x="182785" y="299085"/>
                  </a:cubicBezTo>
                  <a:cubicBezTo>
                    <a:pt x="176974" y="305371"/>
                    <a:pt x="170498" y="310896"/>
                    <a:pt x="163354" y="315658"/>
                  </a:cubicBezTo>
                  <a:cubicBezTo>
                    <a:pt x="156210" y="320421"/>
                    <a:pt x="148209" y="324136"/>
                    <a:pt x="139446" y="326803"/>
                  </a:cubicBezTo>
                  <a:cubicBezTo>
                    <a:pt x="130683" y="329470"/>
                    <a:pt x="120967" y="330803"/>
                    <a:pt x="110204" y="330803"/>
                  </a:cubicBezTo>
                  <a:close/>
                  <a:moveTo>
                    <a:pt x="116491" y="300133"/>
                  </a:moveTo>
                  <a:cubicBezTo>
                    <a:pt x="127159" y="300133"/>
                    <a:pt x="137541" y="297942"/>
                    <a:pt x="147542" y="293656"/>
                  </a:cubicBezTo>
                  <a:cubicBezTo>
                    <a:pt x="157544" y="289369"/>
                    <a:pt x="166402" y="283273"/>
                    <a:pt x="174307" y="275368"/>
                  </a:cubicBezTo>
                  <a:cubicBezTo>
                    <a:pt x="182213" y="267462"/>
                    <a:pt x="188404" y="258127"/>
                    <a:pt x="193072" y="247269"/>
                  </a:cubicBezTo>
                  <a:cubicBezTo>
                    <a:pt x="197644" y="236410"/>
                    <a:pt x="200025" y="224314"/>
                    <a:pt x="200025" y="210883"/>
                  </a:cubicBezTo>
                  <a:lnTo>
                    <a:pt x="200025" y="210026"/>
                  </a:lnTo>
                  <a:cubicBezTo>
                    <a:pt x="200025" y="196596"/>
                    <a:pt x="197739" y="184499"/>
                    <a:pt x="193072" y="173641"/>
                  </a:cubicBezTo>
                  <a:cubicBezTo>
                    <a:pt x="188500" y="162782"/>
                    <a:pt x="182213" y="153448"/>
                    <a:pt x="174307" y="145732"/>
                  </a:cubicBezTo>
                  <a:cubicBezTo>
                    <a:pt x="166402" y="138017"/>
                    <a:pt x="157448" y="132016"/>
                    <a:pt x="147542" y="127635"/>
                  </a:cubicBezTo>
                  <a:cubicBezTo>
                    <a:pt x="137541" y="123349"/>
                    <a:pt x="127254" y="121158"/>
                    <a:pt x="116491" y="121158"/>
                  </a:cubicBezTo>
                  <a:cubicBezTo>
                    <a:pt x="105156" y="121158"/>
                    <a:pt x="94583" y="123158"/>
                    <a:pt x="84772" y="127159"/>
                  </a:cubicBezTo>
                  <a:cubicBezTo>
                    <a:pt x="74962" y="131159"/>
                    <a:pt x="66389" y="136969"/>
                    <a:pt x="59150" y="144589"/>
                  </a:cubicBezTo>
                  <a:cubicBezTo>
                    <a:pt x="51816" y="152114"/>
                    <a:pt x="46101" y="161449"/>
                    <a:pt x="41719" y="172498"/>
                  </a:cubicBezTo>
                  <a:cubicBezTo>
                    <a:pt x="37433" y="183451"/>
                    <a:pt x="35242" y="196024"/>
                    <a:pt x="35242" y="210026"/>
                  </a:cubicBezTo>
                  <a:lnTo>
                    <a:pt x="35242" y="210883"/>
                  </a:lnTo>
                  <a:cubicBezTo>
                    <a:pt x="35242" y="224599"/>
                    <a:pt x="37433" y="236982"/>
                    <a:pt x="41719" y="247936"/>
                  </a:cubicBezTo>
                  <a:cubicBezTo>
                    <a:pt x="46006" y="258984"/>
                    <a:pt x="51911" y="268319"/>
                    <a:pt x="59341" y="276034"/>
                  </a:cubicBezTo>
                  <a:cubicBezTo>
                    <a:pt x="66770" y="283750"/>
                    <a:pt x="75438" y="289750"/>
                    <a:pt x="85249" y="293941"/>
                  </a:cubicBezTo>
                  <a:cubicBezTo>
                    <a:pt x="95059" y="298132"/>
                    <a:pt x="105442" y="300228"/>
                    <a:pt x="116491" y="300228"/>
                  </a:cubicBezTo>
                  <a:close/>
                </a:path>
              </a:pathLst>
            </a:custGeom>
            <a:solidFill>
              <a:srgbClr val="44505E"/>
            </a:solidFill>
            <a:ln w="9525" cap="flat">
              <a:noFill/>
              <a:prstDash val="solid"/>
              <a:miter/>
            </a:ln>
          </p:spPr>
          <p:txBody>
            <a:bodyPr rtlCol="0" anchor="ctr"/>
            <a:lstStyle/>
            <a:p>
              <a:endParaRPr lang="pt-BR" noProof="0"/>
            </a:p>
          </p:txBody>
        </p:sp>
        <p:sp>
          <p:nvSpPr>
            <p:cNvPr id="77" name="Freeform: Shape 38">
              <a:extLst>
                <a:ext uri="{FF2B5EF4-FFF2-40B4-BE49-F238E27FC236}">
                  <a16:creationId xmlns:a16="http://schemas.microsoft.com/office/drawing/2014/main" id="{A5FFDF8C-E84D-398D-2A9D-BF332E993ABF}"/>
                </a:ext>
              </a:extLst>
            </p:cNvPr>
            <p:cNvSpPr/>
            <p:nvPr/>
          </p:nvSpPr>
          <p:spPr>
            <a:xfrm>
              <a:off x="5596504"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6963 w 218217"/>
                <a:gd name="connsiteY3" fmla="*/ 206026 h 241077"/>
                <a:gd name="connsiteX4" fmla="*/ 116015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8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1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452 w 218217"/>
                <a:gd name="connsiteY25" fmla="*/ 106299 h 241077"/>
                <a:gd name="connsiteX26" fmla="*/ 176784 w 218217"/>
                <a:gd name="connsiteY26" fmla="*/ 76771 h 241077"/>
                <a:gd name="connsiteX27" fmla="*/ 162306 w 218217"/>
                <a:gd name="connsiteY27" fmla="*/ 52101 h 241077"/>
                <a:gd name="connsiteX28" fmla="*/ 140018 w 218217"/>
                <a:gd name="connsiteY28" fmla="*/ 35242 h 241077"/>
                <a:gd name="connsiteX29" fmla="*/ 109919 w 218217"/>
                <a:gd name="connsiteY29" fmla="*/ 29051 h 241077"/>
                <a:gd name="connsiteX30" fmla="*/ 82201 w 218217"/>
                <a:gd name="connsiteY30" fmla="*/ 34766 h 241077"/>
                <a:gd name="connsiteX31" fmla="*/ 59436 w 218217"/>
                <a:gd name="connsiteY31" fmla="*/ 50959 h 241077"/>
                <a:gd name="connsiteX32" fmla="*/ 43148 w 218217"/>
                <a:gd name="connsiteY32" fmla="*/ 75628 h 241077"/>
                <a:gd name="connsiteX33" fmla="*/ 34862 w 218217"/>
                <a:gd name="connsiteY33" fmla="*/ 106204 h 241077"/>
                <a:gd name="connsiteX34" fmla="*/ 183547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724" y="202597"/>
                    <a:pt x="86963" y="206026"/>
                  </a:cubicBezTo>
                  <a:cubicBezTo>
                    <a:pt x="96203" y="209455"/>
                    <a:pt x="105823" y="211169"/>
                    <a:pt x="116015" y="211169"/>
                  </a:cubicBezTo>
                  <a:cubicBezTo>
                    <a:pt x="132112" y="211169"/>
                    <a:pt x="145828" y="208216"/>
                    <a:pt x="157353" y="202216"/>
                  </a:cubicBezTo>
                  <a:cubicBezTo>
                    <a:pt x="168783" y="196310"/>
                    <a:pt x="179261" y="188404"/>
                    <a:pt x="188786" y="178594"/>
                  </a:cubicBezTo>
                  <a:lnTo>
                    <a:pt x="210217" y="197834"/>
                  </a:lnTo>
                  <a:cubicBezTo>
                    <a:pt x="198596" y="210979"/>
                    <a:pt x="185357" y="221361"/>
                    <a:pt x="170498" y="229267"/>
                  </a:cubicBezTo>
                  <a:cubicBezTo>
                    <a:pt x="155639"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679" y="0"/>
                    <a:pt x="110681"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452" y="106299"/>
                  </a:moveTo>
                  <a:cubicBezTo>
                    <a:pt x="182594" y="95917"/>
                    <a:pt x="180308" y="86106"/>
                    <a:pt x="176784" y="76771"/>
                  </a:cubicBezTo>
                  <a:cubicBezTo>
                    <a:pt x="173165" y="67437"/>
                    <a:pt x="168402" y="59245"/>
                    <a:pt x="162306" y="52101"/>
                  </a:cubicBezTo>
                  <a:cubicBezTo>
                    <a:pt x="156210" y="44958"/>
                    <a:pt x="148781" y="39338"/>
                    <a:pt x="140018" y="35242"/>
                  </a:cubicBezTo>
                  <a:cubicBezTo>
                    <a:pt x="131254" y="31147"/>
                    <a:pt x="121158" y="29051"/>
                    <a:pt x="109919" y="29051"/>
                  </a:cubicBezTo>
                  <a:cubicBezTo>
                    <a:pt x="100108" y="29051"/>
                    <a:pt x="90869" y="30956"/>
                    <a:pt x="82201" y="34766"/>
                  </a:cubicBezTo>
                  <a:cubicBezTo>
                    <a:pt x="73533" y="38671"/>
                    <a:pt x="66008" y="44005"/>
                    <a:pt x="59436" y="50959"/>
                  </a:cubicBezTo>
                  <a:cubicBezTo>
                    <a:pt x="52864" y="57912"/>
                    <a:pt x="47435" y="66103"/>
                    <a:pt x="43148" y="75628"/>
                  </a:cubicBezTo>
                  <a:cubicBezTo>
                    <a:pt x="38862" y="85058"/>
                    <a:pt x="36100" y="95345"/>
                    <a:pt x="34862" y="106204"/>
                  </a:cubicBezTo>
                  <a:lnTo>
                    <a:pt x="183547" y="106204"/>
                  </a:lnTo>
                  <a:close/>
                </a:path>
              </a:pathLst>
            </a:custGeom>
            <a:solidFill>
              <a:srgbClr val="44505E"/>
            </a:solidFill>
            <a:ln w="9525" cap="flat">
              <a:noFill/>
              <a:prstDash val="solid"/>
              <a:miter/>
            </a:ln>
          </p:spPr>
          <p:txBody>
            <a:bodyPr rtlCol="0" anchor="ctr"/>
            <a:lstStyle/>
            <a:p>
              <a:endParaRPr lang="pt-BR" noProof="0"/>
            </a:p>
          </p:txBody>
        </p:sp>
        <p:sp>
          <p:nvSpPr>
            <p:cNvPr id="78" name="Freeform: Shape 39">
              <a:extLst>
                <a:ext uri="{FF2B5EF4-FFF2-40B4-BE49-F238E27FC236}">
                  <a16:creationId xmlns:a16="http://schemas.microsoft.com/office/drawing/2014/main" id="{CBC801C4-D800-DABB-7C46-44A3E02DB1D3}"/>
                </a:ext>
              </a:extLst>
            </p:cNvPr>
            <p:cNvSpPr/>
            <p:nvPr/>
          </p:nvSpPr>
          <p:spPr>
            <a:xfrm>
              <a:off x="5661680" y="924268"/>
              <a:ext cx="44656" cy="60195"/>
            </a:xfrm>
            <a:custGeom>
              <a:avLst/>
              <a:gdLst>
                <a:gd name="connsiteX0" fmla="*/ 95536 w 177641"/>
                <a:gd name="connsiteY0" fmla="*/ 239268 h 239458"/>
                <a:gd name="connsiteX1" fmla="*/ 45053 w 177641"/>
                <a:gd name="connsiteY1" fmla="*/ 230124 h 239458"/>
                <a:gd name="connsiteX2" fmla="*/ 0 w 177641"/>
                <a:gd name="connsiteY2" fmla="*/ 205359 h 239458"/>
                <a:gd name="connsiteX3" fmla="*/ 17431 w 177641"/>
                <a:gd name="connsiteY3" fmla="*/ 180785 h 239458"/>
                <a:gd name="connsiteX4" fmla="*/ 56483 w 177641"/>
                <a:gd name="connsiteY4" fmla="*/ 202692 h 239458"/>
                <a:gd name="connsiteX5" fmla="*/ 97346 w 177641"/>
                <a:gd name="connsiteY5" fmla="*/ 210217 h 239458"/>
                <a:gd name="connsiteX6" fmla="*/ 131731 w 177641"/>
                <a:gd name="connsiteY6" fmla="*/ 200406 h 239458"/>
                <a:gd name="connsiteX7" fmla="*/ 145161 w 177641"/>
                <a:gd name="connsiteY7" fmla="*/ 173641 h 239458"/>
                <a:gd name="connsiteX8" fmla="*/ 145161 w 177641"/>
                <a:gd name="connsiteY8" fmla="*/ 172784 h 239458"/>
                <a:gd name="connsiteX9" fmla="*/ 140494 w 177641"/>
                <a:gd name="connsiteY9" fmla="*/ 158020 h 239458"/>
                <a:gd name="connsiteX10" fmla="*/ 127730 w 177641"/>
                <a:gd name="connsiteY10" fmla="*/ 147066 h 239458"/>
                <a:gd name="connsiteX11" fmla="*/ 109157 w 177641"/>
                <a:gd name="connsiteY11" fmla="*/ 138779 h 239458"/>
                <a:gd name="connsiteX12" fmla="*/ 87535 w 177641"/>
                <a:gd name="connsiteY12" fmla="*/ 132112 h 239458"/>
                <a:gd name="connsiteX13" fmla="*/ 60484 w 177641"/>
                <a:gd name="connsiteY13" fmla="*/ 123444 h 239458"/>
                <a:gd name="connsiteX14" fmla="*/ 35909 w 177641"/>
                <a:gd name="connsiteY14" fmla="*/ 111633 h 239458"/>
                <a:gd name="connsiteX15" fmla="*/ 18098 w 177641"/>
                <a:gd name="connsiteY15" fmla="*/ 93726 h 239458"/>
                <a:gd name="connsiteX16" fmla="*/ 11144 w 177641"/>
                <a:gd name="connsiteY16" fmla="*/ 66961 h 239458"/>
                <a:gd name="connsiteX17" fmla="*/ 11144 w 177641"/>
                <a:gd name="connsiteY17" fmla="*/ 66008 h 239458"/>
                <a:gd name="connsiteX18" fmla="*/ 16954 w 177641"/>
                <a:gd name="connsiteY18" fmla="*/ 39053 h 239458"/>
                <a:gd name="connsiteX19" fmla="*/ 33242 w 177641"/>
                <a:gd name="connsiteY19" fmla="*/ 18098 h 239458"/>
                <a:gd name="connsiteX20" fmla="*/ 58293 w 177641"/>
                <a:gd name="connsiteY20" fmla="*/ 4667 h 239458"/>
                <a:gd name="connsiteX21" fmla="*/ 89725 w 177641"/>
                <a:gd name="connsiteY21" fmla="*/ 0 h 239458"/>
                <a:gd name="connsiteX22" fmla="*/ 133064 w 177641"/>
                <a:gd name="connsiteY22" fmla="*/ 6953 h 239458"/>
                <a:gd name="connsiteX23" fmla="*/ 172784 w 177641"/>
                <a:gd name="connsiteY23" fmla="*/ 25527 h 239458"/>
                <a:gd name="connsiteX24" fmla="*/ 157163 w 177641"/>
                <a:gd name="connsiteY24" fmla="*/ 51435 h 239458"/>
                <a:gd name="connsiteX25" fmla="*/ 123444 w 177641"/>
                <a:gd name="connsiteY25" fmla="*/ 35147 h 239458"/>
                <a:gd name="connsiteX26" fmla="*/ 88868 w 177641"/>
                <a:gd name="connsiteY26" fmla="*/ 29146 h 239458"/>
                <a:gd name="connsiteX27" fmla="*/ 56293 w 177641"/>
                <a:gd name="connsiteY27" fmla="*/ 38767 h 239458"/>
                <a:gd name="connsiteX28" fmla="*/ 44196 w 177641"/>
                <a:gd name="connsiteY28" fmla="*/ 62675 h 239458"/>
                <a:gd name="connsiteX29" fmla="*/ 44196 w 177641"/>
                <a:gd name="connsiteY29" fmla="*/ 63627 h 239458"/>
                <a:gd name="connsiteX30" fmla="*/ 49149 w 177641"/>
                <a:gd name="connsiteY30" fmla="*/ 77724 h 239458"/>
                <a:gd name="connsiteX31" fmla="*/ 62294 w 177641"/>
                <a:gd name="connsiteY31" fmla="*/ 88202 h 239458"/>
                <a:gd name="connsiteX32" fmla="*/ 81248 w 177641"/>
                <a:gd name="connsiteY32" fmla="*/ 96203 h 239458"/>
                <a:gd name="connsiteX33" fmla="*/ 103537 w 177641"/>
                <a:gd name="connsiteY33" fmla="*/ 103346 h 239458"/>
                <a:gd name="connsiteX34" fmla="*/ 130112 w 177641"/>
                <a:gd name="connsiteY34" fmla="*/ 112300 h 239458"/>
                <a:gd name="connsiteX35" fmla="*/ 154019 w 177641"/>
                <a:gd name="connsiteY35" fmla="*/ 124778 h 239458"/>
                <a:gd name="connsiteX36" fmla="*/ 171164 w 177641"/>
                <a:gd name="connsiteY36" fmla="*/ 143066 h 239458"/>
                <a:gd name="connsiteX37" fmla="*/ 177641 w 177641"/>
                <a:gd name="connsiteY37" fmla="*/ 169450 h 239458"/>
                <a:gd name="connsiteX38" fmla="*/ 177641 w 177641"/>
                <a:gd name="connsiteY38" fmla="*/ 170307 h 239458"/>
                <a:gd name="connsiteX39" fmla="*/ 171164 w 177641"/>
                <a:gd name="connsiteY39" fmla="*/ 199549 h 239458"/>
                <a:gd name="connsiteX40" fmla="*/ 153734 w 177641"/>
                <a:gd name="connsiteY40" fmla="*/ 221171 h 239458"/>
                <a:gd name="connsiteX41" fmla="*/ 127825 w 177641"/>
                <a:gd name="connsiteY41" fmla="*/ 234791 h 239458"/>
                <a:gd name="connsiteX42" fmla="*/ 95441 w 177641"/>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641" h="239458">
                  <a:moveTo>
                    <a:pt x="95536" y="239268"/>
                  </a:moveTo>
                  <a:cubicBezTo>
                    <a:pt x="78867" y="239268"/>
                    <a:pt x="62008" y="236220"/>
                    <a:pt x="45053" y="230124"/>
                  </a:cubicBezTo>
                  <a:cubicBezTo>
                    <a:pt x="28099" y="224028"/>
                    <a:pt x="13049" y="215741"/>
                    <a:pt x="0" y="205359"/>
                  </a:cubicBezTo>
                  <a:lnTo>
                    <a:pt x="17431" y="180785"/>
                  </a:lnTo>
                  <a:cubicBezTo>
                    <a:pt x="29908"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542" y="162211"/>
                    <a:pt x="140494" y="158020"/>
                  </a:cubicBezTo>
                  <a:cubicBezTo>
                    <a:pt x="137350" y="153829"/>
                    <a:pt x="133160" y="150209"/>
                    <a:pt x="127730" y="147066"/>
                  </a:cubicBezTo>
                  <a:cubicBezTo>
                    <a:pt x="122396" y="143923"/>
                    <a:pt x="116205" y="141161"/>
                    <a:pt x="109157" y="138779"/>
                  </a:cubicBezTo>
                  <a:cubicBezTo>
                    <a:pt x="102203" y="136398"/>
                    <a:pt x="94964" y="134207"/>
                    <a:pt x="87535" y="132112"/>
                  </a:cubicBezTo>
                  <a:cubicBezTo>
                    <a:pt x="78581" y="129445"/>
                    <a:pt x="69628" y="126492"/>
                    <a:pt x="60484" y="123444"/>
                  </a:cubicBezTo>
                  <a:cubicBezTo>
                    <a:pt x="51435" y="120301"/>
                    <a:pt x="43244" y="116396"/>
                    <a:pt x="35909" y="111633"/>
                  </a:cubicBezTo>
                  <a:cubicBezTo>
                    <a:pt x="28575" y="106871"/>
                    <a:pt x="22670" y="100870"/>
                    <a:pt x="18098" y="93726"/>
                  </a:cubicBezTo>
                  <a:cubicBezTo>
                    <a:pt x="13525" y="86582"/>
                    <a:pt x="11144" y="77629"/>
                    <a:pt x="11144" y="66961"/>
                  </a:cubicBezTo>
                  <a:lnTo>
                    <a:pt x="11144" y="66008"/>
                  </a:lnTo>
                  <a:cubicBezTo>
                    <a:pt x="11144" y="56198"/>
                    <a:pt x="13049" y="47149"/>
                    <a:pt x="16954" y="39053"/>
                  </a:cubicBezTo>
                  <a:cubicBezTo>
                    <a:pt x="20860" y="30861"/>
                    <a:pt x="26289" y="23908"/>
                    <a:pt x="33242" y="18098"/>
                  </a:cubicBezTo>
                  <a:cubicBezTo>
                    <a:pt x="40196" y="12287"/>
                    <a:pt x="48578" y="7811"/>
                    <a:pt x="58293" y="4667"/>
                  </a:cubicBezTo>
                  <a:cubicBezTo>
                    <a:pt x="67913" y="1524"/>
                    <a:pt x="78486" y="0"/>
                    <a:pt x="89725" y="0"/>
                  </a:cubicBezTo>
                  <a:cubicBezTo>
                    <a:pt x="104013" y="0"/>
                    <a:pt x="118396" y="2286"/>
                    <a:pt x="133064" y="6953"/>
                  </a:cubicBezTo>
                  <a:cubicBezTo>
                    <a:pt x="147638" y="11621"/>
                    <a:pt x="160877" y="17717"/>
                    <a:pt x="172784" y="25527"/>
                  </a:cubicBezTo>
                  <a:lnTo>
                    <a:pt x="157163" y="51435"/>
                  </a:lnTo>
                  <a:cubicBezTo>
                    <a:pt x="146399" y="44577"/>
                    <a:pt x="135255" y="39148"/>
                    <a:pt x="123444" y="35147"/>
                  </a:cubicBezTo>
                  <a:cubicBezTo>
                    <a:pt x="111728" y="31147"/>
                    <a:pt x="100203" y="29146"/>
                    <a:pt x="88868" y="29146"/>
                  </a:cubicBezTo>
                  <a:cubicBezTo>
                    <a:pt x="75152" y="29146"/>
                    <a:pt x="64294" y="32385"/>
                    <a:pt x="56293" y="38767"/>
                  </a:cubicBezTo>
                  <a:cubicBezTo>
                    <a:pt x="48292" y="45149"/>
                    <a:pt x="44196" y="53150"/>
                    <a:pt x="44196" y="62675"/>
                  </a:cubicBezTo>
                  <a:lnTo>
                    <a:pt x="44196" y="63627"/>
                  </a:lnTo>
                  <a:cubicBezTo>
                    <a:pt x="44196" y="68961"/>
                    <a:pt x="45815" y="73628"/>
                    <a:pt x="49149" y="77724"/>
                  </a:cubicBezTo>
                  <a:cubicBezTo>
                    <a:pt x="52388" y="81725"/>
                    <a:pt x="56769" y="85249"/>
                    <a:pt x="62294" y="88202"/>
                  </a:cubicBezTo>
                  <a:cubicBezTo>
                    <a:pt x="67818" y="91154"/>
                    <a:pt x="74104" y="93821"/>
                    <a:pt x="81248" y="96203"/>
                  </a:cubicBezTo>
                  <a:cubicBezTo>
                    <a:pt x="88392" y="98584"/>
                    <a:pt x="95821" y="100965"/>
                    <a:pt x="103537" y="103346"/>
                  </a:cubicBezTo>
                  <a:cubicBezTo>
                    <a:pt x="112490" y="106013"/>
                    <a:pt x="121349" y="108966"/>
                    <a:pt x="130112" y="112300"/>
                  </a:cubicBezTo>
                  <a:cubicBezTo>
                    <a:pt x="138875" y="115538"/>
                    <a:pt x="146875" y="119729"/>
                    <a:pt x="154019" y="124778"/>
                  </a:cubicBezTo>
                  <a:cubicBezTo>
                    <a:pt x="161163" y="129826"/>
                    <a:pt x="166878" y="135922"/>
                    <a:pt x="171164" y="143066"/>
                  </a:cubicBezTo>
                  <a:cubicBezTo>
                    <a:pt x="175450" y="150209"/>
                    <a:pt x="177641" y="158972"/>
                    <a:pt x="177641" y="169450"/>
                  </a:cubicBezTo>
                  <a:lnTo>
                    <a:pt x="177641" y="170307"/>
                  </a:lnTo>
                  <a:cubicBezTo>
                    <a:pt x="177641" y="181356"/>
                    <a:pt x="175450" y="191071"/>
                    <a:pt x="171164" y="199549"/>
                  </a:cubicBezTo>
                  <a:cubicBezTo>
                    <a:pt x="166878" y="208026"/>
                    <a:pt x="161068" y="215265"/>
                    <a:pt x="153734" y="221171"/>
                  </a:cubicBezTo>
                  <a:cubicBezTo>
                    <a:pt x="146495" y="227171"/>
                    <a:pt x="137827" y="231648"/>
                    <a:pt x="127825" y="234791"/>
                  </a:cubicBezTo>
                  <a:cubicBezTo>
                    <a:pt x="117824" y="237935"/>
                    <a:pt x="107061" y="239459"/>
                    <a:pt x="95441" y="239459"/>
                  </a:cubicBezTo>
                  <a:close/>
                </a:path>
              </a:pathLst>
            </a:custGeom>
            <a:solidFill>
              <a:srgbClr val="44505E"/>
            </a:solidFill>
            <a:ln w="9525" cap="flat">
              <a:noFill/>
              <a:prstDash val="solid"/>
              <a:miter/>
            </a:ln>
          </p:spPr>
          <p:txBody>
            <a:bodyPr rtlCol="0" anchor="ctr"/>
            <a:lstStyle/>
            <a:p>
              <a:endParaRPr lang="pt-BR" noProof="0"/>
            </a:p>
          </p:txBody>
        </p:sp>
        <p:sp>
          <p:nvSpPr>
            <p:cNvPr id="79" name="Freeform: Shape 40">
              <a:extLst>
                <a:ext uri="{FF2B5EF4-FFF2-40B4-BE49-F238E27FC236}">
                  <a16:creationId xmlns:a16="http://schemas.microsoft.com/office/drawing/2014/main" id="{3D76F731-C6AF-4627-FBA5-F9BD2B62D7F1}"/>
                </a:ext>
              </a:extLst>
            </p:cNvPr>
            <p:cNvSpPr/>
            <p:nvPr/>
          </p:nvSpPr>
          <p:spPr>
            <a:xfrm>
              <a:off x="5752668" y="924028"/>
              <a:ext cx="58567" cy="77196"/>
            </a:xfrm>
            <a:custGeom>
              <a:avLst/>
              <a:gdLst>
                <a:gd name="connsiteX0" fmla="*/ 198596 w 232981"/>
                <a:gd name="connsiteY0" fmla="*/ 189357 h 307085"/>
                <a:gd name="connsiteX1" fmla="*/ 182785 w 232981"/>
                <a:gd name="connsiteY1" fmla="*/ 208978 h 307085"/>
                <a:gd name="connsiteX2" fmla="*/ 163354 w 232981"/>
                <a:gd name="connsiteY2" fmla="*/ 225552 h 307085"/>
                <a:gd name="connsiteX3" fmla="*/ 139446 w 232981"/>
                <a:gd name="connsiteY3" fmla="*/ 236696 h 307085"/>
                <a:gd name="connsiteX4" fmla="*/ 110204 w 232981"/>
                <a:gd name="connsiteY4" fmla="*/ 240697 h 307085"/>
                <a:gd name="connsiteX5" fmla="*/ 69628 w 232981"/>
                <a:gd name="connsiteY5" fmla="*/ 232696 h 307085"/>
                <a:gd name="connsiteX6" fmla="*/ 34385 w 232981"/>
                <a:gd name="connsiteY6" fmla="*/ 209264 h 307085"/>
                <a:gd name="connsiteX7" fmla="*/ 9335 w 232981"/>
                <a:gd name="connsiteY7" fmla="*/ 171736 h 307085"/>
                <a:gd name="connsiteX8" fmla="*/ 0 w 232981"/>
                <a:gd name="connsiteY8" fmla="*/ 121063 h 307085"/>
                <a:gd name="connsiteX9" fmla="*/ 0 w 232981"/>
                <a:gd name="connsiteY9" fmla="*/ 120205 h 307085"/>
                <a:gd name="connsiteX10" fmla="*/ 9335 w 232981"/>
                <a:gd name="connsiteY10" fmla="*/ 69723 h 307085"/>
                <a:gd name="connsiteX11" fmla="*/ 34385 w 232981"/>
                <a:gd name="connsiteY11" fmla="*/ 32004 h 307085"/>
                <a:gd name="connsiteX12" fmla="*/ 69628 w 232981"/>
                <a:gd name="connsiteY12" fmla="*/ 8287 h 307085"/>
                <a:gd name="connsiteX13" fmla="*/ 110204 w 232981"/>
                <a:gd name="connsiteY13" fmla="*/ 0 h 307085"/>
                <a:gd name="connsiteX14" fmla="*/ 139637 w 232981"/>
                <a:gd name="connsiteY14" fmla="*/ 4000 h 307085"/>
                <a:gd name="connsiteX15" fmla="*/ 163735 w 232981"/>
                <a:gd name="connsiteY15" fmla="*/ 14668 h 307085"/>
                <a:gd name="connsiteX16" fmla="*/ 183166 w 232981"/>
                <a:gd name="connsiteY16" fmla="*/ 30289 h 307085"/>
                <a:gd name="connsiteX17" fmla="*/ 198596 w 232981"/>
                <a:gd name="connsiteY17" fmla="*/ 49054 h 307085"/>
                <a:gd name="connsiteX18" fmla="*/ 198596 w 232981"/>
                <a:gd name="connsiteY18" fmla="*/ 4858 h 307085"/>
                <a:gd name="connsiteX19" fmla="*/ 232982 w 232981"/>
                <a:gd name="connsiteY19" fmla="*/ 4858 h 307085"/>
                <a:gd name="connsiteX20" fmla="*/ 232982 w 232981"/>
                <a:gd name="connsiteY20" fmla="*/ 307086 h 307085"/>
                <a:gd name="connsiteX21" fmla="*/ 198596 w 232981"/>
                <a:gd name="connsiteY21" fmla="*/ 307086 h 307085"/>
                <a:gd name="connsiteX22" fmla="*/ 198596 w 232981"/>
                <a:gd name="connsiteY22" fmla="*/ 189262 h 307085"/>
                <a:gd name="connsiteX23" fmla="*/ 116491 w 232981"/>
                <a:gd name="connsiteY23" fmla="*/ 209931 h 307085"/>
                <a:gd name="connsiteX24" fmla="*/ 147542 w 232981"/>
                <a:gd name="connsiteY24" fmla="*/ 203454 h 307085"/>
                <a:gd name="connsiteX25" fmla="*/ 174308 w 232981"/>
                <a:gd name="connsiteY25" fmla="*/ 185166 h 307085"/>
                <a:gd name="connsiteX26" fmla="*/ 193072 w 232981"/>
                <a:gd name="connsiteY26" fmla="*/ 157067 h 307085"/>
                <a:gd name="connsiteX27" fmla="*/ 200025 w 232981"/>
                <a:gd name="connsiteY27" fmla="*/ 120682 h 307085"/>
                <a:gd name="connsiteX28" fmla="*/ 200025 w 232981"/>
                <a:gd name="connsiteY28" fmla="*/ 119824 h 307085"/>
                <a:gd name="connsiteX29" fmla="*/ 193072 w 232981"/>
                <a:gd name="connsiteY29" fmla="*/ 83439 h 307085"/>
                <a:gd name="connsiteX30" fmla="*/ 174308 w 232981"/>
                <a:gd name="connsiteY30" fmla="*/ 55531 h 307085"/>
                <a:gd name="connsiteX31" fmla="*/ 147542 w 232981"/>
                <a:gd name="connsiteY31" fmla="*/ 37433 h 307085"/>
                <a:gd name="connsiteX32" fmla="*/ 116491 w 232981"/>
                <a:gd name="connsiteY32" fmla="*/ 30956 h 307085"/>
                <a:gd name="connsiteX33" fmla="*/ 84773 w 232981"/>
                <a:gd name="connsiteY33" fmla="*/ 36957 h 307085"/>
                <a:gd name="connsiteX34" fmla="*/ 59150 w 232981"/>
                <a:gd name="connsiteY34" fmla="*/ 54388 h 307085"/>
                <a:gd name="connsiteX35" fmla="*/ 41720 w 232981"/>
                <a:gd name="connsiteY35" fmla="*/ 82296 h 307085"/>
                <a:gd name="connsiteX36" fmla="*/ 35242 w 232981"/>
                <a:gd name="connsiteY36" fmla="*/ 119824 h 307085"/>
                <a:gd name="connsiteX37" fmla="*/ 35242 w 232981"/>
                <a:gd name="connsiteY37" fmla="*/ 120682 h 307085"/>
                <a:gd name="connsiteX38" fmla="*/ 41720 w 232981"/>
                <a:gd name="connsiteY38" fmla="*/ 157734 h 307085"/>
                <a:gd name="connsiteX39" fmla="*/ 59341 w 232981"/>
                <a:gd name="connsiteY39" fmla="*/ 185833 h 307085"/>
                <a:gd name="connsiteX40" fmla="*/ 85249 w 232981"/>
                <a:gd name="connsiteY40" fmla="*/ 203740 h 307085"/>
                <a:gd name="connsiteX41" fmla="*/ 116491 w 232981"/>
                <a:gd name="connsiteY41" fmla="*/ 210026 h 30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07085">
                  <a:moveTo>
                    <a:pt x="198596" y="189357"/>
                  </a:moveTo>
                  <a:cubicBezTo>
                    <a:pt x="193834" y="196215"/>
                    <a:pt x="188595" y="202787"/>
                    <a:pt x="182785" y="208978"/>
                  </a:cubicBezTo>
                  <a:cubicBezTo>
                    <a:pt x="176975" y="215265"/>
                    <a:pt x="170498" y="220789"/>
                    <a:pt x="163354" y="225552"/>
                  </a:cubicBezTo>
                  <a:cubicBezTo>
                    <a:pt x="156210" y="230314"/>
                    <a:pt x="148209" y="234029"/>
                    <a:pt x="139446" y="236696"/>
                  </a:cubicBezTo>
                  <a:cubicBezTo>
                    <a:pt x="130683" y="239363"/>
                    <a:pt x="120967" y="240697"/>
                    <a:pt x="110204" y="240697"/>
                  </a:cubicBezTo>
                  <a:cubicBezTo>
                    <a:pt x="96203" y="240697"/>
                    <a:pt x="82677" y="238030"/>
                    <a:pt x="69628" y="232696"/>
                  </a:cubicBezTo>
                  <a:cubicBezTo>
                    <a:pt x="56579" y="227362"/>
                    <a:pt x="44767" y="219551"/>
                    <a:pt x="34385" y="209264"/>
                  </a:cubicBezTo>
                  <a:cubicBezTo>
                    <a:pt x="24003" y="198977"/>
                    <a:pt x="15621" y="186499"/>
                    <a:pt x="9335" y="171736"/>
                  </a:cubicBezTo>
                  <a:cubicBezTo>
                    <a:pt x="3048" y="156972"/>
                    <a:pt x="0" y="140113"/>
                    <a:pt x="0" y="121063"/>
                  </a:cubicBezTo>
                  <a:lnTo>
                    <a:pt x="0" y="120205"/>
                  </a:lnTo>
                  <a:cubicBezTo>
                    <a:pt x="0" y="101441"/>
                    <a:pt x="3143" y="84677"/>
                    <a:pt x="9335" y="69723"/>
                  </a:cubicBezTo>
                  <a:cubicBezTo>
                    <a:pt x="15621" y="54864"/>
                    <a:pt x="23908" y="42291"/>
                    <a:pt x="34385" y="32004"/>
                  </a:cubicBezTo>
                  <a:cubicBezTo>
                    <a:pt x="44767" y="21717"/>
                    <a:pt x="56579" y="13811"/>
                    <a:pt x="69628" y="8287"/>
                  </a:cubicBezTo>
                  <a:cubicBezTo>
                    <a:pt x="82677" y="2762"/>
                    <a:pt x="96298" y="0"/>
                    <a:pt x="110204" y="0"/>
                  </a:cubicBezTo>
                  <a:cubicBezTo>
                    <a:pt x="120967" y="0"/>
                    <a:pt x="130778" y="1333"/>
                    <a:pt x="139637" y="4000"/>
                  </a:cubicBezTo>
                  <a:cubicBezTo>
                    <a:pt x="148590" y="6667"/>
                    <a:pt x="156591" y="10287"/>
                    <a:pt x="163735" y="14668"/>
                  </a:cubicBezTo>
                  <a:cubicBezTo>
                    <a:pt x="170879" y="19145"/>
                    <a:pt x="177356" y="24384"/>
                    <a:pt x="183166" y="30289"/>
                  </a:cubicBezTo>
                  <a:cubicBezTo>
                    <a:pt x="188976" y="36290"/>
                    <a:pt x="194120" y="42481"/>
                    <a:pt x="198596" y="49054"/>
                  </a:cubicBezTo>
                  <a:lnTo>
                    <a:pt x="198596" y="4858"/>
                  </a:lnTo>
                  <a:lnTo>
                    <a:pt x="232982" y="4858"/>
                  </a:lnTo>
                  <a:lnTo>
                    <a:pt x="232982" y="307086"/>
                  </a:lnTo>
                  <a:lnTo>
                    <a:pt x="198596" y="307086"/>
                  </a:lnTo>
                  <a:lnTo>
                    <a:pt x="198596" y="189262"/>
                  </a:lnTo>
                  <a:close/>
                  <a:moveTo>
                    <a:pt x="116491" y="209931"/>
                  </a:moveTo>
                  <a:cubicBezTo>
                    <a:pt x="127159" y="209931"/>
                    <a:pt x="137541" y="207740"/>
                    <a:pt x="147542" y="203454"/>
                  </a:cubicBezTo>
                  <a:cubicBezTo>
                    <a:pt x="157544" y="199168"/>
                    <a:pt x="166402" y="193072"/>
                    <a:pt x="174308" y="185166"/>
                  </a:cubicBezTo>
                  <a:cubicBezTo>
                    <a:pt x="182213" y="177260"/>
                    <a:pt x="188404" y="167926"/>
                    <a:pt x="193072" y="157067"/>
                  </a:cubicBezTo>
                  <a:cubicBezTo>
                    <a:pt x="197739" y="146209"/>
                    <a:pt x="200025" y="134112"/>
                    <a:pt x="200025" y="120682"/>
                  </a:cubicBezTo>
                  <a:lnTo>
                    <a:pt x="200025" y="119824"/>
                  </a:lnTo>
                  <a:cubicBezTo>
                    <a:pt x="200025" y="106394"/>
                    <a:pt x="197739" y="94297"/>
                    <a:pt x="193072" y="83439"/>
                  </a:cubicBezTo>
                  <a:cubicBezTo>
                    <a:pt x="188500" y="72580"/>
                    <a:pt x="182213" y="63246"/>
                    <a:pt x="174308" y="55531"/>
                  </a:cubicBezTo>
                  <a:cubicBezTo>
                    <a:pt x="166402" y="47815"/>
                    <a:pt x="157544" y="41815"/>
                    <a:pt x="147542" y="37433"/>
                  </a:cubicBezTo>
                  <a:cubicBezTo>
                    <a:pt x="137541" y="33147"/>
                    <a:pt x="127254" y="30956"/>
                    <a:pt x="116491" y="30956"/>
                  </a:cubicBezTo>
                  <a:cubicBezTo>
                    <a:pt x="105156" y="30956"/>
                    <a:pt x="94583" y="32956"/>
                    <a:pt x="84773" y="36957"/>
                  </a:cubicBezTo>
                  <a:cubicBezTo>
                    <a:pt x="74962" y="40957"/>
                    <a:pt x="66389" y="46767"/>
                    <a:pt x="59150" y="54388"/>
                  </a:cubicBezTo>
                  <a:cubicBezTo>
                    <a:pt x="51816" y="61913"/>
                    <a:pt x="46101" y="71247"/>
                    <a:pt x="41720" y="82296"/>
                  </a:cubicBezTo>
                  <a:cubicBezTo>
                    <a:pt x="37433" y="93250"/>
                    <a:pt x="35242" y="105823"/>
                    <a:pt x="35242" y="119824"/>
                  </a:cubicBezTo>
                  <a:lnTo>
                    <a:pt x="35242" y="120682"/>
                  </a:lnTo>
                  <a:cubicBezTo>
                    <a:pt x="35242" y="134398"/>
                    <a:pt x="37433" y="146780"/>
                    <a:pt x="41720" y="157734"/>
                  </a:cubicBezTo>
                  <a:cubicBezTo>
                    <a:pt x="46006" y="168783"/>
                    <a:pt x="51911" y="178117"/>
                    <a:pt x="59341" y="185833"/>
                  </a:cubicBezTo>
                  <a:cubicBezTo>
                    <a:pt x="66770" y="193548"/>
                    <a:pt x="75438" y="199549"/>
                    <a:pt x="85249" y="203740"/>
                  </a:cubicBezTo>
                  <a:cubicBezTo>
                    <a:pt x="95060" y="207931"/>
                    <a:pt x="105442" y="210026"/>
                    <a:pt x="116491" y="210026"/>
                  </a:cubicBezTo>
                  <a:close/>
                </a:path>
              </a:pathLst>
            </a:custGeom>
            <a:solidFill>
              <a:srgbClr val="44505E"/>
            </a:solidFill>
            <a:ln w="9525" cap="flat">
              <a:noFill/>
              <a:prstDash val="solid"/>
              <a:miter/>
            </a:ln>
          </p:spPr>
          <p:txBody>
            <a:bodyPr rtlCol="0" anchor="ctr"/>
            <a:lstStyle/>
            <a:p>
              <a:endParaRPr lang="pt-BR" noProof="0"/>
            </a:p>
          </p:txBody>
        </p:sp>
        <p:sp>
          <p:nvSpPr>
            <p:cNvPr id="80" name="Freeform: Shape 41">
              <a:extLst>
                <a:ext uri="{FF2B5EF4-FFF2-40B4-BE49-F238E27FC236}">
                  <a16:creationId xmlns:a16="http://schemas.microsoft.com/office/drawing/2014/main" id="{6CAE07AA-DBA1-3386-8A05-3A562226B01E}"/>
                </a:ext>
              </a:extLst>
            </p:cNvPr>
            <p:cNvSpPr/>
            <p:nvPr/>
          </p:nvSpPr>
          <p:spPr>
            <a:xfrm>
              <a:off x="5829624" y="925297"/>
              <a:ext cx="50618" cy="59238"/>
            </a:xfrm>
            <a:custGeom>
              <a:avLst/>
              <a:gdLst>
                <a:gd name="connsiteX0" fmla="*/ 88392 w 201358"/>
                <a:gd name="connsiteY0" fmla="*/ 235648 h 235648"/>
                <a:gd name="connsiteX1" fmla="*/ 51149 w 201358"/>
                <a:gd name="connsiteY1" fmla="*/ 228981 h 235648"/>
                <a:gd name="connsiteX2" fmla="*/ 23432 w 201358"/>
                <a:gd name="connsiteY2" fmla="*/ 210026 h 235648"/>
                <a:gd name="connsiteX3" fmla="*/ 6001 w 201358"/>
                <a:gd name="connsiteY3" fmla="*/ 180784 h 235648"/>
                <a:gd name="connsiteX4" fmla="*/ 0 w 201358"/>
                <a:gd name="connsiteY4" fmla="*/ 143256 h 235648"/>
                <a:gd name="connsiteX5" fmla="*/ 0 w 201358"/>
                <a:gd name="connsiteY5" fmla="*/ 0 h 235648"/>
                <a:gd name="connsiteX6" fmla="*/ 34385 w 201358"/>
                <a:gd name="connsiteY6" fmla="*/ 0 h 235648"/>
                <a:gd name="connsiteX7" fmla="*/ 34385 w 201358"/>
                <a:gd name="connsiteY7" fmla="*/ 134493 h 235648"/>
                <a:gd name="connsiteX8" fmla="*/ 50959 w 201358"/>
                <a:gd name="connsiteY8" fmla="*/ 185261 h 235648"/>
                <a:gd name="connsiteX9" fmla="*/ 98298 w 201358"/>
                <a:gd name="connsiteY9" fmla="*/ 203930 h 235648"/>
                <a:gd name="connsiteX10" fmla="*/ 125730 w 201358"/>
                <a:gd name="connsiteY10" fmla="*/ 198787 h 235648"/>
                <a:gd name="connsiteX11" fmla="*/ 147638 w 201358"/>
                <a:gd name="connsiteY11" fmla="*/ 184118 h 235648"/>
                <a:gd name="connsiteX12" fmla="*/ 162116 w 201358"/>
                <a:gd name="connsiteY12" fmla="*/ 161163 h 235648"/>
                <a:gd name="connsiteX13" fmla="*/ 167450 w 201358"/>
                <a:gd name="connsiteY13" fmla="*/ 131826 h 235648"/>
                <a:gd name="connsiteX14" fmla="*/ 167450 w 201358"/>
                <a:gd name="connsiteY14" fmla="*/ 0 h 235648"/>
                <a:gd name="connsiteX15" fmla="*/ 201359 w 201358"/>
                <a:gd name="connsiteY15" fmla="*/ 0 h 235648"/>
                <a:gd name="connsiteX16" fmla="*/ 201359 w 201358"/>
                <a:gd name="connsiteY16" fmla="*/ 230791 h 235648"/>
                <a:gd name="connsiteX17" fmla="*/ 167450 w 201358"/>
                <a:gd name="connsiteY17" fmla="*/ 230791 h 235648"/>
                <a:gd name="connsiteX18" fmla="*/ 167450 w 201358"/>
                <a:gd name="connsiteY18" fmla="*/ 190595 h 235648"/>
                <a:gd name="connsiteX19" fmla="*/ 137065 w 201358"/>
                <a:gd name="connsiteY19" fmla="*/ 222504 h 235648"/>
                <a:gd name="connsiteX20" fmla="*/ 88392 w 201358"/>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358" h="235648">
                  <a:moveTo>
                    <a:pt x="88392" y="235648"/>
                  </a:moveTo>
                  <a:cubicBezTo>
                    <a:pt x="74390" y="235648"/>
                    <a:pt x="62008" y="233363"/>
                    <a:pt x="51149" y="228981"/>
                  </a:cubicBezTo>
                  <a:cubicBezTo>
                    <a:pt x="40291" y="224504"/>
                    <a:pt x="31052" y="218218"/>
                    <a:pt x="23432"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959" y="185261"/>
                  </a:cubicBezTo>
                  <a:cubicBezTo>
                    <a:pt x="61913" y="197739"/>
                    <a:pt x="77724" y="203930"/>
                    <a:pt x="98298" y="203930"/>
                  </a:cubicBezTo>
                  <a:cubicBezTo>
                    <a:pt x="108109" y="203930"/>
                    <a:pt x="117253" y="202216"/>
                    <a:pt x="125730" y="198787"/>
                  </a:cubicBezTo>
                  <a:cubicBezTo>
                    <a:pt x="134207" y="195358"/>
                    <a:pt x="141446" y="190500"/>
                    <a:pt x="147638" y="184118"/>
                  </a:cubicBezTo>
                  <a:cubicBezTo>
                    <a:pt x="153734" y="177736"/>
                    <a:pt x="158591" y="170116"/>
                    <a:pt x="162116" y="161163"/>
                  </a:cubicBezTo>
                  <a:cubicBezTo>
                    <a:pt x="165735" y="152305"/>
                    <a:pt x="167450" y="142494"/>
                    <a:pt x="167450" y="131826"/>
                  </a:cubicBezTo>
                  <a:lnTo>
                    <a:pt x="167450" y="0"/>
                  </a:lnTo>
                  <a:lnTo>
                    <a:pt x="201359" y="0"/>
                  </a:lnTo>
                  <a:lnTo>
                    <a:pt x="201359" y="230791"/>
                  </a:lnTo>
                  <a:lnTo>
                    <a:pt x="167450" y="230791"/>
                  </a:lnTo>
                  <a:lnTo>
                    <a:pt x="167450" y="190595"/>
                  </a:lnTo>
                  <a:cubicBezTo>
                    <a:pt x="159734" y="203073"/>
                    <a:pt x="149543" y="213741"/>
                    <a:pt x="137065" y="222504"/>
                  </a:cubicBezTo>
                  <a:cubicBezTo>
                    <a:pt x="124587" y="231267"/>
                    <a:pt x="108395" y="235648"/>
                    <a:pt x="88392" y="235648"/>
                  </a:cubicBezTo>
                  <a:close/>
                </a:path>
              </a:pathLst>
            </a:custGeom>
            <a:solidFill>
              <a:srgbClr val="44505E"/>
            </a:solidFill>
            <a:ln w="9525" cap="flat">
              <a:noFill/>
              <a:prstDash val="solid"/>
              <a:miter/>
            </a:ln>
          </p:spPr>
          <p:txBody>
            <a:bodyPr rtlCol="0" anchor="ctr"/>
            <a:lstStyle/>
            <a:p>
              <a:endParaRPr lang="pt-BR" noProof="0"/>
            </a:p>
          </p:txBody>
        </p:sp>
        <p:sp>
          <p:nvSpPr>
            <p:cNvPr id="81" name="Freeform: Shape 42">
              <a:extLst>
                <a:ext uri="{FF2B5EF4-FFF2-40B4-BE49-F238E27FC236}">
                  <a16:creationId xmlns:a16="http://schemas.microsoft.com/office/drawing/2014/main" id="{44C4156A-2546-3EFE-9C69-FDB00C2B8218}"/>
                </a:ext>
              </a:extLst>
            </p:cNvPr>
            <p:cNvSpPr/>
            <p:nvPr/>
          </p:nvSpPr>
          <p:spPr>
            <a:xfrm>
              <a:off x="5896069"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7059 w 218217"/>
                <a:gd name="connsiteY3" fmla="*/ 206026 h 241077"/>
                <a:gd name="connsiteX4" fmla="*/ 116110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7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0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356 w 218217"/>
                <a:gd name="connsiteY25" fmla="*/ 106299 h 241077"/>
                <a:gd name="connsiteX26" fmla="*/ 176689 w 218217"/>
                <a:gd name="connsiteY26" fmla="*/ 76771 h 241077"/>
                <a:gd name="connsiteX27" fmla="*/ 162211 w 218217"/>
                <a:gd name="connsiteY27" fmla="*/ 52101 h 241077"/>
                <a:gd name="connsiteX28" fmla="*/ 139922 w 218217"/>
                <a:gd name="connsiteY28" fmla="*/ 35242 h 241077"/>
                <a:gd name="connsiteX29" fmla="*/ 109823 w 218217"/>
                <a:gd name="connsiteY29" fmla="*/ 29051 h 241077"/>
                <a:gd name="connsiteX30" fmla="*/ 82105 w 218217"/>
                <a:gd name="connsiteY30" fmla="*/ 34766 h 241077"/>
                <a:gd name="connsiteX31" fmla="*/ 59341 w 218217"/>
                <a:gd name="connsiteY31" fmla="*/ 50959 h 241077"/>
                <a:gd name="connsiteX32" fmla="*/ 43053 w 218217"/>
                <a:gd name="connsiteY32" fmla="*/ 75628 h 241077"/>
                <a:gd name="connsiteX33" fmla="*/ 34766 w 218217"/>
                <a:gd name="connsiteY33" fmla="*/ 106204 h 241077"/>
                <a:gd name="connsiteX34" fmla="*/ 183356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819" y="202597"/>
                    <a:pt x="87059" y="206026"/>
                  </a:cubicBezTo>
                  <a:cubicBezTo>
                    <a:pt x="96298" y="209455"/>
                    <a:pt x="105918" y="211169"/>
                    <a:pt x="116110" y="211169"/>
                  </a:cubicBezTo>
                  <a:cubicBezTo>
                    <a:pt x="132207" y="211169"/>
                    <a:pt x="145923" y="208216"/>
                    <a:pt x="157353" y="202216"/>
                  </a:cubicBezTo>
                  <a:cubicBezTo>
                    <a:pt x="168783" y="196310"/>
                    <a:pt x="179261" y="188404"/>
                    <a:pt x="188786" y="178594"/>
                  </a:cubicBezTo>
                  <a:lnTo>
                    <a:pt x="210217" y="197834"/>
                  </a:lnTo>
                  <a:cubicBezTo>
                    <a:pt x="198596" y="210979"/>
                    <a:pt x="185356" y="221361"/>
                    <a:pt x="170497" y="229267"/>
                  </a:cubicBezTo>
                  <a:cubicBezTo>
                    <a:pt x="155638"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583" y="0"/>
                    <a:pt x="110680"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356" y="106299"/>
                  </a:moveTo>
                  <a:cubicBezTo>
                    <a:pt x="182499" y="95917"/>
                    <a:pt x="180213" y="86106"/>
                    <a:pt x="176689" y="76771"/>
                  </a:cubicBezTo>
                  <a:cubicBezTo>
                    <a:pt x="173069" y="67437"/>
                    <a:pt x="168307" y="59245"/>
                    <a:pt x="162211" y="52101"/>
                  </a:cubicBezTo>
                  <a:cubicBezTo>
                    <a:pt x="156115" y="44958"/>
                    <a:pt x="148685" y="39338"/>
                    <a:pt x="139922" y="35242"/>
                  </a:cubicBezTo>
                  <a:cubicBezTo>
                    <a:pt x="131159" y="31147"/>
                    <a:pt x="121063" y="29051"/>
                    <a:pt x="109823" y="29051"/>
                  </a:cubicBezTo>
                  <a:cubicBezTo>
                    <a:pt x="100013" y="29051"/>
                    <a:pt x="90773" y="30956"/>
                    <a:pt x="82105" y="34766"/>
                  </a:cubicBezTo>
                  <a:cubicBezTo>
                    <a:pt x="73438" y="38671"/>
                    <a:pt x="65913" y="44005"/>
                    <a:pt x="59341" y="50959"/>
                  </a:cubicBezTo>
                  <a:cubicBezTo>
                    <a:pt x="52769" y="57912"/>
                    <a:pt x="47339" y="66103"/>
                    <a:pt x="43053" y="75628"/>
                  </a:cubicBezTo>
                  <a:cubicBezTo>
                    <a:pt x="38767" y="85058"/>
                    <a:pt x="36004" y="95345"/>
                    <a:pt x="34766" y="106204"/>
                  </a:cubicBezTo>
                  <a:lnTo>
                    <a:pt x="183356" y="106204"/>
                  </a:lnTo>
                  <a:close/>
                </a:path>
              </a:pathLst>
            </a:custGeom>
            <a:solidFill>
              <a:srgbClr val="44505E"/>
            </a:solidFill>
            <a:ln w="9525" cap="flat">
              <a:noFill/>
              <a:prstDash val="solid"/>
              <a:miter/>
            </a:ln>
          </p:spPr>
          <p:txBody>
            <a:bodyPr rtlCol="0" anchor="ctr"/>
            <a:lstStyle/>
            <a:p>
              <a:endParaRPr lang="pt-BR" noProof="0"/>
            </a:p>
          </p:txBody>
        </p:sp>
        <p:sp>
          <p:nvSpPr>
            <p:cNvPr id="82" name="Freeform: Shape 43">
              <a:extLst>
                <a:ext uri="{FF2B5EF4-FFF2-40B4-BE49-F238E27FC236}">
                  <a16:creationId xmlns:a16="http://schemas.microsoft.com/office/drawing/2014/main" id="{6D33E2F6-D81E-F435-A16B-3F83F701DE08}"/>
                </a:ext>
              </a:extLst>
            </p:cNvPr>
            <p:cNvSpPr/>
            <p:nvPr/>
          </p:nvSpPr>
          <p:spPr>
            <a:xfrm>
              <a:off x="5994910" y="924268"/>
              <a:ext cx="44680" cy="60195"/>
            </a:xfrm>
            <a:custGeom>
              <a:avLst/>
              <a:gdLst>
                <a:gd name="connsiteX0" fmla="*/ 95536 w 177736"/>
                <a:gd name="connsiteY0" fmla="*/ 239268 h 239458"/>
                <a:gd name="connsiteX1" fmla="*/ 45053 w 177736"/>
                <a:gd name="connsiteY1" fmla="*/ 230124 h 239458"/>
                <a:gd name="connsiteX2" fmla="*/ 0 w 177736"/>
                <a:gd name="connsiteY2" fmla="*/ 205359 h 239458"/>
                <a:gd name="connsiteX3" fmla="*/ 17431 w 177736"/>
                <a:gd name="connsiteY3" fmla="*/ 180785 h 239458"/>
                <a:gd name="connsiteX4" fmla="*/ 56483 w 177736"/>
                <a:gd name="connsiteY4" fmla="*/ 202692 h 239458"/>
                <a:gd name="connsiteX5" fmla="*/ 97346 w 177736"/>
                <a:gd name="connsiteY5" fmla="*/ 210217 h 239458"/>
                <a:gd name="connsiteX6" fmla="*/ 131731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730 w 177736"/>
                <a:gd name="connsiteY10" fmla="*/ 147066 h 239458"/>
                <a:gd name="connsiteX11" fmla="*/ 109252 w 177736"/>
                <a:gd name="connsiteY11" fmla="*/ 138779 h 239458"/>
                <a:gd name="connsiteX12" fmla="*/ 87630 w 177736"/>
                <a:gd name="connsiteY12" fmla="*/ 132112 h 239458"/>
                <a:gd name="connsiteX13" fmla="*/ 60674 w 177736"/>
                <a:gd name="connsiteY13" fmla="*/ 123444 h 239458"/>
                <a:gd name="connsiteX14" fmla="*/ 36100 w 177736"/>
                <a:gd name="connsiteY14" fmla="*/ 111633 h 239458"/>
                <a:gd name="connsiteX15" fmla="*/ 18193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60 w 177736"/>
                <a:gd name="connsiteY22" fmla="*/ 6953 h 239458"/>
                <a:gd name="connsiteX23" fmla="*/ 172879 w 177736"/>
                <a:gd name="connsiteY23" fmla="*/ 25527 h 239458"/>
                <a:gd name="connsiteX24" fmla="*/ 157258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4 w 177736"/>
                <a:gd name="connsiteY32" fmla="*/ 96203 h 239458"/>
                <a:gd name="connsiteX33" fmla="*/ 103632 w 177736"/>
                <a:gd name="connsiteY33" fmla="*/ 103346 h 239458"/>
                <a:gd name="connsiteX34" fmla="*/ 130207 w 177736"/>
                <a:gd name="connsiteY34" fmla="*/ 112300 h 239458"/>
                <a:gd name="connsiteX35" fmla="*/ 154114 w 177736"/>
                <a:gd name="connsiteY35" fmla="*/ 124778 h 239458"/>
                <a:gd name="connsiteX36" fmla="*/ 171260 w 177736"/>
                <a:gd name="connsiteY36" fmla="*/ 143066 h 239458"/>
                <a:gd name="connsiteX37" fmla="*/ 177737 w 177736"/>
                <a:gd name="connsiteY37" fmla="*/ 169450 h 239458"/>
                <a:gd name="connsiteX38" fmla="*/ 177737 w 177736"/>
                <a:gd name="connsiteY38" fmla="*/ 170307 h 239458"/>
                <a:gd name="connsiteX39" fmla="*/ 171260 w 177736"/>
                <a:gd name="connsiteY39" fmla="*/ 199549 h 239458"/>
                <a:gd name="connsiteX40" fmla="*/ 153829 w 177736"/>
                <a:gd name="connsiteY40" fmla="*/ 221171 h 239458"/>
                <a:gd name="connsiteX41" fmla="*/ 127921 w 177736"/>
                <a:gd name="connsiteY41" fmla="*/ 234791 h 239458"/>
                <a:gd name="connsiteX42" fmla="*/ 95536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6" y="239268"/>
                  </a:moveTo>
                  <a:cubicBezTo>
                    <a:pt x="78867" y="239268"/>
                    <a:pt x="62008" y="236220"/>
                    <a:pt x="45053" y="230124"/>
                  </a:cubicBezTo>
                  <a:cubicBezTo>
                    <a:pt x="28099" y="224028"/>
                    <a:pt x="13049" y="215741"/>
                    <a:pt x="0" y="205359"/>
                  </a:cubicBezTo>
                  <a:lnTo>
                    <a:pt x="17431" y="180785"/>
                  </a:lnTo>
                  <a:cubicBezTo>
                    <a:pt x="29909"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637" y="162211"/>
                    <a:pt x="140494" y="158020"/>
                  </a:cubicBezTo>
                  <a:cubicBezTo>
                    <a:pt x="137351" y="153829"/>
                    <a:pt x="133160" y="150209"/>
                    <a:pt x="127730" y="147066"/>
                  </a:cubicBezTo>
                  <a:cubicBezTo>
                    <a:pt x="122396" y="143923"/>
                    <a:pt x="116205" y="141161"/>
                    <a:pt x="109252" y="138779"/>
                  </a:cubicBezTo>
                  <a:cubicBezTo>
                    <a:pt x="102299" y="136398"/>
                    <a:pt x="95060" y="134207"/>
                    <a:pt x="87630" y="132112"/>
                  </a:cubicBezTo>
                  <a:cubicBezTo>
                    <a:pt x="78677" y="129445"/>
                    <a:pt x="69723" y="126492"/>
                    <a:pt x="60674" y="123444"/>
                  </a:cubicBezTo>
                  <a:cubicBezTo>
                    <a:pt x="51626" y="120301"/>
                    <a:pt x="43434" y="116396"/>
                    <a:pt x="36100" y="111633"/>
                  </a:cubicBezTo>
                  <a:cubicBezTo>
                    <a:pt x="28766" y="106871"/>
                    <a:pt x="22860" y="100870"/>
                    <a:pt x="18193" y="93726"/>
                  </a:cubicBezTo>
                  <a:cubicBezTo>
                    <a:pt x="13621" y="86582"/>
                    <a:pt x="11239" y="77629"/>
                    <a:pt x="11239" y="66961"/>
                  </a:cubicBezTo>
                  <a:lnTo>
                    <a:pt x="11239" y="66008"/>
                  </a:lnTo>
                  <a:cubicBezTo>
                    <a:pt x="11239" y="56198"/>
                    <a:pt x="13145" y="47149"/>
                    <a:pt x="17050" y="39053"/>
                  </a:cubicBezTo>
                  <a:cubicBezTo>
                    <a:pt x="20860" y="30861"/>
                    <a:pt x="26289" y="23908"/>
                    <a:pt x="33338" y="18098"/>
                  </a:cubicBezTo>
                  <a:cubicBezTo>
                    <a:pt x="40291" y="12287"/>
                    <a:pt x="48673" y="7811"/>
                    <a:pt x="58388" y="4667"/>
                  </a:cubicBezTo>
                  <a:cubicBezTo>
                    <a:pt x="68009" y="1524"/>
                    <a:pt x="78581" y="0"/>
                    <a:pt x="89821" y="0"/>
                  </a:cubicBezTo>
                  <a:cubicBezTo>
                    <a:pt x="104108" y="0"/>
                    <a:pt x="118491" y="2286"/>
                    <a:pt x="133160" y="6953"/>
                  </a:cubicBezTo>
                  <a:cubicBezTo>
                    <a:pt x="147733" y="11621"/>
                    <a:pt x="160972" y="17717"/>
                    <a:pt x="172879" y="25527"/>
                  </a:cubicBezTo>
                  <a:lnTo>
                    <a:pt x="157258" y="51435"/>
                  </a:lnTo>
                  <a:cubicBezTo>
                    <a:pt x="146495" y="44577"/>
                    <a:pt x="135350" y="39148"/>
                    <a:pt x="123539" y="35147"/>
                  </a:cubicBezTo>
                  <a:cubicBezTo>
                    <a:pt x="111824" y="31147"/>
                    <a:pt x="100298" y="29146"/>
                    <a:pt x="88963" y="29146"/>
                  </a:cubicBezTo>
                  <a:cubicBezTo>
                    <a:pt x="75247" y="29146"/>
                    <a:pt x="64389" y="32385"/>
                    <a:pt x="56388" y="38767"/>
                  </a:cubicBezTo>
                  <a:cubicBezTo>
                    <a:pt x="48387" y="45149"/>
                    <a:pt x="44291" y="53150"/>
                    <a:pt x="44291" y="62675"/>
                  </a:cubicBezTo>
                  <a:lnTo>
                    <a:pt x="44291" y="63627"/>
                  </a:lnTo>
                  <a:cubicBezTo>
                    <a:pt x="44291" y="68961"/>
                    <a:pt x="45911" y="73628"/>
                    <a:pt x="49244" y="77724"/>
                  </a:cubicBezTo>
                  <a:cubicBezTo>
                    <a:pt x="52483" y="81725"/>
                    <a:pt x="56960" y="85249"/>
                    <a:pt x="62389" y="88202"/>
                  </a:cubicBezTo>
                  <a:cubicBezTo>
                    <a:pt x="67913" y="91154"/>
                    <a:pt x="74200" y="93821"/>
                    <a:pt x="81344" y="96203"/>
                  </a:cubicBezTo>
                  <a:cubicBezTo>
                    <a:pt x="88487" y="98584"/>
                    <a:pt x="95917" y="100965"/>
                    <a:pt x="103632" y="103346"/>
                  </a:cubicBezTo>
                  <a:cubicBezTo>
                    <a:pt x="112586" y="106013"/>
                    <a:pt x="121444" y="108966"/>
                    <a:pt x="130207" y="112300"/>
                  </a:cubicBezTo>
                  <a:cubicBezTo>
                    <a:pt x="138970" y="115538"/>
                    <a:pt x="146971" y="119729"/>
                    <a:pt x="154114" y="124778"/>
                  </a:cubicBezTo>
                  <a:cubicBezTo>
                    <a:pt x="161258" y="129826"/>
                    <a:pt x="166973" y="135922"/>
                    <a:pt x="171260" y="143066"/>
                  </a:cubicBezTo>
                  <a:cubicBezTo>
                    <a:pt x="175546" y="150209"/>
                    <a:pt x="177737" y="158972"/>
                    <a:pt x="177737" y="169450"/>
                  </a:cubicBezTo>
                  <a:lnTo>
                    <a:pt x="177737" y="170307"/>
                  </a:lnTo>
                  <a:cubicBezTo>
                    <a:pt x="177737" y="181356"/>
                    <a:pt x="175546" y="191071"/>
                    <a:pt x="171260" y="199549"/>
                  </a:cubicBezTo>
                  <a:cubicBezTo>
                    <a:pt x="166973" y="208026"/>
                    <a:pt x="161163" y="215265"/>
                    <a:pt x="153829" y="221171"/>
                  </a:cubicBezTo>
                  <a:cubicBezTo>
                    <a:pt x="146495" y="227171"/>
                    <a:pt x="137922" y="231648"/>
                    <a:pt x="127921" y="234791"/>
                  </a:cubicBezTo>
                  <a:cubicBezTo>
                    <a:pt x="117920" y="237935"/>
                    <a:pt x="107156" y="239459"/>
                    <a:pt x="95536" y="239459"/>
                  </a:cubicBezTo>
                  <a:close/>
                </a:path>
              </a:pathLst>
            </a:custGeom>
            <a:solidFill>
              <a:srgbClr val="44505E"/>
            </a:solidFill>
            <a:ln w="9525" cap="flat">
              <a:noFill/>
              <a:prstDash val="solid"/>
              <a:miter/>
            </a:ln>
          </p:spPr>
          <p:txBody>
            <a:bodyPr rtlCol="0" anchor="ctr"/>
            <a:lstStyle/>
            <a:p>
              <a:endParaRPr lang="pt-BR" noProof="0"/>
            </a:p>
          </p:txBody>
        </p:sp>
        <p:sp>
          <p:nvSpPr>
            <p:cNvPr id="83" name="Freeform: Shape 44">
              <a:extLst>
                <a:ext uri="{FF2B5EF4-FFF2-40B4-BE49-F238E27FC236}">
                  <a16:creationId xmlns:a16="http://schemas.microsoft.com/office/drawing/2014/main" id="{E6EB1B0E-11F6-2E6F-A0E8-729DEAF23FC1}"/>
                </a:ext>
              </a:extLst>
            </p:cNvPr>
            <p:cNvSpPr/>
            <p:nvPr/>
          </p:nvSpPr>
          <p:spPr>
            <a:xfrm>
              <a:off x="605122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4 w 202977"/>
                <a:gd name="connsiteY30" fmla="*/ 174593 h 239267"/>
                <a:gd name="connsiteX31" fmla="*/ 169735 w 202977"/>
                <a:gd name="connsiteY31" fmla="*/ 149447 h 239267"/>
                <a:gd name="connsiteX32" fmla="*/ 169735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0" y="90964"/>
                    <a:pt x="98584" y="90964"/>
                  </a:cubicBezTo>
                  <a:cubicBezTo>
                    <a:pt x="113157" y="90964"/>
                    <a:pt x="126301"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1" y="33147"/>
                    <a:pt x="63436" y="36100"/>
                  </a:cubicBezTo>
                  <a:cubicBezTo>
                    <a:pt x="52292" y="39053"/>
                    <a:pt x="41338" y="43053"/>
                    <a:pt x="30671" y="48196"/>
                  </a:cubicBezTo>
                  <a:lnTo>
                    <a:pt x="20383" y="19907"/>
                  </a:lnTo>
                  <a:cubicBezTo>
                    <a:pt x="33147" y="13906"/>
                    <a:pt x="46101" y="9049"/>
                    <a:pt x="59246" y="5429"/>
                  </a:cubicBezTo>
                  <a:cubicBezTo>
                    <a:pt x="72295"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1" y="239173"/>
                  </a:cubicBezTo>
                  <a:close/>
                  <a:moveTo>
                    <a:pt x="93154" y="211169"/>
                  </a:moveTo>
                  <a:cubicBezTo>
                    <a:pt x="103822" y="211169"/>
                    <a:pt x="113728" y="209740"/>
                    <a:pt x="122967" y="206788"/>
                  </a:cubicBezTo>
                  <a:cubicBezTo>
                    <a:pt x="132207" y="203835"/>
                    <a:pt x="140208" y="199644"/>
                    <a:pt x="147256" y="194120"/>
                  </a:cubicBezTo>
                  <a:cubicBezTo>
                    <a:pt x="154209" y="188595"/>
                    <a:pt x="159734" y="182118"/>
                    <a:pt x="163734" y="174593"/>
                  </a:cubicBezTo>
                  <a:cubicBezTo>
                    <a:pt x="167735" y="167068"/>
                    <a:pt x="169735" y="158687"/>
                    <a:pt x="169735" y="149447"/>
                  </a:cubicBezTo>
                  <a:lnTo>
                    <a:pt x="169735" y="128111"/>
                  </a:lnTo>
                  <a:cubicBezTo>
                    <a:pt x="161163" y="125730"/>
                    <a:pt x="151352" y="123539"/>
                    <a:pt x="140398" y="121444"/>
                  </a:cubicBezTo>
                  <a:cubicBezTo>
                    <a:pt x="129445" y="119348"/>
                    <a:pt x="116872"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84" name="Freeform: Shape 45">
              <a:extLst>
                <a:ext uri="{FF2B5EF4-FFF2-40B4-BE49-F238E27FC236}">
                  <a16:creationId xmlns:a16="http://schemas.microsoft.com/office/drawing/2014/main" id="{31888EE9-6335-455C-4FD1-59D7F46C3B3E}"/>
                </a:ext>
              </a:extLst>
            </p:cNvPr>
            <p:cNvSpPr/>
            <p:nvPr/>
          </p:nvSpPr>
          <p:spPr>
            <a:xfrm>
              <a:off x="6121359" y="901377"/>
              <a:ext cx="8644" cy="81913"/>
            </a:xfrm>
            <a:custGeom>
              <a:avLst/>
              <a:gdLst>
                <a:gd name="connsiteX0" fmla="*/ 0 w 34385"/>
                <a:gd name="connsiteY0" fmla="*/ 0 h 325850"/>
                <a:gd name="connsiteX1" fmla="*/ 34385 w 34385"/>
                <a:gd name="connsiteY1" fmla="*/ 0 h 325850"/>
                <a:gd name="connsiteX2" fmla="*/ 34385 w 34385"/>
                <a:gd name="connsiteY2" fmla="*/ 325850 h 325850"/>
                <a:gd name="connsiteX3" fmla="*/ 0 w 34385"/>
                <a:gd name="connsiteY3" fmla="*/ 325850 h 325850"/>
                <a:gd name="connsiteX4" fmla="*/ 0 w 34385"/>
                <a:gd name="connsiteY4" fmla="*/ 0 h 32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 h="325850">
                  <a:moveTo>
                    <a:pt x="0" y="0"/>
                  </a:moveTo>
                  <a:lnTo>
                    <a:pt x="34385" y="0"/>
                  </a:lnTo>
                  <a:lnTo>
                    <a:pt x="34385" y="325850"/>
                  </a:lnTo>
                  <a:lnTo>
                    <a:pt x="0" y="325850"/>
                  </a:lnTo>
                  <a:lnTo>
                    <a:pt x="0" y="0"/>
                  </a:lnTo>
                  <a:close/>
                </a:path>
              </a:pathLst>
            </a:custGeom>
            <a:solidFill>
              <a:srgbClr val="44505E"/>
            </a:solidFill>
            <a:ln w="9525" cap="flat">
              <a:noFill/>
              <a:prstDash val="solid"/>
              <a:miter/>
            </a:ln>
          </p:spPr>
          <p:txBody>
            <a:bodyPr rtlCol="0" anchor="ctr"/>
            <a:lstStyle/>
            <a:p>
              <a:endParaRPr lang="pt-BR" noProof="0"/>
            </a:p>
          </p:txBody>
        </p:sp>
        <p:sp>
          <p:nvSpPr>
            <p:cNvPr id="85" name="Freeform: Shape 46">
              <a:extLst>
                <a:ext uri="{FF2B5EF4-FFF2-40B4-BE49-F238E27FC236}">
                  <a16:creationId xmlns:a16="http://schemas.microsoft.com/office/drawing/2014/main" id="{CC3CD4A4-AF7C-8D76-9869-3D03182A557C}"/>
                </a:ext>
              </a:extLst>
            </p:cNvPr>
            <p:cNvSpPr/>
            <p:nvPr/>
          </p:nvSpPr>
          <p:spPr>
            <a:xfrm>
              <a:off x="6144346" y="925273"/>
              <a:ext cx="58016" cy="58448"/>
            </a:xfrm>
            <a:custGeom>
              <a:avLst/>
              <a:gdLst>
                <a:gd name="connsiteX0" fmla="*/ 95 w 230790"/>
                <a:gd name="connsiteY0" fmla="*/ 0 h 232505"/>
                <a:gd name="connsiteX1" fmla="*/ 38005 w 230790"/>
                <a:gd name="connsiteY1" fmla="*/ 0 h 232505"/>
                <a:gd name="connsiteX2" fmla="*/ 115634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4"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86" name="Freeform: Shape 47">
              <a:extLst>
                <a:ext uri="{FF2B5EF4-FFF2-40B4-BE49-F238E27FC236}">
                  <a16:creationId xmlns:a16="http://schemas.microsoft.com/office/drawing/2014/main" id="{24678EFF-409C-333C-245E-09E13B6CDF3D}"/>
                </a:ext>
              </a:extLst>
            </p:cNvPr>
            <p:cNvSpPr/>
            <p:nvPr/>
          </p:nvSpPr>
          <p:spPr>
            <a:xfrm>
              <a:off x="621155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8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338 w 202977"/>
                <a:gd name="connsiteY36" fmla="*/ 164497 h 239267"/>
                <a:gd name="connsiteX37" fmla="*/ 35338 w 202977"/>
                <a:gd name="connsiteY37" fmla="*/ 165449 h 239267"/>
                <a:gd name="connsiteX38" fmla="*/ 40005 w 202977"/>
                <a:gd name="connsiteY38" fmla="*/ 184785 h 239267"/>
                <a:gd name="connsiteX39" fmla="*/ 52673 w 202977"/>
                <a:gd name="connsiteY39" fmla="*/ 199263 h 239267"/>
                <a:gd name="connsiteX40" fmla="*/ 71152 w 202977"/>
                <a:gd name="connsiteY40" fmla="*/ 208121 h 239267"/>
                <a:gd name="connsiteX41" fmla="*/ 93154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438" y="239268"/>
                    <a:pt x="64961"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1" y="90964"/>
                    <a:pt x="98584" y="90964"/>
                  </a:cubicBezTo>
                  <a:cubicBezTo>
                    <a:pt x="113157" y="90964"/>
                    <a:pt x="126302" y="91821"/>
                    <a:pt x="137160" y="93631"/>
                  </a:cubicBezTo>
                  <a:cubicBezTo>
                    <a:pt x="148019" y="95440"/>
                    <a:pt x="158687" y="97822"/>
                    <a:pt x="169069" y="100774"/>
                  </a:cubicBezTo>
                  <a:lnTo>
                    <a:pt x="169069" y="93726"/>
                  </a:lnTo>
                  <a:cubicBezTo>
                    <a:pt x="169069" y="73342"/>
                    <a:pt x="163068" y="57912"/>
                    <a:pt x="151162" y="47339"/>
                  </a:cubicBezTo>
                  <a:cubicBezTo>
                    <a:pt x="139255" y="36862"/>
                    <a:pt x="122491" y="31623"/>
                    <a:pt x="100679" y="31623"/>
                  </a:cubicBezTo>
                  <a:cubicBezTo>
                    <a:pt x="86963" y="31623"/>
                    <a:pt x="74581" y="33147"/>
                    <a:pt x="63437" y="36100"/>
                  </a:cubicBezTo>
                  <a:cubicBezTo>
                    <a:pt x="52292" y="39053"/>
                    <a:pt x="41338" y="43053"/>
                    <a:pt x="30671" y="48196"/>
                  </a:cubicBezTo>
                  <a:lnTo>
                    <a:pt x="20383" y="19907"/>
                  </a:lnTo>
                  <a:cubicBezTo>
                    <a:pt x="33147" y="13906"/>
                    <a:pt x="46101" y="9049"/>
                    <a:pt x="59246" y="5429"/>
                  </a:cubicBezTo>
                  <a:cubicBezTo>
                    <a:pt x="72390"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04" y="239173"/>
                    <a:pt x="86011" y="239173"/>
                  </a:cubicBezTo>
                  <a:close/>
                  <a:moveTo>
                    <a:pt x="93154" y="211169"/>
                  </a:moveTo>
                  <a:cubicBezTo>
                    <a:pt x="103822" y="211169"/>
                    <a:pt x="113824" y="209740"/>
                    <a:pt x="122968" y="206788"/>
                  </a:cubicBezTo>
                  <a:cubicBezTo>
                    <a:pt x="132112"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5" y="119348"/>
                    <a:pt x="116777" y="118300"/>
                    <a:pt x="102584" y="118300"/>
                  </a:cubicBezTo>
                  <a:cubicBezTo>
                    <a:pt x="81248" y="118300"/>
                    <a:pt x="64675" y="122491"/>
                    <a:pt x="52959" y="130969"/>
                  </a:cubicBezTo>
                  <a:cubicBezTo>
                    <a:pt x="41243" y="139446"/>
                    <a:pt x="35338" y="150590"/>
                    <a:pt x="35338" y="164497"/>
                  </a:cubicBezTo>
                  <a:lnTo>
                    <a:pt x="35338" y="165449"/>
                  </a:lnTo>
                  <a:cubicBezTo>
                    <a:pt x="35338" y="172498"/>
                    <a:pt x="36862" y="178975"/>
                    <a:pt x="40005" y="184785"/>
                  </a:cubicBezTo>
                  <a:cubicBezTo>
                    <a:pt x="43148" y="190500"/>
                    <a:pt x="47339" y="195358"/>
                    <a:pt x="52673" y="199263"/>
                  </a:cubicBezTo>
                  <a:cubicBezTo>
                    <a:pt x="58007" y="203073"/>
                    <a:pt x="64198" y="206026"/>
                    <a:pt x="71152" y="208121"/>
                  </a:cubicBezTo>
                  <a:cubicBezTo>
                    <a:pt x="78105" y="210217"/>
                    <a:pt x="85439" y="211169"/>
                    <a:pt x="93154" y="211169"/>
                  </a:cubicBezTo>
                  <a:close/>
                </a:path>
              </a:pathLst>
            </a:custGeom>
            <a:solidFill>
              <a:srgbClr val="44505E"/>
            </a:solidFill>
            <a:ln w="9525" cap="flat">
              <a:noFill/>
              <a:prstDash val="solid"/>
              <a:miter/>
            </a:ln>
          </p:spPr>
          <p:txBody>
            <a:bodyPr rtlCol="0" anchor="ctr"/>
            <a:lstStyle/>
            <a:p>
              <a:endParaRPr lang="pt-BR" noProof="0"/>
            </a:p>
          </p:txBody>
        </p:sp>
        <p:sp>
          <p:nvSpPr>
            <p:cNvPr id="87" name="Freeform: Shape 48">
              <a:extLst>
                <a:ext uri="{FF2B5EF4-FFF2-40B4-BE49-F238E27FC236}">
                  <a16:creationId xmlns:a16="http://schemas.microsoft.com/office/drawing/2014/main" id="{A7B81610-688C-ACEB-9198-15C4B43EF7FE}"/>
                </a:ext>
              </a:extLst>
            </p:cNvPr>
            <p:cNvSpPr/>
            <p:nvPr/>
          </p:nvSpPr>
          <p:spPr>
            <a:xfrm>
              <a:off x="6280899" y="923980"/>
              <a:ext cx="87995" cy="59238"/>
            </a:xfrm>
            <a:custGeom>
              <a:avLst/>
              <a:gdLst>
                <a:gd name="connsiteX0" fmla="*/ 0 w 350043"/>
                <a:gd name="connsiteY0" fmla="*/ 5144 h 235648"/>
                <a:gd name="connsiteX1" fmla="*/ 34385 w 350043"/>
                <a:gd name="connsiteY1" fmla="*/ 5144 h 235648"/>
                <a:gd name="connsiteX2" fmla="*/ 34385 w 350043"/>
                <a:gd name="connsiteY2" fmla="*/ 44005 h 235648"/>
                <a:gd name="connsiteX3" fmla="*/ 47149 w 350043"/>
                <a:gd name="connsiteY3" fmla="*/ 27432 h 235648"/>
                <a:gd name="connsiteX4" fmla="*/ 62960 w 350043"/>
                <a:gd name="connsiteY4" fmla="*/ 13335 h 235648"/>
                <a:gd name="connsiteX5" fmla="*/ 83058 w 350043"/>
                <a:gd name="connsiteY5" fmla="*/ 3715 h 235648"/>
                <a:gd name="connsiteX6" fmla="*/ 108966 w 350043"/>
                <a:gd name="connsiteY6" fmla="*/ 95 h 235648"/>
                <a:gd name="connsiteX7" fmla="*/ 155448 w 350043"/>
                <a:gd name="connsiteY7" fmla="*/ 13240 h 235648"/>
                <a:gd name="connsiteX8" fmla="*/ 183166 w 350043"/>
                <a:gd name="connsiteY8" fmla="*/ 46006 h 235648"/>
                <a:gd name="connsiteX9" fmla="*/ 197168 w 350043"/>
                <a:gd name="connsiteY9" fmla="*/ 28194 h 235648"/>
                <a:gd name="connsiteX10" fmla="*/ 214789 w 350043"/>
                <a:gd name="connsiteY10" fmla="*/ 13430 h 235648"/>
                <a:gd name="connsiteX11" fmla="*/ 236887 w 350043"/>
                <a:gd name="connsiteY11" fmla="*/ 3620 h 235648"/>
                <a:gd name="connsiteX12" fmla="*/ 264319 w 350043"/>
                <a:gd name="connsiteY12" fmla="*/ 0 h 235648"/>
                <a:gd name="connsiteX13" fmla="*/ 327279 w 350043"/>
                <a:gd name="connsiteY13" fmla="*/ 24765 h 235648"/>
                <a:gd name="connsiteX14" fmla="*/ 350044 w 350043"/>
                <a:gd name="connsiteY14" fmla="*/ 92773 h 235648"/>
                <a:gd name="connsiteX15" fmla="*/ 350044 w 350043"/>
                <a:gd name="connsiteY15" fmla="*/ 235648 h 235648"/>
                <a:gd name="connsiteX16" fmla="*/ 315659 w 350043"/>
                <a:gd name="connsiteY16" fmla="*/ 235648 h 235648"/>
                <a:gd name="connsiteX17" fmla="*/ 315659 w 350043"/>
                <a:gd name="connsiteY17" fmla="*/ 101155 h 235648"/>
                <a:gd name="connsiteX18" fmla="*/ 299847 w 350043"/>
                <a:gd name="connsiteY18" fmla="*/ 49721 h 235648"/>
                <a:gd name="connsiteX19" fmla="*/ 255937 w 350043"/>
                <a:gd name="connsiteY19" fmla="*/ 31718 h 235648"/>
                <a:gd name="connsiteX20" fmla="*/ 231362 w 350043"/>
                <a:gd name="connsiteY20" fmla="*/ 36386 h 235648"/>
                <a:gd name="connsiteX21" fmla="*/ 211074 w 350043"/>
                <a:gd name="connsiteY21" fmla="*/ 50197 h 235648"/>
                <a:gd name="connsiteX22" fmla="*/ 197263 w 350043"/>
                <a:gd name="connsiteY22" fmla="*/ 72676 h 235648"/>
                <a:gd name="connsiteX23" fmla="*/ 192119 w 350043"/>
                <a:gd name="connsiteY23" fmla="*/ 102965 h 235648"/>
                <a:gd name="connsiteX24" fmla="*/ 192119 w 350043"/>
                <a:gd name="connsiteY24" fmla="*/ 235648 h 235648"/>
                <a:gd name="connsiteX25" fmla="*/ 158210 w 350043"/>
                <a:gd name="connsiteY25" fmla="*/ 235648 h 235648"/>
                <a:gd name="connsiteX26" fmla="*/ 158210 w 350043"/>
                <a:gd name="connsiteY26" fmla="*/ 100298 h 235648"/>
                <a:gd name="connsiteX27" fmla="*/ 142399 w 350043"/>
                <a:gd name="connsiteY27" fmla="*/ 49721 h 235648"/>
                <a:gd name="connsiteX28" fmla="*/ 98870 w 350043"/>
                <a:gd name="connsiteY28" fmla="*/ 31718 h 235648"/>
                <a:gd name="connsiteX29" fmla="*/ 73438 w 350043"/>
                <a:gd name="connsiteY29" fmla="*/ 37052 h 235648"/>
                <a:gd name="connsiteX30" fmla="*/ 53150 w 350043"/>
                <a:gd name="connsiteY30" fmla="*/ 52197 h 235648"/>
                <a:gd name="connsiteX31" fmla="*/ 39529 w 350043"/>
                <a:gd name="connsiteY31" fmla="*/ 75152 h 235648"/>
                <a:gd name="connsiteX32" fmla="*/ 34576 w 350043"/>
                <a:gd name="connsiteY32" fmla="*/ 104299 h 235648"/>
                <a:gd name="connsiteX33" fmla="*/ 34576 w 350043"/>
                <a:gd name="connsiteY33" fmla="*/ 235648 h 235648"/>
                <a:gd name="connsiteX34" fmla="*/ 190 w 350043"/>
                <a:gd name="connsiteY34" fmla="*/ 235648 h 235648"/>
                <a:gd name="connsiteX35" fmla="*/ 190 w 350043"/>
                <a:gd name="connsiteY35" fmla="*/ 485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0043" h="235648">
                  <a:moveTo>
                    <a:pt x="0" y="5144"/>
                  </a:moveTo>
                  <a:lnTo>
                    <a:pt x="34385" y="5144"/>
                  </a:lnTo>
                  <a:lnTo>
                    <a:pt x="34385" y="44005"/>
                  </a:lnTo>
                  <a:cubicBezTo>
                    <a:pt x="38290" y="38386"/>
                    <a:pt x="42481" y="32861"/>
                    <a:pt x="47149" y="27432"/>
                  </a:cubicBezTo>
                  <a:cubicBezTo>
                    <a:pt x="51721" y="22098"/>
                    <a:pt x="57055" y="17431"/>
                    <a:pt x="62960" y="13335"/>
                  </a:cubicBezTo>
                  <a:cubicBezTo>
                    <a:pt x="68866" y="9335"/>
                    <a:pt x="75629" y="6096"/>
                    <a:pt x="83058" y="3715"/>
                  </a:cubicBezTo>
                  <a:cubicBezTo>
                    <a:pt x="90488" y="1334"/>
                    <a:pt x="99155" y="95"/>
                    <a:pt x="108966" y="95"/>
                  </a:cubicBezTo>
                  <a:cubicBezTo>
                    <a:pt x="127730" y="95"/>
                    <a:pt x="143161" y="4477"/>
                    <a:pt x="155448" y="13240"/>
                  </a:cubicBezTo>
                  <a:cubicBezTo>
                    <a:pt x="167640" y="22003"/>
                    <a:pt x="176879" y="32956"/>
                    <a:pt x="183166" y="46006"/>
                  </a:cubicBezTo>
                  <a:cubicBezTo>
                    <a:pt x="187357" y="39719"/>
                    <a:pt x="192024" y="33814"/>
                    <a:pt x="197168" y="28194"/>
                  </a:cubicBezTo>
                  <a:cubicBezTo>
                    <a:pt x="202406" y="22574"/>
                    <a:pt x="208217" y="17621"/>
                    <a:pt x="214789" y="13430"/>
                  </a:cubicBezTo>
                  <a:cubicBezTo>
                    <a:pt x="221361" y="9239"/>
                    <a:pt x="228695" y="6001"/>
                    <a:pt x="236887" y="3620"/>
                  </a:cubicBezTo>
                  <a:cubicBezTo>
                    <a:pt x="245078" y="1238"/>
                    <a:pt x="254222" y="0"/>
                    <a:pt x="264319" y="0"/>
                  </a:cubicBezTo>
                  <a:cubicBezTo>
                    <a:pt x="291084" y="0"/>
                    <a:pt x="312039" y="8287"/>
                    <a:pt x="327279" y="24765"/>
                  </a:cubicBezTo>
                  <a:cubicBezTo>
                    <a:pt x="342519" y="41243"/>
                    <a:pt x="350044" y="63913"/>
                    <a:pt x="350044" y="92773"/>
                  </a:cubicBezTo>
                  <a:lnTo>
                    <a:pt x="350044" y="235648"/>
                  </a:lnTo>
                  <a:lnTo>
                    <a:pt x="315659" y="235648"/>
                  </a:lnTo>
                  <a:lnTo>
                    <a:pt x="315659" y="101155"/>
                  </a:lnTo>
                  <a:cubicBezTo>
                    <a:pt x="315659" y="78867"/>
                    <a:pt x="310420" y="61722"/>
                    <a:pt x="299847" y="49721"/>
                  </a:cubicBezTo>
                  <a:cubicBezTo>
                    <a:pt x="289274" y="37719"/>
                    <a:pt x="274606" y="31718"/>
                    <a:pt x="255937" y="31718"/>
                  </a:cubicBezTo>
                  <a:cubicBezTo>
                    <a:pt x="247269" y="31718"/>
                    <a:pt x="239078" y="33242"/>
                    <a:pt x="231362" y="36386"/>
                  </a:cubicBezTo>
                  <a:cubicBezTo>
                    <a:pt x="223647" y="39529"/>
                    <a:pt x="216884" y="44101"/>
                    <a:pt x="211074" y="50197"/>
                  </a:cubicBezTo>
                  <a:cubicBezTo>
                    <a:pt x="205264" y="56293"/>
                    <a:pt x="200692" y="63818"/>
                    <a:pt x="197263" y="72676"/>
                  </a:cubicBezTo>
                  <a:cubicBezTo>
                    <a:pt x="193834" y="81629"/>
                    <a:pt x="192119" y="91726"/>
                    <a:pt x="192119" y="102965"/>
                  </a:cubicBezTo>
                  <a:lnTo>
                    <a:pt x="192119" y="235648"/>
                  </a:lnTo>
                  <a:lnTo>
                    <a:pt x="158210" y="235648"/>
                  </a:lnTo>
                  <a:lnTo>
                    <a:pt x="158210" y="100298"/>
                  </a:lnTo>
                  <a:cubicBezTo>
                    <a:pt x="158210" y="78677"/>
                    <a:pt x="152971" y="61817"/>
                    <a:pt x="142399" y="49721"/>
                  </a:cubicBezTo>
                  <a:cubicBezTo>
                    <a:pt x="131826" y="37719"/>
                    <a:pt x="117348" y="31718"/>
                    <a:pt x="98870" y="31718"/>
                  </a:cubicBezTo>
                  <a:cubicBezTo>
                    <a:pt x="89630" y="31718"/>
                    <a:pt x="81153" y="33528"/>
                    <a:pt x="73438" y="37052"/>
                  </a:cubicBezTo>
                  <a:cubicBezTo>
                    <a:pt x="65722" y="40672"/>
                    <a:pt x="58960" y="45720"/>
                    <a:pt x="53150" y="52197"/>
                  </a:cubicBezTo>
                  <a:cubicBezTo>
                    <a:pt x="47339" y="58769"/>
                    <a:pt x="42767" y="66389"/>
                    <a:pt x="39529" y="75152"/>
                  </a:cubicBezTo>
                  <a:cubicBezTo>
                    <a:pt x="36290" y="83915"/>
                    <a:pt x="34576" y="93631"/>
                    <a:pt x="34576" y="104299"/>
                  </a:cubicBezTo>
                  <a:lnTo>
                    <a:pt x="34576" y="235648"/>
                  </a:lnTo>
                  <a:lnTo>
                    <a:pt x="190" y="235648"/>
                  </a:lnTo>
                  <a:lnTo>
                    <a:pt x="190" y="4858"/>
                  </a:lnTo>
                  <a:close/>
                </a:path>
              </a:pathLst>
            </a:custGeom>
            <a:solidFill>
              <a:srgbClr val="44505E"/>
            </a:solidFill>
            <a:ln w="9525" cap="flat">
              <a:noFill/>
              <a:prstDash val="solid"/>
              <a:miter/>
            </a:ln>
          </p:spPr>
          <p:txBody>
            <a:bodyPr rtlCol="0" anchor="ctr"/>
            <a:lstStyle/>
            <a:p>
              <a:endParaRPr lang="pt-BR" noProof="0"/>
            </a:p>
          </p:txBody>
        </p:sp>
        <p:sp>
          <p:nvSpPr>
            <p:cNvPr id="88" name="Freeform: Shape 49">
              <a:extLst>
                <a:ext uri="{FF2B5EF4-FFF2-40B4-BE49-F238E27FC236}">
                  <a16:creationId xmlns:a16="http://schemas.microsoft.com/office/drawing/2014/main" id="{52E2949D-0B38-747C-8DE7-207F9E32A874}"/>
                </a:ext>
              </a:extLst>
            </p:cNvPr>
            <p:cNvSpPr/>
            <p:nvPr/>
          </p:nvSpPr>
          <p:spPr>
            <a:xfrm>
              <a:off x="6415537" y="925273"/>
              <a:ext cx="58016" cy="58448"/>
            </a:xfrm>
            <a:custGeom>
              <a:avLst/>
              <a:gdLst>
                <a:gd name="connsiteX0" fmla="*/ 95 w 230790"/>
                <a:gd name="connsiteY0" fmla="*/ 0 h 232505"/>
                <a:gd name="connsiteX1" fmla="*/ 38005 w 230790"/>
                <a:gd name="connsiteY1" fmla="*/ 0 h 232505"/>
                <a:gd name="connsiteX2" fmla="*/ 115633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3"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89" name="Freeform: Shape 50">
              <a:extLst>
                <a:ext uri="{FF2B5EF4-FFF2-40B4-BE49-F238E27FC236}">
                  <a16:creationId xmlns:a16="http://schemas.microsoft.com/office/drawing/2014/main" id="{2D6B44D0-0C58-BD1E-EBD2-7DB953EB25A6}"/>
                </a:ext>
              </a:extLst>
            </p:cNvPr>
            <p:cNvSpPr/>
            <p:nvPr/>
          </p:nvSpPr>
          <p:spPr>
            <a:xfrm>
              <a:off x="6487369"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286 w 39242"/>
                <a:gd name="connsiteY5" fmla="*/ 88392 h 319182"/>
                <a:gd name="connsiteX6" fmla="*/ 36671 w 39242"/>
                <a:gd name="connsiteY6" fmla="*/ 88392 h 319182"/>
                <a:gd name="connsiteX7" fmla="*/ 36671 w 39242"/>
                <a:gd name="connsiteY7" fmla="*/ 319183 h 319182"/>
                <a:gd name="connsiteX8" fmla="*/ 2286 w 39242"/>
                <a:gd name="connsiteY8" fmla="*/ 319183 h 319182"/>
                <a:gd name="connsiteX9" fmla="*/ 2286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286" y="88392"/>
                  </a:moveTo>
                  <a:lnTo>
                    <a:pt x="36671" y="88392"/>
                  </a:lnTo>
                  <a:lnTo>
                    <a:pt x="36671" y="319183"/>
                  </a:lnTo>
                  <a:lnTo>
                    <a:pt x="2286" y="319183"/>
                  </a:lnTo>
                  <a:lnTo>
                    <a:pt x="2286" y="88392"/>
                  </a:lnTo>
                  <a:close/>
                </a:path>
              </a:pathLst>
            </a:custGeom>
            <a:solidFill>
              <a:srgbClr val="44505E"/>
            </a:solidFill>
            <a:ln w="9525" cap="flat">
              <a:noFill/>
              <a:prstDash val="solid"/>
              <a:miter/>
            </a:ln>
          </p:spPr>
          <p:txBody>
            <a:bodyPr rtlCol="0" anchor="ctr"/>
            <a:lstStyle/>
            <a:p>
              <a:endParaRPr lang="pt-BR" noProof="0"/>
            </a:p>
          </p:txBody>
        </p:sp>
        <p:sp>
          <p:nvSpPr>
            <p:cNvPr id="90" name="Freeform: Shape 51">
              <a:extLst>
                <a:ext uri="{FF2B5EF4-FFF2-40B4-BE49-F238E27FC236}">
                  <a16:creationId xmlns:a16="http://schemas.microsoft.com/office/drawing/2014/main" id="{B57C939C-CDAE-E956-BFFE-C0DE9715A62C}"/>
                </a:ext>
              </a:extLst>
            </p:cNvPr>
            <p:cNvSpPr/>
            <p:nvPr/>
          </p:nvSpPr>
          <p:spPr>
            <a:xfrm>
              <a:off x="6513253" y="901353"/>
              <a:ext cx="58615" cy="83182"/>
            </a:xfrm>
            <a:custGeom>
              <a:avLst/>
              <a:gdLst>
                <a:gd name="connsiteX0" fmla="*/ 110394 w 233171"/>
                <a:gd name="connsiteY0" fmla="*/ 330898 h 330898"/>
                <a:gd name="connsiteX1" fmla="*/ 69723 w 233171"/>
                <a:gd name="connsiteY1" fmla="*/ 322897 h 330898"/>
                <a:gd name="connsiteX2" fmla="*/ 34480 w 233171"/>
                <a:gd name="connsiteY2" fmla="*/ 299466 h 330898"/>
                <a:gd name="connsiteX3" fmla="*/ 9430 w 233171"/>
                <a:gd name="connsiteY3" fmla="*/ 261938 h 330898"/>
                <a:gd name="connsiteX4" fmla="*/ 0 w 233171"/>
                <a:gd name="connsiteY4" fmla="*/ 211264 h 330898"/>
                <a:gd name="connsiteX5" fmla="*/ 0 w 233171"/>
                <a:gd name="connsiteY5" fmla="*/ 210407 h 330898"/>
                <a:gd name="connsiteX6" fmla="*/ 9430 w 233171"/>
                <a:gd name="connsiteY6" fmla="*/ 159925 h 330898"/>
                <a:gd name="connsiteX7" fmla="*/ 34480 w 233171"/>
                <a:gd name="connsiteY7" fmla="*/ 122206 h 330898"/>
                <a:gd name="connsiteX8" fmla="*/ 69723 w 233171"/>
                <a:gd name="connsiteY8" fmla="*/ 98488 h 330898"/>
                <a:gd name="connsiteX9" fmla="*/ 110394 w 233171"/>
                <a:gd name="connsiteY9" fmla="*/ 90202 h 330898"/>
                <a:gd name="connsiteX10" fmla="*/ 139827 w 233171"/>
                <a:gd name="connsiteY10" fmla="*/ 94202 h 330898"/>
                <a:gd name="connsiteX11" fmla="*/ 163925 w 233171"/>
                <a:gd name="connsiteY11" fmla="*/ 104870 h 330898"/>
                <a:gd name="connsiteX12" fmla="*/ 183356 w 233171"/>
                <a:gd name="connsiteY12" fmla="*/ 120491 h 330898"/>
                <a:gd name="connsiteX13" fmla="*/ 198787 w 233171"/>
                <a:gd name="connsiteY13" fmla="*/ 139255 h 330898"/>
                <a:gd name="connsiteX14" fmla="*/ 198787 w 233171"/>
                <a:gd name="connsiteY14" fmla="*/ 0 h 330898"/>
                <a:gd name="connsiteX15" fmla="*/ 233172 w 233171"/>
                <a:gd name="connsiteY15" fmla="*/ 0 h 330898"/>
                <a:gd name="connsiteX16" fmla="*/ 233172 w 233171"/>
                <a:gd name="connsiteY16" fmla="*/ 325850 h 330898"/>
                <a:gd name="connsiteX17" fmla="*/ 198787 w 233171"/>
                <a:gd name="connsiteY17" fmla="*/ 325850 h 330898"/>
                <a:gd name="connsiteX18" fmla="*/ 198787 w 233171"/>
                <a:gd name="connsiteY18" fmla="*/ 279463 h 330898"/>
                <a:gd name="connsiteX19" fmla="*/ 182975 w 233171"/>
                <a:gd name="connsiteY19" fmla="*/ 299085 h 330898"/>
                <a:gd name="connsiteX20" fmla="*/ 163544 w 233171"/>
                <a:gd name="connsiteY20" fmla="*/ 315658 h 330898"/>
                <a:gd name="connsiteX21" fmla="*/ 139636 w 233171"/>
                <a:gd name="connsiteY21" fmla="*/ 326803 h 330898"/>
                <a:gd name="connsiteX22" fmla="*/ 110394 w 233171"/>
                <a:gd name="connsiteY22" fmla="*/ 330803 h 330898"/>
                <a:gd name="connsiteX23" fmla="*/ 116681 w 233171"/>
                <a:gd name="connsiteY23" fmla="*/ 300133 h 330898"/>
                <a:gd name="connsiteX24" fmla="*/ 147733 w 233171"/>
                <a:gd name="connsiteY24" fmla="*/ 293656 h 330898"/>
                <a:gd name="connsiteX25" fmla="*/ 174498 w 233171"/>
                <a:gd name="connsiteY25" fmla="*/ 275368 h 330898"/>
                <a:gd name="connsiteX26" fmla="*/ 193262 w 233171"/>
                <a:gd name="connsiteY26" fmla="*/ 247269 h 330898"/>
                <a:gd name="connsiteX27" fmla="*/ 200216 w 233171"/>
                <a:gd name="connsiteY27" fmla="*/ 210883 h 330898"/>
                <a:gd name="connsiteX28" fmla="*/ 200216 w 233171"/>
                <a:gd name="connsiteY28" fmla="*/ 210026 h 330898"/>
                <a:gd name="connsiteX29" fmla="*/ 193262 w 233171"/>
                <a:gd name="connsiteY29" fmla="*/ 173641 h 330898"/>
                <a:gd name="connsiteX30" fmla="*/ 174498 w 233171"/>
                <a:gd name="connsiteY30" fmla="*/ 145732 h 330898"/>
                <a:gd name="connsiteX31" fmla="*/ 147733 w 233171"/>
                <a:gd name="connsiteY31" fmla="*/ 127635 h 330898"/>
                <a:gd name="connsiteX32" fmla="*/ 116681 w 233171"/>
                <a:gd name="connsiteY32" fmla="*/ 121158 h 330898"/>
                <a:gd name="connsiteX33" fmla="*/ 84963 w 233171"/>
                <a:gd name="connsiteY33" fmla="*/ 127159 h 330898"/>
                <a:gd name="connsiteX34" fmla="*/ 59341 w 233171"/>
                <a:gd name="connsiteY34" fmla="*/ 144589 h 330898"/>
                <a:gd name="connsiteX35" fmla="*/ 41910 w 233171"/>
                <a:gd name="connsiteY35" fmla="*/ 172498 h 330898"/>
                <a:gd name="connsiteX36" fmla="*/ 35433 w 233171"/>
                <a:gd name="connsiteY36" fmla="*/ 210026 h 330898"/>
                <a:gd name="connsiteX37" fmla="*/ 35433 w 233171"/>
                <a:gd name="connsiteY37" fmla="*/ 210883 h 330898"/>
                <a:gd name="connsiteX38" fmla="*/ 41910 w 233171"/>
                <a:gd name="connsiteY38" fmla="*/ 247936 h 330898"/>
                <a:gd name="connsiteX39" fmla="*/ 59531 w 233171"/>
                <a:gd name="connsiteY39" fmla="*/ 276034 h 330898"/>
                <a:gd name="connsiteX40" fmla="*/ 85439 w 233171"/>
                <a:gd name="connsiteY40" fmla="*/ 293941 h 330898"/>
                <a:gd name="connsiteX41" fmla="*/ 116681 w 23317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3171" h="330898">
                  <a:moveTo>
                    <a:pt x="110394" y="330898"/>
                  </a:moveTo>
                  <a:cubicBezTo>
                    <a:pt x="96393" y="330898"/>
                    <a:pt x="82868" y="328231"/>
                    <a:pt x="69723" y="322897"/>
                  </a:cubicBezTo>
                  <a:cubicBezTo>
                    <a:pt x="56674" y="317563"/>
                    <a:pt x="44863" y="309753"/>
                    <a:pt x="34480" y="299466"/>
                  </a:cubicBezTo>
                  <a:cubicBezTo>
                    <a:pt x="24003" y="289179"/>
                    <a:pt x="15716" y="276701"/>
                    <a:pt x="9430" y="261938"/>
                  </a:cubicBezTo>
                  <a:cubicBezTo>
                    <a:pt x="3143" y="247174"/>
                    <a:pt x="0" y="230314"/>
                    <a:pt x="0" y="211264"/>
                  </a:cubicBezTo>
                  <a:lnTo>
                    <a:pt x="0" y="210407"/>
                  </a:lnTo>
                  <a:cubicBezTo>
                    <a:pt x="0" y="191643"/>
                    <a:pt x="3143" y="174879"/>
                    <a:pt x="9430" y="159925"/>
                  </a:cubicBezTo>
                  <a:cubicBezTo>
                    <a:pt x="15716" y="145066"/>
                    <a:pt x="24003" y="132493"/>
                    <a:pt x="34480" y="122206"/>
                  </a:cubicBezTo>
                  <a:cubicBezTo>
                    <a:pt x="44863" y="111919"/>
                    <a:pt x="56674" y="104013"/>
                    <a:pt x="69723" y="98488"/>
                  </a:cubicBezTo>
                  <a:cubicBezTo>
                    <a:pt x="82868" y="92964"/>
                    <a:pt x="96393" y="90202"/>
                    <a:pt x="110394" y="90202"/>
                  </a:cubicBezTo>
                  <a:cubicBezTo>
                    <a:pt x="121158" y="90202"/>
                    <a:pt x="130969" y="91535"/>
                    <a:pt x="139827" y="94202"/>
                  </a:cubicBezTo>
                  <a:cubicBezTo>
                    <a:pt x="148780" y="96869"/>
                    <a:pt x="156782" y="100489"/>
                    <a:pt x="163925" y="104870"/>
                  </a:cubicBezTo>
                  <a:cubicBezTo>
                    <a:pt x="171069" y="109347"/>
                    <a:pt x="177546" y="114586"/>
                    <a:pt x="183356" y="120491"/>
                  </a:cubicBezTo>
                  <a:cubicBezTo>
                    <a:pt x="189166" y="126492"/>
                    <a:pt x="194310" y="132683"/>
                    <a:pt x="198787" y="139255"/>
                  </a:cubicBezTo>
                  <a:lnTo>
                    <a:pt x="198787" y="0"/>
                  </a:lnTo>
                  <a:lnTo>
                    <a:pt x="233172" y="0"/>
                  </a:lnTo>
                  <a:lnTo>
                    <a:pt x="233172" y="325850"/>
                  </a:lnTo>
                  <a:lnTo>
                    <a:pt x="198787" y="325850"/>
                  </a:lnTo>
                  <a:lnTo>
                    <a:pt x="198787" y="279463"/>
                  </a:lnTo>
                  <a:cubicBezTo>
                    <a:pt x="194024" y="286321"/>
                    <a:pt x="188786" y="292894"/>
                    <a:pt x="182975" y="299085"/>
                  </a:cubicBezTo>
                  <a:cubicBezTo>
                    <a:pt x="177165" y="305371"/>
                    <a:pt x="170688" y="310896"/>
                    <a:pt x="163544" y="315658"/>
                  </a:cubicBezTo>
                  <a:cubicBezTo>
                    <a:pt x="156400" y="320421"/>
                    <a:pt x="148494" y="324136"/>
                    <a:pt x="139636" y="326803"/>
                  </a:cubicBezTo>
                  <a:cubicBezTo>
                    <a:pt x="130873" y="329470"/>
                    <a:pt x="121158" y="330803"/>
                    <a:pt x="110394" y="330803"/>
                  </a:cubicBezTo>
                  <a:close/>
                  <a:moveTo>
                    <a:pt x="116681" y="300133"/>
                  </a:moveTo>
                  <a:cubicBezTo>
                    <a:pt x="127445" y="300133"/>
                    <a:pt x="137732" y="297942"/>
                    <a:pt x="147733" y="293656"/>
                  </a:cubicBezTo>
                  <a:cubicBezTo>
                    <a:pt x="157734" y="289369"/>
                    <a:pt x="166592" y="283273"/>
                    <a:pt x="174498" y="275368"/>
                  </a:cubicBezTo>
                  <a:cubicBezTo>
                    <a:pt x="182404" y="267462"/>
                    <a:pt x="188595" y="258127"/>
                    <a:pt x="193262" y="247269"/>
                  </a:cubicBezTo>
                  <a:cubicBezTo>
                    <a:pt x="197834" y="236410"/>
                    <a:pt x="200216" y="224314"/>
                    <a:pt x="200216" y="210883"/>
                  </a:cubicBezTo>
                  <a:lnTo>
                    <a:pt x="200216" y="210026"/>
                  </a:lnTo>
                  <a:cubicBezTo>
                    <a:pt x="200216" y="196596"/>
                    <a:pt x="197929" y="184499"/>
                    <a:pt x="193262" y="173641"/>
                  </a:cubicBezTo>
                  <a:cubicBezTo>
                    <a:pt x="188595" y="162782"/>
                    <a:pt x="182404" y="153448"/>
                    <a:pt x="174498" y="145732"/>
                  </a:cubicBezTo>
                  <a:cubicBezTo>
                    <a:pt x="166592" y="138017"/>
                    <a:pt x="157639" y="132016"/>
                    <a:pt x="147733" y="127635"/>
                  </a:cubicBezTo>
                  <a:cubicBezTo>
                    <a:pt x="137732" y="123349"/>
                    <a:pt x="127445" y="121158"/>
                    <a:pt x="116681" y="121158"/>
                  </a:cubicBezTo>
                  <a:cubicBezTo>
                    <a:pt x="105346" y="121158"/>
                    <a:pt x="94774" y="123158"/>
                    <a:pt x="84963" y="127159"/>
                  </a:cubicBezTo>
                  <a:cubicBezTo>
                    <a:pt x="75152" y="131159"/>
                    <a:pt x="66580" y="136969"/>
                    <a:pt x="59341" y="144589"/>
                  </a:cubicBezTo>
                  <a:cubicBezTo>
                    <a:pt x="52007" y="152114"/>
                    <a:pt x="46291" y="161449"/>
                    <a:pt x="41910" y="172498"/>
                  </a:cubicBezTo>
                  <a:cubicBezTo>
                    <a:pt x="37624" y="183451"/>
                    <a:pt x="35433" y="196024"/>
                    <a:pt x="35433" y="210026"/>
                  </a:cubicBezTo>
                  <a:lnTo>
                    <a:pt x="35433" y="210883"/>
                  </a:lnTo>
                  <a:cubicBezTo>
                    <a:pt x="35433" y="224599"/>
                    <a:pt x="37624" y="236982"/>
                    <a:pt x="41910" y="247936"/>
                  </a:cubicBezTo>
                  <a:cubicBezTo>
                    <a:pt x="46196" y="258984"/>
                    <a:pt x="52101" y="268319"/>
                    <a:pt x="59531" y="276034"/>
                  </a:cubicBezTo>
                  <a:cubicBezTo>
                    <a:pt x="66960" y="283750"/>
                    <a:pt x="75629" y="289750"/>
                    <a:pt x="85439" y="293941"/>
                  </a:cubicBezTo>
                  <a:cubicBezTo>
                    <a:pt x="95250" y="298132"/>
                    <a:pt x="105632" y="300228"/>
                    <a:pt x="116681" y="300228"/>
                  </a:cubicBezTo>
                  <a:close/>
                </a:path>
              </a:pathLst>
            </a:custGeom>
            <a:solidFill>
              <a:srgbClr val="44505E"/>
            </a:solidFill>
            <a:ln w="9525" cap="flat">
              <a:noFill/>
              <a:prstDash val="solid"/>
              <a:miter/>
            </a:ln>
          </p:spPr>
          <p:txBody>
            <a:bodyPr rtlCol="0" anchor="ctr"/>
            <a:lstStyle/>
            <a:p>
              <a:endParaRPr lang="pt-BR" noProof="0"/>
            </a:p>
          </p:txBody>
        </p:sp>
        <p:sp>
          <p:nvSpPr>
            <p:cNvPr id="91" name="Freeform: Shape 52">
              <a:extLst>
                <a:ext uri="{FF2B5EF4-FFF2-40B4-BE49-F238E27FC236}">
                  <a16:creationId xmlns:a16="http://schemas.microsoft.com/office/drawing/2014/main" id="{603FD47A-F7AB-0C90-C667-AE7AAF5EDA5B}"/>
                </a:ext>
              </a:extLst>
            </p:cNvPr>
            <p:cNvSpPr/>
            <p:nvPr/>
          </p:nvSpPr>
          <p:spPr>
            <a:xfrm>
              <a:off x="6586762"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0 w 202977"/>
                <a:gd name="connsiteY16" fmla="*/ 48196 h 239267"/>
                <a:gd name="connsiteX17" fmla="*/ 20383 w 202977"/>
                <a:gd name="connsiteY17" fmla="*/ 19907 h 239267"/>
                <a:gd name="connsiteX18" fmla="*/ 59245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0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1"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675" y="92678"/>
                    <a:pt x="84011" y="90964"/>
                    <a:pt x="98584" y="90964"/>
                  </a:cubicBezTo>
                  <a:cubicBezTo>
                    <a:pt x="113157" y="90964"/>
                    <a:pt x="126302"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0" y="33147"/>
                    <a:pt x="63436" y="36100"/>
                  </a:cubicBezTo>
                  <a:cubicBezTo>
                    <a:pt x="52292" y="39053"/>
                    <a:pt x="41338" y="43053"/>
                    <a:pt x="30670" y="48196"/>
                  </a:cubicBezTo>
                  <a:lnTo>
                    <a:pt x="20383" y="19907"/>
                  </a:lnTo>
                  <a:cubicBezTo>
                    <a:pt x="33147" y="13906"/>
                    <a:pt x="46101" y="9049"/>
                    <a:pt x="59245" y="5429"/>
                  </a:cubicBezTo>
                  <a:cubicBezTo>
                    <a:pt x="72294" y="1810"/>
                    <a:pt x="87344" y="0"/>
                    <a:pt x="104299" y="0"/>
                  </a:cubicBezTo>
                  <a:cubicBezTo>
                    <a:pt x="137064" y="0"/>
                    <a:pt x="161925" y="8477"/>
                    <a:pt x="178879" y="25432"/>
                  </a:cubicBezTo>
                  <a:cubicBezTo>
                    <a:pt x="194976"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0" y="239173"/>
                  </a:cubicBezTo>
                  <a:close/>
                  <a:moveTo>
                    <a:pt x="93154" y="211169"/>
                  </a:moveTo>
                  <a:cubicBezTo>
                    <a:pt x="103822" y="211169"/>
                    <a:pt x="113729" y="209740"/>
                    <a:pt x="122967" y="206788"/>
                  </a:cubicBezTo>
                  <a:cubicBezTo>
                    <a:pt x="132207"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4" y="119348"/>
                    <a:pt x="116871"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92" name="Freeform: Shape 53">
              <a:extLst>
                <a:ext uri="{FF2B5EF4-FFF2-40B4-BE49-F238E27FC236}">
                  <a16:creationId xmlns:a16="http://schemas.microsoft.com/office/drawing/2014/main" id="{BD79DF82-6F06-D0A7-5E69-2780ECE5F5D0}"/>
                </a:ext>
              </a:extLst>
            </p:cNvPr>
            <p:cNvSpPr/>
            <p:nvPr/>
          </p:nvSpPr>
          <p:spPr>
            <a:xfrm>
              <a:off x="6651291" y="924268"/>
              <a:ext cx="44680" cy="60195"/>
            </a:xfrm>
            <a:custGeom>
              <a:avLst/>
              <a:gdLst>
                <a:gd name="connsiteX0" fmla="*/ 95535 w 177736"/>
                <a:gd name="connsiteY0" fmla="*/ 239268 h 239458"/>
                <a:gd name="connsiteX1" fmla="*/ 45053 w 177736"/>
                <a:gd name="connsiteY1" fmla="*/ 230124 h 239458"/>
                <a:gd name="connsiteX2" fmla="*/ 0 w 177736"/>
                <a:gd name="connsiteY2" fmla="*/ 205359 h 239458"/>
                <a:gd name="connsiteX3" fmla="*/ 17430 w 177736"/>
                <a:gd name="connsiteY3" fmla="*/ 180785 h 239458"/>
                <a:gd name="connsiteX4" fmla="*/ 56483 w 177736"/>
                <a:gd name="connsiteY4" fmla="*/ 202692 h 239458"/>
                <a:gd name="connsiteX5" fmla="*/ 97345 w 177736"/>
                <a:gd name="connsiteY5" fmla="*/ 210217 h 239458"/>
                <a:gd name="connsiteX6" fmla="*/ 131730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825 w 177736"/>
                <a:gd name="connsiteY10" fmla="*/ 147066 h 239458"/>
                <a:gd name="connsiteX11" fmla="*/ 109251 w 177736"/>
                <a:gd name="connsiteY11" fmla="*/ 138779 h 239458"/>
                <a:gd name="connsiteX12" fmla="*/ 87630 w 177736"/>
                <a:gd name="connsiteY12" fmla="*/ 132112 h 239458"/>
                <a:gd name="connsiteX13" fmla="*/ 60579 w 177736"/>
                <a:gd name="connsiteY13" fmla="*/ 123444 h 239458"/>
                <a:gd name="connsiteX14" fmla="*/ 36004 w 177736"/>
                <a:gd name="connsiteY14" fmla="*/ 111633 h 239458"/>
                <a:gd name="connsiteX15" fmla="*/ 18192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59 w 177736"/>
                <a:gd name="connsiteY22" fmla="*/ 6953 h 239458"/>
                <a:gd name="connsiteX23" fmla="*/ 172878 w 177736"/>
                <a:gd name="connsiteY23" fmla="*/ 25527 h 239458"/>
                <a:gd name="connsiteX24" fmla="*/ 157257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3 w 177736"/>
                <a:gd name="connsiteY32" fmla="*/ 96203 h 239458"/>
                <a:gd name="connsiteX33" fmla="*/ 103631 w 177736"/>
                <a:gd name="connsiteY33" fmla="*/ 103346 h 239458"/>
                <a:gd name="connsiteX34" fmla="*/ 130207 w 177736"/>
                <a:gd name="connsiteY34" fmla="*/ 112300 h 239458"/>
                <a:gd name="connsiteX35" fmla="*/ 154114 w 177736"/>
                <a:gd name="connsiteY35" fmla="*/ 124778 h 239458"/>
                <a:gd name="connsiteX36" fmla="*/ 171259 w 177736"/>
                <a:gd name="connsiteY36" fmla="*/ 143066 h 239458"/>
                <a:gd name="connsiteX37" fmla="*/ 177736 w 177736"/>
                <a:gd name="connsiteY37" fmla="*/ 169450 h 239458"/>
                <a:gd name="connsiteX38" fmla="*/ 177736 w 177736"/>
                <a:gd name="connsiteY38" fmla="*/ 170307 h 239458"/>
                <a:gd name="connsiteX39" fmla="*/ 171259 w 177736"/>
                <a:gd name="connsiteY39" fmla="*/ 199549 h 239458"/>
                <a:gd name="connsiteX40" fmla="*/ 153828 w 177736"/>
                <a:gd name="connsiteY40" fmla="*/ 221171 h 239458"/>
                <a:gd name="connsiteX41" fmla="*/ 127921 w 177736"/>
                <a:gd name="connsiteY41" fmla="*/ 234791 h 239458"/>
                <a:gd name="connsiteX42" fmla="*/ 95535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5" y="239268"/>
                  </a:moveTo>
                  <a:cubicBezTo>
                    <a:pt x="78867" y="239268"/>
                    <a:pt x="62007" y="236220"/>
                    <a:pt x="45053" y="230124"/>
                  </a:cubicBezTo>
                  <a:cubicBezTo>
                    <a:pt x="28098" y="224028"/>
                    <a:pt x="13049" y="215741"/>
                    <a:pt x="0" y="205359"/>
                  </a:cubicBezTo>
                  <a:lnTo>
                    <a:pt x="17430" y="180785"/>
                  </a:lnTo>
                  <a:cubicBezTo>
                    <a:pt x="29908" y="190310"/>
                    <a:pt x="42957" y="197644"/>
                    <a:pt x="56483" y="202692"/>
                  </a:cubicBezTo>
                  <a:cubicBezTo>
                    <a:pt x="70009" y="207740"/>
                    <a:pt x="83629" y="210217"/>
                    <a:pt x="97345" y="210217"/>
                  </a:cubicBezTo>
                  <a:cubicBezTo>
                    <a:pt x="111061" y="210217"/>
                    <a:pt x="122777" y="206978"/>
                    <a:pt x="131730" y="200406"/>
                  </a:cubicBezTo>
                  <a:cubicBezTo>
                    <a:pt x="140684" y="193834"/>
                    <a:pt x="145161" y="184976"/>
                    <a:pt x="145161" y="173641"/>
                  </a:cubicBezTo>
                  <a:lnTo>
                    <a:pt x="145161" y="172784"/>
                  </a:lnTo>
                  <a:cubicBezTo>
                    <a:pt x="145161" y="167164"/>
                    <a:pt x="143541" y="162211"/>
                    <a:pt x="140494" y="158020"/>
                  </a:cubicBezTo>
                  <a:cubicBezTo>
                    <a:pt x="137350" y="153829"/>
                    <a:pt x="133159" y="150209"/>
                    <a:pt x="127825" y="147066"/>
                  </a:cubicBezTo>
                  <a:cubicBezTo>
                    <a:pt x="122491" y="143923"/>
                    <a:pt x="116300" y="141161"/>
                    <a:pt x="109251" y="138779"/>
                  </a:cubicBezTo>
                  <a:cubicBezTo>
                    <a:pt x="102298" y="136398"/>
                    <a:pt x="95059" y="134207"/>
                    <a:pt x="87630" y="132112"/>
                  </a:cubicBezTo>
                  <a:cubicBezTo>
                    <a:pt x="78676" y="129445"/>
                    <a:pt x="69722" y="126492"/>
                    <a:pt x="60579" y="123444"/>
                  </a:cubicBezTo>
                  <a:cubicBezTo>
                    <a:pt x="51530" y="120301"/>
                    <a:pt x="43339" y="116396"/>
                    <a:pt x="36004" y="111633"/>
                  </a:cubicBezTo>
                  <a:cubicBezTo>
                    <a:pt x="28670" y="106871"/>
                    <a:pt x="22764" y="100870"/>
                    <a:pt x="18192" y="93726"/>
                  </a:cubicBezTo>
                  <a:cubicBezTo>
                    <a:pt x="13525" y="86582"/>
                    <a:pt x="11239" y="77629"/>
                    <a:pt x="11239" y="66961"/>
                  </a:cubicBezTo>
                  <a:lnTo>
                    <a:pt x="11239" y="66008"/>
                  </a:lnTo>
                  <a:cubicBezTo>
                    <a:pt x="11239" y="56198"/>
                    <a:pt x="13144" y="47149"/>
                    <a:pt x="17050" y="39053"/>
                  </a:cubicBezTo>
                  <a:cubicBezTo>
                    <a:pt x="20955" y="30861"/>
                    <a:pt x="26384" y="23908"/>
                    <a:pt x="33338" y="18098"/>
                  </a:cubicBezTo>
                  <a:cubicBezTo>
                    <a:pt x="40291" y="12287"/>
                    <a:pt x="48673" y="7811"/>
                    <a:pt x="58388" y="4667"/>
                  </a:cubicBezTo>
                  <a:cubicBezTo>
                    <a:pt x="68008" y="1524"/>
                    <a:pt x="78581" y="0"/>
                    <a:pt x="89821" y="0"/>
                  </a:cubicBezTo>
                  <a:cubicBezTo>
                    <a:pt x="104108" y="0"/>
                    <a:pt x="118586" y="2286"/>
                    <a:pt x="133159" y="6953"/>
                  </a:cubicBezTo>
                  <a:cubicBezTo>
                    <a:pt x="147732" y="11621"/>
                    <a:pt x="160972" y="17717"/>
                    <a:pt x="172878" y="25527"/>
                  </a:cubicBezTo>
                  <a:lnTo>
                    <a:pt x="157257" y="51435"/>
                  </a:lnTo>
                  <a:cubicBezTo>
                    <a:pt x="146494" y="44577"/>
                    <a:pt x="135255" y="39148"/>
                    <a:pt x="123539" y="35147"/>
                  </a:cubicBezTo>
                  <a:cubicBezTo>
                    <a:pt x="111823" y="31147"/>
                    <a:pt x="100203" y="29146"/>
                    <a:pt x="88963" y="29146"/>
                  </a:cubicBezTo>
                  <a:cubicBezTo>
                    <a:pt x="75247" y="29146"/>
                    <a:pt x="64389" y="32385"/>
                    <a:pt x="56388" y="38767"/>
                  </a:cubicBezTo>
                  <a:cubicBezTo>
                    <a:pt x="48291" y="45149"/>
                    <a:pt x="44291" y="53150"/>
                    <a:pt x="44291" y="62675"/>
                  </a:cubicBezTo>
                  <a:lnTo>
                    <a:pt x="44291" y="63627"/>
                  </a:lnTo>
                  <a:cubicBezTo>
                    <a:pt x="44291" y="68961"/>
                    <a:pt x="45910" y="73628"/>
                    <a:pt x="49244" y="77724"/>
                  </a:cubicBezTo>
                  <a:cubicBezTo>
                    <a:pt x="52482" y="81725"/>
                    <a:pt x="56864" y="85249"/>
                    <a:pt x="62389" y="88202"/>
                  </a:cubicBezTo>
                  <a:cubicBezTo>
                    <a:pt x="67913" y="91154"/>
                    <a:pt x="74200" y="93821"/>
                    <a:pt x="81343" y="96203"/>
                  </a:cubicBezTo>
                  <a:cubicBezTo>
                    <a:pt x="88487" y="98584"/>
                    <a:pt x="95916" y="100965"/>
                    <a:pt x="103631" y="103346"/>
                  </a:cubicBezTo>
                  <a:cubicBezTo>
                    <a:pt x="112585" y="106013"/>
                    <a:pt x="121444" y="108966"/>
                    <a:pt x="130207" y="112300"/>
                  </a:cubicBezTo>
                  <a:cubicBezTo>
                    <a:pt x="138969" y="115538"/>
                    <a:pt x="146971" y="119729"/>
                    <a:pt x="154114" y="124778"/>
                  </a:cubicBezTo>
                  <a:cubicBezTo>
                    <a:pt x="161258" y="129826"/>
                    <a:pt x="166973" y="135922"/>
                    <a:pt x="171259" y="143066"/>
                  </a:cubicBezTo>
                  <a:cubicBezTo>
                    <a:pt x="175546" y="150209"/>
                    <a:pt x="177736" y="158972"/>
                    <a:pt x="177736" y="169450"/>
                  </a:cubicBezTo>
                  <a:lnTo>
                    <a:pt x="177736" y="170307"/>
                  </a:lnTo>
                  <a:cubicBezTo>
                    <a:pt x="177736" y="181356"/>
                    <a:pt x="175546" y="191071"/>
                    <a:pt x="171259" y="199549"/>
                  </a:cubicBezTo>
                  <a:cubicBezTo>
                    <a:pt x="166973" y="208026"/>
                    <a:pt x="161163" y="215265"/>
                    <a:pt x="153828" y="221171"/>
                  </a:cubicBezTo>
                  <a:cubicBezTo>
                    <a:pt x="146589" y="227171"/>
                    <a:pt x="137922" y="231648"/>
                    <a:pt x="127921" y="234791"/>
                  </a:cubicBezTo>
                  <a:cubicBezTo>
                    <a:pt x="117919" y="237935"/>
                    <a:pt x="107156" y="239459"/>
                    <a:pt x="95535" y="239459"/>
                  </a:cubicBezTo>
                  <a:close/>
                </a:path>
              </a:pathLst>
            </a:custGeom>
            <a:solidFill>
              <a:srgbClr val="44505E"/>
            </a:solidFill>
            <a:ln w="9525" cap="flat">
              <a:noFill/>
              <a:prstDash val="solid"/>
              <a:miter/>
            </a:ln>
          </p:spPr>
          <p:txBody>
            <a:bodyPr rtlCol="0" anchor="ctr"/>
            <a:lstStyle/>
            <a:p>
              <a:endParaRPr lang="pt-BR" noProof="0"/>
            </a:p>
          </p:txBody>
        </p:sp>
        <p:sp>
          <p:nvSpPr>
            <p:cNvPr id="93" name="Freeform: Shape 54">
              <a:extLst>
                <a:ext uri="{FF2B5EF4-FFF2-40B4-BE49-F238E27FC236}">
                  <a16:creationId xmlns:a16="http://schemas.microsoft.com/office/drawing/2014/main" id="{3AE9CB37-3038-1D27-BE6A-C803CD248475}"/>
                </a:ext>
              </a:extLst>
            </p:cNvPr>
            <p:cNvSpPr/>
            <p:nvPr/>
          </p:nvSpPr>
          <p:spPr>
            <a:xfrm>
              <a:off x="5250320" y="846952"/>
              <a:ext cx="1459036" cy="16186"/>
            </a:xfrm>
            <a:custGeom>
              <a:avLst/>
              <a:gdLst>
                <a:gd name="connsiteX0" fmla="*/ 0 w 5804058"/>
                <a:gd name="connsiteY0" fmla="*/ 0 h 64388"/>
                <a:gd name="connsiteX1" fmla="*/ 5804059 w 5804058"/>
                <a:gd name="connsiteY1" fmla="*/ 0 h 64388"/>
                <a:gd name="connsiteX2" fmla="*/ 5804059 w 5804058"/>
                <a:gd name="connsiteY2" fmla="*/ 64389 h 64388"/>
                <a:gd name="connsiteX3" fmla="*/ 0 w 5804058"/>
                <a:gd name="connsiteY3" fmla="*/ 64389 h 64388"/>
              </a:gdLst>
              <a:ahLst/>
              <a:cxnLst>
                <a:cxn ang="0">
                  <a:pos x="connsiteX0" y="connsiteY0"/>
                </a:cxn>
                <a:cxn ang="0">
                  <a:pos x="connsiteX1" y="connsiteY1"/>
                </a:cxn>
                <a:cxn ang="0">
                  <a:pos x="connsiteX2" y="connsiteY2"/>
                </a:cxn>
                <a:cxn ang="0">
                  <a:pos x="connsiteX3" y="connsiteY3"/>
                </a:cxn>
              </a:cxnLst>
              <a:rect l="l" t="t" r="r" b="b"/>
              <a:pathLst>
                <a:path w="5804058" h="64388">
                  <a:moveTo>
                    <a:pt x="0" y="0"/>
                  </a:moveTo>
                  <a:lnTo>
                    <a:pt x="5804059" y="0"/>
                  </a:lnTo>
                  <a:lnTo>
                    <a:pt x="5804059" y="64389"/>
                  </a:lnTo>
                  <a:lnTo>
                    <a:pt x="0" y="64389"/>
                  </a:lnTo>
                  <a:close/>
                </a:path>
              </a:pathLst>
            </a:custGeom>
            <a:solidFill>
              <a:srgbClr val="44505E"/>
            </a:solidFill>
            <a:ln w="9525" cap="flat">
              <a:noFill/>
              <a:prstDash val="solid"/>
              <a:miter/>
            </a:ln>
          </p:spPr>
          <p:txBody>
            <a:bodyPr rtlCol="0" anchor="ctr"/>
            <a:lstStyle/>
            <a:p>
              <a:endParaRPr lang="pt-BR" noProof="0"/>
            </a:p>
          </p:txBody>
        </p:sp>
        <p:sp>
          <p:nvSpPr>
            <p:cNvPr id="94" name="Freeform: Shape 55">
              <a:extLst>
                <a:ext uri="{FF2B5EF4-FFF2-40B4-BE49-F238E27FC236}">
                  <a16:creationId xmlns:a16="http://schemas.microsoft.com/office/drawing/2014/main" id="{59EEFD15-CC74-AABD-E43C-C1EACAA79573}"/>
                </a:ext>
              </a:extLst>
            </p:cNvPr>
            <p:cNvSpPr/>
            <p:nvPr/>
          </p:nvSpPr>
          <p:spPr>
            <a:xfrm>
              <a:off x="6902633" y="268821"/>
              <a:ext cx="273418" cy="601046"/>
            </a:xfrm>
            <a:custGeom>
              <a:avLst/>
              <a:gdLst>
                <a:gd name="connsiteX0" fmla="*/ 0 w 1087659"/>
                <a:gd name="connsiteY0" fmla="*/ 210979 h 2390965"/>
                <a:gd name="connsiteX1" fmla="*/ 125063 w 1087659"/>
                <a:gd name="connsiteY1" fmla="*/ 103442 h 2390965"/>
                <a:gd name="connsiteX2" fmla="*/ 250031 w 1087659"/>
                <a:gd name="connsiteY2" fmla="*/ 210979 h 2390965"/>
                <a:gd name="connsiteX3" fmla="*/ 250031 w 1087659"/>
                <a:gd name="connsiteY3" fmla="*/ 1922717 h 2390965"/>
                <a:gd name="connsiteX4" fmla="*/ 249841 w 1087659"/>
                <a:gd name="connsiteY4" fmla="*/ 1922717 h 2390965"/>
                <a:gd name="connsiteX5" fmla="*/ 249841 w 1087659"/>
                <a:gd name="connsiteY5" fmla="*/ 1925955 h 2390965"/>
                <a:gd name="connsiteX6" fmla="*/ 333756 w 1087659"/>
                <a:gd name="connsiteY6" fmla="*/ 2100263 h 2390965"/>
                <a:gd name="connsiteX7" fmla="*/ 335566 w 1087659"/>
                <a:gd name="connsiteY7" fmla="*/ 2101787 h 2390965"/>
                <a:gd name="connsiteX8" fmla="*/ 336042 w 1087659"/>
                <a:gd name="connsiteY8" fmla="*/ 2102168 h 2390965"/>
                <a:gd name="connsiteX9" fmla="*/ 543877 w 1087659"/>
                <a:gd name="connsiteY9" fmla="*/ 2175891 h 2390965"/>
                <a:gd name="connsiteX10" fmla="*/ 749998 w 1087659"/>
                <a:gd name="connsiteY10" fmla="*/ 2103692 h 2390965"/>
                <a:gd name="connsiteX11" fmla="*/ 751713 w 1087659"/>
                <a:gd name="connsiteY11" fmla="*/ 2102168 h 2390965"/>
                <a:gd name="connsiteX12" fmla="*/ 752189 w 1087659"/>
                <a:gd name="connsiteY12" fmla="*/ 2101787 h 2390965"/>
                <a:gd name="connsiteX13" fmla="*/ 837819 w 1087659"/>
                <a:gd name="connsiteY13" fmla="*/ 1922812 h 2390965"/>
                <a:gd name="connsiteX14" fmla="*/ 837819 w 1087659"/>
                <a:gd name="connsiteY14" fmla="*/ 107537 h 2390965"/>
                <a:gd name="connsiteX15" fmla="*/ 962787 w 1087659"/>
                <a:gd name="connsiteY15" fmla="*/ 0 h 2390965"/>
                <a:gd name="connsiteX16" fmla="*/ 1087660 w 1087659"/>
                <a:gd name="connsiteY16" fmla="*/ 107537 h 2390965"/>
                <a:gd name="connsiteX17" fmla="*/ 1087660 w 1087659"/>
                <a:gd name="connsiteY17" fmla="*/ 1922621 h 2390965"/>
                <a:gd name="connsiteX18" fmla="*/ 928307 w 1087659"/>
                <a:gd name="connsiteY18" fmla="*/ 2253234 h 2390965"/>
                <a:gd name="connsiteX19" fmla="*/ 928116 w 1087659"/>
                <a:gd name="connsiteY19" fmla="*/ 2253424 h 2390965"/>
                <a:gd name="connsiteX20" fmla="*/ 927830 w 1087659"/>
                <a:gd name="connsiteY20" fmla="*/ 2253710 h 2390965"/>
                <a:gd name="connsiteX21" fmla="*/ 927354 w 1087659"/>
                <a:gd name="connsiteY21" fmla="*/ 2254187 h 2390965"/>
                <a:gd name="connsiteX22" fmla="*/ 543783 w 1087659"/>
                <a:gd name="connsiteY22" fmla="*/ 2390966 h 2390965"/>
                <a:gd name="connsiteX23" fmla="*/ 159734 w 1087659"/>
                <a:gd name="connsiteY23" fmla="*/ 2253710 h 2390965"/>
                <a:gd name="connsiteX24" fmla="*/ 159734 w 1087659"/>
                <a:gd name="connsiteY24" fmla="*/ 2253424 h 2390965"/>
                <a:gd name="connsiteX25" fmla="*/ 159353 w 1087659"/>
                <a:gd name="connsiteY25" fmla="*/ 2253234 h 2390965"/>
                <a:gd name="connsiteX26" fmla="*/ 158877 w 1087659"/>
                <a:gd name="connsiteY26" fmla="*/ 2252948 h 2390965"/>
                <a:gd name="connsiteX27" fmla="*/ 0 w 1087659"/>
                <a:gd name="connsiteY27" fmla="*/ 1922621 h 2390965"/>
                <a:gd name="connsiteX28" fmla="*/ 0 w 1087659"/>
                <a:gd name="connsiteY28" fmla="*/ 1922621 h 2390965"/>
                <a:gd name="connsiteX29" fmla="*/ 0 w 1087659"/>
                <a:gd name="connsiteY29" fmla="*/ 210979 h 239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87659" h="2390965">
                  <a:moveTo>
                    <a:pt x="0" y="210979"/>
                  </a:moveTo>
                  <a:cubicBezTo>
                    <a:pt x="0" y="151638"/>
                    <a:pt x="56007" y="103442"/>
                    <a:pt x="125063" y="103442"/>
                  </a:cubicBezTo>
                  <a:cubicBezTo>
                    <a:pt x="194120" y="103442"/>
                    <a:pt x="250031" y="151638"/>
                    <a:pt x="250031" y="210979"/>
                  </a:cubicBezTo>
                  <a:lnTo>
                    <a:pt x="250031" y="1922717"/>
                  </a:lnTo>
                  <a:lnTo>
                    <a:pt x="249841" y="1922717"/>
                  </a:lnTo>
                  <a:lnTo>
                    <a:pt x="249841" y="1925955"/>
                  </a:lnTo>
                  <a:cubicBezTo>
                    <a:pt x="250793" y="1994059"/>
                    <a:pt x="282797" y="2055495"/>
                    <a:pt x="333756" y="2100263"/>
                  </a:cubicBezTo>
                  <a:lnTo>
                    <a:pt x="335566" y="2101787"/>
                  </a:lnTo>
                  <a:lnTo>
                    <a:pt x="336042" y="2102168"/>
                  </a:lnTo>
                  <a:cubicBezTo>
                    <a:pt x="388906" y="2147697"/>
                    <a:pt x="462343" y="2175891"/>
                    <a:pt x="543877" y="2175891"/>
                  </a:cubicBezTo>
                  <a:cubicBezTo>
                    <a:pt x="625411" y="2175891"/>
                    <a:pt x="697420" y="2148364"/>
                    <a:pt x="749998" y="2103692"/>
                  </a:cubicBezTo>
                  <a:lnTo>
                    <a:pt x="751713" y="2102168"/>
                  </a:lnTo>
                  <a:lnTo>
                    <a:pt x="752189" y="2101787"/>
                  </a:lnTo>
                  <a:cubicBezTo>
                    <a:pt x="805053" y="2056352"/>
                    <a:pt x="837819" y="1993011"/>
                    <a:pt x="837819" y="1922812"/>
                  </a:cubicBezTo>
                  <a:lnTo>
                    <a:pt x="837819" y="107537"/>
                  </a:lnTo>
                  <a:cubicBezTo>
                    <a:pt x="837819" y="48196"/>
                    <a:pt x="893731" y="0"/>
                    <a:pt x="962787" y="0"/>
                  </a:cubicBezTo>
                  <a:cubicBezTo>
                    <a:pt x="1031843" y="0"/>
                    <a:pt x="1087660" y="48196"/>
                    <a:pt x="1087660" y="107537"/>
                  </a:cubicBezTo>
                  <a:lnTo>
                    <a:pt x="1087660" y="1922621"/>
                  </a:lnTo>
                  <a:cubicBezTo>
                    <a:pt x="1087660" y="2051399"/>
                    <a:pt x="1026795" y="2168366"/>
                    <a:pt x="928307" y="2253234"/>
                  </a:cubicBezTo>
                  <a:lnTo>
                    <a:pt x="928116" y="2253424"/>
                  </a:lnTo>
                  <a:lnTo>
                    <a:pt x="927830" y="2253710"/>
                  </a:lnTo>
                  <a:lnTo>
                    <a:pt x="927354" y="2254187"/>
                  </a:lnTo>
                  <a:cubicBezTo>
                    <a:pt x="828770" y="2338673"/>
                    <a:pt x="693134" y="2390966"/>
                    <a:pt x="543783" y="2390966"/>
                  </a:cubicBezTo>
                  <a:cubicBezTo>
                    <a:pt x="394430" y="2390966"/>
                    <a:pt x="258413" y="2338483"/>
                    <a:pt x="159734" y="2253710"/>
                  </a:cubicBezTo>
                  <a:lnTo>
                    <a:pt x="159734" y="2253424"/>
                  </a:lnTo>
                  <a:cubicBezTo>
                    <a:pt x="159734" y="2253424"/>
                    <a:pt x="159353" y="2253234"/>
                    <a:pt x="159353" y="2253234"/>
                  </a:cubicBezTo>
                  <a:lnTo>
                    <a:pt x="158877" y="2252948"/>
                  </a:lnTo>
                  <a:cubicBezTo>
                    <a:pt x="60770" y="2167985"/>
                    <a:pt x="0" y="2051304"/>
                    <a:pt x="0" y="1922621"/>
                  </a:cubicBezTo>
                  <a:lnTo>
                    <a:pt x="0" y="1922621"/>
                  </a:lnTo>
                  <a:lnTo>
                    <a:pt x="0" y="210979"/>
                  </a:lnTo>
                  <a:close/>
                </a:path>
              </a:pathLst>
            </a:custGeom>
            <a:solidFill>
              <a:srgbClr val="8FC640"/>
            </a:solidFill>
            <a:ln w="9525" cap="flat">
              <a:noFill/>
              <a:prstDash val="solid"/>
              <a:miter/>
            </a:ln>
          </p:spPr>
          <p:txBody>
            <a:bodyPr rtlCol="0" anchor="ctr"/>
            <a:lstStyle/>
            <a:p>
              <a:endParaRPr lang="pt-BR" noProof="0"/>
            </a:p>
          </p:txBody>
        </p:sp>
        <p:sp>
          <p:nvSpPr>
            <p:cNvPr id="95" name="Freeform: Shape 56">
              <a:extLst>
                <a:ext uri="{FF2B5EF4-FFF2-40B4-BE49-F238E27FC236}">
                  <a16:creationId xmlns:a16="http://schemas.microsoft.com/office/drawing/2014/main" id="{9B063287-5EC3-823B-117B-401CBB2CBC1F}"/>
                </a:ext>
              </a:extLst>
            </p:cNvPr>
            <p:cNvSpPr/>
            <p:nvPr/>
          </p:nvSpPr>
          <p:spPr>
            <a:xfrm>
              <a:off x="7013590" y="213965"/>
              <a:ext cx="54018" cy="562280"/>
            </a:xfrm>
            <a:custGeom>
              <a:avLst/>
              <a:gdLst>
                <a:gd name="connsiteX0" fmla="*/ 0 w 214883"/>
                <a:gd name="connsiteY0" fmla="*/ 107537 h 2236755"/>
                <a:gd name="connsiteX1" fmla="*/ 107537 w 214883"/>
                <a:gd name="connsiteY1" fmla="*/ 0 h 2236755"/>
                <a:gd name="connsiteX2" fmla="*/ 214884 w 214883"/>
                <a:gd name="connsiteY2" fmla="*/ 107537 h 2236755"/>
                <a:gd name="connsiteX3" fmla="*/ 214884 w 214883"/>
                <a:gd name="connsiteY3" fmla="*/ 2129219 h 2236755"/>
                <a:gd name="connsiteX4" fmla="*/ 107537 w 214883"/>
                <a:gd name="connsiteY4" fmla="*/ 2236756 h 2236755"/>
                <a:gd name="connsiteX5" fmla="*/ 0 w 214883"/>
                <a:gd name="connsiteY5" fmla="*/ 2129219 h 2236755"/>
                <a:gd name="connsiteX6" fmla="*/ 0 w 214883"/>
                <a:gd name="connsiteY6" fmla="*/ 107537 h 223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 h="2236755">
                  <a:moveTo>
                    <a:pt x="0" y="107537"/>
                  </a:moveTo>
                  <a:cubicBezTo>
                    <a:pt x="0" y="48197"/>
                    <a:pt x="48101" y="0"/>
                    <a:pt x="107537" y="0"/>
                  </a:cubicBezTo>
                  <a:cubicBezTo>
                    <a:pt x="166973" y="0"/>
                    <a:pt x="214884" y="48197"/>
                    <a:pt x="214884" y="107537"/>
                  </a:cubicBezTo>
                  <a:lnTo>
                    <a:pt x="214884" y="2129219"/>
                  </a:lnTo>
                  <a:cubicBezTo>
                    <a:pt x="214884" y="2188559"/>
                    <a:pt x="166782" y="2236756"/>
                    <a:pt x="107537" y="2236756"/>
                  </a:cubicBezTo>
                  <a:cubicBezTo>
                    <a:pt x="48291" y="2236756"/>
                    <a:pt x="0" y="2188559"/>
                    <a:pt x="0" y="2129219"/>
                  </a:cubicBezTo>
                  <a:lnTo>
                    <a:pt x="0" y="107537"/>
                  </a:lnTo>
                  <a:close/>
                </a:path>
              </a:pathLst>
            </a:custGeom>
            <a:solidFill>
              <a:srgbClr val="3698B0"/>
            </a:solidFill>
            <a:ln w="9525" cap="flat">
              <a:noFill/>
              <a:prstDash val="solid"/>
              <a:miter/>
            </a:ln>
          </p:spPr>
          <p:txBody>
            <a:bodyPr rtlCol="0" anchor="ctr"/>
            <a:lstStyle/>
            <a:p>
              <a:endParaRPr lang="pt-BR" noProof="0"/>
            </a:p>
          </p:txBody>
        </p:sp>
        <p:sp>
          <p:nvSpPr>
            <p:cNvPr id="96" name="Freeform: Shape 57">
              <a:extLst>
                <a:ext uri="{FF2B5EF4-FFF2-40B4-BE49-F238E27FC236}">
                  <a16:creationId xmlns:a16="http://schemas.microsoft.com/office/drawing/2014/main" id="{08AD8D97-9E59-AA01-46D5-C43E790F9747}"/>
                </a:ext>
              </a:extLst>
            </p:cNvPr>
            <p:cNvSpPr/>
            <p:nvPr/>
          </p:nvSpPr>
          <p:spPr>
            <a:xfrm>
              <a:off x="6795770" y="332991"/>
              <a:ext cx="485994" cy="649437"/>
            </a:xfrm>
            <a:custGeom>
              <a:avLst/>
              <a:gdLst>
                <a:gd name="connsiteX0" fmla="*/ 1933290 w 1933289"/>
                <a:gd name="connsiteY0" fmla="*/ 138017 h 2583465"/>
                <a:gd name="connsiteX1" fmla="*/ 1933290 w 1933289"/>
                <a:gd name="connsiteY1" fmla="*/ 1734122 h 2583465"/>
                <a:gd name="connsiteX2" fmla="*/ 1796606 w 1933289"/>
                <a:gd name="connsiteY2" fmla="*/ 2229136 h 2583465"/>
                <a:gd name="connsiteX3" fmla="*/ 977742 w 1933289"/>
                <a:gd name="connsiteY3" fmla="*/ 2583466 h 2583465"/>
                <a:gd name="connsiteX4" fmla="*/ 955357 w 1933289"/>
                <a:gd name="connsiteY4" fmla="*/ 2583466 h 2583465"/>
                <a:gd name="connsiteX5" fmla="*/ 136589 w 1933289"/>
                <a:gd name="connsiteY5" fmla="*/ 2229136 h 2583465"/>
                <a:gd name="connsiteX6" fmla="*/ 0 w 1933289"/>
                <a:gd name="connsiteY6" fmla="*/ 1734122 h 2583465"/>
                <a:gd name="connsiteX7" fmla="*/ 0 w 1933289"/>
                <a:gd name="connsiteY7" fmla="*/ 794194 h 2583465"/>
                <a:gd name="connsiteX8" fmla="*/ 137827 w 1933289"/>
                <a:gd name="connsiteY8" fmla="*/ 656273 h 2583465"/>
                <a:gd name="connsiteX9" fmla="*/ 275463 w 1933289"/>
                <a:gd name="connsiteY9" fmla="*/ 794194 h 2583465"/>
                <a:gd name="connsiteX10" fmla="*/ 275463 w 1933289"/>
                <a:gd name="connsiteY10" fmla="*/ 1734122 h 2583465"/>
                <a:gd name="connsiteX11" fmla="*/ 354235 w 1933289"/>
                <a:gd name="connsiteY11" fmla="*/ 2059686 h 2583465"/>
                <a:gd name="connsiteX12" fmla="*/ 958215 w 1933289"/>
                <a:gd name="connsiteY12" fmla="*/ 2307527 h 2583465"/>
                <a:gd name="connsiteX13" fmla="*/ 974789 w 1933289"/>
                <a:gd name="connsiteY13" fmla="*/ 2307527 h 2583465"/>
                <a:gd name="connsiteX14" fmla="*/ 1578959 w 1933289"/>
                <a:gd name="connsiteY14" fmla="*/ 2059686 h 2583465"/>
                <a:gd name="connsiteX15" fmla="*/ 1657636 w 1933289"/>
                <a:gd name="connsiteY15" fmla="*/ 1734122 h 2583465"/>
                <a:gd name="connsiteX16" fmla="*/ 1657636 w 1933289"/>
                <a:gd name="connsiteY16" fmla="*/ 138017 h 2583465"/>
                <a:gd name="connsiteX17" fmla="*/ 1795463 w 1933289"/>
                <a:gd name="connsiteY17" fmla="*/ 0 h 2583465"/>
                <a:gd name="connsiteX18" fmla="*/ 1933290 w 1933289"/>
                <a:gd name="connsiteY18" fmla="*/ 138017 h 25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3289" h="2583465">
                  <a:moveTo>
                    <a:pt x="1933290" y="138017"/>
                  </a:moveTo>
                  <a:lnTo>
                    <a:pt x="1933290" y="1734122"/>
                  </a:lnTo>
                  <a:cubicBezTo>
                    <a:pt x="1933290" y="1870996"/>
                    <a:pt x="1919002" y="2071211"/>
                    <a:pt x="1796606" y="2229136"/>
                  </a:cubicBezTo>
                  <a:cubicBezTo>
                    <a:pt x="1634395" y="2438305"/>
                    <a:pt x="1432084" y="2578703"/>
                    <a:pt x="977742" y="2583466"/>
                  </a:cubicBezTo>
                  <a:lnTo>
                    <a:pt x="955357" y="2583466"/>
                  </a:lnTo>
                  <a:cubicBezTo>
                    <a:pt x="501015" y="2578703"/>
                    <a:pt x="298704" y="2438400"/>
                    <a:pt x="136589" y="2229136"/>
                  </a:cubicBezTo>
                  <a:cubicBezTo>
                    <a:pt x="14192" y="2071211"/>
                    <a:pt x="0" y="1870996"/>
                    <a:pt x="0" y="1734122"/>
                  </a:cubicBezTo>
                  <a:lnTo>
                    <a:pt x="0" y="794194"/>
                  </a:lnTo>
                  <a:cubicBezTo>
                    <a:pt x="0" y="718185"/>
                    <a:pt x="61436" y="656273"/>
                    <a:pt x="137827" y="656273"/>
                  </a:cubicBezTo>
                  <a:cubicBezTo>
                    <a:pt x="214217" y="656273"/>
                    <a:pt x="275463" y="718185"/>
                    <a:pt x="275463" y="794194"/>
                  </a:cubicBezTo>
                  <a:lnTo>
                    <a:pt x="275463" y="1734122"/>
                  </a:lnTo>
                  <a:cubicBezTo>
                    <a:pt x="275463" y="1887188"/>
                    <a:pt x="300324" y="1990630"/>
                    <a:pt x="354235" y="2059686"/>
                  </a:cubicBezTo>
                  <a:cubicBezTo>
                    <a:pt x="476250" y="2217611"/>
                    <a:pt x="609791" y="2304479"/>
                    <a:pt x="958215" y="2307527"/>
                  </a:cubicBezTo>
                  <a:lnTo>
                    <a:pt x="974789" y="2307527"/>
                  </a:lnTo>
                  <a:cubicBezTo>
                    <a:pt x="1323499" y="2304479"/>
                    <a:pt x="1456563" y="2217611"/>
                    <a:pt x="1578959" y="2059686"/>
                  </a:cubicBezTo>
                  <a:cubicBezTo>
                    <a:pt x="1632490" y="1990630"/>
                    <a:pt x="1657636" y="1887093"/>
                    <a:pt x="1657636" y="1734122"/>
                  </a:cubicBezTo>
                  <a:lnTo>
                    <a:pt x="1657636" y="138017"/>
                  </a:lnTo>
                  <a:cubicBezTo>
                    <a:pt x="1657636" y="61531"/>
                    <a:pt x="1719453" y="0"/>
                    <a:pt x="1795463" y="0"/>
                  </a:cubicBezTo>
                  <a:cubicBezTo>
                    <a:pt x="1871472" y="0"/>
                    <a:pt x="1933290" y="61531"/>
                    <a:pt x="1933290" y="138017"/>
                  </a:cubicBezTo>
                </a:path>
              </a:pathLst>
            </a:custGeom>
            <a:solidFill>
              <a:srgbClr val="49306E"/>
            </a:solidFill>
            <a:ln w="9525" cap="flat">
              <a:noFill/>
              <a:prstDash val="solid"/>
              <a:miter/>
            </a:ln>
          </p:spPr>
          <p:txBody>
            <a:bodyPr rtlCol="0" anchor="ctr"/>
            <a:lstStyle/>
            <a:p>
              <a:endParaRPr lang="pt-BR" noProof="0"/>
            </a:p>
          </p:txBody>
        </p:sp>
      </p:grpSp>
      <p:sp>
        <p:nvSpPr>
          <p:cNvPr id="2" name="Título 1">
            <a:extLst>
              <a:ext uri="{FF2B5EF4-FFF2-40B4-BE49-F238E27FC236}">
                <a16:creationId xmlns:a16="http://schemas.microsoft.com/office/drawing/2014/main" id="{3D7CA789-1777-EA58-9AF2-10B1F18BF653}"/>
              </a:ext>
            </a:extLst>
          </p:cNvPr>
          <p:cNvSpPr txBox="1">
            <a:spLocks/>
          </p:cNvSpPr>
          <p:nvPr/>
        </p:nvSpPr>
        <p:spPr>
          <a:xfrm>
            <a:off x="2157359" y="238418"/>
            <a:ext cx="10058400" cy="631231"/>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pt-BR" sz="3600" b="1">
                <a:solidFill>
                  <a:srgbClr val="3299B1"/>
                </a:solidFill>
                <a:latin typeface="Agency FB" panose="020B0503020202020204" pitchFamily="34" charset="0"/>
              </a:rPr>
              <a:t>Agora é com você...</a:t>
            </a:r>
          </a:p>
        </p:txBody>
      </p:sp>
      <p:pic>
        <p:nvPicPr>
          <p:cNvPr id="13" name="Picture 2" descr="Paciente jovem na cama de hospital com conta-gotas | Vetor Premium">
            <a:extLst>
              <a:ext uri="{FF2B5EF4-FFF2-40B4-BE49-F238E27FC236}">
                <a16:creationId xmlns:a16="http://schemas.microsoft.com/office/drawing/2014/main" id="{919078AC-4FCF-1467-F2DC-D4018FAC6FBD}"/>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7159"/>
          <a:stretch>
            <a:fillRect/>
          </a:stretch>
        </p:blipFill>
        <p:spPr bwMode="auto">
          <a:xfrm>
            <a:off x="57101" y="1411390"/>
            <a:ext cx="2283304" cy="1846489"/>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 descr="Paciente jovem na cama de hospital com conta-gotas | Vetor Premium">
            <a:extLst>
              <a:ext uri="{FF2B5EF4-FFF2-40B4-BE49-F238E27FC236}">
                <a16:creationId xmlns:a16="http://schemas.microsoft.com/office/drawing/2014/main" id="{14AF0D86-B9A4-A845-C0D2-0C4349D1577F}"/>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921096" y="1411390"/>
            <a:ext cx="2459366" cy="1846489"/>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Paciente jovem na cama de hospital com conta-gotas | Vetor Premium">
            <a:extLst>
              <a:ext uri="{FF2B5EF4-FFF2-40B4-BE49-F238E27FC236}">
                <a16:creationId xmlns:a16="http://schemas.microsoft.com/office/drawing/2014/main" id="{4B471556-0040-557B-5603-E6D63A28F04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959011" y="1411390"/>
            <a:ext cx="2459366" cy="1846489"/>
          </a:xfrm>
          <a:prstGeom prst="rect">
            <a:avLst/>
          </a:prstGeom>
          <a:noFill/>
          <a:extLst>
            <a:ext uri="{909E8E84-426E-40DD-AFC4-6F175D3DCCD1}">
              <a14:hiddenFill xmlns:a14="http://schemas.microsoft.com/office/drawing/2010/main">
                <a:solidFill>
                  <a:srgbClr val="FFFFFF"/>
                </a:solidFill>
              </a14:hiddenFill>
            </a:ext>
          </a:extLst>
        </p:spPr>
      </p:pic>
      <p:sp>
        <p:nvSpPr>
          <p:cNvPr id="33" name="Retângulo 32">
            <a:extLst>
              <a:ext uri="{FF2B5EF4-FFF2-40B4-BE49-F238E27FC236}">
                <a16:creationId xmlns:a16="http://schemas.microsoft.com/office/drawing/2014/main" id="{70761850-A6C3-1CD2-3A69-0F7BB184B07F}"/>
              </a:ext>
            </a:extLst>
          </p:cNvPr>
          <p:cNvSpPr/>
          <p:nvPr/>
        </p:nvSpPr>
        <p:spPr>
          <a:xfrm>
            <a:off x="163666" y="1713581"/>
            <a:ext cx="1077686" cy="341846"/>
          </a:xfrm>
          <a:prstGeom prst="rect">
            <a:avLst/>
          </a:prstGeom>
          <a:solidFill>
            <a:schemeClr val="bg1">
              <a:lumMod val="65000"/>
            </a:schemeClr>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pt-BR"/>
              <a:t>Pct 1</a:t>
            </a:r>
          </a:p>
        </p:txBody>
      </p:sp>
      <p:sp>
        <p:nvSpPr>
          <p:cNvPr id="34" name="Retângulo 33">
            <a:extLst>
              <a:ext uri="{FF2B5EF4-FFF2-40B4-BE49-F238E27FC236}">
                <a16:creationId xmlns:a16="http://schemas.microsoft.com/office/drawing/2014/main" id="{ABBD36EF-198A-2155-D2C7-441C142D2BD9}"/>
              </a:ext>
            </a:extLst>
          </p:cNvPr>
          <p:cNvSpPr/>
          <p:nvPr/>
        </p:nvSpPr>
        <p:spPr>
          <a:xfrm>
            <a:off x="4192836" y="1759863"/>
            <a:ext cx="1077686" cy="341846"/>
          </a:xfrm>
          <a:prstGeom prst="rect">
            <a:avLst/>
          </a:prstGeom>
          <a:solidFill>
            <a:schemeClr val="bg1">
              <a:lumMod val="65000"/>
            </a:schemeClr>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pt-BR"/>
              <a:t>Pct 2</a:t>
            </a:r>
          </a:p>
        </p:txBody>
      </p:sp>
      <p:sp>
        <p:nvSpPr>
          <p:cNvPr id="35" name="Retângulo 34">
            <a:extLst>
              <a:ext uri="{FF2B5EF4-FFF2-40B4-BE49-F238E27FC236}">
                <a16:creationId xmlns:a16="http://schemas.microsoft.com/office/drawing/2014/main" id="{708A9827-25F0-A917-C542-32A9BAC94518}"/>
              </a:ext>
            </a:extLst>
          </p:cNvPr>
          <p:cNvSpPr/>
          <p:nvPr/>
        </p:nvSpPr>
        <p:spPr>
          <a:xfrm>
            <a:off x="8241637" y="1722547"/>
            <a:ext cx="1077686" cy="341846"/>
          </a:xfrm>
          <a:prstGeom prst="rect">
            <a:avLst/>
          </a:prstGeom>
          <a:solidFill>
            <a:schemeClr val="bg1">
              <a:lumMod val="65000"/>
            </a:schemeClr>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pt-BR"/>
              <a:t>Pct 3</a:t>
            </a:r>
          </a:p>
        </p:txBody>
      </p:sp>
      <p:pic>
        <p:nvPicPr>
          <p:cNvPr id="1032" name="Picture 2" descr="Paciente jovem na cama de hospital com conta-gotas | Vetor Premium">
            <a:extLst>
              <a:ext uri="{FF2B5EF4-FFF2-40B4-BE49-F238E27FC236}">
                <a16:creationId xmlns:a16="http://schemas.microsoft.com/office/drawing/2014/main" id="{067D3504-ED06-A4F1-0B02-46FD8873C07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811861" y="3850243"/>
            <a:ext cx="2459366" cy="1846489"/>
          </a:xfrm>
          <a:prstGeom prst="rect">
            <a:avLst/>
          </a:prstGeom>
          <a:noFill/>
          <a:extLst>
            <a:ext uri="{909E8E84-426E-40DD-AFC4-6F175D3DCCD1}">
              <a14:hiddenFill xmlns:a14="http://schemas.microsoft.com/office/drawing/2010/main">
                <a:solidFill>
                  <a:srgbClr val="FFFFFF"/>
                </a:solidFill>
              </a14:hiddenFill>
            </a:ext>
          </a:extLst>
        </p:spPr>
      </p:pic>
      <p:pic>
        <p:nvPicPr>
          <p:cNvPr id="1033" name="Picture 2" descr="Paciente jovem na cama de hospital com conta-gotas | Vetor Premium">
            <a:extLst>
              <a:ext uri="{FF2B5EF4-FFF2-40B4-BE49-F238E27FC236}">
                <a16:creationId xmlns:a16="http://schemas.microsoft.com/office/drawing/2014/main" id="{928B6713-CFF3-4C1E-A7DF-089F6759ADF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861347" y="3850243"/>
            <a:ext cx="2459366" cy="1846489"/>
          </a:xfrm>
          <a:prstGeom prst="rect">
            <a:avLst/>
          </a:prstGeom>
          <a:noFill/>
          <a:extLst>
            <a:ext uri="{909E8E84-426E-40DD-AFC4-6F175D3DCCD1}">
              <a14:hiddenFill xmlns:a14="http://schemas.microsoft.com/office/drawing/2010/main">
                <a:solidFill>
                  <a:srgbClr val="FFFFFF"/>
                </a:solidFill>
              </a14:hiddenFill>
            </a:ext>
          </a:extLst>
        </p:spPr>
      </p:pic>
      <p:sp>
        <p:nvSpPr>
          <p:cNvPr id="1035" name="Retângulo 1034">
            <a:extLst>
              <a:ext uri="{FF2B5EF4-FFF2-40B4-BE49-F238E27FC236}">
                <a16:creationId xmlns:a16="http://schemas.microsoft.com/office/drawing/2014/main" id="{8A0E0131-A063-C8D2-5705-694C12B71DFD}"/>
              </a:ext>
            </a:extLst>
          </p:cNvPr>
          <p:cNvSpPr/>
          <p:nvPr/>
        </p:nvSpPr>
        <p:spPr>
          <a:xfrm>
            <a:off x="2094487" y="4152434"/>
            <a:ext cx="1077686" cy="341846"/>
          </a:xfrm>
          <a:prstGeom prst="rect">
            <a:avLst/>
          </a:prstGeom>
          <a:solidFill>
            <a:schemeClr val="bg1">
              <a:lumMod val="65000"/>
            </a:schemeClr>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pt-BR"/>
              <a:t>Pct 4</a:t>
            </a:r>
          </a:p>
        </p:txBody>
      </p:sp>
      <p:sp>
        <p:nvSpPr>
          <p:cNvPr id="1036" name="Retângulo 1035">
            <a:extLst>
              <a:ext uri="{FF2B5EF4-FFF2-40B4-BE49-F238E27FC236}">
                <a16:creationId xmlns:a16="http://schemas.microsoft.com/office/drawing/2014/main" id="{F6EC9225-EBE3-2165-884D-EE3C5C71CE5E}"/>
              </a:ext>
            </a:extLst>
          </p:cNvPr>
          <p:cNvSpPr/>
          <p:nvPr/>
        </p:nvSpPr>
        <p:spPr>
          <a:xfrm>
            <a:off x="6133087" y="4198716"/>
            <a:ext cx="1077686" cy="341846"/>
          </a:xfrm>
          <a:prstGeom prst="rect">
            <a:avLst/>
          </a:prstGeom>
          <a:solidFill>
            <a:schemeClr val="bg1">
              <a:lumMod val="65000"/>
            </a:schemeClr>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pt-BR"/>
              <a:t>Pct 5</a:t>
            </a:r>
          </a:p>
        </p:txBody>
      </p:sp>
      <p:graphicFrame>
        <p:nvGraphicFramePr>
          <p:cNvPr id="6" name="Tabela 5">
            <a:extLst>
              <a:ext uri="{FF2B5EF4-FFF2-40B4-BE49-F238E27FC236}">
                <a16:creationId xmlns:a16="http://schemas.microsoft.com/office/drawing/2014/main" id="{6BE1E388-BAD9-97D9-66B5-5262436908FC}"/>
              </a:ext>
            </a:extLst>
          </p:cNvPr>
          <p:cNvGraphicFramePr>
            <a:graphicFrameLocks noGrp="1"/>
          </p:cNvGraphicFramePr>
          <p:nvPr/>
        </p:nvGraphicFramePr>
        <p:xfrm>
          <a:off x="2102467" y="1628374"/>
          <a:ext cx="1949779" cy="1502432"/>
        </p:xfrm>
        <a:graphic>
          <a:graphicData uri="http://schemas.openxmlformats.org/drawingml/2006/table">
            <a:tbl>
              <a:tblPr firstRow="1" bandRow="1">
                <a:tableStyleId>{5940675A-B579-460E-94D1-54222C63F5DA}</a:tableStyleId>
              </a:tblPr>
              <a:tblGrid>
                <a:gridCol w="1949779">
                  <a:extLst>
                    <a:ext uri="{9D8B030D-6E8A-4147-A177-3AD203B41FA5}">
                      <a16:colId xmlns:a16="http://schemas.microsoft.com/office/drawing/2014/main" val="4227930257"/>
                    </a:ext>
                  </a:extLst>
                </a:gridCol>
              </a:tblGrid>
              <a:tr h="375608">
                <a:tc>
                  <a:txBody>
                    <a:bodyPr/>
                    <a:lstStyle/>
                    <a:p>
                      <a:pPr algn="l"/>
                      <a:r>
                        <a:rPr lang="pt-BR" sz="1600" b="0"/>
                        <a:t>IOT em VM</a:t>
                      </a:r>
                    </a:p>
                  </a:txBody>
                  <a:tcPr anchor="ctr"/>
                </a:tc>
                <a:extLst>
                  <a:ext uri="{0D108BD9-81ED-4DB2-BD59-A6C34878D82A}">
                    <a16:rowId xmlns:a16="http://schemas.microsoft.com/office/drawing/2014/main" val="3621370972"/>
                  </a:ext>
                </a:extLst>
              </a:tr>
              <a:tr h="375608">
                <a:tc>
                  <a:txBody>
                    <a:bodyPr/>
                    <a:lstStyle/>
                    <a:p>
                      <a:pPr algn="l"/>
                      <a:r>
                        <a:rPr lang="pt-BR" sz="1600"/>
                        <a:t>CVC em VJE</a:t>
                      </a:r>
                    </a:p>
                  </a:txBody>
                  <a:tcPr anchor="ctr"/>
                </a:tc>
                <a:extLst>
                  <a:ext uri="{0D108BD9-81ED-4DB2-BD59-A6C34878D82A}">
                    <a16:rowId xmlns:a16="http://schemas.microsoft.com/office/drawing/2014/main" val="4157850081"/>
                  </a:ext>
                </a:extLst>
              </a:tr>
              <a:tr h="375608">
                <a:tc>
                  <a:txBody>
                    <a:bodyPr/>
                    <a:lstStyle/>
                    <a:p>
                      <a:pPr algn="l"/>
                      <a:r>
                        <a:rPr lang="pt-BR" sz="1600"/>
                        <a:t>CVD (inserido hoje)</a:t>
                      </a:r>
                    </a:p>
                  </a:txBody>
                  <a:tcPr anchor="ctr"/>
                </a:tc>
                <a:extLst>
                  <a:ext uri="{0D108BD9-81ED-4DB2-BD59-A6C34878D82A}">
                    <a16:rowId xmlns:a16="http://schemas.microsoft.com/office/drawing/2014/main" val="2474836016"/>
                  </a:ext>
                </a:extLst>
              </a:tr>
              <a:tr h="375608">
                <a:tc>
                  <a:txBody>
                    <a:bodyPr/>
                    <a:lstStyle/>
                    <a:p>
                      <a:pPr algn="l"/>
                      <a:r>
                        <a:rPr lang="pt-BR" sz="1600"/>
                        <a:t>Internado há 10 dias</a:t>
                      </a:r>
                    </a:p>
                  </a:txBody>
                  <a:tcPr anchor="ctr"/>
                </a:tc>
                <a:extLst>
                  <a:ext uri="{0D108BD9-81ED-4DB2-BD59-A6C34878D82A}">
                    <a16:rowId xmlns:a16="http://schemas.microsoft.com/office/drawing/2014/main" val="527511664"/>
                  </a:ext>
                </a:extLst>
              </a:tr>
            </a:tbl>
          </a:graphicData>
        </a:graphic>
      </p:graphicFrame>
      <p:graphicFrame>
        <p:nvGraphicFramePr>
          <p:cNvPr id="15" name="Tabela 14">
            <a:extLst>
              <a:ext uri="{FF2B5EF4-FFF2-40B4-BE49-F238E27FC236}">
                <a16:creationId xmlns:a16="http://schemas.microsoft.com/office/drawing/2014/main" id="{25CF19E9-66FE-DE20-42F8-7405214D2B8F}"/>
              </a:ext>
            </a:extLst>
          </p:cNvPr>
          <p:cNvGraphicFramePr>
            <a:graphicFrameLocks noGrp="1"/>
          </p:cNvGraphicFramePr>
          <p:nvPr/>
        </p:nvGraphicFramePr>
        <p:xfrm>
          <a:off x="6195976" y="1606399"/>
          <a:ext cx="1949779" cy="1502432"/>
        </p:xfrm>
        <a:graphic>
          <a:graphicData uri="http://schemas.openxmlformats.org/drawingml/2006/table">
            <a:tbl>
              <a:tblPr firstRow="1" bandRow="1">
                <a:tableStyleId>{5940675A-B579-460E-94D1-54222C63F5DA}</a:tableStyleId>
              </a:tblPr>
              <a:tblGrid>
                <a:gridCol w="1949779">
                  <a:extLst>
                    <a:ext uri="{9D8B030D-6E8A-4147-A177-3AD203B41FA5}">
                      <a16:colId xmlns:a16="http://schemas.microsoft.com/office/drawing/2014/main" val="4227930257"/>
                    </a:ext>
                  </a:extLst>
                </a:gridCol>
              </a:tblGrid>
              <a:tr h="375608">
                <a:tc>
                  <a:txBody>
                    <a:bodyPr/>
                    <a:lstStyle/>
                    <a:p>
                      <a:pPr algn="l"/>
                      <a:r>
                        <a:rPr lang="pt-BR" sz="1600" b="0"/>
                        <a:t>TQT em ar ambiente</a:t>
                      </a:r>
                    </a:p>
                  </a:txBody>
                  <a:tcPr anchor="ctr"/>
                </a:tc>
                <a:extLst>
                  <a:ext uri="{0D108BD9-81ED-4DB2-BD59-A6C34878D82A}">
                    <a16:rowId xmlns:a16="http://schemas.microsoft.com/office/drawing/2014/main" val="3621370972"/>
                  </a:ext>
                </a:extLst>
              </a:tr>
              <a:tr h="375608">
                <a:tc>
                  <a:txBody>
                    <a:bodyPr/>
                    <a:lstStyle/>
                    <a:p>
                      <a:pPr algn="l"/>
                      <a:r>
                        <a:rPr lang="pt-BR" sz="1600"/>
                        <a:t>CVC em VFD</a:t>
                      </a:r>
                    </a:p>
                  </a:txBody>
                  <a:tcPr anchor="ctr"/>
                </a:tc>
                <a:extLst>
                  <a:ext uri="{0D108BD9-81ED-4DB2-BD59-A6C34878D82A}">
                    <a16:rowId xmlns:a16="http://schemas.microsoft.com/office/drawing/2014/main" val="4157850081"/>
                  </a:ext>
                </a:extLst>
              </a:tr>
              <a:tr h="375608">
                <a:tc>
                  <a:txBody>
                    <a:bodyPr/>
                    <a:lstStyle/>
                    <a:p>
                      <a:pPr algn="l"/>
                      <a:r>
                        <a:rPr lang="pt-BR" sz="1600"/>
                        <a:t>CVD</a:t>
                      </a:r>
                    </a:p>
                  </a:txBody>
                  <a:tcPr anchor="ctr"/>
                </a:tc>
                <a:extLst>
                  <a:ext uri="{0D108BD9-81ED-4DB2-BD59-A6C34878D82A}">
                    <a16:rowId xmlns:a16="http://schemas.microsoft.com/office/drawing/2014/main" val="2474836016"/>
                  </a:ext>
                </a:extLst>
              </a:tr>
              <a:tr h="375608">
                <a:tc>
                  <a:txBody>
                    <a:bodyPr/>
                    <a:lstStyle/>
                    <a:p>
                      <a:pPr algn="l"/>
                      <a:r>
                        <a:rPr lang="pt-BR" sz="1600"/>
                        <a:t>Internado há 2 dias</a:t>
                      </a:r>
                    </a:p>
                  </a:txBody>
                  <a:tcPr anchor="ctr"/>
                </a:tc>
                <a:extLst>
                  <a:ext uri="{0D108BD9-81ED-4DB2-BD59-A6C34878D82A}">
                    <a16:rowId xmlns:a16="http://schemas.microsoft.com/office/drawing/2014/main" val="527511664"/>
                  </a:ext>
                </a:extLst>
              </a:tr>
            </a:tbl>
          </a:graphicData>
        </a:graphic>
      </p:graphicFrame>
      <p:graphicFrame>
        <p:nvGraphicFramePr>
          <p:cNvPr id="18" name="Tabela 17">
            <a:extLst>
              <a:ext uri="{FF2B5EF4-FFF2-40B4-BE49-F238E27FC236}">
                <a16:creationId xmlns:a16="http://schemas.microsoft.com/office/drawing/2014/main" id="{29706F5D-F460-83A8-C876-6058DD24E189}"/>
              </a:ext>
            </a:extLst>
          </p:cNvPr>
          <p:cNvGraphicFramePr>
            <a:graphicFrameLocks noGrp="1"/>
          </p:cNvGraphicFramePr>
          <p:nvPr/>
        </p:nvGraphicFramePr>
        <p:xfrm>
          <a:off x="4091398" y="4043597"/>
          <a:ext cx="1949779" cy="1705944"/>
        </p:xfrm>
        <a:graphic>
          <a:graphicData uri="http://schemas.openxmlformats.org/drawingml/2006/table">
            <a:tbl>
              <a:tblPr firstRow="1" bandRow="1">
                <a:tableStyleId>{5940675A-B579-460E-94D1-54222C63F5DA}</a:tableStyleId>
              </a:tblPr>
              <a:tblGrid>
                <a:gridCol w="1949779">
                  <a:extLst>
                    <a:ext uri="{9D8B030D-6E8A-4147-A177-3AD203B41FA5}">
                      <a16:colId xmlns:a16="http://schemas.microsoft.com/office/drawing/2014/main" val="4227930257"/>
                    </a:ext>
                  </a:extLst>
                </a:gridCol>
              </a:tblGrid>
              <a:tr h="375608">
                <a:tc>
                  <a:txBody>
                    <a:bodyPr/>
                    <a:lstStyle/>
                    <a:p>
                      <a:pPr algn="l"/>
                      <a:r>
                        <a:rPr lang="pt-BR" sz="1600" b="0"/>
                        <a:t>IOT em VM</a:t>
                      </a:r>
                    </a:p>
                  </a:txBody>
                  <a:tcPr anchor="ctr"/>
                </a:tc>
                <a:extLst>
                  <a:ext uri="{0D108BD9-81ED-4DB2-BD59-A6C34878D82A}">
                    <a16:rowId xmlns:a16="http://schemas.microsoft.com/office/drawing/2014/main" val="3621370972"/>
                  </a:ext>
                </a:extLst>
              </a:tr>
              <a:tr h="375608">
                <a:tc>
                  <a:txBody>
                    <a:bodyPr/>
                    <a:lstStyle/>
                    <a:p>
                      <a:pPr algn="l"/>
                      <a:r>
                        <a:rPr lang="pt-BR" sz="1600"/>
                        <a:t>CVC em VJE</a:t>
                      </a:r>
                    </a:p>
                  </a:txBody>
                  <a:tcPr anchor="ctr"/>
                </a:tc>
                <a:extLst>
                  <a:ext uri="{0D108BD9-81ED-4DB2-BD59-A6C34878D82A}">
                    <a16:rowId xmlns:a16="http://schemas.microsoft.com/office/drawing/2014/main" val="4157850081"/>
                  </a:ext>
                </a:extLst>
              </a:tr>
              <a:tr h="375608">
                <a:tc>
                  <a:txBody>
                    <a:bodyPr/>
                    <a:lstStyle/>
                    <a:p>
                      <a:pPr algn="l"/>
                      <a:r>
                        <a:rPr lang="pt-BR" sz="1600"/>
                        <a:t>Nefrostomia</a:t>
                      </a:r>
                    </a:p>
                  </a:txBody>
                  <a:tcPr anchor="ctr"/>
                </a:tc>
                <a:extLst>
                  <a:ext uri="{0D108BD9-81ED-4DB2-BD59-A6C34878D82A}">
                    <a16:rowId xmlns:a16="http://schemas.microsoft.com/office/drawing/2014/main" val="2474836016"/>
                  </a:ext>
                </a:extLst>
              </a:tr>
              <a:tr h="375608">
                <a:tc>
                  <a:txBody>
                    <a:bodyPr/>
                    <a:lstStyle/>
                    <a:p>
                      <a:pPr algn="l"/>
                      <a:r>
                        <a:rPr lang="pt-BR" sz="1600"/>
                        <a:t>Admitido hoje após alta de um paciente</a:t>
                      </a:r>
                    </a:p>
                  </a:txBody>
                  <a:tcPr anchor="ctr"/>
                </a:tc>
                <a:extLst>
                  <a:ext uri="{0D108BD9-81ED-4DB2-BD59-A6C34878D82A}">
                    <a16:rowId xmlns:a16="http://schemas.microsoft.com/office/drawing/2014/main" val="527511664"/>
                  </a:ext>
                </a:extLst>
              </a:tr>
            </a:tbl>
          </a:graphicData>
        </a:graphic>
      </p:graphicFrame>
      <p:graphicFrame>
        <p:nvGraphicFramePr>
          <p:cNvPr id="21" name="Tabela 20">
            <a:extLst>
              <a:ext uri="{FF2B5EF4-FFF2-40B4-BE49-F238E27FC236}">
                <a16:creationId xmlns:a16="http://schemas.microsoft.com/office/drawing/2014/main" id="{553993D5-4104-DF05-4C16-576F934C6649}"/>
              </a:ext>
            </a:extLst>
          </p:cNvPr>
          <p:cNvGraphicFramePr>
            <a:graphicFrameLocks noGrp="1"/>
          </p:cNvGraphicFramePr>
          <p:nvPr/>
        </p:nvGraphicFramePr>
        <p:xfrm>
          <a:off x="8127283" y="4043597"/>
          <a:ext cx="1949779" cy="1705944"/>
        </p:xfrm>
        <a:graphic>
          <a:graphicData uri="http://schemas.openxmlformats.org/drawingml/2006/table">
            <a:tbl>
              <a:tblPr firstRow="1" bandRow="1">
                <a:tableStyleId>{5940675A-B579-460E-94D1-54222C63F5DA}</a:tableStyleId>
              </a:tblPr>
              <a:tblGrid>
                <a:gridCol w="1949779">
                  <a:extLst>
                    <a:ext uri="{9D8B030D-6E8A-4147-A177-3AD203B41FA5}">
                      <a16:colId xmlns:a16="http://schemas.microsoft.com/office/drawing/2014/main" val="4227930257"/>
                    </a:ext>
                  </a:extLst>
                </a:gridCol>
              </a:tblGrid>
              <a:tr h="375608">
                <a:tc>
                  <a:txBody>
                    <a:bodyPr/>
                    <a:lstStyle/>
                    <a:p>
                      <a:pPr algn="l"/>
                      <a:r>
                        <a:rPr lang="pt-BR" sz="1600" b="0"/>
                        <a:t>Ar ambiente</a:t>
                      </a:r>
                    </a:p>
                  </a:txBody>
                  <a:tcPr anchor="ctr"/>
                </a:tc>
                <a:extLst>
                  <a:ext uri="{0D108BD9-81ED-4DB2-BD59-A6C34878D82A}">
                    <a16:rowId xmlns:a16="http://schemas.microsoft.com/office/drawing/2014/main" val="3621370972"/>
                  </a:ext>
                </a:extLst>
              </a:tr>
              <a:tr h="375608">
                <a:tc>
                  <a:txBody>
                    <a:bodyPr/>
                    <a:lstStyle/>
                    <a:p>
                      <a:pPr algn="l"/>
                      <a:r>
                        <a:rPr lang="pt-BR" sz="1600"/>
                        <a:t>CVC sacado antes da sua visita</a:t>
                      </a:r>
                    </a:p>
                  </a:txBody>
                  <a:tcPr anchor="ctr"/>
                </a:tc>
                <a:extLst>
                  <a:ext uri="{0D108BD9-81ED-4DB2-BD59-A6C34878D82A}">
                    <a16:rowId xmlns:a16="http://schemas.microsoft.com/office/drawing/2014/main" val="4157850081"/>
                  </a:ext>
                </a:extLst>
              </a:tr>
              <a:tr h="375608">
                <a:tc>
                  <a:txBody>
                    <a:bodyPr/>
                    <a:lstStyle/>
                    <a:p>
                      <a:pPr algn="l"/>
                      <a:r>
                        <a:rPr lang="pt-BR" sz="1600"/>
                        <a:t>Cateter suprapúbico</a:t>
                      </a:r>
                    </a:p>
                  </a:txBody>
                  <a:tcPr anchor="ctr"/>
                </a:tc>
                <a:extLst>
                  <a:ext uri="{0D108BD9-81ED-4DB2-BD59-A6C34878D82A}">
                    <a16:rowId xmlns:a16="http://schemas.microsoft.com/office/drawing/2014/main" val="2474836016"/>
                  </a:ext>
                </a:extLst>
              </a:tr>
              <a:tr h="375608">
                <a:tc>
                  <a:txBody>
                    <a:bodyPr/>
                    <a:lstStyle/>
                    <a:p>
                      <a:pPr algn="l"/>
                      <a:r>
                        <a:rPr lang="pt-BR" sz="1600"/>
                        <a:t>Internado há 7 dias</a:t>
                      </a:r>
                    </a:p>
                  </a:txBody>
                  <a:tcPr anchor="ctr"/>
                </a:tc>
                <a:extLst>
                  <a:ext uri="{0D108BD9-81ED-4DB2-BD59-A6C34878D82A}">
                    <a16:rowId xmlns:a16="http://schemas.microsoft.com/office/drawing/2014/main" val="527511664"/>
                  </a:ext>
                </a:extLst>
              </a:tr>
            </a:tbl>
          </a:graphicData>
        </a:graphic>
      </p:graphicFrame>
      <p:graphicFrame>
        <p:nvGraphicFramePr>
          <p:cNvPr id="7" name="Tabela 6">
            <a:extLst>
              <a:ext uri="{FF2B5EF4-FFF2-40B4-BE49-F238E27FC236}">
                <a16:creationId xmlns:a16="http://schemas.microsoft.com/office/drawing/2014/main" id="{719607DA-0147-738D-8EB1-FEA780467527}"/>
              </a:ext>
            </a:extLst>
          </p:cNvPr>
          <p:cNvGraphicFramePr>
            <a:graphicFrameLocks noGrp="1"/>
          </p:cNvGraphicFramePr>
          <p:nvPr/>
        </p:nvGraphicFramePr>
        <p:xfrm>
          <a:off x="6194848" y="1606399"/>
          <a:ext cx="1949778" cy="1502432"/>
        </p:xfrm>
        <a:graphic>
          <a:graphicData uri="http://schemas.openxmlformats.org/drawingml/2006/table">
            <a:tbl>
              <a:tblPr firstRow="1" bandRow="1">
                <a:tableStyleId>{5940675A-B579-460E-94D1-54222C63F5DA}</a:tableStyleId>
              </a:tblPr>
              <a:tblGrid>
                <a:gridCol w="1949778">
                  <a:extLst>
                    <a:ext uri="{9D8B030D-6E8A-4147-A177-3AD203B41FA5}">
                      <a16:colId xmlns:a16="http://schemas.microsoft.com/office/drawing/2014/main" val="4227930257"/>
                    </a:ext>
                  </a:extLst>
                </a:gridCol>
              </a:tblGrid>
              <a:tr h="375608">
                <a:tc>
                  <a:txBody>
                    <a:bodyPr/>
                    <a:lstStyle/>
                    <a:p>
                      <a:pPr algn="l"/>
                      <a:r>
                        <a:rPr lang="pt-BR" sz="1600" b="1">
                          <a:solidFill>
                            <a:srgbClr val="FF0000"/>
                          </a:solidFill>
                        </a:rPr>
                        <a:t>0 </a:t>
                      </a:r>
                      <a:r>
                        <a:rPr lang="pt-BR" sz="1600" b="0"/>
                        <a:t>VM-dia</a:t>
                      </a:r>
                    </a:p>
                  </a:txBody>
                  <a:tcPr anchor="ctr">
                    <a:solidFill>
                      <a:schemeClr val="bg1"/>
                    </a:solidFill>
                  </a:tcPr>
                </a:tc>
                <a:extLst>
                  <a:ext uri="{0D108BD9-81ED-4DB2-BD59-A6C34878D82A}">
                    <a16:rowId xmlns:a16="http://schemas.microsoft.com/office/drawing/2014/main" val="3621370972"/>
                  </a:ext>
                </a:extLst>
              </a:tr>
              <a:tr h="375608">
                <a:tc>
                  <a:txBody>
                    <a:bodyPr/>
                    <a:lstStyle/>
                    <a:p>
                      <a:pPr algn="l"/>
                      <a:r>
                        <a:rPr lang="pt-BR" sz="1600" b="1">
                          <a:solidFill>
                            <a:srgbClr val="FF0000"/>
                          </a:solidFill>
                        </a:rPr>
                        <a:t>1 </a:t>
                      </a:r>
                      <a:r>
                        <a:rPr lang="pt-BR" sz="1600"/>
                        <a:t>CVC-dia</a:t>
                      </a:r>
                    </a:p>
                  </a:txBody>
                  <a:tcPr anchor="ctr">
                    <a:solidFill>
                      <a:schemeClr val="bg1"/>
                    </a:solidFill>
                  </a:tcPr>
                </a:tc>
                <a:extLst>
                  <a:ext uri="{0D108BD9-81ED-4DB2-BD59-A6C34878D82A}">
                    <a16:rowId xmlns:a16="http://schemas.microsoft.com/office/drawing/2014/main" val="4157850081"/>
                  </a:ext>
                </a:extLst>
              </a:tr>
              <a:tr h="375608">
                <a:tc>
                  <a:txBody>
                    <a:bodyPr/>
                    <a:lstStyle/>
                    <a:p>
                      <a:pPr algn="l"/>
                      <a:r>
                        <a:rPr lang="pt-BR" sz="1600" b="1">
                          <a:solidFill>
                            <a:srgbClr val="FF0000"/>
                          </a:solidFill>
                        </a:rPr>
                        <a:t>1 </a:t>
                      </a:r>
                      <a:r>
                        <a:rPr lang="pt-BR" sz="1600"/>
                        <a:t>CVD-dia</a:t>
                      </a:r>
                    </a:p>
                  </a:txBody>
                  <a:tcPr anchor="ctr">
                    <a:solidFill>
                      <a:schemeClr val="bg1"/>
                    </a:solidFill>
                  </a:tcPr>
                </a:tc>
                <a:extLst>
                  <a:ext uri="{0D108BD9-81ED-4DB2-BD59-A6C34878D82A}">
                    <a16:rowId xmlns:a16="http://schemas.microsoft.com/office/drawing/2014/main" val="2474836016"/>
                  </a:ext>
                </a:extLst>
              </a:tr>
              <a:tr h="37560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600" b="1" kern="1200">
                          <a:solidFill>
                            <a:srgbClr val="FF0000"/>
                          </a:solidFill>
                          <a:latin typeface="+mn-lt"/>
                          <a:ea typeface="+mn-ea"/>
                          <a:cs typeface="+mn-cs"/>
                        </a:rPr>
                        <a:t>1 </a:t>
                      </a:r>
                      <a:r>
                        <a:rPr lang="pt-BR" sz="1600" kern="1200">
                          <a:solidFill>
                            <a:schemeClr val="tx1"/>
                          </a:solidFill>
                          <a:latin typeface="+mn-lt"/>
                          <a:ea typeface="+mn-ea"/>
                          <a:cs typeface="+mn-cs"/>
                        </a:rPr>
                        <a:t>Paciente-dia</a:t>
                      </a:r>
                    </a:p>
                  </a:txBody>
                  <a:tcPr anchor="ctr">
                    <a:solidFill>
                      <a:schemeClr val="bg1"/>
                    </a:solidFill>
                  </a:tcPr>
                </a:tc>
                <a:extLst>
                  <a:ext uri="{0D108BD9-81ED-4DB2-BD59-A6C34878D82A}">
                    <a16:rowId xmlns:a16="http://schemas.microsoft.com/office/drawing/2014/main" val="774657341"/>
                  </a:ext>
                </a:extLst>
              </a:tr>
            </a:tbl>
          </a:graphicData>
        </a:graphic>
      </p:graphicFrame>
      <p:graphicFrame>
        <p:nvGraphicFramePr>
          <p:cNvPr id="9" name="Tabela 8">
            <a:extLst>
              <a:ext uri="{FF2B5EF4-FFF2-40B4-BE49-F238E27FC236}">
                <a16:creationId xmlns:a16="http://schemas.microsoft.com/office/drawing/2014/main" id="{B5F523D3-A80B-AF1B-FFE9-8CF22E53F35F}"/>
              </a:ext>
            </a:extLst>
          </p:cNvPr>
          <p:cNvGraphicFramePr>
            <a:graphicFrameLocks noGrp="1"/>
          </p:cNvGraphicFramePr>
          <p:nvPr/>
        </p:nvGraphicFramePr>
        <p:xfrm>
          <a:off x="10185120" y="1403786"/>
          <a:ext cx="1949779" cy="1909456"/>
        </p:xfrm>
        <a:graphic>
          <a:graphicData uri="http://schemas.openxmlformats.org/drawingml/2006/table">
            <a:tbl>
              <a:tblPr firstRow="1" bandRow="1">
                <a:tableStyleId>{5940675A-B579-460E-94D1-54222C63F5DA}</a:tableStyleId>
              </a:tblPr>
              <a:tblGrid>
                <a:gridCol w="1949779">
                  <a:extLst>
                    <a:ext uri="{9D8B030D-6E8A-4147-A177-3AD203B41FA5}">
                      <a16:colId xmlns:a16="http://schemas.microsoft.com/office/drawing/2014/main" val="4227930257"/>
                    </a:ext>
                  </a:extLst>
                </a:gridCol>
              </a:tblGrid>
              <a:tr h="375608">
                <a:tc>
                  <a:txBody>
                    <a:bodyPr/>
                    <a:lstStyle/>
                    <a:p>
                      <a:pPr algn="l"/>
                      <a:r>
                        <a:rPr lang="pt-BR" sz="1600" b="0"/>
                        <a:t>Em VNI</a:t>
                      </a:r>
                    </a:p>
                  </a:txBody>
                  <a:tcPr anchor="ctr"/>
                </a:tc>
                <a:extLst>
                  <a:ext uri="{0D108BD9-81ED-4DB2-BD59-A6C34878D82A}">
                    <a16:rowId xmlns:a16="http://schemas.microsoft.com/office/drawing/2014/main" val="3621370972"/>
                  </a:ext>
                </a:extLst>
              </a:tr>
              <a:tr h="37560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600"/>
                        <a:t>CVC em VSCE +Shilley em VFD</a:t>
                      </a:r>
                    </a:p>
                  </a:txBody>
                  <a:tcPr anchor="ctr"/>
                </a:tc>
                <a:extLst>
                  <a:ext uri="{0D108BD9-81ED-4DB2-BD59-A6C34878D82A}">
                    <a16:rowId xmlns:a16="http://schemas.microsoft.com/office/drawing/2014/main" val="4157850081"/>
                  </a:ext>
                </a:extLst>
              </a:tr>
              <a:tr h="375608">
                <a:tc>
                  <a:txBody>
                    <a:bodyPr/>
                    <a:lstStyle/>
                    <a:p>
                      <a:pPr algn="l"/>
                      <a:r>
                        <a:rPr lang="pt-BR" sz="1600"/>
                        <a:t>CVD sacado antes da sua visita</a:t>
                      </a:r>
                    </a:p>
                  </a:txBody>
                  <a:tcPr anchor="ctr"/>
                </a:tc>
                <a:extLst>
                  <a:ext uri="{0D108BD9-81ED-4DB2-BD59-A6C34878D82A}">
                    <a16:rowId xmlns:a16="http://schemas.microsoft.com/office/drawing/2014/main" val="2474836016"/>
                  </a:ext>
                </a:extLst>
              </a:tr>
              <a:tr h="375608">
                <a:tc>
                  <a:txBody>
                    <a:bodyPr/>
                    <a:lstStyle/>
                    <a:p>
                      <a:pPr algn="l"/>
                      <a:r>
                        <a:rPr lang="pt-BR" sz="1600"/>
                        <a:t>Internado há 5 dias</a:t>
                      </a:r>
                    </a:p>
                  </a:txBody>
                  <a:tcPr anchor="ctr"/>
                </a:tc>
                <a:extLst>
                  <a:ext uri="{0D108BD9-81ED-4DB2-BD59-A6C34878D82A}">
                    <a16:rowId xmlns:a16="http://schemas.microsoft.com/office/drawing/2014/main" val="527511664"/>
                  </a:ext>
                </a:extLst>
              </a:tr>
            </a:tbl>
          </a:graphicData>
        </a:graphic>
      </p:graphicFrame>
      <p:graphicFrame>
        <p:nvGraphicFramePr>
          <p:cNvPr id="11" name="Tabela 10">
            <a:extLst>
              <a:ext uri="{FF2B5EF4-FFF2-40B4-BE49-F238E27FC236}">
                <a16:creationId xmlns:a16="http://schemas.microsoft.com/office/drawing/2014/main" id="{874269E3-04FA-21DA-62DF-7B366BCCF3C7}"/>
              </a:ext>
            </a:extLst>
          </p:cNvPr>
          <p:cNvGraphicFramePr>
            <a:graphicFrameLocks noGrp="1"/>
          </p:cNvGraphicFramePr>
          <p:nvPr/>
        </p:nvGraphicFramePr>
        <p:xfrm>
          <a:off x="2110084" y="1628374"/>
          <a:ext cx="1949778" cy="1502432"/>
        </p:xfrm>
        <a:graphic>
          <a:graphicData uri="http://schemas.openxmlformats.org/drawingml/2006/table">
            <a:tbl>
              <a:tblPr firstRow="1" bandRow="1">
                <a:tableStyleId>{5940675A-B579-460E-94D1-54222C63F5DA}</a:tableStyleId>
              </a:tblPr>
              <a:tblGrid>
                <a:gridCol w="1949778">
                  <a:extLst>
                    <a:ext uri="{9D8B030D-6E8A-4147-A177-3AD203B41FA5}">
                      <a16:colId xmlns:a16="http://schemas.microsoft.com/office/drawing/2014/main" val="4227930257"/>
                    </a:ext>
                  </a:extLst>
                </a:gridCol>
              </a:tblGrid>
              <a:tr h="375608">
                <a:tc>
                  <a:txBody>
                    <a:bodyPr/>
                    <a:lstStyle/>
                    <a:p>
                      <a:pPr algn="l"/>
                      <a:r>
                        <a:rPr lang="pt-BR" sz="1600" b="1">
                          <a:solidFill>
                            <a:srgbClr val="FF0000"/>
                          </a:solidFill>
                        </a:rPr>
                        <a:t>1 </a:t>
                      </a:r>
                      <a:r>
                        <a:rPr lang="pt-BR" sz="1600" b="0"/>
                        <a:t>VM-dia</a:t>
                      </a:r>
                    </a:p>
                  </a:txBody>
                  <a:tcPr anchor="ctr">
                    <a:solidFill>
                      <a:schemeClr val="bg1"/>
                    </a:solidFill>
                  </a:tcPr>
                </a:tc>
                <a:extLst>
                  <a:ext uri="{0D108BD9-81ED-4DB2-BD59-A6C34878D82A}">
                    <a16:rowId xmlns:a16="http://schemas.microsoft.com/office/drawing/2014/main" val="3621370972"/>
                  </a:ext>
                </a:extLst>
              </a:tr>
              <a:tr h="375608">
                <a:tc>
                  <a:txBody>
                    <a:bodyPr/>
                    <a:lstStyle/>
                    <a:p>
                      <a:pPr algn="l"/>
                      <a:r>
                        <a:rPr lang="pt-BR" sz="1600" b="1">
                          <a:solidFill>
                            <a:srgbClr val="FF0000"/>
                          </a:solidFill>
                        </a:rPr>
                        <a:t>1 </a:t>
                      </a:r>
                      <a:r>
                        <a:rPr lang="pt-BR" sz="1600"/>
                        <a:t>CVC-dia</a:t>
                      </a:r>
                    </a:p>
                  </a:txBody>
                  <a:tcPr anchor="ctr">
                    <a:solidFill>
                      <a:schemeClr val="bg1"/>
                    </a:solidFill>
                  </a:tcPr>
                </a:tc>
                <a:extLst>
                  <a:ext uri="{0D108BD9-81ED-4DB2-BD59-A6C34878D82A}">
                    <a16:rowId xmlns:a16="http://schemas.microsoft.com/office/drawing/2014/main" val="4157850081"/>
                  </a:ext>
                </a:extLst>
              </a:tr>
              <a:tr h="375608">
                <a:tc>
                  <a:txBody>
                    <a:bodyPr/>
                    <a:lstStyle/>
                    <a:p>
                      <a:pPr algn="l"/>
                      <a:r>
                        <a:rPr lang="pt-BR" sz="1600" b="1">
                          <a:solidFill>
                            <a:srgbClr val="FF0000"/>
                          </a:solidFill>
                        </a:rPr>
                        <a:t>1 </a:t>
                      </a:r>
                      <a:r>
                        <a:rPr lang="pt-BR" sz="1600"/>
                        <a:t>CVD-dia</a:t>
                      </a:r>
                    </a:p>
                  </a:txBody>
                  <a:tcPr anchor="ctr">
                    <a:solidFill>
                      <a:schemeClr val="bg1"/>
                    </a:solidFill>
                  </a:tcPr>
                </a:tc>
                <a:extLst>
                  <a:ext uri="{0D108BD9-81ED-4DB2-BD59-A6C34878D82A}">
                    <a16:rowId xmlns:a16="http://schemas.microsoft.com/office/drawing/2014/main" val="2474836016"/>
                  </a:ext>
                </a:extLst>
              </a:tr>
              <a:tr h="37560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600" b="1" kern="1200" dirty="0">
                          <a:solidFill>
                            <a:srgbClr val="FF0000"/>
                          </a:solidFill>
                          <a:latin typeface="+mn-lt"/>
                          <a:ea typeface="+mn-ea"/>
                          <a:cs typeface="+mn-cs"/>
                        </a:rPr>
                        <a:t>1 </a:t>
                      </a:r>
                      <a:r>
                        <a:rPr lang="pt-BR" sz="1600" kern="1200" dirty="0">
                          <a:solidFill>
                            <a:schemeClr val="tx1"/>
                          </a:solidFill>
                          <a:latin typeface="+mn-lt"/>
                          <a:ea typeface="+mn-ea"/>
                          <a:cs typeface="+mn-cs"/>
                        </a:rPr>
                        <a:t>Paciente-dia</a:t>
                      </a:r>
                    </a:p>
                  </a:txBody>
                  <a:tcPr anchor="ctr">
                    <a:solidFill>
                      <a:schemeClr val="bg1"/>
                    </a:solidFill>
                  </a:tcPr>
                </a:tc>
                <a:extLst>
                  <a:ext uri="{0D108BD9-81ED-4DB2-BD59-A6C34878D82A}">
                    <a16:rowId xmlns:a16="http://schemas.microsoft.com/office/drawing/2014/main" val="774657341"/>
                  </a:ext>
                </a:extLst>
              </a:tr>
            </a:tbl>
          </a:graphicData>
        </a:graphic>
      </p:graphicFrame>
      <p:graphicFrame>
        <p:nvGraphicFramePr>
          <p:cNvPr id="14" name="Tabela 13">
            <a:extLst>
              <a:ext uri="{FF2B5EF4-FFF2-40B4-BE49-F238E27FC236}">
                <a16:creationId xmlns:a16="http://schemas.microsoft.com/office/drawing/2014/main" id="{FF0274AA-93E9-B55C-9D62-FA44931D9E48}"/>
              </a:ext>
            </a:extLst>
          </p:cNvPr>
          <p:cNvGraphicFramePr>
            <a:graphicFrameLocks noGrp="1"/>
          </p:cNvGraphicFramePr>
          <p:nvPr/>
        </p:nvGraphicFramePr>
        <p:xfrm>
          <a:off x="10192737" y="1628374"/>
          <a:ext cx="1949778" cy="1502432"/>
        </p:xfrm>
        <a:graphic>
          <a:graphicData uri="http://schemas.openxmlformats.org/drawingml/2006/table">
            <a:tbl>
              <a:tblPr firstRow="1" bandRow="1">
                <a:tableStyleId>{5940675A-B579-460E-94D1-54222C63F5DA}</a:tableStyleId>
              </a:tblPr>
              <a:tblGrid>
                <a:gridCol w="1949778">
                  <a:extLst>
                    <a:ext uri="{9D8B030D-6E8A-4147-A177-3AD203B41FA5}">
                      <a16:colId xmlns:a16="http://schemas.microsoft.com/office/drawing/2014/main" val="4227930257"/>
                    </a:ext>
                  </a:extLst>
                </a:gridCol>
              </a:tblGrid>
              <a:tr h="375608">
                <a:tc>
                  <a:txBody>
                    <a:bodyPr/>
                    <a:lstStyle/>
                    <a:p>
                      <a:pPr algn="l"/>
                      <a:r>
                        <a:rPr lang="pt-BR" sz="1600" b="1">
                          <a:solidFill>
                            <a:srgbClr val="FF0000"/>
                          </a:solidFill>
                        </a:rPr>
                        <a:t>0 </a:t>
                      </a:r>
                      <a:r>
                        <a:rPr lang="pt-BR" sz="1600" b="0"/>
                        <a:t>VM-dia</a:t>
                      </a:r>
                    </a:p>
                  </a:txBody>
                  <a:tcPr anchor="ctr">
                    <a:solidFill>
                      <a:schemeClr val="bg1"/>
                    </a:solidFill>
                  </a:tcPr>
                </a:tc>
                <a:extLst>
                  <a:ext uri="{0D108BD9-81ED-4DB2-BD59-A6C34878D82A}">
                    <a16:rowId xmlns:a16="http://schemas.microsoft.com/office/drawing/2014/main" val="3621370972"/>
                  </a:ext>
                </a:extLst>
              </a:tr>
              <a:tr h="375608">
                <a:tc>
                  <a:txBody>
                    <a:bodyPr/>
                    <a:lstStyle/>
                    <a:p>
                      <a:pPr algn="l"/>
                      <a:r>
                        <a:rPr lang="pt-BR" sz="1600" b="1">
                          <a:solidFill>
                            <a:srgbClr val="FF0000"/>
                          </a:solidFill>
                        </a:rPr>
                        <a:t>1 </a:t>
                      </a:r>
                      <a:r>
                        <a:rPr lang="pt-BR" sz="1600"/>
                        <a:t>CVC-dia</a:t>
                      </a:r>
                    </a:p>
                  </a:txBody>
                  <a:tcPr anchor="ctr">
                    <a:solidFill>
                      <a:schemeClr val="bg1"/>
                    </a:solidFill>
                  </a:tcPr>
                </a:tc>
                <a:extLst>
                  <a:ext uri="{0D108BD9-81ED-4DB2-BD59-A6C34878D82A}">
                    <a16:rowId xmlns:a16="http://schemas.microsoft.com/office/drawing/2014/main" val="4157850081"/>
                  </a:ext>
                </a:extLst>
              </a:tr>
              <a:tr h="375608">
                <a:tc>
                  <a:txBody>
                    <a:bodyPr/>
                    <a:lstStyle/>
                    <a:p>
                      <a:pPr algn="l"/>
                      <a:r>
                        <a:rPr lang="pt-BR" sz="1600" b="1">
                          <a:solidFill>
                            <a:srgbClr val="FF0000"/>
                          </a:solidFill>
                        </a:rPr>
                        <a:t>0 </a:t>
                      </a:r>
                      <a:r>
                        <a:rPr lang="pt-BR" sz="1600"/>
                        <a:t>CVD-dia</a:t>
                      </a:r>
                    </a:p>
                  </a:txBody>
                  <a:tcPr anchor="ctr">
                    <a:solidFill>
                      <a:schemeClr val="bg1"/>
                    </a:solidFill>
                  </a:tcPr>
                </a:tc>
                <a:extLst>
                  <a:ext uri="{0D108BD9-81ED-4DB2-BD59-A6C34878D82A}">
                    <a16:rowId xmlns:a16="http://schemas.microsoft.com/office/drawing/2014/main" val="2474836016"/>
                  </a:ext>
                </a:extLst>
              </a:tr>
              <a:tr h="37560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600" b="1" kern="1200">
                          <a:solidFill>
                            <a:srgbClr val="FF0000"/>
                          </a:solidFill>
                          <a:latin typeface="+mn-lt"/>
                          <a:ea typeface="+mn-ea"/>
                          <a:cs typeface="+mn-cs"/>
                        </a:rPr>
                        <a:t>1 </a:t>
                      </a:r>
                      <a:r>
                        <a:rPr lang="pt-BR" sz="1600" kern="1200">
                          <a:solidFill>
                            <a:schemeClr val="tx1"/>
                          </a:solidFill>
                          <a:latin typeface="+mn-lt"/>
                          <a:ea typeface="+mn-ea"/>
                          <a:cs typeface="+mn-cs"/>
                        </a:rPr>
                        <a:t>Paciente-dia</a:t>
                      </a:r>
                    </a:p>
                  </a:txBody>
                  <a:tcPr anchor="ctr">
                    <a:solidFill>
                      <a:schemeClr val="bg1"/>
                    </a:solidFill>
                  </a:tcPr>
                </a:tc>
                <a:extLst>
                  <a:ext uri="{0D108BD9-81ED-4DB2-BD59-A6C34878D82A}">
                    <a16:rowId xmlns:a16="http://schemas.microsoft.com/office/drawing/2014/main" val="774657341"/>
                  </a:ext>
                </a:extLst>
              </a:tr>
            </a:tbl>
          </a:graphicData>
        </a:graphic>
      </p:graphicFrame>
      <p:graphicFrame>
        <p:nvGraphicFramePr>
          <p:cNvPr id="17" name="Tabela 16">
            <a:extLst>
              <a:ext uri="{FF2B5EF4-FFF2-40B4-BE49-F238E27FC236}">
                <a16:creationId xmlns:a16="http://schemas.microsoft.com/office/drawing/2014/main" id="{A0F850A0-A729-A939-4430-1F1EB2C87694}"/>
              </a:ext>
            </a:extLst>
          </p:cNvPr>
          <p:cNvGraphicFramePr>
            <a:graphicFrameLocks noGrp="1"/>
          </p:cNvGraphicFramePr>
          <p:nvPr/>
        </p:nvGraphicFramePr>
        <p:xfrm>
          <a:off x="4091399" y="4072789"/>
          <a:ext cx="1949778" cy="1502432"/>
        </p:xfrm>
        <a:graphic>
          <a:graphicData uri="http://schemas.openxmlformats.org/drawingml/2006/table">
            <a:tbl>
              <a:tblPr firstRow="1" bandRow="1">
                <a:tableStyleId>{5940675A-B579-460E-94D1-54222C63F5DA}</a:tableStyleId>
              </a:tblPr>
              <a:tblGrid>
                <a:gridCol w="1949778">
                  <a:extLst>
                    <a:ext uri="{9D8B030D-6E8A-4147-A177-3AD203B41FA5}">
                      <a16:colId xmlns:a16="http://schemas.microsoft.com/office/drawing/2014/main" val="4227930257"/>
                    </a:ext>
                  </a:extLst>
                </a:gridCol>
              </a:tblGrid>
              <a:tr h="375608">
                <a:tc>
                  <a:txBody>
                    <a:bodyPr/>
                    <a:lstStyle/>
                    <a:p>
                      <a:pPr algn="l"/>
                      <a:r>
                        <a:rPr lang="pt-BR" sz="1600" b="1">
                          <a:solidFill>
                            <a:srgbClr val="FF0000"/>
                          </a:solidFill>
                        </a:rPr>
                        <a:t>1 </a:t>
                      </a:r>
                      <a:r>
                        <a:rPr lang="pt-BR" sz="1600" b="0"/>
                        <a:t>VM-dia</a:t>
                      </a:r>
                    </a:p>
                  </a:txBody>
                  <a:tcPr anchor="ctr">
                    <a:solidFill>
                      <a:schemeClr val="bg1"/>
                    </a:solidFill>
                  </a:tcPr>
                </a:tc>
                <a:extLst>
                  <a:ext uri="{0D108BD9-81ED-4DB2-BD59-A6C34878D82A}">
                    <a16:rowId xmlns:a16="http://schemas.microsoft.com/office/drawing/2014/main" val="3621370972"/>
                  </a:ext>
                </a:extLst>
              </a:tr>
              <a:tr h="375608">
                <a:tc>
                  <a:txBody>
                    <a:bodyPr/>
                    <a:lstStyle/>
                    <a:p>
                      <a:pPr algn="l"/>
                      <a:r>
                        <a:rPr lang="pt-BR" sz="1600" b="1">
                          <a:solidFill>
                            <a:srgbClr val="FF0000"/>
                          </a:solidFill>
                        </a:rPr>
                        <a:t>1 </a:t>
                      </a:r>
                      <a:r>
                        <a:rPr lang="pt-BR" sz="1600"/>
                        <a:t>CVC-dia</a:t>
                      </a:r>
                    </a:p>
                  </a:txBody>
                  <a:tcPr anchor="ctr">
                    <a:solidFill>
                      <a:schemeClr val="bg1"/>
                    </a:solidFill>
                  </a:tcPr>
                </a:tc>
                <a:extLst>
                  <a:ext uri="{0D108BD9-81ED-4DB2-BD59-A6C34878D82A}">
                    <a16:rowId xmlns:a16="http://schemas.microsoft.com/office/drawing/2014/main" val="4157850081"/>
                  </a:ext>
                </a:extLst>
              </a:tr>
              <a:tr h="375608">
                <a:tc>
                  <a:txBody>
                    <a:bodyPr/>
                    <a:lstStyle/>
                    <a:p>
                      <a:pPr algn="l"/>
                      <a:r>
                        <a:rPr lang="pt-BR" sz="1600" b="1">
                          <a:solidFill>
                            <a:srgbClr val="FF0000"/>
                          </a:solidFill>
                        </a:rPr>
                        <a:t>0 </a:t>
                      </a:r>
                      <a:r>
                        <a:rPr lang="pt-BR" sz="1600"/>
                        <a:t>CVD-dia</a:t>
                      </a:r>
                    </a:p>
                  </a:txBody>
                  <a:tcPr anchor="ctr">
                    <a:solidFill>
                      <a:schemeClr val="bg1"/>
                    </a:solidFill>
                  </a:tcPr>
                </a:tc>
                <a:extLst>
                  <a:ext uri="{0D108BD9-81ED-4DB2-BD59-A6C34878D82A}">
                    <a16:rowId xmlns:a16="http://schemas.microsoft.com/office/drawing/2014/main" val="2474836016"/>
                  </a:ext>
                </a:extLst>
              </a:tr>
              <a:tr h="37560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600" b="1" kern="1200">
                          <a:solidFill>
                            <a:srgbClr val="FF0000"/>
                          </a:solidFill>
                          <a:latin typeface="+mn-lt"/>
                          <a:ea typeface="+mn-ea"/>
                          <a:cs typeface="+mn-cs"/>
                        </a:rPr>
                        <a:t>1 </a:t>
                      </a:r>
                      <a:r>
                        <a:rPr lang="pt-BR" sz="1600" kern="1200">
                          <a:solidFill>
                            <a:schemeClr val="tx1"/>
                          </a:solidFill>
                          <a:latin typeface="+mn-lt"/>
                          <a:ea typeface="+mn-ea"/>
                          <a:cs typeface="+mn-cs"/>
                        </a:rPr>
                        <a:t>Paciente-dia</a:t>
                      </a:r>
                    </a:p>
                  </a:txBody>
                  <a:tcPr anchor="ctr">
                    <a:solidFill>
                      <a:schemeClr val="bg1"/>
                    </a:solidFill>
                  </a:tcPr>
                </a:tc>
                <a:extLst>
                  <a:ext uri="{0D108BD9-81ED-4DB2-BD59-A6C34878D82A}">
                    <a16:rowId xmlns:a16="http://schemas.microsoft.com/office/drawing/2014/main" val="774657341"/>
                  </a:ext>
                </a:extLst>
              </a:tr>
            </a:tbl>
          </a:graphicData>
        </a:graphic>
      </p:graphicFrame>
      <p:graphicFrame>
        <p:nvGraphicFramePr>
          <p:cNvPr id="22" name="Tabela 21">
            <a:extLst>
              <a:ext uri="{FF2B5EF4-FFF2-40B4-BE49-F238E27FC236}">
                <a16:creationId xmlns:a16="http://schemas.microsoft.com/office/drawing/2014/main" id="{14455C3F-85FF-ED9D-338A-DD7790C3D2E7}"/>
              </a:ext>
            </a:extLst>
          </p:cNvPr>
          <p:cNvGraphicFramePr>
            <a:graphicFrameLocks noGrp="1"/>
          </p:cNvGraphicFramePr>
          <p:nvPr/>
        </p:nvGraphicFramePr>
        <p:xfrm>
          <a:off x="8127283" y="4060266"/>
          <a:ext cx="1949778" cy="1502432"/>
        </p:xfrm>
        <a:graphic>
          <a:graphicData uri="http://schemas.openxmlformats.org/drawingml/2006/table">
            <a:tbl>
              <a:tblPr firstRow="1" bandRow="1">
                <a:tableStyleId>{5940675A-B579-460E-94D1-54222C63F5DA}</a:tableStyleId>
              </a:tblPr>
              <a:tblGrid>
                <a:gridCol w="1949778">
                  <a:extLst>
                    <a:ext uri="{9D8B030D-6E8A-4147-A177-3AD203B41FA5}">
                      <a16:colId xmlns:a16="http://schemas.microsoft.com/office/drawing/2014/main" val="4227930257"/>
                    </a:ext>
                  </a:extLst>
                </a:gridCol>
              </a:tblGrid>
              <a:tr h="375608">
                <a:tc>
                  <a:txBody>
                    <a:bodyPr/>
                    <a:lstStyle/>
                    <a:p>
                      <a:pPr algn="l"/>
                      <a:r>
                        <a:rPr lang="pt-BR" sz="1600" b="1">
                          <a:solidFill>
                            <a:srgbClr val="FF0000"/>
                          </a:solidFill>
                        </a:rPr>
                        <a:t>0 </a:t>
                      </a:r>
                      <a:r>
                        <a:rPr lang="pt-BR" sz="1600" b="0"/>
                        <a:t>VM-dia</a:t>
                      </a:r>
                    </a:p>
                  </a:txBody>
                  <a:tcPr anchor="ctr">
                    <a:solidFill>
                      <a:schemeClr val="bg1"/>
                    </a:solidFill>
                  </a:tcPr>
                </a:tc>
                <a:extLst>
                  <a:ext uri="{0D108BD9-81ED-4DB2-BD59-A6C34878D82A}">
                    <a16:rowId xmlns:a16="http://schemas.microsoft.com/office/drawing/2014/main" val="3621370972"/>
                  </a:ext>
                </a:extLst>
              </a:tr>
              <a:tr h="375608">
                <a:tc>
                  <a:txBody>
                    <a:bodyPr/>
                    <a:lstStyle/>
                    <a:p>
                      <a:pPr algn="l"/>
                      <a:r>
                        <a:rPr lang="pt-BR" sz="1600" b="1">
                          <a:solidFill>
                            <a:srgbClr val="FF0000"/>
                          </a:solidFill>
                        </a:rPr>
                        <a:t>0 </a:t>
                      </a:r>
                      <a:r>
                        <a:rPr lang="pt-BR" sz="1600"/>
                        <a:t>CVC-dia</a:t>
                      </a:r>
                    </a:p>
                  </a:txBody>
                  <a:tcPr anchor="ctr">
                    <a:solidFill>
                      <a:schemeClr val="bg1"/>
                    </a:solidFill>
                  </a:tcPr>
                </a:tc>
                <a:extLst>
                  <a:ext uri="{0D108BD9-81ED-4DB2-BD59-A6C34878D82A}">
                    <a16:rowId xmlns:a16="http://schemas.microsoft.com/office/drawing/2014/main" val="4157850081"/>
                  </a:ext>
                </a:extLst>
              </a:tr>
              <a:tr h="375608">
                <a:tc>
                  <a:txBody>
                    <a:bodyPr/>
                    <a:lstStyle/>
                    <a:p>
                      <a:pPr algn="l"/>
                      <a:r>
                        <a:rPr lang="pt-BR" sz="1600" b="1">
                          <a:solidFill>
                            <a:srgbClr val="FF0000"/>
                          </a:solidFill>
                        </a:rPr>
                        <a:t>0 </a:t>
                      </a:r>
                      <a:r>
                        <a:rPr lang="pt-BR" sz="1600"/>
                        <a:t>CVD-dia</a:t>
                      </a:r>
                    </a:p>
                  </a:txBody>
                  <a:tcPr anchor="ctr">
                    <a:solidFill>
                      <a:schemeClr val="bg1"/>
                    </a:solidFill>
                  </a:tcPr>
                </a:tc>
                <a:extLst>
                  <a:ext uri="{0D108BD9-81ED-4DB2-BD59-A6C34878D82A}">
                    <a16:rowId xmlns:a16="http://schemas.microsoft.com/office/drawing/2014/main" val="2474836016"/>
                  </a:ext>
                </a:extLst>
              </a:tr>
              <a:tr h="37560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600" b="1" kern="1200">
                          <a:solidFill>
                            <a:srgbClr val="FF0000"/>
                          </a:solidFill>
                          <a:latin typeface="+mn-lt"/>
                          <a:ea typeface="+mn-ea"/>
                          <a:cs typeface="+mn-cs"/>
                        </a:rPr>
                        <a:t>1 </a:t>
                      </a:r>
                      <a:r>
                        <a:rPr lang="pt-BR" sz="1600" kern="1200">
                          <a:solidFill>
                            <a:schemeClr val="tx1"/>
                          </a:solidFill>
                          <a:latin typeface="+mn-lt"/>
                          <a:ea typeface="+mn-ea"/>
                          <a:cs typeface="+mn-cs"/>
                        </a:rPr>
                        <a:t>Paciente-dia</a:t>
                      </a:r>
                    </a:p>
                  </a:txBody>
                  <a:tcPr anchor="ctr">
                    <a:solidFill>
                      <a:schemeClr val="bg1"/>
                    </a:solidFill>
                  </a:tcPr>
                </a:tc>
                <a:extLst>
                  <a:ext uri="{0D108BD9-81ED-4DB2-BD59-A6C34878D82A}">
                    <a16:rowId xmlns:a16="http://schemas.microsoft.com/office/drawing/2014/main" val="774657341"/>
                  </a:ext>
                </a:extLst>
              </a:tr>
            </a:tbl>
          </a:graphicData>
        </a:graphic>
      </p:graphicFrame>
    </p:spTree>
    <p:extLst>
      <p:ext uri="{BB962C8B-B14F-4D97-AF65-F5344CB8AC3E}">
        <p14:creationId xmlns:p14="http://schemas.microsoft.com/office/powerpoint/2010/main" val="357911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9"/>
                                          </p:stCondLst>
                                        </p:cTn>
                                        <p:tgtEl>
                                          <p:spTgt spid="6"/>
                                        </p:tgtEl>
                                        <p:attrNameLst>
                                          <p:attrName>style.visibility</p:attrName>
                                        </p:attrNameLst>
                                      </p:cBhvr>
                                      <p:to>
                                        <p:strVal val="hidden"/>
                                      </p:to>
                                    </p:set>
                                  </p:childTnLst>
                                </p:cTn>
                              </p:par>
                              <p:par>
                                <p:cTn id="7" presetID="17" presetClass="exit" presetSubtype="10" fill="hold" nodeType="withEffect">
                                  <p:stCondLst>
                                    <p:cond delay="0"/>
                                  </p:stCondLst>
                                  <p:childTnLst>
                                    <p:anim calcmode="lin" valueType="num">
                                      <p:cBhvr>
                                        <p:cTn id="8" dur="10"/>
                                        <p:tgtEl>
                                          <p:spTgt spid="15"/>
                                        </p:tgtEl>
                                        <p:attrNameLst>
                                          <p:attrName>ppt_w</p:attrName>
                                        </p:attrNameLst>
                                      </p:cBhvr>
                                      <p:tavLst>
                                        <p:tav tm="0">
                                          <p:val>
                                            <p:strVal val="ppt_w"/>
                                          </p:val>
                                        </p:tav>
                                        <p:tav tm="100000">
                                          <p:val>
                                            <p:fltVal val="0"/>
                                          </p:val>
                                        </p:tav>
                                      </p:tavLst>
                                    </p:anim>
                                    <p:anim calcmode="lin" valueType="num">
                                      <p:cBhvr>
                                        <p:cTn id="9" dur="10"/>
                                        <p:tgtEl>
                                          <p:spTgt spid="15"/>
                                        </p:tgtEl>
                                        <p:attrNameLst>
                                          <p:attrName>ppt_h</p:attrName>
                                        </p:attrNameLst>
                                      </p:cBhvr>
                                      <p:tavLst>
                                        <p:tav tm="0">
                                          <p:val>
                                            <p:strVal val="ppt_h"/>
                                          </p:val>
                                        </p:tav>
                                        <p:tav tm="100000">
                                          <p:val>
                                            <p:strVal val="ppt_h"/>
                                          </p:val>
                                        </p:tav>
                                      </p:tavLst>
                                    </p:anim>
                                    <p:set>
                                      <p:cBhvr>
                                        <p:cTn id="10" dur="1" fill="hold">
                                          <p:stCondLst>
                                            <p:cond delay="9"/>
                                          </p:stCondLst>
                                        </p:cTn>
                                        <p:tgtEl>
                                          <p:spTgt spid="15"/>
                                        </p:tgtEl>
                                        <p:attrNameLst>
                                          <p:attrName>style.visibility</p:attrName>
                                        </p:attrNameLst>
                                      </p:cBhvr>
                                      <p:to>
                                        <p:strVal val="hidden"/>
                                      </p:to>
                                    </p:set>
                                  </p:childTnLst>
                                </p:cTn>
                              </p:par>
                              <p:par>
                                <p:cTn id="11" presetID="17" presetClass="exit" presetSubtype="10" fill="hold" nodeType="withEffect">
                                  <p:stCondLst>
                                    <p:cond delay="0"/>
                                  </p:stCondLst>
                                  <p:childTnLst>
                                    <p:anim calcmode="lin" valueType="num">
                                      <p:cBhvr>
                                        <p:cTn id="12" dur="10"/>
                                        <p:tgtEl>
                                          <p:spTgt spid="9"/>
                                        </p:tgtEl>
                                        <p:attrNameLst>
                                          <p:attrName>ppt_w</p:attrName>
                                        </p:attrNameLst>
                                      </p:cBhvr>
                                      <p:tavLst>
                                        <p:tav tm="0">
                                          <p:val>
                                            <p:strVal val="ppt_w"/>
                                          </p:val>
                                        </p:tav>
                                        <p:tav tm="100000">
                                          <p:val>
                                            <p:fltVal val="0"/>
                                          </p:val>
                                        </p:tav>
                                      </p:tavLst>
                                    </p:anim>
                                    <p:anim calcmode="lin" valueType="num">
                                      <p:cBhvr>
                                        <p:cTn id="13" dur="10"/>
                                        <p:tgtEl>
                                          <p:spTgt spid="9"/>
                                        </p:tgtEl>
                                        <p:attrNameLst>
                                          <p:attrName>ppt_h</p:attrName>
                                        </p:attrNameLst>
                                      </p:cBhvr>
                                      <p:tavLst>
                                        <p:tav tm="0">
                                          <p:val>
                                            <p:strVal val="ppt_h"/>
                                          </p:val>
                                        </p:tav>
                                        <p:tav tm="100000">
                                          <p:val>
                                            <p:strVal val="ppt_h"/>
                                          </p:val>
                                        </p:tav>
                                      </p:tavLst>
                                    </p:anim>
                                    <p:set>
                                      <p:cBhvr>
                                        <p:cTn id="14" dur="1" fill="hold">
                                          <p:stCondLst>
                                            <p:cond delay="9"/>
                                          </p:stCondLst>
                                        </p:cTn>
                                        <p:tgtEl>
                                          <p:spTgt spid="9"/>
                                        </p:tgtEl>
                                        <p:attrNameLst>
                                          <p:attrName>style.visibility</p:attrName>
                                        </p:attrNameLst>
                                      </p:cBhvr>
                                      <p:to>
                                        <p:strVal val="hidden"/>
                                      </p:to>
                                    </p:set>
                                  </p:childTnLst>
                                </p:cTn>
                              </p:par>
                              <p:par>
                                <p:cTn id="15" presetID="17" presetClass="exit" presetSubtype="10" fill="hold" nodeType="withEffect">
                                  <p:stCondLst>
                                    <p:cond delay="0"/>
                                  </p:stCondLst>
                                  <p:childTnLst>
                                    <p:anim calcmode="lin" valueType="num">
                                      <p:cBhvr>
                                        <p:cTn id="16" dur="10"/>
                                        <p:tgtEl>
                                          <p:spTgt spid="18"/>
                                        </p:tgtEl>
                                        <p:attrNameLst>
                                          <p:attrName>ppt_w</p:attrName>
                                        </p:attrNameLst>
                                      </p:cBhvr>
                                      <p:tavLst>
                                        <p:tav tm="0">
                                          <p:val>
                                            <p:strVal val="ppt_w"/>
                                          </p:val>
                                        </p:tav>
                                        <p:tav tm="100000">
                                          <p:val>
                                            <p:fltVal val="0"/>
                                          </p:val>
                                        </p:tav>
                                      </p:tavLst>
                                    </p:anim>
                                    <p:anim calcmode="lin" valueType="num">
                                      <p:cBhvr>
                                        <p:cTn id="17" dur="10"/>
                                        <p:tgtEl>
                                          <p:spTgt spid="18"/>
                                        </p:tgtEl>
                                        <p:attrNameLst>
                                          <p:attrName>ppt_h</p:attrName>
                                        </p:attrNameLst>
                                      </p:cBhvr>
                                      <p:tavLst>
                                        <p:tav tm="0">
                                          <p:val>
                                            <p:strVal val="ppt_h"/>
                                          </p:val>
                                        </p:tav>
                                        <p:tav tm="100000">
                                          <p:val>
                                            <p:strVal val="ppt_h"/>
                                          </p:val>
                                        </p:tav>
                                      </p:tavLst>
                                    </p:anim>
                                    <p:set>
                                      <p:cBhvr>
                                        <p:cTn id="18" dur="1" fill="hold">
                                          <p:stCondLst>
                                            <p:cond delay="9"/>
                                          </p:stCondLst>
                                        </p:cTn>
                                        <p:tgtEl>
                                          <p:spTgt spid="18"/>
                                        </p:tgtEl>
                                        <p:attrNameLst>
                                          <p:attrName>style.visibility</p:attrName>
                                        </p:attrNameLst>
                                      </p:cBhvr>
                                      <p:to>
                                        <p:strVal val="hidden"/>
                                      </p:to>
                                    </p:set>
                                  </p:childTnLst>
                                </p:cTn>
                              </p:par>
                              <p:par>
                                <p:cTn id="19" presetID="17" presetClass="exit" presetSubtype="10" fill="hold" nodeType="withEffect">
                                  <p:stCondLst>
                                    <p:cond delay="0"/>
                                  </p:stCondLst>
                                  <p:childTnLst>
                                    <p:anim calcmode="lin" valueType="num">
                                      <p:cBhvr>
                                        <p:cTn id="20" dur="10"/>
                                        <p:tgtEl>
                                          <p:spTgt spid="21"/>
                                        </p:tgtEl>
                                        <p:attrNameLst>
                                          <p:attrName>ppt_w</p:attrName>
                                        </p:attrNameLst>
                                      </p:cBhvr>
                                      <p:tavLst>
                                        <p:tav tm="0">
                                          <p:val>
                                            <p:strVal val="ppt_w"/>
                                          </p:val>
                                        </p:tav>
                                        <p:tav tm="100000">
                                          <p:val>
                                            <p:fltVal val="0"/>
                                          </p:val>
                                        </p:tav>
                                      </p:tavLst>
                                    </p:anim>
                                    <p:anim calcmode="lin" valueType="num">
                                      <p:cBhvr>
                                        <p:cTn id="21" dur="10"/>
                                        <p:tgtEl>
                                          <p:spTgt spid="21"/>
                                        </p:tgtEl>
                                        <p:attrNameLst>
                                          <p:attrName>ppt_h</p:attrName>
                                        </p:attrNameLst>
                                      </p:cBhvr>
                                      <p:tavLst>
                                        <p:tav tm="0">
                                          <p:val>
                                            <p:strVal val="ppt_h"/>
                                          </p:val>
                                        </p:tav>
                                        <p:tav tm="100000">
                                          <p:val>
                                            <p:strVal val="ppt_h"/>
                                          </p:val>
                                        </p:tav>
                                      </p:tavLst>
                                    </p:anim>
                                    <p:set>
                                      <p:cBhvr>
                                        <p:cTn id="22" dur="1" fill="hold">
                                          <p:stCondLst>
                                            <p:cond delay="9"/>
                                          </p:stCondLst>
                                        </p:cTn>
                                        <p:tgtEl>
                                          <p:spTgt spid="21"/>
                                        </p:tgtEl>
                                        <p:attrNameLst>
                                          <p:attrName>style.visibility</p:attrName>
                                        </p:attrNameLst>
                                      </p:cBhvr>
                                      <p:to>
                                        <p:strVal val="hidden"/>
                                      </p:to>
                                    </p:set>
                                  </p:childTnLst>
                                </p:cTn>
                              </p:par>
                              <p:par>
                                <p:cTn id="23" presetID="17" presetClass="entr" presetSubtype="1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p:cTn id="25" dur="300" fill="hold"/>
                                        <p:tgtEl>
                                          <p:spTgt spid="11"/>
                                        </p:tgtEl>
                                        <p:attrNameLst>
                                          <p:attrName>ppt_w</p:attrName>
                                        </p:attrNameLst>
                                      </p:cBhvr>
                                      <p:tavLst>
                                        <p:tav tm="0">
                                          <p:val>
                                            <p:fltVal val="0"/>
                                          </p:val>
                                        </p:tav>
                                        <p:tav tm="100000">
                                          <p:val>
                                            <p:strVal val="#ppt_w"/>
                                          </p:val>
                                        </p:tav>
                                      </p:tavLst>
                                    </p:anim>
                                    <p:anim calcmode="lin" valueType="num">
                                      <p:cBhvr>
                                        <p:cTn id="26" dur="300" fill="hold"/>
                                        <p:tgtEl>
                                          <p:spTgt spid="11"/>
                                        </p:tgtEl>
                                        <p:attrNameLst>
                                          <p:attrName>ppt_h</p:attrName>
                                        </p:attrNameLst>
                                      </p:cBhvr>
                                      <p:tavLst>
                                        <p:tav tm="0">
                                          <p:val>
                                            <p:strVal val="#ppt_h"/>
                                          </p:val>
                                        </p:tav>
                                        <p:tav tm="100000">
                                          <p:val>
                                            <p:strVal val="#ppt_h"/>
                                          </p:val>
                                        </p:tav>
                                      </p:tavLst>
                                    </p:anim>
                                  </p:childTnLst>
                                </p:cTn>
                              </p:par>
                              <p:par>
                                <p:cTn id="27" presetID="17" presetClass="entr" presetSubtype="10" fill="hold" nodeType="withEffect">
                                  <p:stCondLst>
                                    <p:cond delay="0"/>
                                  </p:stCondLst>
                                  <p:childTnLst>
                                    <p:set>
                                      <p:cBhvr>
                                        <p:cTn id="28" dur="1" fill="hold">
                                          <p:stCondLst>
                                            <p:cond delay="0"/>
                                          </p:stCondLst>
                                        </p:cTn>
                                        <p:tgtEl>
                                          <p:spTgt spid="7"/>
                                        </p:tgtEl>
                                        <p:attrNameLst>
                                          <p:attrName>style.visibility</p:attrName>
                                        </p:attrNameLst>
                                      </p:cBhvr>
                                      <p:to>
                                        <p:strVal val="visible"/>
                                      </p:to>
                                    </p:set>
                                    <p:anim calcmode="lin" valueType="num">
                                      <p:cBhvr>
                                        <p:cTn id="29" dur="300" fill="hold"/>
                                        <p:tgtEl>
                                          <p:spTgt spid="7"/>
                                        </p:tgtEl>
                                        <p:attrNameLst>
                                          <p:attrName>ppt_w</p:attrName>
                                        </p:attrNameLst>
                                      </p:cBhvr>
                                      <p:tavLst>
                                        <p:tav tm="0">
                                          <p:val>
                                            <p:fltVal val="0"/>
                                          </p:val>
                                        </p:tav>
                                        <p:tav tm="100000">
                                          <p:val>
                                            <p:strVal val="#ppt_w"/>
                                          </p:val>
                                        </p:tav>
                                      </p:tavLst>
                                    </p:anim>
                                    <p:anim calcmode="lin" valueType="num">
                                      <p:cBhvr>
                                        <p:cTn id="30" dur="300" fill="hold"/>
                                        <p:tgtEl>
                                          <p:spTgt spid="7"/>
                                        </p:tgtEl>
                                        <p:attrNameLst>
                                          <p:attrName>ppt_h</p:attrName>
                                        </p:attrNameLst>
                                      </p:cBhvr>
                                      <p:tavLst>
                                        <p:tav tm="0">
                                          <p:val>
                                            <p:strVal val="#ppt_h"/>
                                          </p:val>
                                        </p:tav>
                                        <p:tav tm="100000">
                                          <p:val>
                                            <p:strVal val="#ppt_h"/>
                                          </p:val>
                                        </p:tav>
                                      </p:tavLst>
                                    </p:anim>
                                  </p:childTnLst>
                                </p:cTn>
                              </p:par>
                              <p:par>
                                <p:cTn id="31" presetID="17" presetClass="entr" presetSubtype="10" fill="hold" nodeType="withEffect">
                                  <p:stCondLst>
                                    <p:cond delay="0"/>
                                  </p:stCondLst>
                                  <p:childTnLst>
                                    <p:set>
                                      <p:cBhvr>
                                        <p:cTn id="32" dur="1" fill="hold">
                                          <p:stCondLst>
                                            <p:cond delay="0"/>
                                          </p:stCondLst>
                                        </p:cTn>
                                        <p:tgtEl>
                                          <p:spTgt spid="14"/>
                                        </p:tgtEl>
                                        <p:attrNameLst>
                                          <p:attrName>style.visibility</p:attrName>
                                        </p:attrNameLst>
                                      </p:cBhvr>
                                      <p:to>
                                        <p:strVal val="visible"/>
                                      </p:to>
                                    </p:set>
                                    <p:anim calcmode="lin" valueType="num">
                                      <p:cBhvr>
                                        <p:cTn id="33" dur="300" fill="hold"/>
                                        <p:tgtEl>
                                          <p:spTgt spid="14"/>
                                        </p:tgtEl>
                                        <p:attrNameLst>
                                          <p:attrName>ppt_w</p:attrName>
                                        </p:attrNameLst>
                                      </p:cBhvr>
                                      <p:tavLst>
                                        <p:tav tm="0">
                                          <p:val>
                                            <p:fltVal val="0"/>
                                          </p:val>
                                        </p:tav>
                                        <p:tav tm="100000">
                                          <p:val>
                                            <p:strVal val="#ppt_w"/>
                                          </p:val>
                                        </p:tav>
                                      </p:tavLst>
                                    </p:anim>
                                    <p:anim calcmode="lin" valueType="num">
                                      <p:cBhvr>
                                        <p:cTn id="34" dur="300" fill="hold"/>
                                        <p:tgtEl>
                                          <p:spTgt spid="14"/>
                                        </p:tgtEl>
                                        <p:attrNameLst>
                                          <p:attrName>ppt_h</p:attrName>
                                        </p:attrNameLst>
                                      </p:cBhvr>
                                      <p:tavLst>
                                        <p:tav tm="0">
                                          <p:val>
                                            <p:strVal val="#ppt_h"/>
                                          </p:val>
                                        </p:tav>
                                        <p:tav tm="100000">
                                          <p:val>
                                            <p:strVal val="#ppt_h"/>
                                          </p:val>
                                        </p:tav>
                                      </p:tavLst>
                                    </p:anim>
                                  </p:childTnLst>
                                </p:cTn>
                              </p:par>
                              <p:par>
                                <p:cTn id="35" presetID="17" presetClass="entr" presetSubtype="10" fill="hold" nodeType="withEffect">
                                  <p:stCondLst>
                                    <p:cond delay="0"/>
                                  </p:stCondLst>
                                  <p:childTnLst>
                                    <p:set>
                                      <p:cBhvr>
                                        <p:cTn id="36" dur="1" fill="hold">
                                          <p:stCondLst>
                                            <p:cond delay="0"/>
                                          </p:stCondLst>
                                        </p:cTn>
                                        <p:tgtEl>
                                          <p:spTgt spid="17"/>
                                        </p:tgtEl>
                                        <p:attrNameLst>
                                          <p:attrName>style.visibility</p:attrName>
                                        </p:attrNameLst>
                                      </p:cBhvr>
                                      <p:to>
                                        <p:strVal val="visible"/>
                                      </p:to>
                                    </p:set>
                                    <p:anim calcmode="lin" valueType="num">
                                      <p:cBhvr>
                                        <p:cTn id="37" dur="300" fill="hold"/>
                                        <p:tgtEl>
                                          <p:spTgt spid="17"/>
                                        </p:tgtEl>
                                        <p:attrNameLst>
                                          <p:attrName>ppt_w</p:attrName>
                                        </p:attrNameLst>
                                      </p:cBhvr>
                                      <p:tavLst>
                                        <p:tav tm="0">
                                          <p:val>
                                            <p:fltVal val="0"/>
                                          </p:val>
                                        </p:tav>
                                        <p:tav tm="100000">
                                          <p:val>
                                            <p:strVal val="#ppt_w"/>
                                          </p:val>
                                        </p:tav>
                                      </p:tavLst>
                                    </p:anim>
                                    <p:anim calcmode="lin" valueType="num">
                                      <p:cBhvr>
                                        <p:cTn id="38" dur="300" fill="hold"/>
                                        <p:tgtEl>
                                          <p:spTgt spid="17"/>
                                        </p:tgtEl>
                                        <p:attrNameLst>
                                          <p:attrName>ppt_h</p:attrName>
                                        </p:attrNameLst>
                                      </p:cBhvr>
                                      <p:tavLst>
                                        <p:tav tm="0">
                                          <p:val>
                                            <p:strVal val="#ppt_h"/>
                                          </p:val>
                                        </p:tav>
                                        <p:tav tm="100000">
                                          <p:val>
                                            <p:strVal val="#ppt_h"/>
                                          </p:val>
                                        </p:tav>
                                      </p:tavLst>
                                    </p:anim>
                                  </p:childTnLst>
                                </p:cTn>
                              </p:par>
                              <p:par>
                                <p:cTn id="39" presetID="17" presetClass="entr" presetSubtype="10" fill="hold" nodeType="withEffect">
                                  <p:stCondLst>
                                    <p:cond delay="0"/>
                                  </p:stCondLst>
                                  <p:childTnLst>
                                    <p:set>
                                      <p:cBhvr>
                                        <p:cTn id="40" dur="1" fill="hold">
                                          <p:stCondLst>
                                            <p:cond delay="0"/>
                                          </p:stCondLst>
                                        </p:cTn>
                                        <p:tgtEl>
                                          <p:spTgt spid="22"/>
                                        </p:tgtEl>
                                        <p:attrNameLst>
                                          <p:attrName>style.visibility</p:attrName>
                                        </p:attrNameLst>
                                      </p:cBhvr>
                                      <p:to>
                                        <p:strVal val="visible"/>
                                      </p:to>
                                    </p:set>
                                    <p:anim calcmode="lin" valueType="num">
                                      <p:cBhvr>
                                        <p:cTn id="41" dur="300" fill="hold"/>
                                        <p:tgtEl>
                                          <p:spTgt spid="22"/>
                                        </p:tgtEl>
                                        <p:attrNameLst>
                                          <p:attrName>ppt_w</p:attrName>
                                        </p:attrNameLst>
                                      </p:cBhvr>
                                      <p:tavLst>
                                        <p:tav tm="0">
                                          <p:val>
                                            <p:fltVal val="0"/>
                                          </p:val>
                                        </p:tav>
                                        <p:tav tm="100000">
                                          <p:val>
                                            <p:strVal val="#ppt_w"/>
                                          </p:val>
                                        </p:tav>
                                      </p:tavLst>
                                    </p:anim>
                                    <p:anim calcmode="lin" valueType="num">
                                      <p:cBhvr>
                                        <p:cTn id="42" dur="300" fill="hold"/>
                                        <p:tgtEl>
                                          <p:spTgt spid="22"/>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2">
            <a:extLst>
              <a:ext uri="{FF2B5EF4-FFF2-40B4-BE49-F238E27FC236}">
                <a16:creationId xmlns:a16="http://schemas.microsoft.com/office/drawing/2014/main" id="{58DF7FB0-D3B4-4F04-243C-066C4E1F8850}"/>
              </a:ext>
            </a:extLst>
          </p:cNvPr>
          <p:cNvGrpSpPr/>
          <p:nvPr/>
        </p:nvGrpSpPr>
        <p:grpSpPr>
          <a:xfrm>
            <a:off x="304800" y="249455"/>
            <a:ext cx="1193800" cy="462985"/>
            <a:chOff x="5245100" y="211355"/>
            <a:chExt cx="2036664" cy="789869"/>
          </a:xfrm>
        </p:grpSpPr>
        <p:sp>
          <p:nvSpPr>
            <p:cNvPr id="3" name="Freeform: Shape 13">
              <a:extLst>
                <a:ext uri="{FF2B5EF4-FFF2-40B4-BE49-F238E27FC236}">
                  <a16:creationId xmlns:a16="http://schemas.microsoft.com/office/drawing/2014/main" id="{C994F84C-8B6B-40D4-8AA6-2E4717EDF8AB}"/>
                </a:ext>
              </a:extLst>
            </p:cNvPr>
            <p:cNvSpPr/>
            <p:nvPr/>
          </p:nvSpPr>
          <p:spPr>
            <a:xfrm>
              <a:off x="5245100" y="308520"/>
              <a:ext cx="247894" cy="322815"/>
            </a:xfrm>
            <a:custGeom>
              <a:avLst/>
              <a:gdLst>
                <a:gd name="connsiteX0" fmla="*/ 529590 w 986123"/>
                <a:gd name="connsiteY0" fmla="*/ 1284160 h 1284160"/>
                <a:gd name="connsiteX1" fmla="*/ 249650 w 986123"/>
                <a:gd name="connsiteY1" fmla="*/ 1235107 h 1284160"/>
                <a:gd name="connsiteX2" fmla="*/ 0 w 986123"/>
                <a:gd name="connsiteY2" fmla="*/ 1084421 h 1284160"/>
                <a:gd name="connsiteX3" fmla="*/ 162306 w 986123"/>
                <a:gd name="connsiteY3" fmla="*/ 890016 h 1284160"/>
                <a:gd name="connsiteX4" fmla="*/ 337947 w 986123"/>
                <a:gd name="connsiteY4" fmla="*/ 1000601 h 1284160"/>
                <a:gd name="connsiteX5" fmla="*/ 535019 w 986123"/>
                <a:gd name="connsiteY5" fmla="*/ 1041654 h 1284160"/>
                <a:gd name="connsiteX6" fmla="*/ 667893 w 986123"/>
                <a:gd name="connsiteY6" fmla="*/ 1010412 h 1284160"/>
                <a:gd name="connsiteX7" fmla="*/ 715137 w 986123"/>
                <a:gd name="connsiteY7" fmla="*/ 923925 h 1284160"/>
                <a:gd name="connsiteX8" fmla="*/ 715137 w 986123"/>
                <a:gd name="connsiteY8" fmla="*/ 920305 h 1284160"/>
                <a:gd name="connsiteX9" fmla="*/ 705326 w 986123"/>
                <a:gd name="connsiteY9" fmla="*/ 873062 h 1284160"/>
                <a:gd name="connsiteX10" fmla="*/ 667798 w 986123"/>
                <a:gd name="connsiteY10" fmla="*/ 834676 h 1284160"/>
                <a:gd name="connsiteX11" fmla="*/ 590931 w 986123"/>
                <a:gd name="connsiteY11" fmla="*/ 798957 h 1284160"/>
                <a:gd name="connsiteX12" fmla="*/ 463106 w 986123"/>
                <a:gd name="connsiteY12" fmla="*/ 761524 h 1284160"/>
                <a:gd name="connsiteX13" fmla="*/ 291465 w 986123"/>
                <a:gd name="connsiteY13" fmla="*/ 709803 h 1284160"/>
                <a:gd name="connsiteX14" fmla="*/ 160973 w 986123"/>
                <a:gd name="connsiteY14" fmla="*/ 639318 h 1284160"/>
                <a:gd name="connsiteX15" fmla="*/ 77819 w 986123"/>
                <a:gd name="connsiteY15" fmla="*/ 535019 h 1284160"/>
                <a:gd name="connsiteX16" fmla="*/ 48292 w 986123"/>
                <a:gd name="connsiteY16" fmla="*/ 379857 h 1284160"/>
                <a:gd name="connsiteX17" fmla="*/ 48292 w 986123"/>
                <a:gd name="connsiteY17" fmla="*/ 376238 h 1284160"/>
                <a:gd name="connsiteX18" fmla="*/ 80201 w 986123"/>
                <a:gd name="connsiteY18" fmla="*/ 222028 h 1284160"/>
                <a:gd name="connsiteX19" fmla="*/ 169640 w 986123"/>
                <a:gd name="connsiteY19" fmla="*/ 103441 h 1284160"/>
                <a:gd name="connsiteX20" fmla="*/ 307181 w 986123"/>
                <a:gd name="connsiteY20" fmla="*/ 26765 h 1284160"/>
                <a:gd name="connsiteX21" fmla="*/ 483394 w 986123"/>
                <a:gd name="connsiteY21" fmla="*/ 0 h 1284160"/>
                <a:gd name="connsiteX22" fmla="*/ 735711 w 986123"/>
                <a:gd name="connsiteY22" fmla="*/ 41053 h 1284160"/>
                <a:gd name="connsiteX23" fmla="*/ 946976 w 986123"/>
                <a:gd name="connsiteY23" fmla="*/ 158687 h 1284160"/>
                <a:gd name="connsiteX24" fmla="*/ 804291 w 986123"/>
                <a:gd name="connsiteY24" fmla="*/ 365569 h 1284160"/>
                <a:gd name="connsiteX25" fmla="*/ 640271 w 986123"/>
                <a:gd name="connsiteY25" fmla="*/ 275558 h 1284160"/>
                <a:gd name="connsiteX26" fmla="*/ 479774 w 986123"/>
                <a:gd name="connsiteY26" fmla="*/ 242602 h 1284160"/>
                <a:gd name="connsiteX27" fmla="*/ 359378 w 986123"/>
                <a:gd name="connsiteY27" fmla="*/ 273844 h 1284160"/>
                <a:gd name="connsiteX28" fmla="*/ 319278 w 986123"/>
                <a:gd name="connsiteY28" fmla="*/ 351377 h 1284160"/>
                <a:gd name="connsiteX29" fmla="*/ 319278 w 986123"/>
                <a:gd name="connsiteY29" fmla="*/ 354997 h 1284160"/>
                <a:gd name="connsiteX30" fmla="*/ 330899 w 986123"/>
                <a:gd name="connsiteY30" fmla="*/ 407575 h 1284160"/>
                <a:gd name="connsiteX31" fmla="*/ 372904 w 986123"/>
                <a:gd name="connsiteY31" fmla="*/ 447675 h 1284160"/>
                <a:gd name="connsiteX32" fmla="*/ 456057 w 986123"/>
                <a:gd name="connsiteY32" fmla="*/ 481489 h 1284160"/>
                <a:gd name="connsiteX33" fmla="*/ 589217 w 986123"/>
                <a:gd name="connsiteY33" fmla="*/ 518922 h 1284160"/>
                <a:gd name="connsiteX34" fmla="*/ 758190 w 986123"/>
                <a:gd name="connsiteY34" fmla="*/ 575120 h 1284160"/>
                <a:gd name="connsiteX35" fmla="*/ 883349 w 986123"/>
                <a:gd name="connsiteY35" fmla="*/ 649986 h 1284160"/>
                <a:gd name="connsiteX36" fmla="*/ 960215 w 986123"/>
                <a:gd name="connsiteY36" fmla="*/ 752570 h 1284160"/>
                <a:gd name="connsiteX37" fmla="*/ 986123 w 986123"/>
                <a:gd name="connsiteY37" fmla="*/ 893445 h 1284160"/>
                <a:gd name="connsiteX38" fmla="*/ 986123 w 986123"/>
                <a:gd name="connsiteY38" fmla="*/ 897064 h 1284160"/>
                <a:gd name="connsiteX39" fmla="*/ 952500 w 986123"/>
                <a:gd name="connsiteY39" fmla="*/ 1062038 h 1284160"/>
                <a:gd name="connsiteX40" fmla="*/ 858584 w 986123"/>
                <a:gd name="connsiteY40" fmla="*/ 1183291 h 1284160"/>
                <a:gd name="connsiteX41" fmla="*/ 714851 w 986123"/>
                <a:gd name="connsiteY41" fmla="*/ 1258157 h 1284160"/>
                <a:gd name="connsiteX42" fmla="*/ 529685 w 986123"/>
                <a:gd name="connsiteY42" fmla="*/ 1284065 h 128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6123" h="1284160">
                  <a:moveTo>
                    <a:pt x="529590" y="1284160"/>
                  </a:moveTo>
                  <a:cubicBezTo>
                    <a:pt x="434435" y="1284160"/>
                    <a:pt x="341186" y="1267777"/>
                    <a:pt x="249650" y="1235107"/>
                  </a:cubicBezTo>
                  <a:cubicBezTo>
                    <a:pt x="158115" y="1202436"/>
                    <a:pt x="74867" y="1152239"/>
                    <a:pt x="0" y="1084421"/>
                  </a:cubicBezTo>
                  <a:lnTo>
                    <a:pt x="162306" y="890016"/>
                  </a:lnTo>
                  <a:cubicBezTo>
                    <a:pt x="219361" y="936403"/>
                    <a:pt x="277844" y="973264"/>
                    <a:pt x="337947" y="1000601"/>
                  </a:cubicBezTo>
                  <a:cubicBezTo>
                    <a:pt x="397955" y="1027938"/>
                    <a:pt x="463677" y="1041654"/>
                    <a:pt x="535019" y="1041654"/>
                  </a:cubicBezTo>
                  <a:cubicBezTo>
                    <a:pt x="592074" y="1041654"/>
                    <a:pt x="636365" y="1031272"/>
                    <a:pt x="667893" y="1010412"/>
                  </a:cubicBezTo>
                  <a:cubicBezTo>
                    <a:pt x="699421" y="989647"/>
                    <a:pt x="715137" y="960787"/>
                    <a:pt x="715137" y="923925"/>
                  </a:cubicBezTo>
                  <a:lnTo>
                    <a:pt x="715137" y="920305"/>
                  </a:lnTo>
                  <a:cubicBezTo>
                    <a:pt x="715137" y="902494"/>
                    <a:pt x="711803" y="886777"/>
                    <a:pt x="705326" y="873062"/>
                  </a:cubicBezTo>
                  <a:cubicBezTo>
                    <a:pt x="698754" y="859441"/>
                    <a:pt x="686276" y="846582"/>
                    <a:pt x="667798" y="834676"/>
                  </a:cubicBezTo>
                  <a:cubicBezTo>
                    <a:pt x="649319" y="822770"/>
                    <a:pt x="623697" y="810863"/>
                    <a:pt x="590931" y="798957"/>
                  </a:cubicBezTo>
                  <a:cubicBezTo>
                    <a:pt x="558165" y="787146"/>
                    <a:pt x="515493" y="774573"/>
                    <a:pt x="463106" y="761524"/>
                  </a:cubicBezTo>
                  <a:cubicBezTo>
                    <a:pt x="399955" y="746093"/>
                    <a:pt x="342710" y="728853"/>
                    <a:pt x="291465" y="709803"/>
                  </a:cubicBezTo>
                  <a:cubicBezTo>
                    <a:pt x="240221" y="690753"/>
                    <a:pt x="196691" y="667322"/>
                    <a:pt x="160973" y="639318"/>
                  </a:cubicBezTo>
                  <a:cubicBezTo>
                    <a:pt x="125159" y="611410"/>
                    <a:pt x="97536" y="576644"/>
                    <a:pt x="77819" y="535019"/>
                  </a:cubicBezTo>
                  <a:cubicBezTo>
                    <a:pt x="58103" y="493395"/>
                    <a:pt x="48292" y="441674"/>
                    <a:pt x="48292" y="379857"/>
                  </a:cubicBezTo>
                  <a:lnTo>
                    <a:pt x="48292" y="376238"/>
                  </a:lnTo>
                  <a:cubicBezTo>
                    <a:pt x="48292" y="319183"/>
                    <a:pt x="58865" y="267748"/>
                    <a:pt x="80201" y="222028"/>
                  </a:cubicBezTo>
                  <a:cubicBezTo>
                    <a:pt x="101441" y="176308"/>
                    <a:pt x="131255" y="136779"/>
                    <a:pt x="169640" y="103441"/>
                  </a:cubicBezTo>
                  <a:cubicBezTo>
                    <a:pt x="208026" y="70199"/>
                    <a:pt x="253841" y="44577"/>
                    <a:pt x="307181" y="26765"/>
                  </a:cubicBezTo>
                  <a:cubicBezTo>
                    <a:pt x="360426" y="8953"/>
                    <a:pt x="419195" y="0"/>
                    <a:pt x="483394" y="0"/>
                  </a:cubicBezTo>
                  <a:cubicBezTo>
                    <a:pt x="574929" y="0"/>
                    <a:pt x="659035" y="13716"/>
                    <a:pt x="735711" y="41053"/>
                  </a:cubicBezTo>
                  <a:cubicBezTo>
                    <a:pt x="812387" y="68389"/>
                    <a:pt x="882777" y="107632"/>
                    <a:pt x="946976" y="158687"/>
                  </a:cubicBezTo>
                  <a:lnTo>
                    <a:pt x="804291" y="365569"/>
                  </a:lnTo>
                  <a:cubicBezTo>
                    <a:pt x="748379" y="327565"/>
                    <a:pt x="693706" y="297561"/>
                    <a:pt x="640271" y="275558"/>
                  </a:cubicBezTo>
                  <a:cubicBezTo>
                    <a:pt x="586740" y="253555"/>
                    <a:pt x="533305" y="242602"/>
                    <a:pt x="479774" y="242602"/>
                  </a:cubicBezTo>
                  <a:cubicBezTo>
                    <a:pt x="426244" y="242602"/>
                    <a:pt x="386144" y="252984"/>
                    <a:pt x="359378" y="273844"/>
                  </a:cubicBezTo>
                  <a:cubicBezTo>
                    <a:pt x="332613" y="294608"/>
                    <a:pt x="319278" y="320516"/>
                    <a:pt x="319278" y="351377"/>
                  </a:cubicBezTo>
                  <a:lnTo>
                    <a:pt x="319278" y="354997"/>
                  </a:lnTo>
                  <a:cubicBezTo>
                    <a:pt x="319278" y="375190"/>
                    <a:pt x="323183" y="392716"/>
                    <a:pt x="330899" y="407575"/>
                  </a:cubicBezTo>
                  <a:cubicBezTo>
                    <a:pt x="338614" y="422434"/>
                    <a:pt x="352616" y="435864"/>
                    <a:pt x="372904" y="447675"/>
                  </a:cubicBezTo>
                  <a:cubicBezTo>
                    <a:pt x="393192" y="459581"/>
                    <a:pt x="420910" y="470821"/>
                    <a:pt x="456057" y="481489"/>
                  </a:cubicBezTo>
                  <a:cubicBezTo>
                    <a:pt x="491204" y="492157"/>
                    <a:pt x="535591" y="504730"/>
                    <a:pt x="589217" y="518922"/>
                  </a:cubicBezTo>
                  <a:cubicBezTo>
                    <a:pt x="652367" y="535591"/>
                    <a:pt x="708660" y="554260"/>
                    <a:pt x="758190" y="575120"/>
                  </a:cubicBezTo>
                  <a:cubicBezTo>
                    <a:pt x="807625" y="595979"/>
                    <a:pt x="849344" y="620935"/>
                    <a:pt x="883349" y="649986"/>
                  </a:cubicBezTo>
                  <a:cubicBezTo>
                    <a:pt x="917353" y="679132"/>
                    <a:pt x="942975" y="713327"/>
                    <a:pt x="960215" y="752570"/>
                  </a:cubicBezTo>
                  <a:cubicBezTo>
                    <a:pt x="977456" y="791813"/>
                    <a:pt x="986123" y="838772"/>
                    <a:pt x="986123" y="893445"/>
                  </a:cubicBezTo>
                  <a:lnTo>
                    <a:pt x="986123" y="897064"/>
                  </a:lnTo>
                  <a:cubicBezTo>
                    <a:pt x="986123" y="958882"/>
                    <a:pt x="974884" y="1013841"/>
                    <a:pt x="952500" y="1062038"/>
                  </a:cubicBezTo>
                  <a:cubicBezTo>
                    <a:pt x="930021" y="1110139"/>
                    <a:pt x="898779" y="1150620"/>
                    <a:pt x="858584" y="1183291"/>
                  </a:cubicBezTo>
                  <a:cubicBezTo>
                    <a:pt x="818388" y="1216057"/>
                    <a:pt x="770477" y="1241012"/>
                    <a:pt x="714851" y="1258157"/>
                  </a:cubicBezTo>
                  <a:cubicBezTo>
                    <a:pt x="659130" y="1275398"/>
                    <a:pt x="597503" y="1284065"/>
                    <a:pt x="529685" y="1284065"/>
                  </a:cubicBezTo>
                  <a:close/>
                </a:path>
              </a:pathLst>
            </a:custGeom>
            <a:solidFill>
              <a:srgbClr val="44505E"/>
            </a:solidFill>
            <a:ln w="9525" cap="flat">
              <a:noFill/>
              <a:prstDash val="solid"/>
              <a:miter/>
            </a:ln>
          </p:spPr>
          <p:txBody>
            <a:bodyPr rtlCol="0" anchor="ctr"/>
            <a:lstStyle/>
            <a:p>
              <a:endParaRPr lang="pt-BR" noProof="0"/>
            </a:p>
          </p:txBody>
        </p:sp>
        <p:sp>
          <p:nvSpPr>
            <p:cNvPr id="4" name="Freeform: Shape 16">
              <a:extLst>
                <a:ext uri="{FF2B5EF4-FFF2-40B4-BE49-F238E27FC236}">
                  <a16:creationId xmlns:a16="http://schemas.microsoft.com/office/drawing/2014/main" id="{16073920-F666-5872-274B-D0E06509C299}"/>
                </a:ext>
              </a:extLst>
            </p:cNvPr>
            <p:cNvSpPr/>
            <p:nvPr/>
          </p:nvSpPr>
          <p:spPr>
            <a:xfrm>
              <a:off x="5492084" y="310867"/>
              <a:ext cx="332584" cy="315991"/>
            </a:xfrm>
            <a:custGeom>
              <a:avLst/>
              <a:gdLst>
                <a:gd name="connsiteX0" fmla="*/ 534924 w 1323022"/>
                <a:gd name="connsiteY0" fmla="*/ 0 h 1257014"/>
                <a:gd name="connsiteX1" fmla="*/ 788099 w 1323022"/>
                <a:gd name="connsiteY1" fmla="*/ 0 h 1257014"/>
                <a:gd name="connsiteX2" fmla="*/ 1323023 w 1323022"/>
                <a:gd name="connsiteY2" fmla="*/ 1257014 h 1257014"/>
                <a:gd name="connsiteX3" fmla="*/ 1035939 w 1323022"/>
                <a:gd name="connsiteY3" fmla="*/ 1257014 h 1257014"/>
                <a:gd name="connsiteX4" fmla="*/ 921829 w 1323022"/>
                <a:gd name="connsiteY4" fmla="*/ 977075 h 1257014"/>
                <a:gd name="connsiteX5" fmla="*/ 394049 w 1323022"/>
                <a:gd name="connsiteY5" fmla="*/ 977075 h 1257014"/>
                <a:gd name="connsiteX6" fmla="*/ 279940 w 1323022"/>
                <a:gd name="connsiteY6" fmla="*/ 1257014 h 1257014"/>
                <a:gd name="connsiteX7" fmla="*/ 0 w 1323022"/>
                <a:gd name="connsiteY7" fmla="*/ 1257014 h 1257014"/>
                <a:gd name="connsiteX8" fmla="*/ 534924 w 1323022"/>
                <a:gd name="connsiteY8" fmla="*/ 0 h 1257014"/>
                <a:gd name="connsiteX9" fmla="*/ 823817 w 1323022"/>
                <a:gd name="connsiteY9" fmla="*/ 734568 h 1257014"/>
                <a:gd name="connsiteX10" fmla="*/ 657987 w 1323022"/>
                <a:gd name="connsiteY10" fmla="*/ 329851 h 1257014"/>
                <a:gd name="connsiteX11" fmla="*/ 492157 w 1323022"/>
                <a:gd name="connsiteY11" fmla="*/ 734568 h 1257014"/>
                <a:gd name="connsiteX12" fmla="*/ 823817 w 1323022"/>
                <a:gd name="connsiteY12" fmla="*/ 734568 h 125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022" h="1257014">
                  <a:moveTo>
                    <a:pt x="534924" y="0"/>
                  </a:moveTo>
                  <a:lnTo>
                    <a:pt x="788099" y="0"/>
                  </a:lnTo>
                  <a:lnTo>
                    <a:pt x="1323023" y="1257014"/>
                  </a:lnTo>
                  <a:lnTo>
                    <a:pt x="1035939" y="1257014"/>
                  </a:lnTo>
                  <a:lnTo>
                    <a:pt x="921829" y="977075"/>
                  </a:lnTo>
                  <a:lnTo>
                    <a:pt x="394049" y="977075"/>
                  </a:lnTo>
                  <a:lnTo>
                    <a:pt x="279940" y="1257014"/>
                  </a:lnTo>
                  <a:lnTo>
                    <a:pt x="0" y="1257014"/>
                  </a:lnTo>
                  <a:lnTo>
                    <a:pt x="534924" y="0"/>
                  </a:lnTo>
                  <a:close/>
                  <a:moveTo>
                    <a:pt x="823817" y="734568"/>
                  </a:moveTo>
                  <a:lnTo>
                    <a:pt x="657987" y="329851"/>
                  </a:lnTo>
                  <a:lnTo>
                    <a:pt x="492157" y="734568"/>
                  </a:lnTo>
                  <a:lnTo>
                    <a:pt x="823817" y="734568"/>
                  </a:lnTo>
                  <a:close/>
                </a:path>
              </a:pathLst>
            </a:custGeom>
            <a:solidFill>
              <a:srgbClr val="44505E"/>
            </a:solidFill>
            <a:ln w="9525" cap="flat">
              <a:noFill/>
              <a:prstDash val="solid"/>
              <a:miter/>
            </a:ln>
          </p:spPr>
          <p:txBody>
            <a:bodyPr rtlCol="0" anchor="ctr"/>
            <a:lstStyle/>
            <a:p>
              <a:endParaRPr lang="pt-BR" noProof="0"/>
            </a:p>
          </p:txBody>
        </p:sp>
        <p:sp>
          <p:nvSpPr>
            <p:cNvPr id="5" name="Freeform: Shape 17">
              <a:extLst>
                <a:ext uri="{FF2B5EF4-FFF2-40B4-BE49-F238E27FC236}">
                  <a16:creationId xmlns:a16="http://schemas.microsoft.com/office/drawing/2014/main" id="{C832584B-8B65-D376-F6A7-2F5DE080C6D8}"/>
                </a:ext>
              </a:extLst>
            </p:cNvPr>
            <p:cNvSpPr/>
            <p:nvPr/>
          </p:nvSpPr>
          <p:spPr>
            <a:xfrm>
              <a:off x="5834078" y="211355"/>
              <a:ext cx="273442" cy="420435"/>
            </a:xfrm>
            <a:custGeom>
              <a:avLst/>
              <a:gdLst>
                <a:gd name="connsiteX0" fmla="*/ 540258 w 1087754"/>
                <a:gd name="connsiteY0" fmla="*/ 1672495 h 1672494"/>
                <a:gd name="connsiteX1" fmla="*/ 144399 w 1087754"/>
                <a:gd name="connsiteY1" fmla="*/ 1533430 h 1672494"/>
                <a:gd name="connsiteX2" fmla="*/ 0 w 1087754"/>
                <a:gd name="connsiteY2" fmla="*/ 1117949 h 1672494"/>
                <a:gd name="connsiteX3" fmla="*/ 0 w 1087754"/>
                <a:gd name="connsiteY3" fmla="*/ 404717 h 1672494"/>
                <a:gd name="connsiteX4" fmla="*/ 274606 w 1087754"/>
                <a:gd name="connsiteY4" fmla="*/ 404717 h 1672494"/>
                <a:gd name="connsiteX5" fmla="*/ 274606 w 1087754"/>
                <a:gd name="connsiteY5" fmla="*/ 1110806 h 1672494"/>
                <a:gd name="connsiteX6" fmla="*/ 345948 w 1087754"/>
                <a:gd name="connsiteY6" fmla="*/ 1341692 h 1672494"/>
                <a:gd name="connsiteX7" fmla="*/ 543877 w 1087754"/>
                <a:gd name="connsiteY7" fmla="*/ 1419225 h 1672494"/>
                <a:gd name="connsiteX8" fmla="*/ 741807 w 1087754"/>
                <a:gd name="connsiteY8" fmla="*/ 1344359 h 1672494"/>
                <a:gd name="connsiteX9" fmla="*/ 813149 w 1087754"/>
                <a:gd name="connsiteY9" fmla="*/ 1119664 h 1672494"/>
                <a:gd name="connsiteX10" fmla="*/ 813149 w 1087754"/>
                <a:gd name="connsiteY10" fmla="*/ 404717 h 1672494"/>
                <a:gd name="connsiteX11" fmla="*/ 1087755 w 1087754"/>
                <a:gd name="connsiteY11" fmla="*/ 404717 h 1672494"/>
                <a:gd name="connsiteX12" fmla="*/ 1087755 w 1087754"/>
                <a:gd name="connsiteY12" fmla="*/ 1108996 h 1672494"/>
                <a:gd name="connsiteX13" fmla="*/ 1049369 w 1087754"/>
                <a:gd name="connsiteY13" fmla="*/ 1356836 h 1672494"/>
                <a:gd name="connsiteX14" fmla="*/ 939737 w 1087754"/>
                <a:gd name="connsiteY14" fmla="*/ 1532477 h 1672494"/>
                <a:gd name="connsiteX15" fmla="*/ 766763 w 1087754"/>
                <a:gd name="connsiteY15" fmla="*/ 1637729 h 1672494"/>
                <a:gd name="connsiteX16" fmla="*/ 540353 w 1087754"/>
                <a:gd name="connsiteY16" fmla="*/ 1672495 h 1672494"/>
                <a:gd name="connsiteX17" fmla="*/ 622268 w 1087754"/>
                <a:gd name="connsiteY17" fmla="*/ 0 h 1672494"/>
                <a:gd name="connsiteX18" fmla="*/ 855821 w 1087754"/>
                <a:gd name="connsiteY18" fmla="*/ 101632 h 1672494"/>
                <a:gd name="connsiteX19" fmla="*/ 627602 w 1087754"/>
                <a:gd name="connsiteY19" fmla="*/ 315563 h 1672494"/>
                <a:gd name="connsiteX20" fmla="*/ 420719 w 1087754"/>
                <a:gd name="connsiteY20" fmla="*/ 315563 h 1672494"/>
                <a:gd name="connsiteX21" fmla="*/ 622268 w 1087754"/>
                <a:gd name="connsiteY21" fmla="*/ 0 h 16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754" h="1672494">
                  <a:moveTo>
                    <a:pt x="540258" y="1672495"/>
                  </a:moveTo>
                  <a:cubicBezTo>
                    <a:pt x="372618" y="1672495"/>
                    <a:pt x="240697" y="1626108"/>
                    <a:pt x="144399" y="1533430"/>
                  </a:cubicBezTo>
                  <a:cubicBezTo>
                    <a:pt x="48101" y="1440752"/>
                    <a:pt x="0" y="1302258"/>
                    <a:pt x="0" y="1117949"/>
                  </a:cubicBezTo>
                  <a:lnTo>
                    <a:pt x="0" y="404717"/>
                  </a:lnTo>
                  <a:lnTo>
                    <a:pt x="274606" y="404717"/>
                  </a:lnTo>
                  <a:lnTo>
                    <a:pt x="274606" y="1110806"/>
                  </a:lnTo>
                  <a:cubicBezTo>
                    <a:pt x="274606" y="1213009"/>
                    <a:pt x="298418" y="1289971"/>
                    <a:pt x="345948" y="1341692"/>
                  </a:cubicBezTo>
                  <a:cubicBezTo>
                    <a:pt x="393478" y="1393412"/>
                    <a:pt x="459486" y="1419225"/>
                    <a:pt x="543877" y="1419225"/>
                  </a:cubicBezTo>
                  <a:cubicBezTo>
                    <a:pt x="628269" y="1419225"/>
                    <a:pt x="694277" y="1394270"/>
                    <a:pt x="741807" y="1344359"/>
                  </a:cubicBezTo>
                  <a:cubicBezTo>
                    <a:pt x="789337" y="1294448"/>
                    <a:pt x="813149" y="1219581"/>
                    <a:pt x="813149" y="1119664"/>
                  </a:cubicBezTo>
                  <a:lnTo>
                    <a:pt x="813149" y="404717"/>
                  </a:lnTo>
                  <a:lnTo>
                    <a:pt x="1087755" y="404717"/>
                  </a:lnTo>
                  <a:lnTo>
                    <a:pt x="1087755" y="1108996"/>
                  </a:lnTo>
                  <a:cubicBezTo>
                    <a:pt x="1087755" y="1204151"/>
                    <a:pt x="1074992" y="1286732"/>
                    <a:pt x="1049369" y="1356836"/>
                  </a:cubicBezTo>
                  <a:cubicBezTo>
                    <a:pt x="1023747" y="1426940"/>
                    <a:pt x="987266" y="1485519"/>
                    <a:pt x="939737" y="1532477"/>
                  </a:cubicBezTo>
                  <a:cubicBezTo>
                    <a:pt x="892207" y="1579436"/>
                    <a:pt x="834485" y="1614488"/>
                    <a:pt x="766763" y="1637729"/>
                  </a:cubicBezTo>
                  <a:cubicBezTo>
                    <a:pt x="699040" y="1660874"/>
                    <a:pt x="623507" y="1672495"/>
                    <a:pt x="540353" y="1672495"/>
                  </a:cubicBezTo>
                  <a:close/>
                  <a:moveTo>
                    <a:pt x="622268" y="0"/>
                  </a:moveTo>
                  <a:lnTo>
                    <a:pt x="855821" y="101632"/>
                  </a:lnTo>
                  <a:lnTo>
                    <a:pt x="627602" y="315563"/>
                  </a:lnTo>
                  <a:lnTo>
                    <a:pt x="420719" y="315563"/>
                  </a:lnTo>
                  <a:lnTo>
                    <a:pt x="622268" y="0"/>
                  </a:lnTo>
                  <a:close/>
                </a:path>
              </a:pathLst>
            </a:custGeom>
            <a:solidFill>
              <a:srgbClr val="44505E"/>
            </a:solidFill>
            <a:ln w="9525" cap="flat">
              <a:noFill/>
              <a:prstDash val="solid"/>
              <a:miter/>
            </a:ln>
          </p:spPr>
          <p:txBody>
            <a:bodyPr rtlCol="0" anchor="ctr"/>
            <a:lstStyle/>
            <a:p>
              <a:endParaRPr lang="pt-BR" noProof="0"/>
            </a:p>
          </p:txBody>
        </p:sp>
        <p:sp>
          <p:nvSpPr>
            <p:cNvPr id="6" name="Freeform: Shape 18">
              <a:extLst>
                <a:ext uri="{FF2B5EF4-FFF2-40B4-BE49-F238E27FC236}">
                  <a16:creationId xmlns:a16="http://schemas.microsoft.com/office/drawing/2014/main" id="{A97E996E-E190-28BB-864A-404BC1848795}"/>
                </a:ext>
              </a:extLst>
            </p:cNvPr>
            <p:cNvSpPr/>
            <p:nvPr/>
          </p:nvSpPr>
          <p:spPr>
            <a:xfrm>
              <a:off x="6143795" y="313094"/>
              <a:ext cx="289101" cy="313764"/>
            </a:xfrm>
            <a:custGeom>
              <a:avLst/>
              <a:gdLst>
                <a:gd name="connsiteX0" fmla="*/ 0 w 1150048"/>
                <a:gd name="connsiteY0" fmla="*/ 0 h 1248155"/>
                <a:gd name="connsiteX1" fmla="*/ 486728 w 1150048"/>
                <a:gd name="connsiteY1" fmla="*/ 0 h 1248155"/>
                <a:gd name="connsiteX2" fmla="*/ 755047 w 1150048"/>
                <a:gd name="connsiteY2" fmla="*/ 47244 h 1248155"/>
                <a:gd name="connsiteX3" fmla="*/ 965454 w 1150048"/>
                <a:gd name="connsiteY3" fmla="*/ 178308 h 1248155"/>
                <a:gd name="connsiteX4" fmla="*/ 1101852 w 1150048"/>
                <a:gd name="connsiteY4" fmla="*/ 375380 h 1248155"/>
                <a:gd name="connsiteX5" fmla="*/ 1150049 w 1150048"/>
                <a:gd name="connsiteY5" fmla="*/ 620554 h 1248155"/>
                <a:gd name="connsiteX6" fmla="*/ 1150049 w 1150048"/>
                <a:gd name="connsiteY6" fmla="*/ 624173 h 1248155"/>
                <a:gd name="connsiteX7" fmla="*/ 1101852 w 1150048"/>
                <a:gd name="connsiteY7" fmla="*/ 870204 h 1248155"/>
                <a:gd name="connsiteX8" fmla="*/ 965454 w 1150048"/>
                <a:gd name="connsiteY8" fmla="*/ 1068134 h 1248155"/>
                <a:gd name="connsiteX9" fmla="*/ 755047 w 1150048"/>
                <a:gd name="connsiteY9" fmla="*/ 1200055 h 1248155"/>
                <a:gd name="connsiteX10" fmla="*/ 486728 w 1150048"/>
                <a:gd name="connsiteY10" fmla="*/ 1248156 h 1248155"/>
                <a:gd name="connsiteX11" fmla="*/ 0 w 1150048"/>
                <a:gd name="connsiteY11" fmla="*/ 1248156 h 1248155"/>
                <a:gd name="connsiteX12" fmla="*/ 0 w 1150048"/>
                <a:gd name="connsiteY12" fmla="*/ 0 h 1248155"/>
                <a:gd name="connsiteX13" fmla="*/ 486728 w 1150048"/>
                <a:gd name="connsiteY13" fmla="*/ 1000315 h 1248155"/>
                <a:gd name="connsiteX14" fmla="*/ 640080 w 1150048"/>
                <a:gd name="connsiteY14" fmla="*/ 973550 h 1248155"/>
                <a:gd name="connsiteX15" fmla="*/ 758667 w 1150048"/>
                <a:gd name="connsiteY15" fmla="*/ 896874 h 1248155"/>
                <a:gd name="connsiteX16" fmla="*/ 835343 w 1150048"/>
                <a:gd name="connsiteY16" fmla="*/ 779240 h 1248155"/>
                <a:gd name="connsiteX17" fmla="*/ 862965 w 1150048"/>
                <a:gd name="connsiteY17" fmla="*/ 627698 h 1248155"/>
                <a:gd name="connsiteX18" fmla="*/ 862965 w 1150048"/>
                <a:gd name="connsiteY18" fmla="*/ 624078 h 1248155"/>
                <a:gd name="connsiteX19" fmla="*/ 835343 w 1150048"/>
                <a:gd name="connsiteY19" fmla="*/ 472535 h 1248155"/>
                <a:gd name="connsiteX20" fmla="*/ 758667 w 1150048"/>
                <a:gd name="connsiteY20" fmla="*/ 353092 h 1248155"/>
                <a:gd name="connsiteX21" fmla="*/ 640080 w 1150048"/>
                <a:gd name="connsiteY21" fmla="*/ 275558 h 1248155"/>
                <a:gd name="connsiteX22" fmla="*/ 486728 w 1150048"/>
                <a:gd name="connsiteY22" fmla="*/ 247936 h 1248155"/>
                <a:gd name="connsiteX23" fmla="*/ 274511 w 1150048"/>
                <a:gd name="connsiteY23" fmla="*/ 247936 h 1248155"/>
                <a:gd name="connsiteX24" fmla="*/ 274511 w 1150048"/>
                <a:gd name="connsiteY24" fmla="*/ 1000411 h 1248155"/>
                <a:gd name="connsiteX25" fmla="*/ 486728 w 1150048"/>
                <a:gd name="connsiteY25" fmla="*/ 1000411 h 124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50048" h="1248155">
                  <a:moveTo>
                    <a:pt x="0" y="0"/>
                  </a:moveTo>
                  <a:lnTo>
                    <a:pt x="486728" y="0"/>
                  </a:lnTo>
                  <a:cubicBezTo>
                    <a:pt x="584168" y="0"/>
                    <a:pt x="673608" y="15811"/>
                    <a:pt x="755047" y="47244"/>
                  </a:cubicBezTo>
                  <a:cubicBezTo>
                    <a:pt x="836486" y="78772"/>
                    <a:pt x="906590" y="122396"/>
                    <a:pt x="965454" y="178308"/>
                  </a:cubicBezTo>
                  <a:cubicBezTo>
                    <a:pt x="1024319" y="234220"/>
                    <a:pt x="1069753" y="299847"/>
                    <a:pt x="1101852" y="375380"/>
                  </a:cubicBezTo>
                  <a:cubicBezTo>
                    <a:pt x="1133951" y="450914"/>
                    <a:pt x="1150049" y="532543"/>
                    <a:pt x="1150049" y="620554"/>
                  </a:cubicBezTo>
                  <a:lnTo>
                    <a:pt x="1150049" y="624173"/>
                  </a:lnTo>
                  <a:cubicBezTo>
                    <a:pt x="1150049" y="712184"/>
                    <a:pt x="1133951" y="794195"/>
                    <a:pt x="1101852" y="870204"/>
                  </a:cubicBezTo>
                  <a:cubicBezTo>
                    <a:pt x="1069753" y="946309"/>
                    <a:pt x="1024319" y="1012222"/>
                    <a:pt x="965454" y="1068134"/>
                  </a:cubicBezTo>
                  <a:cubicBezTo>
                    <a:pt x="906590" y="1124045"/>
                    <a:pt x="836486" y="1167956"/>
                    <a:pt x="755047" y="1200055"/>
                  </a:cubicBezTo>
                  <a:cubicBezTo>
                    <a:pt x="673608" y="1232154"/>
                    <a:pt x="584168" y="1248156"/>
                    <a:pt x="486728" y="1248156"/>
                  </a:cubicBezTo>
                  <a:lnTo>
                    <a:pt x="0" y="1248156"/>
                  </a:lnTo>
                  <a:lnTo>
                    <a:pt x="0" y="0"/>
                  </a:lnTo>
                  <a:close/>
                  <a:moveTo>
                    <a:pt x="486728" y="1000315"/>
                  </a:moveTo>
                  <a:cubicBezTo>
                    <a:pt x="542639" y="1000315"/>
                    <a:pt x="593693" y="991457"/>
                    <a:pt x="640080" y="973550"/>
                  </a:cubicBezTo>
                  <a:cubicBezTo>
                    <a:pt x="686467" y="955739"/>
                    <a:pt x="725900" y="930211"/>
                    <a:pt x="758667" y="896874"/>
                  </a:cubicBezTo>
                  <a:cubicBezTo>
                    <a:pt x="791337" y="863632"/>
                    <a:pt x="816864" y="824389"/>
                    <a:pt x="835343" y="779240"/>
                  </a:cubicBezTo>
                  <a:cubicBezTo>
                    <a:pt x="853726" y="734092"/>
                    <a:pt x="862965" y="683609"/>
                    <a:pt x="862965" y="627698"/>
                  </a:cubicBezTo>
                  <a:lnTo>
                    <a:pt x="862965" y="624078"/>
                  </a:lnTo>
                  <a:cubicBezTo>
                    <a:pt x="862965" y="569404"/>
                    <a:pt x="853726" y="518827"/>
                    <a:pt x="835343" y="472535"/>
                  </a:cubicBezTo>
                  <a:cubicBezTo>
                    <a:pt x="816864" y="426149"/>
                    <a:pt x="791337" y="386334"/>
                    <a:pt x="758667" y="353092"/>
                  </a:cubicBezTo>
                  <a:cubicBezTo>
                    <a:pt x="725996" y="319849"/>
                    <a:pt x="686467" y="293941"/>
                    <a:pt x="640080" y="275558"/>
                  </a:cubicBezTo>
                  <a:cubicBezTo>
                    <a:pt x="593693" y="257175"/>
                    <a:pt x="542639" y="247936"/>
                    <a:pt x="486728" y="247936"/>
                  </a:cubicBezTo>
                  <a:lnTo>
                    <a:pt x="274511" y="247936"/>
                  </a:lnTo>
                  <a:lnTo>
                    <a:pt x="274511" y="1000411"/>
                  </a:lnTo>
                  <a:lnTo>
                    <a:pt x="486728" y="1000411"/>
                  </a:lnTo>
                  <a:close/>
                </a:path>
              </a:pathLst>
            </a:custGeom>
            <a:solidFill>
              <a:srgbClr val="44505E"/>
            </a:solidFill>
            <a:ln w="9525" cap="flat">
              <a:noFill/>
              <a:prstDash val="solid"/>
              <a:miter/>
            </a:ln>
          </p:spPr>
          <p:txBody>
            <a:bodyPr rtlCol="0" anchor="ctr"/>
            <a:lstStyle/>
            <a:p>
              <a:endParaRPr lang="pt-BR" noProof="0"/>
            </a:p>
          </p:txBody>
        </p:sp>
        <p:sp>
          <p:nvSpPr>
            <p:cNvPr id="7" name="Freeform: Shape 19">
              <a:extLst>
                <a:ext uri="{FF2B5EF4-FFF2-40B4-BE49-F238E27FC236}">
                  <a16:creationId xmlns:a16="http://schemas.microsoft.com/office/drawing/2014/main" id="{069C4F71-5C35-40F8-E99F-7D0B16BFEE90}"/>
                </a:ext>
              </a:extLst>
            </p:cNvPr>
            <p:cNvSpPr/>
            <p:nvPr/>
          </p:nvSpPr>
          <p:spPr>
            <a:xfrm>
              <a:off x="6460217" y="313094"/>
              <a:ext cx="238459" cy="313788"/>
            </a:xfrm>
            <a:custGeom>
              <a:avLst/>
              <a:gdLst>
                <a:gd name="connsiteX0" fmla="*/ 95 w 948594"/>
                <a:gd name="connsiteY0" fmla="*/ 0 h 1248251"/>
                <a:gd name="connsiteX1" fmla="*/ 939737 w 948594"/>
                <a:gd name="connsiteY1" fmla="*/ 0 h 1248251"/>
                <a:gd name="connsiteX2" fmla="*/ 939737 w 948594"/>
                <a:gd name="connsiteY2" fmla="*/ 244316 h 1248251"/>
                <a:gd name="connsiteX3" fmla="*/ 271081 w 948594"/>
                <a:gd name="connsiteY3" fmla="*/ 244316 h 1248251"/>
                <a:gd name="connsiteX4" fmla="*/ 271081 w 948594"/>
                <a:gd name="connsiteY4" fmla="*/ 497491 h 1248251"/>
                <a:gd name="connsiteX5" fmla="*/ 859441 w 948594"/>
                <a:gd name="connsiteY5" fmla="*/ 497491 h 1248251"/>
                <a:gd name="connsiteX6" fmla="*/ 859441 w 948594"/>
                <a:gd name="connsiteY6" fmla="*/ 741807 h 1248251"/>
                <a:gd name="connsiteX7" fmla="*/ 271081 w 948594"/>
                <a:gd name="connsiteY7" fmla="*/ 741807 h 1248251"/>
                <a:gd name="connsiteX8" fmla="*/ 271081 w 948594"/>
                <a:gd name="connsiteY8" fmla="*/ 1003935 h 1248251"/>
                <a:gd name="connsiteX9" fmla="*/ 948595 w 948594"/>
                <a:gd name="connsiteY9" fmla="*/ 1003935 h 1248251"/>
                <a:gd name="connsiteX10" fmla="*/ 948595 w 948594"/>
                <a:gd name="connsiteY10" fmla="*/ 1248251 h 1248251"/>
                <a:gd name="connsiteX11" fmla="*/ 0 w 948594"/>
                <a:gd name="connsiteY11" fmla="*/ 1248251 h 1248251"/>
                <a:gd name="connsiteX12" fmla="*/ 0 w 948594"/>
                <a:gd name="connsiteY12" fmla="*/ 0 h 124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594" h="1248251">
                  <a:moveTo>
                    <a:pt x="95" y="0"/>
                  </a:moveTo>
                  <a:lnTo>
                    <a:pt x="939737" y="0"/>
                  </a:lnTo>
                  <a:lnTo>
                    <a:pt x="939737" y="244316"/>
                  </a:lnTo>
                  <a:lnTo>
                    <a:pt x="271081" y="244316"/>
                  </a:lnTo>
                  <a:lnTo>
                    <a:pt x="271081" y="497491"/>
                  </a:lnTo>
                  <a:lnTo>
                    <a:pt x="859441" y="497491"/>
                  </a:lnTo>
                  <a:lnTo>
                    <a:pt x="859441" y="741807"/>
                  </a:lnTo>
                  <a:lnTo>
                    <a:pt x="271081" y="741807"/>
                  </a:lnTo>
                  <a:lnTo>
                    <a:pt x="271081" y="1003935"/>
                  </a:lnTo>
                  <a:lnTo>
                    <a:pt x="948595" y="1003935"/>
                  </a:lnTo>
                  <a:lnTo>
                    <a:pt x="948595" y="1248251"/>
                  </a:lnTo>
                  <a:lnTo>
                    <a:pt x="0" y="1248251"/>
                  </a:lnTo>
                  <a:lnTo>
                    <a:pt x="0" y="0"/>
                  </a:lnTo>
                  <a:close/>
                </a:path>
              </a:pathLst>
            </a:custGeom>
            <a:solidFill>
              <a:srgbClr val="44505E"/>
            </a:solidFill>
            <a:ln w="9525" cap="flat">
              <a:noFill/>
              <a:prstDash val="solid"/>
              <a:miter/>
            </a:ln>
          </p:spPr>
          <p:txBody>
            <a:bodyPr rtlCol="0" anchor="ctr"/>
            <a:lstStyle/>
            <a:p>
              <a:endParaRPr lang="pt-BR" noProof="0"/>
            </a:p>
          </p:txBody>
        </p:sp>
        <p:sp>
          <p:nvSpPr>
            <p:cNvPr id="8" name="Freeform: Shape 20">
              <a:extLst>
                <a:ext uri="{FF2B5EF4-FFF2-40B4-BE49-F238E27FC236}">
                  <a16:creationId xmlns:a16="http://schemas.microsoft.com/office/drawing/2014/main" id="{8171EC67-A821-786A-3803-50559E14767B}"/>
                </a:ext>
              </a:extLst>
            </p:cNvPr>
            <p:cNvSpPr/>
            <p:nvPr/>
          </p:nvSpPr>
          <p:spPr>
            <a:xfrm>
              <a:off x="5253193" y="699983"/>
              <a:ext cx="90796" cy="97883"/>
            </a:xfrm>
            <a:custGeom>
              <a:avLst/>
              <a:gdLst>
                <a:gd name="connsiteX0" fmla="*/ 191548 w 361187"/>
                <a:gd name="connsiteY0" fmla="*/ 389382 h 389381"/>
                <a:gd name="connsiteX1" fmla="*/ 116300 w 361187"/>
                <a:gd name="connsiteY1" fmla="*/ 375285 h 389381"/>
                <a:gd name="connsiteX2" fmla="*/ 55531 w 361187"/>
                <a:gd name="connsiteY2" fmla="*/ 335756 h 389381"/>
                <a:gd name="connsiteX3" fmla="*/ 14859 w 361187"/>
                <a:gd name="connsiteY3" fmla="*/ 274606 h 389381"/>
                <a:gd name="connsiteX4" fmla="*/ 0 w 361187"/>
                <a:gd name="connsiteY4" fmla="*/ 195834 h 389381"/>
                <a:gd name="connsiteX5" fmla="*/ 0 w 361187"/>
                <a:gd name="connsiteY5" fmla="*/ 194405 h 389381"/>
                <a:gd name="connsiteX6" fmla="*/ 13430 w 361187"/>
                <a:gd name="connsiteY6" fmla="*/ 118777 h 389381"/>
                <a:gd name="connsiteX7" fmla="*/ 51245 w 361187"/>
                <a:gd name="connsiteY7" fmla="*/ 56959 h 389381"/>
                <a:gd name="connsiteX8" fmla="*/ 108871 w 361187"/>
                <a:gd name="connsiteY8" fmla="*/ 15240 h 389381"/>
                <a:gd name="connsiteX9" fmla="*/ 182404 w 361187"/>
                <a:gd name="connsiteY9" fmla="*/ 0 h 389381"/>
                <a:gd name="connsiteX10" fmla="*/ 260509 w 361187"/>
                <a:gd name="connsiteY10" fmla="*/ 16288 h 389381"/>
                <a:gd name="connsiteX11" fmla="*/ 316325 w 361187"/>
                <a:gd name="connsiteY11" fmla="*/ 60103 h 389381"/>
                <a:gd name="connsiteX12" fmla="*/ 349853 w 361187"/>
                <a:gd name="connsiteY12" fmla="*/ 124015 h 389381"/>
                <a:gd name="connsiteX13" fmla="*/ 361188 w 361187"/>
                <a:gd name="connsiteY13" fmla="*/ 200692 h 389381"/>
                <a:gd name="connsiteX14" fmla="*/ 360807 w 361187"/>
                <a:gd name="connsiteY14" fmla="*/ 212312 h 389381"/>
                <a:gd name="connsiteX15" fmla="*/ 359759 w 361187"/>
                <a:gd name="connsiteY15" fmla="*/ 224695 h 389381"/>
                <a:gd name="connsiteX16" fmla="*/ 85534 w 361187"/>
                <a:gd name="connsiteY16" fmla="*/ 224695 h 389381"/>
                <a:gd name="connsiteX17" fmla="*/ 121920 w 361187"/>
                <a:gd name="connsiteY17" fmla="*/ 294989 h 389381"/>
                <a:gd name="connsiteX18" fmla="*/ 192977 w 361187"/>
                <a:gd name="connsiteY18" fmla="*/ 319373 h 389381"/>
                <a:gd name="connsiteX19" fmla="*/ 248126 w 361187"/>
                <a:gd name="connsiteY19" fmla="*/ 308038 h 389381"/>
                <a:gd name="connsiteX20" fmla="*/ 294037 w 361187"/>
                <a:gd name="connsiteY20" fmla="*/ 274796 h 389381"/>
                <a:gd name="connsiteX21" fmla="*/ 344234 w 361187"/>
                <a:gd name="connsiteY21" fmla="*/ 319278 h 389381"/>
                <a:gd name="connsiteX22" fmla="*/ 280226 w 361187"/>
                <a:gd name="connsiteY22" fmla="*/ 370141 h 389381"/>
                <a:gd name="connsiteX23" fmla="*/ 191548 w 361187"/>
                <a:gd name="connsiteY23" fmla="*/ 389191 h 389381"/>
                <a:gd name="connsiteX24" fmla="*/ 276320 w 361187"/>
                <a:gd name="connsiteY24" fmla="*/ 168211 h 389381"/>
                <a:gd name="connsiteX25" fmla="*/ 267176 w 361187"/>
                <a:gd name="connsiteY25" fmla="*/ 129730 h 389381"/>
                <a:gd name="connsiteX26" fmla="*/ 248126 w 361187"/>
                <a:gd name="connsiteY26" fmla="*/ 98679 h 389381"/>
                <a:gd name="connsiteX27" fmla="*/ 219551 w 361187"/>
                <a:gd name="connsiteY27" fmla="*/ 77819 h 389381"/>
                <a:gd name="connsiteX28" fmla="*/ 181737 w 361187"/>
                <a:gd name="connsiteY28" fmla="*/ 70009 h 389381"/>
                <a:gd name="connsiteX29" fmla="*/ 116396 w 361187"/>
                <a:gd name="connsiteY29" fmla="*/ 97250 h 389381"/>
                <a:gd name="connsiteX30" fmla="*/ 84963 w 361187"/>
                <a:gd name="connsiteY30" fmla="*/ 168307 h 389381"/>
                <a:gd name="connsiteX31" fmla="*/ 276511 w 361187"/>
                <a:gd name="connsiteY31" fmla="*/ 168307 h 38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187" h="389381">
                  <a:moveTo>
                    <a:pt x="191548" y="389382"/>
                  </a:moveTo>
                  <a:cubicBezTo>
                    <a:pt x="164687" y="389382"/>
                    <a:pt x="139637" y="384715"/>
                    <a:pt x="116300" y="375285"/>
                  </a:cubicBezTo>
                  <a:cubicBezTo>
                    <a:pt x="92964" y="365855"/>
                    <a:pt x="72771" y="352711"/>
                    <a:pt x="55531" y="335756"/>
                  </a:cubicBezTo>
                  <a:cubicBezTo>
                    <a:pt x="38291" y="318802"/>
                    <a:pt x="24765" y="298418"/>
                    <a:pt x="14859" y="274606"/>
                  </a:cubicBezTo>
                  <a:cubicBezTo>
                    <a:pt x="4953" y="250793"/>
                    <a:pt x="0" y="224599"/>
                    <a:pt x="0" y="195834"/>
                  </a:cubicBezTo>
                  <a:lnTo>
                    <a:pt x="0" y="194405"/>
                  </a:lnTo>
                  <a:cubicBezTo>
                    <a:pt x="0" y="167545"/>
                    <a:pt x="4477" y="142399"/>
                    <a:pt x="13430" y="118777"/>
                  </a:cubicBezTo>
                  <a:cubicBezTo>
                    <a:pt x="22384" y="95250"/>
                    <a:pt x="34957" y="74581"/>
                    <a:pt x="51245" y="56959"/>
                  </a:cubicBezTo>
                  <a:cubicBezTo>
                    <a:pt x="67532" y="39338"/>
                    <a:pt x="86677" y="25432"/>
                    <a:pt x="108871" y="15240"/>
                  </a:cubicBezTo>
                  <a:cubicBezTo>
                    <a:pt x="131064" y="5143"/>
                    <a:pt x="155543" y="0"/>
                    <a:pt x="182404" y="0"/>
                  </a:cubicBezTo>
                  <a:cubicBezTo>
                    <a:pt x="212122" y="0"/>
                    <a:pt x="238125" y="5429"/>
                    <a:pt x="260509" y="16288"/>
                  </a:cubicBezTo>
                  <a:cubicBezTo>
                    <a:pt x="282893" y="27146"/>
                    <a:pt x="301466" y="41719"/>
                    <a:pt x="316325" y="60103"/>
                  </a:cubicBezTo>
                  <a:cubicBezTo>
                    <a:pt x="331184" y="78486"/>
                    <a:pt x="342329" y="99822"/>
                    <a:pt x="349853" y="124015"/>
                  </a:cubicBezTo>
                  <a:cubicBezTo>
                    <a:pt x="357378" y="148304"/>
                    <a:pt x="361188" y="173831"/>
                    <a:pt x="361188" y="200692"/>
                  </a:cubicBezTo>
                  <a:cubicBezTo>
                    <a:pt x="361188" y="204502"/>
                    <a:pt x="361093" y="208312"/>
                    <a:pt x="360807" y="212312"/>
                  </a:cubicBezTo>
                  <a:cubicBezTo>
                    <a:pt x="360521" y="216313"/>
                    <a:pt x="360236" y="220409"/>
                    <a:pt x="359759" y="224695"/>
                  </a:cubicBezTo>
                  <a:lnTo>
                    <a:pt x="85534" y="224695"/>
                  </a:lnTo>
                  <a:cubicBezTo>
                    <a:pt x="90202" y="255365"/>
                    <a:pt x="102394" y="278797"/>
                    <a:pt x="121920" y="294989"/>
                  </a:cubicBezTo>
                  <a:cubicBezTo>
                    <a:pt x="141446" y="311277"/>
                    <a:pt x="165164" y="319373"/>
                    <a:pt x="192977" y="319373"/>
                  </a:cubicBezTo>
                  <a:cubicBezTo>
                    <a:pt x="214217" y="319373"/>
                    <a:pt x="232505" y="315563"/>
                    <a:pt x="248126" y="308038"/>
                  </a:cubicBezTo>
                  <a:cubicBezTo>
                    <a:pt x="263652" y="300514"/>
                    <a:pt x="278987" y="289465"/>
                    <a:pt x="294037" y="274796"/>
                  </a:cubicBezTo>
                  <a:lnTo>
                    <a:pt x="344234" y="319278"/>
                  </a:lnTo>
                  <a:cubicBezTo>
                    <a:pt x="326327" y="340519"/>
                    <a:pt x="304991" y="357473"/>
                    <a:pt x="280226" y="370141"/>
                  </a:cubicBezTo>
                  <a:cubicBezTo>
                    <a:pt x="255461" y="382810"/>
                    <a:pt x="225933" y="389191"/>
                    <a:pt x="191548" y="389191"/>
                  </a:cubicBezTo>
                  <a:close/>
                  <a:moveTo>
                    <a:pt x="276320" y="168211"/>
                  </a:moveTo>
                  <a:cubicBezTo>
                    <a:pt x="274892" y="154591"/>
                    <a:pt x="271844" y="141732"/>
                    <a:pt x="267176" y="129730"/>
                  </a:cubicBezTo>
                  <a:cubicBezTo>
                    <a:pt x="262414" y="117729"/>
                    <a:pt x="256127" y="107347"/>
                    <a:pt x="248126" y="98679"/>
                  </a:cubicBezTo>
                  <a:cubicBezTo>
                    <a:pt x="240125" y="89916"/>
                    <a:pt x="230600" y="82963"/>
                    <a:pt x="219551" y="77819"/>
                  </a:cubicBezTo>
                  <a:cubicBezTo>
                    <a:pt x="208502" y="72676"/>
                    <a:pt x="195834" y="70009"/>
                    <a:pt x="181737" y="70009"/>
                  </a:cubicBezTo>
                  <a:cubicBezTo>
                    <a:pt x="155353" y="70009"/>
                    <a:pt x="133541" y="79057"/>
                    <a:pt x="116396" y="97250"/>
                  </a:cubicBezTo>
                  <a:cubicBezTo>
                    <a:pt x="99155" y="115348"/>
                    <a:pt x="88678" y="139065"/>
                    <a:pt x="84963" y="168307"/>
                  </a:cubicBezTo>
                  <a:lnTo>
                    <a:pt x="276511" y="168307"/>
                  </a:lnTo>
                  <a:close/>
                </a:path>
              </a:pathLst>
            </a:custGeom>
            <a:solidFill>
              <a:srgbClr val="44505E"/>
            </a:solidFill>
            <a:ln w="9525" cap="flat">
              <a:noFill/>
              <a:prstDash val="solid"/>
              <a:miter/>
            </a:ln>
          </p:spPr>
          <p:txBody>
            <a:bodyPr rtlCol="0" anchor="ctr"/>
            <a:lstStyle/>
            <a:p>
              <a:endParaRPr lang="pt-BR" noProof="0"/>
            </a:p>
          </p:txBody>
        </p:sp>
        <p:sp>
          <p:nvSpPr>
            <p:cNvPr id="9" name="Freeform: Shape 21">
              <a:extLst>
                <a:ext uri="{FF2B5EF4-FFF2-40B4-BE49-F238E27FC236}">
                  <a16:creationId xmlns:a16="http://schemas.microsoft.com/office/drawing/2014/main" id="{C6B535A5-46A1-07D5-D8FC-398795FD0617}"/>
                </a:ext>
              </a:extLst>
            </p:cNvPr>
            <p:cNvSpPr/>
            <p:nvPr/>
          </p:nvSpPr>
          <p:spPr>
            <a:xfrm>
              <a:off x="5365659"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5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8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3 w 568166"/>
                <a:gd name="connsiteY21" fmla="*/ 381000 h 381000"/>
                <a:gd name="connsiteX22" fmla="*/ 240983 w 568166"/>
                <a:gd name="connsiteY22" fmla="*/ 168783 h 381000"/>
                <a:gd name="connsiteX23" fmla="*/ 221266 w 568166"/>
                <a:gd name="connsiteY23" fmla="*/ 101822 h 381000"/>
                <a:gd name="connsiteX24" fmla="*/ 165640 w 568166"/>
                <a:gd name="connsiteY24" fmla="*/ 78581 h 381000"/>
                <a:gd name="connsiteX25" fmla="*/ 108014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70" y="48196"/>
                    <a:pt x="105918" y="40576"/>
                  </a:cubicBezTo>
                  <a:cubicBezTo>
                    <a:pt x="112967" y="32956"/>
                    <a:pt x="121063" y="26099"/>
                    <a:pt x="130207" y="19907"/>
                  </a:cubicBezTo>
                  <a:cubicBezTo>
                    <a:pt x="139351" y="13716"/>
                    <a:pt x="149733" y="8858"/>
                    <a:pt x="161163" y="5334"/>
                  </a:cubicBezTo>
                  <a:cubicBezTo>
                    <a:pt x="172688" y="1714"/>
                    <a:pt x="185452" y="0"/>
                    <a:pt x="199549" y="0"/>
                  </a:cubicBezTo>
                  <a:cubicBezTo>
                    <a:pt x="226314" y="0"/>
                    <a:pt x="248984" y="6096"/>
                    <a:pt x="267557" y="18193"/>
                  </a:cubicBezTo>
                  <a:cubicBezTo>
                    <a:pt x="286131" y="30289"/>
                    <a:pt x="300323" y="46387"/>
                    <a:pt x="310134" y="66294"/>
                  </a:cubicBezTo>
                  <a:cubicBezTo>
                    <a:pt x="325279" y="46387"/>
                    <a:pt x="343091" y="30289"/>
                    <a:pt x="363665" y="18193"/>
                  </a:cubicBezTo>
                  <a:cubicBezTo>
                    <a:pt x="384239" y="6096"/>
                    <a:pt x="408718" y="0"/>
                    <a:pt x="437007" y="0"/>
                  </a:cubicBezTo>
                  <a:cubicBezTo>
                    <a:pt x="478060"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8" y="78486"/>
                  </a:cubicBezTo>
                  <a:cubicBezTo>
                    <a:pt x="382810" y="78486"/>
                    <a:pt x="364141" y="86392"/>
                    <a:pt x="349377" y="102108"/>
                  </a:cubicBezTo>
                  <a:cubicBezTo>
                    <a:pt x="334613" y="117824"/>
                    <a:pt x="327184" y="140779"/>
                    <a:pt x="327184" y="170879"/>
                  </a:cubicBezTo>
                  <a:lnTo>
                    <a:pt x="327184" y="381000"/>
                  </a:lnTo>
                  <a:lnTo>
                    <a:pt x="240983" y="381000"/>
                  </a:lnTo>
                  <a:lnTo>
                    <a:pt x="240983" y="168783"/>
                  </a:lnTo>
                  <a:cubicBezTo>
                    <a:pt x="240983" y="139637"/>
                    <a:pt x="234410" y="117348"/>
                    <a:pt x="221266" y="101822"/>
                  </a:cubicBezTo>
                  <a:cubicBezTo>
                    <a:pt x="208121" y="86296"/>
                    <a:pt x="189643" y="78581"/>
                    <a:pt x="165640" y="78581"/>
                  </a:cubicBezTo>
                  <a:cubicBezTo>
                    <a:pt x="141637" y="78581"/>
                    <a:pt x="122492" y="86773"/>
                    <a:pt x="108014"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10" name="Freeform: Shape 22">
              <a:extLst>
                <a:ext uri="{FF2B5EF4-FFF2-40B4-BE49-F238E27FC236}">
                  <a16:creationId xmlns:a16="http://schemas.microsoft.com/office/drawing/2014/main" id="{3E188029-467E-C773-3D0B-6078F368BF59}"/>
                </a:ext>
              </a:extLst>
            </p:cNvPr>
            <p:cNvSpPr/>
            <p:nvPr/>
          </p:nvSpPr>
          <p:spPr>
            <a:xfrm>
              <a:off x="5587693" y="700007"/>
              <a:ext cx="84211" cy="95752"/>
            </a:xfrm>
            <a:custGeom>
              <a:avLst/>
              <a:gdLst>
                <a:gd name="connsiteX0" fmla="*/ 95 w 334994"/>
                <a:gd name="connsiteY0" fmla="*/ 7715 h 380904"/>
                <a:gd name="connsiteX1" fmla="*/ 86296 w 334994"/>
                <a:gd name="connsiteY1" fmla="*/ 7715 h 380904"/>
                <a:gd name="connsiteX2" fmla="*/ 86296 w 334994"/>
                <a:gd name="connsiteY2" fmla="*/ 66294 h 380904"/>
                <a:gd name="connsiteX3" fmla="*/ 106394 w 334994"/>
                <a:gd name="connsiteY3" fmla="*/ 40958 h 380904"/>
                <a:gd name="connsiteX4" fmla="*/ 131731 w 334994"/>
                <a:gd name="connsiteY4" fmla="*/ 19907 h 380904"/>
                <a:gd name="connsiteX5" fmla="*/ 163449 w 334994"/>
                <a:gd name="connsiteY5" fmla="*/ 5334 h 380904"/>
                <a:gd name="connsiteX6" fmla="*/ 202597 w 334994"/>
                <a:gd name="connsiteY6" fmla="*/ 0 h 380904"/>
                <a:gd name="connsiteX7" fmla="*/ 300514 w 334994"/>
                <a:gd name="connsiteY7" fmla="*/ 38862 h 380904"/>
                <a:gd name="connsiteX8" fmla="*/ 334994 w 334994"/>
                <a:gd name="connsiteY8" fmla="*/ 143446 h 380904"/>
                <a:gd name="connsiteX9" fmla="*/ 334994 w 334994"/>
                <a:gd name="connsiteY9" fmla="*/ 380905 h 380904"/>
                <a:gd name="connsiteX10" fmla="*/ 248793 w 334994"/>
                <a:gd name="connsiteY10" fmla="*/ 380905 h 380904"/>
                <a:gd name="connsiteX11" fmla="*/ 248793 w 334994"/>
                <a:gd name="connsiteY11" fmla="*/ 169450 h 380904"/>
                <a:gd name="connsiteX12" fmla="*/ 228124 w 334994"/>
                <a:gd name="connsiteY12" fmla="*/ 102108 h 380904"/>
                <a:gd name="connsiteX13" fmla="*/ 169640 w 334994"/>
                <a:gd name="connsiteY13" fmla="*/ 78486 h 380904"/>
                <a:gd name="connsiteX14" fmla="*/ 109347 w 334994"/>
                <a:gd name="connsiteY14" fmla="*/ 102775 h 380904"/>
                <a:gd name="connsiteX15" fmla="*/ 86201 w 334994"/>
                <a:gd name="connsiteY15" fmla="*/ 170783 h 380904"/>
                <a:gd name="connsiteX16" fmla="*/ 86201 w 334994"/>
                <a:gd name="connsiteY16" fmla="*/ 380905 h 380904"/>
                <a:gd name="connsiteX17" fmla="*/ 0 w 334994"/>
                <a:gd name="connsiteY17" fmla="*/ 380905 h 380904"/>
                <a:gd name="connsiteX18" fmla="*/ 0 w 334994"/>
                <a:gd name="connsiteY18" fmla="*/ 7810 h 38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94" h="380904">
                  <a:moveTo>
                    <a:pt x="95" y="7715"/>
                  </a:moveTo>
                  <a:lnTo>
                    <a:pt x="86296" y="7715"/>
                  </a:lnTo>
                  <a:lnTo>
                    <a:pt x="86296" y="66294"/>
                  </a:lnTo>
                  <a:cubicBezTo>
                    <a:pt x="92392" y="57245"/>
                    <a:pt x="99060" y="48863"/>
                    <a:pt x="106394" y="40958"/>
                  </a:cubicBezTo>
                  <a:cubicBezTo>
                    <a:pt x="113633" y="33147"/>
                    <a:pt x="122110" y="26099"/>
                    <a:pt x="131731" y="19907"/>
                  </a:cubicBezTo>
                  <a:cubicBezTo>
                    <a:pt x="141351" y="13716"/>
                    <a:pt x="151924" y="8858"/>
                    <a:pt x="163449" y="5334"/>
                  </a:cubicBezTo>
                  <a:cubicBezTo>
                    <a:pt x="174974" y="1714"/>
                    <a:pt x="188024" y="0"/>
                    <a:pt x="202597" y="0"/>
                  </a:cubicBezTo>
                  <a:cubicBezTo>
                    <a:pt x="244888" y="0"/>
                    <a:pt x="277559" y="12954"/>
                    <a:pt x="300514" y="38862"/>
                  </a:cubicBezTo>
                  <a:cubicBezTo>
                    <a:pt x="323564" y="64770"/>
                    <a:pt x="334994" y="99631"/>
                    <a:pt x="334994" y="143446"/>
                  </a:cubicBezTo>
                  <a:lnTo>
                    <a:pt x="334994" y="380905"/>
                  </a:lnTo>
                  <a:lnTo>
                    <a:pt x="248793" y="380905"/>
                  </a:lnTo>
                  <a:lnTo>
                    <a:pt x="248793" y="169450"/>
                  </a:lnTo>
                  <a:cubicBezTo>
                    <a:pt x="248793" y="140303"/>
                    <a:pt x="241935" y="117824"/>
                    <a:pt x="228124" y="102108"/>
                  </a:cubicBezTo>
                  <a:cubicBezTo>
                    <a:pt x="214313" y="86392"/>
                    <a:pt x="194881" y="78486"/>
                    <a:pt x="169640" y="78486"/>
                  </a:cubicBezTo>
                  <a:cubicBezTo>
                    <a:pt x="144399" y="78486"/>
                    <a:pt x="124777" y="86582"/>
                    <a:pt x="109347" y="102775"/>
                  </a:cubicBezTo>
                  <a:cubicBezTo>
                    <a:pt x="93917" y="118967"/>
                    <a:pt x="86201" y="141637"/>
                    <a:pt x="86201" y="170783"/>
                  </a:cubicBezTo>
                  <a:lnTo>
                    <a:pt x="86201" y="380905"/>
                  </a:lnTo>
                  <a:lnTo>
                    <a:pt x="0" y="380905"/>
                  </a:lnTo>
                  <a:lnTo>
                    <a:pt x="0" y="7810"/>
                  </a:lnTo>
                  <a:close/>
                </a:path>
              </a:pathLst>
            </a:custGeom>
            <a:solidFill>
              <a:srgbClr val="44505E"/>
            </a:solidFill>
            <a:ln w="9525" cap="flat">
              <a:noFill/>
              <a:prstDash val="solid"/>
              <a:miter/>
            </a:ln>
          </p:spPr>
          <p:txBody>
            <a:bodyPr rtlCol="0" anchor="ctr"/>
            <a:lstStyle/>
            <a:p>
              <a:endParaRPr lang="pt-BR" noProof="0"/>
            </a:p>
          </p:txBody>
        </p:sp>
        <p:sp>
          <p:nvSpPr>
            <p:cNvPr id="11" name="Freeform: Shape 23">
              <a:extLst>
                <a:ext uri="{FF2B5EF4-FFF2-40B4-BE49-F238E27FC236}">
                  <a16:creationId xmlns:a16="http://schemas.microsoft.com/office/drawing/2014/main" id="{2DB9A897-75E5-9611-690F-E4EA3F66A5E0}"/>
                </a:ext>
              </a:extLst>
            </p:cNvPr>
            <p:cNvSpPr/>
            <p:nvPr/>
          </p:nvSpPr>
          <p:spPr>
            <a:xfrm>
              <a:off x="5692712" y="699959"/>
              <a:ext cx="100015" cy="97908"/>
            </a:xfrm>
            <a:custGeom>
              <a:avLst/>
              <a:gdLst>
                <a:gd name="connsiteX0" fmla="*/ 197834 w 397859"/>
                <a:gd name="connsiteY0" fmla="*/ 389477 h 389477"/>
                <a:gd name="connsiteX1" fmla="*/ 119063 w 397859"/>
                <a:gd name="connsiteY1" fmla="*/ 374237 h 389477"/>
                <a:gd name="connsiteX2" fmla="*/ 56197 w 397859"/>
                <a:gd name="connsiteY2" fmla="*/ 332899 h 389477"/>
                <a:gd name="connsiteX3" fmla="*/ 14859 w 397859"/>
                <a:gd name="connsiteY3" fmla="*/ 271463 h 389477"/>
                <a:gd name="connsiteX4" fmla="*/ 0 w 397859"/>
                <a:gd name="connsiteY4" fmla="*/ 196501 h 389477"/>
                <a:gd name="connsiteX5" fmla="*/ 0 w 397859"/>
                <a:gd name="connsiteY5" fmla="*/ 195072 h 389477"/>
                <a:gd name="connsiteX6" fmla="*/ 15145 w 397859"/>
                <a:gd name="connsiteY6" fmla="*/ 119444 h 389477"/>
                <a:gd name="connsiteX7" fmla="*/ 56864 w 397859"/>
                <a:gd name="connsiteY7" fmla="*/ 57626 h 389477"/>
                <a:gd name="connsiteX8" fmla="*/ 119729 w 397859"/>
                <a:gd name="connsiteY8" fmla="*/ 15526 h 389477"/>
                <a:gd name="connsiteX9" fmla="*/ 199263 w 397859"/>
                <a:gd name="connsiteY9" fmla="*/ 0 h 389477"/>
                <a:gd name="connsiteX10" fmla="*/ 278797 w 397859"/>
                <a:gd name="connsiteY10" fmla="*/ 15240 h 389477"/>
                <a:gd name="connsiteX11" fmla="*/ 341662 w 397859"/>
                <a:gd name="connsiteY11" fmla="*/ 56959 h 389477"/>
                <a:gd name="connsiteX12" fmla="*/ 383000 w 397859"/>
                <a:gd name="connsiteY12" fmla="*/ 118396 h 389477"/>
                <a:gd name="connsiteX13" fmla="*/ 397859 w 397859"/>
                <a:gd name="connsiteY13" fmla="*/ 193643 h 389477"/>
                <a:gd name="connsiteX14" fmla="*/ 397859 w 397859"/>
                <a:gd name="connsiteY14" fmla="*/ 195072 h 389477"/>
                <a:gd name="connsiteX15" fmla="*/ 382619 w 397859"/>
                <a:gd name="connsiteY15" fmla="*/ 270034 h 389477"/>
                <a:gd name="connsiteX16" fmla="*/ 340900 w 397859"/>
                <a:gd name="connsiteY16" fmla="*/ 331851 h 389477"/>
                <a:gd name="connsiteX17" fmla="*/ 277654 w 397859"/>
                <a:gd name="connsiteY17" fmla="*/ 373856 h 389477"/>
                <a:gd name="connsiteX18" fmla="*/ 197834 w 397859"/>
                <a:gd name="connsiteY18" fmla="*/ 389382 h 389477"/>
                <a:gd name="connsiteX19" fmla="*/ 199263 w 397859"/>
                <a:gd name="connsiteY19" fmla="*/ 315278 h 389477"/>
                <a:gd name="connsiteX20" fmla="*/ 245935 w 397859"/>
                <a:gd name="connsiteY20" fmla="*/ 305753 h 389477"/>
                <a:gd name="connsiteX21" fmla="*/ 281368 w 397859"/>
                <a:gd name="connsiteY21" fmla="*/ 279940 h 389477"/>
                <a:gd name="connsiteX22" fmla="*/ 303847 w 397859"/>
                <a:gd name="connsiteY22" fmla="*/ 242125 h 389477"/>
                <a:gd name="connsiteX23" fmla="*/ 311563 w 397859"/>
                <a:gd name="connsiteY23" fmla="*/ 196501 h 389477"/>
                <a:gd name="connsiteX24" fmla="*/ 311563 w 397859"/>
                <a:gd name="connsiteY24" fmla="*/ 195072 h 389477"/>
                <a:gd name="connsiteX25" fmla="*/ 303181 w 397859"/>
                <a:gd name="connsiteY25" fmla="*/ 148400 h 389477"/>
                <a:gd name="connsiteX26" fmla="*/ 279654 w 397859"/>
                <a:gd name="connsiteY26" fmla="*/ 110204 h 389477"/>
                <a:gd name="connsiteX27" fmla="*/ 243840 w 397859"/>
                <a:gd name="connsiteY27" fmla="*/ 84392 h 389477"/>
                <a:gd name="connsiteX28" fmla="*/ 197834 w 397859"/>
                <a:gd name="connsiteY28" fmla="*/ 74867 h 389477"/>
                <a:gd name="connsiteX29" fmla="*/ 151829 w 397859"/>
                <a:gd name="connsiteY29" fmla="*/ 84392 h 389477"/>
                <a:gd name="connsiteX30" fmla="*/ 116396 w 397859"/>
                <a:gd name="connsiteY30" fmla="*/ 109823 h 389477"/>
                <a:gd name="connsiteX31" fmla="*/ 93917 w 397859"/>
                <a:gd name="connsiteY31" fmla="*/ 147638 h 389477"/>
                <a:gd name="connsiteX32" fmla="*/ 86201 w 397859"/>
                <a:gd name="connsiteY32" fmla="*/ 193548 h 389477"/>
                <a:gd name="connsiteX33" fmla="*/ 86201 w 397859"/>
                <a:gd name="connsiteY33" fmla="*/ 194977 h 389477"/>
                <a:gd name="connsiteX34" fmla="*/ 94583 w 397859"/>
                <a:gd name="connsiteY34" fmla="*/ 241268 h 389477"/>
                <a:gd name="connsiteX35" fmla="*/ 118110 w 397859"/>
                <a:gd name="connsiteY35" fmla="*/ 279463 h 389477"/>
                <a:gd name="connsiteX36" fmla="*/ 153924 w 397859"/>
                <a:gd name="connsiteY36" fmla="*/ 305562 h 389477"/>
                <a:gd name="connsiteX37" fmla="*/ 199263 w 397859"/>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859" h="389477">
                  <a:moveTo>
                    <a:pt x="197834" y="389477"/>
                  </a:moveTo>
                  <a:cubicBezTo>
                    <a:pt x="169545" y="389477"/>
                    <a:pt x="143351" y="384429"/>
                    <a:pt x="119063" y="374237"/>
                  </a:cubicBezTo>
                  <a:cubicBezTo>
                    <a:pt x="94774" y="364141"/>
                    <a:pt x="73819" y="350330"/>
                    <a:pt x="56197" y="332899"/>
                  </a:cubicBezTo>
                  <a:cubicBezTo>
                    <a:pt x="38481" y="315468"/>
                    <a:pt x="24765" y="294989"/>
                    <a:pt x="14859" y="271463"/>
                  </a:cubicBezTo>
                  <a:cubicBezTo>
                    <a:pt x="4953" y="247936"/>
                    <a:pt x="0" y="222980"/>
                    <a:pt x="0" y="196501"/>
                  </a:cubicBezTo>
                  <a:lnTo>
                    <a:pt x="0" y="195072"/>
                  </a:lnTo>
                  <a:cubicBezTo>
                    <a:pt x="0" y="168212"/>
                    <a:pt x="5048" y="143066"/>
                    <a:pt x="15145" y="119444"/>
                  </a:cubicBezTo>
                  <a:cubicBezTo>
                    <a:pt x="25241" y="95917"/>
                    <a:pt x="39148" y="75248"/>
                    <a:pt x="56864" y="57626"/>
                  </a:cubicBezTo>
                  <a:cubicBezTo>
                    <a:pt x="74581" y="39910"/>
                    <a:pt x="95536" y="25908"/>
                    <a:pt x="119729" y="15526"/>
                  </a:cubicBezTo>
                  <a:cubicBezTo>
                    <a:pt x="144018" y="5144"/>
                    <a:pt x="170497" y="0"/>
                    <a:pt x="199263" y="0"/>
                  </a:cubicBezTo>
                  <a:cubicBezTo>
                    <a:pt x="228029" y="0"/>
                    <a:pt x="254508" y="5048"/>
                    <a:pt x="278797" y="15240"/>
                  </a:cubicBezTo>
                  <a:cubicBezTo>
                    <a:pt x="303085" y="25337"/>
                    <a:pt x="324041" y="39243"/>
                    <a:pt x="341662" y="56959"/>
                  </a:cubicBezTo>
                  <a:cubicBezTo>
                    <a:pt x="359378" y="74676"/>
                    <a:pt x="373094" y="95155"/>
                    <a:pt x="383000" y="118396"/>
                  </a:cubicBezTo>
                  <a:cubicBezTo>
                    <a:pt x="392906" y="141732"/>
                    <a:pt x="397859" y="166783"/>
                    <a:pt x="397859" y="193643"/>
                  </a:cubicBezTo>
                  <a:lnTo>
                    <a:pt x="397859" y="195072"/>
                  </a:lnTo>
                  <a:cubicBezTo>
                    <a:pt x="397859" y="221456"/>
                    <a:pt x="392811" y="246412"/>
                    <a:pt x="382619" y="270034"/>
                  </a:cubicBezTo>
                  <a:cubicBezTo>
                    <a:pt x="372523" y="293561"/>
                    <a:pt x="358616" y="314230"/>
                    <a:pt x="340900" y="331851"/>
                  </a:cubicBezTo>
                  <a:cubicBezTo>
                    <a:pt x="323183" y="349472"/>
                    <a:pt x="302133" y="363569"/>
                    <a:pt x="277654" y="373856"/>
                  </a:cubicBezTo>
                  <a:cubicBezTo>
                    <a:pt x="253175" y="384238"/>
                    <a:pt x="226504" y="389382"/>
                    <a:pt x="197834" y="389382"/>
                  </a:cubicBezTo>
                  <a:close/>
                  <a:moveTo>
                    <a:pt x="199263" y="315278"/>
                  </a:moveTo>
                  <a:cubicBezTo>
                    <a:pt x="216598" y="315278"/>
                    <a:pt x="232124" y="312039"/>
                    <a:pt x="245935" y="305753"/>
                  </a:cubicBezTo>
                  <a:cubicBezTo>
                    <a:pt x="259747" y="299371"/>
                    <a:pt x="271558" y="290798"/>
                    <a:pt x="281368" y="279940"/>
                  </a:cubicBezTo>
                  <a:cubicBezTo>
                    <a:pt x="291179" y="269081"/>
                    <a:pt x="298704" y="256508"/>
                    <a:pt x="303847" y="242125"/>
                  </a:cubicBezTo>
                  <a:cubicBezTo>
                    <a:pt x="308991" y="227743"/>
                    <a:pt x="311563" y="212598"/>
                    <a:pt x="311563" y="196501"/>
                  </a:cubicBezTo>
                  <a:lnTo>
                    <a:pt x="311563" y="195072"/>
                  </a:lnTo>
                  <a:cubicBezTo>
                    <a:pt x="311563" y="178594"/>
                    <a:pt x="308800" y="163068"/>
                    <a:pt x="303181" y="148400"/>
                  </a:cubicBezTo>
                  <a:cubicBezTo>
                    <a:pt x="297561" y="133826"/>
                    <a:pt x="289750" y="121063"/>
                    <a:pt x="279654" y="110204"/>
                  </a:cubicBezTo>
                  <a:cubicBezTo>
                    <a:pt x="269558" y="99346"/>
                    <a:pt x="257651" y="90773"/>
                    <a:pt x="243840" y="84392"/>
                  </a:cubicBezTo>
                  <a:cubicBezTo>
                    <a:pt x="230029" y="78010"/>
                    <a:pt x="214693" y="74867"/>
                    <a:pt x="197834" y="74867"/>
                  </a:cubicBezTo>
                  <a:cubicBezTo>
                    <a:pt x="180975" y="74867"/>
                    <a:pt x="165640" y="78010"/>
                    <a:pt x="151829" y="84392"/>
                  </a:cubicBezTo>
                  <a:cubicBezTo>
                    <a:pt x="138017" y="90773"/>
                    <a:pt x="126206" y="99250"/>
                    <a:pt x="116396" y="109823"/>
                  </a:cubicBezTo>
                  <a:cubicBezTo>
                    <a:pt x="106585" y="120396"/>
                    <a:pt x="99060" y="133064"/>
                    <a:pt x="93917" y="147638"/>
                  </a:cubicBezTo>
                  <a:cubicBezTo>
                    <a:pt x="88773" y="162211"/>
                    <a:pt x="86201" y="177546"/>
                    <a:pt x="86201" y="193548"/>
                  </a:cubicBezTo>
                  <a:lnTo>
                    <a:pt x="86201" y="194977"/>
                  </a:lnTo>
                  <a:cubicBezTo>
                    <a:pt x="86201" y="211455"/>
                    <a:pt x="88963" y="226886"/>
                    <a:pt x="94583" y="241268"/>
                  </a:cubicBezTo>
                  <a:cubicBezTo>
                    <a:pt x="100203" y="255651"/>
                    <a:pt x="108013" y="268319"/>
                    <a:pt x="118110" y="279463"/>
                  </a:cubicBezTo>
                  <a:cubicBezTo>
                    <a:pt x="128206" y="290513"/>
                    <a:pt x="140113" y="299275"/>
                    <a:pt x="153924" y="305562"/>
                  </a:cubicBezTo>
                  <a:cubicBezTo>
                    <a:pt x="167735" y="311944"/>
                    <a:pt x="182880"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12" name="Freeform: Shape 24">
              <a:extLst>
                <a:ext uri="{FF2B5EF4-FFF2-40B4-BE49-F238E27FC236}">
                  <a16:creationId xmlns:a16="http://schemas.microsoft.com/office/drawing/2014/main" id="{D443C1D7-9653-AED7-EF96-70F6A7758BA4}"/>
                </a:ext>
              </a:extLst>
            </p:cNvPr>
            <p:cNvSpPr/>
            <p:nvPr/>
          </p:nvSpPr>
          <p:spPr>
            <a:xfrm>
              <a:off x="5806925"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2 w 296894"/>
                <a:gd name="connsiteY36" fmla="*/ 224980 h 386714"/>
                <a:gd name="connsiteX37" fmla="*/ 296894 w 296894"/>
                <a:gd name="connsiteY37" fmla="*/ 267938 h 386714"/>
                <a:gd name="connsiteX38" fmla="*/ 296894 w 296894"/>
                <a:gd name="connsiteY38" fmla="*/ 269367 h 386714"/>
                <a:gd name="connsiteX39" fmla="*/ 286322 w 296894"/>
                <a:gd name="connsiteY39" fmla="*/ 320897 h 386714"/>
                <a:gd name="connsiteX40" fmla="*/ 256984 w 296894"/>
                <a:gd name="connsiteY40" fmla="*/ 357188 h 386714"/>
                <a:gd name="connsiteX41" fmla="*/ 212789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8" y="298704"/>
                    <a:pt x="100013" y="306514"/>
                  </a:cubicBezTo>
                  <a:cubicBezTo>
                    <a:pt x="120967" y="314325"/>
                    <a:pt x="141161" y="318135"/>
                    <a:pt x="160401" y="318135"/>
                  </a:cubicBezTo>
                  <a:cubicBezTo>
                    <a:pt x="179642" y="318135"/>
                    <a:pt x="192976"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2" y="241078"/>
                    <a:pt x="176498" y="237553"/>
                    <a:pt x="166402" y="234220"/>
                  </a:cubicBezTo>
                  <a:cubicBezTo>
                    <a:pt x="156305" y="230886"/>
                    <a:pt x="145733" y="227647"/>
                    <a:pt x="134969" y="224314"/>
                  </a:cubicBezTo>
                  <a:cubicBezTo>
                    <a:pt x="121253" y="220599"/>
                    <a:pt x="107537" y="216122"/>
                    <a:pt x="93631" y="210884"/>
                  </a:cubicBezTo>
                  <a:cubicBezTo>
                    <a:pt x="79724" y="205740"/>
                    <a:pt x="67246" y="198977"/>
                    <a:pt x="56197" y="190786"/>
                  </a:cubicBezTo>
                  <a:cubicBezTo>
                    <a:pt x="45149" y="182594"/>
                    <a:pt x="36100" y="172307"/>
                    <a:pt x="28956" y="160115"/>
                  </a:cubicBezTo>
                  <a:cubicBezTo>
                    <a:pt x="21908"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5"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7" y="156210"/>
                    <a:pt x="180975" y="159448"/>
                  </a:cubicBezTo>
                  <a:cubicBezTo>
                    <a:pt x="194596" y="163639"/>
                    <a:pt x="208312" y="168592"/>
                    <a:pt x="222028" y="174212"/>
                  </a:cubicBezTo>
                  <a:cubicBezTo>
                    <a:pt x="235649" y="179832"/>
                    <a:pt x="248031" y="186785"/>
                    <a:pt x="259080" y="194977"/>
                  </a:cubicBezTo>
                  <a:cubicBezTo>
                    <a:pt x="270129" y="203168"/>
                    <a:pt x="279273" y="213169"/>
                    <a:pt x="286322" y="224980"/>
                  </a:cubicBezTo>
                  <a:cubicBezTo>
                    <a:pt x="293370" y="236696"/>
                    <a:pt x="296894" y="251079"/>
                    <a:pt x="296894" y="267938"/>
                  </a:cubicBezTo>
                  <a:lnTo>
                    <a:pt x="296894" y="269367"/>
                  </a:lnTo>
                  <a:cubicBezTo>
                    <a:pt x="296894" y="289084"/>
                    <a:pt x="293370" y="306229"/>
                    <a:pt x="286322" y="320897"/>
                  </a:cubicBezTo>
                  <a:cubicBezTo>
                    <a:pt x="279273" y="335470"/>
                    <a:pt x="269462" y="347567"/>
                    <a:pt x="256984" y="357188"/>
                  </a:cubicBezTo>
                  <a:cubicBezTo>
                    <a:pt x="244507" y="366808"/>
                    <a:pt x="229743" y="374142"/>
                    <a:pt x="212789"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13" name="Freeform: Shape 25">
              <a:extLst>
                <a:ext uri="{FF2B5EF4-FFF2-40B4-BE49-F238E27FC236}">
                  <a16:creationId xmlns:a16="http://schemas.microsoft.com/office/drawing/2014/main" id="{CEA3CF14-B16A-B771-D664-D10A72F9AE86}"/>
                </a:ext>
              </a:extLst>
            </p:cNvPr>
            <p:cNvSpPr/>
            <p:nvPr/>
          </p:nvSpPr>
          <p:spPr>
            <a:xfrm>
              <a:off x="589573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6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160" y="318135"/>
                    <a:pt x="160401" y="318135"/>
                  </a:cubicBezTo>
                  <a:cubicBezTo>
                    <a:pt x="179641" y="318135"/>
                    <a:pt x="192976"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4"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792"/>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14" name="Freeform: Shape 26">
              <a:extLst>
                <a:ext uri="{FF2B5EF4-FFF2-40B4-BE49-F238E27FC236}">
                  <a16:creationId xmlns:a16="http://schemas.microsoft.com/office/drawing/2014/main" id="{EE311B65-7DC4-C166-24B4-447B12910B95}"/>
                </a:ext>
              </a:extLst>
            </p:cNvPr>
            <p:cNvSpPr/>
            <p:nvPr/>
          </p:nvSpPr>
          <p:spPr>
            <a:xfrm>
              <a:off x="5985812" y="700558"/>
              <a:ext cx="85097" cy="97141"/>
            </a:xfrm>
            <a:custGeom>
              <a:avLst/>
              <a:gdLst>
                <a:gd name="connsiteX0" fmla="*/ 253651 w 338518"/>
                <a:gd name="connsiteY0" fmla="*/ 378619 h 386429"/>
                <a:gd name="connsiteX1" fmla="*/ 253651 w 338518"/>
                <a:gd name="connsiteY1" fmla="*/ 332708 h 386429"/>
                <a:gd name="connsiteX2" fmla="*/ 204883 w 338518"/>
                <a:gd name="connsiteY2" fmla="*/ 370904 h 386429"/>
                <a:gd name="connsiteX3" fmla="*/ 132779 w 338518"/>
                <a:gd name="connsiteY3" fmla="*/ 386429 h 386429"/>
                <a:gd name="connsiteX4" fmla="*/ 81915 w 338518"/>
                <a:gd name="connsiteY4" fmla="*/ 379000 h 386429"/>
                <a:gd name="connsiteX5" fmla="*/ 39910 w 338518"/>
                <a:gd name="connsiteY5" fmla="*/ 357092 h 386429"/>
                <a:gd name="connsiteX6" fmla="*/ 10954 w 338518"/>
                <a:gd name="connsiteY6" fmla="*/ 321088 h 386429"/>
                <a:gd name="connsiteX7" fmla="*/ 0 w 338518"/>
                <a:gd name="connsiteY7" fmla="*/ 271272 h 386429"/>
                <a:gd name="connsiteX8" fmla="*/ 0 w 338518"/>
                <a:gd name="connsiteY8" fmla="*/ 269843 h 386429"/>
                <a:gd name="connsiteX9" fmla="*/ 11335 w 338518"/>
                <a:gd name="connsiteY9" fmla="*/ 215741 h 386429"/>
                <a:gd name="connsiteX10" fmla="*/ 42767 w 338518"/>
                <a:gd name="connsiteY10" fmla="*/ 177546 h 386429"/>
                <a:gd name="connsiteX11" fmla="*/ 90773 w 338518"/>
                <a:gd name="connsiteY11" fmla="*/ 154972 h 386429"/>
                <a:gd name="connsiteX12" fmla="*/ 151162 w 338518"/>
                <a:gd name="connsiteY12" fmla="*/ 147542 h 386429"/>
                <a:gd name="connsiteX13" fmla="*/ 208788 w 338518"/>
                <a:gd name="connsiteY13" fmla="*/ 151829 h 386429"/>
                <a:gd name="connsiteX14" fmla="*/ 254413 w 338518"/>
                <a:gd name="connsiteY14" fmla="*/ 163163 h 386429"/>
                <a:gd name="connsiteX15" fmla="*/ 254413 w 338518"/>
                <a:gd name="connsiteY15" fmla="*/ 156115 h 386429"/>
                <a:gd name="connsiteX16" fmla="*/ 230696 w 338518"/>
                <a:gd name="connsiteY16" fmla="*/ 96774 h 386429"/>
                <a:gd name="connsiteX17" fmla="*/ 162496 w 338518"/>
                <a:gd name="connsiteY17" fmla="*/ 76295 h 386429"/>
                <a:gd name="connsiteX18" fmla="*/ 106013 w 338518"/>
                <a:gd name="connsiteY18" fmla="*/ 82677 h 386429"/>
                <a:gd name="connsiteX19" fmla="*/ 55816 w 338518"/>
                <a:gd name="connsiteY19" fmla="*/ 99632 h 386429"/>
                <a:gd name="connsiteX20" fmla="*/ 32480 w 338518"/>
                <a:gd name="connsiteY20" fmla="*/ 31052 h 386429"/>
                <a:gd name="connsiteX21" fmla="*/ 96107 w 338518"/>
                <a:gd name="connsiteY21" fmla="*/ 8477 h 386429"/>
                <a:gd name="connsiteX22" fmla="*/ 174593 w 338518"/>
                <a:gd name="connsiteY22" fmla="*/ 0 h 386429"/>
                <a:gd name="connsiteX23" fmla="*/ 298228 w 338518"/>
                <a:gd name="connsiteY23" fmla="*/ 41338 h 386429"/>
                <a:gd name="connsiteX24" fmla="*/ 338519 w 338518"/>
                <a:gd name="connsiteY24" fmla="*/ 157544 h 386429"/>
                <a:gd name="connsiteX25" fmla="*/ 338519 w 338518"/>
                <a:gd name="connsiteY25" fmla="*/ 378714 h 386429"/>
                <a:gd name="connsiteX26" fmla="*/ 253746 w 338518"/>
                <a:gd name="connsiteY26" fmla="*/ 378714 h 386429"/>
                <a:gd name="connsiteX27" fmla="*/ 255746 w 338518"/>
                <a:gd name="connsiteY27" fmla="*/ 222409 h 386429"/>
                <a:gd name="connsiteX28" fmla="*/ 217265 w 338518"/>
                <a:gd name="connsiteY28" fmla="*/ 211836 h 386429"/>
                <a:gd name="connsiteX29" fmla="*/ 170307 w 338518"/>
                <a:gd name="connsiteY29" fmla="*/ 207550 h 386429"/>
                <a:gd name="connsiteX30" fmla="*/ 107442 w 338518"/>
                <a:gd name="connsiteY30" fmla="*/ 223075 h 386429"/>
                <a:gd name="connsiteX31" fmla="*/ 84868 w 338518"/>
                <a:gd name="connsiteY31" fmla="*/ 265462 h 386429"/>
                <a:gd name="connsiteX32" fmla="*/ 84868 w 338518"/>
                <a:gd name="connsiteY32" fmla="*/ 266891 h 386429"/>
                <a:gd name="connsiteX33" fmla="*/ 105728 w 338518"/>
                <a:gd name="connsiteY33" fmla="*/ 307848 h 386429"/>
                <a:gd name="connsiteX34" fmla="*/ 156972 w 338518"/>
                <a:gd name="connsiteY34" fmla="*/ 321945 h 386429"/>
                <a:gd name="connsiteX35" fmla="*/ 196215 w 338518"/>
                <a:gd name="connsiteY35" fmla="*/ 316325 h 386429"/>
                <a:gd name="connsiteX36" fmla="*/ 227647 w 338518"/>
                <a:gd name="connsiteY36" fmla="*/ 300419 h 386429"/>
                <a:gd name="connsiteX37" fmla="*/ 248507 w 338518"/>
                <a:gd name="connsiteY37" fmla="*/ 275654 h 386429"/>
                <a:gd name="connsiteX38" fmla="*/ 255937 w 338518"/>
                <a:gd name="connsiteY38" fmla="*/ 243459 h 386429"/>
                <a:gd name="connsiteX39" fmla="*/ 255937 w 338518"/>
                <a:gd name="connsiteY39" fmla="*/ 222218 h 3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8518" h="386429">
                  <a:moveTo>
                    <a:pt x="253651" y="378619"/>
                  </a:moveTo>
                  <a:lnTo>
                    <a:pt x="253651" y="332708"/>
                  </a:lnTo>
                  <a:cubicBezTo>
                    <a:pt x="240887" y="347758"/>
                    <a:pt x="224695" y="360521"/>
                    <a:pt x="204883" y="370904"/>
                  </a:cubicBezTo>
                  <a:cubicBezTo>
                    <a:pt x="185071" y="381286"/>
                    <a:pt x="161068" y="386429"/>
                    <a:pt x="132779" y="386429"/>
                  </a:cubicBezTo>
                  <a:cubicBezTo>
                    <a:pt x="114871" y="386429"/>
                    <a:pt x="97917" y="383953"/>
                    <a:pt x="81915" y="379000"/>
                  </a:cubicBezTo>
                  <a:cubicBezTo>
                    <a:pt x="65913" y="374047"/>
                    <a:pt x="51911" y="366713"/>
                    <a:pt x="39910" y="357092"/>
                  </a:cubicBezTo>
                  <a:cubicBezTo>
                    <a:pt x="27908" y="347472"/>
                    <a:pt x="18193" y="335471"/>
                    <a:pt x="10954" y="321088"/>
                  </a:cubicBezTo>
                  <a:cubicBezTo>
                    <a:pt x="3620" y="306705"/>
                    <a:pt x="0" y="290132"/>
                    <a:pt x="0" y="271272"/>
                  </a:cubicBezTo>
                  <a:lnTo>
                    <a:pt x="0" y="269843"/>
                  </a:lnTo>
                  <a:cubicBezTo>
                    <a:pt x="0" y="249079"/>
                    <a:pt x="3810" y="231077"/>
                    <a:pt x="11335" y="215741"/>
                  </a:cubicBezTo>
                  <a:cubicBezTo>
                    <a:pt x="18859" y="200406"/>
                    <a:pt x="29337" y="187738"/>
                    <a:pt x="42767" y="177546"/>
                  </a:cubicBezTo>
                  <a:cubicBezTo>
                    <a:pt x="56197" y="167450"/>
                    <a:pt x="72199" y="159925"/>
                    <a:pt x="90773" y="154972"/>
                  </a:cubicBezTo>
                  <a:cubicBezTo>
                    <a:pt x="109347" y="150019"/>
                    <a:pt x="129540" y="147542"/>
                    <a:pt x="151162" y="147542"/>
                  </a:cubicBezTo>
                  <a:cubicBezTo>
                    <a:pt x="172783" y="147542"/>
                    <a:pt x="192976" y="148971"/>
                    <a:pt x="208788" y="151829"/>
                  </a:cubicBezTo>
                  <a:cubicBezTo>
                    <a:pt x="224599" y="154686"/>
                    <a:pt x="239744" y="158401"/>
                    <a:pt x="254413" y="163163"/>
                  </a:cubicBezTo>
                  <a:lnTo>
                    <a:pt x="254413" y="156115"/>
                  </a:lnTo>
                  <a:cubicBezTo>
                    <a:pt x="254413" y="130207"/>
                    <a:pt x="246507" y="110395"/>
                    <a:pt x="230696" y="96774"/>
                  </a:cubicBezTo>
                  <a:cubicBezTo>
                    <a:pt x="214884" y="83153"/>
                    <a:pt x="192214" y="76295"/>
                    <a:pt x="162496" y="76295"/>
                  </a:cubicBezTo>
                  <a:cubicBezTo>
                    <a:pt x="141351" y="76295"/>
                    <a:pt x="122491" y="78391"/>
                    <a:pt x="106013" y="82677"/>
                  </a:cubicBezTo>
                  <a:cubicBezTo>
                    <a:pt x="89535" y="86963"/>
                    <a:pt x="72771" y="92583"/>
                    <a:pt x="55816" y="99632"/>
                  </a:cubicBezTo>
                  <a:lnTo>
                    <a:pt x="32480" y="31052"/>
                  </a:lnTo>
                  <a:cubicBezTo>
                    <a:pt x="53149" y="21622"/>
                    <a:pt x="74390" y="14097"/>
                    <a:pt x="96107" y="8477"/>
                  </a:cubicBezTo>
                  <a:cubicBezTo>
                    <a:pt x="117729" y="2858"/>
                    <a:pt x="143923" y="0"/>
                    <a:pt x="174593" y="0"/>
                  </a:cubicBezTo>
                  <a:cubicBezTo>
                    <a:pt x="230124" y="0"/>
                    <a:pt x="271367" y="13811"/>
                    <a:pt x="298228" y="41338"/>
                  </a:cubicBezTo>
                  <a:cubicBezTo>
                    <a:pt x="325088" y="68866"/>
                    <a:pt x="338519" y="107633"/>
                    <a:pt x="338519" y="157544"/>
                  </a:cubicBezTo>
                  <a:lnTo>
                    <a:pt x="338519" y="378714"/>
                  </a:lnTo>
                  <a:lnTo>
                    <a:pt x="253746" y="378714"/>
                  </a:lnTo>
                  <a:close/>
                  <a:moveTo>
                    <a:pt x="255746" y="222409"/>
                  </a:moveTo>
                  <a:cubicBezTo>
                    <a:pt x="244888" y="218123"/>
                    <a:pt x="232029" y="214598"/>
                    <a:pt x="217265" y="211836"/>
                  </a:cubicBezTo>
                  <a:cubicBezTo>
                    <a:pt x="202406" y="208979"/>
                    <a:pt x="186785" y="207550"/>
                    <a:pt x="170307" y="207550"/>
                  </a:cubicBezTo>
                  <a:cubicBezTo>
                    <a:pt x="143446" y="207550"/>
                    <a:pt x="122491" y="212693"/>
                    <a:pt x="107442" y="223075"/>
                  </a:cubicBezTo>
                  <a:cubicBezTo>
                    <a:pt x="92392" y="233458"/>
                    <a:pt x="84868" y="247555"/>
                    <a:pt x="84868" y="265462"/>
                  </a:cubicBezTo>
                  <a:lnTo>
                    <a:pt x="84868" y="266891"/>
                  </a:lnTo>
                  <a:cubicBezTo>
                    <a:pt x="84868" y="284798"/>
                    <a:pt x="91821" y="298418"/>
                    <a:pt x="105728" y="307848"/>
                  </a:cubicBezTo>
                  <a:cubicBezTo>
                    <a:pt x="119634" y="317278"/>
                    <a:pt x="136684" y="321945"/>
                    <a:pt x="156972" y="321945"/>
                  </a:cubicBezTo>
                  <a:cubicBezTo>
                    <a:pt x="171069" y="321945"/>
                    <a:pt x="184213" y="320040"/>
                    <a:pt x="196215" y="316325"/>
                  </a:cubicBezTo>
                  <a:cubicBezTo>
                    <a:pt x="208216" y="312515"/>
                    <a:pt x="218694" y="307277"/>
                    <a:pt x="227647" y="300419"/>
                  </a:cubicBezTo>
                  <a:cubicBezTo>
                    <a:pt x="236601" y="293561"/>
                    <a:pt x="243554" y="285369"/>
                    <a:pt x="248507" y="275654"/>
                  </a:cubicBezTo>
                  <a:cubicBezTo>
                    <a:pt x="253460" y="266033"/>
                    <a:pt x="255937" y="255270"/>
                    <a:pt x="255937" y="243459"/>
                  </a:cubicBezTo>
                  <a:lnTo>
                    <a:pt x="255937" y="222218"/>
                  </a:lnTo>
                  <a:close/>
                </a:path>
              </a:pathLst>
            </a:custGeom>
            <a:solidFill>
              <a:srgbClr val="44505E"/>
            </a:solidFill>
            <a:ln w="9525" cap="flat">
              <a:noFill/>
              <a:prstDash val="solid"/>
              <a:miter/>
            </a:ln>
          </p:spPr>
          <p:txBody>
            <a:bodyPr rtlCol="0" anchor="ctr"/>
            <a:lstStyle/>
            <a:p>
              <a:endParaRPr lang="pt-BR" noProof="0"/>
            </a:p>
          </p:txBody>
        </p:sp>
        <p:sp>
          <p:nvSpPr>
            <p:cNvPr id="15" name="Freeform: Shape 27">
              <a:extLst>
                <a:ext uri="{FF2B5EF4-FFF2-40B4-BE49-F238E27FC236}">
                  <a16:creationId xmlns:a16="http://schemas.microsoft.com/office/drawing/2014/main" id="{04D0D718-1073-7D10-6546-75680315CC2C}"/>
                </a:ext>
              </a:extLst>
            </p:cNvPr>
            <p:cNvSpPr/>
            <p:nvPr/>
          </p:nvSpPr>
          <p:spPr>
            <a:xfrm>
              <a:off x="6088843" y="700318"/>
              <a:ext cx="74610" cy="97213"/>
            </a:xfrm>
            <a:custGeom>
              <a:avLst/>
              <a:gdLst>
                <a:gd name="connsiteX0" fmla="*/ 158305 w 296799"/>
                <a:gd name="connsiteY0" fmla="*/ 386715 h 386714"/>
                <a:gd name="connsiteX1" fmla="*/ 76676 w 296799"/>
                <a:gd name="connsiteY1" fmla="*/ 372427 h 386714"/>
                <a:gd name="connsiteX2" fmla="*/ 0 w 296799"/>
                <a:gd name="connsiteY2" fmla="*/ 330327 h 386714"/>
                <a:gd name="connsiteX3" fmla="*/ 38195 w 296799"/>
                <a:gd name="connsiteY3" fmla="*/ 272224 h 386714"/>
                <a:gd name="connsiteX4" fmla="*/ 100013 w 296799"/>
                <a:gd name="connsiteY4" fmla="*/ 306514 h 386714"/>
                <a:gd name="connsiteX5" fmla="*/ 160401 w 296799"/>
                <a:gd name="connsiteY5" fmla="*/ 318135 h 386714"/>
                <a:gd name="connsiteX6" fmla="*/ 203168 w 296799"/>
                <a:gd name="connsiteY6" fmla="*/ 307181 h 386714"/>
                <a:gd name="connsiteX7" fmla="*/ 218408 w 296799"/>
                <a:gd name="connsiteY7" fmla="*/ 277939 h 386714"/>
                <a:gd name="connsiteX8" fmla="*/ 218408 w 296799"/>
                <a:gd name="connsiteY8" fmla="*/ 276511 h 386714"/>
                <a:gd name="connsiteX9" fmla="*/ 211646 w 296799"/>
                <a:gd name="connsiteY9" fmla="*/ 258223 h 386714"/>
                <a:gd name="connsiteX10" fmla="*/ 193262 w 296799"/>
                <a:gd name="connsiteY10" fmla="*/ 244792 h 386714"/>
                <a:gd name="connsiteX11" fmla="*/ 166402 w 296799"/>
                <a:gd name="connsiteY11" fmla="*/ 234220 h 386714"/>
                <a:gd name="connsiteX12" fmla="*/ 134969 w 296799"/>
                <a:gd name="connsiteY12" fmla="*/ 224314 h 386714"/>
                <a:gd name="connsiteX13" fmla="*/ 93631 w 296799"/>
                <a:gd name="connsiteY13" fmla="*/ 210884 h 386714"/>
                <a:gd name="connsiteX14" fmla="*/ 56197 w 296799"/>
                <a:gd name="connsiteY14" fmla="*/ 190786 h 386714"/>
                <a:gd name="connsiteX15" fmla="*/ 28956 w 296799"/>
                <a:gd name="connsiteY15" fmla="*/ 160115 h 386714"/>
                <a:gd name="connsiteX16" fmla="*/ 18383 w 296799"/>
                <a:gd name="connsiteY16" fmla="*/ 114967 h 386714"/>
                <a:gd name="connsiteX17" fmla="*/ 18383 w 296799"/>
                <a:gd name="connsiteY17" fmla="*/ 113538 h 386714"/>
                <a:gd name="connsiteX18" fmla="*/ 28575 w 296799"/>
                <a:gd name="connsiteY18" fmla="*/ 66294 h 386714"/>
                <a:gd name="connsiteX19" fmla="*/ 56864 w 296799"/>
                <a:gd name="connsiteY19" fmla="*/ 30385 h 386714"/>
                <a:gd name="connsiteX20" fmla="*/ 99250 w 296799"/>
                <a:gd name="connsiteY20" fmla="*/ 7810 h 386714"/>
                <a:gd name="connsiteX21" fmla="*/ 151162 w 296799"/>
                <a:gd name="connsiteY21" fmla="*/ 0 h 386714"/>
                <a:gd name="connsiteX22" fmla="*/ 222504 w 296799"/>
                <a:gd name="connsiteY22" fmla="*/ 11430 h 386714"/>
                <a:gd name="connsiteX23" fmla="*/ 288227 w 296799"/>
                <a:gd name="connsiteY23" fmla="*/ 42863 h 386714"/>
                <a:gd name="connsiteX24" fmla="*/ 254317 w 296799"/>
                <a:gd name="connsiteY24" fmla="*/ 103918 h 386714"/>
                <a:gd name="connsiteX25" fmla="*/ 199930 w 296799"/>
                <a:gd name="connsiteY25" fmla="*/ 78105 h 386714"/>
                <a:gd name="connsiteX26" fmla="*/ 149066 w 296799"/>
                <a:gd name="connsiteY26" fmla="*/ 68580 h 386714"/>
                <a:gd name="connsiteX27" fmla="*/ 110585 w 296799"/>
                <a:gd name="connsiteY27" fmla="*/ 79153 h 386714"/>
                <a:gd name="connsiteX28" fmla="*/ 96774 w 296799"/>
                <a:gd name="connsiteY28" fmla="*/ 105918 h 386714"/>
                <a:gd name="connsiteX29" fmla="*/ 96774 w 296799"/>
                <a:gd name="connsiteY29" fmla="*/ 107347 h 386714"/>
                <a:gd name="connsiteX30" fmla="*/ 103822 w 296799"/>
                <a:gd name="connsiteY30" fmla="*/ 124587 h 386714"/>
                <a:gd name="connsiteX31" fmla="*/ 122587 w 296799"/>
                <a:gd name="connsiteY31" fmla="*/ 138017 h 386714"/>
                <a:gd name="connsiteX32" fmla="*/ 149447 w 296799"/>
                <a:gd name="connsiteY32" fmla="*/ 149257 h 386714"/>
                <a:gd name="connsiteX33" fmla="*/ 180880 w 296799"/>
                <a:gd name="connsiteY33" fmla="*/ 159448 h 386714"/>
                <a:gd name="connsiteX34" fmla="*/ 221837 w 296799"/>
                <a:gd name="connsiteY34" fmla="*/ 174212 h 386714"/>
                <a:gd name="connsiteX35" fmla="*/ 258985 w 296799"/>
                <a:gd name="connsiteY35" fmla="*/ 194977 h 386714"/>
                <a:gd name="connsiteX36" fmla="*/ 286226 w 296799"/>
                <a:gd name="connsiteY36" fmla="*/ 224980 h 386714"/>
                <a:gd name="connsiteX37" fmla="*/ 296799 w 296799"/>
                <a:gd name="connsiteY37" fmla="*/ 267938 h 386714"/>
                <a:gd name="connsiteX38" fmla="*/ 296799 w 296799"/>
                <a:gd name="connsiteY38" fmla="*/ 269367 h 386714"/>
                <a:gd name="connsiteX39" fmla="*/ 286226 w 296799"/>
                <a:gd name="connsiteY39" fmla="*/ 320897 h 386714"/>
                <a:gd name="connsiteX40" fmla="*/ 256889 w 296799"/>
                <a:gd name="connsiteY40" fmla="*/ 357188 h 386714"/>
                <a:gd name="connsiteX41" fmla="*/ 212693 w 296799"/>
                <a:gd name="connsiteY41" fmla="*/ 379095 h 386714"/>
                <a:gd name="connsiteX42" fmla="*/ 158305 w 296799"/>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799"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065" y="318135"/>
                    <a:pt x="160401" y="318135"/>
                  </a:cubicBezTo>
                  <a:cubicBezTo>
                    <a:pt x="179737" y="318135"/>
                    <a:pt x="193072"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828" y="227647"/>
                    <a:pt x="134969" y="224314"/>
                  </a:cubicBezTo>
                  <a:cubicBezTo>
                    <a:pt x="121348" y="220599"/>
                    <a:pt x="107537" y="216122"/>
                    <a:pt x="93631" y="210884"/>
                  </a:cubicBezTo>
                  <a:cubicBezTo>
                    <a:pt x="79724" y="205740"/>
                    <a:pt x="67246" y="198977"/>
                    <a:pt x="56197" y="190786"/>
                  </a:cubicBezTo>
                  <a:cubicBezTo>
                    <a:pt x="45148" y="182594"/>
                    <a:pt x="36004"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874" y="0"/>
                    <a:pt x="151162" y="0"/>
                  </a:cubicBezTo>
                  <a:cubicBezTo>
                    <a:pt x="174688" y="0"/>
                    <a:pt x="198501" y="3810"/>
                    <a:pt x="222504" y="11430"/>
                  </a:cubicBezTo>
                  <a:cubicBezTo>
                    <a:pt x="246507" y="19050"/>
                    <a:pt x="268414" y="29527"/>
                    <a:pt x="288227" y="42863"/>
                  </a:cubicBezTo>
                  <a:lnTo>
                    <a:pt x="254317"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774" y="95155"/>
                    <a:pt x="96774" y="105918"/>
                  </a:cubicBezTo>
                  <a:lnTo>
                    <a:pt x="96774" y="107347"/>
                  </a:lnTo>
                  <a:cubicBezTo>
                    <a:pt x="96774" y="113919"/>
                    <a:pt x="99155" y="119634"/>
                    <a:pt x="103822" y="124587"/>
                  </a:cubicBezTo>
                  <a:cubicBezTo>
                    <a:pt x="108490" y="129540"/>
                    <a:pt x="114776" y="134017"/>
                    <a:pt x="122587" y="138017"/>
                  </a:cubicBezTo>
                  <a:cubicBezTo>
                    <a:pt x="130397" y="142018"/>
                    <a:pt x="139351" y="145732"/>
                    <a:pt x="149447" y="149257"/>
                  </a:cubicBezTo>
                  <a:cubicBezTo>
                    <a:pt x="159544" y="152781"/>
                    <a:pt x="170021" y="156210"/>
                    <a:pt x="180880" y="159448"/>
                  </a:cubicBezTo>
                  <a:cubicBezTo>
                    <a:pt x="194500" y="163639"/>
                    <a:pt x="208216" y="168592"/>
                    <a:pt x="221837" y="174212"/>
                  </a:cubicBezTo>
                  <a:cubicBezTo>
                    <a:pt x="235458" y="179832"/>
                    <a:pt x="247840" y="186785"/>
                    <a:pt x="258985" y="194977"/>
                  </a:cubicBezTo>
                  <a:cubicBezTo>
                    <a:pt x="270034" y="203168"/>
                    <a:pt x="279178" y="213169"/>
                    <a:pt x="286226" y="224980"/>
                  </a:cubicBezTo>
                  <a:cubicBezTo>
                    <a:pt x="293275" y="236696"/>
                    <a:pt x="296799" y="251079"/>
                    <a:pt x="296799" y="267938"/>
                  </a:cubicBezTo>
                  <a:lnTo>
                    <a:pt x="296799" y="269367"/>
                  </a:lnTo>
                  <a:cubicBezTo>
                    <a:pt x="296799" y="289084"/>
                    <a:pt x="293275" y="306229"/>
                    <a:pt x="286226" y="320897"/>
                  </a:cubicBezTo>
                  <a:cubicBezTo>
                    <a:pt x="279178" y="335470"/>
                    <a:pt x="269367" y="347567"/>
                    <a:pt x="256889" y="357188"/>
                  </a:cubicBezTo>
                  <a:cubicBezTo>
                    <a:pt x="244412" y="366808"/>
                    <a:pt x="229648" y="374142"/>
                    <a:pt x="212693" y="379095"/>
                  </a:cubicBezTo>
                  <a:cubicBezTo>
                    <a:pt x="195739" y="384048"/>
                    <a:pt x="177641" y="386524"/>
                    <a:pt x="158305" y="386524"/>
                  </a:cubicBezTo>
                  <a:close/>
                </a:path>
              </a:pathLst>
            </a:custGeom>
            <a:solidFill>
              <a:srgbClr val="44505E"/>
            </a:solidFill>
            <a:ln w="9525" cap="flat">
              <a:noFill/>
              <a:prstDash val="solid"/>
              <a:miter/>
            </a:ln>
          </p:spPr>
          <p:txBody>
            <a:bodyPr rtlCol="0" anchor="ctr"/>
            <a:lstStyle/>
            <a:p>
              <a:endParaRPr lang="pt-BR" noProof="0"/>
            </a:p>
          </p:txBody>
        </p:sp>
        <p:sp>
          <p:nvSpPr>
            <p:cNvPr id="16" name="Freeform: Shape 28">
              <a:extLst>
                <a:ext uri="{FF2B5EF4-FFF2-40B4-BE49-F238E27FC236}">
                  <a16:creationId xmlns:a16="http://schemas.microsoft.com/office/drawing/2014/main" id="{0CB22622-2694-C52C-5409-2E1D1979B9E8}"/>
                </a:ext>
              </a:extLst>
            </p:cNvPr>
            <p:cNvSpPr/>
            <p:nvPr/>
          </p:nvSpPr>
          <p:spPr>
            <a:xfrm>
              <a:off x="6238590"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4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7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2 w 568166"/>
                <a:gd name="connsiteY21" fmla="*/ 381000 h 381000"/>
                <a:gd name="connsiteX22" fmla="*/ 240982 w 568166"/>
                <a:gd name="connsiteY22" fmla="*/ 168783 h 381000"/>
                <a:gd name="connsiteX23" fmla="*/ 221266 w 568166"/>
                <a:gd name="connsiteY23" fmla="*/ 101822 h 381000"/>
                <a:gd name="connsiteX24" fmla="*/ 165640 w 568166"/>
                <a:gd name="connsiteY24" fmla="*/ 78581 h 381000"/>
                <a:gd name="connsiteX25" fmla="*/ 108013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69" y="48196"/>
                    <a:pt x="105918" y="40576"/>
                  </a:cubicBezTo>
                  <a:cubicBezTo>
                    <a:pt x="112966" y="32956"/>
                    <a:pt x="121063" y="26099"/>
                    <a:pt x="130207" y="19907"/>
                  </a:cubicBezTo>
                  <a:cubicBezTo>
                    <a:pt x="139351" y="13716"/>
                    <a:pt x="149638" y="8858"/>
                    <a:pt x="161163" y="5334"/>
                  </a:cubicBezTo>
                  <a:cubicBezTo>
                    <a:pt x="172688" y="1714"/>
                    <a:pt x="185452" y="0"/>
                    <a:pt x="199549" y="0"/>
                  </a:cubicBezTo>
                  <a:cubicBezTo>
                    <a:pt x="226314" y="0"/>
                    <a:pt x="248983" y="6096"/>
                    <a:pt x="267557" y="18193"/>
                  </a:cubicBezTo>
                  <a:cubicBezTo>
                    <a:pt x="286131" y="30289"/>
                    <a:pt x="300323" y="46387"/>
                    <a:pt x="310134" y="66294"/>
                  </a:cubicBezTo>
                  <a:cubicBezTo>
                    <a:pt x="325279" y="46387"/>
                    <a:pt x="343090" y="30289"/>
                    <a:pt x="363664" y="18193"/>
                  </a:cubicBezTo>
                  <a:cubicBezTo>
                    <a:pt x="384238" y="6096"/>
                    <a:pt x="408718" y="0"/>
                    <a:pt x="437007" y="0"/>
                  </a:cubicBezTo>
                  <a:cubicBezTo>
                    <a:pt x="478155"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7" y="78486"/>
                  </a:cubicBezTo>
                  <a:cubicBezTo>
                    <a:pt x="382809" y="78486"/>
                    <a:pt x="364141" y="86392"/>
                    <a:pt x="349377" y="102108"/>
                  </a:cubicBezTo>
                  <a:cubicBezTo>
                    <a:pt x="334613" y="117824"/>
                    <a:pt x="327184" y="140779"/>
                    <a:pt x="327184" y="170879"/>
                  </a:cubicBezTo>
                  <a:lnTo>
                    <a:pt x="327184" y="381000"/>
                  </a:lnTo>
                  <a:lnTo>
                    <a:pt x="240982" y="381000"/>
                  </a:lnTo>
                  <a:lnTo>
                    <a:pt x="240982" y="168783"/>
                  </a:lnTo>
                  <a:cubicBezTo>
                    <a:pt x="240982" y="139637"/>
                    <a:pt x="234410" y="117348"/>
                    <a:pt x="221266" y="101822"/>
                  </a:cubicBezTo>
                  <a:cubicBezTo>
                    <a:pt x="208121" y="86296"/>
                    <a:pt x="189547" y="78581"/>
                    <a:pt x="165640" y="78581"/>
                  </a:cubicBezTo>
                  <a:cubicBezTo>
                    <a:pt x="141732" y="78581"/>
                    <a:pt x="122491" y="86773"/>
                    <a:pt x="108013"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17" name="Freeform: Shape 29">
              <a:extLst>
                <a:ext uri="{FF2B5EF4-FFF2-40B4-BE49-F238E27FC236}">
                  <a16:creationId xmlns:a16="http://schemas.microsoft.com/office/drawing/2014/main" id="{D3112133-D58B-3751-9D4A-80F121DC7657}"/>
                </a:ext>
              </a:extLst>
            </p:cNvPr>
            <p:cNvSpPr/>
            <p:nvPr/>
          </p:nvSpPr>
          <p:spPr>
            <a:xfrm>
              <a:off x="6400979" y="664258"/>
              <a:ext cx="85097" cy="133441"/>
            </a:xfrm>
            <a:custGeom>
              <a:avLst/>
              <a:gdLst>
                <a:gd name="connsiteX0" fmla="*/ 253651 w 338518"/>
                <a:gd name="connsiteY0" fmla="*/ 523018 h 530828"/>
                <a:gd name="connsiteX1" fmla="*/ 253651 w 338518"/>
                <a:gd name="connsiteY1" fmla="*/ 477107 h 530828"/>
                <a:gd name="connsiteX2" fmla="*/ 204883 w 338518"/>
                <a:gd name="connsiteY2" fmla="*/ 515303 h 530828"/>
                <a:gd name="connsiteX3" fmla="*/ 132779 w 338518"/>
                <a:gd name="connsiteY3" fmla="*/ 530828 h 530828"/>
                <a:gd name="connsiteX4" fmla="*/ 81915 w 338518"/>
                <a:gd name="connsiteY4" fmla="*/ 523399 h 530828"/>
                <a:gd name="connsiteX5" fmla="*/ 39910 w 338518"/>
                <a:gd name="connsiteY5" fmla="*/ 501491 h 530828"/>
                <a:gd name="connsiteX6" fmla="*/ 10954 w 338518"/>
                <a:gd name="connsiteY6" fmla="*/ 465487 h 530828"/>
                <a:gd name="connsiteX7" fmla="*/ 0 w 338518"/>
                <a:gd name="connsiteY7" fmla="*/ 415671 h 530828"/>
                <a:gd name="connsiteX8" fmla="*/ 0 w 338518"/>
                <a:gd name="connsiteY8" fmla="*/ 414242 h 530828"/>
                <a:gd name="connsiteX9" fmla="*/ 11335 w 338518"/>
                <a:gd name="connsiteY9" fmla="*/ 360140 h 530828"/>
                <a:gd name="connsiteX10" fmla="*/ 42767 w 338518"/>
                <a:gd name="connsiteY10" fmla="*/ 321945 h 530828"/>
                <a:gd name="connsiteX11" fmla="*/ 90773 w 338518"/>
                <a:gd name="connsiteY11" fmla="*/ 299371 h 530828"/>
                <a:gd name="connsiteX12" fmla="*/ 151162 w 338518"/>
                <a:gd name="connsiteY12" fmla="*/ 291941 h 530828"/>
                <a:gd name="connsiteX13" fmla="*/ 208788 w 338518"/>
                <a:gd name="connsiteY13" fmla="*/ 296228 h 530828"/>
                <a:gd name="connsiteX14" fmla="*/ 254413 w 338518"/>
                <a:gd name="connsiteY14" fmla="*/ 307562 h 530828"/>
                <a:gd name="connsiteX15" fmla="*/ 254413 w 338518"/>
                <a:gd name="connsiteY15" fmla="*/ 300514 h 530828"/>
                <a:gd name="connsiteX16" fmla="*/ 230696 w 338518"/>
                <a:gd name="connsiteY16" fmla="*/ 241173 h 530828"/>
                <a:gd name="connsiteX17" fmla="*/ 162496 w 338518"/>
                <a:gd name="connsiteY17" fmla="*/ 220694 h 530828"/>
                <a:gd name="connsiteX18" fmla="*/ 106013 w 338518"/>
                <a:gd name="connsiteY18" fmla="*/ 227076 h 530828"/>
                <a:gd name="connsiteX19" fmla="*/ 55817 w 338518"/>
                <a:gd name="connsiteY19" fmla="*/ 244031 h 530828"/>
                <a:gd name="connsiteX20" fmla="*/ 32480 w 338518"/>
                <a:gd name="connsiteY20" fmla="*/ 175451 h 530828"/>
                <a:gd name="connsiteX21" fmla="*/ 96107 w 338518"/>
                <a:gd name="connsiteY21" fmla="*/ 152876 h 530828"/>
                <a:gd name="connsiteX22" fmla="*/ 174593 w 338518"/>
                <a:gd name="connsiteY22" fmla="*/ 144399 h 530828"/>
                <a:gd name="connsiteX23" fmla="*/ 298228 w 338518"/>
                <a:gd name="connsiteY23" fmla="*/ 185738 h 530828"/>
                <a:gd name="connsiteX24" fmla="*/ 338519 w 338518"/>
                <a:gd name="connsiteY24" fmla="*/ 301943 h 530828"/>
                <a:gd name="connsiteX25" fmla="*/ 338519 w 338518"/>
                <a:gd name="connsiteY25" fmla="*/ 523113 h 530828"/>
                <a:gd name="connsiteX26" fmla="*/ 253746 w 338518"/>
                <a:gd name="connsiteY26" fmla="*/ 523113 h 530828"/>
                <a:gd name="connsiteX27" fmla="*/ 45911 w 338518"/>
                <a:gd name="connsiteY27" fmla="*/ 95441 h 530828"/>
                <a:gd name="connsiteX28" fmla="*/ 75248 w 338518"/>
                <a:gd name="connsiteY28" fmla="*/ 29718 h 530828"/>
                <a:gd name="connsiteX29" fmla="*/ 125063 w 338518"/>
                <a:gd name="connsiteY29" fmla="*/ 7144 h 530828"/>
                <a:gd name="connsiteX30" fmla="*/ 154019 w 338518"/>
                <a:gd name="connsiteY30" fmla="*/ 11716 h 530828"/>
                <a:gd name="connsiteX31" fmla="*/ 181261 w 338518"/>
                <a:gd name="connsiteY31" fmla="*/ 21622 h 530828"/>
                <a:gd name="connsiteX32" fmla="*/ 205645 w 338518"/>
                <a:gd name="connsiteY32" fmla="*/ 31147 h 530828"/>
                <a:gd name="connsiteX33" fmla="*/ 226790 w 338518"/>
                <a:gd name="connsiteY33" fmla="*/ 35338 h 530828"/>
                <a:gd name="connsiteX34" fmla="*/ 250127 w 338518"/>
                <a:gd name="connsiteY34" fmla="*/ 26861 h 530828"/>
                <a:gd name="connsiteX35" fmla="*/ 265652 w 338518"/>
                <a:gd name="connsiteY35" fmla="*/ 0 h 530828"/>
                <a:gd name="connsiteX36" fmla="*/ 312991 w 338518"/>
                <a:gd name="connsiteY36" fmla="*/ 14859 h 530828"/>
                <a:gd name="connsiteX37" fmla="*/ 283655 w 338518"/>
                <a:gd name="connsiteY37" fmla="*/ 79820 h 530828"/>
                <a:gd name="connsiteX38" fmla="*/ 233839 w 338518"/>
                <a:gd name="connsiteY38" fmla="*/ 102394 h 530828"/>
                <a:gd name="connsiteX39" fmla="*/ 204883 w 338518"/>
                <a:gd name="connsiteY39" fmla="*/ 98203 h 530828"/>
                <a:gd name="connsiteX40" fmla="*/ 177641 w 338518"/>
                <a:gd name="connsiteY40" fmla="*/ 88678 h 530828"/>
                <a:gd name="connsiteX41" fmla="*/ 152876 w 338518"/>
                <a:gd name="connsiteY41" fmla="*/ 78772 h 530828"/>
                <a:gd name="connsiteX42" fmla="*/ 132017 w 338518"/>
                <a:gd name="connsiteY42" fmla="*/ 74200 h 530828"/>
                <a:gd name="connsiteX43" fmla="*/ 108680 w 338518"/>
                <a:gd name="connsiteY43" fmla="*/ 82677 h 530828"/>
                <a:gd name="connsiteX44" fmla="*/ 93154 w 338518"/>
                <a:gd name="connsiteY44" fmla="*/ 109538 h 530828"/>
                <a:gd name="connsiteX45" fmla="*/ 45815 w 338518"/>
                <a:gd name="connsiteY45" fmla="*/ 95441 h 530828"/>
                <a:gd name="connsiteX46" fmla="*/ 255842 w 338518"/>
                <a:gd name="connsiteY46" fmla="*/ 366808 h 530828"/>
                <a:gd name="connsiteX47" fmla="*/ 217361 w 338518"/>
                <a:gd name="connsiteY47" fmla="*/ 356235 h 530828"/>
                <a:gd name="connsiteX48" fmla="*/ 170402 w 338518"/>
                <a:gd name="connsiteY48" fmla="*/ 351949 h 530828"/>
                <a:gd name="connsiteX49" fmla="*/ 107537 w 338518"/>
                <a:gd name="connsiteY49" fmla="*/ 367475 h 530828"/>
                <a:gd name="connsiteX50" fmla="*/ 84963 w 338518"/>
                <a:gd name="connsiteY50" fmla="*/ 409861 h 530828"/>
                <a:gd name="connsiteX51" fmla="*/ 84963 w 338518"/>
                <a:gd name="connsiteY51" fmla="*/ 411290 h 530828"/>
                <a:gd name="connsiteX52" fmla="*/ 105823 w 338518"/>
                <a:gd name="connsiteY52" fmla="*/ 452247 h 530828"/>
                <a:gd name="connsiteX53" fmla="*/ 157067 w 338518"/>
                <a:gd name="connsiteY53" fmla="*/ 466344 h 530828"/>
                <a:gd name="connsiteX54" fmla="*/ 196310 w 338518"/>
                <a:gd name="connsiteY54" fmla="*/ 460724 h 530828"/>
                <a:gd name="connsiteX55" fmla="*/ 227743 w 338518"/>
                <a:gd name="connsiteY55" fmla="*/ 444818 h 530828"/>
                <a:gd name="connsiteX56" fmla="*/ 248603 w 338518"/>
                <a:gd name="connsiteY56" fmla="*/ 420053 h 530828"/>
                <a:gd name="connsiteX57" fmla="*/ 256032 w 338518"/>
                <a:gd name="connsiteY57" fmla="*/ 387858 h 530828"/>
                <a:gd name="connsiteX58" fmla="*/ 256032 w 338518"/>
                <a:gd name="connsiteY58" fmla="*/ 366617 h 5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8518" h="530828">
                  <a:moveTo>
                    <a:pt x="253651" y="523018"/>
                  </a:moveTo>
                  <a:lnTo>
                    <a:pt x="253651" y="477107"/>
                  </a:lnTo>
                  <a:cubicBezTo>
                    <a:pt x="240887" y="492157"/>
                    <a:pt x="224695" y="504920"/>
                    <a:pt x="204883" y="515303"/>
                  </a:cubicBezTo>
                  <a:cubicBezTo>
                    <a:pt x="185071" y="525685"/>
                    <a:pt x="161068" y="530828"/>
                    <a:pt x="132779" y="530828"/>
                  </a:cubicBezTo>
                  <a:cubicBezTo>
                    <a:pt x="114871" y="530828"/>
                    <a:pt x="97917" y="528352"/>
                    <a:pt x="81915" y="523399"/>
                  </a:cubicBezTo>
                  <a:cubicBezTo>
                    <a:pt x="65913" y="518446"/>
                    <a:pt x="51911" y="511112"/>
                    <a:pt x="39910" y="501491"/>
                  </a:cubicBezTo>
                  <a:cubicBezTo>
                    <a:pt x="27908" y="491871"/>
                    <a:pt x="18193" y="479870"/>
                    <a:pt x="10954" y="465487"/>
                  </a:cubicBezTo>
                  <a:cubicBezTo>
                    <a:pt x="3620" y="451104"/>
                    <a:pt x="0" y="434531"/>
                    <a:pt x="0" y="415671"/>
                  </a:cubicBezTo>
                  <a:lnTo>
                    <a:pt x="0" y="414242"/>
                  </a:lnTo>
                  <a:cubicBezTo>
                    <a:pt x="0" y="393478"/>
                    <a:pt x="3810" y="375476"/>
                    <a:pt x="11335" y="360140"/>
                  </a:cubicBezTo>
                  <a:cubicBezTo>
                    <a:pt x="18860" y="344805"/>
                    <a:pt x="29337" y="332137"/>
                    <a:pt x="42767" y="321945"/>
                  </a:cubicBezTo>
                  <a:cubicBezTo>
                    <a:pt x="56198" y="311849"/>
                    <a:pt x="72200" y="304324"/>
                    <a:pt x="90773" y="299371"/>
                  </a:cubicBezTo>
                  <a:cubicBezTo>
                    <a:pt x="109347" y="294418"/>
                    <a:pt x="129540" y="291941"/>
                    <a:pt x="151162" y="291941"/>
                  </a:cubicBezTo>
                  <a:cubicBezTo>
                    <a:pt x="172784" y="291941"/>
                    <a:pt x="192977" y="293370"/>
                    <a:pt x="208788" y="296228"/>
                  </a:cubicBezTo>
                  <a:cubicBezTo>
                    <a:pt x="224600" y="299085"/>
                    <a:pt x="239744" y="302800"/>
                    <a:pt x="254413" y="307562"/>
                  </a:cubicBezTo>
                  <a:lnTo>
                    <a:pt x="254413" y="300514"/>
                  </a:lnTo>
                  <a:cubicBezTo>
                    <a:pt x="254413" y="274606"/>
                    <a:pt x="246507" y="254794"/>
                    <a:pt x="230696" y="241173"/>
                  </a:cubicBezTo>
                  <a:cubicBezTo>
                    <a:pt x="214884" y="227552"/>
                    <a:pt x="192215" y="220694"/>
                    <a:pt x="162496" y="220694"/>
                  </a:cubicBezTo>
                  <a:cubicBezTo>
                    <a:pt x="141351" y="220694"/>
                    <a:pt x="122492" y="222790"/>
                    <a:pt x="106013" y="227076"/>
                  </a:cubicBezTo>
                  <a:cubicBezTo>
                    <a:pt x="89535" y="231362"/>
                    <a:pt x="72771" y="236982"/>
                    <a:pt x="55817" y="244031"/>
                  </a:cubicBezTo>
                  <a:lnTo>
                    <a:pt x="32480" y="175451"/>
                  </a:lnTo>
                  <a:cubicBezTo>
                    <a:pt x="53150" y="166021"/>
                    <a:pt x="74390" y="158496"/>
                    <a:pt x="96107" y="152876"/>
                  </a:cubicBezTo>
                  <a:cubicBezTo>
                    <a:pt x="117729" y="147257"/>
                    <a:pt x="143923" y="144399"/>
                    <a:pt x="174593" y="144399"/>
                  </a:cubicBezTo>
                  <a:cubicBezTo>
                    <a:pt x="230124" y="144399"/>
                    <a:pt x="271367" y="158210"/>
                    <a:pt x="298228" y="185738"/>
                  </a:cubicBezTo>
                  <a:cubicBezTo>
                    <a:pt x="325088" y="213265"/>
                    <a:pt x="338519" y="252032"/>
                    <a:pt x="338519" y="301943"/>
                  </a:cubicBezTo>
                  <a:lnTo>
                    <a:pt x="338519" y="523113"/>
                  </a:lnTo>
                  <a:lnTo>
                    <a:pt x="253746" y="523113"/>
                  </a:lnTo>
                  <a:close/>
                  <a:moveTo>
                    <a:pt x="45911" y="95441"/>
                  </a:moveTo>
                  <a:cubicBezTo>
                    <a:pt x="53912" y="66675"/>
                    <a:pt x="63722" y="44768"/>
                    <a:pt x="75248" y="29718"/>
                  </a:cubicBezTo>
                  <a:cubicBezTo>
                    <a:pt x="86773" y="14669"/>
                    <a:pt x="103442" y="7144"/>
                    <a:pt x="125063" y="7144"/>
                  </a:cubicBezTo>
                  <a:cubicBezTo>
                    <a:pt x="134969" y="7144"/>
                    <a:pt x="144590" y="8668"/>
                    <a:pt x="154019" y="11716"/>
                  </a:cubicBezTo>
                  <a:cubicBezTo>
                    <a:pt x="163449" y="14764"/>
                    <a:pt x="172498" y="18098"/>
                    <a:pt x="181261" y="21622"/>
                  </a:cubicBezTo>
                  <a:cubicBezTo>
                    <a:pt x="189929" y="25146"/>
                    <a:pt x="198120" y="28385"/>
                    <a:pt x="205645" y="31147"/>
                  </a:cubicBezTo>
                  <a:cubicBezTo>
                    <a:pt x="213170" y="34004"/>
                    <a:pt x="220218" y="35338"/>
                    <a:pt x="226790" y="35338"/>
                  </a:cubicBezTo>
                  <a:cubicBezTo>
                    <a:pt x="237173" y="35338"/>
                    <a:pt x="244888" y="32480"/>
                    <a:pt x="250127" y="26861"/>
                  </a:cubicBezTo>
                  <a:cubicBezTo>
                    <a:pt x="255270" y="21241"/>
                    <a:pt x="260509" y="12287"/>
                    <a:pt x="265652" y="0"/>
                  </a:cubicBezTo>
                  <a:lnTo>
                    <a:pt x="312991" y="14859"/>
                  </a:lnTo>
                  <a:cubicBezTo>
                    <a:pt x="304991" y="43148"/>
                    <a:pt x="295180" y="64770"/>
                    <a:pt x="283655" y="79820"/>
                  </a:cubicBezTo>
                  <a:cubicBezTo>
                    <a:pt x="272129" y="94869"/>
                    <a:pt x="255461" y="102394"/>
                    <a:pt x="233839" y="102394"/>
                  </a:cubicBezTo>
                  <a:cubicBezTo>
                    <a:pt x="223933" y="102394"/>
                    <a:pt x="214313" y="100965"/>
                    <a:pt x="204883" y="98203"/>
                  </a:cubicBezTo>
                  <a:cubicBezTo>
                    <a:pt x="195453" y="95345"/>
                    <a:pt x="186404" y="92202"/>
                    <a:pt x="177641" y="88678"/>
                  </a:cubicBezTo>
                  <a:cubicBezTo>
                    <a:pt x="168878" y="85154"/>
                    <a:pt x="160687" y="81820"/>
                    <a:pt x="152876" y="78772"/>
                  </a:cubicBezTo>
                  <a:cubicBezTo>
                    <a:pt x="145066" y="75724"/>
                    <a:pt x="138113" y="74200"/>
                    <a:pt x="132017" y="74200"/>
                  </a:cubicBezTo>
                  <a:cubicBezTo>
                    <a:pt x="121634" y="74200"/>
                    <a:pt x="113919" y="77057"/>
                    <a:pt x="108680" y="82677"/>
                  </a:cubicBezTo>
                  <a:cubicBezTo>
                    <a:pt x="103537" y="88297"/>
                    <a:pt x="98298" y="97250"/>
                    <a:pt x="93154" y="109538"/>
                  </a:cubicBezTo>
                  <a:lnTo>
                    <a:pt x="45815" y="95441"/>
                  </a:lnTo>
                  <a:close/>
                  <a:moveTo>
                    <a:pt x="255842" y="366808"/>
                  </a:moveTo>
                  <a:cubicBezTo>
                    <a:pt x="244983" y="362522"/>
                    <a:pt x="232124" y="358997"/>
                    <a:pt x="217361" y="356235"/>
                  </a:cubicBezTo>
                  <a:cubicBezTo>
                    <a:pt x="202502" y="353378"/>
                    <a:pt x="186880" y="351949"/>
                    <a:pt x="170402" y="351949"/>
                  </a:cubicBezTo>
                  <a:cubicBezTo>
                    <a:pt x="143542" y="351949"/>
                    <a:pt x="122587" y="357092"/>
                    <a:pt x="107537" y="367475"/>
                  </a:cubicBezTo>
                  <a:cubicBezTo>
                    <a:pt x="92488" y="377857"/>
                    <a:pt x="84963" y="391954"/>
                    <a:pt x="84963" y="409861"/>
                  </a:cubicBezTo>
                  <a:lnTo>
                    <a:pt x="84963" y="411290"/>
                  </a:lnTo>
                  <a:cubicBezTo>
                    <a:pt x="84963" y="429197"/>
                    <a:pt x="91916" y="442817"/>
                    <a:pt x="105823" y="452247"/>
                  </a:cubicBezTo>
                  <a:cubicBezTo>
                    <a:pt x="119729" y="461677"/>
                    <a:pt x="136779" y="466344"/>
                    <a:pt x="157067" y="466344"/>
                  </a:cubicBezTo>
                  <a:cubicBezTo>
                    <a:pt x="171164" y="466344"/>
                    <a:pt x="184309" y="464439"/>
                    <a:pt x="196310" y="460724"/>
                  </a:cubicBezTo>
                  <a:cubicBezTo>
                    <a:pt x="208312" y="456914"/>
                    <a:pt x="218789" y="451676"/>
                    <a:pt x="227743" y="444818"/>
                  </a:cubicBezTo>
                  <a:cubicBezTo>
                    <a:pt x="236696" y="437960"/>
                    <a:pt x="243650" y="429768"/>
                    <a:pt x="248603" y="420053"/>
                  </a:cubicBezTo>
                  <a:cubicBezTo>
                    <a:pt x="253555" y="410432"/>
                    <a:pt x="256032" y="399669"/>
                    <a:pt x="256032" y="387858"/>
                  </a:cubicBezTo>
                  <a:lnTo>
                    <a:pt x="256032" y="366617"/>
                  </a:lnTo>
                  <a:close/>
                </a:path>
              </a:pathLst>
            </a:custGeom>
            <a:solidFill>
              <a:srgbClr val="44505E"/>
            </a:solidFill>
            <a:ln w="9525" cap="flat">
              <a:noFill/>
              <a:prstDash val="solid"/>
              <a:miter/>
            </a:ln>
          </p:spPr>
          <p:txBody>
            <a:bodyPr rtlCol="0" anchor="ctr"/>
            <a:lstStyle/>
            <a:p>
              <a:endParaRPr lang="pt-BR" noProof="0"/>
            </a:p>
          </p:txBody>
        </p:sp>
        <p:sp>
          <p:nvSpPr>
            <p:cNvPr id="18" name="Freeform: Shape 30">
              <a:extLst>
                <a:ext uri="{FF2B5EF4-FFF2-40B4-BE49-F238E27FC236}">
                  <a16:creationId xmlns:a16="http://schemas.microsoft.com/office/drawing/2014/main" id="{8FBAA89F-2B50-8336-8982-36CC8E83EC21}"/>
                </a:ext>
              </a:extLst>
            </p:cNvPr>
            <p:cNvSpPr/>
            <p:nvPr/>
          </p:nvSpPr>
          <p:spPr>
            <a:xfrm>
              <a:off x="6506477" y="699959"/>
              <a:ext cx="100038" cy="97908"/>
            </a:xfrm>
            <a:custGeom>
              <a:avLst/>
              <a:gdLst>
                <a:gd name="connsiteX0" fmla="*/ 197834 w 397954"/>
                <a:gd name="connsiteY0" fmla="*/ 389477 h 389477"/>
                <a:gd name="connsiteX1" fmla="*/ 119063 w 397954"/>
                <a:gd name="connsiteY1" fmla="*/ 374237 h 389477"/>
                <a:gd name="connsiteX2" fmla="*/ 56198 w 397954"/>
                <a:gd name="connsiteY2" fmla="*/ 332899 h 389477"/>
                <a:gd name="connsiteX3" fmla="*/ 14859 w 397954"/>
                <a:gd name="connsiteY3" fmla="*/ 271463 h 389477"/>
                <a:gd name="connsiteX4" fmla="*/ 0 w 397954"/>
                <a:gd name="connsiteY4" fmla="*/ 196501 h 389477"/>
                <a:gd name="connsiteX5" fmla="*/ 0 w 397954"/>
                <a:gd name="connsiteY5" fmla="*/ 195072 h 389477"/>
                <a:gd name="connsiteX6" fmla="*/ 15240 w 397954"/>
                <a:gd name="connsiteY6" fmla="*/ 119444 h 389477"/>
                <a:gd name="connsiteX7" fmla="*/ 56960 w 397954"/>
                <a:gd name="connsiteY7" fmla="*/ 57626 h 389477"/>
                <a:gd name="connsiteX8" fmla="*/ 119825 w 397954"/>
                <a:gd name="connsiteY8" fmla="*/ 15526 h 389477"/>
                <a:gd name="connsiteX9" fmla="*/ 199358 w 397954"/>
                <a:gd name="connsiteY9" fmla="*/ 0 h 389477"/>
                <a:gd name="connsiteX10" fmla="*/ 278892 w 397954"/>
                <a:gd name="connsiteY10" fmla="*/ 15240 h 389477"/>
                <a:gd name="connsiteX11" fmla="*/ 341757 w 397954"/>
                <a:gd name="connsiteY11" fmla="*/ 56959 h 389477"/>
                <a:gd name="connsiteX12" fmla="*/ 383096 w 397954"/>
                <a:gd name="connsiteY12" fmla="*/ 118396 h 389477"/>
                <a:gd name="connsiteX13" fmla="*/ 397955 w 397954"/>
                <a:gd name="connsiteY13" fmla="*/ 193643 h 389477"/>
                <a:gd name="connsiteX14" fmla="*/ 397955 w 397954"/>
                <a:gd name="connsiteY14" fmla="*/ 195072 h 389477"/>
                <a:gd name="connsiteX15" fmla="*/ 382714 w 397954"/>
                <a:gd name="connsiteY15" fmla="*/ 270034 h 389477"/>
                <a:gd name="connsiteX16" fmla="*/ 340995 w 397954"/>
                <a:gd name="connsiteY16" fmla="*/ 331851 h 389477"/>
                <a:gd name="connsiteX17" fmla="*/ 277749 w 397954"/>
                <a:gd name="connsiteY17" fmla="*/ 373856 h 389477"/>
                <a:gd name="connsiteX18" fmla="*/ 197834 w 397954"/>
                <a:gd name="connsiteY18" fmla="*/ 389382 h 389477"/>
                <a:gd name="connsiteX19" fmla="*/ 199263 w 397954"/>
                <a:gd name="connsiteY19" fmla="*/ 315278 h 389477"/>
                <a:gd name="connsiteX20" fmla="*/ 245936 w 397954"/>
                <a:gd name="connsiteY20" fmla="*/ 305753 h 389477"/>
                <a:gd name="connsiteX21" fmla="*/ 281369 w 397954"/>
                <a:gd name="connsiteY21" fmla="*/ 279940 h 389477"/>
                <a:gd name="connsiteX22" fmla="*/ 303848 w 397954"/>
                <a:gd name="connsiteY22" fmla="*/ 242125 h 389477"/>
                <a:gd name="connsiteX23" fmla="*/ 311563 w 397954"/>
                <a:gd name="connsiteY23" fmla="*/ 196501 h 389477"/>
                <a:gd name="connsiteX24" fmla="*/ 311563 w 397954"/>
                <a:gd name="connsiteY24" fmla="*/ 195072 h 389477"/>
                <a:gd name="connsiteX25" fmla="*/ 303181 w 397954"/>
                <a:gd name="connsiteY25" fmla="*/ 148400 h 389477"/>
                <a:gd name="connsiteX26" fmla="*/ 279654 w 397954"/>
                <a:gd name="connsiteY26" fmla="*/ 110204 h 389477"/>
                <a:gd name="connsiteX27" fmla="*/ 243840 w 397954"/>
                <a:gd name="connsiteY27" fmla="*/ 84392 h 389477"/>
                <a:gd name="connsiteX28" fmla="*/ 197834 w 397954"/>
                <a:gd name="connsiteY28" fmla="*/ 74867 h 389477"/>
                <a:gd name="connsiteX29" fmla="*/ 151829 w 397954"/>
                <a:gd name="connsiteY29" fmla="*/ 84392 h 389477"/>
                <a:gd name="connsiteX30" fmla="*/ 116396 w 397954"/>
                <a:gd name="connsiteY30" fmla="*/ 109823 h 389477"/>
                <a:gd name="connsiteX31" fmla="*/ 93916 w 397954"/>
                <a:gd name="connsiteY31" fmla="*/ 147638 h 389477"/>
                <a:gd name="connsiteX32" fmla="*/ 86201 w 397954"/>
                <a:gd name="connsiteY32" fmla="*/ 193548 h 389477"/>
                <a:gd name="connsiteX33" fmla="*/ 86201 w 397954"/>
                <a:gd name="connsiteY33" fmla="*/ 194977 h 389477"/>
                <a:gd name="connsiteX34" fmla="*/ 94583 w 397954"/>
                <a:gd name="connsiteY34" fmla="*/ 241268 h 389477"/>
                <a:gd name="connsiteX35" fmla="*/ 118110 w 397954"/>
                <a:gd name="connsiteY35" fmla="*/ 279463 h 389477"/>
                <a:gd name="connsiteX36" fmla="*/ 153924 w 397954"/>
                <a:gd name="connsiteY36" fmla="*/ 305562 h 389477"/>
                <a:gd name="connsiteX37" fmla="*/ 199263 w 397954"/>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954" h="389477">
                  <a:moveTo>
                    <a:pt x="197834" y="389477"/>
                  </a:moveTo>
                  <a:cubicBezTo>
                    <a:pt x="169545" y="389477"/>
                    <a:pt x="143351" y="384429"/>
                    <a:pt x="119063" y="374237"/>
                  </a:cubicBezTo>
                  <a:cubicBezTo>
                    <a:pt x="94774" y="364141"/>
                    <a:pt x="73819" y="350330"/>
                    <a:pt x="56198" y="332899"/>
                  </a:cubicBezTo>
                  <a:cubicBezTo>
                    <a:pt x="38576" y="315468"/>
                    <a:pt x="24765" y="294989"/>
                    <a:pt x="14859" y="271463"/>
                  </a:cubicBezTo>
                  <a:cubicBezTo>
                    <a:pt x="4953" y="247936"/>
                    <a:pt x="0" y="222980"/>
                    <a:pt x="0" y="196501"/>
                  </a:cubicBezTo>
                  <a:lnTo>
                    <a:pt x="0" y="195072"/>
                  </a:lnTo>
                  <a:cubicBezTo>
                    <a:pt x="0" y="168212"/>
                    <a:pt x="5049" y="143066"/>
                    <a:pt x="15240" y="119444"/>
                  </a:cubicBezTo>
                  <a:cubicBezTo>
                    <a:pt x="25337" y="95917"/>
                    <a:pt x="39243" y="75248"/>
                    <a:pt x="56960" y="57626"/>
                  </a:cubicBezTo>
                  <a:cubicBezTo>
                    <a:pt x="74676" y="39910"/>
                    <a:pt x="95631" y="25908"/>
                    <a:pt x="119825" y="15526"/>
                  </a:cubicBezTo>
                  <a:cubicBezTo>
                    <a:pt x="144113" y="5144"/>
                    <a:pt x="170593" y="0"/>
                    <a:pt x="199358" y="0"/>
                  </a:cubicBezTo>
                  <a:cubicBezTo>
                    <a:pt x="228124" y="0"/>
                    <a:pt x="254604" y="5048"/>
                    <a:pt x="278892" y="15240"/>
                  </a:cubicBezTo>
                  <a:cubicBezTo>
                    <a:pt x="303181" y="25337"/>
                    <a:pt x="324136" y="39243"/>
                    <a:pt x="341757" y="56959"/>
                  </a:cubicBezTo>
                  <a:cubicBezTo>
                    <a:pt x="359379" y="74676"/>
                    <a:pt x="373189" y="95155"/>
                    <a:pt x="383096" y="118396"/>
                  </a:cubicBezTo>
                  <a:cubicBezTo>
                    <a:pt x="393002" y="141732"/>
                    <a:pt x="397955" y="166783"/>
                    <a:pt x="397955" y="193643"/>
                  </a:cubicBezTo>
                  <a:lnTo>
                    <a:pt x="397955" y="195072"/>
                  </a:lnTo>
                  <a:cubicBezTo>
                    <a:pt x="397955" y="221456"/>
                    <a:pt x="392906" y="246412"/>
                    <a:pt x="382714" y="270034"/>
                  </a:cubicBezTo>
                  <a:cubicBezTo>
                    <a:pt x="372618" y="293561"/>
                    <a:pt x="358712" y="314230"/>
                    <a:pt x="340995" y="331851"/>
                  </a:cubicBezTo>
                  <a:cubicBezTo>
                    <a:pt x="323279" y="349472"/>
                    <a:pt x="302229" y="363569"/>
                    <a:pt x="277749" y="373856"/>
                  </a:cubicBezTo>
                  <a:cubicBezTo>
                    <a:pt x="253270" y="384238"/>
                    <a:pt x="226600" y="389382"/>
                    <a:pt x="197834" y="389382"/>
                  </a:cubicBezTo>
                  <a:close/>
                  <a:moveTo>
                    <a:pt x="199263" y="315278"/>
                  </a:moveTo>
                  <a:cubicBezTo>
                    <a:pt x="216598" y="315278"/>
                    <a:pt x="232124" y="312039"/>
                    <a:pt x="245936" y="305753"/>
                  </a:cubicBezTo>
                  <a:cubicBezTo>
                    <a:pt x="259747" y="299371"/>
                    <a:pt x="271558" y="290798"/>
                    <a:pt x="281369" y="279940"/>
                  </a:cubicBezTo>
                  <a:cubicBezTo>
                    <a:pt x="291179" y="269081"/>
                    <a:pt x="298704" y="256508"/>
                    <a:pt x="303848" y="242125"/>
                  </a:cubicBezTo>
                  <a:cubicBezTo>
                    <a:pt x="308991" y="227743"/>
                    <a:pt x="311563" y="212598"/>
                    <a:pt x="311563" y="196501"/>
                  </a:cubicBezTo>
                  <a:lnTo>
                    <a:pt x="311563" y="195072"/>
                  </a:lnTo>
                  <a:cubicBezTo>
                    <a:pt x="311563" y="178594"/>
                    <a:pt x="308706" y="163068"/>
                    <a:pt x="303181" y="148400"/>
                  </a:cubicBezTo>
                  <a:cubicBezTo>
                    <a:pt x="297561" y="133826"/>
                    <a:pt x="289750" y="121063"/>
                    <a:pt x="279654" y="110204"/>
                  </a:cubicBezTo>
                  <a:cubicBezTo>
                    <a:pt x="269557" y="99346"/>
                    <a:pt x="257651" y="90773"/>
                    <a:pt x="243840" y="84392"/>
                  </a:cubicBezTo>
                  <a:cubicBezTo>
                    <a:pt x="230029" y="78010"/>
                    <a:pt x="214694" y="74867"/>
                    <a:pt x="197834" y="74867"/>
                  </a:cubicBezTo>
                  <a:cubicBezTo>
                    <a:pt x="180975" y="74867"/>
                    <a:pt x="165640" y="78010"/>
                    <a:pt x="151829" y="84392"/>
                  </a:cubicBezTo>
                  <a:cubicBezTo>
                    <a:pt x="138017" y="90773"/>
                    <a:pt x="126206" y="99250"/>
                    <a:pt x="116396" y="109823"/>
                  </a:cubicBezTo>
                  <a:cubicBezTo>
                    <a:pt x="106585" y="120396"/>
                    <a:pt x="99060" y="133064"/>
                    <a:pt x="93916" y="147638"/>
                  </a:cubicBezTo>
                  <a:cubicBezTo>
                    <a:pt x="88773" y="162211"/>
                    <a:pt x="86201" y="177546"/>
                    <a:pt x="86201" y="193548"/>
                  </a:cubicBezTo>
                  <a:lnTo>
                    <a:pt x="86201" y="194977"/>
                  </a:lnTo>
                  <a:cubicBezTo>
                    <a:pt x="86201" y="211455"/>
                    <a:pt x="89059" y="226886"/>
                    <a:pt x="94583" y="241268"/>
                  </a:cubicBezTo>
                  <a:cubicBezTo>
                    <a:pt x="100203" y="255651"/>
                    <a:pt x="108014" y="268319"/>
                    <a:pt x="118110" y="279463"/>
                  </a:cubicBezTo>
                  <a:cubicBezTo>
                    <a:pt x="128207" y="290608"/>
                    <a:pt x="140113" y="299275"/>
                    <a:pt x="153924" y="305562"/>
                  </a:cubicBezTo>
                  <a:cubicBezTo>
                    <a:pt x="167735" y="311944"/>
                    <a:pt x="182785"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19" name="Freeform: Shape 31">
              <a:extLst>
                <a:ext uri="{FF2B5EF4-FFF2-40B4-BE49-F238E27FC236}">
                  <a16:creationId xmlns:a16="http://schemas.microsoft.com/office/drawing/2014/main" id="{E633C2E6-EA13-B23C-4D77-9D06827741B9}"/>
                </a:ext>
              </a:extLst>
            </p:cNvPr>
            <p:cNvSpPr/>
            <p:nvPr/>
          </p:nvSpPr>
          <p:spPr>
            <a:xfrm>
              <a:off x="662071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1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7 w 296894"/>
                <a:gd name="connsiteY23" fmla="*/ 42863 h 386714"/>
                <a:gd name="connsiteX24" fmla="*/ 254318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7 w 296894"/>
                <a:gd name="connsiteY30" fmla="*/ 124587 h 386714"/>
                <a:gd name="connsiteX31" fmla="*/ 122682 w 296894"/>
                <a:gd name="connsiteY31" fmla="*/ 138017 h 386714"/>
                <a:gd name="connsiteX32" fmla="*/ 149543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6" y="348901"/>
                    <a:pt x="0" y="330327"/>
                  </a:cubicBezTo>
                  <a:lnTo>
                    <a:pt x="38195" y="272224"/>
                  </a:lnTo>
                  <a:cubicBezTo>
                    <a:pt x="58484" y="287274"/>
                    <a:pt x="79057" y="298704"/>
                    <a:pt x="100013" y="306514"/>
                  </a:cubicBezTo>
                  <a:cubicBezTo>
                    <a:pt x="120968" y="314325"/>
                    <a:pt x="141161" y="318135"/>
                    <a:pt x="160401" y="318135"/>
                  </a:cubicBezTo>
                  <a:cubicBezTo>
                    <a:pt x="179641" y="318135"/>
                    <a:pt x="192977"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1" y="241078"/>
                    <a:pt x="176498" y="237553"/>
                    <a:pt x="166401"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2" y="40195"/>
                    <a:pt x="56864" y="30385"/>
                  </a:cubicBezTo>
                  <a:cubicBezTo>
                    <a:pt x="68866" y="20479"/>
                    <a:pt x="82962" y="12954"/>
                    <a:pt x="99250" y="7810"/>
                  </a:cubicBezTo>
                  <a:cubicBezTo>
                    <a:pt x="115538" y="2667"/>
                    <a:pt x="132779" y="0"/>
                    <a:pt x="151162" y="0"/>
                  </a:cubicBezTo>
                  <a:cubicBezTo>
                    <a:pt x="174688" y="0"/>
                    <a:pt x="198501" y="3810"/>
                    <a:pt x="222504" y="11430"/>
                  </a:cubicBezTo>
                  <a:cubicBezTo>
                    <a:pt x="246507" y="19050"/>
                    <a:pt x="268414" y="29527"/>
                    <a:pt x="288227" y="42863"/>
                  </a:cubicBezTo>
                  <a:lnTo>
                    <a:pt x="254318"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7" y="124587"/>
                  </a:cubicBezTo>
                  <a:cubicBezTo>
                    <a:pt x="108585" y="129540"/>
                    <a:pt x="114871" y="134017"/>
                    <a:pt x="122682" y="138017"/>
                  </a:cubicBezTo>
                  <a:cubicBezTo>
                    <a:pt x="130493" y="142018"/>
                    <a:pt x="139351" y="145732"/>
                    <a:pt x="149543"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696"/>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0" name="Freeform: Shape 32">
              <a:extLst>
                <a:ext uri="{FF2B5EF4-FFF2-40B4-BE49-F238E27FC236}">
                  <a16:creationId xmlns:a16="http://schemas.microsoft.com/office/drawing/2014/main" id="{1EB503C8-8339-B4E6-ADEA-B4FD2F122B46}"/>
                </a:ext>
              </a:extLst>
            </p:cNvPr>
            <p:cNvSpPr/>
            <p:nvPr/>
          </p:nvSpPr>
          <p:spPr>
            <a:xfrm>
              <a:off x="526693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4 w 202977"/>
                <a:gd name="connsiteY17" fmla="*/ 19907 h 239267"/>
                <a:gd name="connsiteX18" fmla="*/ 59246 w 202977"/>
                <a:gd name="connsiteY18" fmla="*/ 5429 h 239267"/>
                <a:gd name="connsiteX19" fmla="*/ 104299 w 202977"/>
                <a:gd name="connsiteY19" fmla="*/ 0 h 239267"/>
                <a:gd name="connsiteX20" fmla="*/ 178880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5 w 202977"/>
                <a:gd name="connsiteY27" fmla="*/ 211169 h 239267"/>
                <a:gd name="connsiteX28" fmla="*/ 122968 w 202977"/>
                <a:gd name="connsiteY28" fmla="*/ 206788 h 239267"/>
                <a:gd name="connsiteX29" fmla="*/ 147257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9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9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3" y="99155"/>
                    <a:pt x="58674" y="95917"/>
                  </a:cubicBezTo>
                  <a:cubicBezTo>
                    <a:pt x="70771" y="92678"/>
                    <a:pt x="84011" y="90964"/>
                    <a:pt x="98584" y="90964"/>
                  </a:cubicBezTo>
                  <a:cubicBezTo>
                    <a:pt x="113157" y="90964"/>
                    <a:pt x="126301" y="91821"/>
                    <a:pt x="137160" y="93631"/>
                  </a:cubicBezTo>
                  <a:cubicBezTo>
                    <a:pt x="148019" y="95440"/>
                    <a:pt x="158687" y="97822"/>
                    <a:pt x="169069" y="100774"/>
                  </a:cubicBezTo>
                  <a:lnTo>
                    <a:pt x="169069" y="93726"/>
                  </a:lnTo>
                  <a:cubicBezTo>
                    <a:pt x="169069" y="73342"/>
                    <a:pt x="163068" y="57912"/>
                    <a:pt x="151162" y="47339"/>
                  </a:cubicBezTo>
                  <a:cubicBezTo>
                    <a:pt x="139256" y="36862"/>
                    <a:pt x="122492" y="31623"/>
                    <a:pt x="100679" y="31623"/>
                  </a:cubicBezTo>
                  <a:cubicBezTo>
                    <a:pt x="86963" y="31623"/>
                    <a:pt x="74581" y="33147"/>
                    <a:pt x="63437" y="36100"/>
                  </a:cubicBezTo>
                  <a:cubicBezTo>
                    <a:pt x="52292" y="39053"/>
                    <a:pt x="41339" y="43053"/>
                    <a:pt x="30671" y="48196"/>
                  </a:cubicBezTo>
                  <a:lnTo>
                    <a:pt x="20384" y="19907"/>
                  </a:lnTo>
                  <a:cubicBezTo>
                    <a:pt x="33147" y="13906"/>
                    <a:pt x="46101" y="9049"/>
                    <a:pt x="59246" y="5429"/>
                  </a:cubicBezTo>
                  <a:cubicBezTo>
                    <a:pt x="72295" y="1810"/>
                    <a:pt x="87344" y="0"/>
                    <a:pt x="104299" y="0"/>
                  </a:cubicBezTo>
                  <a:cubicBezTo>
                    <a:pt x="137065" y="0"/>
                    <a:pt x="161925" y="8477"/>
                    <a:pt x="178880"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99" y="239173"/>
                    <a:pt x="86011" y="239173"/>
                  </a:cubicBezTo>
                  <a:close/>
                  <a:moveTo>
                    <a:pt x="93155" y="211169"/>
                  </a:moveTo>
                  <a:cubicBezTo>
                    <a:pt x="103823" y="211169"/>
                    <a:pt x="113728" y="209740"/>
                    <a:pt x="122968" y="206788"/>
                  </a:cubicBezTo>
                  <a:cubicBezTo>
                    <a:pt x="132207" y="203835"/>
                    <a:pt x="140208" y="199644"/>
                    <a:pt x="147257"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9" y="121444"/>
                  </a:cubicBezTo>
                  <a:cubicBezTo>
                    <a:pt x="129445" y="119348"/>
                    <a:pt x="116776"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244" y="190500"/>
                    <a:pt x="47435" y="195358"/>
                    <a:pt x="52769" y="199263"/>
                  </a:cubicBezTo>
                  <a:cubicBezTo>
                    <a:pt x="58103" y="203073"/>
                    <a:pt x="64294" y="206026"/>
                    <a:pt x="71247" y="208121"/>
                  </a:cubicBezTo>
                  <a:cubicBezTo>
                    <a:pt x="78200" y="210217"/>
                    <a:pt x="85535"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21" name="Freeform: Shape 33">
              <a:extLst>
                <a:ext uri="{FF2B5EF4-FFF2-40B4-BE49-F238E27FC236}">
                  <a16:creationId xmlns:a16="http://schemas.microsoft.com/office/drawing/2014/main" id="{B4E5EB34-E438-CD65-BB37-574D609FD4F0}"/>
                </a:ext>
              </a:extLst>
            </p:cNvPr>
            <p:cNvSpPr/>
            <p:nvPr/>
          </p:nvSpPr>
          <p:spPr>
            <a:xfrm>
              <a:off x="5331227"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9" y="303276"/>
                    <a:pt x="71438" y="300895"/>
                  </a:cubicBezTo>
                  <a:cubicBezTo>
                    <a:pt x="63437"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2"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22" name="Freeform: Shape 34">
              <a:extLst>
                <a:ext uri="{FF2B5EF4-FFF2-40B4-BE49-F238E27FC236}">
                  <a16:creationId xmlns:a16="http://schemas.microsoft.com/office/drawing/2014/main" id="{F277C9FA-8383-0469-A1F5-7332785D3657}"/>
                </a:ext>
              </a:extLst>
            </p:cNvPr>
            <p:cNvSpPr/>
            <p:nvPr/>
          </p:nvSpPr>
          <p:spPr>
            <a:xfrm>
              <a:off x="5381845"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191 w 39242"/>
                <a:gd name="connsiteY5" fmla="*/ 88392 h 319182"/>
                <a:gd name="connsiteX6" fmla="*/ 36576 w 39242"/>
                <a:gd name="connsiteY6" fmla="*/ 88392 h 319182"/>
                <a:gd name="connsiteX7" fmla="*/ 36576 w 39242"/>
                <a:gd name="connsiteY7" fmla="*/ 319183 h 319182"/>
                <a:gd name="connsiteX8" fmla="*/ 2191 w 39242"/>
                <a:gd name="connsiteY8" fmla="*/ 319183 h 319182"/>
                <a:gd name="connsiteX9" fmla="*/ 2191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191" y="88392"/>
                  </a:moveTo>
                  <a:lnTo>
                    <a:pt x="36576" y="88392"/>
                  </a:lnTo>
                  <a:lnTo>
                    <a:pt x="36576" y="319183"/>
                  </a:lnTo>
                  <a:lnTo>
                    <a:pt x="2191" y="319183"/>
                  </a:lnTo>
                  <a:lnTo>
                    <a:pt x="2191" y="88392"/>
                  </a:lnTo>
                  <a:close/>
                </a:path>
              </a:pathLst>
            </a:custGeom>
            <a:solidFill>
              <a:srgbClr val="44505E"/>
            </a:solidFill>
            <a:ln w="9525" cap="flat">
              <a:noFill/>
              <a:prstDash val="solid"/>
              <a:miter/>
            </a:ln>
          </p:spPr>
          <p:txBody>
            <a:bodyPr rtlCol="0" anchor="ctr"/>
            <a:lstStyle/>
            <a:p>
              <a:endParaRPr lang="pt-BR" noProof="0"/>
            </a:p>
          </p:txBody>
        </p:sp>
        <p:sp>
          <p:nvSpPr>
            <p:cNvPr id="23" name="Freeform: Shape 35">
              <a:extLst>
                <a:ext uri="{FF2B5EF4-FFF2-40B4-BE49-F238E27FC236}">
                  <a16:creationId xmlns:a16="http://schemas.microsoft.com/office/drawing/2014/main" id="{C349036B-5BC1-0B8F-656F-99C3954ABC2C}"/>
                </a:ext>
              </a:extLst>
            </p:cNvPr>
            <p:cNvSpPr/>
            <p:nvPr/>
          </p:nvSpPr>
          <p:spPr>
            <a:xfrm>
              <a:off x="5406076"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8" y="303276"/>
                    <a:pt x="71438" y="300895"/>
                  </a:cubicBezTo>
                  <a:cubicBezTo>
                    <a:pt x="63436"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1"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24" name="Freeform: Shape 36">
              <a:extLst>
                <a:ext uri="{FF2B5EF4-FFF2-40B4-BE49-F238E27FC236}">
                  <a16:creationId xmlns:a16="http://schemas.microsoft.com/office/drawing/2014/main" id="{C6E25A42-07DC-FC63-0EB2-A3C57865004C}"/>
                </a:ext>
              </a:extLst>
            </p:cNvPr>
            <p:cNvSpPr/>
            <p:nvPr/>
          </p:nvSpPr>
          <p:spPr>
            <a:xfrm>
              <a:off x="5455545" y="925297"/>
              <a:ext cx="50594" cy="59238"/>
            </a:xfrm>
            <a:custGeom>
              <a:avLst/>
              <a:gdLst>
                <a:gd name="connsiteX0" fmla="*/ 88392 w 201263"/>
                <a:gd name="connsiteY0" fmla="*/ 235648 h 235648"/>
                <a:gd name="connsiteX1" fmla="*/ 51149 w 201263"/>
                <a:gd name="connsiteY1" fmla="*/ 228981 h 235648"/>
                <a:gd name="connsiteX2" fmla="*/ 23431 w 201263"/>
                <a:gd name="connsiteY2" fmla="*/ 210026 h 235648"/>
                <a:gd name="connsiteX3" fmla="*/ 6001 w 201263"/>
                <a:gd name="connsiteY3" fmla="*/ 180784 h 235648"/>
                <a:gd name="connsiteX4" fmla="*/ 0 w 201263"/>
                <a:gd name="connsiteY4" fmla="*/ 143256 h 235648"/>
                <a:gd name="connsiteX5" fmla="*/ 0 w 201263"/>
                <a:gd name="connsiteY5" fmla="*/ 0 h 235648"/>
                <a:gd name="connsiteX6" fmla="*/ 34385 w 201263"/>
                <a:gd name="connsiteY6" fmla="*/ 0 h 235648"/>
                <a:gd name="connsiteX7" fmla="*/ 34385 w 201263"/>
                <a:gd name="connsiteY7" fmla="*/ 134493 h 235648"/>
                <a:gd name="connsiteX8" fmla="*/ 50864 w 201263"/>
                <a:gd name="connsiteY8" fmla="*/ 185261 h 235648"/>
                <a:gd name="connsiteX9" fmla="*/ 98203 w 201263"/>
                <a:gd name="connsiteY9" fmla="*/ 203930 h 235648"/>
                <a:gd name="connsiteX10" fmla="*/ 125635 w 201263"/>
                <a:gd name="connsiteY10" fmla="*/ 198787 h 235648"/>
                <a:gd name="connsiteX11" fmla="*/ 147542 w 201263"/>
                <a:gd name="connsiteY11" fmla="*/ 184118 h 235648"/>
                <a:gd name="connsiteX12" fmla="*/ 162020 w 201263"/>
                <a:gd name="connsiteY12" fmla="*/ 161163 h 235648"/>
                <a:gd name="connsiteX13" fmla="*/ 167354 w 201263"/>
                <a:gd name="connsiteY13" fmla="*/ 131826 h 235648"/>
                <a:gd name="connsiteX14" fmla="*/ 167354 w 201263"/>
                <a:gd name="connsiteY14" fmla="*/ 0 h 235648"/>
                <a:gd name="connsiteX15" fmla="*/ 201263 w 201263"/>
                <a:gd name="connsiteY15" fmla="*/ 0 h 235648"/>
                <a:gd name="connsiteX16" fmla="*/ 201263 w 201263"/>
                <a:gd name="connsiteY16" fmla="*/ 230791 h 235648"/>
                <a:gd name="connsiteX17" fmla="*/ 167354 w 201263"/>
                <a:gd name="connsiteY17" fmla="*/ 230791 h 235648"/>
                <a:gd name="connsiteX18" fmla="*/ 167354 w 201263"/>
                <a:gd name="connsiteY18" fmla="*/ 190595 h 235648"/>
                <a:gd name="connsiteX19" fmla="*/ 136969 w 201263"/>
                <a:gd name="connsiteY19" fmla="*/ 222504 h 235648"/>
                <a:gd name="connsiteX20" fmla="*/ 88297 w 201263"/>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263" h="235648">
                  <a:moveTo>
                    <a:pt x="88392" y="235648"/>
                  </a:moveTo>
                  <a:cubicBezTo>
                    <a:pt x="74390" y="235648"/>
                    <a:pt x="62008" y="233363"/>
                    <a:pt x="51149" y="228981"/>
                  </a:cubicBezTo>
                  <a:cubicBezTo>
                    <a:pt x="40291" y="224504"/>
                    <a:pt x="31052" y="218218"/>
                    <a:pt x="23431"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864" y="185261"/>
                  </a:cubicBezTo>
                  <a:cubicBezTo>
                    <a:pt x="61913" y="197739"/>
                    <a:pt x="77629" y="203930"/>
                    <a:pt x="98203" y="203930"/>
                  </a:cubicBezTo>
                  <a:cubicBezTo>
                    <a:pt x="108014" y="203930"/>
                    <a:pt x="117158" y="202216"/>
                    <a:pt x="125635" y="198787"/>
                  </a:cubicBezTo>
                  <a:cubicBezTo>
                    <a:pt x="134112" y="195358"/>
                    <a:pt x="141351" y="190500"/>
                    <a:pt x="147542" y="184118"/>
                  </a:cubicBezTo>
                  <a:cubicBezTo>
                    <a:pt x="153638" y="177736"/>
                    <a:pt x="158496" y="170116"/>
                    <a:pt x="162020" y="161163"/>
                  </a:cubicBezTo>
                  <a:cubicBezTo>
                    <a:pt x="165640" y="152305"/>
                    <a:pt x="167354" y="142494"/>
                    <a:pt x="167354" y="131826"/>
                  </a:cubicBezTo>
                  <a:lnTo>
                    <a:pt x="167354" y="0"/>
                  </a:lnTo>
                  <a:lnTo>
                    <a:pt x="201263" y="0"/>
                  </a:lnTo>
                  <a:lnTo>
                    <a:pt x="201263" y="230791"/>
                  </a:lnTo>
                  <a:lnTo>
                    <a:pt x="167354" y="230791"/>
                  </a:lnTo>
                  <a:lnTo>
                    <a:pt x="167354" y="190595"/>
                  </a:lnTo>
                  <a:cubicBezTo>
                    <a:pt x="159639" y="203073"/>
                    <a:pt x="149447" y="213741"/>
                    <a:pt x="136969" y="222504"/>
                  </a:cubicBezTo>
                  <a:cubicBezTo>
                    <a:pt x="124492" y="231267"/>
                    <a:pt x="108299" y="235648"/>
                    <a:pt x="88297" y="235648"/>
                  </a:cubicBezTo>
                  <a:close/>
                </a:path>
              </a:pathLst>
            </a:custGeom>
            <a:solidFill>
              <a:srgbClr val="44505E"/>
            </a:solidFill>
            <a:ln w="9525" cap="flat">
              <a:noFill/>
              <a:prstDash val="solid"/>
              <a:miter/>
            </a:ln>
          </p:spPr>
          <p:txBody>
            <a:bodyPr rtlCol="0" anchor="ctr"/>
            <a:lstStyle/>
            <a:p>
              <a:endParaRPr lang="pt-BR" noProof="0"/>
            </a:p>
          </p:txBody>
        </p:sp>
        <p:sp>
          <p:nvSpPr>
            <p:cNvPr id="25" name="Freeform: Shape 37">
              <a:extLst>
                <a:ext uri="{FF2B5EF4-FFF2-40B4-BE49-F238E27FC236}">
                  <a16:creationId xmlns:a16="http://schemas.microsoft.com/office/drawing/2014/main" id="{F267E5EC-D6FC-4323-ABBE-BC9AF1E9B16F}"/>
                </a:ext>
              </a:extLst>
            </p:cNvPr>
            <p:cNvSpPr/>
            <p:nvPr/>
          </p:nvSpPr>
          <p:spPr>
            <a:xfrm>
              <a:off x="5522205" y="901353"/>
              <a:ext cx="58567" cy="83182"/>
            </a:xfrm>
            <a:custGeom>
              <a:avLst/>
              <a:gdLst>
                <a:gd name="connsiteX0" fmla="*/ 110204 w 232981"/>
                <a:gd name="connsiteY0" fmla="*/ 330898 h 330898"/>
                <a:gd name="connsiteX1" fmla="*/ 69628 w 232981"/>
                <a:gd name="connsiteY1" fmla="*/ 322897 h 330898"/>
                <a:gd name="connsiteX2" fmla="*/ 34385 w 232981"/>
                <a:gd name="connsiteY2" fmla="*/ 299466 h 330898"/>
                <a:gd name="connsiteX3" fmla="*/ 9334 w 232981"/>
                <a:gd name="connsiteY3" fmla="*/ 261938 h 330898"/>
                <a:gd name="connsiteX4" fmla="*/ 0 w 232981"/>
                <a:gd name="connsiteY4" fmla="*/ 211264 h 330898"/>
                <a:gd name="connsiteX5" fmla="*/ 0 w 232981"/>
                <a:gd name="connsiteY5" fmla="*/ 210407 h 330898"/>
                <a:gd name="connsiteX6" fmla="*/ 9334 w 232981"/>
                <a:gd name="connsiteY6" fmla="*/ 159925 h 330898"/>
                <a:gd name="connsiteX7" fmla="*/ 34385 w 232981"/>
                <a:gd name="connsiteY7" fmla="*/ 122206 h 330898"/>
                <a:gd name="connsiteX8" fmla="*/ 69628 w 232981"/>
                <a:gd name="connsiteY8" fmla="*/ 98488 h 330898"/>
                <a:gd name="connsiteX9" fmla="*/ 110204 w 232981"/>
                <a:gd name="connsiteY9" fmla="*/ 90202 h 330898"/>
                <a:gd name="connsiteX10" fmla="*/ 139636 w 232981"/>
                <a:gd name="connsiteY10" fmla="*/ 94202 h 330898"/>
                <a:gd name="connsiteX11" fmla="*/ 163735 w 232981"/>
                <a:gd name="connsiteY11" fmla="*/ 104870 h 330898"/>
                <a:gd name="connsiteX12" fmla="*/ 183166 w 232981"/>
                <a:gd name="connsiteY12" fmla="*/ 120491 h 330898"/>
                <a:gd name="connsiteX13" fmla="*/ 198596 w 232981"/>
                <a:gd name="connsiteY13" fmla="*/ 139255 h 330898"/>
                <a:gd name="connsiteX14" fmla="*/ 198596 w 232981"/>
                <a:gd name="connsiteY14" fmla="*/ 0 h 330898"/>
                <a:gd name="connsiteX15" fmla="*/ 232981 w 232981"/>
                <a:gd name="connsiteY15" fmla="*/ 0 h 330898"/>
                <a:gd name="connsiteX16" fmla="*/ 232981 w 232981"/>
                <a:gd name="connsiteY16" fmla="*/ 325850 h 330898"/>
                <a:gd name="connsiteX17" fmla="*/ 198596 w 232981"/>
                <a:gd name="connsiteY17" fmla="*/ 325850 h 330898"/>
                <a:gd name="connsiteX18" fmla="*/ 198596 w 232981"/>
                <a:gd name="connsiteY18" fmla="*/ 279463 h 330898"/>
                <a:gd name="connsiteX19" fmla="*/ 182785 w 232981"/>
                <a:gd name="connsiteY19" fmla="*/ 299085 h 330898"/>
                <a:gd name="connsiteX20" fmla="*/ 163354 w 232981"/>
                <a:gd name="connsiteY20" fmla="*/ 315658 h 330898"/>
                <a:gd name="connsiteX21" fmla="*/ 139446 w 232981"/>
                <a:gd name="connsiteY21" fmla="*/ 326803 h 330898"/>
                <a:gd name="connsiteX22" fmla="*/ 110204 w 232981"/>
                <a:gd name="connsiteY22" fmla="*/ 330803 h 330898"/>
                <a:gd name="connsiteX23" fmla="*/ 116491 w 232981"/>
                <a:gd name="connsiteY23" fmla="*/ 300133 h 330898"/>
                <a:gd name="connsiteX24" fmla="*/ 147542 w 232981"/>
                <a:gd name="connsiteY24" fmla="*/ 293656 h 330898"/>
                <a:gd name="connsiteX25" fmla="*/ 174307 w 232981"/>
                <a:gd name="connsiteY25" fmla="*/ 275368 h 330898"/>
                <a:gd name="connsiteX26" fmla="*/ 193072 w 232981"/>
                <a:gd name="connsiteY26" fmla="*/ 247269 h 330898"/>
                <a:gd name="connsiteX27" fmla="*/ 200025 w 232981"/>
                <a:gd name="connsiteY27" fmla="*/ 210883 h 330898"/>
                <a:gd name="connsiteX28" fmla="*/ 200025 w 232981"/>
                <a:gd name="connsiteY28" fmla="*/ 210026 h 330898"/>
                <a:gd name="connsiteX29" fmla="*/ 193072 w 232981"/>
                <a:gd name="connsiteY29" fmla="*/ 173641 h 330898"/>
                <a:gd name="connsiteX30" fmla="*/ 174307 w 232981"/>
                <a:gd name="connsiteY30" fmla="*/ 145732 h 330898"/>
                <a:gd name="connsiteX31" fmla="*/ 147542 w 232981"/>
                <a:gd name="connsiteY31" fmla="*/ 127635 h 330898"/>
                <a:gd name="connsiteX32" fmla="*/ 116491 w 232981"/>
                <a:gd name="connsiteY32" fmla="*/ 121158 h 330898"/>
                <a:gd name="connsiteX33" fmla="*/ 84772 w 232981"/>
                <a:gd name="connsiteY33" fmla="*/ 127159 h 330898"/>
                <a:gd name="connsiteX34" fmla="*/ 59150 w 232981"/>
                <a:gd name="connsiteY34" fmla="*/ 144589 h 330898"/>
                <a:gd name="connsiteX35" fmla="*/ 41719 w 232981"/>
                <a:gd name="connsiteY35" fmla="*/ 172498 h 330898"/>
                <a:gd name="connsiteX36" fmla="*/ 35242 w 232981"/>
                <a:gd name="connsiteY36" fmla="*/ 210026 h 330898"/>
                <a:gd name="connsiteX37" fmla="*/ 35242 w 232981"/>
                <a:gd name="connsiteY37" fmla="*/ 210883 h 330898"/>
                <a:gd name="connsiteX38" fmla="*/ 41719 w 232981"/>
                <a:gd name="connsiteY38" fmla="*/ 247936 h 330898"/>
                <a:gd name="connsiteX39" fmla="*/ 59341 w 232981"/>
                <a:gd name="connsiteY39" fmla="*/ 276034 h 330898"/>
                <a:gd name="connsiteX40" fmla="*/ 85249 w 232981"/>
                <a:gd name="connsiteY40" fmla="*/ 293941 h 330898"/>
                <a:gd name="connsiteX41" fmla="*/ 116491 w 23298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30898">
                  <a:moveTo>
                    <a:pt x="110204" y="330898"/>
                  </a:moveTo>
                  <a:cubicBezTo>
                    <a:pt x="96202" y="330898"/>
                    <a:pt x="82677" y="328231"/>
                    <a:pt x="69628" y="322897"/>
                  </a:cubicBezTo>
                  <a:cubicBezTo>
                    <a:pt x="56578" y="317563"/>
                    <a:pt x="44767" y="309753"/>
                    <a:pt x="34385" y="299466"/>
                  </a:cubicBezTo>
                  <a:cubicBezTo>
                    <a:pt x="24003" y="289179"/>
                    <a:pt x="15621" y="276701"/>
                    <a:pt x="9334" y="261938"/>
                  </a:cubicBezTo>
                  <a:cubicBezTo>
                    <a:pt x="3048" y="247174"/>
                    <a:pt x="0" y="230314"/>
                    <a:pt x="0" y="211264"/>
                  </a:cubicBezTo>
                  <a:lnTo>
                    <a:pt x="0" y="210407"/>
                  </a:lnTo>
                  <a:cubicBezTo>
                    <a:pt x="0" y="191643"/>
                    <a:pt x="3143" y="174879"/>
                    <a:pt x="9334" y="159925"/>
                  </a:cubicBezTo>
                  <a:cubicBezTo>
                    <a:pt x="15621" y="145066"/>
                    <a:pt x="23908" y="132493"/>
                    <a:pt x="34385" y="122206"/>
                  </a:cubicBezTo>
                  <a:cubicBezTo>
                    <a:pt x="44767" y="111919"/>
                    <a:pt x="56578" y="104013"/>
                    <a:pt x="69628" y="98488"/>
                  </a:cubicBezTo>
                  <a:cubicBezTo>
                    <a:pt x="82677" y="92964"/>
                    <a:pt x="96298" y="90202"/>
                    <a:pt x="110204" y="90202"/>
                  </a:cubicBezTo>
                  <a:cubicBezTo>
                    <a:pt x="120967" y="90202"/>
                    <a:pt x="130778" y="91535"/>
                    <a:pt x="139636" y="94202"/>
                  </a:cubicBezTo>
                  <a:cubicBezTo>
                    <a:pt x="148590" y="96869"/>
                    <a:pt x="156591" y="100489"/>
                    <a:pt x="163735" y="104870"/>
                  </a:cubicBezTo>
                  <a:cubicBezTo>
                    <a:pt x="170878" y="109347"/>
                    <a:pt x="177356" y="114586"/>
                    <a:pt x="183166" y="120491"/>
                  </a:cubicBezTo>
                  <a:cubicBezTo>
                    <a:pt x="188976" y="126492"/>
                    <a:pt x="194119" y="132683"/>
                    <a:pt x="198596" y="139255"/>
                  </a:cubicBezTo>
                  <a:lnTo>
                    <a:pt x="198596" y="0"/>
                  </a:lnTo>
                  <a:lnTo>
                    <a:pt x="232981" y="0"/>
                  </a:lnTo>
                  <a:lnTo>
                    <a:pt x="232981" y="325850"/>
                  </a:lnTo>
                  <a:lnTo>
                    <a:pt x="198596" y="325850"/>
                  </a:lnTo>
                  <a:lnTo>
                    <a:pt x="198596" y="279463"/>
                  </a:lnTo>
                  <a:cubicBezTo>
                    <a:pt x="193834" y="286321"/>
                    <a:pt x="188595" y="292894"/>
                    <a:pt x="182785" y="299085"/>
                  </a:cubicBezTo>
                  <a:cubicBezTo>
                    <a:pt x="176974" y="305371"/>
                    <a:pt x="170498" y="310896"/>
                    <a:pt x="163354" y="315658"/>
                  </a:cubicBezTo>
                  <a:cubicBezTo>
                    <a:pt x="156210" y="320421"/>
                    <a:pt x="148209" y="324136"/>
                    <a:pt x="139446" y="326803"/>
                  </a:cubicBezTo>
                  <a:cubicBezTo>
                    <a:pt x="130683" y="329470"/>
                    <a:pt x="120967" y="330803"/>
                    <a:pt x="110204" y="330803"/>
                  </a:cubicBezTo>
                  <a:close/>
                  <a:moveTo>
                    <a:pt x="116491" y="300133"/>
                  </a:moveTo>
                  <a:cubicBezTo>
                    <a:pt x="127159" y="300133"/>
                    <a:pt x="137541" y="297942"/>
                    <a:pt x="147542" y="293656"/>
                  </a:cubicBezTo>
                  <a:cubicBezTo>
                    <a:pt x="157544" y="289369"/>
                    <a:pt x="166402" y="283273"/>
                    <a:pt x="174307" y="275368"/>
                  </a:cubicBezTo>
                  <a:cubicBezTo>
                    <a:pt x="182213" y="267462"/>
                    <a:pt x="188404" y="258127"/>
                    <a:pt x="193072" y="247269"/>
                  </a:cubicBezTo>
                  <a:cubicBezTo>
                    <a:pt x="197644" y="236410"/>
                    <a:pt x="200025" y="224314"/>
                    <a:pt x="200025" y="210883"/>
                  </a:cubicBezTo>
                  <a:lnTo>
                    <a:pt x="200025" y="210026"/>
                  </a:lnTo>
                  <a:cubicBezTo>
                    <a:pt x="200025" y="196596"/>
                    <a:pt x="197739" y="184499"/>
                    <a:pt x="193072" y="173641"/>
                  </a:cubicBezTo>
                  <a:cubicBezTo>
                    <a:pt x="188500" y="162782"/>
                    <a:pt x="182213" y="153448"/>
                    <a:pt x="174307" y="145732"/>
                  </a:cubicBezTo>
                  <a:cubicBezTo>
                    <a:pt x="166402" y="138017"/>
                    <a:pt x="157448" y="132016"/>
                    <a:pt x="147542" y="127635"/>
                  </a:cubicBezTo>
                  <a:cubicBezTo>
                    <a:pt x="137541" y="123349"/>
                    <a:pt x="127254" y="121158"/>
                    <a:pt x="116491" y="121158"/>
                  </a:cubicBezTo>
                  <a:cubicBezTo>
                    <a:pt x="105156" y="121158"/>
                    <a:pt x="94583" y="123158"/>
                    <a:pt x="84772" y="127159"/>
                  </a:cubicBezTo>
                  <a:cubicBezTo>
                    <a:pt x="74962" y="131159"/>
                    <a:pt x="66389" y="136969"/>
                    <a:pt x="59150" y="144589"/>
                  </a:cubicBezTo>
                  <a:cubicBezTo>
                    <a:pt x="51816" y="152114"/>
                    <a:pt x="46101" y="161449"/>
                    <a:pt x="41719" y="172498"/>
                  </a:cubicBezTo>
                  <a:cubicBezTo>
                    <a:pt x="37433" y="183451"/>
                    <a:pt x="35242" y="196024"/>
                    <a:pt x="35242" y="210026"/>
                  </a:cubicBezTo>
                  <a:lnTo>
                    <a:pt x="35242" y="210883"/>
                  </a:lnTo>
                  <a:cubicBezTo>
                    <a:pt x="35242" y="224599"/>
                    <a:pt x="37433" y="236982"/>
                    <a:pt x="41719" y="247936"/>
                  </a:cubicBezTo>
                  <a:cubicBezTo>
                    <a:pt x="46006" y="258984"/>
                    <a:pt x="51911" y="268319"/>
                    <a:pt x="59341" y="276034"/>
                  </a:cubicBezTo>
                  <a:cubicBezTo>
                    <a:pt x="66770" y="283750"/>
                    <a:pt x="75438" y="289750"/>
                    <a:pt x="85249" y="293941"/>
                  </a:cubicBezTo>
                  <a:cubicBezTo>
                    <a:pt x="95059" y="298132"/>
                    <a:pt x="105442" y="300228"/>
                    <a:pt x="116491" y="300228"/>
                  </a:cubicBezTo>
                  <a:close/>
                </a:path>
              </a:pathLst>
            </a:custGeom>
            <a:solidFill>
              <a:srgbClr val="44505E"/>
            </a:solidFill>
            <a:ln w="9525" cap="flat">
              <a:noFill/>
              <a:prstDash val="solid"/>
              <a:miter/>
            </a:ln>
          </p:spPr>
          <p:txBody>
            <a:bodyPr rtlCol="0" anchor="ctr"/>
            <a:lstStyle/>
            <a:p>
              <a:endParaRPr lang="pt-BR" noProof="0"/>
            </a:p>
          </p:txBody>
        </p:sp>
        <p:sp>
          <p:nvSpPr>
            <p:cNvPr id="26" name="Freeform: Shape 38">
              <a:extLst>
                <a:ext uri="{FF2B5EF4-FFF2-40B4-BE49-F238E27FC236}">
                  <a16:creationId xmlns:a16="http://schemas.microsoft.com/office/drawing/2014/main" id="{0235DA4B-A7AF-54CC-8508-20DC237B65ED}"/>
                </a:ext>
              </a:extLst>
            </p:cNvPr>
            <p:cNvSpPr/>
            <p:nvPr/>
          </p:nvSpPr>
          <p:spPr>
            <a:xfrm>
              <a:off x="5596504"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6963 w 218217"/>
                <a:gd name="connsiteY3" fmla="*/ 206026 h 241077"/>
                <a:gd name="connsiteX4" fmla="*/ 116015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8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1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452 w 218217"/>
                <a:gd name="connsiteY25" fmla="*/ 106299 h 241077"/>
                <a:gd name="connsiteX26" fmla="*/ 176784 w 218217"/>
                <a:gd name="connsiteY26" fmla="*/ 76771 h 241077"/>
                <a:gd name="connsiteX27" fmla="*/ 162306 w 218217"/>
                <a:gd name="connsiteY27" fmla="*/ 52101 h 241077"/>
                <a:gd name="connsiteX28" fmla="*/ 140018 w 218217"/>
                <a:gd name="connsiteY28" fmla="*/ 35242 h 241077"/>
                <a:gd name="connsiteX29" fmla="*/ 109919 w 218217"/>
                <a:gd name="connsiteY29" fmla="*/ 29051 h 241077"/>
                <a:gd name="connsiteX30" fmla="*/ 82201 w 218217"/>
                <a:gd name="connsiteY30" fmla="*/ 34766 h 241077"/>
                <a:gd name="connsiteX31" fmla="*/ 59436 w 218217"/>
                <a:gd name="connsiteY31" fmla="*/ 50959 h 241077"/>
                <a:gd name="connsiteX32" fmla="*/ 43148 w 218217"/>
                <a:gd name="connsiteY32" fmla="*/ 75628 h 241077"/>
                <a:gd name="connsiteX33" fmla="*/ 34862 w 218217"/>
                <a:gd name="connsiteY33" fmla="*/ 106204 h 241077"/>
                <a:gd name="connsiteX34" fmla="*/ 183547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724" y="202597"/>
                    <a:pt x="86963" y="206026"/>
                  </a:cubicBezTo>
                  <a:cubicBezTo>
                    <a:pt x="96203" y="209455"/>
                    <a:pt x="105823" y="211169"/>
                    <a:pt x="116015" y="211169"/>
                  </a:cubicBezTo>
                  <a:cubicBezTo>
                    <a:pt x="132112" y="211169"/>
                    <a:pt x="145828" y="208216"/>
                    <a:pt x="157353" y="202216"/>
                  </a:cubicBezTo>
                  <a:cubicBezTo>
                    <a:pt x="168783" y="196310"/>
                    <a:pt x="179261" y="188404"/>
                    <a:pt x="188786" y="178594"/>
                  </a:cubicBezTo>
                  <a:lnTo>
                    <a:pt x="210217" y="197834"/>
                  </a:lnTo>
                  <a:cubicBezTo>
                    <a:pt x="198596" y="210979"/>
                    <a:pt x="185357" y="221361"/>
                    <a:pt x="170498" y="229267"/>
                  </a:cubicBezTo>
                  <a:cubicBezTo>
                    <a:pt x="155639"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679" y="0"/>
                    <a:pt x="110681"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452" y="106299"/>
                  </a:moveTo>
                  <a:cubicBezTo>
                    <a:pt x="182594" y="95917"/>
                    <a:pt x="180308" y="86106"/>
                    <a:pt x="176784" y="76771"/>
                  </a:cubicBezTo>
                  <a:cubicBezTo>
                    <a:pt x="173165" y="67437"/>
                    <a:pt x="168402" y="59245"/>
                    <a:pt x="162306" y="52101"/>
                  </a:cubicBezTo>
                  <a:cubicBezTo>
                    <a:pt x="156210" y="44958"/>
                    <a:pt x="148781" y="39338"/>
                    <a:pt x="140018" y="35242"/>
                  </a:cubicBezTo>
                  <a:cubicBezTo>
                    <a:pt x="131254" y="31147"/>
                    <a:pt x="121158" y="29051"/>
                    <a:pt x="109919" y="29051"/>
                  </a:cubicBezTo>
                  <a:cubicBezTo>
                    <a:pt x="100108" y="29051"/>
                    <a:pt x="90869" y="30956"/>
                    <a:pt x="82201" y="34766"/>
                  </a:cubicBezTo>
                  <a:cubicBezTo>
                    <a:pt x="73533" y="38671"/>
                    <a:pt x="66008" y="44005"/>
                    <a:pt x="59436" y="50959"/>
                  </a:cubicBezTo>
                  <a:cubicBezTo>
                    <a:pt x="52864" y="57912"/>
                    <a:pt x="47435" y="66103"/>
                    <a:pt x="43148" y="75628"/>
                  </a:cubicBezTo>
                  <a:cubicBezTo>
                    <a:pt x="38862" y="85058"/>
                    <a:pt x="36100" y="95345"/>
                    <a:pt x="34862" y="106204"/>
                  </a:cubicBezTo>
                  <a:lnTo>
                    <a:pt x="183547" y="106204"/>
                  </a:lnTo>
                  <a:close/>
                </a:path>
              </a:pathLst>
            </a:custGeom>
            <a:solidFill>
              <a:srgbClr val="44505E"/>
            </a:solidFill>
            <a:ln w="9525" cap="flat">
              <a:noFill/>
              <a:prstDash val="solid"/>
              <a:miter/>
            </a:ln>
          </p:spPr>
          <p:txBody>
            <a:bodyPr rtlCol="0" anchor="ctr"/>
            <a:lstStyle/>
            <a:p>
              <a:endParaRPr lang="pt-BR" noProof="0"/>
            </a:p>
          </p:txBody>
        </p:sp>
        <p:sp>
          <p:nvSpPr>
            <p:cNvPr id="27" name="Freeform: Shape 39">
              <a:extLst>
                <a:ext uri="{FF2B5EF4-FFF2-40B4-BE49-F238E27FC236}">
                  <a16:creationId xmlns:a16="http://schemas.microsoft.com/office/drawing/2014/main" id="{4AD0A146-B4AB-E3C5-57F1-3F1064787D74}"/>
                </a:ext>
              </a:extLst>
            </p:cNvPr>
            <p:cNvSpPr/>
            <p:nvPr/>
          </p:nvSpPr>
          <p:spPr>
            <a:xfrm>
              <a:off x="5661680" y="924268"/>
              <a:ext cx="44656" cy="60195"/>
            </a:xfrm>
            <a:custGeom>
              <a:avLst/>
              <a:gdLst>
                <a:gd name="connsiteX0" fmla="*/ 95536 w 177641"/>
                <a:gd name="connsiteY0" fmla="*/ 239268 h 239458"/>
                <a:gd name="connsiteX1" fmla="*/ 45053 w 177641"/>
                <a:gd name="connsiteY1" fmla="*/ 230124 h 239458"/>
                <a:gd name="connsiteX2" fmla="*/ 0 w 177641"/>
                <a:gd name="connsiteY2" fmla="*/ 205359 h 239458"/>
                <a:gd name="connsiteX3" fmla="*/ 17431 w 177641"/>
                <a:gd name="connsiteY3" fmla="*/ 180785 h 239458"/>
                <a:gd name="connsiteX4" fmla="*/ 56483 w 177641"/>
                <a:gd name="connsiteY4" fmla="*/ 202692 h 239458"/>
                <a:gd name="connsiteX5" fmla="*/ 97346 w 177641"/>
                <a:gd name="connsiteY5" fmla="*/ 210217 h 239458"/>
                <a:gd name="connsiteX6" fmla="*/ 131731 w 177641"/>
                <a:gd name="connsiteY6" fmla="*/ 200406 h 239458"/>
                <a:gd name="connsiteX7" fmla="*/ 145161 w 177641"/>
                <a:gd name="connsiteY7" fmla="*/ 173641 h 239458"/>
                <a:gd name="connsiteX8" fmla="*/ 145161 w 177641"/>
                <a:gd name="connsiteY8" fmla="*/ 172784 h 239458"/>
                <a:gd name="connsiteX9" fmla="*/ 140494 w 177641"/>
                <a:gd name="connsiteY9" fmla="*/ 158020 h 239458"/>
                <a:gd name="connsiteX10" fmla="*/ 127730 w 177641"/>
                <a:gd name="connsiteY10" fmla="*/ 147066 h 239458"/>
                <a:gd name="connsiteX11" fmla="*/ 109157 w 177641"/>
                <a:gd name="connsiteY11" fmla="*/ 138779 h 239458"/>
                <a:gd name="connsiteX12" fmla="*/ 87535 w 177641"/>
                <a:gd name="connsiteY12" fmla="*/ 132112 h 239458"/>
                <a:gd name="connsiteX13" fmla="*/ 60484 w 177641"/>
                <a:gd name="connsiteY13" fmla="*/ 123444 h 239458"/>
                <a:gd name="connsiteX14" fmla="*/ 35909 w 177641"/>
                <a:gd name="connsiteY14" fmla="*/ 111633 h 239458"/>
                <a:gd name="connsiteX15" fmla="*/ 18098 w 177641"/>
                <a:gd name="connsiteY15" fmla="*/ 93726 h 239458"/>
                <a:gd name="connsiteX16" fmla="*/ 11144 w 177641"/>
                <a:gd name="connsiteY16" fmla="*/ 66961 h 239458"/>
                <a:gd name="connsiteX17" fmla="*/ 11144 w 177641"/>
                <a:gd name="connsiteY17" fmla="*/ 66008 h 239458"/>
                <a:gd name="connsiteX18" fmla="*/ 16954 w 177641"/>
                <a:gd name="connsiteY18" fmla="*/ 39053 h 239458"/>
                <a:gd name="connsiteX19" fmla="*/ 33242 w 177641"/>
                <a:gd name="connsiteY19" fmla="*/ 18098 h 239458"/>
                <a:gd name="connsiteX20" fmla="*/ 58293 w 177641"/>
                <a:gd name="connsiteY20" fmla="*/ 4667 h 239458"/>
                <a:gd name="connsiteX21" fmla="*/ 89725 w 177641"/>
                <a:gd name="connsiteY21" fmla="*/ 0 h 239458"/>
                <a:gd name="connsiteX22" fmla="*/ 133064 w 177641"/>
                <a:gd name="connsiteY22" fmla="*/ 6953 h 239458"/>
                <a:gd name="connsiteX23" fmla="*/ 172784 w 177641"/>
                <a:gd name="connsiteY23" fmla="*/ 25527 h 239458"/>
                <a:gd name="connsiteX24" fmla="*/ 157163 w 177641"/>
                <a:gd name="connsiteY24" fmla="*/ 51435 h 239458"/>
                <a:gd name="connsiteX25" fmla="*/ 123444 w 177641"/>
                <a:gd name="connsiteY25" fmla="*/ 35147 h 239458"/>
                <a:gd name="connsiteX26" fmla="*/ 88868 w 177641"/>
                <a:gd name="connsiteY26" fmla="*/ 29146 h 239458"/>
                <a:gd name="connsiteX27" fmla="*/ 56293 w 177641"/>
                <a:gd name="connsiteY27" fmla="*/ 38767 h 239458"/>
                <a:gd name="connsiteX28" fmla="*/ 44196 w 177641"/>
                <a:gd name="connsiteY28" fmla="*/ 62675 h 239458"/>
                <a:gd name="connsiteX29" fmla="*/ 44196 w 177641"/>
                <a:gd name="connsiteY29" fmla="*/ 63627 h 239458"/>
                <a:gd name="connsiteX30" fmla="*/ 49149 w 177641"/>
                <a:gd name="connsiteY30" fmla="*/ 77724 h 239458"/>
                <a:gd name="connsiteX31" fmla="*/ 62294 w 177641"/>
                <a:gd name="connsiteY31" fmla="*/ 88202 h 239458"/>
                <a:gd name="connsiteX32" fmla="*/ 81248 w 177641"/>
                <a:gd name="connsiteY32" fmla="*/ 96203 h 239458"/>
                <a:gd name="connsiteX33" fmla="*/ 103537 w 177641"/>
                <a:gd name="connsiteY33" fmla="*/ 103346 h 239458"/>
                <a:gd name="connsiteX34" fmla="*/ 130112 w 177641"/>
                <a:gd name="connsiteY34" fmla="*/ 112300 h 239458"/>
                <a:gd name="connsiteX35" fmla="*/ 154019 w 177641"/>
                <a:gd name="connsiteY35" fmla="*/ 124778 h 239458"/>
                <a:gd name="connsiteX36" fmla="*/ 171164 w 177641"/>
                <a:gd name="connsiteY36" fmla="*/ 143066 h 239458"/>
                <a:gd name="connsiteX37" fmla="*/ 177641 w 177641"/>
                <a:gd name="connsiteY37" fmla="*/ 169450 h 239458"/>
                <a:gd name="connsiteX38" fmla="*/ 177641 w 177641"/>
                <a:gd name="connsiteY38" fmla="*/ 170307 h 239458"/>
                <a:gd name="connsiteX39" fmla="*/ 171164 w 177641"/>
                <a:gd name="connsiteY39" fmla="*/ 199549 h 239458"/>
                <a:gd name="connsiteX40" fmla="*/ 153734 w 177641"/>
                <a:gd name="connsiteY40" fmla="*/ 221171 h 239458"/>
                <a:gd name="connsiteX41" fmla="*/ 127825 w 177641"/>
                <a:gd name="connsiteY41" fmla="*/ 234791 h 239458"/>
                <a:gd name="connsiteX42" fmla="*/ 95441 w 177641"/>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641" h="239458">
                  <a:moveTo>
                    <a:pt x="95536" y="239268"/>
                  </a:moveTo>
                  <a:cubicBezTo>
                    <a:pt x="78867" y="239268"/>
                    <a:pt x="62008" y="236220"/>
                    <a:pt x="45053" y="230124"/>
                  </a:cubicBezTo>
                  <a:cubicBezTo>
                    <a:pt x="28099" y="224028"/>
                    <a:pt x="13049" y="215741"/>
                    <a:pt x="0" y="205359"/>
                  </a:cubicBezTo>
                  <a:lnTo>
                    <a:pt x="17431" y="180785"/>
                  </a:lnTo>
                  <a:cubicBezTo>
                    <a:pt x="29908"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542" y="162211"/>
                    <a:pt x="140494" y="158020"/>
                  </a:cubicBezTo>
                  <a:cubicBezTo>
                    <a:pt x="137350" y="153829"/>
                    <a:pt x="133160" y="150209"/>
                    <a:pt x="127730" y="147066"/>
                  </a:cubicBezTo>
                  <a:cubicBezTo>
                    <a:pt x="122396" y="143923"/>
                    <a:pt x="116205" y="141161"/>
                    <a:pt x="109157" y="138779"/>
                  </a:cubicBezTo>
                  <a:cubicBezTo>
                    <a:pt x="102203" y="136398"/>
                    <a:pt x="94964" y="134207"/>
                    <a:pt x="87535" y="132112"/>
                  </a:cubicBezTo>
                  <a:cubicBezTo>
                    <a:pt x="78581" y="129445"/>
                    <a:pt x="69628" y="126492"/>
                    <a:pt x="60484" y="123444"/>
                  </a:cubicBezTo>
                  <a:cubicBezTo>
                    <a:pt x="51435" y="120301"/>
                    <a:pt x="43244" y="116396"/>
                    <a:pt x="35909" y="111633"/>
                  </a:cubicBezTo>
                  <a:cubicBezTo>
                    <a:pt x="28575" y="106871"/>
                    <a:pt x="22670" y="100870"/>
                    <a:pt x="18098" y="93726"/>
                  </a:cubicBezTo>
                  <a:cubicBezTo>
                    <a:pt x="13525" y="86582"/>
                    <a:pt x="11144" y="77629"/>
                    <a:pt x="11144" y="66961"/>
                  </a:cubicBezTo>
                  <a:lnTo>
                    <a:pt x="11144" y="66008"/>
                  </a:lnTo>
                  <a:cubicBezTo>
                    <a:pt x="11144" y="56198"/>
                    <a:pt x="13049" y="47149"/>
                    <a:pt x="16954" y="39053"/>
                  </a:cubicBezTo>
                  <a:cubicBezTo>
                    <a:pt x="20860" y="30861"/>
                    <a:pt x="26289" y="23908"/>
                    <a:pt x="33242" y="18098"/>
                  </a:cubicBezTo>
                  <a:cubicBezTo>
                    <a:pt x="40196" y="12287"/>
                    <a:pt x="48578" y="7811"/>
                    <a:pt x="58293" y="4667"/>
                  </a:cubicBezTo>
                  <a:cubicBezTo>
                    <a:pt x="67913" y="1524"/>
                    <a:pt x="78486" y="0"/>
                    <a:pt x="89725" y="0"/>
                  </a:cubicBezTo>
                  <a:cubicBezTo>
                    <a:pt x="104013" y="0"/>
                    <a:pt x="118396" y="2286"/>
                    <a:pt x="133064" y="6953"/>
                  </a:cubicBezTo>
                  <a:cubicBezTo>
                    <a:pt x="147638" y="11621"/>
                    <a:pt x="160877" y="17717"/>
                    <a:pt x="172784" y="25527"/>
                  </a:cubicBezTo>
                  <a:lnTo>
                    <a:pt x="157163" y="51435"/>
                  </a:lnTo>
                  <a:cubicBezTo>
                    <a:pt x="146399" y="44577"/>
                    <a:pt x="135255" y="39148"/>
                    <a:pt x="123444" y="35147"/>
                  </a:cubicBezTo>
                  <a:cubicBezTo>
                    <a:pt x="111728" y="31147"/>
                    <a:pt x="100203" y="29146"/>
                    <a:pt x="88868" y="29146"/>
                  </a:cubicBezTo>
                  <a:cubicBezTo>
                    <a:pt x="75152" y="29146"/>
                    <a:pt x="64294" y="32385"/>
                    <a:pt x="56293" y="38767"/>
                  </a:cubicBezTo>
                  <a:cubicBezTo>
                    <a:pt x="48292" y="45149"/>
                    <a:pt x="44196" y="53150"/>
                    <a:pt x="44196" y="62675"/>
                  </a:cubicBezTo>
                  <a:lnTo>
                    <a:pt x="44196" y="63627"/>
                  </a:lnTo>
                  <a:cubicBezTo>
                    <a:pt x="44196" y="68961"/>
                    <a:pt x="45815" y="73628"/>
                    <a:pt x="49149" y="77724"/>
                  </a:cubicBezTo>
                  <a:cubicBezTo>
                    <a:pt x="52388" y="81725"/>
                    <a:pt x="56769" y="85249"/>
                    <a:pt x="62294" y="88202"/>
                  </a:cubicBezTo>
                  <a:cubicBezTo>
                    <a:pt x="67818" y="91154"/>
                    <a:pt x="74104" y="93821"/>
                    <a:pt x="81248" y="96203"/>
                  </a:cubicBezTo>
                  <a:cubicBezTo>
                    <a:pt x="88392" y="98584"/>
                    <a:pt x="95821" y="100965"/>
                    <a:pt x="103537" y="103346"/>
                  </a:cubicBezTo>
                  <a:cubicBezTo>
                    <a:pt x="112490" y="106013"/>
                    <a:pt x="121349" y="108966"/>
                    <a:pt x="130112" y="112300"/>
                  </a:cubicBezTo>
                  <a:cubicBezTo>
                    <a:pt x="138875" y="115538"/>
                    <a:pt x="146875" y="119729"/>
                    <a:pt x="154019" y="124778"/>
                  </a:cubicBezTo>
                  <a:cubicBezTo>
                    <a:pt x="161163" y="129826"/>
                    <a:pt x="166878" y="135922"/>
                    <a:pt x="171164" y="143066"/>
                  </a:cubicBezTo>
                  <a:cubicBezTo>
                    <a:pt x="175450" y="150209"/>
                    <a:pt x="177641" y="158972"/>
                    <a:pt x="177641" y="169450"/>
                  </a:cubicBezTo>
                  <a:lnTo>
                    <a:pt x="177641" y="170307"/>
                  </a:lnTo>
                  <a:cubicBezTo>
                    <a:pt x="177641" y="181356"/>
                    <a:pt x="175450" y="191071"/>
                    <a:pt x="171164" y="199549"/>
                  </a:cubicBezTo>
                  <a:cubicBezTo>
                    <a:pt x="166878" y="208026"/>
                    <a:pt x="161068" y="215265"/>
                    <a:pt x="153734" y="221171"/>
                  </a:cubicBezTo>
                  <a:cubicBezTo>
                    <a:pt x="146495" y="227171"/>
                    <a:pt x="137827" y="231648"/>
                    <a:pt x="127825" y="234791"/>
                  </a:cubicBezTo>
                  <a:cubicBezTo>
                    <a:pt x="117824" y="237935"/>
                    <a:pt x="107061" y="239459"/>
                    <a:pt x="95441" y="239459"/>
                  </a:cubicBezTo>
                  <a:close/>
                </a:path>
              </a:pathLst>
            </a:custGeom>
            <a:solidFill>
              <a:srgbClr val="44505E"/>
            </a:solidFill>
            <a:ln w="9525" cap="flat">
              <a:noFill/>
              <a:prstDash val="solid"/>
              <a:miter/>
            </a:ln>
          </p:spPr>
          <p:txBody>
            <a:bodyPr rtlCol="0" anchor="ctr"/>
            <a:lstStyle/>
            <a:p>
              <a:endParaRPr lang="pt-BR" noProof="0"/>
            </a:p>
          </p:txBody>
        </p:sp>
        <p:sp>
          <p:nvSpPr>
            <p:cNvPr id="28" name="Freeform: Shape 40">
              <a:extLst>
                <a:ext uri="{FF2B5EF4-FFF2-40B4-BE49-F238E27FC236}">
                  <a16:creationId xmlns:a16="http://schemas.microsoft.com/office/drawing/2014/main" id="{734AEA69-D41C-914E-1BDB-21339747EECD}"/>
                </a:ext>
              </a:extLst>
            </p:cNvPr>
            <p:cNvSpPr/>
            <p:nvPr/>
          </p:nvSpPr>
          <p:spPr>
            <a:xfrm>
              <a:off x="5752668" y="924028"/>
              <a:ext cx="58567" cy="77196"/>
            </a:xfrm>
            <a:custGeom>
              <a:avLst/>
              <a:gdLst>
                <a:gd name="connsiteX0" fmla="*/ 198596 w 232981"/>
                <a:gd name="connsiteY0" fmla="*/ 189357 h 307085"/>
                <a:gd name="connsiteX1" fmla="*/ 182785 w 232981"/>
                <a:gd name="connsiteY1" fmla="*/ 208978 h 307085"/>
                <a:gd name="connsiteX2" fmla="*/ 163354 w 232981"/>
                <a:gd name="connsiteY2" fmla="*/ 225552 h 307085"/>
                <a:gd name="connsiteX3" fmla="*/ 139446 w 232981"/>
                <a:gd name="connsiteY3" fmla="*/ 236696 h 307085"/>
                <a:gd name="connsiteX4" fmla="*/ 110204 w 232981"/>
                <a:gd name="connsiteY4" fmla="*/ 240697 h 307085"/>
                <a:gd name="connsiteX5" fmla="*/ 69628 w 232981"/>
                <a:gd name="connsiteY5" fmla="*/ 232696 h 307085"/>
                <a:gd name="connsiteX6" fmla="*/ 34385 w 232981"/>
                <a:gd name="connsiteY6" fmla="*/ 209264 h 307085"/>
                <a:gd name="connsiteX7" fmla="*/ 9335 w 232981"/>
                <a:gd name="connsiteY7" fmla="*/ 171736 h 307085"/>
                <a:gd name="connsiteX8" fmla="*/ 0 w 232981"/>
                <a:gd name="connsiteY8" fmla="*/ 121063 h 307085"/>
                <a:gd name="connsiteX9" fmla="*/ 0 w 232981"/>
                <a:gd name="connsiteY9" fmla="*/ 120205 h 307085"/>
                <a:gd name="connsiteX10" fmla="*/ 9335 w 232981"/>
                <a:gd name="connsiteY10" fmla="*/ 69723 h 307085"/>
                <a:gd name="connsiteX11" fmla="*/ 34385 w 232981"/>
                <a:gd name="connsiteY11" fmla="*/ 32004 h 307085"/>
                <a:gd name="connsiteX12" fmla="*/ 69628 w 232981"/>
                <a:gd name="connsiteY12" fmla="*/ 8287 h 307085"/>
                <a:gd name="connsiteX13" fmla="*/ 110204 w 232981"/>
                <a:gd name="connsiteY13" fmla="*/ 0 h 307085"/>
                <a:gd name="connsiteX14" fmla="*/ 139637 w 232981"/>
                <a:gd name="connsiteY14" fmla="*/ 4000 h 307085"/>
                <a:gd name="connsiteX15" fmla="*/ 163735 w 232981"/>
                <a:gd name="connsiteY15" fmla="*/ 14668 h 307085"/>
                <a:gd name="connsiteX16" fmla="*/ 183166 w 232981"/>
                <a:gd name="connsiteY16" fmla="*/ 30289 h 307085"/>
                <a:gd name="connsiteX17" fmla="*/ 198596 w 232981"/>
                <a:gd name="connsiteY17" fmla="*/ 49054 h 307085"/>
                <a:gd name="connsiteX18" fmla="*/ 198596 w 232981"/>
                <a:gd name="connsiteY18" fmla="*/ 4858 h 307085"/>
                <a:gd name="connsiteX19" fmla="*/ 232982 w 232981"/>
                <a:gd name="connsiteY19" fmla="*/ 4858 h 307085"/>
                <a:gd name="connsiteX20" fmla="*/ 232982 w 232981"/>
                <a:gd name="connsiteY20" fmla="*/ 307086 h 307085"/>
                <a:gd name="connsiteX21" fmla="*/ 198596 w 232981"/>
                <a:gd name="connsiteY21" fmla="*/ 307086 h 307085"/>
                <a:gd name="connsiteX22" fmla="*/ 198596 w 232981"/>
                <a:gd name="connsiteY22" fmla="*/ 189262 h 307085"/>
                <a:gd name="connsiteX23" fmla="*/ 116491 w 232981"/>
                <a:gd name="connsiteY23" fmla="*/ 209931 h 307085"/>
                <a:gd name="connsiteX24" fmla="*/ 147542 w 232981"/>
                <a:gd name="connsiteY24" fmla="*/ 203454 h 307085"/>
                <a:gd name="connsiteX25" fmla="*/ 174308 w 232981"/>
                <a:gd name="connsiteY25" fmla="*/ 185166 h 307085"/>
                <a:gd name="connsiteX26" fmla="*/ 193072 w 232981"/>
                <a:gd name="connsiteY26" fmla="*/ 157067 h 307085"/>
                <a:gd name="connsiteX27" fmla="*/ 200025 w 232981"/>
                <a:gd name="connsiteY27" fmla="*/ 120682 h 307085"/>
                <a:gd name="connsiteX28" fmla="*/ 200025 w 232981"/>
                <a:gd name="connsiteY28" fmla="*/ 119824 h 307085"/>
                <a:gd name="connsiteX29" fmla="*/ 193072 w 232981"/>
                <a:gd name="connsiteY29" fmla="*/ 83439 h 307085"/>
                <a:gd name="connsiteX30" fmla="*/ 174308 w 232981"/>
                <a:gd name="connsiteY30" fmla="*/ 55531 h 307085"/>
                <a:gd name="connsiteX31" fmla="*/ 147542 w 232981"/>
                <a:gd name="connsiteY31" fmla="*/ 37433 h 307085"/>
                <a:gd name="connsiteX32" fmla="*/ 116491 w 232981"/>
                <a:gd name="connsiteY32" fmla="*/ 30956 h 307085"/>
                <a:gd name="connsiteX33" fmla="*/ 84773 w 232981"/>
                <a:gd name="connsiteY33" fmla="*/ 36957 h 307085"/>
                <a:gd name="connsiteX34" fmla="*/ 59150 w 232981"/>
                <a:gd name="connsiteY34" fmla="*/ 54388 h 307085"/>
                <a:gd name="connsiteX35" fmla="*/ 41720 w 232981"/>
                <a:gd name="connsiteY35" fmla="*/ 82296 h 307085"/>
                <a:gd name="connsiteX36" fmla="*/ 35242 w 232981"/>
                <a:gd name="connsiteY36" fmla="*/ 119824 h 307085"/>
                <a:gd name="connsiteX37" fmla="*/ 35242 w 232981"/>
                <a:gd name="connsiteY37" fmla="*/ 120682 h 307085"/>
                <a:gd name="connsiteX38" fmla="*/ 41720 w 232981"/>
                <a:gd name="connsiteY38" fmla="*/ 157734 h 307085"/>
                <a:gd name="connsiteX39" fmla="*/ 59341 w 232981"/>
                <a:gd name="connsiteY39" fmla="*/ 185833 h 307085"/>
                <a:gd name="connsiteX40" fmla="*/ 85249 w 232981"/>
                <a:gd name="connsiteY40" fmla="*/ 203740 h 307085"/>
                <a:gd name="connsiteX41" fmla="*/ 116491 w 232981"/>
                <a:gd name="connsiteY41" fmla="*/ 210026 h 30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07085">
                  <a:moveTo>
                    <a:pt x="198596" y="189357"/>
                  </a:moveTo>
                  <a:cubicBezTo>
                    <a:pt x="193834" y="196215"/>
                    <a:pt x="188595" y="202787"/>
                    <a:pt x="182785" y="208978"/>
                  </a:cubicBezTo>
                  <a:cubicBezTo>
                    <a:pt x="176975" y="215265"/>
                    <a:pt x="170498" y="220789"/>
                    <a:pt x="163354" y="225552"/>
                  </a:cubicBezTo>
                  <a:cubicBezTo>
                    <a:pt x="156210" y="230314"/>
                    <a:pt x="148209" y="234029"/>
                    <a:pt x="139446" y="236696"/>
                  </a:cubicBezTo>
                  <a:cubicBezTo>
                    <a:pt x="130683" y="239363"/>
                    <a:pt x="120967" y="240697"/>
                    <a:pt x="110204" y="240697"/>
                  </a:cubicBezTo>
                  <a:cubicBezTo>
                    <a:pt x="96203" y="240697"/>
                    <a:pt x="82677" y="238030"/>
                    <a:pt x="69628" y="232696"/>
                  </a:cubicBezTo>
                  <a:cubicBezTo>
                    <a:pt x="56579" y="227362"/>
                    <a:pt x="44767" y="219551"/>
                    <a:pt x="34385" y="209264"/>
                  </a:cubicBezTo>
                  <a:cubicBezTo>
                    <a:pt x="24003" y="198977"/>
                    <a:pt x="15621" y="186499"/>
                    <a:pt x="9335" y="171736"/>
                  </a:cubicBezTo>
                  <a:cubicBezTo>
                    <a:pt x="3048" y="156972"/>
                    <a:pt x="0" y="140113"/>
                    <a:pt x="0" y="121063"/>
                  </a:cubicBezTo>
                  <a:lnTo>
                    <a:pt x="0" y="120205"/>
                  </a:lnTo>
                  <a:cubicBezTo>
                    <a:pt x="0" y="101441"/>
                    <a:pt x="3143" y="84677"/>
                    <a:pt x="9335" y="69723"/>
                  </a:cubicBezTo>
                  <a:cubicBezTo>
                    <a:pt x="15621" y="54864"/>
                    <a:pt x="23908" y="42291"/>
                    <a:pt x="34385" y="32004"/>
                  </a:cubicBezTo>
                  <a:cubicBezTo>
                    <a:pt x="44767" y="21717"/>
                    <a:pt x="56579" y="13811"/>
                    <a:pt x="69628" y="8287"/>
                  </a:cubicBezTo>
                  <a:cubicBezTo>
                    <a:pt x="82677" y="2762"/>
                    <a:pt x="96298" y="0"/>
                    <a:pt x="110204" y="0"/>
                  </a:cubicBezTo>
                  <a:cubicBezTo>
                    <a:pt x="120967" y="0"/>
                    <a:pt x="130778" y="1333"/>
                    <a:pt x="139637" y="4000"/>
                  </a:cubicBezTo>
                  <a:cubicBezTo>
                    <a:pt x="148590" y="6667"/>
                    <a:pt x="156591" y="10287"/>
                    <a:pt x="163735" y="14668"/>
                  </a:cubicBezTo>
                  <a:cubicBezTo>
                    <a:pt x="170879" y="19145"/>
                    <a:pt x="177356" y="24384"/>
                    <a:pt x="183166" y="30289"/>
                  </a:cubicBezTo>
                  <a:cubicBezTo>
                    <a:pt x="188976" y="36290"/>
                    <a:pt x="194120" y="42481"/>
                    <a:pt x="198596" y="49054"/>
                  </a:cubicBezTo>
                  <a:lnTo>
                    <a:pt x="198596" y="4858"/>
                  </a:lnTo>
                  <a:lnTo>
                    <a:pt x="232982" y="4858"/>
                  </a:lnTo>
                  <a:lnTo>
                    <a:pt x="232982" y="307086"/>
                  </a:lnTo>
                  <a:lnTo>
                    <a:pt x="198596" y="307086"/>
                  </a:lnTo>
                  <a:lnTo>
                    <a:pt x="198596" y="189262"/>
                  </a:lnTo>
                  <a:close/>
                  <a:moveTo>
                    <a:pt x="116491" y="209931"/>
                  </a:moveTo>
                  <a:cubicBezTo>
                    <a:pt x="127159" y="209931"/>
                    <a:pt x="137541" y="207740"/>
                    <a:pt x="147542" y="203454"/>
                  </a:cubicBezTo>
                  <a:cubicBezTo>
                    <a:pt x="157544" y="199168"/>
                    <a:pt x="166402" y="193072"/>
                    <a:pt x="174308" y="185166"/>
                  </a:cubicBezTo>
                  <a:cubicBezTo>
                    <a:pt x="182213" y="177260"/>
                    <a:pt x="188404" y="167926"/>
                    <a:pt x="193072" y="157067"/>
                  </a:cubicBezTo>
                  <a:cubicBezTo>
                    <a:pt x="197739" y="146209"/>
                    <a:pt x="200025" y="134112"/>
                    <a:pt x="200025" y="120682"/>
                  </a:cubicBezTo>
                  <a:lnTo>
                    <a:pt x="200025" y="119824"/>
                  </a:lnTo>
                  <a:cubicBezTo>
                    <a:pt x="200025" y="106394"/>
                    <a:pt x="197739" y="94297"/>
                    <a:pt x="193072" y="83439"/>
                  </a:cubicBezTo>
                  <a:cubicBezTo>
                    <a:pt x="188500" y="72580"/>
                    <a:pt x="182213" y="63246"/>
                    <a:pt x="174308" y="55531"/>
                  </a:cubicBezTo>
                  <a:cubicBezTo>
                    <a:pt x="166402" y="47815"/>
                    <a:pt x="157544" y="41815"/>
                    <a:pt x="147542" y="37433"/>
                  </a:cubicBezTo>
                  <a:cubicBezTo>
                    <a:pt x="137541" y="33147"/>
                    <a:pt x="127254" y="30956"/>
                    <a:pt x="116491" y="30956"/>
                  </a:cubicBezTo>
                  <a:cubicBezTo>
                    <a:pt x="105156" y="30956"/>
                    <a:pt x="94583" y="32956"/>
                    <a:pt x="84773" y="36957"/>
                  </a:cubicBezTo>
                  <a:cubicBezTo>
                    <a:pt x="74962" y="40957"/>
                    <a:pt x="66389" y="46767"/>
                    <a:pt x="59150" y="54388"/>
                  </a:cubicBezTo>
                  <a:cubicBezTo>
                    <a:pt x="51816" y="61913"/>
                    <a:pt x="46101" y="71247"/>
                    <a:pt x="41720" y="82296"/>
                  </a:cubicBezTo>
                  <a:cubicBezTo>
                    <a:pt x="37433" y="93250"/>
                    <a:pt x="35242" y="105823"/>
                    <a:pt x="35242" y="119824"/>
                  </a:cubicBezTo>
                  <a:lnTo>
                    <a:pt x="35242" y="120682"/>
                  </a:lnTo>
                  <a:cubicBezTo>
                    <a:pt x="35242" y="134398"/>
                    <a:pt x="37433" y="146780"/>
                    <a:pt x="41720" y="157734"/>
                  </a:cubicBezTo>
                  <a:cubicBezTo>
                    <a:pt x="46006" y="168783"/>
                    <a:pt x="51911" y="178117"/>
                    <a:pt x="59341" y="185833"/>
                  </a:cubicBezTo>
                  <a:cubicBezTo>
                    <a:pt x="66770" y="193548"/>
                    <a:pt x="75438" y="199549"/>
                    <a:pt x="85249" y="203740"/>
                  </a:cubicBezTo>
                  <a:cubicBezTo>
                    <a:pt x="95060" y="207931"/>
                    <a:pt x="105442" y="210026"/>
                    <a:pt x="116491" y="210026"/>
                  </a:cubicBezTo>
                  <a:close/>
                </a:path>
              </a:pathLst>
            </a:custGeom>
            <a:solidFill>
              <a:srgbClr val="44505E"/>
            </a:solidFill>
            <a:ln w="9525" cap="flat">
              <a:noFill/>
              <a:prstDash val="solid"/>
              <a:miter/>
            </a:ln>
          </p:spPr>
          <p:txBody>
            <a:bodyPr rtlCol="0" anchor="ctr"/>
            <a:lstStyle/>
            <a:p>
              <a:endParaRPr lang="pt-BR" noProof="0"/>
            </a:p>
          </p:txBody>
        </p:sp>
        <p:sp>
          <p:nvSpPr>
            <p:cNvPr id="29" name="Freeform: Shape 41">
              <a:extLst>
                <a:ext uri="{FF2B5EF4-FFF2-40B4-BE49-F238E27FC236}">
                  <a16:creationId xmlns:a16="http://schemas.microsoft.com/office/drawing/2014/main" id="{D4902B50-CF8F-14E1-1F73-54334B890E33}"/>
                </a:ext>
              </a:extLst>
            </p:cNvPr>
            <p:cNvSpPr/>
            <p:nvPr/>
          </p:nvSpPr>
          <p:spPr>
            <a:xfrm>
              <a:off x="5829624" y="925297"/>
              <a:ext cx="50618" cy="59238"/>
            </a:xfrm>
            <a:custGeom>
              <a:avLst/>
              <a:gdLst>
                <a:gd name="connsiteX0" fmla="*/ 88392 w 201358"/>
                <a:gd name="connsiteY0" fmla="*/ 235648 h 235648"/>
                <a:gd name="connsiteX1" fmla="*/ 51149 w 201358"/>
                <a:gd name="connsiteY1" fmla="*/ 228981 h 235648"/>
                <a:gd name="connsiteX2" fmla="*/ 23432 w 201358"/>
                <a:gd name="connsiteY2" fmla="*/ 210026 h 235648"/>
                <a:gd name="connsiteX3" fmla="*/ 6001 w 201358"/>
                <a:gd name="connsiteY3" fmla="*/ 180784 h 235648"/>
                <a:gd name="connsiteX4" fmla="*/ 0 w 201358"/>
                <a:gd name="connsiteY4" fmla="*/ 143256 h 235648"/>
                <a:gd name="connsiteX5" fmla="*/ 0 w 201358"/>
                <a:gd name="connsiteY5" fmla="*/ 0 h 235648"/>
                <a:gd name="connsiteX6" fmla="*/ 34385 w 201358"/>
                <a:gd name="connsiteY6" fmla="*/ 0 h 235648"/>
                <a:gd name="connsiteX7" fmla="*/ 34385 w 201358"/>
                <a:gd name="connsiteY7" fmla="*/ 134493 h 235648"/>
                <a:gd name="connsiteX8" fmla="*/ 50959 w 201358"/>
                <a:gd name="connsiteY8" fmla="*/ 185261 h 235648"/>
                <a:gd name="connsiteX9" fmla="*/ 98298 w 201358"/>
                <a:gd name="connsiteY9" fmla="*/ 203930 h 235648"/>
                <a:gd name="connsiteX10" fmla="*/ 125730 w 201358"/>
                <a:gd name="connsiteY10" fmla="*/ 198787 h 235648"/>
                <a:gd name="connsiteX11" fmla="*/ 147638 w 201358"/>
                <a:gd name="connsiteY11" fmla="*/ 184118 h 235648"/>
                <a:gd name="connsiteX12" fmla="*/ 162116 w 201358"/>
                <a:gd name="connsiteY12" fmla="*/ 161163 h 235648"/>
                <a:gd name="connsiteX13" fmla="*/ 167450 w 201358"/>
                <a:gd name="connsiteY13" fmla="*/ 131826 h 235648"/>
                <a:gd name="connsiteX14" fmla="*/ 167450 w 201358"/>
                <a:gd name="connsiteY14" fmla="*/ 0 h 235648"/>
                <a:gd name="connsiteX15" fmla="*/ 201359 w 201358"/>
                <a:gd name="connsiteY15" fmla="*/ 0 h 235648"/>
                <a:gd name="connsiteX16" fmla="*/ 201359 w 201358"/>
                <a:gd name="connsiteY16" fmla="*/ 230791 h 235648"/>
                <a:gd name="connsiteX17" fmla="*/ 167450 w 201358"/>
                <a:gd name="connsiteY17" fmla="*/ 230791 h 235648"/>
                <a:gd name="connsiteX18" fmla="*/ 167450 w 201358"/>
                <a:gd name="connsiteY18" fmla="*/ 190595 h 235648"/>
                <a:gd name="connsiteX19" fmla="*/ 137065 w 201358"/>
                <a:gd name="connsiteY19" fmla="*/ 222504 h 235648"/>
                <a:gd name="connsiteX20" fmla="*/ 88392 w 201358"/>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358" h="235648">
                  <a:moveTo>
                    <a:pt x="88392" y="235648"/>
                  </a:moveTo>
                  <a:cubicBezTo>
                    <a:pt x="74390" y="235648"/>
                    <a:pt x="62008" y="233363"/>
                    <a:pt x="51149" y="228981"/>
                  </a:cubicBezTo>
                  <a:cubicBezTo>
                    <a:pt x="40291" y="224504"/>
                    <a:pt x="31052" y="218218"/>
                    <a:pt x="23432"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959" y="185261"/>
                  </a:cubicBezTo>
                  <a:cubicBezTo>
                    <a:pt x="61913" y="197739"/>
                    <a:pt x="77724" y="203930"/>
                    <a:pt x="98298" y="203930"/>
                  </a:cubicBezTo>
                  <a:cubicBezTo>
                    <a:pt x="108109" y="203930"/>
                    <a:pt x="117253" y="202216"/>
                    <a:pt x="125730" y="198787"/>
                  </a:cubicBezTo>
                  <a:cubicBezTo>
                    <a:pt x="134207" y="195358"/>
                    <a:pt x="141446" y="190500"/>
                    <a:pt x="147638" y="184118"/>
                  </a:cubicBezTo>
                  <a:cubicBezTo>
                    <a:pt x="153734" y="177736"/>
                    <a:pt x="158591" y="170116"/>
                    <a:pt x="162116" y="161163"/>
                  </a:cubicBezTo>
                  <a:cubicBezTo>
                    <a:pt x="165735" y="152305"/>
                    <a:pt x="167450" y="142494"/>
                    <a:pt x="167450" y="131826"/>
                  </a:cubicBezTo>
                  <a:lnTo>
                    <a:pt x="167450" y="0"/>
                  </a:lnTo>
                  <a:lnTo>
                    <a:pt x="201359" y="0"/>
                  </a:lnTo>
                  <a:lnTo>
                    <a:pt x="201359" y="230791"/>
                  </a:lnTo>
                  <a:lnTo>
                    <a:pt x="167450" y="230791"/>
                  </a:lnTo>
                  <a:lnTo>
                    <a:pt x="167450" y="190595"/>
                  </a:lnTo>
                  <a:cubicBezTo>
                    <a:pt x="159734" y="203073"/>
                    <a:pt x="149543" y="213741"/>
                    <a:pt x="137065" y="222504"/>
                  </a:cubicBezTo>
                  <a:cubicBezTo>
                    <a:pt x="124587" y="231267"/>
                    <a:pt x="108395" y="235648"/>
                    <a:pt x="88392" y="235648"/>
                  </a:cubicBezTo>
                  <a:close/>
                </a:path>
              </a:pathLst>
            </a:custGeom>
            <a:solidFill>
              <a:srgbClr val="44505E"/>
            </a:solidFill>
            <a:ln w="9525" cap="flat">
              <a:noFill/>
              <a:prstDash val="solid"/>
              <a:miter/>
            </a:ln>
          </p:spPr>
          <p:txBody>
            <a:bodyPr rtlCol="0" anchor="ctr"/>
            <a:lstStyle/>
            <a:p>
              <a:endParaRPr lang="pt-BR" noProof="0"/>
            </a:p>
          </p:txBody>
        </p:sp>
        <p:sp>
          <p:nvSpPr>
            <p:cNvPr id="30" name="Freeform: Shape 42">
              <a:extLst>
                <a:ext uri="{FF2B5EF4-FFF2-40B4-BE49-F238E27FC236}">
                  <a16:creationId xmlns:a16="http://schemas.microsoft.com/office/drawing/2014/main" id="{2F698840-FEB8-4E2A-E6AD-36113040EC90}"/>
                </a:ext>
              </a:extLst>
            </p:cNvPr>
            <p:cNvSpPr/>
            <p:nvPr/>
          </p:nvSpPr>
          <p:spPr>
            <a:xfrm>
              <a:off x="5896069"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7059 w 218217"/>
                <a:gd name="connsiteY3" fmla="*/ 206026 h 241077"/>
                <a:gd name="connsiteX4" fmla="*/ 116110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7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0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356 w 218217"/>
                <a:gd name="connsiteY25" fmla="*/ 106299 h 241077"/>
                <a:gd name="connsiteX26" fmla="*/ 176689 w 218217"/>
                <a:gd name="connsiteY26" fmla="*/ 76771 h 241077"/>
                <a:gd name="connsiteX27" fmla="*/ 162211 w 218217"/>
                <a:gd name="connsiteY27" fmla="*/ 52101 h 241077"/>
                <a:gd name="connsiteX28" fmla="*/ 139922 w 218217"/>
                <a:gd name="connsiteY28" fmla="*/ 35242 h 241077"/>
                <a:gd name="connsiteX29" fmla="*/ 109823 w 218217"/>
                <a:gd name="connsiteY29" fmla="*/ 29051 h 241077"/>
                <a:gd name="connsiteX30" fmla="*/ 82105 w 218217"/>
                <a:gd name="connsiteY30" fmla="*/ 34766 h 241077"/>
                <a:gd name="connsiteX31" fmla="*/ 59341 w 218217"/>
                <a:gd name="connsiteY31" fmla="*/ 50959 h 241077"/>
                <a:gd name="connsiteX32" fmla="*/ 43053 w 218217"/>
                <a:gd name="connsiteY32" fmla="*/ 75628 h 241077"/>
                <a:gd name="connsiteX33" fmla="*/ 34766 w 218217"/>
                <a:gd name="connsiteY33" fmla="*/ 106204 h 241077"/>
                <a:gd name="connsiteX34" fmla="*/ 183356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819" y="202597"/>
                    <a:pt x="87059" y="206026"/>
                  </a:cubicBezTo>
                  <a:cubicBezTo>
                    <a:pt x="96298" y="209455"/>
                    <a:pt x="105918" y="211169"/>
                    <a:pt x="116110" y="211169"/>
                  </a:cubicBezTo>
                  <a:cubicBezTo>
                    <a:pt x="132207" y="211169"/>
                    <a:pt x="145923" y="208216"/>
                    <a:pt x="157353" y="202216"/>
                  </a:cubicBezTo>
                  <a:cubicBezTo>
                    <a:pt x="168783" y="196310"/>
                    <a:pt x="179261" y="188404"/>
                    <a:pt x="188786" y="178594"/>
                  </a:cubicBezTo>
                  <a:lnTo>
                    <a:pt x="210217" y="197834"/>
                  </a:lnTo>
                  <a:cubicBezTo>
                    <a:pt x="198596" y="210979"/>
                    <a:pt x="185356" y="221361"/>
                    <a:pt x="170497" y="229267"/>
                  </a:cubicBezTo>
                  <a:cubicBezTo>
                    <a:pt x="155638"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583" y="0"/>
                    <a:pt x="110680"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356" y="106299"/>
                  </a:moveTo>
                  <a:cubicBezTo>
                    <a:pt x="182499" y="95917"/>
                    <a:pt x="180213" y="86106"/>
                    <a:pt x="176689" y="76771"/>
                  </a:cubicBezTo>
                  <a:cubicBezTo>
                    <a:pt x="173069" y="67437"/>
                    <a:pt x="168307" y="59245"/>
                    <a:pt x="162211" y="52101"/>
                  </a:cubicBezTo>
                  <a:cubicBezTo>
                    <a:pt x="156115" y="44958"/>
                    <a:pt x="148685" y="39338"/>
                    <a:pt x="139922" y="35242"/>
                  </a:cubicBezTo>
                  <a:cubicBezTo>
                    <a:pt x="131159" y="31147"/>
                    <a:pt x="121063" y="29051"/>
                    <a:pt x="109823" y="29051"/>
                  </a:cubicBezTo>
                  <a:cubicBezTo>
                    <a:pt x="100013" y="29051"/>
                    <a:pt x="90773" y="30956"/>
                    <a:pt x="82105" y="34766"/>
                  </a:cubicBezTo>
                  <a:cubicBezTo>
                    <a:pt x="73438" y="38671"/>
                    <a:pt x="65913" y="44005"/>
                    <a:pt x="59341" y="50959"/>
                  </a:cubicBezTo>
                  <a:cubicBezTo>
                    <a:pt x="52769" y="57912"/>
                    <a:pt x="47339" y="66103"/>
                    <a:pt x="43053" y="75628"/>
                  </a:cubicBezTo>
                  <a:cubicBezTo>
                    <a:pt x="38767" y="85058"/>
                    <a:pt x="36004" y="95345"/>
                    <a:pt x="34766" y="106204"/>
                  </a:cubicBezTo>
                  <a:lnTo>
                    <a:pt x="183356" y="106204"/>
                  </a:lnTo>
                  <a:close/>
                </a:path>
              </a:pathLst>
            </a:custGeom>
            <a:solidFill>
              <a:srgbClr val="44505E"/>
            </a:solidFill>
            <a:ln w="9525" cap="flat">
              <a:noFill/>
              <a:prstDash val="solid"/>
              <a:miter/>
            </a:ln>
          </p:spPr>
          <p:txBody>
            <a:bodyPr rtlCol="0" anchor="ctr"/>
            <a:lstStyle/>
            <a:p>
              <a:endParaRPr lang="pt-BR" noProof="0"/>
            </a:p>
          </p:txBody>
        </p:sp>
        <p:sp>
          <p:nvSpPr>
            <p:cNvPr id="31" name="Freeform: Shape 43">
              <a:extLst>
                <a:ext uri="{FF2B5EF4-FFF2-40B4-BE49-F238E27FC236}">
                  <a16:creationId xmlns:a16="http://schemas.microsoft.com/office/drawing/2014/main" id="{09F7FA0A-D827-A4A3-F71C-1DE8B8B77F96}"/>
                </a:ext>
              </a:extLst>
            </p:cNvPr>
            <p:cNvSpPr/>
            <p:nvPr/>
          </p:nvSpPr>
          <p:spPr>
            <a:xfrm>
              <a:off x="5994910" y="924268"/>
              <a:ext cx="44680" cy="60195"/>
            </a:xfrm>
            <a:custGeom>
              <a:avLst/>
              <a:gdLst>
                <a:gd name="connsiteX0" fmla="*/ 95536 w 177736"/>
                <a:gd name="connsiteY0" fmla="*/ 239268 h 239458"/>
                <a:gd name="connsiteX1" fmla="*/ 45053 w 177736"/>
                <a:gd name="connsiteY1" fmla="*/ 230124 h 239458"/>
                <a:gd name="connsiteX2" fmla="*/ 0 w 177736"/>
                <a:gd name="connsiteY2" fmla="*/ 205359 h 239458"/>
                <a:gd name="connsiteX3" fmla="*/ 17431 w 177736"/>
                <a:gd name="connsiteY3" fmla="*/ 180785 h 239458"/>
                <a:gd name="connsiteX4" fmla="*/ 56483 w 177736"/>
                <a:gd name="connsiteY4" fmla="*/ 202692 h 239458"/>
                <a:gd name="connsiteX5" fmla="*/ 97346 w 177736"/>
                <a:gd name="connsiteY5" fmla="*/ 210217 h 239458"/>
                <a:gd name="connsiteX6" fmla="*/ 131731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730 w 177736"/>
                <a:gd name="connsiteY10" fmla="*/ 147066 h 239458"/>
                <a:gd name="connsiteX11" fmla="*/ 109252 w 177736"/>
                <a:gd name="connsiteY11" fmla="*/ 138779 h 239458"/>
                <a:gd name="connsiteX12" fmla="*/ 87630 w 177736"/>
                <a:gd name="connsiteY12" fmla="*/ 132112 h 239458"/>
                <a:gd name="connsiteX13" fmla="*/ 60674 w 177736"/>
                <a:gd name="connsiteY13" fmla="*/ 123444 h 239458"/>
                <a:gd name="connsiteX14" fmla="*/ 36100 w 177736"/>
                <a:gd name="connsiteY14" fmla="*/ 111633 h 239458"/>
                <a:gd name="connsiteX15" fmla="*/ 18193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60 w 177736"/>
                <a:gd name="connsiteY22" fmla="*/ 6953 h 239458"/>
                <a:gd name="connsiteX23" fmla="*/ 172879 w 177736"/>
                <a:gd name="connsiteY23" fmla="*/ 25527 h 239458"/>
                <a:gd name="connsiteX24" fmla="*/ 157258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4 w 177736"/>
                <a:gd name="connsiteY32" fmla="*/ 96203 h 239458"/>
                <a:gd name="connsiteX33" fmla="*/ 103632 w 177736"/>
                <a:gd name="connsiteY33" fmla="*/ 103346 h 239458"/>
                <a:gd name="connsiteX34" fmla="*/ 130207 w 177736"/>
                <a:gd name="connsiteY34" fmla="*/ 112300 h 239458"/>
                <a:gd name="connsiteX35" fmla="*/ 154114 w 177736"/>
                <a:gd name="connsiteY35" fmla="*/ 124778 h 239458"/>
                <a:gd name="connsiteX36" fmla="*/ 171260 w 177736"/>
                <a:gd name="connsiteY36" fmla="*/ 143066 h 239458"/>
                <a:gd name="connsiteX37" fmla="*/ 177737 w 177736"/>
                <a:gd name="connsiteY37" fmla="*/ 169450 h 239458"/>
                <a:gd name="connsiteX38" fmla="*/ 177737 w 177736"/>
                <a:gd name="connsiteY38" fmla="*/ 170307 h 239458"/>
                <a:gd name="connsiteX39" fmla="*/ 171260 w 177736"/>
                <a:gd name="connsiteY39" fmla="*/ 199549 h 239458"/>
                <a:gd name="connsiteX40" fmla="*/ 153829 w 177736"/>
                <a:gd name="connsiteY40" fmla="*/ 221171 h 239458"/>
                <a:gd name="connsiteX41" fmla="*/ 127921 w 177736"/>
                <a:gd name="connsiteY41" fmla="*/ 234791 h 239458"/>
                <a:gd name="connsiteX42" fmla="*/ 95536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6" y="239268"/>
                  </a:moveTo>
                  <a:cubicBezTo>
                    <a:pt x="78867" y="239268"/>
                    <a:pt x="62008" y="236220"/>
                    <a:pt x="45053" y="230124"/>
                  </a:cubicBezTo>
                  <a:cubicBezTo>
                    <a:pt x="28099" y="224028"/>
                    <a:pt x="13049" y="215741"/>
                    <a:pt x="0" y="205359"/>
                  </a:cubicBezTo>
                  <a:lnTo>
                    <a:pt x="17431" y="180785"/>
                  </a:lnTo>
                  <a:cubicBezTo>
                    <a:pt x="29909"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637" y="162211"/>
                    <a:pt x="140494" y="158020"/>
                  </a:cubicBezTo>
                  <a:cubicBezTo>
                    <a:pt x="137351" y="153829"/>
                    <a:pt x="133160" y="150209"/>
                    <a:pt x="127730" y="147066"/>
                  </a:cubicBezTo>
                  <a:cubicBezTo>
                    <a:pt x="122396" y="143923"/>
                    <a:pt x="116205" y="141161"/>
                    <a:pt x="109252" y="138779"/>
                  </a:cubicBezTo>
                  <a:cubicBezTo>
                    <a:pt x="102299" y="136398"/>
                    <a:pt x="95060" y="134207"/>
                    <a:pt x="87630" y="132112"/>
                  </a:cubicBezTo>
                  <a:cubicBezTo>
                    <a:pt x="78677" y="129445"/>
                    <a:pt x="69723" y="126492"/>
                    <a:pt x="60674" y="123444"/>
                  </a:cubicBezTo>
                  <a:cubicBezTo>
                    <a:pt x="51626" y="120301"/>
                    <a:pt x="43434" y="116396"/>
                    <a:pt x="36100" y="111633"/>
                  </a:cubicBezTo>
                  <a:cubicBezTo>
                    <a:pt x="28766" y="106871"/>
                    <a:pt x="22860" y="100870"/>
                    <a:pt x="18193" y="93726"/>
                  </a:cubicBezTo>
                  <a:cubicBezTo>
                    <a:pt x="13621" y="86582"/>
                    <a:pt x="11239" y="77629"/>
                    <a:pt x="11239" y="66961"/>
                  </a:cubicBezTo>
                  <a:lnTo>
                    <a:pt x="11239" y="66008"/>
                  </a:lnTo>
                  <a:cubicBezTo>
                    <a:pt x="11239" y="56198"/>
                    <a:pt x="13145" y="47149"/>
                    <a:pt x="17050" y="39053"/>
                  </a:cubicBezTo>
                  <a:cubicBezTo>
                    <a:pt x="20860" y="30861"/>
                    <a:pt x="26289" y="23908"/>
                    <a:pt x="33338" y="18098"/>
                  </a:cubicBezTo>
                  <a:cubicBezTo>
                    <a:pt x="40291" y="12287"/>
                    <a:pt x="48673" y="7811"/>
                    <a:pt x="58388" y="4667"/>
                  </a:cubicBezTo>
                  <a:cubicBezTo>
                    <a:pt x="68009" y="1524"/>
                    <a:pt x="78581" y="0"/>
                    <a:pt x="89821" y="0"/>
                  </a:cubicBezTo>
                  <a:cubicBezTo>
                    <a:pt x="104108" y="0"/>
                    <a:pt x="118491" y="2286"/>
                    <a:pt x="133160" y="6953"/>
                  </a:cubicBezTo>
                  <a:cubicBezTo>
                    <a:pt x="147733" y="11621"/>
                    <a:pt x="160972" y="17717"/>
                    <a:pt x="172879" y="25527"/>
                  </a:cubicBezTo>
                  <a:lnTo>
                    <a:pt x="157258" y="51435"/>
                  </a:lnTo>
                  <a:cubicBezTo>
                    <a:pt x="146495" y="44577"/>
                    <a:pt x="135350" y="39148"/>
                    <a:pt x="123539" y="35147"/>
                  </a:cubicBezTo>
                  <a:cubicBezTo>
                    <a:pt x="111824" y="31147"/>
                    <a:pt x="100298" y="29146"/>
                    <a:pt x="88963" y="29146"/>
                  </a:cubicBezTo>
                  <a:cubicBezTo>
                    <a:pt x="75247" y="29146"/>
                    <a:pt x="64389" y="32385"/>
                    <a:pt x="56388" y="38767"/>
                  </a:cubicBezTo>
                  <a:cubicBezTo>
                    <a:pt x="48387" y="45149"/>
                    <a:pt x="44291" y="53150"/>
                    <a:pt x="44291" y="62675"/>
                  </a:cubicBezTo>
                  <a:lnTo>
                    <a:pt x="44291" y="63627"/>
                  </a:lnTo>
                  <a:cubicBezTo>
                    <a:pt x="44291" y="68961"/>
                    <a:pt x="45911" y="73628"/>
                    <a:pt x="49244" y="77724"/>
                  </a:cubicBezTo>
                  <a:cubicBezTo>
                    <a:pt x="52483" y="81725"/>
                    <a:pt x="56960" y="85249"/>
                    <a:pt x="62389" y="88202"/>
                  </a:cubicBezTo>
                  <a:cubicBezTo>
                    <a:pt x="67913" y="91154"/>
                    <a:pt x="74200" y="93821"/>
                    <a:pt x="81344" y="96203"/>
                  </a:cubicBezTo>
                  <a:cubicBezTo>
                    <a:pt x="88487" y="98584"/>
                    <a:pt x="95917" y="100965"/>
                    <a:pt x="103632" y="103346"/>
                  </a:cubicBezTo>
                  <a:cubicBezTo>
                    <a:pt x="112586" y="106013"/>
                    <a:pt x="121444" y="108966"/>
                    <a:pt x="130207" y="112300"/>
                  </a:cubicBezTo>
                  <a:cubicBezTo>
                    <a:pt x="138970" y="115538"/>
                    <a:pt x="146971" y="119729"/>
                    <a:pt x="154114" y="124778"/>
                  </a:cubicBezTo>
                  <a:cubicBezTo>
                    <a:pt x="161258" y="129826"/>
                    <a:pt x="166973" y="135922"/>
                    <a:pt x="171260" y="143066"/>
                  </a:cubicBezTo>
                  <a:cubicBezTo>
                    <a:pt x="175546" y="150209"/>
                    <a:pt x="177737" y="158972"/>
                    <a:pt x="177737" y="169450"/>
                  </a:cubicBezTo>
                  <a:lnTo>
                    <a:pt x="177737" y="170307"/>
                  </a:lnTo>
                  <a:cubicBezTo>
                    <a:pt x="177737" y="181356"/>
                    <a:pt x="175546" y="191071"/>
                    <a:pt x="171260" y="199549"/>
                  </a:cubicBezTo>
                  <a:cubicBezTo>
                    <a:pt x="166973" y="208026"/>
                    <a:pt x="161163" y="215265"/>
                    <a:pt x="153829" y="221171"/>
                  </a:cubicBezTo>
                  <a:cubicBezTo>
                    <a:pt x="146495" y="227171"/>
                    <a:pt x="137922" y="231648"/>
                    <a:pt x="127921" y="234791"/>
                  </a:cubicBezTo>
                  <a:cubicBezTo>
                    <a:pt x="117920" y="237935"/>
                    <a:pt x="107156" y="239459"/>
                    <a:pt x="95536" y="239459"/>
                  </a:cubicBezTo>
                  <a:close/>
                </a:path>
              </a:pathLst>
            </a:custGeom>
            <a:solidFill>
              <a:srgbClr val="44505E"/>
            </a:solidFill>
            <a:ln w="9525" cap="flat">
              <a:noFill/>
              <a:prstDash val="solid"/>
              <a:miter/>
            </a:ln>
          </p:spPr>
          <p:txBody>
            <a:bodyPr rtlCol="0" anchor="ctr"/>
            <a:lstStyle/>
            <a:p>
              <a:endParaRPr lang="pt-BR" noProof="0"/>
            </a:p>
          </p:txBody>
        </p:sp>
        <p:sp>
          <p:nvSpPr>
            <p:cNvPr id="32" name="Freeform: Shape 44">
              <a:extLst>
                <a:ext uri="{FF2B5EF4-FFF2-40B4-BE49-F238E27FC236}">
                  <a16:creationId xmlns:a16="http://schemas.microsoft.com/office/drawing/2014/main" id="{5EDDDE4B-6C34-95F4-C7B0-B6B63A13317D}"/>
                </a:ext>
              </a:extLst>
            </p:cNvPr>
            <p:cNvSpPr/>
            <p:nvPr/>
          </p:nvSpPr>
          <p:spPr>
            <a:xfrm>
              <a:off x="605122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4 w 202977"/>
                <a:gd name="connsiteY30" fmla="*/ 174593 h 239267"/>
                <a:gd name="connsiteX31" fmla="*/ 169735 w 202977"/>
                <a:gd name="connsiteY31" fmla="*/ 149447 h 239267"/>
                <a:gd name="connsiteX32" fmla="*/ 169735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0" y="90964"/>
                    <a:pt x="98584" y="90964"/>
                  </a:cubicBezTo>
                  <a:cubicBezTo>
                    <a:pt x="113157" y="90964"/>
                    <a:pt x="126301"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1" y="33147"/>
                    <a:pt x="63436" y="36100"/>
                  </a:cubicBezTo>
                  <a:cubicBezTo>
                    <a:pt x="52292" y="39053"/>
                    <a:pt x="41338" y="43053"/>
                    <a:pt x="30671" y="48196"/>
                  </a:cubicBezTo>
                  <a:lnTo>
                    <a:pt x="20383" y="19907"/>
                  </a:lnTo>
                  <a:cubicBezTo>
                    <a:pt x="33147" y="13906"/>
                    <a:pt x="46101" y="9049"/>
                    <a:pt x="59246" y="5429"/>
                  </a:cubicBezTo>
                  <a:cubicBezTo>
                    <a:pt x="72295"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1" y="239173"/>
                  </a:cubicBezTo>
                  <a:close/>
                  <a:moveTo>
                    <a:pt x="93154" y="211169"/>
                  </a:moveTo>
                  <a:cubicBezTo>
                    <a:pt x="103822" y="211169"/>
                    <a:pt x="113728" y="209740"/>
                    <a:pt x="122967" y="206788"/>
                  </a:cubicBezTo>
                  <a:cubicBezTo>
                    <a:pt x="132207" y="203835"/>
                    <a:pt x="140208" y="199644"/>
                    <a:pt x="147256" y="194120"/>
                  </a:cubicBezTo>
                  <a:cubicBezTo>
                    <a:pt x="154209" y="188595"/>
                    <a:pt x="159734" y="182118"/>
                    <a:pt x="163734" y="174593"/>
                  </a:cubicBezTo>
                  <a:cubicBezTo>
                    <a:pt x="167735" y="167068"/>
                    <a:pt x="169735" y="158687"/>
                    <a:pt x="169735" y="149447"/>
                  </a:cubicBezTo>
                  <a:lnTo>
                    <a:pt x="169735" y="128111"/>
                  </a:lnTo>
                  <a:cubicBezTo>
                    <a:pt x="161163" y="125730"/>
                    <a:pt x="151352" y="123539"/>
                    <a:pt x="140398" y="121444"/>
                  </a:cubicBezTo>
                  <a:cubicBezTo>
                    <a:pt x="129445" y="119348"/>
                    <a:pt x="116872"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33" name="Freeform: Shape 45">
              <a:extLst>
                <a:ext uri="{FF2B5EF4-FFF2-40B4-BE49-F238E27FC236}">
                  <a16:creationId xmlns:a16="http://schemas.microsoft.com/office/drawing/2014/main" id="{27491D96-E278-25FE-0C60-8EA0EDB9A766}"/>
                </a:ext>
              </a:extLst>
            </p:cNvPr>
            <p:cNvSpPr/>
            <p:nvPr/>
          </p:nvSpPr>
          <p:spPr>
            <a:xfrm>
              <a:off x="6121359" y="901377"/>
              <a:ext cx="8644" cy="81913"/>
            </a:xfrm>
            <a:custGeom>
              <a:avLst/>
              <a:gdLst>
                <a:gd name="connsiteX0" fmla="*/ 0 w 34385"/>
                <a:gd name="connsiteY0" fmla="*/ 0 h 325850"/>
                <a:gd name="connsiteX1" fmla="*/ 34385 w 34385"/>
                <a:gd name="connsiteY1" fmla="*/ 0 h 325850"/>
                <a:gd name="connsiteX2" fmla="*/ 34385 w 34385"/>
                <a:gd name="connsiteY2" fmla="*/ 325850 h 325850"/>
                <a:gd name="connsiteX3" fmla="*/ 0 w 34385"/>
                <a:gd name="connsiteY3" fmla="*/ 325850 h 325850"/>
                <a:gd name="connsiteX4" fmla="*/ 0 w 34385"/>
                <a:gd name="connsiteY4" fmla="*/ 0 h 32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 h="325850">
                  <a:moveTo>
                    <a:pt x="0" y="0"/>
                  </a:moveTo>
                  <a:lnTo>
                    <a:pt x="34385" y="0"/>
                  </a:lnTo>
                  <a:lnTo>
                    <a:pt x="34385" y="325850"/>
                  </a:lnTo>
                  <a:lnTo>
                    <a:pt x="0" y="325850"/>
                  </a:lnTo>
                  <a:lnTo>
                    <a:pt x="0" y="0"/>
                  </a:lnTo>
                  <a:close/>
                </a:path>
              </a:pathLst>
            </a:custGeom>
            <a:solidFill>
              <a:srgbClr val="44505E"/>
            </a:solidFill>
            <a:ln w="9525" cap="flat">
              <a:noFill/>
              <a:prstDash val="solid"/>
              <a:miter/>
            </a:ln>
          </p:spPr>
          <p:txBody>
            <a:bodyPr rtlCol="0" anchor="ctr"/>
            <a:lstStyle/>
            <a:p>
              <a:endParaRPr lang="pt-BR" noProof="0"/>
            </a:p>
          </p:txBody>
        </p:sp>
        <p:sp>
          <p:nvSpPr>
            <p:cNvPr id="34" name="Freeform: Shape 46">
              <a:extLst>
                <a:ext uri="{FF2B5EF4-FFF2-40B4-BE49-F238E27FC236}">
                  <a16:creationId xmlns:a16="http://schemas.microsoft.com/office/drawing/2014/main" id="{109B1BE5-9F97-7700-2088-ACBB345835A9}"/>
                </a:ext>
              </a:extLst>
            </p:cNvPr>
            <p:cNvSpPr/>
            <p:nvPr/>
          </p:nvSpPr>
          <p:spPr>
            <a:xfrm>
              <a:off x="6144346" y="925273"/>
              <a:ext cx="58016" cy="58448"/>
            </a:xfrm>
            <a:custGeom>
              <a:avLst/>
              <a:gdLst>
                <a:gd name="connsiteX0" fmla="*/ 95 w 230790"/>
                <a:gd name="connsiteY0" fmla="*/ 0 h 232505"/>
                <a:gd name="connsiteX1" fmla="*/ 38005 w 230790"/>
                <a:gd name="connsiteY1" fmla="*/ 0 h 232505"/>
                <a:gd name="connsiteX2" fmla="*/ 115634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4"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35" name="Freeform: Shape 47">
              <a:extLst>
                <a:ext uri="{FF2B5EF4-FFF2-40B4-BE49-F238E27FC236}">
                  <a16:creationId xmlns:a16="http://schemas.microsoft.com/office/drawing/2014/main" id="{299FC963-95C2-9551-43C1-2EDFF45C4FA8}"/>
                </a:ext>
              </a:extLst>
            </p:cNvPr>
            <p:cNvSpPr/>
            <p:nvPr/>
          </p:nvSpPr>
          <p:spPr>
            <a:xfrm>
              <a:off x="621155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8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338 w 202977"/>
                <a:gd name="connsiteY36" fmla="*/ 164497 h 239267"/>
                <a:gd name="connsiteX37" fmla="*/ 35338 w 202977"/>
                <a:gd name="connsiteY37" fmla="*/ 165449 h 239267"/>
                <a:gd name="connsiteX38" fmla="*/ 40005 w 202977"/>
                <a:gd name="connsiteY38" fmla="*/ 184785 h 239267"/>
                <a:gd name="connsiteX39" fmla="*/ 52673 w 202977"/>
                <a:gd name="connsiteY39" fmla="*/ 199263 h 239267"/>
                <a:gd name="connsiteX40" fmla="*/ 71152 w 202977"/>
                <a:gd name="connsiteY40" fmla="*/ 208121 h 239267"/>
                <a:gd name="connsiteX41" fmla="*/ 93154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438" y="239268"/>
                    <a:pt x="64961"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1" y="90964"/>
                    <a:pt x="98584" y="90964"/>
                  </a:cubicBezTo>
                  <a:cubicBezTo>
                    <a:pt x="113157" y="90964"/>
                    <a:pt x="126302" y="91821"/>
                    <a:pt x="137160" y="93631"/>
                  </a:cubicBezTo>
                  <a:cubicBezTo>
                    <a:pt x="148019" y="95440"/>
                    <a:pt x="158687" y="97822"/>
                    <a:pt x="169069" y="100774"/>
                  </a:cubicBezTo>
                  <a:lnTo>
                    <a:pt x="169069" y="93726"/>
                  </a:lnTo>
                  <a:cubicBezTo>
                    <a:pt x="169069" y="73342"/>
                    <a:pt x="163068" y="57912"/>
                    <a:pt x="151162" y="47339"/>
                  </a:cubicBezTo>
                  <a:cubicBezTo>
                    <a:pt x="139255" y="36862"/>
                    <a:pt x="122491" y="31623"/>
                    <a:pt x="100679" y="31623"/>
                  </a:cubicBezTo>
                  <a:cubicBezTo>
                    <a:pt x="86963" y="31623"/>
                    <a:pt x="74581" y="33147"/>
                    <a:pt x="63437" y="36100"/>
                  </a:cubicBezTo>
                  <a:cubicBezTo>
                    <a:pt x="52292" y="39053"/>
                    <a:pt x="41338" y="43053"/>
                    <a:pt x="30671" y="48196"/>
                  </a:cubicBezTo>
                  <a:lnTo>
                    <a:pt x="20383" y="19907"/>
                  </a:lnTo>
                  <a:cubicBezTo>
                    <a:pt x="33147" y="13906"/>
                    <a:pt x="46101" y="9049"/>
                    <a:pt x="59246" y="5429"/>
                  </a:cubicBezTo>
                  <a:cubicBezTo>
                    <a:pt x="72390"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04" y="239173"/>
                    <a:pt x="86011" y="239173"/>
                  </a:cubicBezTo>
                  <a:close/>
                  <a:moveTo>
                    <a:pt x="93154" y="211169"/>
                  </a:moveTo>
                  <a:cubicBezTo>
                    <a:pt x="103822" y="211169"/>
                    <a:pt x="113824" y="209740"/>
                    <a:pt x="122968" y="206788"/>
                  </a:cubicBezTo>
                  <a:cubicBezTo>
                    <a:pt x="132112"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5" y="119348"/>
                    <a:pt x="116777" y="118300"/>
                    <a:pt x="102584" y="118300"/>
                  </a:cubicBezTo>
                  <a:cubicBezTo>
                    <a:pt x="81248" y="118300"/>
                    <a:pt x="64675" y="122491"/>
                    <a:pt x="52959" y="130969"/>
                  </a:cubicBezTo>
                  <a:cubicBezTo>
                    <a:pt x="41243" y="139446"/>
                    <a:pt x="35338" y="150590"/>
                    <a:pt x="35338" y="164497"/>
                  </a:cubicBezTo>
                  <a:lnTo>
                    <a:pt x="35338" y="165449"/>
                  </a:lnTo>
                  <a:cubicBezTo>
                    <a:pt x="35338" y="172498"/>
                    <a:pt x="36862" y="178975"/>
                    <a:pt x="40005" y="184785"/>
                  </a:cubicBezTo>
                  <a:cubicBezTo>
                    <a:pt x="43148" y="190500"/>
                    <a:pt x="47339" y="195358"/>
                    <a:pt x="52673" y="199263"/>
                  </a:cubicBezTo>
                  <a:cubicBezTo>
                    <a:pt x="58007" y="203073"/>
                    <a:pt x="64198" y="206026"/>
                    <a:pt x="71152" y="208121"/>
                  </a:cubicBezTo>
                  <a:cubicBezTo>
                    <a:pt x="78105" y="210217"/>
                    <a:pt x="85439" y="211169"/>
                    <a:pt x="93154" y="211169"/>
                  </a:cubicBezTo>
                  <a:close/>
                </a:path>
              </a:pathLst>
            </a:custGeom>
            <a:solidFill>
              <a:srgbClr val="44505E"/>
            </a:solidFill>
            <a:ln w="9525" cap="flat">
              <a:noFill/>
              <a:prstDash val="solid"/>
              <a:miter/>
            </a:ln>
          </p:spPr>
          <p:txBody>
            <a:bodyPr rtlCol="0" anchor="ctr"/>
            <a:lstStyle/>
            <a:p>
              <a:endParaRPr lang="pt-BR" noProof="0"/>
            </a:p>
          </p:txBody>
        </p:sp>
        <p:sp>
          <p:nvSpPr>
            <p:cNvPr id="36" name="Freeform: Shape 48">
              <a:extLst>
                <a:ext uri="{FF2B5EF4-FFF2-40B4-BE49-F238E27FC236}">
                  <a16:creationId xmlns:a16="http://schemas.microsoft.com/office/drawing/2014/main" id="{8B2C81B9-06E1-66DF-A76D-D12DCA12C743}"/>
                </a:ext>
              </a:extLst>
            </p:cNvPr>
            <p:cNvSpPr/>
            <p:nvPr/>
          </p:nvSpPr>
          <p:spPr>
            <a:xfrm>
              <a:off x="6280899" y="923980"/>
              <a:ext cx="87995" cy="59238"/>
            </a:xfrm>
            <a:custGeom>
              <a:avLst/>
              <a:gdLst>
                <a:gd name="connsiteX0" fmla="*/ 0 w 350043"/>
                <a:gd name="connsiteY0" fmla="*/ 5144 h 235648"/>
                <a:gd name="connsiteX1" fmla="*/ 34385 w 350043"/>
                <a:gd name="connsiteY1" fmla="*/ 5144 h 235648"/>
                <a:gd name="connsiteX2" fmla="*/ 34385 w 350043"/>
                <a:gd name="connsiteY2" fmla="*/ 44005 h 235648"/>
                <a:gd name="connsiteX3" fmla="*/ 47149 w 350043"/>
                <a:gd name="connsiteY3" fmla="*/ 27432 h 235648"/>
                <a:gd name="connsiteX4" fmla="*/ 62960 w 350043"/>
                <a:gd name="connsiteY4" fmla="*/ 13335 h 235648"/>
                <a:gd name="connsiteX5" fmla="*/ 83058 w 350043"/>
                <a:gd name="connsiteY5" fmla="*/ 3715 h 235648"/>
                <a:gd name="connsiteX6" fmla="*/ 108966 w 350043"/>
                <a:gd name="connsiteY6" fmla="*/ 95 h 235648"/>
                <a:gd name="connsiteX7" fmla="*/ 155448 w 350043"/>
                <a:gd name="connsiteY7" fmla="*/ 13240 h 235648"/>
                <a:gd name="connsiteX8" fmla="*/ 183166 w 350043"/>
                <a:gd name="connsiteY8" fmla="*/ 46006 h 235648"/>
                <a:gd name="connsiteX9" fmla="*/ 197168 w 350043"/>
                <a:gd name="connsiteY9" fmla="*/ 28194 h 235648"/>
                <a:gd name="connsiteX10" fmla="*/ 214789 w 350043"/>
                <a:gd name="connsiteY10" fmla="*/ 13430 h 235648"/>
                <a:gd name="connsiteX11" fmla="*/ 236887 w 350043"/>
                <a:gd name="connsiteY11" fmla="*/ 3620 h 235648"/>
                <a:gd name="connsiteX12" fmla="*/ 264319 w 350043"/>
                <a:gd name="connsiteY12" fmla="*/ 0 h 235648"/>
                <a:gd name="connsiteX13" fmla="*/ 327279 w 350043"/>
                <a:gd name="connsiteY13" fmla="*/ 24765 h 235648"/>
                <a:gd name="connsiteX14" fmla="*/ 350044 w 350043"/>
                <a:gd name="connsiteY14" fmla="*/ 92773 h 235648"/>
                <a:gd name="connsiteX15" fmla="*/ 350044 w 350043"/>
                <a:gd name="connsiteY15" fmla="*/ 235648 h 235648"/>
                <a:gd name="connsiteX16" fmla="*/ 315659 w 350043"/>
                <a:gd name="connsiteY16" fmla="*/ 235648 h 235648"/>
                <a:gd name="connsiteX17" fmla="*/ 315659 w 350043"/>
                <a:gd name="connsiteY17" fmla="*/ 101155 h 235648"/>
                <a:gd name="connsiteX18" fmla="*/ 299847 w 350043"/>
                <a:gd name="connsiteY18" fmla="*/ 49721 h 235648"/>
                <a:gd name="connsiteX19" fmla="*/ 255937 w 350043"/>
                <a:gd name="connsiteY19" fmla="*/ 31718 h 235648"/>
                <a:gd name="connsiteX20" fmla="*/ 231362 w 350043"/>
                <a:gd name="connsiteY20" fmla="*/ 36386 h 235648"/>
                <a:gd name="connsiteX21" fmla="*/ 211074 w 350043"/>
                <a:gd name="connsiteY21" fmla="*/ 50197 h 235648"/>
                <a:gd name="connsiteX22" fmla="*/ 197263 w 350043"/>
                <a:gd name="connsiteY22" fmla="*/ 72676 h 235648"/>
                <a:gd name="connsiteX23" fmla="*/ 192119 w 350043"/>
                <a:gd name="connsiteY23" fmla="*/ 102965 h 235648"/>
                <a:gd name="connsiteX24" fmla="*/ 192119 w 350043"/>
                <a:gd name="connsiteY24" fmla="*/ 235648 h 235648"/>
                <a:gd name="connsiteX25" fmla="*/ 158210 w 350043"/>
                <a:gd name="connsiteY25" fmla="*/ 235648 h 235648"/>
                <a:gd name="connsiteX26" fmla="*/ 158210 w 350043"/>
                <a:gd name="connsiteY26" fmla="*/ 100298 h 235648"/>
                <a:gd name="connsiteX27" fmla="*/ 142399 w 350043"/>
                <a:gd name="connsiteY27" fmla="*/ 49721 h 235648"/>
                <a:gd name="connsiteX28" fmla="*/ 98870 w 350043"/>
                <a:gd name="connsiteY28" fmla="*/ 31718 h 235648"/>
                <a:gd name="connsiteX29" fmla="*/ 73438 w 350043"/>
                <a:gd name="connsiteY29" fmla="*/ 37052 h 235648"/>
                <a:gd name="connsiteX30" fmla="*/ 53150 w 350043"/>
                <a:gd name="connsiteY30" fmla="*/ 52197 h 235648"/>
                <a:gd name="connsiteX31" fmla="*/ 39529 w 350043"/>
                <a:gd name="connsiteY31" fmla="*/ 75152 h 235648"/>
                <a:gd name="connsiteX32" fmla="*/ 34576 w 350043"/>
                <a:gd name="connsiteY32" fmla="*/ 104299 h 235648"/>
                <a:gd name="connsiteX33" fmla="*/ 34576 w 350043"/>
                <a:gd name="connsiteY33" fmla="*/ 235648 h 235648"/>
                <a:gd name="connsiteX34" fmla="*/ 190 w 350043"/>
                <a:gd name="connsiteY34" fmla="*/ 235648 h 235648"/>
                <a:gd name="connsiteX35" fmla="*/ 190 w 350043"/>
                <a:gd name="connsiteY35" fmla="*/ 485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0043" h="235648">
                  <a:moveTo>
                    <a:pt x="0" y="5144"/>
                  </a:moveTo>
                  <a:lnTo>
                    <a:pt x="34385" y="5144"/>
                  </a:lnTo>
                  <a:lnTo>
                    <a:pt x="34385" y="44005"/>
                  </a:lnTo>
                  <a:cubicBezTo>
                    <a:pt x="38290" y="38386"/>
                    <a:pt x="42481" y="32861"/>
                    <a:pt x="47149" y="27432"/>
                  </a:cubicBezTo>
                  <a:cubicBezTo>
                    <a:pt x="51721" y="22098"/>
                    <a:pt x="57055" y="17431"/>
                    <a:pt x="62960" y="13335"/>
                  </a:cubicBezTo>
                  <a:cubicBezTo>
                    <a:pt x="68866" y="9335"/>
                    <a:pt x="75629" y="6096"/>
                    <a:pt x="83058" y="3715"/>
                  </a:cubicBezTo>
                  <a:cubicBezTo>
                    <a:pt x="90488" y="1334"/>
                    <a:pt x="99155" y="95"/>
                    <a:pt x="108966" y="95"/>
                  </a:cubicBezTo>
                  <a:cubicBezTo>
                    <a:pt x="127730" y="95"/>
                    <a:pt x="143161" y="4477"/>
                    <a:pt x="155448" y="13240"/>
                  </a:cubicBezTo>
                  <a:cubicBezTo>
                    <a:pt x="167640" y="22003"/>
                    <a:pt x="176879" y="32956"/>
                    <a:pt x="183166" y="46006"/>
                  </a:cubicBezTo>
                  <a:cubicBezTo>
                    <a:pt x="187357" y="39719"/>
                    <a:pt x="192024" y="33814"/>
                    <a:pt x="197168" y="28194"/>
                  </a:cubicBezTo>
                  <a:cubicBezTo>
                    <a:pt x="202406" y="22574"/>
                    <a:pt x="208217" y="17621"/>
                    <a:pt x="214789" y="13430"/>
                  </a:cubicBezTo>
                  <a:cubicBezTo>
                    <a:pt x="221361" y="9239"/>
                    <a:pt x="228695" y="6001"/>
                    <a:pt x="236887" y="3620"/>
                  </a:cubicBezTo>
                  <a:cubicBezTo>
                    <a:pt x="245078" y="1238"/>
                    <a:pt x="254222" y="0"/>
                    <a:pt x="264319" y="0"/>
                  </a:cubicBezTo>
                  <a:cubicBezTo>
                    <a:pt x="291084" y="0"/>
                    <a:pt x="312039" y="8287"/>
                    <a:pt x="327279" y="24765"/>
                  </a:cubicBezTo>
                  <a:cubicBezTo>
                    <a:pt x="342519" y="41243"/>
                    <a:pt x="350044" y="63913"/>
                    <a:pt x="350044" y="92773"/>
                  </a:cubicBezTo>
                  <a:lnTo>
                    <a:pt x="350044" y="235648"/>
                  </a:lnTo>
                  <a:lnTo>
                    <a:pt x="315659" y="235648"/>
                  </a:lnTo>
                  <a:lnTo>
                    <a:pt x="315659" y="101155"/>
                  </a:lnTo>
                  <a:cubicBezTo>
                    <a:pt x="315659" y="78867"/>
                    <a:pt x="310420" y="61722"/>
                    <a:pt x="299847" y="49721"/>
                  </a:cubicBezTo>
                  <a:cubicBezTo>
                    <a:pt x="289274" y="37719"/>
                    <a:pt x="274606" y="31718"/>
                    <a:pt x="255937" y="31718"/>
                  </a:cubicBezTo>
                  <a:cubicBezTo>
                    <a:pt x="247269" y="31718"/>
                    <a:pt x="239078" y="33242"/>
                    <a:pt x="231362" y="36386"/>
                  </a:cubicBezTo>
                  <a:cubicBezTo>
                    <a:pt x="223647" y="39529"/>
                    <a:pt x="216884" y="44101"/>
                    <a:pt x="211074" y="50197"/>
                  </a:cubicBezTo>
                  <a:cubicBezTo>
                    <a:pt x="205264" y="56293"/>
                    <a:pt x="200692" y="63818"/>
                    <a:pt x="197263" y="72676"/>
                  </a:cubicBezTo>
                  <a:cubicBezTo>
                    <a:pt x="193834" y="81629"/>
                    <a:pt x="192119" y="91726"/>
                    <a:pt x="192119" y="102965"/>
                  </a:cubicBezTo>
                  <a:lnTo>
                    <a:pt x="192119" y="235648"/>
                  </a:lnTo>
                  <a:lnTo>
                    <a:pt x="158210" y="235648"/>
                  </a:lnTo>
                  <a:lnTo>
                    <a:pt x="158210" y="100298"/>
                  </a:lnTo>
                  <a:cubicBezTo>
                    <a:pt x="158210" y="78677"/>
                    <a:pt x="152971" y="61817"/>
                    <a:pt x="142399" y="49721"/>
                  </a:cubicBezTo>
                  <a:cubicBezTo>
                    <a:pt x="131826" y="37719"/>
                    <a:pt x="117348" y="31718"/>
                    <a:pt x="98870" y="31718"/>
                  </a:cubicBezTo>
                  <a:cubicBezTo>
                    <a:pt x="89630" y="31718"/>
                    <a:pt x="81153" y="33528"/>
                    <a:pt x="73438" y="37052"/>
                  </a:cubicBezTo>
                  <a:cubicBezTo>
                    <a:pt x="65722" y="40672"/>
                    <a:pt x="58960" y="45720"/>
                    <a:pt x="53150" y="52197"/>
                  </a:cubicBezTo>
                  <a:cubicBezTo>
                    <a:pt x="47339" y="58769"/>
                    <a:pt x="42767" y="66389"/>
                    <a:pt x="39529" y="75152"/>
                  </a:cubicBezTo>
                  <a:cubicBezTo>
                    <a:pt x="36290" y="83915"/>
                    <a:pt x="34576" y="93631"/>
                    <a:pt x="34576" y="104299"/>
                  </a:cubicBezTo>
                  <a:lnTo>
                    <a:pt x="34576" y="235648"/>
                  </a:lnTo>
                  <a:lnTo>
                    <a:pt x="190" y="235648"/>
                  </a:lnTo>
                  <a:lnTo>
                    <a:pt x="190" y="4858"/>
                  </a:lnTo>
                  <a:close/>
                </a:path>
              </a:pathLst>
            </a:custGeom>
            <a:solidFill>
              <a:srgbClr val="44505E"/>
            </a:solidFill>
            <a:ln w="9525" cap="flat">
              <a:noFill/>
              <a:prstDash val="solid"/>
              <a:miter/>
            </a:ln>
          </p:spPr>
          <p:txBody>
            <a:bodyPr rtlCol="0" anchor="ctr"/>
            <a:lstStyle/>
            <a:p>
              <a:endParaRPr lang="pt-BR" noProof="0"/>
            </a:p>
          </p:txBody>
        </p:sp>
        <p:sp>
          <p:nvSpPr>
            <p:cNvPr id="37" name="Freeform: Shape 49">
              <a:extLst>
                <a:ext uri="{FF2B5EF4-FFF2-40B4-BE49-F238E27FC236}">
                  <a16:creationId xmlns:a16="http://schemas.microsoft.com/office/drawing/2014/main" id="{99B63600-EEF9-652E-C841-E3790C6368A3}"/>
                </a:ext>
              </a:extLst>
            </p:cNvPr>
            <p:cNvSpPr/>
            <p:nvPr/>
          </p:nvSpPr>
          <p:spPr>
            <a:xfrm>
              <a:off x="6415537" y="925273"/>
              <a:ext cx="58016" cy="58448"/>
            </a:xfrm>
            <a:custGeom>
              <a:avLst/>
              <a:gdLst>
                <a:gd name="connsiteX0" fmla="*/ 95 w 230790"/>
                <a:gd name="connsiteY0" fmla="*/ 0 h 232505"/>
                <a:gd name="connsiteX1" fmla="*/ 38005 w 230790"/>
                <a:gd name="connsiteY1" fmla="*/ 0 h 232505"/>
                <a:gd name="connsiteX2" fmla="*/ 115633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3"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38" name="Freeform: Shape 50">
              <a:extLst>
                <a:ext uri="{FF2B5EF4-FFF2-40B4-BE49-F238E27FC236}">
                  <a16:creationId xmlns:a16="http://schemas.microsoft.com/office/drawing/2014/main" id="{DC274C22-F741-AAA4-122E-683A539A939B}"/>
                </a:ext>
              </a:extLst>
            </p:cNvPr>
            <p:cNvSpPr/>
            <p:nvPr/>
          </p:nvSpPr>
          <p:spPr>
            <a:xfrm>
              <a:off x="6487369"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286 w 39242"/>
                <a:gd name="connsiteY5" fmla="*/ 88392 h 319182"/>
                <a:gd name="connsiteX6" fmla="*/ 36671 w 39242"/>
                <a:gd name="connsiteY6" fmla="*/ 88392 h 319182"/>
                <a:gd name="connsiteX7" fmla="*/ 36671 w 39242"/>
                <a:gd name="connsiteY7" fmla="*/ 319183 h 319182"/>
                <a:gd name="connsiteX8" fmla="*/ 2286 w 39242"/>
                <a:gd name="connsiteY8" fmla="*/ 319183 h 319182"/>
                <a:gd name="connsiteX9" fmla="*/ 2286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286" y="88392"/>
                  </a:moveTo>
                  <a:lnTo>
                    <a:pt x="36671" y="88392"/>
                  </a:lnTo>
                  <a:lnTo>
                    <a:pt x="36671" y="319183"/>
                  </a:lnTo>
                  <a:lnTo>
                    <a:pt x="2286" y="319183"/>
                  </a:lnTo>
                  <a:lnTo>
                    <a:pt x="2286" y="88392"/>
                  </a:lnTo>
                  <a:close/>
                </a:path>
              </a:pathLst>
            </a:custGeom>
            <a:solidFill>
              <a:srgbClr val="44505E"/>
            </a:solidFill>
            <a:ln w="9525" cap="flat">
              <a:noFill/>
              <a:prstDash val="solid"/>
              <a:miter/>
            </a:ln>
          </p:spPr>
          <p:txBody>
            <a:bodyPr rtlCol="0" anchor="ctr"/>
            <a:lstStyle/>
            <a:p>
              <a:endParaRPr lang="pt-BR" noProof="0"/>
            </a:p>
          </p:txBody>
        </p:sp>
        <p:sp>
          <p:nvSpPr>
            <p:cNvPr id="39" name="Freeform: Shape 51">
              <a:extLst>
                <a:ext uri="{FF2B5EF4-FFF2-40B4-BE49-F238E27FC236}">
                  <a16:creationId xmlns:a16="http://schemas.microsoft.com/office/drawing/2014/main" id="{92357605-5011-8D9A-E052-02BBBF06990C}"/>
                </a:ext>
              </a:extLst>
            </p:cNvPr>
            <p:cNvSpPr/>
            <p:nvPr/>
          </p:nvSpPr>
          <p:spPr>
            <a:xfrm>
              <a:off x="6513253" y="901353"/>
              <a:ext cx="58615" cy="83182"/>
            </a:xfrm>
            <a:custGeom>
              <a:avLst/>
              <a:gdLst>
                <a:gd name="connsiteX0" fmla="*/ 110394 w 233171"/>
                <a:gd name="connsiteY0" fmla="*/ 330898 h 330898"/>
                <a:gd name="connsiteX1" fmla="*/ 69723 w 233171"/>
                <a:gd name="connsiteY1" fmla="*/ 322897 h 330898"/>
                <a:gd name="connsiteX2" fmla="*/ 34480 w 233171"/>
                <a:gd name="connsiteY2" fmla="*/ 299466 h 330898"/>
                <a:gd name="connsiteX3" fmla="*/ 9430 w 233171"/>
                <a:gd name="connsiteY3" fmla="*/ 261938 h 330898"/>
                <a:gd name="connsiteX4" fmla="*/ 0 w 233171"/>
                <a:gd name="connsiteY4" fmla="*/ 211264 h 330898"/>
                <a:gd name="connsiteX5" fmla="*/ 0 w 233171"/>
                <a:gd name="connsiteY5" fmla="*/ 210407 h 330898"/>
                <a:gd name="connsiteX6" fmla="*/ 9430 w 233171"/>
                <a:gd name="connsiteY6" fmla="*/ 159925 h 330898"/>
                <a:gd name="connsiteX7" fmla="*/ 34480 w 233171"/>
                <a:gd name="connsiteY7" fmla="*/ 122206 h 330898"/>
                <a:gd name="connsiteX8" fmla="*/ 69723 w 233171"/>
                <a:gd name="connsiteY8" fmla="*/ 98488 h 330898"/>
                <a:gd name="connsiteX9" fmla="*/ 110394 w 233171"/>
                <a:gd name="connsiteY9" fmla="*/ 90202 h 330898"/>
                <a:gd name="connsiteX10" fmla="*/ 139827 w 233171"/>
                <a:gd name="connsiteY10" fmla="*/ 94202 h 330898"/>
                <a:gd name="connsiteX11" fmla="*/ 163925 w 233171"/>
                <a:gd name="connsiteY11" fmla="*/ 104870 h 330898"/>
                <a:gd name="connsiteX12" fmla="*/ 183356 w 233171"/>
                <a:gd name="connsiteY12" fmla="*/ 120491 h 330898"/>
                <a:gd name="connsiteX13" fmla="*/ 198787 w 233171"/>
                <a:gd name="connsiteY13" fmla="*/ 139255 h 330898"/>
                <a:gd name="connsiteX14" fmla="*/ 198787 w 233171"/>
                <a:gd name="connsiteY14" fmla="*/ 0 h 330898"/>
                <a:gd name="connsiteX15" fmla="*/ 233172 w 233171"/>
                <a:gd name="connsiteY15" fmla="*/ 0 h 330898"/>
                <a:gd name="connsiteX16" fmla="*/ 233172 w 233171"/>
                <a:gd name="connsiteY16" fmla="*/ 325850 h 330898"/>
                <a:gd name="connsiteX17" fmla="*/ 198787 w 233171"/>
                <a:gd name="connsiteY17" fmla="*/ 325850 h 330898"/>
                <a:gd name="connsiteX18" fmla="*/ 198787 w 233171"/>
                <a:gd name="connsiteY18" fmla="*/ 279463 h 330898"/>
                <a:gd name="connsiteX19" fmla="*/ 182975 w 233171"/>
                <a:gd name="connsiteY19" fmla="*/ 299085 h 330898"/>
                <a:gd name="connsiteX20" fmla="*/ 163544 w 233171"/>
                <a:gd name="connsiteY20" fmla="*/ 315658 h 330898"/>
                <a:gd name="connsiteX21" fmla="*/ 139636 w 233171"/>
                <a:gd name="connsiteY21" fmla="*/ 326803 h 330898"/>
                <a:gd name="connsiteX22" fmla="*/ 110394 w 233171"/>
                <a:gd name="connsiteY22" fmla="*/ 330803 h 330898"/>
                <a:gd name="connsiteX23" fmla="*/ 116681 w 233171"/>
                <a:gd name="connsiteY23" fmla="*/ 300133 h 330898"/>
                <a:gd name="connsiteX24" fmla="*/ 147733 w 233171"/>
                <a:gd name="connsiteY24" fmla="*/ 293656 h 330898"/>
                <a:gd name="connsiteX25" fmla="*/ 174498 w 233171"/>
                <a:gd name="connsiteY25" fmla="*/ 275368 h 330898"/>
                <a:gd name="connsiteX26" fmla="*/ 193262 w 233171"/>
                <a:gd name="connsiteY26" fmla="*/ 247269 h 330898"/>
                <a:gd name="connsiteX27" fmla="*/ 200216 w 233171"/>
                <a:gd name="connsiteY27" fmla="*/ 210883 h 330898"/>
                <a:gd name="connsiteX28" fmla="*/ 200216 w 233171"/>
                <a:gd name="connsiteY28" fmla="*/ 210026 h 330898"/>
                <a:gd name="connsiteX29" fmla="*/ 193262 w 233171"/>
                <a:gd name="connsiteY29" fmla="*/ 173641 h 330898"/>
                <a:gd name="connsiteX30" fmla="*/ 174498 w 233171"/>
                <a:gd name="connsiteY30" fmla="*/ 145732 h 330898"/>
                <a:gd name="connsiteX31" fmla="*/ 147733 w 233171"/>
                <a:gd name="connsiteY31" fmla="*/ 127635 h 330898"/>
                <a:gd name="connsiteX32" fmla="*/ 116681 w 233171"/>
                <a:gd name="connsiteY32" fmla="*/ 121158 h 330898"/>
                <a:gd name="connsiteX33" fmla="*/ 84963 w 233171"/>
                <a:gd name="connsiteY33" fmla="*/ 127159 h 330898"/>
                <a:gd name="connsiteX34" fmla="*/ 59341 w 233171"/>
                <a:gd name="connsiteY34" fmla="*/ 144589 h 330898"/>
                <a:gd name="connsiteX35" fmla="*/ 41910 w 233171"/>
                <a:gd name="connsiteY35" fmla="*/ 172498 h 330898"/>
                <a:gd name="connsiteX36" fmla="*/ 35433 w 233171"/>
                <a:gd name="connsiteY36" fmla="*/ 210026 h 330898"/>
                <a:gd name="connsiteX37" fmla="*/ 35433 w 233171"/>
                <a:gd name="connsiteY37" fmla="*/ 210883 h 330898"/>
                <a:gd name="connsiteX38" fmla="*/ 41910 w 233171"/>
                <a:gd name="connsiteY38" fmla="*/ 247936 h 330898"/>
                <a:gd name="connsiteX39" fmla="*/ 59531 w 233171"/>
                <a:gd name="connsiteY39" fmla="*/ 276034 h 330898"/>
                <a:gd name="connsiteX40" fmla="*/ 85439 w 233171"/>
                <a:gd name="connsiteY40" fmla="*/ 293941 h 330898"/>
                <a:gd name="connsiteX41" fmla="*/ 116681 w 23317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3171" h="330898">
                  <a:moveTo>
                    <a:pt x="110394" y="330898"/>
                  </a:moveTo>
                  <a:cubicBezTo>
                    <a:pt x="96393" y="330898"/>
                    <a:pt x="82868" y="328231"/>
                    <a:pt x="69723" y="322897"/>
                  </a:cubicBezTo>
                  <a:cubicBezTo>
                    <a:pt x="56674" y="317563"/>
                    <a:pt x="44863" y="309753"/>
                    <a:pt x="34480" y="299466"/>
                  </a:cubicBezTo>
                  <a:cubicBezTo>
                    <a:pt x="24003" y="289179"/>
                    <a:pt x="15716" y="276701"/>
                    <a:pt x="9430" y="261938"/>
                  </a:cubicBezTo>
                  <a:cubicBezTo>
                    <a:pt x="3143" y="247174"/>
                    <a:pt x="0" y="230314"/>
                    <a:pt x="0" y="211264"/>
                  </a:cubicBezTo>
                  <a:lnTo>
                    <a:pt x="0" y="210407"/>
                  </a:lnTo>
                  <a:cubicBezTo>
                    <a:pt x="0" y="191643"/>
                    <a:pt x="3143" y="174879"/>
                    <a:pt x="9430" y="159925"/>
                  </a:cubicBezTo>
                  <a:cubicBezTo>
                    <a:pt x="15716" y="145066"/>
                    <a:pt x="24003" y="132493"/>
                    <a:pt x="34480" y="122206"/>
                  </a:cubicBezTo>
                  <a:cubicBezTo>
                    <a:pt x="44863" y="111919"/>
                    <a:pt x="56674" y="104013"/>
                    <a:pt x="69723" y="98488"/>
                  </a:cubicBezTo>
                  <a:cubicBezTo>
                    <a:pt x="82868" y="92964"/>
                    <a:pt x="96393" y="90202"/>
                    <a:pt x="110394" y="90202"/>
                  </a:cubicBezTo>
                  <a:cubicBezTo>
                    <a:pt x="121158" y="90202"/>
                    <a:pt x="130969" y="91535"/>
                    <a:pt x="139827" y="94202"/>
                  </a:cubicBezTo>
                  <a:cubicBezTo>
                    <a:pt x="148780" y="96869"/>
                    <a:pt x="156782" y="100489"/>
                    <a:pt x="163925" y="104870"/>
                  </a:cubicBezTo>
                  <a:cubicBezTo>
                    <a:pt x="171069" y="109347"/>
                    <a:pt x="177546" y="114586"/>
                    <a:pt x="183356" y="120491"/>
                  </a:cubicBezTo>
                  <a:cubicBezTo>
                    <a:pt x="189166" y="126492"/>
                    <a:pt x="194310" y="132683"/>
                    <a:pt x="198787" y="139255"/>
                  </a:cubicBezTo>
                  <a:lnTo>
                    <a:pt x="198787" y="0"/>
                  </a:lnTo>
                  <a:lnTo>
                    <a:pt x="233172" y="0"/>
                  </a:lnTo>
                  <a:lnTo>
                    <a:pt x="233172" y="325850"/>
                  </a:lnTo>
                  <a:lnTo>
                    <a:pt x="198787" y="325850"/>
                  </a:lnTo>
                  <a:lnTo>
                    <a:pt x="198787" y="279463"/>
                  </a:lnTo>
                  <a:cubicBezTo>
                    <a:pt x="194024" y="286321"/>
                    <a:pt x="188786" y="292894"/>
                    <a:pt x="182975" y="299085"/>
                  </a:cubicBezTo>
                  <a:cubicBezTo>
                    <a:pt x="177165" y="305371"/>
                    <a:pt x="170688" y="310896"/>
                    <a:pt x="163544" y="315658"/>
                  </a:cubicBezTo>
                  <a:cubicBezTo>
                    <a:pt x="156400" y="320421"/>
                    <a:pt x="148494" y="324136"/>
                    <a:pt x="139636" y="326803"/>
                  </a:cubicBezTo>
                  <a:cubicBezTo>
                    <a:pt x="130873" y="329470"/>
                    <a:pt x="121158" y="330803"/>
                    <a:pt x="110394" y="330803"/>
                  </a:cubicBezTo>
                  <a:close/>
                  <a:moveTo>
                    <a:pt x="116681" y="300133"/>
                  </a:moveTo>
                  <a:cubicBezTo>
                    <a:pt x="127445" y="300133"/>
                    <a:pt x="137732" y="297942"/>
                    <a:pt x="147733" y="293656"/>
                  </a:cubicBezTo>
                  <a:cubicBezTo>
                    <a:pt x="157734" y="289369"/>
                    <a:pt x="166592" y="283273"/>
                    <a:pt x="174498" y="275368"/>
                  </a:cubicBezTo>
                  <a:cubicBezTo>
                    <a:pt x="182404" y="267462"/>
                    <a:pt x="188595" y="258127"/>
                    <a:pt x="193262" y="247269"/>
                  </a:cubicBezTo>
                  <a:cubicBezTo>
                    <a:pt x="197834" y="236410"/>
                    <a:pt x="200216" y="224314"/>
                    <a:pt x="200216" y="210883"/>
                  </a:cubicBezTo>
                  <a:lnTo>
                    <a:pt x="200216" y="210026"/>
                  </a:lnTo>
                  <a:cubicBezTo>
                    <a:pt x="200216" y="196596"/>
                    <a:pt x="197929" y="184499"/>
                    <a:pt x="193262" y="173641"/>
                  </a:cubicBezTo>
                  <a:cubicBezTo>
                    <a:pt x="188595" y="162782"/>
                    <a:pt x="182404" y="153448"/>
                    <a:pt x="174498" y="145732"/>
                  </a:cubicBezTo>
                  <a:cubicBezTo>
                    <a:pt x="166592" y="138017"/>
                    <a:pt x="157639" y="132016"/>
                    <a:pt x="147733" y="127635"/>
                  </a:cubicBezTo>
                  <a:cubicBezTo>
                    <a:pt x="137732" y="123349"/>
                    <a:pt x="127445" y="121158"/>
                    <a:pt x="116681" y="121158"/>
                  </a:cubicBezTo>
                  <a:cubicBezTo>
                    <a:pt x="105346" y="121158"/>
                    <a:pt x="94774" y="123158"/>
                    <a:pt x="84963" y="127159"/>
                  </a:cubicBezTo>
                  <a:cubicBezTo>
                    <a:pt x="75152" y="131159"/>
                    <a:pt x="66580" y="136969"/>
                    <a:pt x="59341" y="144589"/>
                  </a:cubicBezTo>
                  <a:cubicBezTo>
                    <a:pt x="52007" y="152114"/>
                    <a:pt x="46291" y="161449"/>
                    <a:pt x="41910" y="172498"/>
                  </a:cubicBezTo>
                  <a:cubicBezTo>
                    <a:pt x="37624" y="183451"/>
                    <a:pt x="35433" y="196024"/>
                    <a:pt x="35433" y="210026"/>
                  </a:cubicBezTo>
                  <a:lnTo>
                    <a:pt x="35433" y="210883"/>
                  </a:lnTo>
                  <a:cubicBezTo>
                    <a:pt x="35433" y="224599"/>
                    <a:pt x="37624" y="236982"/>
                    <a:pt x="41910" y="247936"/>
                  </a:cubicBezTo>
                  <a:cubicBezTo>
                    <a:pt x="46196" y="258984"/>
                    <a:pt x="52101" y="268319"/>
                    <a:pt x="59531" y="276034"/>
                  </a:cubicBezTo>
                  <a:cubicBezTo>
                    <a:pt x="66960" y="283750"/>
                    <a:pt x="75629" y="289750"/>
                    <a:pt x="85439" y="293941"/>
                  </a:cubicBezTo>
                  <a:cubicBezTo>
                    <a:pt x="95250" y="298132"/>
                    <a:pt x="105632" y="300228"/>
                    <a:pt x="116681" y="300228"/>
                  </a:cubicBezTo>
                  <a:close/>
                </a:path>
              </a:pathLst>
            </a:custGeom>
            <a:solidFill>
              <a:srgbClr val="44505E"/>
            </a:solidFill>
            <a:ln w="9525" cap="flat">
              <a:noFill/>
              <a:prstDash val="solid"/>
              <a:miter/>
            </a:ln>
          </p:spPr>
          <p:txBody>
            <a:bodyPr rtlCol="0" anchor="ctr"/>
            <a:lstStyle/>
            <a:p>
              <a:endParaRPr lang="pt-BR" noProof="0"/>
            </a:p>
          </p:txBody>
        </p:sp>
        <p:sp>
          <p:nvSpPr>
            <p:cNvPr id="40" name="Freeform: Shape 52">
              <a:extLst>
                <a:ext uri="{FF2B5EF4-FFF2-40B4-BE49-F238E27FC236}">
                  <a16:creationId xmlns:a16="http://schemas.microsoft.com/office/drawing/2014/main" id="{9C7003C0-4354-A68C-275B-A7D49B483C51}"/>
                </a:ext>
              </a:extLst>
            </p:cNvPr>
            <p:cNvSpPr/>
            <p:nvPr/>
          </p:nvSpPr>
          <p:spPr>
            <a:xfrm>
              <a:off x="6586762"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0 w 202977"/>
                <a:gd name="connsiteY16" fmla="*/ 48196 h 239267"/>
                <a:gd name="connsiteX17" fmla="*/ 20383 w 202977"/>
                <a:gd name="connsiteY17" fmla="*/ 19907 h 239267"/>
                <a:gd name="connsiteX18" fmla="*/ 59245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0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1"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675" y="92678"/>
                    <a:pt x="84011" y="90964"/>
                    <a:pt x="98584" y="90964"/>
                  </a:cubicBezTo>
                  <a:cubicBezTo>
                    <a:pt x="113157" y="90964"/>
                    <a:pt x="126302"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0" y="33147"/>
                    <a:pt x="63436" y="36100"/>
                  </a:cubicBezTo>
                  <a:cubicBezTo>
                    <a:pt x="52292" y="39053"/>
                    <a:pt x="41338" y="43053"/>
                    <a:pt x="30670" y="48196"/>
                  </a:cubicBezTo>
                  <a:lnTo>
                    <a:pt x="20383" y="19907"/>
                  </a:lnTo>
                  <a:cubicBezTo>
                    <a:pt x="33147" y="13906"/>
                    <a:pt x="46101" y="9049"/>
                    <a:pt x="59245" y="5429"/>
                  </a:cubicBezTo>
                  <a:cubicBezTo>
                    <a:pt x="72294" y="1810"/>
                    <a:pt x="87344" y="0"/>
                    <a:pt x="104299" y="0"/>
                  </a:cubicBezTo>
                  <a:cubicBezTo>
                    <a:pt x="137064" y="0"/>
                    <a:pt x="161925" y="8477"/>
                    <a:pt x="178879" y="25432"/>
                  </a:cubicBezTo>
                  <a:cubicBezTo>
                    <a:pt x="194976"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0" y="239173"/>
                  </a:cubicBezTo>
                  <a:close/>
                  <a:moveTo>
                    <a:pt x="93154" y="211169"/>
                  </a:moveTo>
                  <a:cubicBezTo>
                    <a:pt x="103822" y="211169"/>
                    <a:pt x="113729" y="209740"/>
                    <a:pt x="122967" y="206788"/>
                  </a:cubicBezTo>
                  <a:cubicBezTo>
                    <a:pt x="132207"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4" y="119348"/>
                    <a:pt x="116871"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41" name="Freeform: Shape 53">
              <a:extLst>
                <a:ext uri="{FF2B5EF4-FFF2-40B4-BE49-F238E27FC236}">
                  <a16:creationId xmlns:a16="http://schemas.microsoft.com/office/drawing/2014/main" id="{F4A16572-BD9E-3B6E-37F3-1074734F3C46}"/>
                </a:ext>
              </a:extLst>
            </p:cNvPr>
            <p:cNvSpPr/>
            <p:nvPr/>
          </p:nvSpPr>
          <p:spPr>
            <a:xfrm>
              <a:off x="6651291" y="924268"/>
              <a:ext cx="44680" cy="60195"/>
            </a:xfrm>
            <a:custGeom>
              <a:avLst/>
              <a:gdLst>
                <a:gd name="connsiteX0" fmla="*/ 95535 w 177736"/>
                <a:gd name="connsiteY0" fmla="*/ 239268 h 239458"/>
                <a:gd name="connsiteX1" fmla="*/ 45053 w 177736"/>
                <a:gd name="connsiteY1" fmla="*/ 230124 h 239458"/>
                <a:gd name="connsiteX2" fmla="*/ 0 w 177736"/>
                <a:gd name="connsiteY2" fmla="*/ 205359 h 239458"/>
                <a:gd name="connsiteX3" fmla="*/ 17430 w 177736"/>
                <a:gd name="connsiteY3" fmla="*/ 180785 h 239458"/>
                <a:gd name="connsiteX4" fmla="*/ 56483 w 177736"/>
                <a:gd name="connsiteY4" fmla="*/ 202692 h 239458"/>
                <a:gd name="connsiteX5" fmla="*/ 97345 w 177736"/>
                <a:gd name="connsiteY5" fmla="*/ 210217 h 239458"/>
                <a:gd name="connsiteX6" fmla="*/ 131730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825 w 177736"/>
                <a:gd name="connsiteY10" fmla="*/ 147066 h 239458"/>
                <a:gd name="connsiteX11" fmla="*/ 109251 w 177736"/>
                <a:gd name="connsiteY11" fmla="*/ 138779 h 239458"/>
                <a:gd name="connsiteX12" fmla="*/ 87630 w 177736"/>
                <a:gd name="connsiteY12" fmla="*/ 132112 h 239458"/>
                <a:gd name="connsiteX13" fmla="*/ 60579 w 177736"/>
                <a:gd name="connsiteY13" fmla="*/ 123444 h 239458"/>
                <a:gd name="connsiteX14" fmla="*/ 36004 w 177736"/>
                <a:gd name="connsiteY14" fmla="*/ 111633 h 239458"/>
                <a:gd name="connsiteX15" fmla="*/ 18192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59 w 177736"/>
                <a:gd name="connsiteY22" fmla="*/ 6953 h 239458"/>
                <a:gd name="connsiteX23" fmla="*/ 172878 w 177736"/>
                <a:gd name="connsiteY23" fmla="*/ 25527 h 239458"/>
                <a:gd name="connsiteX24" fmla="*/ 157257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3 w 177736"/>
                <a:gd name="connsiteY32" fmla="*/ 96203 h 239458"/>
                <a:gd name="connsiteX33" fmla="*/ 103631 w 177736"/>
                <a:gd name="connsiteY33" fmla="*/ 103346 h 239458"/>
                <a:gd name="connsiteX34" fmla="*/ 130207 w 177736"/>
                <a:gd name="connsiteY34" fmla="*/ 112300 h 239458"/>
                <a:gd name="connsiteX35" fmla="*/ 154114 w 177736"/>
                <a:gd name="connsiteY35" fmla="*/ 124778 h 239458"/>
                <a:gd name="connsiteX36" fmla="*/ 171259 w 177736"/>
                <a:gd name="connsiteY36" fmla="*/ 143066 h 239458"/>
                <a:gd name="connsiteX37" fmla="*/ 177736 w 177736"/>
                <a:gd name="connsiteY37" fmla="*/ 169450 h 239458"/>
                <a:gd name="connsiteX38" fmla="*/ 177736 w 177736"/>
                <a:gd name="connsiteY38" fmla="*/ 170307 h 239458"/>
                <a:gd name="connsiteX39" fmla="*/ 171259 w 177736"/>
                <a:gd name="connsiteY39" fmla="*/ 199549 h 239458"/>
                <a:gd name="connsiteX40" fmla="*/ 153828 w 177736"/>
                <a:gd name="connsiteY40" fmla="*/ 221171 h 239458"/>
                <a:gd name="connsiteX41" fmla="*/ 127921 w 177736"/>
                <a:gd name="connsiteY41" fmla="*/ 234791 h 239458"/>
                <a:gd name="connsiteX42" fmla="*/ 95535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5" y="239268"/>
                  </a:moveTo>
                  <a:cubicBezTo>
                    <a:pt x="78867" y="239268"/>
                    <a:pt x="62007" y="236220"/>
                    <a:pt x="45053" y="230124"/>
                  </a:cubicBezTo>
                  <a:cubicBezTo>
                    <a:pt x="28098" y="224028"/>
                    <a:pt x="13049" y="215741"/>
                    <a:pt x="0" y="205359"/>
                  </a:cubicBezTo>
                  <a:lnTo>
                    <a:pt x="17430" y="180785"/>
                  </a:lnTo>
                  <a:cubicBezTo>
                    <a:pt x="29908" y="190310"/>
                    <a:pt x="42957" y="197644"/>
                    <a:pt x="56483" y="202692"/>
                  </a:cubicBezTo>
                  <a:cubicBezTo>
                    <a:pt x="70009" y="207740"/>
                    <a:pt x="83629" y="210217"/>
                    <a:pt x="97345" y="210217"/>
                  </a:cubicBezTo>
                  <a:cubicBezTo>
                    <a:pt x="111061" y="210217"/>
                    <a:pt x="122777" y="206978"/>
                    <a:pt x="131730" y="200406"/>
                  </a:cubicBezTo>
                  <a:cubicBezTo>
                    <a:pt x="140684" y="193834"/>
                    <a:pt x="145161" y="184976"/>
                    <a:pt x="145161" y="173641"/>
                  </a:cubicBezTo>
                  <a:lnTo>
                    <a:pt x="145161" y="172784"/>
                  </a:lnTo>
                  <a:cubicBezTo>
                    <a:pt x="145161" y="167164"/>
                    <a:pt x="143541" y="162211"/>
                    <a:pt x="140494" y="158020"/>
                  </a:cubicBezTo>
                  <a:cubicBezTo>
                    <a:pt x="137350" y="153829"/>
                    <a:pt x="133159" y="150209"/>
                    <a:pt x="127825" y="147066"/>
                  </a:cubicBezTo>
                  <a:cubicBezTo>
                    <a:pt x="122491" y="143923"/>
                    <a:pt x="116300" y="141161"/>
                    <a:pt x="109251" y="138779"/>
                  </a:cubicBezTo>
                  <a:cubicBezTo>
                    <a:pt x="102298" y="136398"/>
                    <a:pt x="95059" y="134207"/>
                    <a:pt x="87630" y="132112"/>
                  </a:cubicBezTo>
                  <a:cubicBezTo>
                    <a:pt x="78676" y="129445"/>
                    <a:pt x="69722" y="126492"/>
                    <a:pt x="60579" y="123444"/>
                  </a:cubicBezTo>
                  <a:cubicBezTo>
                    <a:pt x="51530" y="120301"/>
                    <a:pt x="43339" y="116396"/>
                    <a:pt x="36004" y="111633"/>
                  </a:cubicBezTo>
                  <a:cubicBezTo>
                    <a:pt x="28670" y="106871"/>
                    <a:pt x="22764" y="100870"/>
                    <a:pt x="18192" y="93726"/>
                  </a:cubicBezTo>
                  <a:cubicBezTo>
                    <a:pt x="13525" y="86582"/>
                    <a:pt x="11239" y="77629"/>
                    <a:pt x="11239" y="66961"/>
                  </a:cubicBezTo>
                  <a:lnTo>
                    <a:pt x="11239" y="66008"/>
                  </a:lnTo>
                  <a:cubicBezTo>
                    <a:pt x="11239" y="56198"/>
                    <a:pt x="13144" y="47149"/>
                    <a:pt x="17050" y="39053"/>
                  </a:cubicBezTo>
                  <a:cubicBezTo>
                    <a:pt x="20955" y="30861"/>
                    <a:pt x="26384" y="23908"/>
                    <a:pt x="33338" y="18098"/>
                  </a:cubicBezTo>
                  <a:cubicBezTo>
                    <a:pt x="40291" y="12287"/>
                    <a:pt x="48673" y="7811"/>
                    <a:pt x="58388" y="4667"/>
                  </a:cubicBezTo>
                  <a:cubicBezTo>
                    <a:pt x="68008" y="1524"/>
                    <a:pt x="78581" y="0"/>
                    <a:pt x="89821" y="0"/>
                  </a:cubicBezTo>
                  <a:cubicBezTo>
                    <a:pt x="104108" y="0"/>
                    <a:pt x="118586" y="2286"/>
                    <a:pt x="133159" y="6953"/>
                  </a:cubicBezTo>
                  <a:cubicBezTo>
                    <a:pt x="147732" y="11621"/>
                    <a:pt x="160972" y="17717"/>
                    <a:pt x="172878" y="25527"/>
                  </a:cubicBezTo>
                  <a:lnTo>
                    <a:pt x="157257" y="51435"/>
                  </a:lnTo>
                  <a:cubicBezTo>
                    <a:pt x="146494" y="44577"/>
                    <a:pt x="135255" y="39148"/>
                    <a:pt x="123539" y="35147"/>
                  </a:cubicBezTo>
                  <a:cubicBezTo>
                    <a:pt x="111823" y="31147"/>
                    <a:pt x="100203" y="29146"/>
                    <a:pt x="88963" y="29146"/>
                  </a:cubicBezTo>
                  <a:cubicBezTo>
                    <a:pt x="75247" y="29146"/>
                    <a:pt x="64389" y="32385"/>
                    <a:pt x="56388" y="38767"/>
                  </a:cubicBezTo>
                  <a:cubicBezTo>
                    <a:pt x="48291" y="45149"/>
                    <a:pt x="44291" y="53150"/>
                    <a:pt x="44291" y="62675"/>
                  </a:cubicBezTo>
                  <a:lnTo>
                    <a:pt x="44291" y="63627"/>
                  </a:lnTo>
                  <a:cubicBezTo>
                    <a:pt x="44291" y="68961"/>
                    <a:pt x="45910" y="73628"/>
                    <a:pt x="49244" y="77724"/>
                  </a:cubicBezTo>
                  <a:cubicBezTo>
                    <a:pt x="52482" y="81725"/>
                    <a:pt x="56864" y="85249"/>
                    <a:pt x="62389" y="88202"/>
                  </a:cubicBezTo>
                  <a:cubicBezTo>
                    <a:pt x="67913" y="91154"/>
                    <a:pt x="74200" y="93821"/>
                    <a:pt x="81343" y="96203"/>
                  </a:cubicBezTo>
                  <a:cubicBezTo>
                    <a:pt x="88487" y="98584"/>
                    <a:pt x="95916" y="100965"/>
                    <a:pt x="103631" y="103346"/>
                  </a:cubicBezTo>
                  <a:cubicBezTo>
                    <a:pt x="112585" y="106013"/>
                    <a:pt x="121444" y="108966"/>
                    <a:pt x="130207" y="112300"/>
                  </a:cubicBezTo>
                  <a:cubicBezTo>
                    <a:pt x="138969" y="115538"/>
                    <a:pt x="146971" y="119729"/>
                    <a:pt x="154114" y="124778"/>
                  </a:cubicBezTo>
                  <a:cubicBezTo>
                    <a:pt x="161258" y="129826"/>
                    <a:pt x="166973" y="135922"/>
                    <a:pt x="171259" y="143066"/>
                  </a:cubicBezTo>
                  <a:cubicBezTo>
                    <a:pt x="175546" y="150209"/>
                    <a:pt x="177736" y="158972"/>
                    <a:pt x="177736" y="169450"/>
                  </a:cubicBezTo>
                  <a:lnTo>
                    <a:pt x="177736" y="170307"/>
                  </a:lnTo>
                  <a:cubicBezTo>
                    <a:pt x="177736" y="181356"/>
                    <a:pt x="175546" y="191071"/>
                    <a:pt x="171259" y="199549"/>
                  </a:cubicBezTo>
                  <a:cubicBezTo>
                    <a:pt x="166973" y="208026"/>
                    <a:pt x="161163" y="215265"/>
                    <a:pt x="153828" y="221171"/>
                  </a:cubicBezTo>
                  <a:cubicBezTo>
                    <a:pt x="146589" y="227171"/>
                    <a:pt x="137922" y="231648"/>
                    <a:pt x="127921" y="234791"/>
                  </a:cubicBezTo>
                  <a:cubicBezTo>
                    <a:pt x="117919" y="237935"/>
                    <a:pt x="107156" y="239459"/>
                    <a:pt x="95535" y="239459"/>
                  </a:cubicBezTo>
                  <a:close/>
                </a:path>
              </a:pathLst>
            </a:custGeom>
            <a:solidFill>
              <a:srgbClr val="44505E"/>
            </a:solidFill>
            <a:ln w="9525" cap="flat">
              <a:noFill/>
              <a:prstDash val="solid"/>
              <a:miter/>
            </a:ln>
          </p:spPr>
          <p:txBody>
            <a:bodyPr rtlCol="0" anchor="ctr"/>
            <a:lstStyle/>
            <a:p>
              <a:endParaRPr lang="pt-BR" noProof="0"/>
            </a:p>
          </p:txBody>
        </p:sp>
        <p:sp>
          <p:nvSpPr>
            <p:cNvPr id="42" name="Freeform: Shape 54">
              <a:extLst>
                <a:ext uri="{FF2B5EF4-FFF2-40B4-BE49-F238E27FC236}">
                  <a16:creationId xmlns:a16="http://schemas.microsoft.com/office/drawing/2014/main" id="{B2268820-91D0-6525-6162-A02DCDC381A7}"/>
                </a:ext>
              </a:extLst>
            </p:cNvPr>
            <p:cNvSpPr/>
            <p:nvPr/>
          </p:nvSpPr>
          <p:spPr>
            <a:xfrm>
              <a:off x="5250320" y="846952"/>
              <a:ext cx="1459036" cy="16186"/>
            </a:xfrm>
            <a:custGeom>
              <a:avLst/>
              <a:gdLst>
                <a:gd name="connsiteX0" fmla="*/ 0 w 5804058"/>
                <a:gd name="connsiteY0" fmla="*/ 0 h 64388"/>
                <a:gd name="connsiteX1" fmla="*/ 5804059 w 5804058"/>
                <a:gd name="connsiteY1" fmla="*/ 0 h 64388"/>
                <a:gd name="connsiteX2" fmla="*/ 5804059 w 5804058"/>
                <a:gd name="connsiteY2" fmla="*/ 64389 h 64388"/>
                <a:gd name="connsiteX3" fmla="*/ 0 w 5804058"/>
                <a:gd name="connsiteY3" fmla="*/ 64389 h 64388"/>
              </a:gdLst>
              <a:ahLst/>
              <a:cxnLst>
                <a:cxn ang="0">
                  <a:pos x="connsiteX0" y="connsiteY0"/>
                </a:cxn>
                <a:cxn ang="0">
                  <a:pos x="connsiteX1" y="connsiteY1"/>
                </a:cxn>
                <a:cxn ang="0">
                  <a:pos x="connsiteX2" y="connsiteY2"/>
                </a:cxn>
                <a:cxn ang="0">
                  <a:pos x="connsiteX3" y="connsiteY3"/>
                </a:cxn>
              </a:cxnLst>
              <a:rect l="l" t="t" r="r" b="b"/>
              <a:pathLst>
                <a:path w="5804058" h="64388">
                  <a:moveTo>
                    <a:pt x="0" y="0"/>
                  </a:moveTo>
                  <a:lnTo>
                    <a:pt x="5804059" y="0"/>
                  </a:lnTo>
                  <a:lnTo>
                    <a:pt x="5804059" y="64389"/>
                  </a:lnTo>
                  <a:lnTo>
                    <a:pt x="0" y="64389"/>
                  </a:lnTo>
                  <a:close/>
                </a:path>
              </a:pathLst>
            </a:custGeom>
            <a:solidFill>
              <a:srgbClr val="44505E"/>
            </a:solidFill>
            <a:ln w="9525" cap="flat">
              <a:noFill/>
              <a:prstDash val="solid"/>
              <a:miter/>
            </a:ln>
          </p:spPr>
          <p:txBody>
            <a:bodyPr rtlCol="0" anchor="ctr"/>
            <a:lstStyle/>
            <a:p>
              <a:endParaRPr lang="pt-BR" noProof="0"/>
            </a:p>
          </p:txBody>
        </p:sp>
        <p:sp>
          <p:nvSpPr>
            <p:cNvPr id="43" name="Freeform: Shape 55">
              <a:extLst>
                <a:ext uri="{FF2B5EF4-FFF2-40B4-BE49-F238E27FC236}">
                  <a16:creationId xmlns:a16="http://schemas.microsoft.com/office/drawing/2014/main" id="{7A41BFCA-374B-C730-6C23-1FEF7FF62B5C}"/>
                </a:ext>
              </a:extLst>
            </p:cNvPr>
            <p:cNvSpPr/>
            <p:nvPr/>
          </p:nvSpPr>
          <p:spPr>
            <a:xfrm>
              <a:off x="6902633" y="268821"/>
              <a:ext cx="273418" cy="601046"/>
            </a:xfrm>
            <a:custGeom>
              <a:avLst/>
              <a:gdLst>
                <a:gd name="connsiteX0" fmla="*/ 0 w 1087659"/>
                <a:gd name="connsiteY0" fmla="*/ 210979 h 2390965"/>
                <a:gd name="connsiteX1" fmla="*/ 125063 w 1087659"/>
                <a:gd name="connsiteY1" fmla="*/ 103442 h 2390965"/>
                <a:gd name="connsiteX2" fmla="*/ 250031 w 1087659"/>
                <a:gd name="connsiteY2" fmla="*/ 210979 h 2390965"/>
                <a:gd name="connsiteX3" fmla="*/ 250031 w 1087659"/>
                <a:gd name="connsiteY3" fmla="*/ 1922717 h 2390965"/>
                <a:gd name="connsiteX4" fmla="*/ 249841 w 1087659"/>
                <a:gd name="connsiteY4" fmla="*/ 1922717 h 2390965"/>
                <a:gd name="connsiteX5" fmla="*/ 249841 w 1087659"/>
                <a:gd name="connsiteY5" fmla="*/ 1925955 h 2390965"/>
                <a:gd name="connsiteX6" fmla="*/ 333756 w 1087659"/>
                <a:gd name="connsiteY6" fmla="*/ 2100263 h 2390965"/>
                <a:gd name="connsiteX7" fmla="*/ 335566 w 1087659"/>
                <a:gd name="connsiteY7" fmla="*/ 2101787 h 2390965"/>
                <a:gd name="connsiteX8" fmla="*/ 336042 w 1087659"/>
                <a:gd name="connsiteY8" fmla="*/ 2102168 h 2390965"/>
                <a:gd name="connsiteX9" fmla="*/ 543877 w 1087659"/>
                <a:gd name="connsiteY9" fmla="*/ 2175891 h 2390965"/>
                <a:gd name="connsiteX10" fmla="*/ 749998 w 1087659"/>
                <a:gd name="connsiteY10" fmla="*/ 2103692 h 2390965"/>
                <a:gd name="connsiteX11" fmla="*/ 751713 w 1087659"/>
                <a:gd name="connsiteY11" fmla="*/ 2102168 h 2390965"/>
                <a:gd name="connsiteX12" fmla="*/ 752189 w 1087659"/>
                <a:gd name="connsiteY12" fmla="*/ 2101787 h 2390965"/>
                <a:gd name="connsiteX13" fmla="*/ 837819 w 1087659"/>
                <a:gd name="connsiteY13" fmla="*/ 1922812 h 2390965"/>
                <a:gd name="connsiteX14" fmla="*/ 837819 w 1087659"/>
                <a:gd name="connsiteY14" fmla="*/ 107537 h 2390965"/>
                <a:gd name="connsiteX15" fmla="*/ 962787 w 1087659"/>
                <a:gd name="connsiteY15" fmla="*/ 0 h 2390965"/>
                <a:gd name="connsiteX16" fmla="*/ 1087660 w 1087659"/>
                <a:gd name="connsiteY16" fmla="*/ 107537 h 2390965"/>
                <a:gd name="connsiteX17" fmla="*/ 1087660 w 1087659"/>
                <a:gd name="connsiteY17" fmla="*/ 1922621 h 2390965"/>
                <a:gd name="connsiteX18" fmla="*/ 928307 w 1087659"/>
                <a:gd name="connsiteY18" fmla="*/ 2253234 h 2390965"/>
                <a:gd name="connsiteX19" fmla="*/ 928116 w 1087659"/>
                <a:gd name="connsiteY19" fmla="*/ 2253424 h 2390965"/>
                <a:gd name="connsiteX20" fmla="*/ 927830 w 1087659"/>
                <a:gd name="connsiteY20" fmla="*/ 2253710 h 2390965"/>
                <a:gd name="connsiteX21" fmla="*/ 927354 w 1087659"/>
                <a:gd name="connsiteY21" fmla="*/ 2254187 h 2390965"/>
                <a:gd name="connsiteX22" fmla="*/ 543783 w 1087659"/>
                <a:gd name="connsiteY22" fmla="*/ 2390966 h 2390965"/>
                <a:gd name="connsiteX23" fmla="*/ 159734 w 1087659"/>
                <a:gd name="connsiteY23" fmla="*/ 2253710 h 2390965"/>
                <a:gd name="connsiteX24" fmla="*/ 159734 w 1087659"/>
                <a:gd name="connsiteY24" fmla="*/ 2253424 h 2390965"/>
                <a:gd name="connsiteX25" fmla="*/ 159353 w 1087659"/>
                <a:gd name="connsiteY25" fmla="*/ 2253234 h 2390965"/>
                <a:gd name="connsiteX26" fmla="*/ 158877 w 1087659"/>
                <a:gd name="connsiteY26" fmla="*/ 2252948 h 2390965"/>
                <a:gd name="connsiteX27" fmla="*/ 0 w 1087659"/>
                <a:gd name="connsiteY27" fmla="*/ 1922621 h 2390965"/>
                <a:gd name="connsiteX28" fmla="*/ 0 w 1087659"/>
                <a:gd name="connsiteY28" fmla="*/ 1922621 h 2390965"/>
                <a:gd name="connsiteX29" fmla="*/ 0 w 1087659"/>
                <a:gd name="connsiteY29" fmla="*/ 210979 h 239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87659" h="2390965">
                  <a:moveTo>
                    <a:pt x="0" y="210979"/>
                  </a:moveTo>
                  <a:cubicBezTo>
                    <a:pt x="0" y="151638"/>
                    <a:pt x="56007" y="103442"/>
                    <a:pt x="125063" y="103442"/>
                  </a:cubicBezTo>
                  <a:cubicBezTo>
                    <a:pt x="194120" y="103442"/>
                    <a:pt x="250031" y="151638"/>
                    <a:pt x="250031" y="210979"/>
                  </a:cubicBezTo>
                  <a:lnTo>
                    <a:pt x="250031" y="1922717"/>
                  </a:lnTo>
                  <a:lnTo>
                    <a:pt x="249841" y="1922717"/>
                  </a:lnTo>
                  <a:lnTo>
                    <a:pt x="249841" y="1925955"/>
                  </a:lnTo>
                  <a:cubicBezTo>
                    <a:pt x="250793" y="1994059"/>
                    <a:pt x="282797" y="2055495"/>
                    <a:pt x="333756" y="2100263"/>
                  </a:cubicBezTo>
                  <a:lnTo>
                    <a:pt x="335566" y="2101787"/>
                  </a:lnTo>
                  <a:lnTo>
                    <a:pt x="336042" y="2102168"/>
                  </a:lnTo>
                  <a:cubicBezTo>
                    <a:pt x="388906" y="2147697"/>
                    <a:pt x="462343" y="2175891"/>
                    <a:pt x="543877" y="2175891"/>
                  </a:cubicBezTo>
                  <a:cubicBezTo>
                    <a:pt x="625411" y="2175891"/>
                    <a:pt x="697420" y="2148364"/>
                    <a:pt x="749998" y="2103692"/>
                  </a:cubicBezTo>
                  <a:lnTo>
                    <a:pt x="751713" y="2102168"/>
                  </a:lnTo>
                  <a:lnTo>
                    <a:pt x="752189" y="2101787"/>
                  </a:lnTo>
                  <a:cubicBezTo>
                    <a:pt x="805053" y="2056352"/>
                    <a:pt x="837819" y="1993011"/>
                    <a:pt x="837819" y="1922812"/>
                  </a:cubicBezTo>
                  <a:lnTo>
                    <a:pt x="837819" y="107537"/>
                  </a:lnTo>
                  <a:cubicBezTo>
                    <a:pt x="837819" y="48196"/>
                    <a:pt x="893731" y="0"/>
                    <a:pt x="962787" y="0"/>
                  </a:cubicBezTo>
                  <a:cubicBezTo>
                    <a:pt x="1031843" y="0"/>
                    <a:pt x="1087660" y="48196"/>
                    <a:pt x="1087660" y="107537"/>
                  </a:cubicBezTo>
                  <a:lnTo>
                    <a:pt x="1087660" y="1922621"/>
                  </a:lnTo>
                  <a:cubicBezTo>
                    <a:pt x="1087660" y="2051399"/>
                    <a:pt x="1026795" y="2168366"/>
                    <a:pt x="928307" y="2253234"/>
                  </a:cubicBezTo>
                  <a:lnTo>
                    <a:pt x="928116" y="2253424"/>
                  </a:lnTo>
                  <a:lnTo>
                    <a:pt x="927830" y="2253710"/>
                  </a:lnTo>
                  <a:lnTo>
                    <a:pt x="927354" y="2254187"/>
                  </a:lnTo>
                  <a:cubicBezTo>
                    <a:pt x="828770" y="2338673"/>
                    <a:pt x="693134" y="2390966"/>
                    <a:pt x="543783" y="2390966"/>
                  </a:cubicBezTo>
                  <a:cubicBezTo>
                    <a:pt x="394430" y="2390966"/>
                    <a:pt x="258413" y="2338483"/>
                    <a:pt x="159734" y="2253710"/>
                  </a:cubicBezTo>
                  <a:lnTo>
                    <a:pt x="159734" y="2253424"/>
                  </a:lnTo>
                  <a:cubicBezTo>
                    <a:pt x="159734" y="2253424"/>
                    <a:pt x="159353" y="2253234"/>
                    <a:pt x="159353" y="2253234"/>
                  </a:cubicBezTo>
                  <a:lnTo>
                    <a:pt x="158877" y="2252948"/>
                  </a:lnTo>
                  <a:cubicBezTo>
                    <a:pt x="60770" y="2167985"/>
                    <a:pt x="0" y="2051304"/>
                    <a:pt x="0" y="1922621"/>
                  </a:cubicBezTo>
                  <a:lnTo>
                    <a:pt x="0" y="1922621"/>
                  </a:lnTo>
                  <a:lnTo>
                    <a:pt x="0" y="210979"/>
                  </a:lnTo>
                  <a:close/>
                </a:path>
              </a:pathLst>
            </a:custGeom>
            <a:solidFill>
              <a:srgbClr val="8FC640"/>
            </a:solidFill>
            <a:ln w="9525" cap="flat">
              <a:noFill/>
              <a:prstDash val="solid"/>
              <a:miter/>
            </a:ln>
          </p:spPr>
          <p:txBody>
            <a:bodyPr rtlCol="0" anchor="ctr"/>
            <a:lstStyle/>
            <a:p>
              <a:endParaRPr lang="pt-BR" noProof="0"/>
            </a:p>
          </p:txBody>
        </p:sp>
        <p:sp>
          <p:nvSpPr>
            <p:cNvPr id="44" name="Freeform: Shape 56">
              <a:extLst>
                <a:ext uri="{FF2B5EF4-FFF2-40B4-BE49-F238E27FC236}">
                  <a16:creationId xmlns:a16="http://schemas.microsoft.com/office/drawing/2014/main" id="{3FE64F84-3FB5-A1F6-EC7B-D229BE3725D7}"/>
                </a:ext>
              </a:extLst>
            </p:cNvPr>
            <p:cNvSpPr/>
            <p:nvPr/>
          </p:nvSpPr>
          <p:spPr>
            <a:xfrm>
              <a:off x="7013590" y="213965"/>
              <a:ext cx="54018" cy="562280"/>
            </a:xfrm>
            <a:custGeom>
              <a:avLst/>
              <a:gdLst>
                <a:gd name="connsiteX0" fmla="*/ 0 w 214883"/>
                <a:gd name="connsiteY0" fmla="*/ 107537 h 2236755"/>
                <a:gd name="connsiteX1" fmla="*/ 107537 w 214883"/>
                <a:gd name="connsiteY1" fmla="*/ 0 h 2236755"/>
                <a:gd name="connsiteX2" fmla="*/ 214884 w 214883"/>
                <a:gd name="connsiteY2" fmla="*/ 107537 h 2236755"/>
                <a:gd name="connsiteX3" fmla="*/ 214884 w 214883"/>
                <a:gd name="connsiteY3" fmla="*/ 2129219 h 2236755"/>
                <a:gd name="connsiteX4" fmla="*/ 107537 w 214883"/>
                <a:gd name="connsiteY4" fmla="*/ 2236756 h 2236755"/>
                <a:gd name="connsiteX5" fmla="*/ 0 w 214883"/>
                <a:gd name="connsiteY5" fmla="*/ 2129219 h 2236755"/>
                <a:gd name="connsiteX6" fmla="*/ 0 w 214883"/>
                <a:gd name="connsiteY6" fmla="*/ 107537 h 223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 h="2236755">
                  <a:moveTo>
                    <a:pt x="0" y="107537"/>
                  </a:moveTo>
                  <a:cubicBezTo>
                    <a:pt x="0" y="48197"/>
                    <a:pt x="48101" y="0"/>
                    <a:pt x="107537" y="0"/>
                  </a:cubicBezTo>
                  <a:cubicBezTo>
                    <a:pt x="166973" y="0"/>
                    <a:pt x="214884" y="48197"/>
                    <a:pt x="214884" y="107537"/>
                  </a:cubicBezTo>
                  <a:lnTo>
                    <a:pt x="214884" y="2129219"/>
                  </a:lnTo>
                  <a:cubicBezTo>
                    <a:pt x="214884" y="2188559"/>
                    <a:pt x="166782" y="2236756"/>
                    <a:pt x="107537" y="2236756"/>
                  </a:cubicBezTo>
                  <a:cubicBezTo>
                    <a:pt x="48291" y="2236756"/>
                    <a:pt x="0" y="2188559"/>
                    <a:pt x="0" y="2129219"/>
                  </a:cubicBezTo>
                  <a:lnTo>
                    <a:pt x="0" y="107537"/>
                  </a:lnTo>
                  <a:close/>
                </a:path>
              </a:pathLst>
            </a:custGeom>
            <a:solidFill>
              <a:srgbClr val="3698B0"/>
            </a:solidFill>
            <a:ln w="9525" cap="flat">
              <a:noFill/>
              <a:prstDash val="solid"/>
              <a:miter/>
            </a:ln>
          </p:spPr>
          <p:txBody>
            <a:bodyPr rtlCol="0" anchor="ctr"/>
            <a:lstStyle/>
            <a:p>
              <a:endParaRPr lang="pt-BR" noProof="0"/>
            </a:p>
          </p:txBody>
        </p:sp>
        <p:sp>
          <p:nvSpPr>
            <p:cNvPr id="45" name="Freeform: Shape 57">
              <a:extLst>
                <a:ext uri="{FF2B5EF4-FFF2-40B4-BE49-F238E27FC236}">
                  <a16:creationId xmlns:a16="http://schemas.microsoft.com/office/drawing/2014/main" id="{0D2916E4-B9FD-A4E2-1434-9CD6E95CB722}"/>
                </a:ext>
              </a:extLst>
            </p:cNvPr>
            <p:cNvSpPr/>
            <p:nvPr/>
          </p:nvSpPr>
          <p:spPr>
            <a:xfrm>
              <a:off x="6795770" y="332991"/>
              <a:ext cx="485994" cy="649437"/>
            </a:xfrm>
            <a:custGeom>
              <a:avLst/>
              <a:gdLst>
                <a:gd name="connsiteX0" fmla="*/ 1933290 w 1933289"/>
                <a:gd name="connsiteY0" fmla="*/ 138017 h 2583465"/>
                <a:gd name="connsiteX1" fmla="*/ 1933290 w 1933289"/>
                <a:gd name="connsiteY1" fmla="*/ 1734122 h 2583465"/>
                <a:gd name="connsiteX2" fmla="*/ 1796606 w 1933289"/>
                <a:gd name="connsiteY2" fmla="*/ 2229136 h 2583465"/>
                <a:gd name="connsiteX3" fmla="*/ 977742 w 1933289"/>
                <a:gd name="connsiteY3" fmla="*/ 2583466 h 2583465"/>
                <a:gd name="connsiteX4" fmla="*/ 955357 w 1933289"/>
                <a:gd name="connsiteY4" fmla="*/ 2583466 h 2583465"/>
                <a:gd name="connsiteX5" fmla="*/ 136589 w 1933289"/>
                <a:gd name="connsiteY5" fmla="*/ 2229136 h 2583465"/>
                <a:gd name="connsiteX6" fmla="*/ 0 w 1933289"/>
                <a:gd name="connsiteY6" fmla="*/ 1734122 h 2583465"/>
                <a:gd name="connsiteX7" fmla="*/ 0 w 1933289"/>
                <a:gd name="connsiteY7" fmla="*/ 794194 h 2583465"/>
                <a:gd name="connsiteX8" fmla="*/ 137827 w 1933289"/>
                <a:gd name="connsiteY8" fmla="*/ 656273 h 2583465"/>
                <a:gd name="connsiteX9" fmla="*/ 275463 w 1933289"/>
                <a:gd name="connsiteY9" fmla="*/ 794194 h 2583465"/>
                <a:gd name="connsiteX10" fmla="*/ 275463 w 1933289"/>
                <a:gd name="connsiteY10" fmla="*/ 1734122 h 2583465"/>
                <a:gd name="connsiteX11" fmla="*/ 354235 w 1933289"/>
                <a:gd name="connsiteY11" fmla="*/ 2059686 h 2583465"/>
                <a:gd name="connsiteX12" fmla="*/ 958215 w 1933289"/>
                <a:gd name="connsiteY12" fmla="*/ 2307527 h 2583465"/>
                <a:gd name="connsiteX13" fmla="*/ 974789 w 1933289"/>
                <a:gd name="connsiteY13" fmla="*/ 2307527 h 2583465"/>
                <a:gd name="connsiteX14" fmla="*/ 1578959 w 1933289"/>
                <a:gd name="connsiteY14" fmla="*/ 2059686 h 2583465"/>
                <a:gd name="connsiteX15" fmla="*/ 1657636 w 1933289"/>
                <a:gd name="connsiteY15" fmla="*/ 1734122 h 2583465"/>
                <a:gd name="connsiteX16" fmla="*/ 1657636 w 1933289"/>
                <a:gd name="connsiteY16" fmla="*/ 138017 h 2583465"/>
                <a:gd name="connsiteX17" fmla="*/ 1795463 w 1933289"/>
                <a:gd name="connsiteY17" fmla="*/ 0 h 2583465"/>
                <a:gd name="connsiteX18" fmla="*/ 1933290 w 1933289"/>
                <a:gd name="connsiteY18" fmla="*/ 138017 h 25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3289" h="2583465">
                  <a:moveTo>
                    <a:pt x="1933290" y="138017"/>
                  </a:moveTo>
                  <a:lnTo>
                    <a:pt x="1933290" y="1734122"/>
                  </a:lnTo>
                  <a:cubicBezTo>
                    <a:pt x="1933290" y="1870996"/>
                    <a:pt x="1919002" y="2071211"/>
                    <a:pt x="1796606" y="2229136"/>
                  </a:cubicBezTo>
                  <a:cubicBezTo>
                    <a:pt x="1634395" y="2438305"/>
                    <a:pt x="1432084" y="2578703"/>
                    <a:pt x="977742" y="2583466"/>
                  </a:cubicBezTo>
                  <a:lnTo>
                    <a:pt x="955357" y="2583466"/>
                  </a:lnTo>
                  <a:cubicBezTo>
                    <a:pt x="501015" y="2578703"/>
                    <a:pt x="298704" y="2438400"/>
                    <a:pt x="136589" y="2229136"/>
                  </a:cubicBezTo>
                  <a:cubicBezTo>
                    <a:pt x="14192" y="2071211"/>
                    <a:pt x="0" y="1870996"/>
                    <a:pt x="0" y="1734122"/>
                  </a:cubicBezTo>
                  <a:lnTo>
                    <a:pt x="0" y="794194"/>
                  </a:lnTo>
                  <a:cubicBezTo>
                    <a:pt x="0" y="718185"/>
                    <a:pt x="61436" y="656273"/>
                    <a:pt x="137827" y="656273"/>
                  </a:cubicBezTo>
                  <a:cubicBezTo>
                    <a:pt x="214217" y="656273"/>
                    <a:pt x="275463" y="718185"/>
                    <a:pt x="275463" y="794194"/>
                  </a:cubicBezTo>
                  <a:lnTo>
                    <a:pt x="275463" y="1734122"/>
                  </a:lnTo>
                  <a:cubicBezTo>
                    <a:pt x="275463" y="1887188"/>
                    <a:pt x="300324" y="1990630"/>
                    <a:pt x="354235" y="2059686"/>
                  </a:cubicBezTo>
                  <a:cubicBezTo>
                    <a:pt x="476250" y="2217611"/>
                    <a:pt x="609791" y="2304479"/>
                    <a:pt x="958215" y="2307527"/>
                  </a:cubicBezTo>
                  <a:lnTo>
                    <a:pt x="974789" y="2307527"/>
                  </a:lnTo>
                  <a:cubicBezTo>
                    <a:pt x="1323499" y="2304479"/>
                    <a:pt x="1456563" y="2217611"/>
                    <a:pt x="1578959" y="2059686"/>
                  </a:cubicBezTo>
                  <a:cubicBezTo>
                    <a:pt x="1632490" y="1990630"/>
                    <a:pt x="1657636" y="1887093"/>
                    <a:pt x="1657636" y="1734122"/>
                  </a:cubicBezTo>
                  <a:lnTo>
                    <a:pt x="1657636" y="138017"/>
                  </a:lnTo>
                  <a:cubicBezTo>
                    <a:pt x="1657636" y="61531"/>
                    <a:pt x="1719453" y="0"/>
                    <a:pt x="1795463" y="0"/>
                  </a:cubicBezTo>
                  <a:cubicBezTo>
                    <a:pt x="1871472" y="0"/>
                    <a:pt x="1933290" y="61531"/>
                    <a:pt x="1933290" y="138017"/>
                  </a:cubicBezTo>
                </a:path>
              </a:pathLst>
            </a:custGeom>
            <a:solidFill>
              <a:srgbClr val="49306E"/>
            </a:solidFill>
            <a:ln w="9525" cap="flat">
              <a:noFill/>
              <a:prstDash val="solid"/>
              <a:miter/>
            </a:ln>
          </p:spPr>
          <p:txBody>
            <a:bodyPr rtlCol="0" anchor="ctr"/>
            <a:lstStyle/>
            <a:p>
              <a:endParaRPr lang="pt-BR" noProof="0"/>
            </a:p>
          </p:txBody>
        </p:sp>
      </p:grpSp>
      <p:sp>
        <p:nvSpPr>
          <p:cNvPr id="46" name="Título 1">
            <a:extLst>
              <a:ext uri="{FF2B5EF4-FFF2-40B4-BE49-F238E27FC236}">
                <a16:creationId xmlns:a16="http://schemas.microsoft.com/office/drawing/2014/main" id="{B777BD3F-6D9F-332F-CBD5-BA24B43E7BA3}"/>
              </a:ext>
            </a:extLst>
          </p:cNvPr>
          <p:cNvSpPr txBox="1">
            <a:spLocks/>
          </p:cNvSpPr>
          <p:nvPr/>
        </p:nvSpPr>
        <p:spPr>
          <a:xfrm>
            <a:off x="2157359" y="238418"/>
            <a:ext cx="10058400" cy="631231"/>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pt-BR" sz="3600" b="1">
                <a:solidFill>
                  <a:srgbClr val="3299B1"/>
                </a:solidFill>
                <a:latin typeface="Agency FB" panose="020B0503020202020204" pitchFamily="34" charset="0"/>
              </a:rPr>
              <a:t>Compilado mensal</a:t>
            </a:r>
          </a:p>
        </p:txBody>
      </p:sp>
      <p:pic>
        <p:nvPicPr>
          <p:cNvPr id="47" name="Imagem 46" descr="Tabela&#10;&#10;O conteúdo gerado por IA pode estar incorreto.">
            <a:extLst>
              <a:ext uri="{FF2B5EF4-FFF2-40B4-BE49-F238E27FC236}">
                <a16:creationId xmlns:a16="http://schemas.microsoft.com/office/drawing/2014/main" id="{82379818-F8AC-6679-A914-3B9995363BFB}"/>
              </a:ext>
            </a:extLst>
          </p:cNvPr>
          <p:cNvPicPr>
            <a:picLocks noChangeAspect="1"/>
          </p:cNvPicPr>
          <p:nvPr/>
        </p:nvPicPr>
        <p:blipFill>
          <a:blip r:embed="rId2"/>
          <a:stretch>
            <a:fillRect/>
          </a:stretch>
        </p:blipFill>
        <p:spPr>
          <a:xfrm>
            <a:off x="1700223" y="1462065"/>
            <a:ext cx="8791554" cy="4599741"/>
          </a:xfrm>
          <a:prstGeom prst="rect">
            <a:avLst/>
          </a:prstGeom>
        </p:spPr>
      </p:pic>
      <p:sp>
        <p:nvSpPr>
          <p:cNvPr id="48" name="CaixaDeTexto 47">
            <a:extLst>
              <a:ext uri="{FF2B5EF4-FFF2-40B4-BE49-F238E27FC236}">
                <a16:creationId xmlns:a16="http://schemas.microsoft.com/office/drawing/2014/main" id="{7168465E-35BD-6B09-3C94-28C2BEB24D50}"/>
              </a:ext>
            </a:extLst>
          </p:cNvPr>
          <p:cNvSpPr txBox="1"/>
          <p:nvPr/>
        </p:nvSpPr>
        <p:spPr>
          <a:xfrm>
            <a:off x="4515205" y="2618236"/>
            <a:ext cx="607707" cy="461665"/>
          </a:xfrm>
          <a:prstGeom prst="rect">
            <a:avLst/>
          </a:prstGeom>
          <a:noFill/>
        </p:spPr>
        <p:txBody>
          <a:bodyPr wrap="square" rtlCol="0">
            <a:spAutoFit/>
          </a:bodyPr>
          <a:lstStyle/>
          <a:p>
            <a:pPr algn="ctr"/>
            <a:r>
              <a:rPr lang="pt-BR" sz="2400" b="1">
                <a:solidFill>
                  <a:srgbClr val="C00000"/>
                </a:solidFill>
              </a:rPr>
              <a:t>5</a:t>
            </a:r>
            <a:endParaRPr lang="pt-BR" sz="1200" b="1">
              <a:solidFill>
                <a:srgbClr val="C00000"/>
              </a:solidFill>
            </a:endParaRPr>
          </a:p>
        </p:txBody>
      </p:sp>
      <p:sp>
        <p:nvSpPr>
          <p:cNvPr id="49" name="CaixaDeTexto 48">
            <a:extLst>
              <a:ext uri="{FF2B5EF4-FFF2-40B4-BE49-F238E27FC236}">
                <a16:creationId xmlns:a16="http://schemas.microsoft.com/office/drawing/2014/main" id="{9FFC1A2E-2DEC-4DDA-5D66-91527BE1AE2B}"/>
              </a:ext>
            </a:extLst>
          </p:cNvPr>
          <p:cNvSpPr txBox="1"/>
          <p:nvPr/>
        </p:nvSpPr>
        <p:spPr>
          <a:xfrm>
            <a:off x="5627441" y="2618235"/>
            <a:ext cx="607707" cy="461665"/>
          </a:xfrm>
          <a:prstGeom prst="rect">
            <a:avLst/>
          </a:prstGeom>
          <a:noFill/>
        </p:spPr>
        <p:txBody>
          <a:bodyPr wrap="square" rtlCol="0">
            <a:spAutoFit/>
          </a:bodyPr>
          <a:lstStyle/>
          <a:p>
            <a:pPr algn="ctr"/>
            <a:r>
              <a:rPr lang="pt-BR" sz="2400" b="1">
                <a:solidFill>
                  <a:srgbClr val="C00000"/>
                </a:solidFill>
              </a:rPr>
              <a:t>2</a:t>
            </a:r>
            <a:endParaRPr lang="pt-BR" sz="1200" b="1">
              <a:solidFill>
                <a:srgbClr val="C00000"/>
              </a:solidFill>
            </a:endParaRPr>
          </a:p>
        </p:txBody>
      </p:sp>
      <p:sp>
        <p:nvSpPr>
          <p:cNvPr id="50" name="CaixaDeTexto 49">
            <a:extLst>
              <a:ext uri="{FF2B5EF4-FFF2-40B4-BE49-F238E27FC236}">
                <a16:creationId xmlns:a16="http://schemas.microsoft.com/office/drawing/2014/main" id="{233177CE-3B36-8BD7-6AEC-202B11CA9533}"/>
              </a:ext>
            </a:extLst>
          </p:cNvPr>
          <p:cNvSpPr txBox="1"/>
          <p:nvPr/>
        </p:nvSpPr>
        <p:spPr>
          <a:xfrm>
            <a:off x="6739677" y="2618234"/>
            <a:ext cx="607707" cy="461665"/>
          </a:xfrm>
          <a:prstGeom prst="rect">
            <a:avLst/>
          </a:prstGeom>
          <a:noFill/>
        </p:spPr>
        <p:txBody>
          <a:bodyPr wrap="square" rtlCol="0">
            <a:spAutoFit/>
          </a:bodyPr>
          <a:lstStyle/>
          <a:p>
            <a:pPr algn="ctr"/>
            <a:r>
              <a:rPr lang="pt-BR" sz="2400" b="1">
                <a:solidFill>
                  <a:srgbClr val="C00000"/>
                </a:solidFill>
              </a:rPr>
              <a:t>4</a:t>
            </a:r>
            <a:endParaRPr lang="pt-BR" sz="1200" b="1">
              <a:solidFill>
                <a:srgbClr val="C00000"/>
              </a:solidFill>
            </a:endParaRPr>
          </a:p>
        </p:txBody>
      </p:sp>
      <p:sp>
        <p:nvSpPr>
          <p:cNvPr id="51" name="CaixaDeTexto 50">
            <a:extLst>
              <a:ext uri="{FF2B5EF4-FFF2-40B4-BE49-F238E27FC236}">
                <a16:creationId xmlns:a16="http://schemas.microsoft.com/office/drawing/2014/main" id="{80A7F9E5-0EB9-744D-81BE-1BD951F06E4E}"/>
              </a:ext>
            </a:extLst>
          </p:cNvPr>
          <p:cNvSpPr txBox="1"/>
          <p:nvPr/>
        </p:nvSpPr>
        <p:spPr>
          <a:xfrm>
            <a:off x="7851913" y="2618234"/>
            <a:ext cx="607707" cy="461665"/>
          </a:xfrm>
          <a:prstGeom prst="rect">
            <a:avLst/>
          </a:prstGeom>
          <a:noFill/>
        </p:spPr>
        <p:txBody>
          <a:bodyPr wrap="square" rtlCol="0">
            <a:spAutoFit/>
          </a:bodyPr>
          <a:lstStyle/>
          <a:p>
            <a:pPr algn="ctr"/>
            <a:r>
              <a:rPr lang="pt-BR" sz="2400" b="1">
                <a:solidFill>
                  <a:srgbClr val="C00000"/>
                </a:solidFill>
              </a:rPr>
              <a:t>2</a:t>
            </a:r>
            <a:endParaRPr lang="pt-BR" sz="1200" b="1">
              <a:solidFill>
                <a:srgbClr val="C00000"/>
              </a:solidFill>
            </a:endParaRPr>
          </a:p>
        </p:txBody>
      </p:sp>
      <p:sp>
        <p:nvSpPr>
          <p:cNvPr id="52" name="CaixaDeTexto 51">
            <a:extLst>
              <a:ext uri="{FF2B5EF4-FFF2-40B4-BE49-F238E27FC236}">
                <a16:creationId xmlns:a16="http://schemas.microsoft.com/office/drawing/2014/main" id="{AFC31AE0-12EA-9EAE-233F-3CFB6A3343D5}"/>
              </a:ext>
            </a:extLst>
          </p:cNvPr>
          <p:cNvSpPr txBox="1"/>
          <p:nvPr/>
        </p:nvSpPr>
        <p:spPr>
          <a:xfrm>
            <a:off x="4515205" y="2933873"/>
            <a:ext cx="607707" cy="461665"/>
          </a:xfrm>
          <a:prstGeom prst="rect">
            <a:avLst/>
          </a:prstGeom>
          <a:noFill/>
        </p:spPr>
        <p:txBody>
          <a:bodyPr wrap="square" rtlCol="0">
            <a:spAutoFit/>
          </a:bodyPr>
          <a:lstStyle/>
          <a:p>
            <a:pPr algn="ctr"/>
            <a:r>
              <a:rPr lang="pt-BR" sz="2400" b="1">
                <a:solidFill>
                  <a:srgbClr val="C00000"/>
                </a:solidFill>
              </a:rPr>
              <a:t>4</a:t>
            </a:r>
            <a:endParaRPr lang="pt-BR" sz="1200" b="1">
              <a:solidFill>
                <a:srgbClr val="C00000"/>
              </a:solidFill>
            </a:endParaRPr>
          </a:p>
        </p:txBody>
      </p:sp>
      <p:sp>
        <p:nvSpPr>
          <p:cNvPr id="53" name="CaixaDeTexto 52">
            <a:extLst>
              <a:ext uri="{FF2B5EF4-FFF2-40B4-BE49-F238E27FC236}">
                <a16:creationId xmlns:a16="http://schemas.microsoft.com/office/drawing/2014/main" id="{5BDD949A-6052-736A-F18B-B0841B328FAA}"/>
              </a:ext>
            </a:extLst>
          </p:cNvPr>
          <p:cNvSpPr txBox="1"/>
          <p:nvPr/>
        </p:nvSpPr>
        <p:spPr>
          <a:xfrm>
            <a:off x="5627441" y="2933873"/>
            <a:ext cx="607707" cy="461665"/>
          </a:xfrm>
          <a:prstGeom prst="rect">
            <a:avLst/>
          </a:prstGeom>
          <a:noFill/>
        </p:spPr>
        <p:txBody>
          <a:bodyPr wrap="square" rtlCol="0">
            <a:spAutoFit/>
          </a:bodyPr>
          <a:lstStyle/>
          <a:p>
            <a:pPr algn="ctr"/>
            <a:r>
              <a:rPr lang="pt-BR" sz="2400" b="1">
                <a:solidFill>
                  <a:srgbClr val="C00000"/>
                </a:solidFill>
              </a:rPr>
              <a:t>3</a:t>
            </a:r>
            <a:endParaRPr lang="pt-BR" sz="1200" b="1">
              <a:solidFill>
                <a:srgbClr val="C00000"/>
              </a:solidFill>
            </a:endParaRPr>
          </a:p>
        </p:txBody>
      </p:sp>
      <p:sp>
        <p:nvSpPr>
          <p:cNvPr id="54" name="CaixaDeTexto 53">
            <a:extLst>
              <a:ext uri="{FF2B5EF4-FFF2-40B4-BE49-F238E27FC236}">
                <a16:creationId xmlns:a16="http://schemas.microsoft.com/office/drawing/2014/main" id="{43006C8A-3C2D-CE4F-9ABB-E1A7A1D39695}"/>
              </a:ext>
            </a:extLst>
          </p:cNvPr>
          <p:cNvSpPr txBox="1"/>
          <p:nvPr/>
        </p:nvSpPr>
        <p:spPr>
          <a:xfrm>
            <a:off x="6739676" y="2933873"/>
            <a:ext cx="607707" cy="461665"/>
          </a:xfrm>
          <a:prstGeom prst="rect">
            <a:avLst/>
          </a:prstGeom>
          <a:noFill/>
        </p:spPr>
        <p:txBody>
          <a:bodyPr wrap="square" rtlCol="0">
            <a:spAutoFit/>
          </a:bodyPr>
          <a:lstStyle/>
          <a:p>
            <a:pPr algn="ctr"/>
            <a:r>
              <a:rPr lang="pt-BR" sz="2400" b="1">
                <a:solidFill>
                  <a:srgbClr val="C00000"/>
                </a:solidFill>
              </a:rPr>
              <a:t>4</a:t>
            </a:r>
            <a:endParaRPr lang="pt-BR" sz="1200" b="1">
              <a:solidFill>
                <a:srgbClr val="C00000"/>
              </a:solidFill>
            </a:endParaRPr>
          </a:p>
        </p:txBody>
      </p:sp>
      <p:sp>
        <p:nvSpPr>
          <p:cNvPr id="55" name="CaixaDeTexto 54">
            <a:extLst>
              <a:ext uri="{FF2B5EF4-FFF2-40B4-BE49-F238E27FC236}">
                <a16:creationId xmlns:a16="http://schemas.microsoft.com/office/drawing/2014/main" id="{D2443D8C-AB14-2A51-51B5-6971295BE622}"/>
              </a:ext>
            </a:extLst>
          </p:cNvPr>
          <p:cNvSpPr txBox="1"/>
          <p:nvPr/>
        </p:nvSpPr>
        <p:spPr>
          <a:xfrm>
            <a:off x="7851911" y="2933873"/>
            <a:ext cx="607707" cy="461665"/>
          </a:xfrm>
          <a:prstGeom prst="rect">
            <a:avLst/>
          </a:prstGeom>
          <a:noFill/>
        </p:spPr>
        <p:txBody>
          <a:bodyPr wrap="square" rtlCol="0">
            <a:spAutoFit/>
          </a:bodyPr>
          <a:lstStyle/>
          <a:p>
            <a:pPr algn="ctr"/>
            <a:r>
              <a:rPr lang="pt-BR" sz="2400" b="1">
                <a:solidFill>
                  <a:srgbClr val="C00000"/>
                </a:solidFill>
              </a:rPr>
              <a:t>0</a:t>
            </a:r>
            <a:endParaRPr lang="pt-BR" sz="1200" b="1">
              <a:solidFill>
                <a:srgbClr val="C00000"/>
              </a:solidFill>
            </a:endParaRPr>
          </a:p>
        </p:txBody>
      </p:sp>
      <p:sp>
        <p:nvSpPr>
          <p:cNvPr id="56" name="CaixaDeTexto 55">
            <a:extLst>
              <a:ext uri="{FF2B5EF4-FFF2-40B4-BE49-F238E27FC236}">
                <a16:creationId xmlns:a16="http://schemas.microsoft.com/office/drawing/2014/main" id="{262D6B29-6172-B519-6907-338BC5FCF114}"/>
              </a:ext>
            </a:extLst>
          </p:cNvPr>
          <p:cNvSpPr txBox="1"/>
          <p:nvPr/>
        </p:nvSpPr>
        <p:spPr>
          <a:xfrm>
            <a:off x="4515203" y="3158631"/>
            <a:ext cx="607707" cy="461665"/>
          </a:xfrm>
          <a:prstGeom prst="rect">
            <a:avLst/>
          </a:prstGeom>
          <a:noFill/>
        </p:spPr>
        <p:txBody>
          <a:bodyPr wrap="square" rtlCol="0" anchor="ctr">
            <a:spAutoFit/>
          </a:bodyPr>
          <a:lstStyle/>
          <a:p>
            <a:pPr algn="ctr"/>
            <a:r>
              <a:rPr lang="pt-BR" sz="2400" b="1">
                <a:solidFill>
                  <a:srgbClr val="C00000"/>
                </a:solidFill>
              </a:rPr>
              <a:t>.</a:t>
            </a:r>
            <a:endParaRPr lang="pt-BR" sz="1200" b="1">
              <a:solidFill>
                <a:srgbClr val="C00000"/>
              </a:solidFill>
            </a:endParaRPr>
          </a:p>
        </p:txBody>
      </p:sp>
      <p:sp>
        <p:nvSpPr>
          <p:cNvPr id="57" name="CaixaDeTexto 56">
            <a:extLst>
              <a:ext uri="{FF2B5EF4-FFF2-40B4-BE49-F238E27FC236}">
                <a16:creationId xmlns:a16="http://schemas.microsoft.com/office/drawing/2014/main" id="{DA7062F8-91FF-0B8D-1809-1D75D9796904}"/>
              </a:ext>
            </a:extLst>
          </p:cNvPr>
          <p:cNvSpPr txBox="1"/>
          <p:nvPr/>
        </p:nvSpPr>
        <p:spPr>
          <a:xfrm>
            <a:off x="5627439" y="3158631"/>
            <a:ext cx="607707" cy="461665"/>
          </a:xfrm>
          <a:prstGeom prst="rect">
            <a:avLst/>
          </a:prstGeom>
          <a:noFill/>
        </p:spPr>
        <p:txBody>
          <a:bodyPr wrap="square" rtlCol="0">
            <a:spAutoFit/>
          </a:bodyPr>
          <a:lstStyle/>
          <a:p>
            <a:pPr algn="ctr"/>
            <a:r>
              <a:rPr lang="pt-BR" sz="2400" b="1">
                <a:solidFill>
                  <a:srgbClr val="C00000"/>
                </a:solidFill>
              </a:rPr>
              <a:t>.</a:t>
            </a:r>
            <a:endParaRPr lang="pt-BR" sz="1200" b="1">
              <a:solidFill>
                <a:srgbClr val="C00000"/>
              </a:solidFill>
            </a:endParaRPr>
          </a:p>
        </p:txBody>
      </p:sp>
      <p:sp>
        <p:nvSpPr>
          <p:cNvPr id="58" name="CaixaDeTexto 57">
            <a:extLst>
              <a:ext uri="{FF2B5EF4-FFF2-40B4-BE49-F238E27FC236}">
                <a16:creationId xmlns:a16="http://schemas.microsoft.com/office/drawing/2014/main" id="{028CC8AE-CB58-581B-9905-AA0830FCEA5B}"/>
              </a:ext>
            </a:extLst>
          </p:cNvPr>
          <p:cNvSpPr txBox="1"/>
          <p:nvPr/>
        </p:nvSpPr>
        <p:spPr>
          <a:xfrm>
            <a:off x="6739674" y="3158631"/>
            <a:ext cx="607707" cy="461665"/>
          </a:xfrm>
          <a:prstGeom prst="rect">
            <a:avLst/>
          </a:prstGeom>
          <a:noFill/>
        </p:spPr>
        <p:txBody>
          <a:bodyPr wrap="square" rtlCol="0">
            <a:spAutoFit/>
          </a:bodyPr>
          <a:lstStyle/>
          <a:p>
            <a:pPr algn="ctr"/>
            <a:r>
              <a:rPr lang="pt-BR" sz="2400" b="1">
                <a:solidFill>
                  <a:srgbClr val="C00000"/>
                </a:solidFill>
              </a:rPr>
              <a:t>.</a:t>
            </a:r>
            <a:endParaRPr lang="pt-BR" sz="1200" b="1">
              <a:solidFill>
                <a:srgbClr val="C00000"/>
              </a:solidFill>
            </a:endParaRPr>
          </a:p>
        </p:txBody>
      </p:sp>
      <p:sp>
        <p:nvSpPr>
          <p:cNvPr id="59" name="CaixaDeTexto 58">
            <a:extLst>
              <a:ext uri="{FF2B5EF4-FFF2-40B4-BE49-F238E27FC236}">
                <a16:creationId xmlns:a16="http://schemas.microsoft.com/office/drawing/2014/main" id="{EACAC6A5-ECD9-3AEF-9343-8020DADFFBD3}"/>
              </a:ext>
            </a:extLst>
          </p:cNvPr>
          <p:cNvSpPr txBox="1"/>
          <p:nvPr/>
        </p:nvSpPr>
        <p:spPr>
          <a:xfrm>
            <a:off x="7851909" y="3158631"/>
            <a:ext cx="607707" cy="461665"/>
          </a:xfrm>
          <a:prstGeom prst="rect">
            <a:avLst/>
          </a:prstGeom>
          <a:noFill/>
        </p:spPr>
        <p:txBody>
          <a:bodyPr wrap="square" rtlCol="0">
            <a:spAutoFit/>
          </a:bodyPr>
          <a:lstStyle/>
          <a:p>
            <a:pPr algn="ctr"/>
            <a:r>
              <a:rPr lang="pt-BR" sz="2400" b="1">
                <a:solidFill>
                  <a:srgbClr val="C00000"/>
                </a:solidFill>
              </a:rPr>
              <a:t>.</a:t>
            </a:r>
            <a:endParaRPr lang="pt-BR" sz="1200" b="1">
              <a:solidFill>
                <a:srgbClr val="C00000"/>
              </a:solidFill>
            </a:endParaRPr>
          </a:p>
        </p:txBody>
      </p:sp>
      <p:sp>
        <p:nvSpPr>
          <p:cNvPr id="60" name="CaixaDeTexto 59">
            <a:extLst>
              <a:ext uri="{FF2B5EF4-FFF2-40B4-BE49-F238E27FC236}">
                <a16:creationId xmlns:a16="http://schemas.microsoft.com/office/drawing/2014/main" id="{DA031FB0-E1A4-EE81-6328-6B59553A5912}"/>
              </a:ext>
            </a:extLst>
          </p:cNvPr>
          <p:cNvSpPr txBox="1"/>
          <p:nvPr/>
        </p:nvSpPr>
        <p:spPr>
          <a:xfrm>
            <a:off x="4503843" y="3439793"/>
            <a:ext cx="607707" cy="461665"/>
          </a:xfrm>
          <a:prstGeom prst="rect">
            <a:avLst/>
          </a:prstGeom>
          <a:noFill/>
        </p:spPr>
        <p:txBody>
          <a:bodyPr wrap="square" rtlCol="0" anchor="ctr">
            <a:spAutoFit/>
          </a:bodyPr>
          <a:lstStyle/>
          <a:p>
            <a:pPr algn="ctr"/>
            <a:r>
              <a:rPr lang="pt-BR" sz="2400" b="1">
                <a:solidFill>
                  <a:srgbClr val="C00000"/>
                </a:solidFill>
              </a:rPr>
              <a:t>.</a:t>
            </a:r>
            <a:endParaRPr lang="pt-BR" sz="1200" b="1">
              <a:solidFill>
                <a:srgbClr val="C00000"/>
              </a:solidFill>
            </a:endParaRPr>
          </a:p>
        </p:txBody>
      </p:sp>
      <p:sp>
        <p:nvSpPr>
          <p:cNvPr id="61" name="CaixaDeTexto 60">
            <a:extLst>
              <a:ext uri="{FF2B5EF4-FFF2-40B4-BE49-F238E27FC236}">
                <a16:creationId xmlns:a16="http://schemas.microsoft.com/office/drawing/2014/main" id="{A29474A4-9969-986B-C11D-686892D86746}"/>
              </a:ext>
            </a:extLst>
          </p:cNvPr>
          <p:cNvSpPr txBox="1"/>
          <p:nvPr/>
        </p:nvSpPr>
        <p:spPr>
          <a:xfrm>
            <a:off x="5616079" y="3439793"/>
            <a:ext cx="607707" cy="461665"/>
          </a:xfrm>
          <a:prstGeom prst="rect">
            <a:avLst/>
          </a:prstGeom>
          <a:noFill/>
        </p:spPr>
        <p:txBody>
          <a:bodyPr wrap="square" rtlCol="0">
            <a:spAutoFit/>
          </a:bodyPr>
          <a:lstStyle/>
          <a:p>
            <a:pPr algn="ctr"/>
            <a:r>
              <a:rPr lang="pt-BR" sz="2400" b="1">
                <a:solidFill>
                  <a:srgbClr val="C00000"/>
                </a:solidFill>
              </a:rPr>
              <a:t>.</a:t>
            </a:r>
            <a:endParaRPr lang="pt-BR" sz="1200" b="1">
              <a:solidFill>
                <a:srgbClr val="C00000"/>
              </a:solidFill>
            </a:endParaRPr>
          </a:p>
        </p:txBody>
      </p:sp>
      <p:sp>
        <p:nvSpPr>
          <p:cNvPr id="62" name="CaixaDeTexto 61">
            <a:extLst>
              <a:ext uri="{FF2B5EF4-FFF2-40B4-BE49-F238E27FC236}">
                <a16:creationId xmlns:a16="http://schemas.microsoft.com/office/drawing/2014/main" id="{A0A89FDA-D358-30C4-95BF-34BEC113957C}"/>
              </a:ext>
            </a:extLst>
          </p:cNvPr>
          <p:cNvSpPr txBox="1"/>
          <p:nvPr/>
        </p:nvSpPr>
        <p:spPr>
          <a:xfrm>
            <a:off x="6728314" y="3439793"/>
            <a:ext cx="607707" cy="461665"/>
          </a:xfrm>
          <a:prstGeom prst="rect">
            <a:avLst/>
          </a:prstGeom>
          <a:noFill/>
        </p:spPr>
        <p:txBody>
          <a:bodyPr wrap="square" rtlCol="0">
            <a:spAutoFit/>
          </a:bodyPr>
          <a:lstStyle/>
          <a:p>
            <a:pPr algn="ctr"/>
            <a:r>
              <a:rPr lang="pt-BR" sz="2400" b="1">
                <a:solidFill>
                  <a:srgbClr val="C00000"/>
                </a:solidFill>
              </a:rPr>
              <a:t>.</a:t>
            </a:r>
            <a:endParaRPr lang="pt-BR" sz="1200" b="1">
              <a:solidFill>
                <a:srgbClr val="C00000"/>
              </a:solidFill>
            </a:endParaRPr>
          </a:p>
        </p:txBody>
      </p:sp>
      <p:sp>
        <p:nvSpPr>
          <p:cNvPr id="63" name="CaixaDeTexto 62">
            <a:extLst>
              <a:ext uri="{FF2B5EF4-FFF2-40B4-BE49-F238E27FC236}">
                <a16:creationId xmlns:a16="http://schemas.microsoft.com/office/drawing/2014/main" id="{861C10F4-741E-0518-7AD2-F0753C680B08}"/>
              </a:ext>
            </a:extLst>
          </p:cNvPr>
          <p:cNvSpPr txBox="1"/>
          <p:nvPr/>
        </p:nvSpPr>
        <p:spPr>
          <a:xfrm>
            <a:off x="7857589" y="3439793"/>
            <a:ext cx="607707" cy="461665"/>
          </a:xfrm>
          <a:prstGeom prst="rect">
            <a:avLst/>
          </a:prstGeom>
          <a:noFill/>
        </p:spPr>
        <p:txBody>
          <a:bodyPr wrap="square" rtlCol="0">
            <a:spAutoFit/>
          </a:bodyPr>
          <a:lstStyle/>
          <a:p>
            <a:pPr algn="ctr"/>
            <a:r>
              <a:rPr lang="pt-BR" sz="2400" b="1">
                <a:solidFill>
                  <a:srgbClr val="C00000"/>
                </a:solidFill>
              </a:rPr>
              <a:t>.</a:t>
            </a:r>
            <a:endParaRPr lang="pt-BR" sz="1200" b="1">
              <a:solidFill>
                <a:srgbClr val="C00000"/>
              </a:solidFill>
            </a:endParaRPr>
          </a:p>
        </p:txBody>
      </p:sp>
      <p:sp>
        <p:nvSpPr>
          <p:cNvPr id="64" name="CaixaDeTexto 63">
            <a:extLst>
              <a:ext uri="{FF2B5EF4-FFF2-40B4-BE49-F238E27FC236}">
                <a16:creationId xmlns:a16="http://schemas.microsoft.com/office/drawing/2014/main" id="{A81369DE-7D18-A046-27E8-EB7F6772C96E}"/>
              </a:ext>
            </a:extLst>
          </p:cNvPr>
          <p:cNvSpPr txBox="1"/>
          <p:nvPr/>
        </p:nvSpPr>
        <p:spPr>
          <a:xfrm>
            <a:off x="4501002" y="3734934"/>
            <a:ext cx="607707" cy="461665"/>
          </a:xfrm>
          <a:prstGeom prst="rect">
            <a:avLst/>
          </a:prstGeom>
          <a:noFill/>
        </p:spPr>
        <p:txBody>
          <a:bodyPr wrap="square" rtlCol="0" anchor="ctr">
            <a:spAutoFit/>
          </a:bodyPr>
          <a:lstStyle/>
          <a:p>
            <a:pPr algn="ctr"/>
            <a:r>
              <a:rPr lang="pt-BR" sz="2400" b="1">
                <a:solidFill>
                  <a:srgbClr val="C00000"/>
                </a:solidFill>
              </a:rPr>
              <a:t>.</a:t>
            </a:r>
            <a:endParaRPr lang="pt-BR" sz="1200" b="1">
              <a:solidFill>
                <a:srgbClr val="C00000"/>
              </a:solidFill>
            </a:endParaRPr>
          </a:p>
        </p:txBody>
      </p:sp>
      <p:sp>
        <p:nvSpPr>
          <p:cNvPr id="65" name="CaixaDeTexto 64">
            <a:extLst>
              <a:ext uri="{FF2B5EF4-FFF2-40B4-BE49-F238E27FC236}">
                <a16:creationId xmlns:a16="http://schemas.microsoft.com/office/drawing/2014/main" id="{971E2691-1009-00C1-571A-EC29AEF8492F}"/>
              </a:ext>
            </a:extLst>
          </p:cNvPr>
          <p:cNvSpPr txBox="1"/>
          <p:nvPr/>
        </p:nvSpPr>
        <p:spPr>
          <a:xfrm>
            <a:off x="5613238" y="3734934"/>
            <a:ext cx="607707" cy="461665"/>
          </a:xfrm>
          <a:prstGeom prst="rect">
            <a:avLst/>
          </a:prstGeom>
          <a:noFill/>
        </p:spPr>
        <p:txBody>
          <a:bodyPr wrap="square" rtlCol="0">
            <a:spAutoFit/>
          </a:bodyPr>
          <a:lstStyle/>
          <a:p>
            <a:pPr algn="ctr"/>
            <a:r>
              <a:rPr lang="pt-BR" sz="2400" b="1">
                <a:solidFill>
                  <a:srgbClr val="C00000"/>
                </a:solidFill>
              </a:rPr>
              <a:t>.</a:t>
            </a:r>
            <a:endParaRPr lang="pt-BR" sz="1200" b="1">
              <a:solidFill>
                <a:srgbClr val="C00000"/>
              </a:solidFill>
            </a:endParaRPr>
          </a:p>
        </p:txBody>
      </p:sp>
      <p:sp>
        <p:nvSpPr>
          <p:cNvPr id="66" name="CaixaDeTexto 65">
            <a:extLst>
              <a:ext uri="{FF2B5EF4-FFF2-40B4-BE49-F238E27FC236}">
                <a16:creationId xmlns:a16="http://schemas.microsoft.com/office/drawing/2014/main" id="{F56385DC-E945-BDBD-87E3-E94A8B154DDC}"/>
              </a:ext>
            </a:extLst>
          </p:cNvPr>
          <p:cNvSpPr txBox="1"/>
          <p:nvPr/>
        </p:nvSpPr>
        <p:spPr>
          <a:xfrm>
            <a:off x="6725473" y="3734934"/>
            <a:ext cx="607707" cy="461665"/>
          </a:xfrm>
          <a:prstGeom prst="rect">
            <a:avLst/>
          </a:prstGeom>
          <a:noFill/>
        </p:spPr>
        <p:txBody>
          <a:bodyPr wrap="square" rtlCol="0">
            <a:spAutoFit/>
          </a:bodyPr>
          <a:lstStyle/>
          <a:p>
            <a:pPr algn="ctr"/>
            <a:r>
              <a:rPr lang="pt-BR" sz="2400" b="1">
                <a:solidFill>
                  <a:srgbClr val="C00000"/>
                </a:solidFill>
              </a:rPr>
              <a:t>.</a:t>
            </a:r>
            <a:endParaRPr lang="pt-BR" sz="1200" b="1">
              <a:solidFill>
                <a:srgbClr val="C00000"/>
              </a:solidFill>
            </a:endParaRPr>
          </a:p>
        </p:txBody>
      </p:sp>
      <p:sp>
        <p:nvSpPr>
          <p:cNvPr id="67" name="CaixaDeTexto 66">
            <a:extLst>
              <a:ext uri="{FF2B5EF4-FFF2-40B4-BE49-F238E27FC236}">
                <a16:creationId xmlns:a16="http://schemas.microsoft.com/office/drawing/2014/main" id="{46479870-EDB7-2108-2A95-B0A7887864DA}"/>
              </a:ext>
            </a:extLst>
          </p:cNvPr>
          <p:cNvSpPr txBox="1"/>
          <p:nvPr/>
        </p:nvSpPr>
        <p:spPr>
          <a:xfrm>
            <a:off x="7877468" y="3734934"/>
            <a:ext cx="607707" cy="461665"/>
          </a:xfrm>
          <a:prstGeom prst="rect">
            <a:avLst/>
          </a:prstGeom>
          <a:noFill/>
        </p:spPr>
        <p:txBody>
          <a:bodyPr wrap="square" rtlCol="0">
            <a:spAutoFit/>
          </a:bodyPr>
          <a:lstStyle/>
          <a:p>
            <a:pPr algn="ctr"/>
            <a:r>
              <a:rPr lang="pt-BR" sz="2400" b="1">
                <a:solidFill>
                  <a:srgbClr val="C00000"/>
                </a:solidFill>
              </a:rPr>
              <a:t>.</a:t>
            </a:r>
            <a:endParaRPr lang="pt-BR" sz="1200" b="1">
              <a:solidFill>
                <a:srgbClr val="C00000"/>
              </a:solidFill>
            </a:endParaRPr>
          </a:p>
        </p:txBody>
      </p:sp>
      <p:sp>
        <p:nvSpPr>
          <p:cNvPr id="68" name="CaixaDeTexto 67">
            <a:extLst>
              <a:ext uri="{FF2B5EF4-FFF2-40B4-BE49-F238E27FC236}">
                <a16:creationId xmlns:a16="http://schemas.microsoft.com/office/drawing/2014/main" id="{4B3695E7-2046-392E-C303-5212DDF03E8C}"/>
              </a:ext>
            </a:extLst>
          </p:cNvPr>
          <p:cNvSpPr txBox="1"/>
          <p:nvPr/>
        </p:nvSpPr>
        <p:spPr>
          <a:xfrm>
            <a:off x="4515203" y="5566295"/>
            <a:ext cx="607707" cy="400110"/>
          </a:xfrm>
          <a:prstGeom prst="rect">
            <a:avLst/>
          </a:prstGeom>
          <a:noFill/>
        </p:spPr>
        <p:txBody>
          <a:bodyPr wrap="square" rtlCol="0">
            <a:spAutoFit/>
          </a:bodyPr>
          <a:lstStyle/>
          <a:p>
            <a:pPr algn="ctr"/>
            <a:r>
              <a:rPr lang="pt-BR" sz="2000" b="1">
                <a:solidFill>
                  <a:srgbClr val="C00000"/>
                </a:solidFill>
              </a:rPr>
              <a:t>155</a:t>
            </a:r>
            <a:endParaRPr lang="pt-BR" sz="1100" b="1">
              <a:solidFill>
                <a:srgbClr val="C00000"/>
              </a:solidFill>
            </a:endParaRPr>
          </a:p>
        </p:txBody>
      </p:sp>
      <p:sp>
        <p:nvSpPr>
          <p:cNvPr id="69" name="CaixaDeTexto 68">
            <a:extLst>
              <a:ext uri="{FF2B5EF4-FFF2-40B4-BE49-F238E27FC236}">
                <a16:creationId xmlns:a16="http://schemas.microsoft.com/office/drawing/2014/main" id="{3E54217B-E01C-E7B2-10EF-20CDD05C217D}"/>
              </a:ext>
            </a:extLst>
          </p:cNvPr>
          <p:cNvSpPr txBox="1"/>
          <p:nvPr/>
        </p:nvSpPr>
        <p:spPr>
          <a:xfrm>
            <a:off x="5627439" y="5566294"/>
            <a:ext cx="607707" cy="400110"/>
          </a:xfrm>
          <a:prstGeom prst="rect">
            <a:avLst/>
          </a:prstGeom>
          <a:noFill/>
        </p:spPr>
        <p:txBody>
          <a:bodyPr wrap="square" rtlCol="0">
            <a:spAutoFit/>
          </a:bodyPr>
          <a:lstStyle/>
          <a:p>
            <a:pPr algn="ctr"/>
            <a:r>
              <a:rPr lang="pt-BR" sz="2000" b="1">
                <a:solidFill>
                  <a:srgbClr val="C00000"/>
                </a:solidFill>
              </a:rPr>
              <a:t>122</a:t>
            </a:r>
            <a:endParaRPr lang="pt-BR" sz="1200" b="1">
              <a:solidFill>
                <a:srgbClr val="C00000"/>
              </a:solidFill>
            </a:endParaRPr>
          </a:p>
        </p:txBody>
      </p:sp>
      <p:sp>
        <p:nvSpPr>
          <p:cNvPr id="70" name="CaixaDeTexto 69">
            <a:extLst>
              <a:ext uri="{FF2B5EF4-FFF2-40B4-BE49-F238E27FC236}">
                <a16:creationId xmlns:a16="http://schemas.microsoft.com/office/drawing/2014/main" id="{BC6EC9D2-ADB8-333F-1BBE-52548AC0FE7B}"/>
              </a:ext>
            </a:extLst>
          </p:cNvPr>
          <p:cNvSpPr txBox="1"/>
          <p:nvPr/>
        </p:nvSpPr>
        <p:spPr>
          <a:xfrm>
            <a:off x="6739675" y="5566293"/>
            <a:ext cx="607707" cy="400110"/>
          </a:xfrm>
          <a:prstGeom prst="rect">
            <a:avLst/>
          </a:prstGeom>
          <a:noFill/>
        </p:spPr>
        <p:txBody>
          <a:bodyPr wrap="square" rtlCol="0">
            <a:spAutoFit/>
          </a:bodyPr>
          <a:lstStyle/>
          <a:p>
            <a:pPr algn="ctr"/>
            <a:r>
              <a:rPr lang="pt-BR" sz="2000" b="1" dirty="0">
                <a:solidFill>
                  <a:srgbClr val="C00000"/>
                </a:solidFill>
              </a:rPr>
              <a:t>131</a:t>
            </a:r>
            <a:endParaRPr lang="pt-BR" sz="1100" b="1" dirty="0">
              <a:solidFill>
                <a:srgbClr val="C00000"/>
              </a:solidFill>
            </a:endParaRPr>
          </a:p>
        </p:txBody>
      </p:sp>
      <p:sp>
        <p:nvSpPr>
          <p:cNvPr id="72" name="CaixaDeTexto 71">
            <a:extLst>
              <a:ext uri="{FF2B5EF4-FFF2-40B4-BE49-F238E27FC236}">
                <a16:creationId xmlns:a16="http://schemas.microsoft.com/office/drawing/2014/main" id="{7A8AA6B7-35EB-024C-D01E-784D0216D521}"/>
              </a:ext>
            </a:extLst>
          </p:cNvPr>
          <p:cNvSpPr txBox="1"/>
          <p:nvPr/>
        </p:nvSpPr>
        <p:spPr>
          <a:xfrm>
            <a:off x="4518044" y="3980190"/>
            <a:ext cx="607707" cy="461665"/>
          </a:xfrm>
          <a:prstGeom prst="rect">
            <a:avLst/>
          </a:prstGeom>
          <a:noFill/>
        </p:spPr>
        <p:txBody>
          <a:bodyPr wrap="square" rtlCol="0" anchor="ctr">
            <a:spAutoFit/>
          </a:bodyPr>
          <a:lstStyle/>
          <a:p>
            <a:pPr algn="ctr"/>
            <a:r>
              <a:rPr lang="pt-BR" sz="2400" b="1">
                <a:solidFill>
                  <a:srgbClr val="C00000"/>
                </a:solidFill>
              </a:rPr>
              <a:t>.</a:t>
            </a:r>
            <a:endParaRPr lang="pt-BR" sz="1200" b="1">
              <a:solidFill>
                <a:srgbClr val="C00000"/>
              </a:solidFill>
            </a:endParaRPr>
          </a:p>
        </p:txBody>
      </p:sp>
      <p:sp>
        <p:nvSpPr>
          <p:cNvPr id="73" name="CaixaDeTexto 72">
            <a:extLst>
              <a:ext uri="{FF2B5EF4-FFF2-40B4-BE49-F238E27FC236}">
                <a16:creationId xmlns:a16="http://schemas.microsoft.com/office/drawing/2014/main" id="{9C4C2D5E-6239-2088-75F2-816C7400CC2A}"/>
              </a:ext>
            </a:extLst>
          </p:cNvPr>
          <p:cNvSpPr txBox="1"/>
          <p:nvPr/>
        </p:nvSpPr>
        <p:spPr>
          <a:xfrm>
            <a:off x="5630280" y="3980190"/>
            <a:ext cx="607707" cy="461665"/>
          </a:xfrm>
          <a:prstGeom prst="rect">
            <a:avLst/>
          </a:prstGeom>
          <a:noFill/>
        </p:spPr>
        <p:txBody>
          <a:bodyPr wrap="square" rtlCol="0">
            <a:spAutoFit/>
          </a:bodyPr>
          <a:lstStyle/>
          <a:p>
            <a:pPr algn="ctr"/>
            <a:r>
              <a:rPr lang="pt-BR" sz="2400" b="1">
                <a:solidFill>
                  <a:srgbClr val="C00000"/>
                </a:solidFill>
              </a:rPr>
              <a:t>.</a:t>
            </a:r>
            <a:endParaRPr lang="pt-BR" sz="1200" b="1">
              <a:solidFill>
                <a:srgbClr val="C00000"/>
              </a:solidFill>
            </a:endParaRPr>
          </a:p>
        </p:txBody>
      </p:sp>
      <p:sp>
        <p:nvSpPr>
          <p:cNvPr id="74" name="CaixaDeTexto 73">
            <a:extLst>
              <a:ext uri="{FF2B5EF4-FFF2-40B4-BE49-F238E27FC236}">
                <a16:creationId xmlns:a16="http://schemas.microsoft.com/office/drawing/2014/main" id="{B15FC33E-B1E8-73EF-480E-A5DAA49F59A3}"/>
              </a:ext>
            </a:extLst>
          </p:cNvPr>
          <p:cNvSpPr txBox="1"/>
          <p:nvPr/>
        </p:nvSpPr>
        <p:spPr>
          <a:xfrm>
            <a:off x="6742515" y="3980190"/>
            <a:ext cx="607707" cy="461665"/>
          </a:xfrm>
          <a:prstGeom prst="rect">
            <a:avLst/>
          </a:prstGeom>
          <a:noFill/>
        </p:spPr>
        <p:txBody>
          <a:bodyPr wrap="square" rtlCol="0">
            <a:spAutoFit/>
          </a:bodyPr>
          <a:lstStyle/>
          <a:p>
            <a:pPr algn="ctr"/>
            <a:r>
              <a:rPr lang="pt-BR" sz="2400" b="1">
                <a:solidFill>
                  <a:srgbClr val="C00000"/>
                </a:solidFill>
              </a:rPr>
              <a:t>.</a:t>
            </a:r>
            <a:endParaRPr lang="pt-BR" sz="1200" b="1">
              <a:solidFill>
                <a:srgbClr val="C00000"/>
              </a:solidFill>
            </a:endParaRPr>
          </a:p>
        </p:txBody>
      </p:sp>
      <p:sp>
        <p:nvSpPr>
          <p:cNvPr id="75" name="CaixaDeTexto 74">
            <a:extLst>
              <a:ext uri="{FF2B5EF4-FFF2-40B4-BE49-F238E27FC236}">
                <a16:creationId xmlns:a16="http://schemas.microsoft.com/office/drawing/2014/main" id="{54A3863E-453B-48C5-0E6D-095B166E35E6}"/>
              </a:ext>
            </a:extLst>
          </p:cNvPr>
          <p:cNvSpPr txBox="1"/>
          <p:nvPr/>
        </p:nvSpPr>
        <p:spPr>
          <a:xfrm>
            <a:off x="7871790" y="3980190"/>
            <a:ext cx="607707" cy="461665"/>
          </a:xfrm>
          <a:prstGeom prst="rect">
            <a:avLst/>
          </a:prstGeom>
          <a:noFill/>
        </p:spPr>
        <p:txBody>
          <a:bodyPr wrap="square" rtlCol="0">
            <a:spAutoFit/>
          </a:bodyPr>
          <a:lstStyle/>
          <a:p>
            <a:pPr algn="ctr"/>
            <a:r>
              <a:rPr lang="pt-BR" sz="2400" b="1">
                <a:solidFill>
                  <a:srgbClr val="C00000"/>
                </a:solidFill>
              </a:rPr>
              <a:t>.</a:t>
            </a:r>
            <a:endParaRPr lang="pt-BR" sz="1200" b="1">
              <a:solidFill>
                <a:srgbClr val="C00000"/>
              </a:solidFill>
            </a:endParaRPr>
          </a:p>
        </p:txBody>
      </p:sp>
      <p:sp>
        <p:nvSpPr>
          <p:cNvPr id="76" name="CaixaDeTexto 75">
            <a:extLst>
              <a:ext uri="{FF2B5EF4-FFF2-40B4-BE49-F238E27FC236}">
                <a16:creationId xmlns:a16="http://schemas.microsoft.com/office/drawing/2014/main" id="{64DEE0FB-EA04-6235-2202-242B6D69D623}"/>
              </a:ext>
            </a:extLst>
          </p:cNvPr>
          <p:cNvSpPr txBox="1"/>
          <p:nvPr/>
        </p:nvSpPr>
        <p:spPr>
          <a:xfrm>
            <a:off x="4515203" y="4275331"/>
            <a:ext cx="607707" cy="461665"/>
          </a:xfrm>
          <a:prstGeom prst="rect">
            <a:avLst/>
          </a:prstGeom>
          <a:noFill/>
        </p:spPr>
        <p:txBody>
          <a:bodyPr wrap="square" rtlCol="0" anchor="ctr">
            <a:spAutoFit/>
          </a:bodyPr>
          <a:lstStyle/>
          <a:p>
            <a:pPr algn="ctr"/>
            <a:r>
              <a:rPr lang="pt-BR" sz="2400" b="1">
                <a:solidFill>
                  <a:srgbClr val="C00000"/>
                </a:solidFill>
              </a:rPr>
              <a:t>.</a:t>
            </a:r>
            <a:endParaRPr lang="pt-BR" sz="1200" b="1">
              <a:solidFill>
                <a:srgbClr val="C00000"/>
              </a:solidFill>
            </a:endParaRPr>
          </a:p>
        </p:txBody>
      </p:sp>
      <p:sp>
        <p:nvSpPr>
          <p:cNvPr id="77" name="CaixaDeTexto 76">
            <a:extLst>
              <a:ext uri="{FF2B5EF4-FFF2-40B4-BE49-F238E27FC236}">
                <a16:creationId xmlns:a16="http://schemas.microsoft.com/office/drawing/2014/main" id="{74A970EE-19A6-DB70-64ED-73E905C8615C}"/>
              </a:ext>
            </a:extLst>
          </p:cNvPr>
          <p:cNvSpPr txBox="1"/>
          <p:nvPr/>
        </p:nvSpPr>
        <p:spPr>
          <a:xfrm>
            <a:off x="5627439" y="4275331"/>
            <a:ext cx="607707" cy="461665"/>
          </a:xfrm>
          <a:prstGeom prst="rect">
            <a:avLst/>
          </a:prstGeom>
          <a:noFill/>
        </p:spPr>
        <p:txBody>
          <a:bodyPr wrap="square" rtlCol="0">
            <a:spAutoFit/>
          </a:bodyPr>
          <a:lstStyle/>
          <a:p>
            <a:pPr algn="ctr"/>
            <a:r>
              <a:rPr lang="pt-BR" sz="2400" b="1">
                <a:solidFill>
                  <a:srgbClr val="C00000"/>
                </a:solidFill>
              </a:rPr>
              <a:t>.</a:t>
            </a:r>
            <a:endParaRPr lang="pt-BR" sz="1200" b="1">
              <a:solidFill>
                <a:srgbClr val="C00000"/>
              </a:solidFill>
            </a:endParaRPr>
          </a:p>
        </p:txBody>
      </p:sp>
      <p:sp>
        <p:nvSpPr>
          <p:cNvPr id="78" name="CaixaDeTexto 77">
            <a:extLst>
              <a:ext uri="{FF2B5EF4-FFF2-40B4-BE49-F238E27FC236}">
                <a16:creationId xmlns:a16="http://schemas.microsoft.com/office/drawing/2014/main" id="{67490678-B8DF-4D1C-650B-EF49F8105AA4}"/>
              </a:ext>
            </a:extLst>
          </p:cNvPr>
          <p:cNvSpPr txBox="1"/>
          <p:nvPr/>
        </p:nvSpPr>
        <p:spPr>
          <a:xfrm>
            <a:off x="6739674" y="4275331"/>
            <a:ext cx="607707" cy="461665"/>
          </a:xfrm>
          <a:prstGeom prst="rect">
            <a:avLst/>
          </a:prstGeom>
          <a:noFill/>
        </p:spPr>
        <p:txBody>
          <a:bodyPr wrap="square" rtlCol="0">
            <a:spAutoFit/>
          </a:bodyPr>
          <a:lstStyle/>
          <a:p>
            <a:pPr algn="ctr"/>
            <a:r>
              <a:rPr lang="pt-BR" sz="2400" b="1">
                <a:solidFill>
                  <a:srgbClr val="C00000"/>
                </a:solidFill>
              </a:rPr>
              <a:t>.</a:t>
            </a:r>
            <a:endParaRPr lang="pt-BR" sz="1200" b="1">
              <a:solidFill>
                <a:srgbClr val="C00000"/>
              </a:solidFill>
            </a:endParaRPr>
          </a:p>
        </p:txBody>
      </p:sp>
      <p:sp>
        <p:nvSpPr>
          <p:cNvPr id="79" name="CaixaDeTexto 78">
            <a:extLst>
              <a:ext uri="{FF2B5EF4-FFF2-40B4-BE49-F238E27FC236}">
                <a16:creationId xmlns:a16="http://schemas.microsoft.com/office/drawing/2014/main" id="{5680E0E9-972F-F562-15A8-A23B0F9AF613}"/>
              </a:ext>
            </a:extLst>
          </p:cNvPr>
          <p:cNvSpPr txBox="1"/>
          <p:nvPr/>
        </p:nvSpPr>
        <p:spPr>
          <a:xfrm>
            <a:off x="7891669" y="4275331"/>
            <a:ext cx="607707" cy="461665"/>
          </a:xfrm>
          <a:prstGeom prst="rect">
            <a:avLst/>
          </a:prstGeom>
          <a:noFill/>
        </p:spPr>
        <p:txBody>
          <a:bodyPr wrap="square" rtlCol="0">
            <a:spAutoFit/>
          </a:bodyPr>
          <a:lstStyle/>
          <a:p>
            <a:pPr algn="ctr"/>
            <a:r>
              <a:rPr lang="pt-BR" sz="2400" b="1">
                <a:solidFill>
                  <a:srgbClr val="C00000"/>
                </a:solidFill>
              </a:rPr>
              <a:t>.</a:t>
            </a:r>
            <a:endParaRPr lang="pt-BR" sz="1200" b="1">
              <a:solidFill>
                <a:srgbClr val="C00000"/>
              </a:solidFill>
            </a:endParaRPr>
          </a:p>
        </p:txBody>
      </p:sp>
      <p:sp>
        <p:nvSpPr>
          <p:cNvPr id="80" name="CaixaDeTexto 79">
            <a:extLst>
              <a:ext uri="{FF2B5EF4-FFF2-40B4-BE49-F238E27FC236}">
                <a16:creationId xmlns:a16="http://schemas.microsoft.com/office/drawing/2014/main" id="{6E78AC2A-C646-F8F7-41E4-A7A6C0B1A1BB}"/>
              </a:ext>
            </a:extLst>
          </p:cNvPr>
          <p:cNvSpPr txBox="1"/>
          <p:nvPr/>
        </p:nvSpPr>
        <p:spPr>
          <a:xfrm>
            <a:off x="4518044" y="4617151"/>
            <a:ext cx="607707" cy="461665"/>
          </a:xfrm>
          <a:prstGeom prst="rect">
            <a:avLst/>
          </a:prstGeom>
          <a:noFill/>
        </p:spPr>
        <p:txBody>
          <a:bodyPr wrap="square" rtlCol="0" anchor="ctr">
            <a:spAutoFit/>
          </a:bodyPr>
          <a:lstStyle/>
          <a:p>
            <a:pPr algn="ctr"/>
            <a:r>
              <a:rPr lang="pt-BR" sz="2400" b="1">
                <a:solidFill>
                  <a:srgbClr val="C00000"/>
                </a:solidFill>
              </a:rPr>
              <a:t>.</a:t>
            </a:r>
            <a:endParaRPr lang="pt-BR" sz="1200" b="1">
              <a:solidFill>
                <a:srgbClr val="C00000"/>
              </a:solidFill>
            </a:endParaRPr>
          </a:p>
        </p:txBody>
      </p:sp>
      <p:sp>
        <p:nvSpPr>
          <p:cNvPr id="81" name="CaixaDeTexto 80">
            <a:extLst>
              <a:ext uri="{FF2B5EF4-FFF2-40B4-BE49-F238E27FC236}">
                <a16:creationId xmlns:a16="http://schemas.microsoft.com/office/drawing/2014/main" id="{277A5FD9-19CB-5733-9FAA-2D18B4241E63}"/>
              </a:ext>
            </a:extLst>
          </p:cNvPr>
          <p:cNvSpPr txBox="1"/>
          <p:nvPr/>
        </p:nvSpPr>
        <p:spPr>
          <a:xfrm>
            <a:off x="5630280" y="4617151"/>
            <a:ext cx="607707" cy="461665"/>
          </a:xfrm>
          <a:prstGeom prst="rect">
            <a:avLst/>
          </a:prstGeom>
          <a:noFill/>
        </p:spPr>
        <p:txBody>
          <a:bodyPr wrap="square" rtlCol="0">
            <a:spAutoFit/>
          </a:bodyPr>
          <a:lstStyle/>
          <a:p>
            <a:pPr algn="ctr"/>
            <a:r>
              <a:rPr lang="pt-BR" sz="2400" b="1">
                <a:solidFill>
                  <a:srgbClr val="C00000"/>
                </a:solidFill>
              </a:rPr>
              <a:t>.</a:t>
            </a:r>
            <a:endParaRPr lang="pt-BR" sz="1200" b="1">
              <a:solidFill>
                <a:srgbClr val="C00000"/>
              </a:solidFill>
            </a:endParaRPr>
          </a:p>
        </p:txBody>
      </p:sp>
      <p:sp>
        <p:nvSpPr>
          <p:cNvPr id="82" name="CaixaDeTexto 81">
            <a:extLst>
              <a:ext uri="{FF2B5EF4-FFF2-40B4-BE49-F238E27FC236}">
                <a16:creationId xmlns:a16="http://schemas.microsoft.com/office/drawing/2014/main" id="{0992E916-A0F1-07F1-1453-5F179085D2B6}"/>
              </a:ext>
            </a:extLst>
          </p:cNvPr>
          <p:cNvSpPr txBox="1"/>
          <p:nvPr/>
        </p:nvSpPr>
        <p:spPr>
          <a:xfrm>
            <a:off x="6742515" y="4617151"/>
            <a:ext cx="607707" cy="461665"/>
          </a:xfrm>
          <a:prstGeom prst="rect">
            <a:avLst/>
          </a:prstGeom>
          <a:noFill/>
        </p:spPr>
        <p:txBody>
          <a:bodyPr wrap="square" rtlCol="0">
            <a:spAutoFit/>
          </a:bodyPr>
          <a:lstStyle/>
          <a:p>
            <a:pPr algn="ctr"/>
            <a:r>
              <a:rPr lang="pt-BR" sz="2400" b="1">
                <a:solidFill>
                  <a:srgbClr val="C00000"/>
                </a:solidFill>
              </a:rPr>
              <a:t>.</a:t>
            </a:r>
            <a:endParaRPr lang="pt-BR" sz="1200" b="1">
              <a:solidFill>
                <a:srgbClr val="C00000"/>
              </a:solidFill>
            </a:endParaRPr>
          </a:p>
        </p:txBody>
      </p:sp>
      <p:sp>
        <p:nvSpPr>
          <p:cNvPr id="83" name="CaixaDeTexto 82">
            <a:extLst>
              <a:ext uri="{FF2B5EF4-FFF2-40B4-BE49-F238E27FC236}">
                <a16:creationId xmlns:a16="http://schemas.microsoft.com/office/drawing/2014/main" id="{8AA1DCB1-E873-9272-D83D-71C79ED0D316}"/>
              </a:ext>
            </a:extLst>
          </p:cNvPr>
          <p:cNvSpPr txBox="1"/>
          <p:nvPr/>
        </p:nvSpPr>
        <p:spPr>
          <a:xfrm>
            <a:off x="7871790" y="4617151"/>
            <a:ext cx="607707" cy="461665"/>
          </a:xfrm>
          <a:prstGeom prst="rect">
            <a:avLst/>
          </a:prstGeom>
          <a:noFill/>
        </p:spPr>
        <p:txBody>
          <a:bodyPr wrap="square" rtlCol="0">
            <a:spAutoFit/>
          </a:bodyPr>
          <a:lstStyle/>
          <a:p>
            <a:pPr algn="ctr"/>
            <a:r>
              <a:rPr lang="pt-BR" sz="2400" b="1">
                <a:solidFill>
                  <a:srgbClr val="C00000"/>
                </a:solidFill>
              </a:rPr>
              <a:t>.</a:t>
            </a:r>
            <a:endParaRPr lang="pt-BR" sz="1200" b="1">
              <a:solidFill>
                <a:srgbClr val="C00000"/>
              </a:solidFill>
            </a:endParaRPr>
          </a:p>
        </p:txBody>
      </p:sp>
      <p:sp>
        <p:nvSpPr>
          <p:cNvPr id="84" name="CaixaDeTexto 83">
            <a:extLst>
              <a:ext uri="{FF2B5EF4-FFF2-40B4-BE49-F238E27FC236}">
                <a16:creationId xmlns:a16="http://schemas.microsoft.com/office/drawing/2014/main" id="{983A89A2-E85A-32C8-6AF0-465E6CBFD722}"/>
              </a:ext>
            </a:extLst>
          </p:cNvPr>
          <p:cNvSpPr txBox="1"/>
          <p:nvPr/>
        </p:nvSpPr>
        <p:spPr>
          <a:xfrm>
            <a:off x="4515203" y="4912292"/>
            <a:ext cx="607707" cy="461665"/>
          </a:xfrm>
          <a:prstGeom prst="rect">
            <a:avLst/>
          </a:prstGeom>
          <a:noFill/>
        </p:spPr>
        <p:txBody>
          <a:bodyPr wrap="square" rtlCol="0" anchor="ctr">
            <a:spAutoFit/>
          </a:bodyPr>
          <a:lstStyle/>
          <a:p>
            <a:pPr algn="ctr"/>
            <a:r>
              <a:rPr lang="pt-BR" sz="2400" b="1">
                <a:solidFill>
                  <a:srgbClr val="C00000"/>
                </a:solidFill>
              </a:rPr>
              <a:t>.</a:t>
            </a:r>
            <a:endParaRPr lang="pt-BR" sz="1200" b="1">
              <a:solidFill>
                <a:srgbClr val="C00000"/>
              </a:solidFill>
            </a:endParaRPr>
          </a:p>
        </p:txBody>
      </p:sp>
      <p:sp>
        <p:nvSpPr>
          <p:cNvPr id="85" name="CaixaDeTexto 84">
            <a:extLst>
              <a:ext uri="{FF2B5EF4-FFF2-40B4-BE49-F238E27FC236}">
                <a16:creationId xmlns:a16="http://schemas.microsoft.com/office/drawing/2014/main" id="{D4AD0905-4D62-BEA9-B5B8-B3C52251EB44}"/>
              </a:ext>
            </a:extLst>
          </p:cNvPr>
          <p:cNvSpPr txBox="1"/>
          <p:nvPr/>
        </p:nvSpPr>
        <p:spPr>
          <a:xfrm>
            <a:off x="5627439" y="4912292"/>
            <a:ext cx="607707" cy="461665"/>
          </a:xfrm>
          <a:prstGeom prst="rect">
            <a:avLst/>
          </a:prstGeom>
          <a:noFill/>
        </p:spPr>
        <p:txBody>
          <a:bodyPr wrap="square" rtlCol="0">
            <a:spAutoFit/>
          </a:bodyPr>
          <a:lstStyle/>
          <a:p>
            <a:pPr algn="ctr"/>
            <a:r>
              <a:rPr lang="pt-BR" sz="2400" b="1">
                <a:solidFill>
                  <a:srgbClr val="C00000"/>
                </a:solidFill>
              </a:rPr>
              <a:t>.</a:t>
            </a:r>
            <a:endParaRPr lang="pt-BR" sz="1200" b="1">
              <a:solidFill>
                <a:srgbClr val="C00000"/>
              </a:solidFill>
            </a:endParaRPr>
          </a:p>
        </p:txBody>
      </p:sp>
      <p:sp>
        <p:nvSpPr>
          <p:cNvPr id="86" name="CaixaDeTexto 85">
            <a:extLst>
              <a:ext uri="{FF2B5EF4-FFF2-40B4-BE49-F238E27FC236}">
                <a16:creationId xmlns:a16="http://schemas.microsoft.com/office/drawing/2014/main" id="{6F6C4D33-F1EA-DEEF-2DB4-F8C1F86B200F}"/>
              </a:ext>
            </a:extLst>
          </p:cNvPr>
          <p:cNvSpPr txBox="1"/>
          <p:nvPr/>
        </p:nvSpPr>
        <p:spPr>
          <a:xfrm>
            <a:off x="6739674" y="4912292"/>
            <a:ext cx="607707" cy="461665"/>
          </a:xfrm>
          <a:prstGeom prst="rect">
            <a:avLst/>
          </a:prstGeom>
          <a:noFill/>
        </p:spPr>
        <p:txBody>
          <a:bodyPr wrap="square" rtlCol="0">
            <a:spAutoFit/>
          </a:bodyPr>
          <a:lstStyle/>
          <a:p>
            <a:pPr algn="ctr"/>
            <a:r>
              <a:rPr lang="pt-BR" sz="2400" b="1">
                <a:solidFill>
                  <a:srgbClr val="C00000"/>
                </a:solidFill>
              </a:rPr>
              <a:t>.</a:t>
            </a:r>
            <a:endParaRPr lang="pt-BR" sz="1200" b="1">
              <a:solidFill>
                <a:srgbClr val="C00000"/>
              </a:solidFill>
            </a:endParaRPr>
          </a:p>
        </p:txBody>
      </p:sp>
      <p:sp>
        <p:nvSpPr>
          <p:cNvPr id="87" name="CaixaDeTexto 86">
            <a:extLst>
              <a:ext uri="{FF2B5EF4-FFF2-40B4-BE49-F238E27FC236}">
                <a16:creationId xmlns:a16="http://schemas.microsoft.com/office/drawing/2014/main" id="{1DED1C1C-BCBA-D2CC-2C4E-F5E34496AE92}"/>
              </a:ext>
            </a:extLst>
          </p:cNvPr>
          <p:cNvSpPr txBox="1"/>
          <p:nvPr/>
        </p:nvSpPr>
        <p:spPr>
          <a:xfrm>
            <a:off x="7891669" y="4912292"/>
            <a:ext cx="607707" cy="461665"/>
          </a:xfrm>
          <a:prstGeom prst="rect">
            <a:avLst/>
          </a:prstGeom>
          <a:noFill/>
        </p:spPr>
        <p:txBody>
          <a:bodyPr wrap="square" rtlCol="0">
            <a:spAutoFit/>
          </a:bodyPr>
          <a:lstStyle/>
          <a:p>
            <a:pPr algn="ctr"/>
            <a:r>
              <a:rPr lang="pt-BR" sz="2400" b="1">
                <a:solidFill>
                  <a:srgbClr val="C00000"/>
                </a:solidFill>
              </a:rPr>
              <a:t>.</a:t>
            </a:r>
            <a:endParaRPr lang="pt-BR" sz="1200" b="1">
              <a:solidFill>
                <a:srgbClr val="C00000"/>
              </a:solidFill>
            </a:endParaRPr>
          </a:p>
        </p:txBody>
      </p:sp>
      <p:sp>
        <p:nvSpPr>
          <p:cNvPr id="88" name="CaixaDeTexto 87">
            <a:extLst>
              <a:ext uri="{FF2B5EF4-FFF2-40B4-BE49-F238E27FC236}">
                <a16:creationId xmlns:a16="http://schemas.microsoft.com/office/drawing/2014/main" id="{00E17A2A-61C0-3EB4-6CB8-65C380AB523B}"/>
              </a:ext>
            </a:extLst>
          </p:cNvPr>
          <p:cNvSpPr txBox="1"/>
          <p:nvPr/>
        </p:nvSpPr>
        <p:spPr>
          <a:xfrm>
            <a:off x="4506683" y="5199345"/>
            <a:ext cx="607707" cy="461665"/>
          </a:xfrm>
          <a:prstGeom prst="rect">
            <a:avLst/>
          </a:prstGeom>
          <a:noFill/>
        </p:spPr>
        <p:txBody>
          <a:bodyPr wrap="square" rtlCol="0" anchor="ctr">
            <a:spAutoFit/>
          </a:bodyPr>
          <a:lstStyle/>
          <a:p>
            <a:pPr algn="ctr"/>
            <a:r>
              <a:rPr lang="pt-BR" sz="2400" b="1">
                <a:solidFill>
                  <a:srgbClr val="C00000"/>
                </a:solidFill>
              </a:rPr>
              <a:t>.</a:t>
            </a:r>
            <a:endParaRPr lang="pt-BR" sz="1200" b="1">
              <a:solidFill>
                <a:srgbClr val="C00000"/>
              </a:solidFill>
            </a:endParaRPr>
          </a:p>
        </p:txBody>
      </p:sp>
      <p:sp>
        <p:nvSpPr>
          <p:cNvPr id="89" name="CaixaDeTexto 88">
            <a:extLst>
              <a:ext uri="{FF2B5EF4-FFF2-40B4-BE49-F238E27FC236}">
                <a16:creationId xmlns:a16="http://schemas.microsoft.com/office/drawing/2014/main" id="{2DF75C3A-03AA-1249-FB54-E7304F08D93C}"/>
              </a:ext>
            </a:extLst>
          </p:cNvPr>
          <p:cNvSpPr txBox="1"/>
          <p:nvPr/>
        </p:nvSpPr>
        <p:spPr>
          <a:xfrm>
            <a:off x="5618919" y="5199345"/>
            <a:ext cx="607707" cy="461665"/>
          </a:xfrm>
          <a:prstGeom prst="rect">
            <a:avLst/>
          </a:prstGeom>
          <a:noFill/>
        </p:spPr>
        <p:txBody>
          <a:bodyPr wrap="square" rtlCol="0">
            <a:spAutoFit/>
          </a:bodyPr>
          <a:lstStyle/>
          <a:p>
            <a:pPr algn="ctr"/>
            <a:r>
              <a:rPr lang="pt-BR" sz="2400" b="1">
                <a:solidFill>
                  <a:srgbClr val="C00000"/>
                </a:solidFill>
              </a:rPr>
              <a:t>.</a:t>
            </a:r>
            <a:endParaRPr lang="pt-BR" sz="1200" b="1">
              <a:solidFill>
                <a:srgbClr val="C00000"/>
              </a:solidFill>
            </a:endParaRPr>
          </a:p>
        </p:txBody>
      </p:sp>
      <p:sp>
        <p:nvSpPr>
          <p:cNvPr id="90" name="CaixaDeTexto 89">
            <a:extLst>
              <a:ext uri="{FF2B5EF4-FFF2-40B4-BE49-F238E27FC236}">
                <a16:creationId xmlns:a16="http://schemas.microsoft.com/office/drawing/2014/main" id="{169D9003-FD6A-3073-44EC-05A8CD75E12E}"/>
              </a:ext>
            </a:extLst>
          </p:cNvPr>
          <p:cNvSpPr txBox="1"/>
          <p:nvPr/>
        </p:nvSpPr>
        <p:spPr>
          <a:xfrm>
            <a:off x="6731154" y="5199345"/>
            <a:ext cx="607707" cy="461665"/>
          </a:xfrm>
          <a:prstGeom prst="rect">
            <a:avLst/>
          </a:prstGeom>
          <a:noFill/>
        </p:spPr>
        <p:txBody>
          <a:bodyPr wrap="square" rtlCol="0">
            <a:spAutoFit/>
          </a:bodyPr>
          <a:lstStyle/>
          <a:p>
            <a:pPr algn="ctr"/>
            <a:r>
              <a:rPr lang="pt-BR" sz="2400" b="1">
                <a:solidFill>
                  <a:srgbClr val="C00000"/>
                </a:solidFill>
              </a:rPr>
              <a:t>.</a:t>
            </a:r>
            <a:endParaRPr lang="pt-BR" sz="1200" b="1">
              <a:solidFill>
                <a:srgbClr val="C00000"/>
              </a:solidFill>
            </a:endParaRPr>
          </a:p>
        </p:txBody>
      </p:sp>
      <p:sp>
        <p:nvSpPr>
          <p:cNvPr id="91" name="CaixaDeTexto 90">
            <a:extLst>
              <a:ext uri="{FF2B5EF4-FFF2-40B4-BE49-F238E27FC236}">
                <a16:creationId xmlns:a16="http://schemas.microsoft.com/office/drawing/2014/main" id="{71A30582-8F7C-C28E-4F02-4EFDB2EBC00E}"/>
              </a:ext>
            </a:extLst>
          </p:cNvPr>
          <p:cNvSpPr txBox="1"/>
          <p:nvPr/>
        </p:nvSpPr>
        <p:spPr>
          <a:xfrm>
            <a:off x="7883149" y="5199345"/>
            <a:ext cx="607707" cy="461665"/>
          </a:xfrm>
          <a:prstGeom prst="rect">
            <a:avLst/>
          </a:prstGeom>
          <a:noFill/>
        </p:spPr>
        <p:txBody>
          <a:bodyPr wrap="square" rtlCol="0">
            <a:spAutoFit/>
          </a:bodyPr>
          <a:lstStyle/>
          <a:p>
            <a:pPr algn="ctr"/>
            <a:r>
              <a:rPr lang="pt-BR" sz="2400" b="1">
                <a:solidFill>
                  <a:srgbClr val="C00000"/>
                </a:solidFill>
              </a:rPr>
              <a:t>.</a:t>
            </a:r>
            <a:endParaRPr lang="pt-BR" sz="1200" b="1">
              <a:solidFill>
                <a:srgbClr val="C00000"/>
              </a:solidFill>
            </a:endParaRPr>
          </a:p>
        </p:txBody>
      </p:sp>
      <p:sp>
        <p:nvSpPr>
          <p:cNvPr id="92" name="Balão de Fala: Retângulo com Cantos Arredondados 91">
            <a:extLst>
              <a:ext uri="{FF2B5EF4-FFF2-40B4-BE49-F238E27FC236}">
                <a16:creationId xmlns:a16="http://schemas.microsoft.com/office/drawing/2014/main" id="{51780E15-31AE-6124-F2C6-F04A6F7AFA00}"/>
              </a:ext>
            </a:extLst>
          </p:cNvPr>
          <p:cNvSpPr/>
          <p:nvPr/>
        </p:nvSpPr>
        <p:spPr>
          <a:xfrm>
            <a:off x="9216096" y="4362979"/>
            <a:ext cx="2756298" cy="1098626"/>
          </a:xfrm>
          <a:prstGeom prst="wedgeRoundRectCallout">
            <a:avLst>
              <a:gd name="adj1" fmla="val -64752"/>
              <a:gd name="adj2" fmla="val 80077"/>
              <a:gd name="adj3" fmla="val 16667"/>
            </a:avLst>
          </a:prstGeom>
          <a:solidFill>
            <a:schemeClr val="bg1"/>
          </a:solidFill>
          <a:ln w="285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pt-BR" b="1">
                <a:solidFill>
                  <a:srgbClr val="C00000"/>
                </a:solidFill>
              </a:rPr>
              <a:t>Somatório é sempre ≤ </a:t>
            </a:r>
          </a:p>
          <a:p>
            <a:pPr algn="ctr"/>
            <a:r>
              <a:rPr lang="pt-BR" b="1">
                <a:solidFill>
                  <a:srgbClr val="C00000"/>
                </a:solidFill>
              </a:rPr>
              <a:t>nº leitos X nº dias no mês</a:t>
            </a:r>
          </a:p>
        </p:txBody>
      </p:sp>
      <p:sp>
        <p:nvSpPr>
          <p:cNvPr id="93" name="CaixaDeTexto 92">
            <a:extLst>
              <a:ext uri="{FF2B5EF4-FFF2-40B4-BE49-F238E27FC236}">
                <a16:creationId xmlns:a16="http://schemas.microsoft.com/office/drawing/2014/main" id="{D06041C3-F8B0-C36C-638C-C0D7BDD8EC2A}"/>
              </a:ext>
            </a:extLst>
          </p:cNvPr>
          <p:cNvSpPr txBox="1"/>
          <p:nvPr/>
        </p:nvSpPr>
        <p:spPr>
          <a:xfrm>
            <a:off x="7860811" y="5574020"/>
            <a:ext cx="607707" cy="400110"/>
          </a:xfrm>
          <a:prstGeom prst="rect">
            <a:avLst/>
          </a:prstGeom>
          <a:noFill/>
        </p:spPr>
        <p:txBody>
          <a:bodyPr wrap="square" rtlCol="0">
            <a:spAutoFit/>
          </a:bodyPr>
          <a:lstStyle/>
          <a:p>
            <a:pPr algn="ctr"/>
            <a:r>
              <a:rPr lang="pt-BR" sz="2000" b="1" dirty="0">
                <a:solidFill>
                  <a:srgbClr val="C00000"/>
                </a:solidFill>
              </a:rPr>
              <a:t>120</a:t>
            </a:r>
            <a:endParaRPr lang="pt-BR" sz="1100" b="1" dirty="0">
              <a:solidFill>
                <a:srgbClr val="C00000"/>
              </a:solidFill>
            </a:endParaRPr>
          </a:p>
        </p:txBody>
      </p:sp>
    </p:spTree>
    <p:extLst>
      <p:ext uri="{BB962C8B-B14F-4D97-AF65-F5344CB8AC3E}">
        <p14:creationId xmlns:p14="http://schemas.microsoft.com/office/powerpoint/2010/main" val="640392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B91655-F67E-1A56-618F-B1D457DCC7F2}"/>
            </a:ext>
          </a:extLst>
        </p:cNvPr>
        <p:cNvGrpSpPr/>
        <p:nvPr/>
      </p:nvGrpSpPr>
      <p:grpSpPr>
        <a:xfrm>
          <a:off x="0" y="0"/>
          <a:ext cx="0" cy="0"/>
          <a:chOff x="0" y="0"/>
          <a:chExt cx="0" cy="0"/>
        </a:xfrm>
      </p:grpSpPr>
      <p:grpSp>
        <p:nvGrpSpPr>
          <p:cNvPr id="2" name="Group 12">
            <a:extLst>
              <a:ext uri="{FF2B5EF4-FFF2-40B4-BE49-F238E27FC236}">
                <a16:creationId xmlns:a16="http://schemas.microsoft.com/office/drawing/2014/main" id="{F914545D-4A75-2372-D3DE-AF719D0B1C92}"/>
              </a:ext>
            </a:extLst>
          </p:cNvPr>
          <p:cNvGrpSpPr/>
          <p:nvPr/>
        </p:nvGrpSpPr>
        <p:grpSpPr>
          <a:xfrm>
            <a:off x="304800" y="249455"/>
            <a:ext cx="1193800" cy="462985"/>
            <a:chOff x="5245100" y="211355"/>
            <a:chExt cx="2036664" cy="789869"/>
          </a:xfrm>
        </p:grpSpPr>
        <p:sp>
          <p:nvSpPr>
            <p:cNvPr id="3" name="Freeform: Shape 13">
              <a:extLst>
                <a:ext uri="{FF2B5EF4-FFF2-40B4-BE49-F238E27FC236}">
                  <a16:creationId xmlns:a16="http://schemas.microsoft.com/office/drawing/2014/main" id="{83F5D5F2-5537-EC0E-84F4-DD2F1347BBB0}"/>
                </a:ext>
              </a:extLst>
            </p:cNvPr>
            <p:cNvSpPr/>
            <p:nvPr/>
          </p:nvSpPr>
          <p:spPr>
            <a:xfrm>
              <a:off x="5245100" y="308520"/>
              <a:ext cx="247894" cy="322815"/>
            </a:xfrm>
            <a:custGeom>
              <a:avLst/>
              <a:gdLst>
                <a:gd name="connsiteX0" fmla="*/ 529590 w 986123"/>
                <a:gd name="connsiteY0" fmla="*/ 1284160 h 1284160"/>
                <a:gd name="connsiteX1" fmla="*/ 249650 w 986123"/>
                <a:gd name="connsiteY1" fmla="*/ 1235107 h 1284160"/>
                <a:gd name="connsiteX2" fmla="*/ 0 w 986123"/>
                <a:gd name="connsiteY2" fmla="*/ 1084421 h 1284160"/>
                <a:gd name="connsiteX3" fmla="*/ 162306 w 986123"/>
                <a:gd name="connsiteY3" fmla="*/ 890016 h 1284160"/>
                <a:gd name="connsiteX4" fmla="*/ 337947 w 986123"/>
                <a:gd name="connsiteY4" fmla="*/ 1000601 h 1284160"/>
                <a:gd name="connsiteX5" fmla="*/ 535019 w 986123"/>
                <a:gd name="connsiteY5" fmla="*/ 1041654 h 1284160"/>
                <a:gd name="connsiteX6" fmla="*/ 667893 w 986123"/>
                <a:gd name="connsiteY6" fmla="*/ 1010412 h 1284160"/>
                <a:gd name="connsiteX7" fmla="*/ 715137 w 986123"/>
                <a:gd name="connsiteY7" fmla="*/ 923925 h 1284160"/>
                <a:gd name="connsiteX8" fmla="*/ 715137 w 986123"/>
                <a:gd name="connsiteY8" fmla="*/ 920305 h 1284160"/>
                <a:gd name="connsiteX9" fmla="*/ 705326 w 986123"/>
                <a:gd name="connsiteY9" fmla="*/ 873062 h 1284160"/>
                <a:gd name="connsiteX10" fmla="*/ 667798 w 986123"/>
                <a:gd name="connsiteY10" fmla="*/ 834676 h 1284160"/>
                <a:gd name="connsiteX11" fmla="*/ 590931 w 986123"/>
                <a:gd name="connsiteY11" fmla="*/ 798957 h 1284160"/>
                <a:gd name="connsiteX12" fmla="*/ 463106 w 986123"/>
                <a:gd name="connsiteY12" fmla="*/ 761524 h 1284160"/>
                <a:gd name="connsiteX13" fmla="*/ 291465 w 986123"/>
                <a:gd name="connsiteY13" fmla="*/ 709803 h 1284160"/>
                <a:gd name="connsiteX14" fmla="*/ 160973 w 986123"/>
                <a:gd name="connsiteY14" fmla="*/ 639318 h 1284160"/>
                <a:gd name="connsiteX15" fmla="*/ 77819 w 986123"/>
                <a:gd name="connsiteY15" fmla="*/ 535019 h 1284160"/>
                <a:gd name="connsiteX16" fmla="*/ 48292 w 986123"/>
                <a:gd name="connsiteY16" fmla="*/ 379857 h 1284160"/>
                <a:gd name="connsiteX17" fmla="*/ 48292 w 986123"/>
                <a:gd name="connsiteY17" fmla="*/ 376238 h 1284160"/>
                <a:gd name="connsiteX18" fmla="*/ 80201 w 986123"/>
                <a:gd name="connsiteY18" fmla="*/ 222028 h 1284160"/>
                <a:gd name="connsiteX19" fmla="*/ 169640 w 986123"/>
                <a:gd name="connsiteY19" fmla="*/ 103441 h 1284160"/>
                <a:gd name="connsiteX20" fmla="*/ 307181 w 986123"/>
                <a:gd name="connsiteY20" fmla="*/ 26765 h 1284160"/>
                <a:gd name="connsiteX21" fmla="*/ 483394 w 986123"/>
                <a:gd name="connsiteY21" fmla="*/ 0 h 1284160"/>
                <a:gd name="connsiteX22" fmla="*/ 735711 w 986123"/>
                <a:gd name="connsiteY22" fmla="*/ 41053 h 1284160"/>
                <a:gd name="connsiteX23" fmla="*/ 946976 w 986123"/>
                <a:gd name="connsiteY23" fmla="*/ 158687 h 1284160"/>
                <a:gd name="connsiteX24" fmla="*/ 804291 w 986123"/>
                <a:gd name="connsiteY24" fmla="*/ 365569 h 1284160"/>
                <a:gd name="connsiteX25" fmla="*/ 640271 w 986123"/>
                <a:gd name="connsiteY25" fmla="*/ 275558 h 1284160"/>
                <a:gd name="connsiteX26" fmla="*/ 479774 w 986123"/>
                <a:gd name="connsiteY26" fmla="*/ 242602 h 1284160"/>
                <a:gd name="connsiteX27" fmla="*/ 359378 w 986123"/>
                <a:gd name="connsiteY27" fmla="*/ 273844 h 1284160"/>
                <a:gd name="connsiteX28" fmla="*/ 319278 w 986123"/>
                <a:gd name="connsiteY28" fmla="*/ 351377 h 1284160"/>
                <a:gd name="connsiteX29" fmla="*/ 319278 w 986123"/>
                <a:gd name="connsiteY29" fmla="*/ 354997 h 1284160"/>
                <a:gd name="connsiteX30" fmla="*/ 330899 w 986123"/>
                <a:gd name="connsiteY30" fmla="*/ 407575 h 1284160"/>
                <a:gd name="connsiteX31" fmla="*/ 372904 w 986123"/>
                <a:gd name="connsiteY31" fmla="*/ 447675 h 1284160"/>
                <a:gd name="connsiteX32" fmla="*/ 456057 w 986123"/>
                <a:gd name="connsiteY32" fmla="*/ 481489 h 1284160"/>
                <a:gd name="connsiteX33" fmla="*/ 589217 w 986123"/>
                <a:gd name="connsiteY33" fmla="*/ 518922 h 1284160"/>
                <a:gd name="connsiteX34" fmla="*/ 758190 w 986123"/>
                <a:gd name="connsiteY34" fmla="*/ 575120 h 1284160"/>
                <a:gd name="connsiteX35" fmla="*/ 883349 w 986123"/>
                <a:gd name="connsiteY35" fmla="*/ 649986 h 1284160"/>
                <a:gd name="connsiteX36" fmla="*/ 960215 w 986123"/>
                <a:gd name="connsiteY36" fmla="*/ 752570 h 1284160"/>
                <a:gd name="connsiteX37" fmla="*/ 986123 w 986123"/>
                <a:gd name="connsiteY37" fmla="*/ 893445 h 1284160"/>
                <a:gd name="connsiteX38" fmla="*/ 986123 w 986123"/>
                <a:gd name="connsiteY38" fmla="*/ 897064 h 1284160"/>
                <a:gd name="connsiteX39" fmla="*/ 952500 w 986123"/>
                <a:gd name="connsiteY39" fmla="*/ 1062038 h 1284160"/>
                <a:gd name="connsiteX40" fmla="*/ 858584 w 986123"/>
                <a:gd name="connsiteY40" fmla="*/ 1183291 h 1284160"/>
                <a:gd name="connsiteX41" fmla="*/ 714851 w 986123"/>
                <a:gd name="connsiteY41" fmla="*/ 1258157 h 1284160"/>
                <a:gd name="connsiteX42" fmla="*/ 529685 w 986123"/>
                <a:gd name="connsiteY42" fmla="*/ 1284065 h 128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6123" h="1284160">
                  <a:moveTo>
                    <a:pt x="529590" y="1284160"/>
                  </a:moveTo>
                  <a:cubicBezTo>
                    <a:pt x="434435" y="1284160"/>
                    <a:pt x="341186" y="1267777"/>
                    <a:pt x="249650" y="1235107"/>
                  </a:cubicBezTo>
                  <a:cubicBezTo>
                    <a:pt x="158115" y="1202436"/>
                    <a:pt x="74867" y="1152239"/>
                    <a:pt x="0" y="1084421"/>
                  </a:cubicBezTo>
                  <a:lnTo>
                    <a:pt x="162306" y="890016"/>
                  </a:lnTo>
                  <a:cubicBezTo>
                    <a:pt x="219361" y="936403"/>
                    <a:pt x="277844" y="973264"/>
                    <a:pt x="337947" y="1000601"/>
                  </a:cubicBezTo>
                  <a:cubicBezTo>
                    <a:pt x="397955" y="1027938"/>
                    <a:pt x="463677" y="1041654"/>
                    <a:pt x="535019" y="1041654"/>
                  </a:cubicBezTo>
                  <a:cubicBezTo>
                    <a:pt x="592074" y="1041654"/>
                    <a:pt x="636365" y="1031272"/>
                    <a:pt x="667893" y="1010412"/>
                  </a:cubicBezTo>
                  <a:cubicBezTo>
                    <a:pt x="699421" y="989647"/>
                    <a:pt x="715137" y="960787"/>
                    <a:pt x="715137" y="923925"/>
                  </a:cubicBezTo>
                  <a:lnTo>
                    <a:pt x="715137" y="920305"/>
                  </a:lnTo>
                  <a:cubicBezTo>
                    <a:pt x="715137" y="902494"/>
                    <a:pt x="711803" y="886777"/>
                    <a:pt x="705326" y="873062"/>
                  </a:cubicBezTo>
                  <a:cubicBezTo>
                    <a:pt x="698754" y="859441"/>
                    <a:pt x="686276" y="846582"/>
                    <a:pt x="667798" y="834676"/>
                  </a:cubicBezTo>
                  <a:cubicBezTo>
                    <a:pt x="649319" y="822770"/>
                    <a:pt x="623697" y="810863"/>
                    <a:pt x="590931" y="798957"/>
                  </a:cubicBezTo>
                  <a:cubicBezTo>
                    <a:pt x="558165" y="787146"/>
                    <a:pt x="515493" y="774573"/>
                    <a:pt x="463106" y="761524"/>
                  </a:cubicBezTo>
                  <a:cubicBezTo>
                    <a:pt x="399955" y="746093"/>
                    <a:pt x="342710" y="728853"/>
                    <a:pt x="291465" y="709803"/>
                  </a:cubicBezTo>
                  <a:cubicBezTo>
                    <a:pt x="240221" y="690753"/>
                    <a:pt x="196691" y="667322"/>
                    <a:pt x="160973" y="639318"/>
                  </a:cubicBezTo>
                  <a:cubicBezTo>
                    <a:pt x="125159" y="611410"/>
                    <a:pt x="97536" y="576644"/>
                    <a:pt x="77819" y="535019"/>
                  </a:cubicBezTo>
                  <a:cubicBezTo>
                    <a:pt x="58103" y="493395"/>
                    <a:pt x="48292" y="441674"/>
                    <a:pt x="48292" y="379857"/>
                  </a:cubicBezTo>
                  <a:lnTo>
                    <a:pt x="48292" y="376238"/>
                  </a:lnTo>
                  <a:cubicBezTo>
                    <a:pt x="48292" y="319183"/>
                    <a:pt x="58865" y="267748"/>
                    <a:pt x="80201" y="222028"/>
                  </a:cubicBezTo>
                  <a:cubicBezTo>
                    <a:pt x="101441" y="176308"/>
                    <a:pt x="131255" y="136779"/>
                    <a:pt x="169640" y="103441"/>
                  </a:cubicBezTo>
                  <a:cubicBezTo>
                    <a:pt x="208026" y="70199"/>
                    <a:pt x="253841" y="44577"/>
                    <a:pt x="307181" y="26765"/>
                  </a:cubicBezTo>
                  <a:cubicBezTo>
                    <a:pt x="360426" y="8953"/>
                    <a:pt x="419195" y="0"/>
                    <a:pt x="483394" y="0"/>
                  </a:cubicBezTo>
                  <a:cubicBezTo>
                    <a:pt x="574929" y="0"/>
                    <a:pt x="659035" y="13716"/>
                    <a:pt x="735711" y="41053"/>
                  </a:cubicBezTo>
                  <a:cubicBezTo>
                    <a:pt x="812387" y="68389"/>
                    <a:pt x="882777" y="107632"/>
                    <a:pt x="946976" y="158687"/>
                  </a:cubicBezTo>
                  <a:lnTo>
                    <a:pt x="804291" y="365569"/>
                  </a:lnTo>
                  <a:cubicBezTo>
                    <a:pt x="748379" y="327565"/>
                    <a:pt x="693706" y="297561"/>
                    <a:pt x="640271" y="275558"/>
                  </a:cubicBezTo>
                  <a:cubicBezTo>
                    <a:pt x="586740" y="253555"/>
                    <a:pt x="533305" y="242602"/>
                    <a:pt x="479774" y="242602"/>
                  </a:cubicBezTo>
                  <a:cubicBezTo>
                    <a:pt x="426244" y="242602"/>
                    <a:pt x="386144" y="252984"/>
                    <a:pt x="359378" y="273844"/>
                  </a:cubicBezTo>
                  <a:cubicBezTo>
                    <a:pt x="332613" y="294608"/>
                    <a:pt x="319278" y="320516"/>
                    <a:pt x="319278" y="351377"/>
                  </a:cubicBezTo>
                  <a:lnTo>
                    <a:pt x="319278" y="354997"/>
                  </a:lnTo>
                  <a:cubicBezTo>
                    <a:pt x="319278" y="375190"/>
                    <a:pt x="323183" y="392716"/>
                    <a:pt x="330899" y="407575"/>
                  </a:cubicBezTo>
                  <a:cubicBezTo>
                    <a:pt x="338614" y="422434"/>
                    <a:pt x="352616" y="435864"/>
                    <a:pt x="372904" y="447675"/>
                  </a:cubicBezTo>
                  <a:cubicBezTo>
                    <a:pt x="393192" y="459581"/>
                    <a:pt x="420910" y="470821"/>
                    <a:pt x="456057" y="481489"/>
                  </a:cubicBezTo>
                  <a:cubicBezTo>
                    <a:pt x="491204" y="492157"/>
                    <a:pt x="535591" y="504730"/>
                    <a:pt x="589217" y="518922"/>
                  </a:cubicBezTo>
                  <a:cubicBezTo>
                    <a:pt x="652367" y="535591"/>
                    <a:pt x="708660" y="554260"/>
                    <a:pt x="758190" y="575120"/>
                  </a:cubicBezTo>
                  <a:cubicBezTo>
                    <a:pt x="807625" y="595979"/>
                    <a:pt x="849344" y="620935"/>
                    <a:pt x="883349" y="649986"/>
                  </a:cubicBezTo>
                  <a:cubicBezTo>
                    <a:pt x="917353" y="679132"/>
                    <a:pt x="942975" y="713327"/>
                    <a:pt x="960215" y="752570"/>
                  </a:cubicBezTo>
                  <a:cubicBezTo>
                    <a:pt x="977456" y="791813"/>
                    <a:pt x="986123" y="838772"/>
                    <a:pt x="986123" y="893445"/>
                  </a:cubicBezTo>
                  <a:lnTo>
                    <a:pt x="986123" y="897064"/>
                  </a:lnTo>
                  <a:cubicBezTo>
                    <a:pt x="986123" y="958882"/>
                    <a:pt x="974884" y="1013841"/>
                    <a:pt x="952500" y="1062038"/>
                  </a:cubicBezTo>
                  <a:cubicBezTo>
                    <a:pt x="930021" y="1110139"/>
                    <a:pt x="898779" y="1150620"/>
                    <a:pt x="858584" y="1183291"/>
                  </a:cubicBezTo>
                  <a:cubicBezTo>
                    <a:pt x="818388" y="1216057"/>
                    <a:pt x="770477" y="1241012"/>
                    <a:pt x="714851" y="1258157"/>
                  </a:cubicBezTo>
                  <a:cubicBezTo>
                    <a:pt x="659130" y="1275398"/>
                    <a:pt x="597503" y="1284065"/>
                    <a:pt x="529685" y="1284065"/>
                  </a:cubicBezTo>
                  <a:close/>
                </a:path>
              </a:pathLst>
            </a:custGeom>
            <a:solidFill>
              <a:srgbClr val="44505E"/>
            </a:solidFill>
            <a:ln w="9525" cap="flat">
              <a:noFill/>
              <a:prstDash val="solid"/>
              <a:miter/>
            </a:ln>
          </p:spPr>
          <p:txBody>
            <a:bodyPr rtlCol="0" anchor="ctr"/>
            <a:lstStyle/>
            <a:p>
              <a:endParaRPr lang="pt-BR" noProof="0"/>
            </a:p>
          </p:txBody>
        </p:sp>
        <p:sp>
          <p:nvSpPr>
            <p:cNvPr id="4" name="Freeform: Shape 16">
              <a:extLst>
                <a:ext uri="{FF2B5EF4-FFF2-40B4-BE49-F238E27FC236}">
                  <a16:creationId xmlns:a16="http://schemas.microsoft.com/office/drawing/2014/main" id="{5F2FC6B2-D7FF-8541-7307-564B6D534850}"/>
                </a:ext>
              </a:extLst>
            </p:cNvPr>
            <p:cNvSpPr/>
            <p:nvPr/>
          </p:nvSpPr>
          <p:spPr>
            <a:xfrm>
              <a:off x="5492084" y="310867"/>
              <a:ext cx="332584" cy="315991"/>
            </a:xfrm>
            <a:custGeom>
              <a:avLst/>
              <a:gdLst>
                <a:gd name="connsiteX0" fmla="*/ 534924 w 1323022"/>
                <a:gd name="connsiteY0" fmla="*/ 0 h 1257014"/>
                <a:gd name="connsiteX1" fmla="*/ 788099 w 1323022"/>
                <a:gd name="connsiteY1" fmla="*/ 0 h 1257014"/>
                <a:gd name="connsiteX2" fmla="*/ 1323023 w 1323022"/>
                <a:gd name="connsiteY2" fmla="*/ 1257014 h 1257014"/>
                <a:gd name="connsiteX3" fmla="*/ 1035939 w 1323022"/>
                <a:gd name="connsiteY3" fmla="*/ 1257014 h 1257014"/>
                <a:gd name="connsiteX4" fmla="*/ 921829 w 1323022"/>
                <a:gd name="connsiteY4" fmla="*/ 977075 h 1257014"/>
                <a:gd name="connsiteX5" fmla="*/ 394049 w 1323022"/>
                <a:gd name="connsiteY5" fmla="*/ 977075 h 1257014"/>
                <a:gd name="connsiteX6" fmla="*/ 279940 w 1323022"/>
                <a:gd name="connsiteY6" fmla="*/ 1257014 h 1257014"/>
                <a:gd name="connsiteX7" fmla="*/ 0 w 1323022"/>
                <a:gd name="connsiteY7" fmla="*/ 1257014 h 1257014"/>
                <a:gd name="connsiteX8" fmla="*/ 534924 w 1323022"/>
                <a:gd name="connsiteY8" fmla="*/ 0 h 1257014"/>
                <a:gd name="connsiteX9" fmla="*/ 823817 w 1323022"/>
                <a:gd name="connsiteY9" fmla="*/ 734568 h 1257014"/>
                <a:gd name="connsiteX10" fmla="*/ 657987 w 1323022"/>
                <a:gd name="connsiteY10" fmla="*/ 329851 h 1257014"/>
                <a:gd name="connsiteX11" fmla="*/ 492157 w 1323022"/>
                <a:gd name="connsiteY11" fmla="*/ 734568 h 1257014"/>
                <a:gd name="connsiteX12" fmla="*/ 823817 w 1323022"/>
                <a:gd name="connsiteY12" fmla="*/ 734568 h 125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022" h="1257014">
                  <a:moveTo>
                    <a:pt x="534924" y="0"/>
                  </a:moveTo>
                  <a:lnTo>
                    <a:pt x="788099" y="0"/>
                  </a:lnTo>
                  <a:lnTo>
                    <a:pt x="1323023" y="1257014"/>
                  </a:lnTo>
                  <a:lnTo>
                    <a:pt x="1035939" y="1257014"/>
                  </a:lnTo>
                  <a:lnTo>
                    <a:pt x="921829" y="977075"/>
                  </a:lnTo>
                  <a:lnTo>
                    <a:pt x="394049" y="977075"/>
                  </a:lnTo>
                  <a:lnTo>
                    <a:pt x="279940" y="1257014"/>
                  </a:lnTo>
                  <a:lnTo>
                    <a:pt x="0" y="1257014"/>
                  </a:lnTo>
                  <a:lnTo>
                    <a:pt x="534924" y="0"/>
                  </a:lnTo>
                  <a:close/>
                  <a:moveTo>
                    <a:pt x="823817" y="734568"/>
                  </a:moveTo>
                  <a:lnTo>
                    <a:pt x="657987" y="329851"/>
                  </a:lnTo>
                  <a:lnTo>
                    <a:pt x="492157" y="734568"/>
                  </a:lnTo>
                  <a:lnTo>
                    <a:pt x="823817" y="734568"/>
                  </a:lnTo>
                  <a:close/>
                </a:path>
              </a:pathLst>
            </a:custGeom>
            <a:solidFill>
              <a:srgbClr val="44505E"/>
            </a:solidFill>
            <a:ln w="9525" cap="flat">
              <a:noFill/>
              <a:prstDash val="solid"/>
              <a:miter/>
            </a:ln>
          </p:spPr>
          <p:txBody>
            <a:bodyPr rtlCol="0" anchor="ctr"/>
            <a:lstStyle/>
            <a:p>
              <a:endParaRPr lang="pt-BR" noProof="0"/>
            </a:p>
          </p:txBody>
        </p:sp>
        <p:sp>
          <p:nvSpPr>
            <p:cNvPr id="5" name="Freeform: Shape 17">
              <a:extLst>
                <a:ext uri="{FF2B5EF4-FFF2-40B4-BE49-F238E27FC236}">
                  <a16:creationId xmlns:a16="http://schemas.microsoft.com/office/drawing/2014/main" id="{7E03E7EA-865C-7A8B-A085-EB6D76D1B815}"/>
                </a:ext>
              </a:extLst>
            </p:cNvPr>
            <p:cNvSpPr/>
            <p:nvPr/>
          </p:nvSpPr>
          <p:spPr>
            <a:xfrm>
              <a:off x="5834078" y="211355"/>
              <a:ext cx="273442" cy="420435"/>
            </a:xfrm>
            <a:custGeom>
              <a:avLst/>
              <a:gdLst>
                <a:gd name="connsiteX0" fmla="*/ 540258 w 1087754"/>
                <a:gd name="connsiteY0" fmla="*/ 1672495 h 1672494"/>
                <a:gd name="connsiteX1" fmla="*/ 144399 w 1087754"/>
                <a:gd name="connsiteY1" fmla="*/ 1533430 h 1672494"/>
                <a:gd name="connsiteX2" fmla="*/ 0 w 1087754"/>
                <a:gd name="connsiteY2" fmla="*/ 1117949 h 1672494"/>
                <a:gd name="connsiteX3" fmla="*/ 0 w 1087754"/>
                <a:gd name="connsiteY3" fmla="*/ 404717 h 1672494"/>
                <a:gd name="connsiteX4" fmla="*/ 274606 w 1087754"/>
                <a:gd name="connsiteY4" fmla="*/ 404717 h 1672494"/>
                <a:gd name="connsiteX5" fmla="*/ 274606 w 1087754"/>
                <a:gd name="connsiteY5" fmla="*/ 1110806 h 1672494"/>
                <a:gd name="connsiteX6" fmla="*/ 345948 w 1087754"/>
                <a:gd name="connsiteY6" fmla="*/ 1341692 h 1672494"/>
                <a:gd name="connsiteX7" fmla="*/ 543877 w 1087754"/>
                <a:gd name="connsiteY7" fmla="*/ 1419225 h 1672494"/>
                <a:gd name="connsiteX8" fmla="*/ 741807 w 1087754"/>
                <a:gd name="connsiteY8" fmla="*/ 1344359 h 1672494"/>
                <a:gd name="connsiteX9" fmla="*/ 813149 w 1087754"/>
                <a:gd name="connsiteY9" fmla="*/ 1119664 h 1672494"/>
                <a:gd name="connsiteX10" fmla="*/ 813149 w 1087754"/>
                <a:gd name="connsiteY10" fmla="*/ 404717 h 1672494"/>
                <a:gd name="connsiteX11" fmla="*/ 1087755 w 1087754"/>
                <a:gd name="connsiteY11" fmla="*/ 404717 h 1672494"/>
                <a:gd name="connsiteX12" fmla="*/ 1087755 w 1087754"/>
                <a:gd name="connsiteY12" fmla="*/ 1108996 h 1672494"/>
                <a:gd name="connsiteX13" fmla="*/ 1049369 w 1087754"/>
                <a:gd name="connsiteY13" fmla="*/ 1356836 h 1672494"/>
                <a:gd name="connsiteX14" fmla="*/ 939737 w 1087754"/>
                <a:gd name="connsiteY14" fmla="*/ 1532477 h 1672494"/>
                <a:gd name="connsiteX15" fmla="*/ 766763 w 1087754"/>
                <a:gd name="connsiteY15" fmla="*/ 1637729 h 1672494"/>
                <a:gd name="connsiteX16" fmla="*/ 540353 w 1087754"/>
                <a:gd name="connsiteY16" fmla="*/ 1672495 h 1672494"/>
                <a:gd name="connsiteX17" fmla="*/ 622268 w 1087754"/>
                <a:gd name="connsiteY17" fmla="*/ 0 h 1672494"/>
                <a:gd name="connsiteX18" fmla="*/ 855821 w 1087754"/>
                <a:gd name="connsiteY18" fmla="*/ 101632 h 1672494"/>
                <a:gd name="connsiteX19" fmla="*/ 627602 w 1087754"/>
                <a:gd name="connsiteY19" fmla="*/ 315563 h 1672494"/>
                <a:gd name="connsiteX20" fmla="*/ 420719 w 1087754"/>
                <a:gd name="connsiteY20" fmla="*/ 315563 h 1672494"/>
                <a:gd name="connsiteX21" fmla="*/ 622268 w 1087754"/>
                <a:gd name="connsiteY21" fmla="*/ 0 h 16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754" h="1672494">
                  <a:moveTo>
                    <a:pt x="540258" y="1672495"/>
                  </a:moveTo>
                  <a:cubicBezTo>
                    <a:pt x="372618" y="1672495"/>
                    <a:pt x="240697" y="1626108"/>
                    <a:pt x="144399" y="1533430"/>
                  </a:cubicBezTo>
                  <a:cubicBezTo>
                    <a:pt x="48101" y="1440752"/>
                    <a:pt x="0" y="1302258"/>
                    <a:pt x="0" y="1117949"/>
                  </a:cubicBezTo>
                  <a:lnTo>
                    <a:pt x="0" y="404717"/>
                  </a:lnTo>
                  <a:lnTo>
                    <a:pt x="274606" y="404717"/>
                  </a:lnTo>
                  <a:lnTo>
                    <a:pt x="274606" y="1110806"/>
                  </a:lnTo>
                  <a:cubicBezTo>
                    <a:pt x="274606" y="1213009"/>
                    <a:pt x="298418" y="1289971"/>
                    <a:pt x="345948" y="1341692"/>
                  </a:cubicBezTo>
                  <a:cubicBezTo>
                    <a:pt x="393478" y="1393412"/>
                    <a:pt x="459486" y="1419225"/>
                    <a:pt x="543877" y="1419225"/>
                  </a:cubicBezTo>
                  <a:cubicBezTo>
                    <a:pt x="628269" y="1419225"/>
                    <a:pt x="694277" y="1394270"/>
                    <a:pt x="741807" y="1344359"/>
                  </a:cubicBezTo>
                  <a:cubicBezTo>
                    <a:pt x="789337" y="1294448"/>
                    <a:pt x="813149" y="1219581"/>
                    <a:pt x="813149" y="1119664"/>
                  </a:cubicBezTo>
                  <a:lnTo>
                    <a:pt x="813149" y="404717"/>
                  </a:lnTo>
                  <a:lnTo>
                    <a:pt x="1087755" y="404717"/>
                  </a:lnTo>
                  <a:lnTo>
                    <a:pt x="1087755" y="1108996"/>
                  </a:lnTo>
                  <a:cubicBezTo>
                    <a:pt x="1087755" y="1204151"/>
                    <a:pt x="1074992" y="1286732"/>
                    <a:pt x="1049369" y="1356836"/>
                  </a:cubicBezTo>
                  <a:cubicBezTo>
                    <a:pt x="1023747" y="1426940"/>
                    <a:pt x="987266" y="1485519"/>
                    <a:pt x="939737" y="1532477"/>
                  </a:cubicBezTo>
                  <a:cubicBezTo>
                    <a:pt x="892207" y="1579436"/>
                    <a:pt x="834485" y="1614488"/>
                    <a:pt x="766763" y="1637729"/>
                  </a:cubicBezTo>
                  <a:cubicBezTo>
                    <a:pt x="699040" y="1660874"/>
                    <a:pt x="623507" y="1672495"/>
                    <a:pt x="540353" y="1672495"/>
                  </a:cubicBezTo>
                  <a:close/>
                  <a:moveTo>
                    <a:pt x="622268" y="0"/>
                  </a:moveTo>
                  <a:lnTo>
                    <a:pt x="855821" y="101632"/>
                  </a:lnTo>
                  <a:lnTo>
                    <a:pt x="627602" y="315563"/>
                  </a:lnTo>
                  <a:lnTo>
                    <a:pt x="420719" y="315563"/>
                  </a:lnTo>
                  <a:lnTo>
                    <a:pt x="622268" y="0"/>
                  </a:lnTo>
                  <a:close/>
                </a:path>
              </a:pathLst>
            </a:custGeom>
            <a:solidFill>
              <a:srgbClr val="44505E"/>
            </a:solidFill>
            <a:ln w="9525" cap="flat">
              <a:noFill/>
              <a:prstDash val="solid"/>
              <a:miter/>
            </a:ln>
          </p:spPr>
          <p:txBody>
            <a:bodyPr rtlCol="0" anchor="ctr"/>
            <a:lstStyle/>
            <a:p>
              <a:endParaRPr lang="pt-BR" noProof="0"/>
            </a:p>
          </p:txBody>
        </p:sp>
        <p:sp>
          <p:nvSpPr>
            <p:cNvPr id="6" name="Freeform: Shape 18">
              <a:extLst>
                <a:ext uri="{FF2B5EF4-FFF2-40B4-BE49-F238E27FC236}">
                  <a16:creationId xmlns:a16="http://schemas.microsoft.com/office/drawing/2014/main" id="{17BC2AE7-56D6-DAB8-57C7-BA59099B0082}"/>
                </a:ext>
              </a:extLst>
            </p:cNvPr>
            <p:cNvSpPr/>
            <p:nvPr/>
          </p:nvSpPr>
          <p:spPr>
            <a:xfrm>
              <a:off x="6143795" y="313094"/>
              <a:ext cx="289101" cy="313764"/>
            </a:xfrm>
            <a:custGeom>
              <a:avLst/>
              <a:gdLst>
                <a:gd name="connsiteX0" fmla="*/ 0 w 1150048"/>
                <a:gd name="connsiteY0" fmla="*/ 0 h 1248155"/>
                <a:gd name="connsiteX1" fmla="*/ 486728 w 1150048"/>
                <a:gd name="connsiteY1" fmla="*/ 0 h 1248155"/>
                <a:gd name="connsiteX2" fmla="*/ 755047 w 1150048"/>
                <a:gd name="connsiteY2" fmla="*/ 47244 h 1248155"/>
                <a:gd name="connsiteX3" fmla="*/ 965454 w 1150048"/>
                <a:gd name="connsiteY3" fmla="*/ 178308 h 1248155"/>
                <a:gd name="connsiteX4" fmla="*/ 1101852 w 1150048"/>
                <a:gd name="connsiteY4" fmla="*/ 375380 h 1248155"/>
                <a:gd name="connsiteX5" fmla="*/ 1150049 w 1150048"/>
                <a:gd name="connsiteY5" fmla="*/ 620554 h 1248155"/>
                <a:gd name="connsiteX6" fmla="*/ 1150049 w 1150048"/>
                <a:gd name="connsiteY6" fmla="*/ 624173 h 1248155"/>
                <a:gd name="connsiteX7" fmla="*/ 1101852 w 1150048"/>
                <a:gd name="connsiteY7" fmla="*/ 870204 h 1248155"/>
                <a:gd name="connsiteX8" fmla="*/ 965454 w 1150048"/>
                <a:gd name="connsiteY8" fmla="*/ 1068134 h 1248155"/>
                <a:gd name="connsiteX9" fmla="*/ 755047 w 1150048"/>
                <a:gd name="connsiteY9" fmla="*/ 1200055 h 1248155"/>
                <a:gd name="connsiteX10" fmla="*/ 486728 w 1150048"/>
                <a:gd name="connsiteY10" fmla="*/ 1248156 h 1248155"/>
                <a:gd name="connsiteX11" fmla="*/ 0 w 1150048"/>
                <a:gd name="connsiteY11" fmla="*/ 1248156 h 1248155"/>
                <a:gd name="connsiteX12" fmla="*/ 0 w 1150048"/>
                <a:gd name="connsiteY12" fmla="*/ 0 h 1248155"/>
                <a:gd name="connsiteX13" fmla="*/ 486728 w 1150048"/>
                <a:gd name="connsiteY13" fmla="*/ 1000315 h 1248155"/>
                <a:gd name="connsiteX14" fmla="*/ 640080 w 1150048"/>
                <a:gd name="connsiteY14" fmla="*/ 973550 h 1248155"/>
                <a:gd name="connsiteX15" fmla="*/ 758667 w 1150048"/>
                <a:gd name="connsiteY15" fmla="*/ 896874 h 1248155"/>
                <a:gd name="connsiteX16" fmla="*/ 835343 w 1150048"/>
                <a:gd name="connsiteY16" fmla="*/ 779240 h 1248155"/>
                <a:gd name="connsiteX17" fmla="*/ 862965 w 1150048"/>
                <a:gd name="connsiteY17" fmla="*/ 627698 h 1248155"/>
                <a:gd name="connsiteX18" fmla="*/ 862965 w 1150048"/>
                <a:gd name="connsiteY18" fmla="*/ 624078 h 1248155"/>
                <a:gd name="connsiteX19" fmla="*/ 835343 w 1150048"/>
                <a:gd name="connsiteY19" fmla="*/ 472535 h 1248155"/>
                <a:gd name="connsiteX20" fmla="*/ 758667 w 1150048"/>
                <a:gd name="connsiteY20" fmla="*/ 353092 h 1248155"/>
                <a:gd name="connsiteX21" fmla="*/ 640080 w 1150048"/>
                <a:gd name="connsiteY21" fmla="*/ 275558 h 1248155"/>
                <a:gd name="connsiteX22" fmla="*/ 486728 w 1150048"/>
                <a:gd name="connsiteY22" fmla="*/ 247936 h 1248155"/>
                <a:gd name="connsiteX23" fmla="*/ 274511 w 1150048"/>
                <a:gd name="connsiteY23" fmla="*/ 247936 h 1248155"/>
                <a:gd name="connsiteX24" fmla="*/ 274511 w 1150048"/>
                <a:gd name="connsiteY24" fmla="*/ 1000411 h 1248155"/>
                <a:gd name="connsiteX25" fmla="*/ 486728 w 1150048"/>
                <a:gd name="connsiteY25" fmla="*/ 1000411 h 124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50048" h="1248155">
                  <a:moveTo>
                    <a:pt x="0" y="0"/>
                  </a:moveTo>
                  <a:lnTo>
                    <a:pt x="486728" y="0"/>
                  </a:lnTo>
                  <a:cubicBezTo>
                    <a:pt x="584168" y="0"/>
                    <a:pt x="673608" y="15811"/>
                    <a:pt x="755047" y="47244"/>
                  </a:cubicBezTo>
                  <a:cubicBezTo>
                    <a:pt x="836486" y="78772"/>
                    <a:pt x="906590" y="122396"/>
                    <a:pt x="965454" y="178308"/>
                  </a:cubicBezTo>
                  <a:cubicBezTo>
                    <a:pt x="1024319" y="234220"/>
                    <a:pt x="1069753" y="299847"/>
                    <a:pt x="1101852" y="375380"/>
                  </a:cubicBezTo>
                  <a:cubicBezTo>
                    <a:pt x="1133951" y="450914"/>
                    <a:pt x="1150049" y="532543"/>
                    <a:pt x="1150049" y="620554"/>
                  </a:cubicBezTo>
                  <a:lnTo>
                    <a:pt x="1150049" y="624173"/>
                  </a:lnTo>
                  <a:cubicBezTo>
                    <a:pt x="1150049" y="712184"/>
                    <a:pt x="1133951" y="794195"/>
                    <a:pt x="1101852" y="870204"/>
                  </a:cubicBezTo>
                  <a:cubicBezTo>
                    <a:pt x="1069753" y="946309"/>
                    <a:pt x="1024319" y="1012222"/>
                    <a:pt x="965454" y="1068134"/>
                  </a:cubicBezTo>
                  <a:cubicBezTo>
                    <a:pt x="906590" y="1124045"/>
                    <a:pt x="836486" y="1167956"/>
                    <a:pt x="755047" y="1200055"/>
                  </a:cubicBezTo>
                  <a:cubicBezTo>
                    <a:pt x="673608" y="1232154"/>
                    <a:pt x="584168" y="1248156"/>
                    <a:pt x="486728" y="1248156"/>
                  </a:cubicBezTo>
                  <a:lnTo>
                    <a:pt x="0" y="1248156"/>
                  </a:lnTo>
                  <a:lnTo>
                    <a:pt x="0" y="0"/>
                  </a:lnTo>
                  <a:close/>
                  <a:moveTo>
                    <a:pt x="486728" y="1000315"/>
                  </a:moveTo>
                  <a:cubicBezTo>
                    <a:pt x="542639" y="1000315"/>
                    <a:pt x="593693" y="991457"/>
                    <a:pt x="640080" y="973550"/>
                  </a:cubicBezTo>
                  <a:cubicBezTo>
                    <a:pt x="686467" y="955739"/>
                    <a:pt x="725900" y="930211"/>
                    <a:pt x="758667" y="896874"/>
                  </a:cubicBezTo>
                  <a:cubicBezTo>
                    <a:pt x="791337" y="863632"/>
                    <a:pt x="816864" y="824389"/>
                    <a:pt x="835343" y="779240"/>
                  </a:cubicBezTo>
                  <a:cubicBezTo>
                    <a:pt x="853726" y="734092"/>
                    <a:pt x="862965" y="683609"/>
                    <a:pt x="862965" y="627698"/>
                  </a:cubicBezTo>
                  <a:lnTo>
                    <a:pt x="862965" y="624078"/>
                  </a:lnTo>
                  <a:cubicBezTo>
                    <a:pt x="862965" y="569404"/>
                    <a:pt x="853726" y="518827"/>
                    <a:pt x="835343" y="472535"/>
                  </a:cubicBezTo>
                  <a:cubicBezTo>
                    <a:pt x="816864" y="426149"/>
                    <a:pt x="791337" y="386334"/>
                    <a:pt x="758667" y="353092"/>
                  </a:cubicBezTo>
                  <a:cubicBezTo>
                    <a:pt x="725996" y="319849"/>
                    <a:pt x="686467" y="293941"/>
                    <a:pt x="640080" y="275558"/>
                  </a:cubicBezTo>
                  <a:cubicBezTo>
                    <a:pt x="593693" y="257175"/>
                    <a:pt x="542639" y="247936"/>
                    <a:pt x="486728" y="247936"/>
                  </a:cubicBezTo>
                  <a:lnTo>
                    <a:pt x="274511" y="247936"/>
                  </a:lnTo>
                  <a:lnTo>
                    <a:pt x="274511" y="1000411"/>
                  </a:lnTo>
                  <a:lnTo>
                    <a:pt x="486728" y="1000411"/>
                  </a:lnTo>
                  <a:close/>
                </a:path>
              </a:pathLst>
            </a:custGeom>
            <a:solidFill>
              <a:srgbClr val="44505E"/>
            </a:solidFill>
            <a:ln w="9525" cap="flat">
              <a:noFill/>
              <a:prstDash val="solid"/>
              <a:miter/>
            </a:ln>
          </p:spPr>
          <p:txBody>
            <a:bodyPr rtlCol="0" anchor="ctr"/>
            <a:lstStyle/>
            <a:p>
              <a:endParaRPr lang="pt-BR" noProof="0"/>
            </a:p>
          </p:txBody>
        </p:sp>
        <p:sp>
          <p:nvSpPr>
            <p:cNvPr id="7" name="Freeform: Shape 19">
              <a:extLst>
                <a:ext uri="{FF2B5EF4-FFF2-40B4-BE49-F238E27FC236}">
                  <a16:creationId xmlns:a16="http://schemas.microsoft.com/office/drawing/2014/main" id="{E780AD81-7C84-7162-D97F-3EDD9A0F3D4F}"/>
                </a:ext>
              </a:extLst>
            </p:cNvPr>
            <p:cNvSpPr/>
            <p:nvPr/>
          </p:nvSpPr>
          <p:spPr>
            <a:xfrm>
              <a:off x="6460217" y="313094"/>
              <a:ext cx="238459" cy="313788"/>
            </a:xfrm>
            <a:custGeom>
              <a:avLst/>
              <a:gdLst>
                <a:gd name="connsiteX0" fmla="*/ 95 w 948594"/>
                <a:gd name="connsiteY0" fmla="*/ 0 h 1248251"/>
                <a:gd name="connsiteX1" fmla="*/ 939737 w 948594"/>
                <a:gd name="connsiteY1" fmla="*/ 0 h 1248251"/>
                <a:gd name="connsiteX2" fmla="*/ 939737 w 948594"/>
                <a:gd name="connsiteY2" fmla="*/ 244316 h 1248251"/>
                <a:gd name="connsiteX3" fmla="*/ 271081 w 948594"/>
                <a:gd name="connsiteY3" fmla="*/ 244316 h 1248251"/>
                <a:gd name="connsiteX4" fmla="*/ 271081 w 948594"/>
                <a:gd name="connsiteY4" fmla="*/ 497491 h 1248251"/>
                <a:gd name="connsiteX5" fmla="*/ 859441 w 948594"/>
                <a:gd name="connsiteY5" fmla="*/ 497491 h 1248251"/>
                <a:gd name="connsiteX6" fmla="*/ 859441 w 948594"/>
                <a:gd name="connsiteY6" fmla="*/ 741807 h 1248251"/>
                <a:gd name="connsiteX7" fmla="*/ 271081 w 948594"/>
                <a:gd name="connsiteY7" fmla="*/ 741807 h 1248251"/>
                <a:gd name="connsiteX8" fmla="*/ 271081 w 948594"/>
                <a:gd name="connsiteY8" fmla="*/ 1003935 h 1248251"/>
                <a:gd name="connsiteX9" fmla="*/ 948595 w 948594"/>
                <a:gd name="connsiteY9" fmla="*/ 1003935 h 1248251"/>
                <a:gd name="connsiteX10" fmla="*/ 948595 w 948594"/>
                <a:gd name="connsiteY10" fmla="*/ 1248251 h 1248251"/>
                <a:gd name="connsiteX11" fmla="*/ 0 w 948594"/>
                <a:gd name="connsiteY11" fmla="*/ 1248251 h 1248251"/>
                <a:gd name="connsiteX12" fmla="*/ 0 w 948594"/>
                <a:gd name="connsiteY12" fmla="*/ 0 h 124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594" h="1248251">
                  <a:moveTo>
                    <a:pt x="95" y="0"/>
                  </a:moveTo>
                  <a:lnTo>
                    <a:pt x="939737" y="0"/>
                  </a:lnTo>
                  <a:lnTo>
                    <a:pt x="939737" y="244316"/>
                  </a:lnTo>
                  <a:lnTo>
                    <a:pt x="271081" y="244316"/>
                  </a:lnTo>
                  <a:lnTo>
                    <a:pt x="271081" y="497491"/>
                  </a:lnTo>
                  <a:lnTo>
                    <a:pt x="859441" y="497491"/>
                  </a:lnTo>
                  <a:lnTo>
                    <a:pt x="859441" y="741807"/>
                  </a:lnTo>
                  <a:lnTo>
                    <a:pt x="271081" y="741807"/>
                  </a:lnTo>
                  <a:lnTo>
                    <a:pt x="271081" y="1003935"/>
                  </a:lnTo>
                  <a:lnTo>
                    <a:pt x="948595" y="1003935"/>
                  </a:lnTo>
                  <a:lnTo>
                    <a:pt x="948595" y="1248251"/>
                  </a:lnTo>
                  <a:lnTo>
                    <a:pt x="0" y="1248251"/>
                  </a:lnTo>
                  <a:lnTo>
                    <a:pt x="0" y="0"/>
                  </a:lnTo>
                  <a:close/>
                </a:path>
              </a:pathLst>
            </a:custGeom>
            <a:solidFill>
              <a:srgbClr val="44505E"/>
            </a:solidFill>
            <a:ln w="9525" cap="flat">
              <a:noFill/>
              <a:prstDash val="solid"/>
              <a:miter/>
            </a:ln>
          </p:spPr>
          <p:txBody>
            <a:bodyPr rtlCol="0" anchor="ctr"/>
            <a:lstStyle/>
            <a:p>
              <a:endParaRPr lang="pt-BR" noProof="0"/>
            </a:p>
          </p:txBody>
        </p:sp>
        <p:sp>
          <p:nvSpPr>
            <p:cNvPr id="8" name="Freeform: Shape 20">
              <a:extLst>
                <a:ext uri="{FF2B5EF4-FFF2-40B4-BE49-F238E27FC236}">
                  <a16:creationId xmlns:a16="http://schemas.microsoft.com/office/drawing/2014/main" id="{D4457991-4EE4-DCE4-34D7-DE5C06F1615A}"/>
                </a:ext>
              </a:extLst>
            </p:cNvPr>
            <p:cNvSpPr/>
            <p:nvPr/>
          </p:nvSpPr>
          <p:spPr>
            <a:xfrm>
              <a:off x="5253193" y="699983"/>
              <a:ext cx="90796" cy="97883"/>
            </a:xfrm>
            <a:custGeom>
              <a:avLst/>
              <a:gdLst>
                <a:gd name="connsiteX0" fmla="*/ 191548 w 361187"/>
                <a:gd name="connsiteY0" fmla="*/ 389382 h 389381"/>
                <a:gd name="connsiteX1" fmla="*/ 116300 w 361187"/>
                <a:gd name="connsiteY1" fmla="*/ 375285 h 389381"/>
                <a:gd name="connsiteX2" fmla="*/ 55531 w 361187"/>
                <a:gd name="connsiteY2" fmla="*/ 335756 h 389381"/>
                <a:gd name="connsiteX3" fmla="*/ 14859 w 361187"/>
                <a:gd name="connsiteY3" fmla="*/ 274606 h 389381"/>
                <a:gd name="connsiteX4" fmla="*/ 0 w 361187"/>
                <a:gd name="connsiteY4" fmla="*/ 195834 h 389381"/>
                <a:gd name="connsiteX5" fmla="*/ 0 w 361187"/>
                <a:gd name="connsiteY5" fmla="*/ 194405 h 389381"/>
                <a:gd name="connsiteX6" fmla="*/ 13430 w 361187"/>
                <a:gd name="connsiteY6" fmla="*/ 118777 h 389381"/>
                <a:gd name="connsiteX7" fmla="*/ 51245 w 361187"/>
                <a:gd name="connsiteY7" fmla="*/ 56959 h 389381"/>
                <a:gd name="connsiteX8" fmla="*/ 108871 w 361187"/>
                <a:gd name="connsiteY8" fmla="*/ 15240 h 389381"/>
                <a:gd name="connsiteX9" fmla="*/ 182404 w 361187"/>
                <a:gd name="connsiteY9" fmla="*/ 0 h 389381"/>
                <a:gd name="connsiteX10" fmla="*/ 260509 w 361187"/>
                <a:gd name="connsiteY10" fmla="*/ 16288 h 389381"/>
                <a:gd name="connsiteX11" fmla="*/ 316325 w 361187"/>
                <a:gd name="connsiteY11" fmla="*/ 60103 h 389381"/>
                <a:gd name="connsiteX12" fmla="*/ 349853 w 361187"/>
                <a:gd name="connsiteY12" fmla="*/ 124015 h 389381"/>
                <a:gd name="connsiteX13" fmla="*/ 361188 w 361187"/>
                <a:gd name="connsiteY13" fmla="*/ 200692 h 389381"/>
                <a:gd name="connsiteX14" fmla="*/ 360807 w 361187"/>
                <a:gd name="connsiteY14" fmla="*/ 212312 h 389381"/>
                <a:gd name="connsiteX15" fmla="*/ 359759 w 361187"/>
                <a:gd name="connsiteY15" fmla="*/ 224695 h 389381"/>
                <a:gd name="connsiteX16" fmla="*/ 85534 w 361187"/>
                <a:gd name="connsiteY16" fmla="*/ 224695 h 389381"/>
                <a:gd name="connsiteX17" fmla="*/ 121920 w 361187"/>
                <a:gd name="connsiteY17" fmla="*/ 294989 h 389381"/>
                <a:gd name="connsiteX18" fmla="*/ 192977 w 361187"/>
                <a:gd name="connsiteY18" fmla="*/ 319373 h 389381"/>
                <a:gd name="connsiteX19" fmla="*/ 248126 w 361187"/>
                <a:gd name="connsiteY19" fmla="*/ 308038 h 389381"/>
                <a:gd name="connsiteX20" fmla="*/ 294037 w 361187"/>
                <a:gd name="connsiteY20" fmla="*/ 274796 h 389381"/>
                <a:gd name="connsiteX21" fmla="*/ 344234 w 361187"/>
                <a:gd name="connsiteY21" fmla="*/ 319278 h 389381"/>
                <a:gd name="connsiteX22" fmla="*/ 280226 w 361187"/>
                <a:gd name="connsiteY22" fmla="*/ 370141 h 389381"/>
                <a:gd name="connsiteX23" fmla="*/ 191548 w 361187"/>
                <a:gd name="connsiteY23" fmla="*/ 389191 h 389381"/>
                <a:gd name="connsiteX24" fmla="*/ 276320 w 361187"/>
                <a:gd name="connsiteY24" fmla="*/ 168211 h 389381"/>
                <a:gd name="connsiteX25" fmla="*/ 267176 w 361187"/>
                <a:gd name="connsiteY25" fmla="*/ 129730 h 389381"/>
                <a:gd name="connsiteX26" fmla="*/ 248126 w 361187"/>
                <a:gd name="connsiteY26" fmla="*/ 98679 h 389381"/>
                <a:gd name="connsiteX27" fmla="*/ 219551 w 361187"/>
                <a:gd name="connsiteY27" fmla="*/ 77819 h 389381"/>
                <a:gd name="connsiteX28" fmla="*/ 181737 w 361187"/>
                <a:gd name="connsiteY28" fmla="*/ 70009 h 389381"/>
                <a:gd name="connsiteX29" fmla="*/ 116396 w 361187"/>
                <a:gd name="connsiteY29" fmla="*/ 97250 h 389381"/>
                <a:gd name="connsiteX30" fmla="*/ 84963 w 361187"/>
                <a:gd name="connsiteY30" fmla="*/ 168307 h 389381"/>
                <a:gd name="connsiteX31" fmla="*/ 276511 w 361187"/>
                <a:gd name="connsiteY31" fmla="*/ 168307 h 38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187" h="389381">
                  <a:moveTo>
                    <a:pt x="191548" y="389382"/>
                  </a:moveTo>
                  <a:cubicBezTo>
                    <a:pt x="164687" y="389382"/>
                    <a:pt x="139637" y="384715"/>
                    <a:pt x="116300" y="375285"/>
                  </a:cubicBezTo>
                  <a:cubicBezTo>
                    <a:pt x="92964" y="365855"/>
                    <a:pt x="72771" y="352711"/>
                    <a:pt x="55531" y="335756"/>
                  </a:cubicBezTo>
                  <a:cubicBezTo>
                    <a:pt x="38291" y="318802"/>
                    <a:pt x="24765" y="298418"/>
                    <a:pt x="14859" y="274606"/>
                  </a:cubicBezTo>
                  <a:cubicBezTo>
                    <a:pt x="4953" y="250793"/>
                    <a:pt x="0" y="224599"/>
                    <a:pt x="0" y="195834"/>
                  </a:cubicBezTo>
                  <a:lnTo>
                    <a:pt x="0" y="194405"/>
                  </a:lnTo>
                  <a:cubicBezTo>
                    <a:pt x="0" y="167545"/>
                    <a:pt x="4477" y="142399"/>
                    <a:pt x="13430" y="118777"/>
                  </a:cubicBezTo>
                  <a:cubicBezTo>
                    <a:pt x="22384" y="95250"/>
                    <a:pt x="34957" y="74581"/>
                    <a:pt x="51245" y="56959"/>
                  </a:cubicBezTo>
                  <a:cubicBezTo>
                    <a:pt x="67532" y="39338"/>
                    <a:pt x="86677" y="25432"/>
                    <a:pt x="108871" y="15240"/>
                  </a:cubicBezTo>
                  <a:cubicBezTo>
                    <a:pt x="131064" y="5143"/>
                    <a:pt x="155543" y="0"/>
                    <a:pt x="182404" y="0"/>
                  </a:cubicBezTo>
                  <a:cubicBezTo>
                    <a:pt x="212122" y="0"/>
                    <a:pt x="238125" y="5429"/>
                    <a:pt x="260509" y="16288"/>
                  </a:cubicBezTo>
                  <a:cubicBezTo>
                    <a:pt x="282893" y="27146"/>
                    <a:pt x="301466" y="41719"/>
                    <a:pt x="316325" y="60103"/>
                  </a:cubicBezTo>
                  <a:cubicBezTo>
                    <a:pt x="331184" y="78486"/>
                    <a:pt x="342329" y="99822"/>
                    <a:pt x="349853" y="124015"/>
                  </a:cubicBezTo>
                  <a:cubicBezTo>
                    <a:pt x="357378" y="148304"/>
                    <a:pt x="361188" y="173831"/>
                    <a:pt x="361188" y="200692"/>
                  </a:cubicBezTo>
                  <a:cubicBezTo>
                    <a:pt x="361188" y="204502"/>
                    <a:pt x="361093" y="208312"/>
                    <a:pt x="360807" y="212312"/>
                  </a:cubicBezTo>
                  <a:cubicBezTo>
                    <a:pt x="360521" y="216313"/>
                    <a:pt x="360236" y="220409"/>
                    <a:pt x="359759" y="224695"/>
                  </a:cubicBezTo>
                  <a:lnTo>
                    <a:pt x="85534" y="224695"/>
                  </a:lnTo>
                  <a:cubicBezTo>
                    <a:pt x="90202" y="255365"/>
                    <a:pt x="102394" y="278797"/>
                    <a:pt x="121920" y="294989"/>
                  </a:cubicBezTo>
                  <a:cubicBezTo>
                    <a:pt x="141446" y="311277"/>
                    <a:pt x="165164" y="319373"/>
                    <a:pt x="192977" y="319373"/>
                  </a:cubicBezTo>
                  <a:cubicBezTo>
                    <a:pt x="214217" y="319373"/>
                    <a:pt x="232505" y="315563"/>
                    <a:pt x="248126" y="308038"/>
                  </a:cubicBezTo>
                  <a:cubicBezTo>
                    <a:pt x="263652" y="300514"/>
                    <a:pt x="278987" y="289465"/>
                    <a:pt x="294037" y="274796"/>
                  </a:cubicBezTo>
                  <a:lnTo>
                    <a:pt x="344234" y="319278"/>
                  </a:lnTo>
                  <a:cubicBezTo>
                    <a:pt x="326327" y="340519"/>
                    <a:pt x="304991" y="357473"/>
                    <a:pt x="280226" y="370141"/>
                  </a:cubicBezTo>
                  <a:cubicBezTo>
                    <a:pt x="255461" y="382810"/>
                    <a:pt x="225933" y="389191"/>
                    <a:pt x="191548" y="389191"/>
                  </a:cubicBezTo>
                  <a:close/>
                  <a:moveTo>
                    <a:pt x="276320" y="168211"/>
                  </a:moveTo>
                  <a:cubicBezTo>
                    <a:pt x="274892" y="154591"/>
                    <a:pt x="271844" y="141732"/>
                    <a:pt x="267176" y="129730"/>
                  </a:cubicBezTo>
                  <a:cubicBezTo>
                    <a:pt x="262414" y="117729"/>
                    <a:pt x="256127" y="107347"/>
                    <a:pt x="248126" y="98679"/>
                  </a:cubicBezTo>
                  <a:cubicBezTo>
                    <a:pt x="240125" y="89916"/>
                    <a:pt x="230600" y="82963"/>
                    <a:pt x="219551" y="77819"/>
                  </a:cubicBezTo>
                  <a:cubicBezTo>
                    <a:pt x="208502" y="72676"/>
                    <a:pt x="195834" y="70009"/>
                    <a:pt x="181737" y="70009"/>
                  </a:cubicBezTo>
                  <a:cubicBezTo>
                    <a:pt x="155353" y="70009"/>
                    <a:pt x="133541" y="79057"/>
                    <a:pt x="116396" y="97250"/>
                  </a:cubicBezTo>
                  <a:cubicBezTo>
                    <a:pt x="99155" y="115348"/>
                    <a:pt x="88678" y="139065"/>
                    <a:pt x="84963" y="168307"/>
                  </a:cubicBezTo>
                  <a:lnTo>
                    <a:pt x="276511" y="168307"/>
                  </a:lnTo>
                  <a:close/>
                </a:path>
              </a:pathLst>
            </a:custGeom>
            <a:solidFill>
              <a:srgbClr val="44505E"/>
            </a:solidFill>
            <a:ln w="9525" cap="flat">
              <a:noFill/>
              <a:prstDash val="solid"/>
              <a:miter/>
            </a:ln>
          </p:spPr>
          <p:txBody>
            <a:bodyPr rtlCol="0" anchor="ctr"/>
            <a:lstStyle/>
            <a:p>
              <a:endParaRPr lang="pt-BR" noProof="0"/>
            </a:p>
          </p:txBody>
        </p:sp>
        <p:sp>
          <p:nvSpPr>
            <p:cNvPr id="9" name="Freeform: Shape 21">
              <a:extLst>
                <a:ext uri="{FF2B5EF4-FFF2-40B4-BE49-F238E27FC236}">
                  <a16:creationId xmlns:a16="http://schemas.microsoft.com/office/drawing/2014/main" id="{43FC960A-2D6D-0BB2-7B78-CF16DBBD82B3}"/>
                </a:ext>
              </a:extLst>
            </p:cNvPr>
            <p:cNvSpPr/>
            <p:nvPr/>
          </p:nvSpPr>
          <p:spPr>
            <a:xfrm>
              <a:off x="5365659"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5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8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3 w 568166"/>
                <a:gd name="connsiteY21" fmla="*/ 381000 h 381000"/>
                <a:gd name="connsiteX22" fmla="*/ 240983 w 568166"/>
                <a:gd name="connsiteY22" fmla="*/ 168783 h 381000"/>
                <a:gd name="connsiteX23" fmla="*/ 221266 w 568166"/>
                <a:gd name="connsiteY23" fmla="*/ 101822 h 381000"/>
                <a:gd name="connsiteX24" fmla="*/ 165640 w 568166"/>
                <a:gd name="connsiteY24" fmla="*/ 78581 h 381000"/>
                <a:gd name="connsiteX25" fmla="*/ 108014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70" y="48196"/>
                    <a:pt x="105918" y="40576"/>
                  </a:cubicBezTo>
                  <a:cubicBezTo>
                    <a:pt x="112967" y="32956"/>
                    <a:pt x="121063" y="26099"/>
                    <a:pt x="130207" y="19907"/>
                  </a:cubicBezTo>
                  <a:cubicBezTo>
                    <a:pt x="139351" y="13716"/>
                    <a:pt x="149733" y="8858"/>
                    <a:pt x="161163" y="5334"/>
                  </a:cubicBezTo>
                  <a:cubicBezTo>
                    <a:pt x="172688" y="1714"/>
                    <a:pt x="185452" y="0"/>
                    <a:pt x="199549" y="0"/>
                  </a:cubicBezTo>
                  <a:cubicBezTo>
                    <a:pt x="226314" y="0"/>
                    <a:pt x="248984" y="6096"/>
                    <a:pt x="267557" y="18193"/>
                  </a:cubicBezTo>
                  <a:cubicBezTo>
                    <a:pt x="286131" y="30289"/>
                    <a:pt x="300323" y="46387"/>
                    <a:pt x="310134" y="66294"/>
                  </a:cubicBezTo>
                  <a:cubicBezTo>
                    <a:pt x="325279" y="46387"/>
                    <a:pt x="343091" y="30289"/>
                    <a:pt x="363665" y="18193"/>
                  </a:cubicBezTo>
                  <a:cubicBezTo>
                    <a:pt x="384239" y="6096"/>
                    <a:pt x="408718" y="0"/>
                    <a:pt x="437007" y="0"/>
                  </a:cubicBezTo>
                  <a:cubicBezTo>
                    <a:pt x="478060"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8" y="78486"/>
                  </a:cubicBezTo>
                  <a:cubicBezTo>
                    <a:pt x="382810" y="78486"/>
                    <a:pt x="364141" y="86392"/>
                    <a:pt x="349377" y="102108"/>
                  </a:cubicBezTo>
                  <a:cubicBezTo>
                    <a:pt x="334613" y="117824"/>
                    <a:pt x="327184" y="140779"/>
                    <a:pt x="327184" y="170879"/>
                  </a:cubicBezTo>
                  <a:lnTo>
                    <a:pt x="327184" y="381000"/>
                  </a:lnTo>
                  <a:lnTo>
                    <a:pt x="240983" y="381000"/>
                  </a:lnTo>
                  <a:lnTo>
                    <a:pt x="240983" y="168783"/>
                  </a:lnTo>
                  <a:cubicBezTo>
                    <a:pt x="240983" y="139637"/>
                    <a:pt x="234410" y="117348"/>
                    <a:pt x="221266" y="101822"/>
                  </a:cubicBezTo>
                  <a:cubicBezTo>
                    <a:pt x="208121" y="86296"/>
                    <a:pt x="189643" y="78581"/>
                    <a:pt x="165640" y="78581"/>
                  </a:cubicBezTo>
                  <a:cubicBezTo>
                    <a:pt x="141637" y="78581"/>
                    <a:pt x="122492" y="86773"/>
                    <a:pt x="108014"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10" name="Freeform: Shape 22">
              <a:extLst>
                <a:ext uri="{FF2B5EF4-FFF2-40B4-BE49-F238E27FC236}">
                  <a16:creationId xmlns:a16="http://schemas.microsoft.com/office/drawing/2014/main" id="{032FD227-7061-5B9F-182C-4C03A954D7E3}"/>
                </a:ext>
              </a:extLst>
            </p:cNvPr>
            <p:cNvSpPr/>
            <p:nvPr/>
          </p:nvSpPr>
          <p:spPr>
            <a:xfrm>
              <a:off x="5587693" y="700007"/>
              <a:ext cx="84211" cy="95752"/>
            </a:xfrm>
            <a:custGeom>
              <a:avLst/>
              <a:gdLst>
                <a:gd name="connsiteX0" fmla="*/ 95 w 334994"/>
                <a:gd name="connsiteY0" fmla="*/ 7715 h 380904"/>
                <a:gd name="connsiteX1" fmla="*/ 86296 w 334994"/>
                <a:gd name="connsiteY1" fmla="*/ 7715 h 380904"/>
                <a:gd name="connsiteX2" fmla="*/ 86296 w 334994"/>
                <a:gd name="connsiteY2" fmla="*/ 66294 h 380904"/>
                <a:gd name="connsiteX3" fmla="*/ 106394 w 334994"/>
                <a:gd name="connsiteY3" fmla="*/ 40958 h 380904"/>
                <a:gd name="connsiteX4" fmla="*/ 131731 w 334994"/>
                <a:gd name="connsiteY4" fmla="*/ 19907 h 380904"/>
                <a:gd name="connsiteX5" fmla="*/ 163449 w 334994"/>
                <a:gd name="connsiteY5" fmla="*/ 5334 h 380904"/>
                <a:gd name="connsiteX6" fmla="*/ 202597 w 334994"/>
                <a:gd name="connsiteY6" fmla="*/ 0 h 380904"/>
                <a:gd name="connsiteX7" fmla="*/ 300514 w 334994"/>
                <a:gd name="connsiteY7" fmla="*/ 38862 h 380904"/>
                <a:gd name="connsiteX8" fmla="*/ 334994 w 334994"/>
                <a:gd name="connsiteY8" fmla="*/ 143446 h 380904"/>
                <a:gd name="connsiteX9" fmla="*/ 334994 w 334994"/>
                <a:gd name="connsiteY9" fmla="*/ 380905 h 380904"/>
                <a:gd name="connsiteX10" fmla="*/ 248793 w 334994"/>
                <a:gd name="connsiteY10" fmla="*/ 380905 h 380904"/>
                <a:gd name="connsiteX11" fmla="*/ 248793 w 334994"/>
                <a:gd name="connsiteY11" fmla="*/ 169450 h 380904"/>
                <a:gd name="connsiteX12" fmla="*/ 228124 w 334994"/>
                <a:gd name="connsiteY12" fmla="*/ 102108 h 380904"/>
                <a:gd name="connsiteX13" fmla="*/ 169640 w 334994"/>
                <a:gd name="connsiteY13" fmla="*/ 78486 h 380904"/>
                <a:gd name="connsiteX14" fmla="*/ 109347 w 334994"/>
                <a:gd name="connsiteY14" fmla="*/ 102775 h 380904"/>
                <a:gd name="connsiteX15" fmla="*/ 86201 w 334994"/>
                <a:gd name="connsiteY15" fmla="*/ 170783 h 380904"/>
                <a:gd name="connsiteX16" fmla="*/ 86201 w 334994"/>
                <a:gd name="connsiteY16" fmla="*/ 380905 h 380904"/>
                <a:gd name="connsiteX17" fmla="*/ 0 w 334994"/>
                <a:gd name="connsiteY17" fmla="*/ 380905 h 380904"/>
                <a:gd name="connsiteX18" fmla="*/ 0 w 334994"/>
                <a:gd name="connsiteY18" fmla="*/ 7810 h 38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94" h="380904">
                  <a:moveTo>
                    <a:pt x="95" y="7715"/>
                  </a:moveTo>
                  <a:lnTo>
                    <a:pt x="86296" y="7715"/>
                  </a:lnTo>
                  <a:lnTo>
                    <a:pt x="86296" y="66294"/>
                  </a:lnTo>
                  <a:cubicBezTo>
                    <a:pt x="92392" y="57245"/>
                    <a:pt x="99060" y="48863"/>
                    <a:pt x="106394" y="40958"/>
                  </a:cubicBezTo>
                  <a:cubicBezTo>
                    <a:pt x="113633" y="33147"/>
                    <a:pt x="122110" y="26099"/>
                    <a:pt x="131731" y="19907"/>
                  </a:cubicBezTo>
                  <a:cubicBezTo>
                    <a:pt x="141351" y="13716"/>
                    <a:pt x="151924" y="8858"/>
                    <a:pt x="163449" y="5334"/>
                  </a:cubicBezTo>
                  <a:cubicBezTo>
                    <a:pt x="174974" y="1714"/>
                    <a:pt x="188024" y="0"/>
                    <a:pt x="202597" y="0"/>
                  </a:cubicBezTo>
                  <a:cubicBezTo>
                    <a:pt x="244888" y="0"/>
                    <a:pt x="277559" y="12954"/>
                    <a:pt x="300514" y="38862"/>
                  </a:cubicBezTo>
                  <a:cubicBezTo>
                    <a:pt x="323564" y="64770"/>
                    <a:pt x="334994" y="99631"/>
                    <a:pt x="334994" y="143446"/>
                  </a:cubicBezTo>
                  <a:lnTo>
                    <a:pt x="334994" y="380905"/>
                  </a:lnTo>
                  <a:lnTo>
                    <a:pt x="248793" y="380905"/>
                  </a:lnTo>
                  <a:lnTo>
                    <a:pt x="248793" y="169450"/>
                  </a:lnTo>
                  <a:cubicBezTo>
                    <a:pt x="248793" y="140303"/>
                    <a:pt x="241935" y="117824"/>
                    <a:pt x="228124" y="102108"/>
                  </a:cubicBezTo>
                  <a:cubicBezTo>
                    <a:pt x="214313" y="86392"/>
                    <a:pt x="194881" y="78486"/>
                    <a:pt x="169640" y="78486"/>
                  </a:cubicBezTo>
                  <a:cubicBezTo>
                    <a:pt x="144399" y="78486"/>
                    <a:pt x="124777" y="86582"/>
                    <a:pt x="109347" y="102775"/>
                  </a:cubicBezTo>
                  <a:cubicBezTo>
                    <a:pt x="93917" y="118967"/>
                    <a:pt x="86201" y="141637"/>
                    <a:pt x="86201" y="170783"/>
                  </a:cubicBezTo>
                  <a:lnTo>
                    <a:pt x="86201" y="380905"/>
                  </a:lnTo>
                  <a:lnTo>
                    <a:pt x="0" y="380905"/>
                  </a:lnTo>
                  <a:lnTo>
                    <a:pt x="0" y="7810"/>
                  </a:lnTo>
                  <a:close/>
                </a:path>
              </a:pathLst>
            </a:custGeom>
            <a:solidFill>
              <a:srgbClr val="44505E"/>
            </a:solidFill>
            <a:ln w="9525" cap="flat">
              <a:noFill/>
              <a:prstDash val="solid"/>
              <a:miter/>
            </a:ln>
          </p:spPr>
          <p:txBody>
            <a:bodyPr rtlCol="0" anchor="ctr"/>
            <a:lstStyle/>
            <a:p>
              <a:endParaRPr lang="pt-BR" noProof="0"/>
            </a:p>
          </p:txBody>
        </p:sp>
        <p:sp>
          <p:nvSpPr>
            <p:cNvPr id="11" name="Freeform: Shape 23">
              <a:extLst>
                <a:ext uri="{FF2B5EF4-FFF2-40B4-BE49-F238E27FC236}">
                  <a16:creationId xmlns:a16="http://schemas.microsoft.com/office/drawing/2014/main" id="{B50F70F9-A6AB-072C-0B44-52D197A73B5E}"/>
                </a:ext>
              </a:extLst>
            </p:cNvPr>
            <p:cNvSpPr/>
            <p:nvPr/>
          </p:nvSpPr>
          <p:spPr>
            <a:xfrm>
              <a:off x="5692712" y="699959"/>
              <a:ext cx="100015" cy="97908"/>
            </a:xfrm>
            <a:custGeom>
              <a:avLst/>
              <a:gdLst>
                <a:gd name="connsiteX0" fmla="*/ 197834 w 397859"/>
                <a:gd name="connsiteY0" fmla="*/ 389477 h 389477"/>
                <a:gd name="connsiteX1" fmla="*/ 119063 w 397859"/>
                <a:gd name="connsiteY1" fmla="*/ 374237 h 389477"/>
                <a:gd name="connsiteX2" fmla="*/ 56197 w 397859"/>
                <a:gd name="connsiteY2" fmla="*/ 332899 h 389477"/>
                <a:gd name="connsiteX3" fmla="*/ 14859 w 397859"/>
                <a:gd name="connsiteY3" fmla="*/ 271463 h 389477"/>
                <a:gd name="connsiteX4" fmla="*/ 0 w 397859"/>
                <a:gd name="connsiteY4" fmla="*/ 196501 h 389477"/>
                <a:gd name="connsiteX5" fmla="*/ 0 w 397859"/>
                <a:gd name="connsiteY5" fmla="*/ 195072 h 389477"/>
                <a:gd name="connsiteX6" fmla="*/ 15145 w 397859"/>
                <a:gd name="connsiteY6" fmla="*/ 119444 h 389477"/>
                <a:gd name="connsiteX7" fmla="*/ 56864 w 397859"/>
                <a:gd name="connsiteY7" fmla="*/ 57626 h 389477"/>
                <a:gd name="connsiteX8" fmla="*/ 119729 w 397859"/>
                <a:gd name="connsiteY8" fmla="*/ 15526 h 389477"/>
                <a:gd name="connsiteX9" fmla="*/ 199263 w 397859"/>
                <a:gd name="connsiteY9" fmla="*/ 0 h 389477"/>
                <a:gd name="connsiteX10" fmla="*/ 278797 w 397859"/>
                <a:gd name="connsiteY10" fmla="*/ 15240 h 389477"/>
                <a:gd name="connsiteX11" fmla="*/ 341662 w 397859"/>
                <a:gd name="connsiteY11" fmla="*/ 56959 h 389477"/>
                <a:gd name="connsiteX12" fmla="*/ 383000 w 397859"/>
                <a:gd name="connsiteY12" fmla="*/ 118396 h 389477"/>
                <a:gd name="connsiteX13" fmla="*/ 397859 w 397859"/>
                <a:gd name="connsiteY13" fmla="*/ 193643 h 389477"/>
                <a:gd name="connsiteX14" fmla="*/ 397859 w 397859"/>
                <a:gd name="connsiteY14" fmla="*/ 195072 h 389477"/>
                <a:gd name="connsiteX15" fmla="*/ 382619 w 397859"/>
                <a:gd name="connsiteY15" fmla="*/ 270034 h 389477"/>
                <a:gd name="connsiteX16" fmla="*/ 340900 w 397859"/>
                <a:gd name="connsiteY16" fmla="*/ 331851 h 389477"/>
                <a:gd name="connsiteX17" fmla="*/ 277654 w 397859"/>
                <a:gd name="connsiteY17" fmla="*/ 373856 h 389477"/>
                <a:gd name="connsiteX18" fmla="*/ 197834 w 397859"/>
                <a:gd name="connsiteY18" fmla="*/ 389382 h 389477"/>
                <a:gd name="connsiteX19" fmla="*/ 199263 w 397859"/>
                <a:gd name="connsiteY19" fmla="*/ 315278 h 389477"/>
                <a:gd name="connsiteX20" fmla="*/ 245935 w 397859"/>
                <a:gd name="connsiteY20" fmla="*/ 305753 h 389477"/>
                <a:gd name="connsiteX21" fmla="*/ 281368 w 397859"/>
                <a:gd name="connsiteY21" fmla="*/ 279940 h 389477"/>
                <a:gd name="connsiteX22" fmla="*/ 303847 w 397859"/>
                <a:gd name="connsiteY22" fmla="*/ 242125 h 389477"/>
                <a:gd name="connsiteX23" fmla="*/ 311563 w 397859"/>
                <a:gd name="connsiteY23" fmla="*/ 196501 h 389477"/>
                <a:gd name="connsiteX24" fmla="*/ 311563 w 397859"/>
                <a:gd name="connsiteY24" fmla="*/ 195072 h 389477"/>
                <a:gd name="connsiteX25" fmla="*/ 303181 w 397859"/>
                <a:gd name="connsiteY25" fmla="*/ 148400 h 389477"/>
                <a:gd name="connsiteX26" fmla="*/ 279654 w 397859"/>
                <a:gd name="connsiteY26" fmla="*/ 110204 h 389477"/>
                <a:gd name="connsiteX27" fmla="*/ 243840 w 397859"/>
                <a:gd name="connsiteY27" fmla="*/ 84392 h 389477"/>
                <a:gd name="connsiteX28" fmla="*/ 197834 w 397859"/>
                <a:gd name="connsiteY28" fmla="*/ 74867 h 389477"/>
                <a:gd name="connsiteX29" fmla="*/ 151829 w 397859"/>
                <a:gd name="connsiteY29" fmla="*/ 84392 h 389477"/>
                <a:gd name="connsiteX30" fmla="*/ 116396 w 397859"/>
                <a:gd name="connsiteY30" fmla="*/ 109823 h 389477"/>
                <a:gd name="connsiteX31" fmla="*/ 93917 w 397859"/>
                <a:gd name="connsiteY31" fmla="*/ 147638 h 389477"/>
                <a:gd name="connsiteX32" fmla="*/ 86201 w 397859"/>
                <a:gd name="connsiteY32" fmla="*/ 193548 h 389477"/>
                <a:gd name="connsiteX33" fmla="*/ 86201 w 397859"/>
                <a:gd name="connsiteY33" fmla="*/ 194977 h 389477"/>
                <a:gd name="connsiteX34" fmla="*/ 94583 w 397859"/>
                <a:gd name="connsiteY34" fmla="*/ 241268 h 389477"/>
                <a:gd name="connsiteX35" fmla="*/ 118110 w 397859"/>
                <a:gd name="connsiteY35" fmla="*/ 279463 h 389477"/>
                <a:gd name="connsiteX36" fmla="*/ 153924 w 397859"/>
                <a:gd name="connsiteY36" fmla="*/ 305562 h 389477"/>
                <a:gd name="connsiteX37" fmla="*/ 199263 w 397859"/>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859" h="389477">
                  <a:moveTo>
                    <a:pt x="197834" y="389477"/>
                  </a:moveTo>
                  <a:cubicBezTo>
                    <a:pt x="169545" y="389477"/>
                    <a:pt x="143351" y="384429"/>
                    <a:pt x="119063" y="374237"/>
                  </a:cubicBezTo>
                  <a:cubicBezTo>
                    <a:pt x="94774" y="364141"/>
                    <a:pt x="73819" y="350330"/>
                    <a:pt x="56197" y="332899"/>
                  </a:cubicBezTo>
                  <a:cubicBezTo>
                    <a:pt x="38481" y="315468"/>
                    <a:pt x="24765" y="294989"/>
                    <a:pt x="14859" y="271463"/>
                  </a:cubicBezTo>
                  <a:cubicBezTo>
                    <a:pt x="4953" y="247936"/>
                    <a:pt x="0" y="222980"/>
                    <a:pt x="0" y="196501"/>
                  </a:cubicBezTo>
                  <a:lnTo>
                    <a:pt x="0" y="195072"/>
                  </a:lnTo>
                  <a:cubicBezTo>
                    <a:pt x="0" y="168212"/>
                    <a:pt x="5048" y="143066"/>
                    <a:pt x="15145" y="119444"/>
                  </a:cubicBezTo>
                  <a:cubicBezTo>
                    <a:pt x="25241" y="95917"/>
                    <a:pt x="39148" y="75248"/>
                    <a:pt x="56864" y="57626"/>
                  </a:cubicBezTo>
                  <a:cubicBezTo>
                    <a:pt x="74581" y="39910"/>
                    <a:pt x="95536" y="25908"/>
                    <a:pt x="119729" y="15526"/>
                  </a:cubicBezTo>
                  <a:cubicBezTo>
                    <a:pt x="144018" y="5144"/>
                    <a:pt x="170497" y="0"/>
                    <a:pt x="199263" y="0"/>
                  </a:cubicBezTo>
                  <a:cubicBezTo>
                    <a:pt x="228029" y="0"/>
                    <a:pt x="254508" y="5048"/>
                    <a:pt x="278797" y="15240"/>
                  </a:cubicBezTo>
                  <a:cubicBezTo>
                    <a:pt x="303085" y="25337"/>
                    <a:pt x="324041" y="39243"/>
                    <a:pt x="341662" y="56959"/>
                  </a:cubicBezTo>
                  <a:cubicBezTo>
                    <a:pt x="359378" y="74676"/>
                    <a:pt x="373094" y="95155"/>
                    <a:pt x="383000" y="118396"/>
                  </a:cubicBezTo>
                  <a:cubicBezTo>
                    <a:pt x="392906" y="141732"/>
                    <a:pt x="397859" y="166783"/>
                    <a:pt x="397859" y="193643"/>
                  </a:cubicBezTo>
                  <a:lnTo>
                    <a:pt x="397859" y="195072"/>
                  </a:lnTo>
                  <a:cubicBezTo>
                    <a:pt x="397859" y="221456"/>
                    <a:pt x="392811" y="246412"/>
                    <a:pt x="382619" y="270034"/>
                  </a:cubicBezTo>
                  <a:cubicBezTo>
                    <a:pt x="372523" y="293561"/>
                    <a:pt x="358616" y="314230"/>
                    <a:pt x="340900" y="331851"/>
                  </a:cubicBezTo>
                  <a:cubicBezTo>
                    <a:pt x="323183" y="349472"/>
                    <a:pt x="302133" y="363569"/>
                    <a:pt x="277654" y="373856"/>
                  </a:cubicBezTo>
                  <a:cubicBezTo>
                    <a:pt x="253175" y="384238"/>
                    <a:pt x="226504" y="389382"/>
                    <a:pt x="197834" y="389382"/>
                  </a:cubicBezTo>
                  <a:close/>
                  <a:moveTo>
                    <a:pt x="199263" y="315278"/>
                  </a:moveTo>
                  <a:cubicBezTo>
                    <a:pt x="216598" y="315278"/>
                    <a:pt x="232124" y="312039"/>
                    <a:pt x="245935" y="305753"/>
                  </a:cubicBezTo>
                  <a:cubicBezTo>
                    <a:pt x="259747" y="299371"/>
                    <a:pt x="271558" y="290798"/>
                    <a:pt x="281368" y="279940"/>
                  </a:cubicBezTo>
                  <a:cubicBezTo>
                    <a:pt x="291179" y="269081"/>
                    <a:pt x="298704" y="256508"/>
                    <a:pt x="303847" y="242125"/>
                  </a:cubicBezTo>
                  <a:cubicBezTo>
                    <a:pt x="308991" y="227743"/>
                    <a:pt x="311563" y="212598"/>
                    <a:pt x="311563" y="196501"/>
                  </a:cubicBezTo>
                  <a:lnTo>
                    <a:pt x="311563" y="195072"/>
                  </a:lnTo>
                  <a:cubicBezTo>
                    <a:pt x="311563" y="178594"/>
                    <a:pt x="308800" y="163068"/>
                    <a:pt x="303181" y="148400"/>
                  </a:cubicBezTo>
                  <a:cubicBezTo>
                    <a:pt x="297561" y="133826"/>
                    <a:pt x="289750" y="121063"/>
                    <a:pt x="279654" y="110204"/>
                  </a:cubicBezTo>
                  <a:cubicBezTo>
                    <a:pt x="269558" y="99346"/>
                    <a:pt x="257651" y="90773"/>
                    <a:pt x="243840" y="84392"/>
                  </a:cubicBezTo>
                  <a:cubicBezTo>
                    <a:pt x="230029" y="78010"/>
                    <a:pt x="214693" y="74867"/>
                    <a:pt x="197834" y="74867"/>
                  </a:cubicBezTo>
                  <a:cubicBezTo>
                    <a:pt x="180975" y="74867"/>
                    <a:pt x="165640" y="78010"/>
                    <a:pt x="151829" y="84392"/>
                  </a:cubicBezTo>
                  <a:cubicBezTo>
                    <a:pt x="138017" y="90773"/>
                    <a:pt x="126206" y="99250"/>
                    <a:pt x="116396" y="109823"/>
                  </a:cubicBezTo>
                  <a:cubicBezTo>
                    <a:pt x="106585" y="120396"/>
                    <a:pt x="99060" y="133064"/>
                    <a:pt x="93917" y="147638"/>
                  </a:cubicBezTo>
                  <a:cubicBezTo>
                    <a:pt x="88773" y="162211"/>
                    <a:pt x="86201" y="177546"/>
                    <a:pt x="86201" y="193548"/>
                  </a:cubicBezTo>
                  <a:lnTo>
                    <a:pt x="86201" y="194977"/>
                  </a:lnTo>
                  <a:cubicBezTo>
                    <a:pt x="86201" y="211455"/>
                    <a:pt x="88963" y="226886"/>
                    <a:pt x="94583" y="241268"/>
                  </a:cubicBezTo>
                  <a:cubicBezTo>
                    <a:pt x="100203" y="255651"/>
                    <a:pt x="108013" y="268319"/>
                    <a:pt x="118110" y="279463"/>
                  </a:cubicBezTo>
                  <a:cubicBezTo>
                    <a:pt x="128206" y="290513"/>
                    <a:pt x="140113" y="299275"/>
                    <a:pt x="153924" y="305562"/>
                  </a:cubicBezTo>
                  <a:cubicBezTo>
                    <a:pt x="167735" y="311944"/>
                    <a:pt x="182880"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12" name="Freeform: Shape 24">
              <a:extLst>
                <a:ext uri="{FF2B5EF4-FFF2-40B4-BE49-F238E27FC236}">
                  <a16:creationId xmlns:a16="http://schemas.microsoft.com/office/drawing/2014/main" id="{D48579A9-BF7C-26B7-426F-B8E1F7CC3F57}"/>
                </a:ext>
              </a:extLst>
            </p:cNvPr>
            <p:cNvSpPr/>
            <p:nvPr/>
          </p:nvSpPr>
          <p:spPr>
            <a:xfrm>
              <a:off x="5806925"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2 w 296894"/>
                <a:gd name="connsiteY36" fmla="*/ 224980 h 386714"/>
                <a:gd name="connsiteX37" fmla="*/ 296894 w 296894"/>
                <a:gd name="connsiteY37" fmla="*/ 267938 h 386714"/>
                <a:gd name="connsiteX38" fmla="*/ 296894 w 296894"/>
                <a:gd name="connsiteY38" fmla="*/ 269367 h 386714"/>
                <a:gd name="connsiteX39" fmla="*/ 286322 w 296894"/>
                <a:gd name="connsiteY39" fmla="*/ 320897 h 386714"/>
                <a:gd name="connsiteX40" fmla="*/ 256984 w 296894"/>
                <a:gd name="connsiteY40" fmla="*/ 357188 h 386714"/>
                <a:gd name="connsiteX41" fmla="*/ 212789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8" y="298704"/>
                    <a:pt x="100013" y="306514"/>
                  </a:cubicBezTo>
                  <a:cubicBezTo>
                    <a:pt x="120967" y="314325"/>
                    <a:pt x="141161" y="318135"/>
                    <a:pt x="160401" y="318135"/>
                  </a:cubicBezTo>
                  <a:cubicBezTo>
                    <a:pt x="179642" y="318135"/>
                    <a:pt x="192976"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2" y="241078"/>
                    <a:pt x="176498" y="237553"/>
                    <a:pt x="166402" y="234220"/>
                  </a:cubicBezTo>
                  <a:cubicBezTo>
                    <a:pt x="156305" y="230886"/>
                    <a:pt x="145733" y="227647"/>
                    <a:pt x="134969" y="224314"/>
                  </a:cubicBezTo>
                  <a:cubicBezTo>
                    <a:pt x="121253" y="220599"/>
                    <a:pt x="107537" y="216122"/>
                    <a:pt x="93631" y="210884"/>
                  </a:cubicBezTo>
                  <a:cubicBezTo>
                    <a:pt x="79724" y="205740"/>
                    <a:pt x="67246" y="198977"/>
                    <a:pt x="56197" y="190786"/>
                  </a:cubicBezTo>
                  <a:cubicBezTo>
                    <a:pt x="45149" y="182594"/>
                    <a:pt x="36100" y="172307"/>
                    <a:pt x="28956" y="160115"/>
                  </a:cubicBezTo>
                  <a:cubicBezTo>
                    <a:pt x="21908"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5"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7" y="156210"/>
                    <a:pt x="180975" y="159448"/>
                  </a:cubicBezTo>
                  <a:cubicBezTo>
                    <a:pt x="194596" y="163639"/>
                    <a:pt x="208312" y="168592"/>
                    <a:pt x="222028" y="174212"/>
                  </a:cubicBezTo>
                  <a:cubicBezTo>
                    <a:pt x="235649" y="179832"/>
                    <a:pt x="248031" y="186785"/>
                    <a:pt x="259080" y="194977"/>
                  </a:cubicBezTo>
                  <a:cubicBezTo>
                    <a:pt x="270129" y="203168"/>
                    <a:pt x="279273" y="213169"/>
                    <a:pt x="286322" y="224980"/>
                  </a:cubicBezTo>
                  <a:cubicBezTo>
                    <a:pt x="293370" y="236696"/>
                    <a:pt x="296894" y="251079"/>
                    <a:pt x="296894" y="267938"/>
                  </a:cubicBezTo>
                  <a:lnTo>
                    <a:pt x="296894" y="269367"/>
                  </a:lnTo>
                  <a:cubicBezTo>
                    <a:pt x="296894" y="289084"/>
                    <a:pt x="293370" y="306229"/>
                    <a:pt x="286322" y="320897"/>
                  </a:cubicBezTo>
                  <a:cubicBezTo>
                    <a:pt x="279273" y="335470"/>
                    <a:pt x="269462" y="347567"/>
                    <a:pt x="256984" y="357188"/>
                  </a:cubicBezTo>
                  <a:cubicBezTo>
                    <a:pt x="244507" y="366808"/>
                    <a:pt x="229743" y="374142"/>
                    <a:pt x="212789"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13" name="Freeform: Shape 25">
              <a:extLst>
                <a:ext uri="{FF2B5EF4-FFF2-40B4-BE49-F238E27FC236}">
                  <a16:creationId xmlns:a16="http://schemas.microsoft.com/office/drawing/2014/main" id="{662C8A27-0AD0-6D8A-A4B2-04BC24202854}"/>
                </a:ext>
              </a:extLst>
            </p:cNvPr>
            <p:cNvSpPr/>
            <p:nvPr/>
          </p:nvSpPr>
          <p:spPr>
            <a:xfrm>
              <a:off x="589573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6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160" y="318135"/>
                    <a:pt x="160401" y="318135"/>
                  </a:cubicBezTo>
                  <a:cubicBezTo>
                    <a:pt x="179641" y="318135"/>
                    <a:pt x="192976"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4"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792"/>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14" name="Freeform: Shape 26">
              <a:extLst>
                <a:ext uri="{FF2B5EF4-FFF2-40B4-BE49-F238E27FC236}">
                  <a16:creationId xmlns:a16="http://schemas.microsoft.com/office/drawing/2014/main" id="{26F73B3B-7912-5ABE-F29B-5B5027078F70}"/>
                </a:ext>
              </a:extLst>
            </p:cNvPr>
            <p:cNvSpPr/>
            <p:nvPr/>
          </p:nvSpPr>
          <p:spPr>
            <a:xfrm>
              <a:off x="5985812" y="700558"/>
              <a:ext cx="85097" cy="97141"/>
            </a:xfrm>
            <a:custGeom>
              <a:avLst/>
              <a:gdLst>
                <a:gd name="connsiteX0" fmla="*/ 253651 w 338518"/>
                <a:gd name="connsiteY0" fmla="*/ 378619 h 386429"/>
                <a:gd name="connsiteX1" fmla="*/ 253651 w 338518"/>
                <a:gd name="connsiteY1" fmla="*/ 332708 h 386429"/>
                <a:gd name="connsiteX2" fmla="*/ 204883 w 338518"/>
                <a:gd name="connsiteY2" fmla="*/ 370904 h 386429"/>
                <a:gd name="connsiteX3" fmla="*/ 132779 w 338518"/>
                <a:gd name="connsiteY3" fmla="*/ 386429 h 386429"/>
                <a:gd name="connsiteX4" fmla="*/ 81915 w 338518"/>
                <a:gd name="connsiteY4" fmla="*/ 379000 h 386429"/>
                <a:gd name="connsiteX5" fmla="*/ 39910 w 338518"/>
                <a:gd name="connsiteY5" fmla="*/ 357092 h 386429"/>
                <a:gd name="connsiteX6" fmla="*/ 10954 w 338518"/>
                <a:gd name="connsiteY6" fmla="*/ 321088 h 386429"/>
                <a:gd name="connsiteX7" fmla="*/ 0 w 338518"/>
                <a:gd name="connsiteY7" fmla="*/ 271272 h 386429"/>
                <a:gd name="connsiteX8" fmla="*/ 0 w 338518"/>
                <a:gd name="connsiteY8" fmla="*/ 269843 h 386429"/>
                <a:gd name="connsiteX9" fmla="*/ 11335 w 338518"/>
                <a:gd name="connsiteY9" fmla="*/ 215741 h 386429"/>
                <a:gd name="connsiteX10" fmla="*/ 42767 w 338518"/>
                <a:gd name="connsiteY10" fmla="*/ 177546 h 386429"/>
                <a:gd name="connsiteX11" fmla="*/ 90773 w 338518"/>
                <a:gd name="connsiteY11" fmla="*/ 154972 h 386429"/>
                <a:gd name="connsiteX12" fmla="*/ 151162 w 338518"/>
                <a:gd name="connsiteY12" fmla="*/ 147542 h 386429"/>
                <a:gd name="connsiteX13" fmla="*/ 208788 w 338518"/>
                <a:gd name="connsiteY13" fmla="*/ 151829 h 386429"/>
                <a:gd name="connsiteX14" fmla="*/ 254413 w 338518"/>
                <a:gd name="connsiteY14" fmla="*/ 163163 h 386429"/>
                <a:gd name="connsiteX15" fmla="*/ 254413 w 338518"/>
                <a:gd name="connsiteY15" fmla="*/ 156115 h 386429"/>
                <a:gd name="connsiteX16" fmla="*/ 230696 w 338518"/>
                <a:gd name="connsiteY16" fmla="*/ 96774 h 386429"/>
                <a:gd name="connsiteX17" fmla="*/ 162496 w 338518"/>
                <a:gd name="connsiteY17" fmla="*/ 76295 h 386429"/>
                <a:gd name="connsiteX18" fmla="*/ 106013 w 338518"/>
                <a:gd name="connsiteY18" fmla="*/ 82677 h 386429"/>
                <a:gd name="connsiteX19" fmla="*/ 55816 w 338518"/>
                <a:gd name="connsiteY19" fmla="*/ 99632 h 386429"/>
                <a:gd name="connsiteX20" fmla="*/ 32480 w 338518"/>
                <a:gd name="connsiteY20" fmla="*/ 31052 h 386429"/>
                <a:gd name="connsiteX21" fmla="*/ 96107 w 338518"/>
                <a:gd name="connsiteY21" fmla="*/ 8477 h 386429"/>
                <a:gd name="connsiteX22" fmla="*/ 174593 w 338518"/>
                <a:gd name="connsiteY22" fmla="*/ 0 h 386429"/>
                <a:gd name="connsiteX23" fmla="*/ 298228 w 338518"/>
                <a:gd name="connsiteY23" fmla="*/ 41338 h 386429"/>
                <a:gd name="connsiteX24" fmla="*/ 338519 w 338518"/>
                <a:gd name="connsiteY24" fmla="*/ 157544 h 386429"/>
                <a:gd name="connsiteX25" fmla="*/ 338519 w 338518"/>
                <a:gd name="connsiteY25" fmla="*/ 378714 h 386429"/>
                <a:gd name="connsiteX26" fmla="*/ 253746 w 338518"/>
                <a:gd name="connsiteY26" fmla="*/ 378714 h 386429"/>
                <a:gd name="connsiteX27" fmla="*/ 255746 w 338518"/>
                <a:gd name="connsiteY27" fmla="*/ 222409 h 386429"/>
                <a:gd name="connsiteX28" fmla="*/ 217265 w 338518"/>
                <a:gd name="connsiteY28" fmla="*/ 211836 h 386429"/>
                <a:gd name="connsiteX29" fmla="*/ 170307 w 338518"/>
                <a:gd name="connsiteY29" fmla="*/ 207550 h 386429"/>
                <a:gd name="connsiteX30" fmla="*/ 107442 w 338518"/>
                <a:gd name="connsiteY30" fmla="*/ 223075 h 386429"/>
                <a:gd name="connsiteX31" fmla="*/ 84868 w 338518"/>
                <a:gd name="connsiteY31" fmla="*/ 265462 h 386429"/>
                <a:gd name="connsiteX32" fmla="*/ 84868 w 338518"/>
                <a:gd name="connsiteY32" fmla="*/ 266891 h 386429"/>
                <a:gd name="connsiteX33" fmla="*/ 105728 w 338518"/>
                <a:gd name="connsiteY33" fmla="*/ 307848 h 386429"/>
                <a:gd name="connsiteX34" fmla="*/ 156972 w 338518"/>
                <a:gd name="connsiteY34" fmla="*/ 321945 h 386429"/>
                <a:gd name="connsiteX35" fmla="*/ 196215 w 338518"/>
                <a:gd name="connsiteY35" fmla="*/ 316325 h 386429"/>
                <a:gd name="connsiteX36" fmla="*/ 227647 w 338518"/>
                <a:gd name="connsiteY36" fmla="*/ 300419 h 386429"/>
                <a:gd name="connsiteX37" fmla="*/ 248507 w 338518"/>
                <a:gd name="connsiteY37" fmla="*/ 275654 h 386429"/>
                <a:gd name="connsiteX38" fmla="*/ 255937 w 338518"/>
                <a:gd name="connsiteY38" fmla="*/ 243459 h 386429"/>
                <a:gd name="connsiteX39" fmla="*/ 255937 w 338518"/>
                <a:gd name="connsiteY39" fmla="*/ 222218 h 3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8518" h="386429">
                  <a:moveTo>
                    <a:pt x="253651" y="378619"/>
                  </a:moveTo>
                  <a:lnTo>
                    <a:pt x="253651" y="332708"/>
                  </a:lnTo>
                  <a:cubicBezTo>
                    <a:pt x="240887" y="347758"/>
                    <a:pt x="224695" y="360521"/>
                    <a:pt x="204883" y="370904"/>
                  </a:cubicBezTo>
                  <a:cubicBezTo>
                    <a:pt x="185071" y="381286"/>
                    <a:pt x="161068" y="386429"/>
                    <a:pt x="132779" y="386429"/>
                  </a:cubicBezTo>
                  <a:cubicBezTo>
                    <a:pt x="114871" y="386429"/>
                    <a:pt x="97917" y="383953"/>
                    <a:pt x="81915" y="379000"/>
                  </a:cubicBezTo>
                  <a:cubicBezTo>
                    <a:pt x="65913" y="374047"/>
                    <a:pt x="51911" y="366713"/>
                    <a:pt x="39910" y="357092"/>
                  </a:cubicBezTo>
                  <a:cubicBezTo>
                    <a:pt x="27908" y="347472"/>
                    <a:pt x="18193" y="335471"/>
                    <a:pt x="10954" y="321088"/>
                  </a:cubicBezTo>
                  <a:cubicBezTo>
                    <a:pt x="3620" y="306705"/>
                    <a:pt x="0" y="290132"/>
                    <a:pt x="0" y="271272"/>
                  </a:cubicBezTo>
                  <a:lnTo>
                    <a:pt x="0" y="269843"/>
                  </a:lnTo>
                  <a:cubicBezTo>
                    <a:pt x="0" y="249079"/>
                    <a:pt x="3810" y="231077"/>
                    <a:pt x="11335" y="215741"/>
                  </a:cubicBezTo>
                  <a:cubicBezTo>
                    <a:pt x="18859" y="200406"/>
                    <a:pt x="29337" y="187738"/>
                    <a:pt x="42767" y="177546"/>
                  </a:cubicBezTo>
                  <a:cubicBezTo>
                    <a:pt x="56197" y="167450"/>
                    <a:pt x="72199" y="159925"/>
                    <a:pt x="90773" y="154972"/>
                  </a:cubicBezTo>
                  <a:cubicBezTo>
                    <a:pt x="109347" y="150019"/>
                    <a:pt x="129540" y="147542"/>
                    <a:pt x="151162" y="147542"/>
                  </a:cubicBezTo>
                  <a:cubicBezTo>
                    <a:pt x="172783" y="147542"/>
                    <a:pt x="192976" y="148971"/>
                    <a:pt x="208788" y="151829"/>
                  </a:cubicBezTo>
                  <a:cubicBezTo>
                    <a:pt x="224599" y="154686"/>
                    <a:pt x="239744" y="158401"/>
                    <a:pt x="254413" y="163163"/>
                  </a:cubicBezTo>
                  <a:lnTo>
                    <a:pt x="254413" y="156115"/>
                  </a:lnTo>
                  <a:cubicBezTo>
                    <a:pt x="254413" y="130207"/>
                    <a:pt x="246507" y="110395"/>
                    <a:pt x="230696" y="96774"/>
                  </a:cubicBezTo>
                  <a:cubicBezTo>
                    <a:pt x="214884" y="83153"/>
                    <a:pt x="192214" y="76295"/>
                    <a:pt x="162496" y="76295"/>
                  </a:cubicBezTo>
                  <a:cubicBezTo>
                    <a:pt x="141351" y="76295"/>
                    <a:pt x="122491" y="78391"/>
                    <a:pt x="106013" y="82677"/>
                  </a:cubicBezTo>
                  <a:cubicBezTo>
                    <a:pt x="89535" y="86963"/>
                    <a:pt x="72771" y="92583"/>
                    <a:pt x="55816" y="99632"/>
                  </a:cubicBezTo>
                  <a:lnTo>
                    <a:pt x="32480" y="31052"/>
                  </a:lnTo>
                  <a:cubicBezTo>
                    <a:pt x="53149" y="21622"/>
                    <a:pt x="74390" y="14097"/>
                    <a:pt x="96107" y="8477"/>
                  </a:cubicBezTo>
                  <a:cubicBezTo>
                    <a:pt x="117729" y="2858"/>
                    <a:pt x="143923" y="0"/>
                    <a:pt x="174593" y="0"/>
                  </a:cubicBezTo>
                  <a:cubicBezTo>
                    <a:pt x="230124" y="0"/>
                    <a:pt x="271367" y="13811"/>
                    <a:pt x="298228" y="41338"/>
                  </a:cubicBezTo>
                  <a:cubicBezTo>
                    <a:pt x="325088" y="68866"/>
                    <a:pt x="338519" y="107633"/>
                    <a:pt x="338519" y="157544"/>
                  </a:cubicBezTo>
                  <a:lnTo>
                    <a:pt x="338519" y="378714"/>
                  </a:lnTo>
                  <a:lnTo>
                    <a:pt x="253746" y="378714"/>
                  </a:lnTo>
                  <a:close/>
                  <a:moveTo>
                    <a:pt x="255746" y="222409"/>
                  </a:moveTo>
                  <a:cubicBezTo>
                    <a:pt x="244888" y="218123"/>
                    <a:pt x="232029" y="214598"/>
                    <a:pt x="217265" y="211836"/>
                  </a:cubicBezTo>
                  <a:cubicBezTo>
                    <a:pt x="202406" y="208979"/>
                    <a:pt x="186785" y="207550"/>
                    <a:pt x="170307" y="207550"/>
                  </a:cubicBezTo>
                  <a:cubicBezTo>
                    <a:pt x="143446" y="207550"/>
                    <a:pt x="122491" y="212693"/>
                    <a:pt x="107442" y="223075"/>
                  </a:cubicBezTo>
                  <a:cubicBezTo>
                    <a:pt x="92392" y="233458"/>
                    <a:pt x="84868" y="247555"/>
                    <a:pt x="84868" y="265462"/>
                  </a:cubicBezTo>
                  <a:lnTo>
                    <a:pt x="84868" y="266891"/>
                  </a:lnTo>
                  <a:cubicBezTo>
                    <a:pt x="84868" y="284798"/>
                    <a:pt x="91821" y="298418"/>
                    <a:pt x="105728" y="307848"/>
                  </a:cubicBezTo>
                  <a:cubicBezTo>
                    <a:pt x="119634" y="317278"/>
                    <a:pt x="136684" y="321945"/>
                    <a:pt x="156972" y="321945"/>
                  </a:cubicBezTo>
                  <a:cubicBezTo>
                    <a:pt x="171069" y="321945"/>
                    <a:pt x="184213" y="320040"/>
                    <a:pt x="196215" y="316325"/>
                  </a:cubicBezTo>
                  <a:cubicBezTo>
                    <a:pt x="208216" y="312515"/>
                    <a:pt x="218694" y="307277"/>
                    <a:pt x="227647" y="300419"/>
                  </a:cubicBezTo>
                  <a:cubicBezTo>
                    <a:pt x="236601" y="293561"/>
                    <a:pt x="243554" y="285369"/>
                    <a:pt x="248507" y="275654"/>
                  </a:cubicBezTo>
                  <a:cubicBezTo>
                    <a:pt x="253460" y="266033"/>
                    <a:pt x="255937" y="255270"/>
                    <a:pt x="255937" y="243459"/>
                  </a:cubicBezTo>
                  <a:lnTo>
                    <a:pt x="255937" y="222218"/>
                  </a:lnTo>
                  <a:close/>
                </a:path>
              </a:pathLst>
            </a:custGeom>
            <a:solidFill>
              <a:srgbClr val="44505E"/>
            </a:solidFill>
            <a:ln w="9525" cap="flat">
              <a:noFill/>
              <a:prstDash val="solid"/>
              <a:miter/>
            </a:ln>
          </p:spPr>
          <p:txBody>
            <a:bodyPr rtlCol="0" anchor="ctr"/>
            <a:lstStyle/>
            <a:p>
              <a:endParaRPr lang="pt-BR" noProof="0"/>
            </a:p>
          </p:txBody>
        </p:sp>
        <p:sp>
          <p:nvSpPr>
            <p:cNvPr id="15" name="Freeform: Shape 27">
              <a:extLst>
                <a:ext uri="{FF2B5EF4-FFF2-40B4-BE49-F238E27FC236}">
                  <a16:creationId xmlns:a16="http://schemas.microsoft.com/office/drawing/2014/main" id="{65D1BBAE-642F-BA63-CA63-F300F9BFC6D9}"/>
                </a:ext>
              </a:extLst>
            </p:cNvPr>
            <p:cNvSpPr/>
            <p:nvPr/>
          </p:nvSpPr>
          <p:spPr>
            <a:xfrm>
              <a:off x="6088843" y="700318"/>
              <a:ext cx="74610" cy="97213"/>
            </a:xfrm>
            <a:custGeom>
              <a:avLst/>
              <a:gdLst>
                <a:gd name="connsiteX0" fmla="*/ 158305 w 296799"/>
                <a:gd name="connsiteY0" fmla="*/ 386715 h 386714"/>
                <a:gd name="connsiteX1" fmla="*/ 76676 w 296799"/>
                <a:gd name="connsiteY1" fmla="*/ 372427 h 386714"/>
                <a:gd name="connsiteX2" fmla="*/ 0 w 296799"/>
                <a:gd name="connsiteY2" fmla="*/ 330327 h 386714"/>
                <a:gd name="connsiteX3" fmla="*/ 38195 w 296799"/>
                <a:gd name="connsiteY3" fmla="*/ 272224 h 386714"/>
                <a:gd name="connsiteX4" fmla="*/ 100013 w 296799"/>
                <a:gd name="connsiteY4" fmla="*/ 306514 h 386714"/>
                <a:gd name="connsiteX5" fmla="*/ 160401 w 296799"/>
                <a:gd name="connsiteY5" fmla="*/ 318135 h 386714"/>
                <a:gd name="connsiteX6" fmla="*/ 203168 w 296799"/>
                <a:gd name="connsiteY6" fmla="*/ 307181 h 386714"/>
                <a:gd name="connsiteX7" fmla="*/ 218408 w 296799"/>
                <a:gd name="connsiteY7" fmla="*/ 277939 h 386714"/>
                <a:gd name="connsiteX8" fmla="*/ 218408 w 296799"/>
                <a:gd name="connsiteY8" fmla="*/ 276511 h 386714"/>
                <a:gd name="connsiteX9" fmla="*/ 211646 w 296799"/>
                <a:gd name="connsiteY9" fmla="*/ 258223 h 386714"/>
                <a:gd name="connsiteX10" fmla="*/ 193262 w 296799"/>
                <a:gd name="connsiteY10" fmla="*/ 244792 h 386714"/>
                <a:gd name="connsiteX11" fmla="*/ 166402 w 296799"/>
                <a:gd name="connsiteY11" fmla="*/ 234220 h 386714"/>
                <a:gd name="connsiteX12" fmla="*/ 134969 w 296799"/>
                <a:gd name="connsiteY12" fmla="*/ 224314 h 386714"/>
                <a:gd name="connsiteX13" fmla="*/ 93631 w 296799"/>
                <a:gd name="connsiteY13" fmla="*/ 210884 h 386714"/>
                <a:gd name="connsiteX14" fmla="*/ 56197 w 296799"/>
                <a:gd name="connsiteY14" fmla="*/ 190786 h 386714"/>
                <a:gd name="connsiteX15" fmla="*/ 28956 w 296799"/>
                <a:gd name="connsiteY15" fmla="*/ 160115 h 386714"/>
                <a:gd name="connsiteX16" fmla="*/ 18383 w 296799"/>
                <a:gd name="connsiteY16" fmla="*/ 114967 h 386714"/>
                <a:gd name="connsiteX17" fmla="*/ 18383 w 296799"/>
                <a:gd name="connsiteY17" fmla="*/ 113538 h 386714"/>
                <a:gd name="connsiteX18" fmla="*/ 28575 w 296799"/>
                <a:gd name="connsiteY18" fmla="*/ 66294 h 386714"/>
                <a:gd name="connsiteX19" fmla="*/ 56864 w 296799"/>
                <a:gd name="connsiteY19" fmla="*/ 30385 h 386714"/>
                <a:gd name="connsiteX20" fmla="*/ 99250 w 296799"/>
                <a:gd name="connsiteY20" fmla="*/ 7810 h 386714"/>
                <a:gd name="connsiteX21" fmla="*/ 151162 w 296799"/>
                <a:gd name="connsiteY21" fmla="*/ 0 h 386714"/>
                <a:gd name="connsiteX22" fmla="*/ 222504 w 296799"/>
                <a:gd name="connsiteY22" fmla="*/ 11430 h 386714"/>
                <a:gd name="connsiteX23" fmla="*/ 288227 w 296799"/>
                <a:gd name="connsiteY23" fmla="*/ 42863 h 386714"/>
                <a:gd name="connsiteX24" fmla="*/ 254317 w 296799"/>
                <a:gd name="connsiteY24" fmla="*/ 103918 h 386714"/>
                <a:gd name="connsiteX25" fmla="*/ 199930 w 296799"/>
                <a:gd name="connsiteY25" fmla="*/ 78105 h 386714"/>
                <a:gd name="connsiteX26" fmla="*/ 149066 w 296799"/>
                <a:gd name="connsiteY26" fmla="*/ 68580 h 386714"/>
                <a:gd name="connsiteX27" fmla="*/ 110585 w 296799"/>
                <a:gd name="connsiteY27" fmla="*/ 79153 h 386714"/>
                <a:gd name="connsiteX28" fmla="*/ 96774 w 296799"/>
                <a:gd name="connsiteY28" fmla="*/ 105918 h 386714"/>
                <a:gd name="connsiteX29" fmla="*/ 96774 w 296799"/>
                <a:gd name="connsiteY29" fmla="*/ 107347 h 386714"/>
                <a:gd name="connsiteX30" fmla="*/ 103822 w 296799"/>
                <a:gd name="connsiteY30" fmla="*/ 124587 h 386714"/>
                <a:gd name="connsiteX31" fmla="*/ 122587 w 296799"/>
                <a:gd name="connsiteY31" fmla="*/ 138017 h 386714"/>
                <a:gd name="connsiteX32" fmla="*/ 149447 w 296799"/>
                <a:gd name="connsiteY32" fmla="*/ 149257 h 386714"/>
                <a:gd name="connsiteX33" fmla="*/ 180880 w 296799"/>
                <a:gd name="connsiteY33" fmla="*/ 159448 h 386714"/>
                <a:gd name="connsiteX34" fmla="*/ 221837 w 296799"/>
                <a:gd name="connsiteY34" fmla="*/ 174212 h 386714"/>
                <a:gd name="connsiteX35" fmla="*/ 258985 w 296799"/>
                <a:gd name="connsiteY35" fmla="*/ 194977 h 386714"/>
                <a:gd name="connsiteX36" fmla="*/ 286226 w 296799"/>
                <a:gd name="connsiteY36" fmla="*/ 224980 h 386714"/>
                <a:gd name="connsiteX37" fmla="*/ 296799 w 296799"/>
                <a:gd name="connsiteY37" fmla="*/ 267938 h 386714"/>
                <a:gd name="connsiteX38" fmla="*/ 296799 w 296799"/>
                <a:gd name="connsiteY38" fmla="*/ 269367 h 386714"/>
                <a:gd name="connsiteX39" fmla="*/ 286226 w 296799"/>
                <a:gd name="connsiteY39" fmla="*/ 320897 h 386714"/>
                <a:gd name="connsiteX40" fmla="*/ 256889 w 296799"/>
                <a:gd name="connsiteY40" fmla="*/ 357188 h 386714"/>
                <a:gd name="connsiteX41" fmla="*/ 212693 w 296799"/>
                <a:gd name="connsiteY41" fmla="*/ 379095 h 386714"/>
                <a:gd name="connsiteX42" fmla="*/ 158305 w 296799"/>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799"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065" y="318135"/>
                    <a:pt x="160401" y="318135"/>
                  </a:cubicBezTo>
                  <a:cubicBezTo>
                    <a:pt x="179737" y="318135"/>
                    <a:pt x="193072"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828" y="227647"/>
                    <a:pt x="134969" y="224314"/>
                  </a:cubicBezTo>
                  <a:cubicBezTo>
                    <a:pt x="121348" y="220599"/>
                    <a:pt x="107537" y="216122"/>
                    <a:pt x="93631" y="210884"/>
                  </a:cubicBezTo>
                  <a:cubicBezTo>
                    <a:pt x="79724" y="205740"/>
                    <a:pt x="67246" y="198977"/>
                    <a:pt x="56197" y="190786"/>
                  </a:cubicBezTo>
                  <a:cubicBezTo>
                    <a:pt x="45148" y="182594"/>
                    <a:pt x="36004"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874" y="0"/>
                    <a:pt x="151162" y="0"/>
                  </a:cubicBezTo>
                  <a:cubicBezTo>
                    <a:pt x="174688" y="0"/>
                    <a:pt x="198501" y="3810"/>
                    <a:pt x="222504" y="11430"/>
                  </a:cubicBezTo>
                  <a:cubicBezTo>
                    <a:pt x="246507" y="19050"/>
                    <a:pt x="268414" y="29527"/>
                    <a:pt x="288227" y="42863"/>
                  </a:cubicBezTo>
                  <a:lnTo>
                    <a:pt x="254317"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774" y="95155"/>
                    <a:pt x="96774" y="105918"/>
                  </a:cubicBezTo>
                  <a:lnTo>
                    <a:pt x="96774" y="107347"/>
                  </a:lnTo>
                  <a:cubicBezTo>
                    <a:pt x="96774" y="113919"/>
                    <a:pt x="99155" y="119634"/>
                    <a:pt x="103822" y="124587"/>
                  </a:cubicBezTo>
                  <a:cubicBezTo>
                    <a:pt x="108490" y="129540"/>
                    <a:pt x="114776" y="134017"/>
                    <a:pt x="122587" y="138017"/>
                  </a:cubicBezTo>
                  <a:cubicBezTo>
                    <a:pt x="130397" y="142018"/>
                    <a:pt x="139351" y="145732"/>
                    <a:pt x="149447" y="149257"/>
                  </a:cubicBezTo>
                  <a:cubicBezTo>
                    <a:pt x="159544" y="152781"/>
                    <a:pt x="170021" y="156210"/>
                    <a:pt x="180880" y="159448"/>
                  </a:cubicBezTo>
                  <a:cubicBezTo>
                    <a:pt x="194500" y="163639"/>
                    <a:pt x="208216" y="168592"/>
                    <a:pt x="221837" y="174212"/>
                  </a:cubicBezTo>
                  <a:cubicBezTo>
                    <a:pt x="235458" y="179832"/>
                    <a:pt x="247840" y="186785"/>
                    <a:pt x="258985" y="194977"/>
                  </a:cubicBezTo>
                  <a:cubicBezTo>
                    <a:pt x="270034" y="203168"/>
                    <a:pt x="279178" y="213169"/>
                    <a:pt x="286226" y="224980"/>
                  </a:cubicBezTo>
                  <a:cubicBezTo>
                    <a:pt x="293275" y="236696"/>
                    <a:pt x="296799" y="251079"/>
                    <a:pt x="296799" y="267938"/>
                  </a:cubicBezTo>
                  <a:lnTo>
                    <a:pt x="296799" y="269367"/>
                  </a:lnTo>
                  <a:cubicBezTo>
                    <a:pt x="296799" y="289084"/>
                    <a:pt x="293275" y="306229"/>
                    <a:pt x="286226" y="320897"/>
                  </a:cubicBezTo>
                  <a:cubicBezTo>
                    <a:pt x="279178" y="335470"/>
                    <a:pt x="269367" y="347567"/>
                    <a:pt x="256889" y="357188"/>
                  </a:cubicBezTo>
                  <a:cubicBezTo>
                    <a:pt x="244412" y="366808"/>
                    <a:pt x="229648" y="374142"/>
                    <a:pt x="212693" y="379095"/>
                  </a:cubicBezTo>
                  <a:cubicBezTo>
                    <a:pt x="195739" y="384048"/>
                    <a:pt x="177641" y="386524"/>
                    <a:pt x="158305" y="386524"/>
                  </a:cubicBezTo>
                  <a:close/>
                </a:path>
              </a:pathLst>
            </a:custGeom>
            <a:solidFill>
              <a:srgbClr val="44505E"/>
            </a:solidFill>
            <a:ln w="9525" cap="flat">
              <a:noFill/>
              <a:prstDash val="solid"/>
              <a:miter/>
            </a:ln>
          </p:spPr>
          <p:txBody>
            <a:bodyPr rtlCol="0" anchor="ctr"/>
            <a:lstStyle/>
            <a:p>
              <a:endParaRPr lang="pt-BR" noProof="0"/>
            </a:p>
          </p:txBody>
        </p:sp>
        <p:sp>
          <p:nvSpPr>
            <p:cNvPr id="16" name="Freeform: Shape 28">
              <a:extLst>
                <a:ext uri="{FF2B5EF4-FFF2-40B4-BE49-F238E27FC236}">
                  <a16:creationId xmlns:a16="http://schemas.microsoft.com/office/drawing/2014/main" id="{99775351-C9C0-64C7-79E4-3A56C6366064}"/>
                </a:ext>
              </a:extLst>
            </p:cNvPr>
            <p:cNvSpPr/>
            <p:nvPr/>
          </p:nvSpPr>
          <p:spPr>
            <a:xfrm>
              <a:off x="6238590"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4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7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2 w 568166"/>
                <a:gd name="connsiteY21" fmla="*/ 381000 h 381000"/>
                <a:gd name="connsiteX22" fmla="*/ 240982 w 568166"/>
                <a:gd name="connsiteY22" fmla="*/ 168783 h 381000"/>
                <a:gd name="connsiteX23" fmla="*/ 221266 w 568166"/>
                <a:gd name="connsiteY23" fmla="*/ 101822 h 381000"/>
                <a:gd name="connsiteX24" fmla="*/ 165640 w 568166"/>
                <a:gd name="connsiteY24" fmla="*/ 78581 h 381000"/>
                <a:gd name="connsiteX25" fmla="*/ 108013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69" y="48196"/>
                    <a:pt x="105918" y="40576"/>
                  </a:cubicBezTo>
                  <a:cubicBezTo>
                    <a:pt x="112966" y="32956"/>
                    <a:pt x="121063" y="26099"/>
                    <a:pt x="130207" y="19907"/>
                  </a:cubicBezTo>
                  <a:cubicBezTo>
                    <a:pt x="139351" y="13716"/>
                    <a:pt x="149638" y="8858"/>
                    <a:pt x="161163" y="5334"/>
                  </a:cubicBezTo>
                  <a:cubicBezTo>
                    <a:pt x="172688" y="1714"/>
                    <a:pt x="185452" y="0"/>
                    <a:pt x="199549" y="0"/>
                  </a:cubicBezTo>
                  <a:cubicBezTo>
                    <a:pt x="226314" y="0"/>
                    <a:pt x="248983" y="6096"/>
                    <a:pt x="267557" y="18193"/>
                  </a:cubicBezTo>
                  <a:cubicBezTo>
                    <a:pt x="286131" y="30289"/>
                    <a:pt x="300323" y="46387"/>
                    <a:pt x="310134" y="66294"/>
                  </a:cubicBezTo>
                  <a:cubicBezTo>
                    <a:pt x="325279" y="46387"/>
                    <a:pt x="343090" y="30289"/>
                    <a:pt x="363664" y="18193"/>
                  </a:cubicBezTo>
                  <a:cubicBezTo>
                    <a:pt x="384238" y="6096"/>
                    <a:pt x="408718" y="0"/>
                    <a:pt x="437007" y="0"/>
                  </a:cubicBezTo>
                  <a:cubicBezTo>
                    <a:pt x="478155"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7" y="78486"/>
                  </a:cubicBezTo>
                  <a:cubicBezTo>
                    <a:pt x="382809" y="78486"/>
                    <a:pt x="364141" y="86392"/>
                    <a:pt x="349377" y="102108"/>
                  </a:cubicBezTo>
                  <a:cubicBezTo>
                    <a:pt x="334613" y="117824"/>
                    <a:pt x="327184" y="140779"/>
                    <a:pt x="327184" y="170879"/>
                  </a:cubicBezTo>
                  <a:lnTo>
                    <a:pt x="327184" y="381000"/>
                  </a:lnTo>
                  <a:lnTo>
                    <a:pt x="240982" y="381000"/>
                  </a:lnTo>
                  <a:lnTo>
                    <a:pt x="240982" y="168783"/>
                  </a:lnTo>
                  <a:cubicBezTo>
                    <a:pt x="240982" y="139637"/>
                    <a:pt x="234410" y="117348"/>
                    <a:pt x="221266" y="101822"/>
                  </a:cubicBezTo>
                  <a:cubicBezTo>
                    <a:pt x="208121" y="86296"/>
                    <a:pt x="189547" y="78581"/>
                    <a:pt x="165640" y="78581"/>
                  </a:cubicBezTo>
                  <a:cubicBezTo>
                    <a:pt x="141732" y="78581"/>
                    <a:pt x="122491" y="86773"/>
                    <a:pt x="108013"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17" name="Freeform: Shape 29">
              <a:extLst>
                <a:ext uri="{FF2B5EF4-FFF2-40B4-BE49-F238E27FC236}">
                  <a16:creationId xmlns:a16="http://schemas.microsoft.com/office/drawing/2014/main" id="{47AF4741-3F02-298B-83F0-59D5690F41F5}"/>
                </a:ext>
              </a:extLst>
            </p:cNvPr>
            <p:cNvSpPr/>
            <p:nvPr/>
          </p:nvSpPr>
          <p:spPr>
            <a:xfrm>
              <a:off x="6400979" y="664258"/>
              <a:ext cx="85097" cy="133441"/>
            </a:xfrm>
            <a:custGeom>
              <a:avLst/>
              <a:gdLst>
                <a:gd name="connsiteX0" fmla="*/ 253651 w 338518"/>
                <a:gd name="connsiteY0" fmla="*/ 523018 h 530828"/>
                <a:gd name="connsiteX1" fmla="*/ 253651 w 338518"/>
                <a:gd name="connsiteY1" fmla="*/ 477107 h 530828"/>
                <a:gd name="connsiteX2" fmla="*/ 204883 w 338518"/>
                <a:gd name="connsiteY2" fmla="*/ 515303 h 530828"/>
                <a:gd name="connsiteX3" fmla="*/ 132779 w 338518"/>
                <a:gd name="connsiteY3" fmla="*/ 530828 h 530828"/>
                <a:gd name="connsiteX4" fmla="*/ 81915 w 338518"/>
                <a:gd name="connsiteY4" fmla="*/ 523399 h 530828"/>
                <a:gd name="connsiteX5" fmla="*/ 39910 w 338518"/>
                <a:gd name="connsiteY5" fmla="*/ 501491 h 530828"/>
                <a:gd name="connsiteX6" fmla="*/ 10954 w 338518"/>
                <a:gd name="connsiteY6" fmla="*/ 465487 h 530828"/>
                <a:gd name="connsiteX7" fmla="*/ 0 w 338518"/>
                <a:gd name="connsiteY7" fmla="*/ 415671 h 530828"/>
                <a:gd name="connsiteX8" fmla="*/ 0 w 338518"/>
                <a:gd name="connsiteY8" fmla="*/ 414242 h 530828"/>
                <a:gd name="connsiteX9" fmla="*/ 11335 w 338518"/>
                <a:gd name="connsiteY9" fmla="*/ 360140 h 530828"/>
                <a:gd name="connsiteX10" fmla="*/ 42767 w 338518"/>
                <a:gd name="connsiteY10" fmla="*/ 321945 h 530828"/>
                <a:gd name="connsiteX11" fmla="*/ 90773 w 338518"/>
                <a:gd name="connsiteY11" fmla="*/ 299371 h 530828"/>
                <a:gd name="connsiteX12" fmla="*/ 151162 w 338518"/>
                <a:gd name="connsiteY12" fmla="*/ 291941 h 530828"/>
                <a:gd name="connsiteX13" fmla="*/ 208788 w 338518"/>
                <a:gd name="connsiteY13" fmla="*/ 296228 h 530828"/>
                <a:gd name="connsiteX14" fmla="*/ 254413 w 338518"/>
                <a:gd name="connsiteY14" fmla="*/ 307562 h 530828"/>
                <a:gd name="connsiteX15" fmla="*/ 254413 w 338518"/>
                <a:gd name="connsiteY15" fmla="*/ 300514 h 530828"/>
                <a:gd name="connsiteX16" fmla="*/ 230696 w 338518"/>
                <a:gd name="connsiteY16" fmla="*/ 241173 h 530828"/>
                <a:gd name="connsiteX17" fmla="*/ 162496 w 338518"/>
                <a:gd name="connsiteY17" fmla="*/ 220694 h 530828"/>
                <a:gd name="connsiteX18" fmla="*/ 106013 w 338518"/>
                <a:gd name="connsiteY18" fmla="*/ 227076 h 530828"/>
                <a:gd name="connsiteX19" fmla="*/ 55817 w 338518"/>
                <a:gd name="connsiteY19" fmla="*/ 244031 h 530828"/>
                <a:gd name="connsiteX20" fmla="*/ 32480 w 338518"/>
                <a:gd name="connsiteY20" fmla="*/ 175451 h 530828"/>
                <a:gd name="connsiteX21" fmla="*/ 96107 w 338518"/>
                <a:gd name="connsiteY21" fmla="*/ 152876 h 530828"/>
                <a:gd name="connsiteX22" fmla="*/ 174593 w 338518"/>
                <a:gd name="connsiteY22" fmla="*/ 144399 h 530828"/>
                <a:gd name="connsiteX23" fmla="*/ 298228 w 338518"/>
                <a:gd name="connsiteY23" fmla="*/ 185738 h 530828"/>
                <a:gd name="connsiteX24" fmla="*/ 338519 w 338518"/>
                <a:gd name="connsiteY24" fmla="*/ 301943 h 530828"/>
                <a:gd name="connsiteX25" fmla="*/ 338519 w 338518"/>
                <a:gd name="connsiteY25" fmla="*/ 523113 h 530828"/>
                <a:gd name="connsiteX26" fmla="*/ 253746 w 338518"/>
                <a:gd name="connsiteY26" fmla="*/ 523113 h 530828"/>
                <a:gd name="connsiteX27" fmla="*/ 45911 w 338518"/>
                <a:gd name="connsiteY27" fmla="*/ 95441 h 530828"/>
                <a:gd name="connsiteX28" fmla="*/ 75248 w 338518"/>
                <a:gd name="connsiteY28" fmla="*/ 29718 h 530828"/>
                <a:gd name="connsiteX29" fmla="*/ 125063 w 338518"/>
                <a:gd name="connsiteY29" fmla="*/ 7144 h 530828"/>
                <a:gd name="connsiteX30" fmla="*/ 154019 w 338518"/>
                <a:gd name="connsiteY30" fmla="*/ 11716 h 530828"/>
                <a:gd name="connsiteX31" fmla="*/ 181261 w 338518"/>
                <a:gd name="connsiteY31" fmla="*/ 21622 h 530828"/>
                <a:gd name="connsiteX32" fmla="*/ 205645 w 338518"/>
                <a:gd name="connsiteY32" fmla="*/ 31147 h 530828"/>
                <a:gd name="connsiteX33" fmla="*/ 226790 w 338518"/>
                <a:gd name="connsiteY33" fmla="*/ 35338 h 530828"/>
                <a:gd name="connsiteX34" fmla="*/ 250127 w 338518"/>
                <a:gd name="connsiteY34" fmla="*/ 26861 h 530828"/>
                <a:gd name="connsiteX35" fmla="*/ 265652 w 338518"/>
                <a:gd name="connsiteY35" fmla="*/ 0 h 530828"/>
                <a:gd name="connsiteX36" fmla="*/ 312991 w 338518"/>
                <a:gd name="connsiteY36" fmla="*/ 14859 h 530828"/>
                <a:gd name="connsiteX37" fmla="*/ 283655 w 338518"/>
                <a:gd name="connsiteY37" fmla="*/ 79820 h 530828"/>
                <a:gd name="connsiteX38" fmla="*/ 233839 w 338518"/>
                <a:gd name="connsiteY38" fmla="*/ 102394 h 530828"/>
                <a:gd name="connsiteX39" fmla="*/ 204883 w 338518"/>
                <a:gd name="connsiteY39" fmla="*/ 98203 h 530828"/>
                <a:gd name="connsiteX40" fmla="*/ 177641 w 338518"/>
                <a:gd name="connsiteY40" fmla="*/ 88678 h 530828"/>
                <a:gd name="connsiteX41" fmla="*/ 152876 w 338518"/>
                <a:gd name="connsiteY41" fmla="*/ 78772 h 530828"/>
                <a:gd name="connsiteX42" fmla="*/ 132017 w 338518"/>
                <a:gd name="connsiteY42" fmla="*/ 74200 h 530828"/>
                <a:gd name="connsiteX43" fmla="*/ 108680 w 338518"/>
                <a:gd name="connsiteY43" fmla="*/ 82677 h 530828"/>
                <a:gd name="connsiteX44" fmla="*/ 93154 w 338518"/>
                <a:gd name="connsiteY44" fmla="*/ 109538 h 530828"/>
                <a:gd name="connsiteX45" fmla="*/ 45815 w 338518"/>
                <a:gd name="connsiteY45" fmla="*/ 95441 h 530828"/>
                <a:gd name="connsiteX46" fmla="*/ 255842 w 338518"/>
                <a:gd name="connsiteY46" fmla="*/ 366808 h 530828"/>
                <a:gd name="connsiteX47" fmla="*/ 217361 w 338518"/>
                <a:gd name="connsiteY47" fmla="*/ 356235 h 530828"/>
                <a:gd name="connsiteX48" fmla="*/ 170402 w 338518"/>
                <a:gd name="connsiteY48" fmla="*/ 351949 h 530828"/>
                <a:gd name="connsiteX49" fmla="*/ 107537 w 338518"/>
                <a:gd name="connsiteY49" fmla="*/ 367475 h 530828"/>
                <a:gd name="connsiteX50" fmla="*/ 84963 w 338518"/>
                <a:gd name="connsiteY50" fmla="*/ 409861 h 530828"/>
                <a:gd name="connsiteX51" fmla="*/ 84963 w 338518"/>
                <a:gd name="connsiteY51" fmla="*/ 411290 h 530828"/>
                <a:gd name="connsiteX52" fmla="*/ 105823 w 338518"/>
                <a:gd name="connsiteY52" fmla="*/ 452247 h 530828"/>
                <a:gd name="connsiteX53" fmla="*/ 157067 w 338518"/>
                <a:gd name="connsiteY53" fmla="*/ 466344 h 530828"/>
                <a:gd name="connsiteX54" fmla="*/ 196310 w 338518"/>
                <a:gd name="connsiteY54" fmla="*/ 460724 h 530828"/>
                <a:gd name="connsiteX55" fmla="*/ 227743 w 338518"/>
                <a:gd name="connsiteY55" fmla="*/ 444818 h 530828"/>
                <a:gd name="connsiteX56" fmla="*/ 248603 w 338518"/>
                <a:gd name="connsiteY56" fmla="*/ 420053 h 530828"/>
                <a:gd name="connsiteX57" fmla="*/ 256032 w 338518"/>
                <a:gd name="connsiteY57" fmla="*/ 387858 h 530828"/>
                <a:gd name="connsiteX58" fmla="*/ 256032 w 338518"/>
                <a:gd name="connsiteY58" fmla="*/ 366617 h 5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8518" h="530828">
                  <a:moveTo>
                    <a:pt x="253651" y="523018"/>
                  </a:moveTo>
                  <a:lnTo>
                    <a:pt x="253651" y="477107"/>
                  </a:lnTo>
                  <a:cubicBezTo>
                    <a:pt x="240887" y="492157"/>
                    <a:pt x="224695" y="504920"/>
                    <a:pt x="204883" y="515303"/>
                  </a:cubicBezTo>
                  <a:cubicBezTo>
                    <a:pt x="185071" y="525685"/>
                    <a:pt x="161068" y="530828"/>
                    <a:pt x="132779" y="530828"/>
                  </a:cubicBezTo>
                  <a:cubicBezTo>
                    <a:pt x="114871" y="530828"/>
                    <a:pt x="97917" y="528352"/>
                    <a:pt x="81915" y="523399"/>
                  </a:cubicBezTo>
                  <a:cubicBezTo>
                    <a:pt x="65913" y="518446"/>
                    <a:pt x="51911" y="511112"/>
                    <a:pt x="39910" y="501491"/>
                  </a:cubicBezTo>
                  <a:cubicBezTo>
                    <a:pt x="27908" y="491871"/>
                    <a:pt x="18193" y="479870"/>
                    <a:pt x="10954" y="465487"/>
                  </a:cubicBezTo>
                  <a:cubicBezTo>
                    <a:pt x="3620" y="451104"/>
                    <a:pt x="0" y="434531"/>
                    <a:pt x="0" y="415671"/>
                  </a:cubicBezTo>
                  <a:lnTo>
                    <a:pt x="0" y="414242"/>
                  </a:lnTo>
                  <a:cubicBezTo>
                    <a:pt x="0" y="393478"/>
                    <a:pt x="3810" y="375476"/>
                    <a:pt x="11335" y="360140"/>
                  </a:cubicBezTo>
                  <a:cubicBezTo>
                    <a:pt x="18860" y="344805"/>
                    <a:pt x="29337" y="332137"/>
                    <a:pt x="42767" y="321945"/>
                  </a:cubicBezTo>
                  <a:cubicBezTo>
                    <a:pt x="56198" y="311849"/>
                    <a:pt x="72200" y="304324"/>
                    <a:pt x="90773" y="299371"/>
                  </a:cubicBezTo>
                  <a:cubicBezTo>
                    <a:pt x="109347" y="294418"/>
                    <a:pt x="129540" y="291941"/>
                    <a:pt x="151162" y="291941"/>
                  </a:cubicBezTo>
                  <a:cubicBezTo>
                    <a:pt x="172784" y="291941"/>
                    <a:pt x="192977" y="293370"/>
                    <a:pt x="208788" y="296228"/>
                  </a:cubicBezTo>
                  <a:cubicBezTo>
                    <a:pt x="224600" y="299085"/>
                    <a:pt x="239744" y="302800"/>
                    <a:pt x="254413" y="307562"/>
                  </a:cubicBezTo>
                  <a:lnTo>
                    <a:pt x="254413" y="300514"/>
                  </a:lnTo>
                  <a:cubicBezTo>
                    <a:pt x="254413" y="274606"/>
                    <a:pt x="246507" y="254794"/>
                    <a:pt x="230696" y="241173"/>
                  </a:cubicBezTo>
                  <a:cubicBezTo>
                    <a:pt x="214884" y="227552"/>
                    <a:pt x="192215" y="220694"/>
                    <a:pt x="162496" y="220694"/>
                  </a:cubicBezTo>
                  <a:cubicBezTo>
                    <a:pt x="141351" y="220694"/>
                    <a:pt x="122492" y="222790"/>
                    <a:pt x="106013" y="227076"/>
                  </a:cubicBezTo>
                  <a:cubicBezTo>
                    <a:pt x="89535" y="231362"/>
                    <a:pt x="72771" y="236982"/>
                    <a:pt x="55817" y="244031"/>
                  </a:cubicBezTo>
                  <a:lnTo>
                    <a:pt x="32480" y="175451"/>
                  </a:lnTo>
                  <a:cubicBezTo>
                    <a:pt x="53150" y="166021"/>
                    <a:pt x="74390" y="158496"/>
                    <a:pt x="96107" y="152876"/>
                  </a:cubicBezTo>
                  <a:cubicBezTo>
                    <a:pt x="117729" y="147257"/>
                    <a:pt x="143923" y="144399"/>
                    <a:pt x="174593" y="144399"/>
                  </a:cubicBezTo>
                  <a:cubicBezTo>
                    <a:pt x="230124" y="144399"/>
                    <a:pt x="271367" y="158210"/>
                    <a:pt x="298228" y="185738"/>
                  </a:cubicBezTo>
                  <a:cubicBezTo>
                    <a:pt x="325088" y="213265"/>
                    <a:pt x="338519" y="252032"/>
                    <a:pt x="338519" y="301943"/>
                  </a:cubicBezTo>
                  <a:lnTo>
                    <a:pt x="338519" y="523113"/>
                  </a:lnTo>
                  <a:lnTo>
                    <a:pt x="253746" y="523113"/>
                  </a:lnTo>
                  <a:close/>
                  <a:moveTo>
                    <a:pt x="45911" y="95441"/>
                  </a:moveTo>
                  <a:cubicBezTo>
                    <a:pt x="53912" y="66675"/>
                    <a:pt x="63722" y="44768"/>
                    <a:pt x="75248" y="29718"/>
                  </a:cubicBezTo>
                  <a:cubicBezTo>
                    <a:pt x="86773" y="14669"/>
                    <a:pt x="103442" y="7144"/>
                    <a:pt x="125063" y="7144"/>
                  </a:cubicBezTo>
                  <a:cubicBezTo>
                    <a:pt x="134969" y="7144"/>
                    <a:pt x="144590" y="8668"/>
                    <a:pt x="154019" y="11716"/>
                  </a:cubicBezTo>
                  <a:cubicBezTo>
                    <a:pt x="163449" y="14764"/>
                    <a:pt x="172498" y="18098"/>
                    <a:pt x="181261" y="21622"/>
                  </a:cubicBezTo>
                  <a:cubicBezTo>
                    <a:pt x="189929" y="25146"/>
                    <a:pt x="198120" y="28385"/>
                    <a:pt x="205645" y="31147"/>
                  </a:cubicBezTo>
                  <a:cubicBezTo>
                    <a:pt x="213170" y="34004"/>
                    <a:pt x="220218" y="35338"/>
                    <a:pt x="226790" y="35338"/>
                  </a:cubicBezTo>
                  <a:cubicBezTo>
                    <a:pt x="237173" y="35338"/>
                    <a:pt x="244888" y="32480"/>
                    <a:pt x="250127" y="26861"/>
                  </a:cubicBezTo>
                  <a:cubicBezTo>
                    <a:pt x="255270" y="21241"/>
                    <a:pt x="260509" y="12287"/>
                    <a:pt x="265652" y="0"/>
                  </a:cubicBezTo>
                  <a:lnTo>
                    <a:pt x="312991" y="14859"/>
                  </a:lnTo>
                  <a:cubicBezTo>
                    <a:pt x="304991" y="43148"/>
                    <a:pt x="295180" y="64770"/>
                    <a:pt x="283655" y="79820"/>
                  </a:cubicBezTo>
                  <a:cubicBezTo>
                    <a:pt x="272129" y="94869"/>
                    <a:pt x="255461" y="102394"/>
                    <a:pt x="233839" y="102394"/>
                  </a:cubicBezTo>
                  <a:cubicBezTo>
                    <a:pt x="223933" y="102394"/>
                    <a:pt x="214313" y="100965"/>
                    <a:pt x="204883" y="98203"/>
                  </a:cubicBezTo>
                  <a:cubicBezTo>
                    <a:pt x="195453" y="95345"/>
                    <a:pt x="186404" y="92202"/>
                    <a:pt x="177641" y="88678"/>
                  </a:cubicBezTo>
                  <a:cubicBezTo>
                    <a:pt x="168878" y="85154"/>
                    <a:pt x="160687" y="81820"/>
                    <a:pt x="152876" y="78772"/>
                  </a:cubicBezTo>
                  <a:cubicBezTo>
                    <a:pt x="145066" y="75724"/>
                    <a:pt x="138113" y="74200"/>
                    <a:pt x="132017" y="74200"/>
                  </a:cubicBezTo>
                  <a:cubicBezTo>
                    <a:pt x="121634" y="74200"/>
                    <a:pt x="113919" y="77057"/>
                    <a:pt x="108680" y="82677"/>
                  </a:cubicBezTo>
                  <a:cubicBezTo>
                    <a:pt x="103537" y="88297"/>
                    <a:pt x="98298" y="97250"/>
                    <a:pt x="93154" y="109538"/>
                  </a:cubicBezTo>
                  <a:lnTo>
                    <a:pt x="45815" y="95441"/>
                  </a:lnTo>
                  <a:close/>
                  <a:moveTo>
                    <a:pt x="255842" y="366808"/>
                  </a:moveTo>
                  <a:cubicBezTo>
                    <a:pt x="244983" y="362522"/>
                    <a:pt x="232124" y="358997"/>
                    <a:pt x="217361" y="356235"/>
                  </a:cubicBezTo>
                  <a:cubicBezTo>
                    <a:pt x="202502" y="353378"/>
                    <a:pt x="186880" y="351949"/>
                    <a:pt x="170402" y="351949"/>
                  </a:cubicBezTo>
                  <a:cubicBezTo>
                    <a:pt x="143542" y="351949"/>
                    <a:pt x="122587" y="357092"/>
                    <a:pt x="107537" y="367475"/>
                  </a:cubicBezTo>
                  <a:cubicBezTo>
                    <a:pt x="92488" y="377857"/>
                    <a:pt x="84963" y="391954"/>
                    <a:pt x="84963" y="409861"/>
                  </a:cubicBezTo>
                  <a:lnTo>
                    <a:pt x="84963" y="411290"/>
                  </a:lnTo>
                  <a:cubicBezTo>
                    <a:pt x="84963" y="429197"/>
                    <a:pt x="91916" y="442817"/>
                    <a:pt x="105823" y="452247"/>
                  </a:cubicBezTo>
                  <a:cubicBezTo>
                    <a:pt x="119729" y="461677"/>
                    <a:pt x="136779" y="466344"/>
                    <a:pt x="157067" y="466344"/>
                  </a:cubicBezTo>
                  <a:cubicBezTo>
                    <a:pt x="171164" y="466344"/>
                    <a:pt x="184309" y="464439"/>
                    <a:pt x="196310" y="460724"/>
                  </a:cubicBezTo>
                  <a:cubicBezTo>
                    <a:pt x="208312" y="456914"/>
                    <a:pt x="218789" y="451676"/>
                    <a:pt x="227743" y="444818"/>
                  </a:cubicBezTo>
                  <a:cubicBezTo>
                    <a:pt x="236696" y="437960"/>
                    <a:pt x="243650" y="429768"/>
                    <a:pt x="248603" y="420053"/>
                  </a:cubicBezTo>
                  <a:cubicBezTo>
                    <a:pt x="253555" y="410432"/>
                    <a:pt x="256032" y="399669"/>
                    <a:pt x="256032" y="387858"/>
                  </a:cubicBezTo>
                  <a:lnTo>
                    <a:pt x="256032" y="366617"/>
                  </a:lnTo>
                  <a:close/>
                </a:path>
              </a:pathLst>
            </a:custGeom>
            <a:solidFill>
              <a:srgbClr val="44505E"/>
            </a:solidFill>
            <a:ln w="9525" cap="flat">
              <a:noFill/>
              <a:prstDash val="solid"/>
              <a:miter/>
            </a:ln>
          </p:spPr>
          <p:txBody>
            <a:bodyPr rtlCol="0" anchor="ctr"/>
            <a:lstStyle/>
            <a:p>
              <a:endParaRPr lang="pt-BR" noProof="0"/>
            </a:p>
          </p:txBody>
        </p:sp>
        <p:sp>
          <p:nvSpPr>
            <p:cNvPr id="18" name="Freeform: Shape 30">
              <a:extLst>
                <a:ext uri="{FF2B5EF4-FFF2-40B4-BE49-F238E27FC236}">
                  <a16:creationId xmlns:a16="http://schemas.microsoft.com/office/drawing/2014/main" id="{AFB38084-2D2B-A0AA-9853-F525EB8E0273}"/>
                </a:ext>
              </a:extLst>
            </p:cNvPr>
            <p:cNvSpPr/>
            <p:nvPr/>
          </p:nvSpPr>
          <p:spPr>
            <a:xfrm>
              <a:off x="6506477" y="699959"/>
              <a:ext cx="100038" cy="97908"/>
            </a:xfrm>
            <a:custGeom>
              <a:avLst/>
              <a:gdLst>
                <a:gd name="connsiteX0" fmla="*/ 197834 w 397954"/>
                <a:gd name="connsiteY0" fmla="*/ 389477 h 389477"/>
                <a:gd name="connsiteX1" fmla="*/ 119063 w 397954"/>
                <a:gd name="connsiteY1" fmla="*/ 374237 h 389477"/>
                <a:gd name="connsiteX2" fmla="*/ 56198 w 397954"/>
                <a:gd name="connsiteY2" fmla="*/ 332899 h 389477"/>
                <a:gd name="connsiteX3" fmla="*/ 14859 w 397954"/>
                <a:gd name="connsiteY3" fmla="*/ 271463 h 389477"/>
                <a:gd name="connsiteX4" fmla="*/ 0 w 397954"/>
                <a:gd name="connsiteY4" fmla="*/ 196501 h 389477"/>
                <a:gd name="connsiteX5" fmla="*/ 0 w 397954"/>
                <a:gd name="connsiteY5" fmla="*/ 195072 h 389477"/>
                <a:gd name="connsiteX6" fmla="*/ 15240 w 397954"/>
                <a:gd name="connsiteY6" fmla="*/ 119444 h 389477"/>
                <a:gd name="connsiteX7" fmla="*/ 56960 w 397954"/>
                <a:gd name="connsiteY7" fmla="*/ 57626 h 389477"/>
                <a:gd name="connsiteX8" fmla="*/ 119825 w 397954"/>
                <a:gd name="connsiteY8" fmla="*/ 15526 h 389477"/>
                <a:gd name="connsiteX9" fmla="*/ 199358 w 397954"/>
                <a:gd name="connsiteY9" fmla="*/ 0 h 389477"/>
                <a:gd name="connsiteX10" fmla="*/ 278892 w 397954"/>
                <a:gd name="connsiteY10" fmla="*/ 15240 h 389477"/>
                <a:gd name="connsiteX11" fmla="*/ 341757 w 397954"/>
                <a:gd name="connsiteY11" fmla="*/ 56959 h 389477"/>
                <a:gd name="connsiteX12" fmla="*/ 383096 w 397954"/>
                <a:gd name="connsiteY12" fmla="*/ 118396 h 389477"/>
                <a:gd name="connsiteX13" fmla="*/ 397955 w 397954"/>
                <a:gd name="connsiteY13" fmla="*/ 193643 h 389477"/>
                <a:gd name="connsiteX14" fmla="*/ 397955 w 397954"/>
                <a:gd name="connsiteY14" fmla="*/ 195072 h 389477"/>
                <a:gd name="connsiteX15" fmla="*/ 382714 w 397954"/>
                <a:gd name="connsiteY15" fmla="*/ 270034 h 389477"/>
                <a:gd name="connsiteX16" fmla="*/ 340995 w 397954"/>
                <a:gd name="connsiteY16" fmla="*/ 331851 h 389477"/>
                <a:gd name="connsiteX17" fmla="*/ 277749 w 397954"/>
                <a:gd name="connsiteY17" fmla="*/ 373856 h 389477"/>
                <a:gd name="connsiteX18" fmla="*/ 197834 w 397954"/>
                <a:gd name="connsiteY18" fmla="*/ 389382 h 389477"/>
                <a:gd name="connsiteX19" fmla="*/ 199263 w 397954"/>
                <a:gd name="connsiteY19" fmla="*/ 315278 h 389477"/>
                <a:gd name="connsiteX20" fmla="*/ 245936 w 397954"/>
                <a:gd name="connsiteY20" fmla="*/ 305753 h 389477"/>
                <a:gd name="connsiteX21" fmla="*/ 281369 w 397954"/>
                <a:gd name="connsiteY21" fmla="*/ 279940 h 389477"/>
                <a:gd name="connsiteX22" fmla="*/ 303848 w 397954"/>
                <a:gd name="connsiteY22" fmla="*/ 242125 h 389477"/>
                <a:gd name="connsiteX23" fmla="*/ 311563 w 397954"/>
                <a:gd name="connsiteY23" fmla="*/ 196501 h 389477"/>
                <a:gd name="connsiteX24" fmla="*/ 311563 w 397954"/>
                <a:gd name="connsiteY24" fmla="*/ 195072 h 389477"/>
                <a:gd name="connsiteX25" fmla="*/ 303181 w 397954"/>
                <a:gd name="connsiteY25" fmla="*/ 148400 h 389477"/>
                <a:gd name="connsiteX26" fmla="*/ 279654 w 397954"/>
                <a:gd name="connsiteY26" fmla="*/ 110204 h 389477"/>
                <a:gd name="connsiteX27" fmla="*/ 243840 w 397954"/>
                <a:gd name="connsiteY27" fmla="*/ 84392 h 389477"/>
                <a:gd name="connsiteX28" fmla="*/ 197834 w 397954"/>
                <a:gd name="connsiteY28" fmla="*/ 74867 h 389477"/>
                <a:gd name="connsiteX29" fmla="*/ 151829 w 397954"/>
                <a:gd name="connsiteY29" fmla="*/ 84392 h 389477"/>
                <a:gd name="connsiteX30" fmla="*/ 116396 w 397954"/>
                <a:gd name="connsiteY30" fmla="*/ 109823 h 389477"/>
                <a:gd name="connsiteX31" fmla="*/ 93916 w 397954"/>
                <a:gd name="connsiteY31" fmla="*/ 147638 h 389477"/>
                <a:gd name="connsiteX32" fmla="*/ 86201 w 397954"/>
                <a:gd name="connsiteY32" fmla="*/ 193548 h 389477"/>
                <a:gd name="connsiteX33" fmla="*/ 86201 w 397954"/>
                <a:gd name="connsiteY33" fmla="*/ 194977 h 389477"/>
                <a:gd name="connsiteX34" fmla="*/ 94583 w 397954"/>
                <a:gd name="connsiteY34" fmla="*/ 241268 h 389477"/>
                <a:gd name="connsiteX35" fmla="*/ 118110 w 397954"/>
                <a:gd name="connsiteY35" fmla="*/ 279463 h 389477"/>
                <a:gd name="connsiteX36" fmla="*/ 153924 w 397954"/>
                <a:gd name="connsiteY36" fmla="*/ 305562 h 389477"/>
                <a:gd name="connsiteX37" fmla="*/ 199263 w 397954"/>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954" h="389477">
                  <a:moveTo>
                    <a:pt x="197834" y="389477"/>
                  </a:moveTo>
                  <a:cubicBezTo>
                    <a:pt x="169545" y="389477"/>
                    <a:pt x="143351" y="384429"/>
                    <a:pt x="119063" y="374237"/>
                  </a:cubicBezTo>
                  <a:cubicBezTo>
                    <a:pt x="94774" y="364141"/>
                    <a:pt x="73819" y="350330"/>
                    <a:pt x="56198" y="332899"/>
                  </a:cubicBezTo>
                  <a:cubicBezTo>
                    <a:pt x="38576" y="315468"/>
                    <a:pt x="24765" y="294989"/>
                    <a:pt x="14859" y="271463"/>
                  </a:cubicBezTo>
                  <a:cubicBezTo>
                    <a:pt x="4953" y="247936"/>
                    <a:pt x="0" y="222980"/>
                    <a:pt x="0" y="196501"/>
                  </a:cubicBezTo>
                  <a:lnTo>
                    <a:pt x="0" y="195072"/>
                  </a:lnTo>
                  <a:cubicBezTo>
                    <a:pt x="0" y="168212"/>
                    <a:pt x="5049" y="143066"/>
                    <a:pt x="15240" y="119444"/>
                  </a:cubicBezTo>
                  <a:cubicBezTo>
                    <a:pt x="25337" y="95917"/>
                    <a:pt x="39243" y="75248"/>
                    <a:pt x="56960" y="57626"/>
                  </a:cubicBezTo>
                  <a:cubicBezTo>
                    <a:pt x="74676" y="39910"/>
                    <a:pt x="95631" y="25908"/>
                    <a:pt x="119825" y="15526"/>
                  </a:cubicBezTo>
                  <a:cubicBezTo>
                    <a:pt x="144113" y="5144"/>
                    <a:pt x="170593" y="0"/>
                    <a:pt x="199358" y="0"/>
                  </a:cubicBezTo>
                  <a:cubicBezTo>
                    <a:pt x="228124" y="0"/>
                    <a:pt x="254604" y="5048"/>
                    <a:pt x="278892" y="15240"/>
                  </a:cubicBezTo>
                  <a:cubicBezTo>
                    <a:pt x="303181" y="25337"/>
                    <a:pt x="324136" y="39243"/>
                    <a:pt x="341757" y="56959"/>
                  </a:cubicBezTo>
                  <a:cubicBezTo>
                    <a:pt x="359379" y="74676"/>
                    <a:pt x="373189" y="95155"/>
                    <a:pt x="383096" y="118396"/>
                  </a:cubicBezTo>
                  <a:cubicBezTo>
                    <a:pt x="393002" y="141732"/>
                    <a:pt x="397955" y="166783"/>
                    <a:pt x="397955" y="193643"/>
                  </a:cubicBezTo>
                  <a:lnTo>
                    <a:pt x="397955" y="195072"/>
                  </a:lnTo>
                  <a:cubicBezTo>
                    <a:pt x="397955" y="221456"/>
                    <a:pt x="392906" y="246412"/>
                    <a:pt x="382714" y="270034"/>
                  </a:cubicBezTo>
                  <a:cubicBezTo>
                    <a:pt x="372618" y="293561"/>
                    <a:pt x="358712" y="314230"/>
                    <a:pt x="340995" y="331851"/>
                  </a:cubicBezTo>
                  <a:cubicBezTo>
                    <a:pt x="323279" y="349472"/>
                    <a:pt x="302229" y="363569"/>
                    <a:pt x="277749" y="373856"/>
                  </a:cubicBezTo>
                  <a:cubicBezTo>
                    <a:pt x="253270" y="384238"/>
                    <a:pt x="226600" y="389382"/>
                    <a:pt x="197834" y="389382"/>
                  </a:cubicBezTo>
                  <a:close/>
                  <a:moveTo>
                    <a:pt x="199263" y="315278"/>
                  </a:moveTo>
                  <a:cubicBezTo>
                    <a:pt x="216598" y="315278"/>
                    <a:pt x="232124" y="312039"/>
                    <a:pt x="245936" y="305753"/>
                  </a:cubicBezTo>
                  <a:cubicBezTo>
                    <a:pt x="259747" y="299371"/>
                    <a:pt x="271558" y="290798"/>
                    <a:pt x="281369" y="279940"/>
                  </a:cubicBezTo>
                  <a:cubicBezTo>
                    <a:pt x="291179" y="269081"/>
                    <a:pt x="298704" y="256508"/>
                    <a:pt x="303848" y="242125"/>
                  </a:cubicBezTo>
                  <a:cubicBezTo>
                    <a:pt x="308991" y="227743"/>
                    <a:pt x="311563" y="212598"/>
                    <a:pt x="311563" y="196501"/>
                  </a:cubicBezTo>
                  <a:lnTo>
                    <a:pt x="311563" y="195072"/>
                  </a:lnTo>
                  <a:cubicBezTo>
                    <a:pt x="311563" y="178594"/>
                    <a:pt x="308706" y="163068"/>
                    <a:pt x="303181" y="148400"/>
                  </a:cubicBezTo>
                  <a:cubicBezTo>
                    <a:pt x="297561" y="133826"/>
                    <a:pt x="289750" y="121063"/>
                    <a:pt x="279654" y="110204"/>
                  </a:cubicBezTo>
                  <a:cubicBezTo>
                    <a:pt x="269557" y="99346"/>
                    <a:pt x="257651" y="90773"/>
                    <a:pt x="243840" y="84392"/>
                  </a:cubicBezTo>
                  <a:cubicBezTo>
                    <a:pt x="230029" y="78010"/>
                    <a:pt x="214694" y="74867"/>
                    <a:pt x="197834" y="74867"/>
                  </a:cubicBezTo>
                  <a:cubicBezTo>
                    <a:pt x="180975" y="74867"/>
                    <a:pt x="165640" y="78010"/>
                    <a:pt x="151829" y="84392"/>
                  </a:cubicBezTo>
                  <a:cubicBezTo>
                    <a:pt x="138017" y="90773"/>
                    <a:pt x="126206" y="99250"/>
                    <a:pt x="116396" y="109823"/>
                  </a:cubicBezTo>
                  <a:cubicBezTo>
                    <a:pt x="106585" y="120396"/>
                    <a:pt x="99060" y="133064"/>
                    <a:pt x="93916" y="147638"/>
                  </a:cubicBezTo>
                  <a:cubicBezTo>
                    <a:pt x="88773" y="162211"/>
                    <a:pt x="86201" y="177546"/>
                    <a:pt x="86201" y="193548"/>
                  </a:cubicBezTo>
                  <a:lnTo>
                    <a:pt x="86201" y="194977"/>
                  </a:lnTo>
                  <a:cubicBezTo>
                    <a:pt x="86201" y="211455"/>
                    <a:pt x="89059" y="226886"/>
                    <a:pt x="94583" y="241268"/>
                  </a:cubicBezTo>
                  <a:cubicBezTo>
                    <a:pt x="100203" y="255651"/>
                    <a:pt x="108014" y="268319"/>
                    <a:pt x="118110" y="279463"/>
                  </a:cubicBezTo>
                  <a:cubicBezTo>
                    <a:pt x="128207" y="290608"/>
                    <a:pt x="140113" y="299275"/>
                    <a:pt x="153924" y="305562"/>
                  </a:cubicBezTo>
                  <a:cubicBezTo>
                    <a:pt x="167735" y="311944"/>
                    <a:pt x="182785"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19" name="Freeform: Shape 31">
              <a:extLst>
                <a:ext uri="{FF2B5EF4-FFF2-40B4-BE49-F238E27FC236}">
                  <a16:creationId xmlns:a16="http://schemas.microsoft.com/office/drawing/2014/main" id="{4F36B180-2EA6-F444-9B41-5A37DD15EEAA}"/>
                </a:ext>
              </a:extLst>
            </p:cNvPr>
            <p:cNvSpPr/>
            <p:nvPr/>
          </p:nvSpPr>
          <p:spPr>
            <a:xfrm>
              <a:off x="662071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1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7 w 296894"/>
                <a:gd name="connsiteY23" fmla="*/ 42863 h 386714"/>
                <a:gd name="connsiteX24" fmla="*/ 254318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7 w 296894"/>
                <a:gd name="connsiteY30" fmla="*/ 124587 h 386714"/>
                <a:gd name="connsiteX31" fmla="*/ 122682 w 296894"/>
                <a:gd name="connsiteY31" fmla="*/ 138017 h 386714"/>
                <a:gd name="connsiteX32" fmla="*/ 149543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6" y="348901"/>
                    <a:pt x="0" y="330327"/>
                  </a:cubicBezTo>
                  <a:lnTo>
                    <a:pt x="38195" y="272224"/>
                  </a:lnTo>
                  <a:cubicBezTo>
                    <a:pt x="58484" y="287274"/>
                    <a:pt x="79057" y="298704"/>
                    <a:pt x="100013" y="306514"/>
                  </a:cubicBezTo>
                  <a:cubicBezTo>
                    <a:pt x="120968" y="314325"/>
                    <a:pt x="141161" y="318135"/>
                    <a:pt x="160401" y="318135"/>
                  </a:cubicBezTo>
                  <a:cubicBezTo>
                    <a:pt x="179641" y="318135"/>
                    <a:pt x="192977"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1" y="241078"/>
                    <a:pt x="176498" y="237553"/>
                    <a:pt x="166401"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2" y="40195"/>
                    <a:pt x="56864" y="30385"/>
                  </a:cubicBezTo>
                  <a:cubicBezTo>
                    <a:pt x="68866" y="20479"/>
                    <a:pt x="82962" y="12954"/>
                    <a:pt x="99250" y="7810"/>
                  </a:cubicBezTo>
                  <a:cubicBezTo>
                    <a:pt x="115538" y="2667"/>
                    <a:pt x="132779" y="0"/>
                    <a:pt x="151162" y="0"/>
                  </a:cubicBezTo>
                  <a:cubicBezTo>
                    <a:pt x="174688" y="0"/>
                    <a:pt x="198501" y="3810"/>
                    <a:pt x="222504" y="11430"/>
                  </a:cubicBezTo>
                  <a:cubicBezTo>
                    <a:pt x="246507" y="19050"/>
                    <a:pt x="268414" y="29527"/>
                    <a:pt x="288227" y="42863"/>
                  </a:cubicBezTo>
                  <a:lnTo>
                    <a:pt x="254318"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7" y="124587"/>
                  </a:cubicBezTo>
                  <a:cubicBezTo>
                    <a:pt x="108585" y="129540"/>
                    <a:pt x="114871" y="134017"/>
                    <a:pt x="122682" y="138017"/>
                  </a:cubicBezTo>
                  <a:cubicBezTo>
                    <a:pt x="130493" y="142018"/>
                    <a:pt x="139351" y="145732"/>
                    <a:pt x="149543"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696"/>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0" name="Freeform: Shape 32">
              <a:extLst>
                <a:ext uri="{FF2B5EF4-FFF2-40B4-BE49-F238E27FC236}">
                  <a16:creationId xmlns:a16="http://schemas.microsoft.com/office/drawing/2014/main" id="{A8BE1323-2A67-3330-189C-5E8BF7B515F9}"/>
                </a:ext>
              </a:extLst>
            </p:cNvPr>
            <p:cNvSpPr/>
            <p:nvPr/>
          </p:nvSpPr>
          <p:spPr>
            <a:xfrm>
              <a:off x="526693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4 w 202977"/>
                <a:gd name="connsiteY17" fmla="*/ 19907 h 239267"/>
                <a:gd name="connsiteX18" fmla="*/ 59246 w 202977"/>
                <a:gd name="connsiteY18" fmla="*/ 5429 h 239267"/>
                <a:gd name="connsiteX19" fmla="*/ 104299 w 202977"/>
                <a:gd name="connsiteY19" fmla="*/ 0 h 239267"/>
                <a:gd name="connsiteX20" fmla="*/ 178880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5 w 202977"/>
                <a:gd name="connsiteY27" fmla="*/ 211169 h 239267"/>
                <a:gd name="connsiteX28" fmla="*/ 122968 w 202977"/>
                <a:gd name="connsiteY28" fmla="*/ 206788 h 239267"/>
                <a:gd name="connsiteX29" fmla="*/ 147257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9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9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3" y="99155"/>
                    <a:pt x="58674" y="95917"/>
                  </a:cubicBezTo>
                  <a:cubicBezTo>
                    <a:pt x="70771" y="92678"/>
                    <a:pt x="84011" y="90964"/>
                    <a:pt x="98584" y="90964"/>
                  </a:cubicBezTo>
                  <a:cubicBezTo>
                    <a:pt x="113157" y="90964"/>
                    <a:pt x="126301" y="91821"/>
                    <a:pt x="137160" y="93631"/>
                  </a:cubicBezTo>
                  <a:cubicBezTo>
                    <a:pt x="148019" y="95440"/>
                    <a:pt x="158687" y="97822"/>
                    <a:pt x="169069" y="100774"/>
                  </a:cubicBezTo>
                  <a:lnTo>
                    <a:pt x="169069" y="93726"/>
                  </a:lnTo>
                  <a:cubicBezTo>
                    <a:pt x="169069" y="73342"/>
                    <a:pt x="163068" y="57912"/>
                    <a:pt x="151162" y="47339"/>
                  </a:cubicBezTo>
                  <a:cubicBezTo>
                    <a:pt x="139256" y="36862"/>
                    <a:pt x="122492" y="31623"/>
                    <a:pt x="100679" y="31623"/>
                  </a:cubicBezTo>
                  <a:cubicBezTo>
                    <a:pt x="86963" y="31623"/>
                    <a:pt x="74581" y="33147"/>
                    <a:pt x="63437" y="36100"/>
                  </a:cubicBezTo>
                  <a:cubicBezTo>
                    <a:pt x="52292" y="39053"/>
                    <a:pt x="41339" y="43053"/>
                    <a:pt x="30671" y="48196"/>
                  </a:cubicBezTo>
                  <a:lnTo>
                    <a:pt x="20384" y="19907"/>
                  </a:lnTo>
                  <a:cubicBezTo>
                    <a:pt x="33147" y="13906"/>
                    <a:pt x="46101" y="9049"/>
                    <a:pt x="59246" y="5429"/>
                  </a:cubicBezTo>
                  <a:cubicBezTo>
                    <a:pt x="72295" y="1810"/>
                    <a:pt x="87344" y="0"/>
                    <a:pt x="104299" y="0"/>
                  </a:cubicBezTo>
                  <a:cubicBezTo>
                    <a:pt x="137065" y="0"/>
                    <a:pt x="161925" y="8477"/>
                    <a:pt x="178880"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99" y="239173"/>
                    <a:pt x="86011" y="239173"/>
                  </a:cubicBezTo>
                  <a:close/>
                  <a:moveTo>
                    <a:pt x="93155" y="211169"/>
                  </a:moveTo>
                  <a:cubicBezTo>
                    <a:pt x="103823" y="211169"/>
                    <a:pt x="113728" y="209740"/>
                    <a:pt x="122968" y="206788"/>
                  </a:cubicBezTo>
                  <a:cubicBezTo>
                    <a:pt x="132207" y="203835"/>
                    <a:pt x="140208" y="199644"/>
                    <a:pt x="147257"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9" y="121444"/>
                  </a:cubicBezTo>
                  <a:cubicBezTo>
                    <a:pt x="129445" y="119348"/>
                    <a:pt x="116776"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244" y="190500"/>
                    <a:pt x="47435" y="195358"/>
                    <a:pt x="52769" y="199263"/>
                  </a:cubicBezTo>
                  <a:cubicBezTo>
                    <a:pt x="58103" y="203073"/>
                    <a:pt x="64294" y="206026"/>
                    <a:pt x="71247" y="208121"/>
                  </a:cubicBezTo>
                  <a:cubicBezTo>
                    <a:pt x="78200" y="210217"/>
                    <a:pt x="85535"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21" name="Freeform: Shape 33">
              <a:extLst>
                <a:ext uri="{FF2B5EF4-FFF2-40B4-BE49-F238E27FC236}">
                  <a16:creationId xmlns:a16="http://schemas.microsoft.com/office/drawing/2014/main" id="{4B714A7A-26F8-F7A4-5D10-48535BCB9158}"/>
                </a:ext>
              </a:extLst>
            </p:cNvPr>
            <p:cNvSpPr/>
            <p:nvPr/>
          </p:nvSpPr>
          <p:spPr>
            <a:xfrm>
              <a:off x="5331227"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9" y="303276"/>
                    <a:pt x="71438" y="300895"/>
                  </a:cubicBezTo>
                  <a:cubicBezTo>
                    <a:pt x="63437"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2"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22" name="Freeform: Shape 34">
              <a:extLst>
                <a:ext uri="{FF2B5EF4-FFF2-40B4-BE49-F238E27FC236}">
                  <a16:creationId xmlns:a16="http://schemas.microsoft.com/office/drawing/2014/main" id="{2B8B2E6B-2988-E0A9-2C19-74BB96EDAB0C}"/>
                </a:ext>
              </a:extLst>
            </p:cNvPr>
            <p:cNvSpPr/>
            <p:nvPr/>
          </p:nvSpPr>
          <p:spPr>
            <a:xfrm>
              <a:off x="5381845"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191 w 39242"/>
                <a:gd name="connsiteY5" fmla="*/ 88392 h 319182"/>
                <a:gd name="connsiteX6" fmla="*/ 36576 w 39242"/>
                <a:gd name="connsiteY6" fmla="*/ 88392 h 319182"/>
                <a:gd name="connsiteX7" fmla="*/ 36576 w 39242"/>
                <a:gd name="connsiteY7" fmla="*/ 319183 h 319182"/>
                <a:gd name="connsiteX8" fmla="*/ 2191 w 39242"/>
                <a:gd name="connsiteY8" fmla="*/ 319183 h 319182"/>
                <a:gd name="connsiteX9" fmla="*/ 2191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191" y="88392"/>
                  </a:moveTo>
                  <a:lnTo>
                    <a:pt x="36576" y="88392"/>
                  </a:lnTo>
                  <a:lnTo>
                    <a:pt x="36576" y="319183"/>
                  </a:lnTo>
                  <a:lnTo>
                    <a:pt x="2191" y="319183"/>
                  </a:lnTo>
                  <a:lnTo>
                    <a:pt x="2191" y="88392"/>
                  </a:lnTo>
                  <a:close/>
                </a:path>
              </a:pathLst>
            </a:custGeom>
            <a:solidFill>
              <a:srgbClr val="44505E"/>
            </a:solidFill>
            <a:ln w="9525" cap="flat">
              <a:noFill/>
              <a:prstDash val="solid"/>
              <a:miter/>
            </a:ln>
          </p:spPr>
          <p:txBody>
            <a:bodyPr rtlCol="0" anchor="ctr"/>
            <a:lstStyle/>
            <a:p>
              <a:endParaRPr lang="pt-BR" noProof="0"/>
            </a:p>
          </p:txBody>
        </p:sp>
        <p:sp>
          <p:nvSpPr>
            <p:cNvPr id="23" name="Freeform: Shape 35">
              <a:extLst>
                <a:ext uri="{FF2B5EF4-FFF2-40B4-BE49-F238E27FC236}">
                  <a16:creationId xmlns:a16="http://schemas.microsoft.com/office/drawing/2014/main" id="{C0B6E442-E128-1D87-1E41-5B278410909F}"/>
                </a:ext>
              </a:extLst>
            </p:cNvPr>
            <p:cNvSpPr/>
            <p:nvPr/>
          </p:nvSpPr>
          <p:spPr>
            <a:xfrm>
              <a:off x="5406076"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8" y="303276"/>
                    <a:pt x="71438" y="300895"/>
                  </a:cubicBezTo>
                  <a:cubicBezTo>
                    <a:pt x="63436"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1"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24" name="Freeform: Shape 36">
              <a:extLst>
                <a:ext uri="{FF2B5EF4-FFF2-40B4-BE49-F238E27FC236}">
                  <a16:creationId xmlns:a16="http://schemas.microsoft.com/office/drawing/2014/main" id="{889DD4FE-4930-597E-DBE5-8B8E34B040AA}"/>
                </a:ext>
              </a:extLst>
            </p:cNvPr>
            <p:cNvSpPr/>
            <p:nvPr/>
          </p:nvSpPr>
          <p:spPr>
            <a:xfrm>
              <a:off x="5455545" y="925297"/>
              <a:ext cx="50594" cy="59238"/>
            </a:xfrm>
            <a:custGeom>
              <a:avLst/>
              <a:gdLst>
                <a:gd name="connsiteX0" fmla="*/ 88392 w 201263"/>
                <a:gd name="connsiteY0" fmla="*/ 235648 h 235648"/>
                <a:gd name="connsiteX1" fmla="*/ 51149 w 201263"/>
                <a:gd name="connsiteY1" fmla="*/ 228981 h 235648"/>
                <a:gd name="connsiteX2" fmla="*/ 23431 w 201263"/>
                <a:gd name="connsiteY2" fmla="*/ 210026 h 235648"/>
                <a:gd name="connsiteX3" fmla="*/ 6001 w 201263"/>
                <a:gd name="connsiteY3" fmla="*/ 180784 h 235648"/>
                <a:gd name="connsiteX4" fmla="*/ 0 w 201263"/>
                <a:gd name="connsiteY4" fmla="*/ 143256 h 235648"/>
                <a:gd name="connsiteX5" fmla="*/ 0 w 201263"/>
                <a:gd name="connsiteY5" fmla="*/ 0 h 235648"/>
                <a:gd name="connsiteX6" fmla="*/ 34385 w 201263"/>
                <a:gd name="connsiteY6" fmla="*/ 0 h 235648"/>
                <a:gd name="connsiteX7" fmla="*/ 34385 w 201263"/>
                <a:gd name="connsiteY7" fmla="*/ 134493 h 235648"/>
                <a:gd name="connsiteX8" fmla="*/ 50864 w 201263"/>
                <a:gd name="connsiteY8" fmla="*/ 185261 h 235648"/>
                <a:gd name="connsiteX9" fmla="*/ 98203 w 201263"/>
                <a:gd name="connsiteY9" fmla="*/ 203930 h 235648"/>
                <a:gd name="connsiteX10" fmla="*/ 125635 w 201263"/>
                <a:gd name="connsiteY10" fmla="*/ 198787 h 235648"/>
                <a:gd name="connsiteX11" fmla="*/ 147542 w 201263"/>
                <a:gd name="connsiteY11" fmla="*/ 184118 h 235648"/>
                <a:gd name="connsiteX12" fmla="*/ 162020 w 201263"/>
                <a:gd name="connsiteY12" fmla="*/ 161163 h 235648"/>
                <a:gd name="connsiteX13" fmla="*/ 167354 w 201263"/>
                <a:gd name="connsiteY13" fmla="*/ 131826 h 235648"/>
                <a:gd name="connsiteX14" fmla="*/ 167354 w 201263"/>
                <a:gd name="connsiteY14" fmla="*/ 0 h 235648"/>
                <a:gd name="connsiteX15" fmla="*/ 201263 w 201263"/>
                <a:gd name="connsiteY15" fmla="*/ 0 h 235648"/>
                <a:gd name="connsiteX16" fmla="*/ 201263 w 201263"/>
                <a:gd name="connsiteY16" fmla="*/ 230791 h 235648"/>
                <a:gd name="connsiteX17" fmla="*/ 167354 w 201263"/>
                <a:gd name="connsiteY17" fmla="*/ 230791 h 235648"/>
                <a:gd name="connsiteX18" fmla="*/ 167354 w 201263"/>
                <a:gd name="connsiteY18" fmla="*/ 190595 h 235648"/>
                <a:gd name="connsiteX19" fmla="*/ 136969 w 201263"/>
                <a:gd name="connsiteY19" fmla="*/ 222504 h 235648"/>
                <a:gd name="connsiteX20" fmla="*/ 88297 w 201263"/>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263" h="235648">
                  <a:moveTo>
                    <a:pt x="88392" y="235648"/>
                  </a:moveTo>
                  <a:cubicBezTo>
                    <a:pt x="74390" y="235648"/>
                    <a:pt x="62008" y="233363"/>
                    <a:pt x="51149" y="228981"/>
                  </a:cubicBezTo>
                  <a:cubicBezTo>
                    <a:pt x="40291" y="224504"/>
                    <a:pt x="31052" y="218218"/>
                    <a:pt x="23431"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864" y="185261"/>
                  </a:cubicBezTo>
                  <a:cubicBezTo>
                    <a:pt x="61913" y="197739"/>
                    <a:pt x="77629" y="203930"/>
                    <a:pt x="98203" y="203930"/>
                  </a:cubicBezTo>
                  <a:cubicBezTo>
                    <a:pt x="108014" y="203930"/>
                    <a:pt x="117158" y="202216"/>
                    <a:pt x="125635" y="198787"/>
                  </a:cubicBezTo>
                  <a:cubicBezTo>
                    <a:pt x="134112" y="195358"/>
                    <a:pt x="141351" y="190500"/>
                    <a:pt x="147542" y="184118"/>
                  </a:cubicBezTo>
                  <a:cubicBezTo>
                    <a:pt x="153638" y="177736"/>
                    <a:pt x="158496" y="170116"/>
                    <a:pt x="162020" y="161163"/>
                  </a:cubicBezTo>
                  <a:cubicBezTo>
                    <a:pt x="165640" y="152305"/>
                    <a:pt x="167354" y="142494"/>
                    <a:pt x="167354" y="131826"/>
                  </a:cubicBezTo>
                  <a:lnTo>
                    <a:pt x="167354" y="0"/>
                  </a:lnTo>
                  <a:lnTo>
                    <a:pt x="201263" y="0"/>
                  </a:lnTo>
                  <a:lnTo>
                    <a:pt x="201263" y="230791"/>
                  </a:lnTo>
                  <a:lnTo>
                    <a:pt x="167354" y="230791"/>
                  </a:lnTo>
                  <a:lnTo>
                    <a:pt x="167354" y="190595"/>
                  </a:lnTo>
                  <a:cubicBezTo>
                    <a:pt x="159639" y="203073"/>
                    <a:pt x="149447" y="213741"/>
                    <a:pt x="136969" y="222504"/>
                  </a:cubicBezTo>
                  <a:cubicBezTo>
                    <a:pt x="124492" y="231267"/>
                    <a:pt x="108299" y="235648"/>
                    <a:pt x="88297" y="235648"/>
                  </a:cubicBezTo>
                  <a:close/>
                </a:path>
              </a:pathLst>
            </a:custGeom>
            <a:solidFill>
              <a:srgbClr val="44505E"/>
            </a:solidFill>
            <a:ln w="9525" cap="flat">
              <a:noFill/>
              <a:prstDash val="solid"/>
              <a:miter/>
            </a:ln>
          </p:spPr>
          <p:txBody>
            <a:bodyPr rtlCol="0" anchor="ctr"/>
            <a:lstStyle/>
            <a:p>
              <a:endParaRPr lang="pt-BR" noProof="0"/>
            </a:p>
          </p:txBody>
        </p:sp>
        <p:sp>
          <p:nvSpPr>
            <p:cNvPr id="25" name="Freeform: Shape 37">
              <a:extLst>
                <a:ext uri="{FF2B5EF4-FFF2-40B4-BE49-F238E27FC236}">
                  <a16:creationId xmlns:a16="http://schemas.microsoft.com/office/drawing/2014/main" id="{496DF0FF-B172-B224-784C-6142EE81BB8E}"/>
                </a:ext>
              </a:extLst>
            </p:cNvPr>
            <p:cNvSpPr/>
            <p:nvPr/>
          </p:nvSpPr>
          <p:spPr>
            <a:xfrm>
              <a:off x="5522205" y="901353"/>
              <a:ext cx="58567" cy="83182"/>
            </a:xfrm>
            <a:custGeom>
              <a:avLst/>
              <a:gdLst>
                <a:gd name="connsiteX0" fmla="*/ 110204 w 232981"/>
                <a:gd name="connsiteY0" fmla="*/ 330898 h 330898"/>
                <a:gd name="connsiteX1" fmla="*/ 69628 w 232981"/>
                <a:gd name="connsiteY1" fmla="*/ 322897 h 330898"/>
                <a:gd name="connsiteX2" fmla="*/ 34385 w 232981"/>
                <a:gd name="connsiteY2" fmla="*/ 299466 h 330898"/>
                <a:gd name="connsiteX3" fmla="*/ 9334 w 232981"/>
                <a:gd name="connsiteY3" fmla="*/ 261938 h 330898"/>
                <a:gd name="connsiteX4" fmla="*/ 0 w 232981"/>
                <a:gd name="connsiteY4" fmla="*/ 211264 h 330898"/>
                <a:gd name="connsiteX5" fmla="*/ 0 w 232981"/>
                <a:gd name="connsiteY5" fmla="*/ 210407 h 330898"/>
                <a:gd name="connsiteX6" fmla="*/ 9334 w 232981"/>
                <a:gd name="connsiteY6" fmla="*/ 159925 h 330898"/>
                <a:gd name="connsiteX7" fmla="*/ 34385 w 232981"/>
                <a:gd name="connsiteY7" fmla="*/ 122206 h 330898"/>
                <a:gd name="connsiteX8" fmla="*/ 69628 w 232981"/>
                <a:gd name="connsiteY8" fmla="*/ 98488 h 330898"/>
                <a:gd name="connsiteX9" fmla="*/ 110204 w 232981"/>
                <a:gd name="connsiteY9" fmla="*/ 90202 h 330898"/>
                <a:gd name="connsiteX10" fmla="*/ 139636 w 232981"/>
                <a:gd name="connsiteY10" fmla="*/ 94202 h 330898"/>
                <a:gd name="connsiteX11" fmla="*/ 163735 w 232981"/>
                <a:gd name="connsiteY11" fmla="*/ 104870 h 330898"/>
                <a:gd name="connsiteX12" fmla="*/ 183166 w 232981"/>
                <a:gd name="connsiteY12" fmla="*/ 120491 h 330898"/>
                <a:gd name="connsiteX13" fmla="*/ 198596 w 232981"/>
                <a:gd name="connsiteY13" fmla="*/ 139255 h 330898"/>
                <a:gd name="connsiteX14" fmla="*/ 198596 w 232981"/>
                <a:gd name="connsiteY14" fmla="*/ 0 h 330898"/>
                <a:gd name="connsiteX15" fmla="*/ 232981 w 232981"/>
                <a:gd name="connsiteY15" fmla="*/ 0 h 330898"/>
                <a:gd name="connsiteX16" fmla="*/ 232981 w 232981"/>
                <a:gd name="connsiteY16" fmla="*/ 325850 h 330898"/>
                <a:gd name="connsiteX17" fmla="*/ 198596 w 232981"/>
                <a:gd name="connsiteY17" fmla="*/ 325850 h 330898"/>
                <a:gd name="connsiteX18" fmla="*/ 198596 w 232981"/>
                <a:gd name="connsiteY18" fmla="*/ 279463 h 330898"/>
                <a:gd name="connsiteX19" fmla="*/ 182785 w 232981"/>
                <a:gd name="connsiteY19" fmla="*/ 299085 h 330898"/>
                <a:gd name="connsiteX20" fmla="*/ 163354 w 232981"/>
                <a:gd name="connsiteY20" fmla="*/ 315658 h 330898"/>
                <a:gd name="connsiteX21" fmla="*/ 139446 w 232981"/>
                <a:gd name="connsiteY21" fmla="*/ 326803 h 330898"/>
                <a:gd name="connsiteX22" fmla="*/ 110204 w 232981"/>
                <a:gd name="connsiteY22" fmla="*/ 330803 h 330898"/>
                <a:gd name="connsiteX23" fmla="*/ 116491 w 232981"/>
                <a:gd name="connsiteY23" fmla="*/ 300133 h 330898"/>
                <a:gd name="connsiteX24" fmla="*/ 147542 w 232981"/>
                <a:gd name="connsiteY24" fmla="*/ 293656 h 330898"/>
                <a:gd name="connsiteX25" fmla="*/ 174307 w 232981"/>
                <a:gd name="connsiteY25" fmla="*/ 275368 h 330898"/>
                <a:gd name="connsiteX26" fmla="*/ 193072 w 232981"/>
                <a:gd name="connsiteY26" fmla="*/ 247269 h 330898"/>
                <a:gd name="connsiteX27" fmla="*/ 200025 w 232981"/>
                <a:gd name="connsiteY27" fmla="*/ 210883 h 330898"/>
                <a:gd name="connsiteX28" fmla="*/ 200025 w 232981"/>
                <a:gd name="connsiteY28" fmla="*/ 210026 h 330898"/>
                <a:gd name="connsiteX29" fmla="*/ 193072 w 232981"/>
                <a:gd name="connsiteY29" fmla="*/ 173641 h 330898"/>
                <a:gd name="connsiteX30" fmla="*/ 174307 w 232981"/>
                <a:gd name="connsiteY30" fmla="*/ 145732 h 330898"/>
                <a:gd name="connsiteX31" fmla="*/ 147542 w 232981"/>
                <a:gd name="connsiteY31" fmla="*/ 127635 h 330898"/>
                <a:gd name="connsiteX32" fmla="*/ 116491 w 232981"/>
                <a:gd name="connsiteY32" fmla="*/ 121158 h 330898"/>
                <a:gd name="connsiteX33" fmla="*/ 84772 w 232981"/>
                <a:gd name="connsiteY33" fmla="*/ 127159 h 330898"/>
                <a:gd name="connsiteX34" fmla="*/ 59150 w 232981"/>
                <a:gd name="connsiteY34" fmla="*/ 144589 h 330898"/>
                <a:gd name="connsiteX35" fmla="*/ 41719 w 232981"/>
                <a:gd name="connsiteY35" fmla="*/ 172498 h 330898"/>
                <a:gd name="connsiteX36" fmla="*/ 35242 w 232981"/>
                <a:gd name="connsiteY36" fmla="*/ 210026 h 330898"/>
                <a:gd name="connsiteX37" fmla="*/ 35242 w 232981"/>
                <a:gd name="connsiteY37" fmla="*/ 210883 h 330898"/>
                <a:gd name="connsiteX38" fmla="*/ 41719 w 232981"/>
                <a:gd name="connsiteY38" fmla="*/ 247936 h 330898"/>
                <a:gd name="connsiteX39" fmla="*/ 59341 w 232981"/>
                <a:gd name="connsiteY39" fmla="*/ 276034 h 330898"/>
                <a:gd name="connsiteX40" fmla="*/ 85249 w 232981"/>
                <a:gd name="connsiteY40" fmla="*/ 293941 h 330898"/>
                <a:gd name="connsiteX41" fmla="*/ 116491 w 23298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30898">
                  <a:moveTo>
                    <a:pt x="110204" y="330898"/>
                  </a:moveTo>
                  <a:cubicBezTo>
                    <a:pt x="96202" y="330898"/>
                    <a:pt x="82677" y="328231"/>
                    <a:pt x="69628" y="322897"/>
                  </a:cubicBezTo>
                  <a:cubicBezTo>
                    <a:pt x="56578" y="317563"/>
                    <a:pt x="44767" y="309753"/>
                    <a:pt x="34385" y="299466"/>
                  </a:cubicBezTo>
                  <a:cubicBezTo>
                    <a:pt x="24003" y="289179"/>
                    <a:pt x="15621" y="276701"/>
                    <a:pt x="9334" y="261938"/>
                  </a:cubicBezTo>
                  <a:cubicBezTo>
                    <a:pt x="3048" y="247174"/>
                    <a:pt x="0" y="230314"/>
                    <a:pt x="0" y="211264"/>
                  </a:cubicBezTo>
                  <a:lnTo>
                    <a:pt x="0" y="210407"/>
                  </a:lnTo>
                  <a:cubicBezTo>
                    <a:pt x="0" y="191643"/>
                    <a:pt x="3143" y="174879"/>
                    <a:pt x="9334" y="159925"/>
                  </a:cubicBezTo>
                  <a:cubicBezTo>
                    <a:pt x="15621" y="145066"/>
                    <a:pt x="23908" y="132493"/>
                    <a:pt x="34385" y="122206"/>
                  </a:cubicBezTo>
                  <a:cubicBezTo>
                    <a:pt x="44767" y="111919"/>
                    <a:pt x="56578" y="104013"/>
                    <a:pt x="69628" y="98488"/>
                  </a:cubicBezTo>
                  <a:cubicBezTo>
                    <a:pt x="82677" y="92964"/>
                    <a:pt x="96298" y="90202"/>
                    <a:pt x="110204" y="90202"/>
                  </a:cubicBezTo>
                  <a:cubicBezTo>
                    <a:pt x="120967" y="90202"/>
                    <a:pt x="130778" y="91535"/>
                    <a:pt x="139636" y="94202"/>
                  </a:cubicBezTo>
                  <a:cubicBezTo>
                    <a:pt x="148590" y="96869"/>
                    <a:pt x="156591" y="100489"/>
                    <a:pt x="163735" y="104870"/>
                  </a:cubicBezTo>
                  <a:cubicBezTo>
                    <a:pt x="170878" y="109347"/>
                    <a:pt x="177356" y="114586"/>
                    <a:pt x="183166" y="120491"/>
                  </a:cubicBezTo>
                  <a:cubicBezTo>
                    <a:pt x="188976" y="126492"/>
                    <a:pt x="194119" y="132683"/>
                    <a:pt x="198596" y="139255"/>
                  </a:cubicBezTo>
                  <a:lnTo>
                    <a:pt x="198596" y="0"/>
                  </a:lnTo>
                  <a:lnTo>
                    <a:pt x="232981" y="0"/>
                  </a:lnTo>
                  <a:lnTo>
                    <a:pt x="232981" y="325850"/>
                  </a:lnTo>
                  <a:lnTo>
                    <a:pt x="198596" y="325850"/>
                  </a:lnTo>
                  <a:lnTo>
                    <a:pt x="198596" y="279463"/>
                  </a:lnTo>
                  <a:cubicBezTo>
                    <a:pt x="193834" y="286321"/>
                    <a:pt x="188595" y="292894"/>
                    <a:pt x="182785" y="299085"/>
                  </a:cubicBezTo>
                  <a:cubicBezTo>
                    <a:pt x="176974" y="305371"/>
                    <a:pt x="170498" y="310896"/>
                    <a:pt x="163354" y="315658"/>
                  </a:cubicBezTo>
                  <a:cubicBezTo>
                    <a:pt x="156210" y="320421"/>
                    <a:pt x="148209" y="324136"/>
                    <a:pt x="139446" y="326803"/>
                  </a:cubicBezTo>
                  <a:cubicBezTo>
                    <a:pt x="130683" y="329470"/>
                    <a:pt x="120967" y="330803"/>
                    <a:pt x="110204" y="330803"/>
                  </a:cubicBezTo>
                  <a:close/>
                  <a:moveTo>
                    <a:pt x="116491" y="300133"/>
                  </a:moveTo>
                  <a:cubicBezTo>
                    <a:pt x="127159" y="300133"/>
                    <a:pt x="137541" y="297942"/>
                    <a:pt x="147542" y="293656"/>
                  </a:cubicBezTo>
                  <a:cubicBezTo>
                    <a:pt x="157544" y="289369"/>
                    <a:pt x="166402" y="283273"/>
                    <a:pt x="174307" y="275368"/>
                  </a:cubicBezTo>
                  <a:cubicBezTo>
                    <a:pt x="182213" y="267462"/>
                    <a:pt x="188404" y="258127"/>
                    <a:pt x="193072" y="247269"/>
                  </a:cubicBezTo>
                  <a:cubicBezTo>
                    <a:pt x="197644" y="236410"/>
                    <a:pt x="200025" y="224314"/>
                    <a:pt x="200025" y="210883"/>
                  </a:cubicBezTo>
                  <a:lnTo>
                    <a:pt x="200025" y="210026"/>
                  </a:lnTo>
                  <a:cubicBezTo>
                    <a:pt x="200025" y="196596"/>
                    <a:pt x="197739" y="184499"/>
                    <a:pt x="193072" y="173641"/>
                  </a:cubicBezTo>
                  <a:cubicBezTo>
                    <a:pt x="188500" y="162782"/>
                    <a:pt x="182213" y="153448"/>
                    <a:pt x="174307" y="145732"/>
                  </a:cubicBezTo>
                  <a:cubicBezTo>
                    <a:pt x="166402" y="138017"/>
                    <a:pt x="157448" y="132016"/>
                    <a:pt x="147542" y="127635"/>
                  </a:cubicBezTo>
                  <a:cubicBezTo>
                    <a:pt x="137541" y="123349"/>
                    <a:pt x="127254" y="121158"/>
                    <a:pt x="116491" y="121158"/>
                  </a:cubicBezTo>
                  <a:cubicBezTo>
                    <a:pt x="105156" y="121158"/>
                    <a:pt x="94583" y="123158"/>
                    <a:pt x="84772" y="127159"/>
                  </a:cubicBezTo>
                  <a:cubicBezTo>
                    <a:pt x="74962" y="131159"/>
                    <a:pt x="66389" y="136969"/>
                    <a:pt x="59150" y="144589"/>
                  </a:cubicBezTo>
                  <a:cubicBezTo>
                    <a:pt x="51816" y="152114"/>
                    <a:pt x="46101" y="161449"/>
                    <a:pt x="41719" y="172498"/>
                  </a:cubicBezTo>
                  <a:cubicBezTo>
                    <a:pt x="37433" y="183451"/>
                    <a:pt x="35242" y="196024"/>
                    <a:pt x="35242" y="210026"/>
                  </a:cubicBezTo>
                  <a:lnTo>
                    <a:pt x="35242" y="210883"/>
                  </a:lnTo>
                  <a:cubicBezTo>
                    <a:pt x="35242" y="224599"/>
                    <a:pt x="37433" y="236982"/>
                    <a:pt x="41719" y="247936"/>
                  </a:cubicBezTo>
                  <a:cubicBezTo>
                    <a:pt x="46006" y="258984"/>
                    <a:pt x="51911" y="268319"/>
                    <a:pt x="59341" y="276034"/>
                  </a:cubicBezTo>
                  <a:cubicBezTo>
                    <a:pt x="66770" y="283750"/>
                    <a:pt x="75438" y="289750"/>
                    <a:pt x="85249" y="293941"/>
                  </a:cubicBezTo>
                  <a:cubicBezTo>
                    <a:pt x="95059" y="298132"/>
                    <a:pt x="105442" y="300228"/>
                    <a:pt x="116491" y="300228"/>
                  </a:cubicBezTo>
                  <a:close/>
                </a:path>
              </a:pathLst>
            </a:custGeom>
            <a:solidFill>
              <a:srgbClr val="44505E"/>
            </a:solidFill>
            <a:ln w="9525" cap="flat">
              <a:noFill/>
              <a:prstDash val="solid"/>
              <a:miter/>
            </a:ln>
          </p:spPr>
          <p:txBody>
            <a:bodyPr rtlCol="0" anchor="ctr"/>
            <a:lstStyle/>
            <a:p>
              <a:endParaRPr lang="pt-BR" noProof="0"/>
            </a:p>
          </p:txBody>
        </p:sp>
        <p:sp>
          <p:nvSpPr>
            <p:cNvPr id="26" name="Freeform: Shape 38">
              <a:extLst>
                <a:ext uri="{FF2B5EF4-FFF2-40B4-BE49-F238E27FC236}">
                  <a16:creationId xmlns:a16="http://schemas.microsoft.com/office/drawing/2014/main" id="{C291AD78-6C4C-9881-DAA8-462EB052E648}"/>
                </a:ext>
              </a:extLst>
            </p:cNvPr>
            <p:cNvSpPr/>
            <p:nvPr/>
          </p:nvSpPr>
          <p:spPr>
            <a:xfrm>
              <a:off x="5596504"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6963 w 218217"/>
                <a:gd name="connsiteY3" fmla="*/ 206026 h 241077"/>
                <a:gd name="connsiteX4" fmla="*/ 116015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8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1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452 w 218217"/>
                <a:gd name="connsiteY25" fmla="*/ 106299 h 241077"/>
                <a:gd name="connsiteX26" fmla="*/ 176784 w 218217"/>
                <a:gd name="connsiteY26" fmla="*/ 76771 h 241077"/>
                <a:gd name="connsiteX27" fmla="*/ 162306 w 218217"/>
                <a:gd name="connsiteY27" fmla="*/ 52101 h 241077"/>
                <a:gd name="connsiteX28" fmla="*/ 140018 w 218217"/>
                <a:gd name="connsiteY28" fmla="*/ 35242 h 241077"/>
                <a:gd name="connsiteX29" fmla="*/ 109919 w 218217"/>
                <a:gd name="connsiteY29" fmla="*/ 29051 h 241077"/>
                <a:gd name="connsiteX30" fmla="*/ 82201 w 218217"/>
                <a:gd name="connsiteY30" fmla="*/ 34766 h 241077"/>
                <a:gd name="connsiteX31" fmla="*/ 59436 w 218217"/>
                <a:gd name="connsiteY31" fmla="*/ 50959 h 241077"/>
                <a:gd name="connsiteX32" fmla="*/ 43148 w 218217"/>
                <a:gd name="connsiteY32" fmla="*/ 75628 h 241077"/>
                <a:gd name="connsiteX33" fmla="*/ 34862 w 218217"/>
                <a:gd name="connsiteY33" fmla="*/ 106204 h 241077"/>
                <a:gd name="connsiteX34" fmla="*/ 183547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724" y="202597"/>
                    <a:pt x="86963" y="206026"/>
                  </a:cubicBezTo>
                  <a:cubicBezTo>
                    <a:pt x="96203" y="209455"/>
                    <a:pt x="105823" y="211169"/>
                    <a:pt x="116015" y="211169"/>
                  </a:cubicBezTo>
                  <a:cubicBezTo>
                    <a:pt x="132112" y="211169"/>
                    <a:pt x="145828" y="208216"/>
                    <a:pt x="157353" y="202216"/>
                  </a:cubicBezTo>
                  <a:cubicBezTo>
                    <a:pt x="168783" y="196310"/>
                    <a:pt x="179261" y="188404"/>
                    <a:pt x="188786" y="178594"/>
                  </a:cubicBezTo>
                  <a:lnTo>
                    <a:pt x="210217" y="197834"/>
                  </a:lnTo>
                  <a:cubicBezTo>
                    <a:pt x="198596" y="210979"/>
                    <a:pt x="185357" y="221361"/>
                    <a:pt x="170498" y="229267"/>
                  </a:cubicBezTo>
                  <a:cubicBezTo>
                    <a:pt x="155639"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679" y="0"/>
                    <a:pt x="110681"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452" y="106299"/>
                  </a:moveTo>
                  <a:cubicBezTo>
                    <a:pt x="182594" y="95917"/>
                    <a:pt x="180308" y="86106"/>
                    <a:pt x="176784" y="76771"/>
                  </a:cubicBezTo>
                  <a:cubicBezTo>
                    <a:pt x="173165" y="67437"/>
                    <a:pt x="168402" y="59245"/>
                    <a:pt x="162306" y="52101"/>
                  </a:cubicBezTo>
                  <a:cubicBezTo>
                    <a:pt x="156210" y="44958"/>
                    <a:pt x="148781" y="39338"/>
                    <a:pt x="140018" y="35242"/>
                  </a:cubicBezTo>
                  <a:cubicBezTo>
                    <a:pt x="131254" y="31147"/>
                    <a:pt x="121158" y="29051"/>
                    <a:pt x="109919" y="29051"/>
                  </a:cubicBezTo>
                  <a:cubicBezTo>
                    <a:pt x="100108" y="29051"/>
                    <a:pt x="90869" y="30956"/>
                    <a:pt x="82201" y="34766"/>
                  </a:cubicBezTo>
                  <a:cubicBezTo>
                    <a:pt x="73533" y="38671"/>
                    <a:pt x="66008" y="44005"/>
                    <a:pt x="59436" y="50959"/>
                  </a:cubicBezTo>
                  <a:cubicBezTo>
                    <a:pt x="52864" y="57912"/>
                    <a:pt x="47435" y="66103"/>
                    <a:pt x="43148" y="75628"/>
                  </a:cubicBezTo>
                  <a:cubicBezTo>
                    <a:pt x="38862" y="85058"/>
                    <a:pt x="36100" y="95345"/>
                    <a:pt x="34862" y="106204"/>
                  </a:cubicBezTo>
                  <a:lnTo>
                    <a:pt x="183547" y="106204"/>
                  </a:lnTo>
                  <a:close/>
                </a:path>
              </a:pathLst>
            </a:custGeom>
            <a:solidFill>
              <a:srgbClr val="44505E"/>
            </a:solidFill>
            <a:ln w="9525" cap="flat">
              <a:noFill/>
              <a:prstDash val="solid"/>
              <a:miter/>
            </a:ln>
          </p:spPr>
          <p:txBody>
            <a:bodyPr rtlCol="0" anchor="ctr"/>
            <a:lstStyle/>
            <a:p>
              <a:endParaRPr lang="pt-BR" noProof="0"/>
            </a:p>
          </p:txBody>
        </p:sp>
        <p:sp>
          <p:nvSpPr>
            <p:cNvPr id="27" name="Freeform: Shape 39">
              <a:extLst>
                <a:ext uri="{FF2B5EF4-FFF2-40B4-BE49-F238E27FC236}">
                  <a16:creationId xmlns:a16="http://schemas.microsoft.com/office/drawing/2014/main" id="{B92A5527-EF8A-03E4-A003-1FF1EABD908D}"/>
                </a:ext>
              </a:extLst>
            </p:cNvPr>
            <p:cNvSpPr/>
            <p:nvPr/>
          </p:nvSpPr>
          <p:spPr>
            <a:xfrm>
              <a:off x="5661680" y="924268"/>
              <a:ext cx="44656" cy="60195"/>
            </a:xfrm>
            <a:custGeom>
              <a:avLst/>
              <a:gdLst>
                <a:gd name="connsiteX0" fmla="*/ 95536 w 177641"/>
                <a:gd name="connsiteY0" fmla="*/ 239268 h 239458"/>
                <a:gd name="connsiteX1" fmla="*/ 45053 w 177641"/>
                <a:gd name="connsiteY1" fmla="*/ 230124 h 239458"/>
                <a:gd name="connsiteX2" fmla="*/ 0 w 177641"/>
                <a:gd name="connsiteY2" fmla="*/ 205359 h 239458"/>
                <a:gd name="connsiteX3" fmla="*/ 17431 w 177641"/>
                <a:gd name="connsiteY3" fmla="*/ 180785 h 239458"/>
                <a:gd name="connsiteX4" fmla="*/ 56483 w 177641"/>
                <a:gd name="connsiteY4" fmla="*/ 202692 h 239458"/>
                <a:gd name="connsiteX5" fmla="*/ 97346 w 177641"/>
                <a:gd name="connsiteY5" fmla="*/ 210217 h 239458"/>
                <a:gd name="connsiteX6" fmla="*/ 131731 w 177641"/>
                <a:gd name="connsiteY6" fmla="*/ 200406 h 239458"/>
                <a:gd name="connsiteX7" fmla="*/ 145161 w 177641"/>
                <a:gd name="connsiteY7" fmla="*/ 173641 h 239458"/>
                <a:gd name="connsiteX8" fmla="*/ 145161 w 177641"/>
                <a:gd name="connsiteY8" fmla="*/ 172784 h 239458"/>
                <a:gd name="connsiteX9" fmla="*/ 140494 w 177641"/>
                <a:gd name="connsiteY9" fmla="*/ 158020 h 239458"/>
                <a:gd name="connsiteX10" fmla="*/ 127730 w 177641"/>
                <a:gd name="connsiteY10" fmla="*/ 147066 h 239458"/>
                <a:gd name="connsiteX11" fmla="*/ 109157 w 177641"/>
                <a:gd name="connsiteY11" fmla="*/ 138779 h 239458"/>
                <a:gd name="connsiteX12" fmla="*/ 87535 w 177641"/>
                <a:gd name="connsiteY12" fmla="*/ 132112 h 239458"/>
                <a:gd name="connsiteX13" fmla="*/ 60484 w 177641"/>
                <a:gd name="connsiteY13" fmla="*/ 123444 h 239458"/>
                <a:gd name="connsiteX14" fmla="*/ 35909 w 177641"/>
                <a:gd name="connsiteY14" fmla="*/ 111633 h 239458"/>
                <a:gd name="connsiteX15" fmla="*/ 18098 w 177641"/>
                <a:gd name="connsiteY15" fmla="*/ 93726 h 239458"/>
                <a:gd name="connsiteX16" fmla="*/ 11144 w 177641"/>
                <a:gd name="connsiteY16" fmla="*/ 66961 h 239458"/>
                <a:gd name="connsiteX17" fmla="*/ 11144 w 177641"/>
                <a:gd name="connsiteY17" fmla="*/ 66008 h 239458"/>
                <a:gd name="connsiteX18" fmla="*/ 16954 w 177641"/>
                <a:gd name="connsiteY18" fmla="*/ 39053 h 239458"/>
                <a:gd name="connsiteX19" fmla="*/ 33242 w 177641"/>
                <a:gd name="connsiteY19" fmla="*/ 18098 h 239458"/>
                <a:gd name="connsiteX20" fmla="*/ 58293 w 177641"/>
                <a:gd name="connsiteY20" fmla="*/ 4667 h 239458"/>
                <a:gd name="connsiteX21" fmla="*/ 89725 w 177641"/>
                <a:gd name="connsiteY21" fmla="*/ 0 h 239458"/>
                <a:gd name="connsiteX22" fmla="*/ 133064 w 177641"/>
                <a:gd name="connsiteY22" fmla="*/ 6953 h 239458"/>
                <a:gd name="connsiteX23" fmla="*/ 172784 w 177641"/>
                <a:gd name="connsiteY23" fmla="*/ 25527 h 239458"/>
                <a:gd name="connsiteX24" fmla="*/ 157163 w 177641"/>
                <a:gd name="connsiteY24" fmla="*/ 51435 h 239458"/>
                <a:gd name="connsiteX25" fmla="*/ 123444 w 177641"/>
                <a:gd name="connsiteY25" fmla="*/ 35147 h 239458"/>
                <a:gd name="connsiteX26" fmla="*/ 88868 w 177641"/>
                <a:gd name="connsiteY26" fmla="*/ 29146 h 239458"/>
                <a:gd name="connsiteX27" fmla="*/ 56293 w 177641"/>
                <a:gd name="connsiteY27" fmla="*/ 38767 h 239458"/>
                <a:gd name="connsiteX28" fmla="*/ 44196 w 177641"/>
                <a:gd name="connsiteY28" fmla="*/ 62675 h 239458"/>
                <a:gd name="connsiteX29" fmla="*/ 44196 w 177641"/>
                <a:gd name="connsiteY29" fmla="*/ 63627 h 239458"/>
                <a:gd name="connsiteX30" fmla="*/ 49149 w 177641"/>
                <a:gd name="connsiteY30" fmla="*/ 77724 h 239458"/>
                <a:gd name="connsiteX31" fmla="*/ 62294 w 177641"/>
                <a:gd name="connsiteY31" fmla="*/ 88202 h 239458"/>
                <a:gd name="connsiteX32" fmla="*/ 81248 w 177641"/>
                <a:gd name="connsiteY32" fmla="*/ 96203 h 239458"/>
                <a:gd name="connsiteX33" fmla="*/ 103537 w 177641"/>
                <a:gd name="connsiteY33" fmla="*/ 103346 h 239458"/>
                <a:gd name="connsiteX34" fmla="*/ 130112 w 177641"/>
                <a:gd name="connsiteY34" fmla="*/ 112300 h 239458"/>
                <a:gd name="connsiteX35" fmla="*/ 154019 w 177641"/>
                <a:gd name="connsiteY35" fmla="*/ 124778 h 239458"/>
                <a:gd name="connsiteX36" fmla="*/ 171164 w 177641"/>
                <a:gd name="connsiteY36" fmla="*/ 143066 h 239458"/>
                <a:gd name="connsiteX37" fmla="*/ 177641 w 177641"/>
                <a:gd name="connsiteY37" fmla="*/ 169450 h 239458"/>
                <a:gd name="connsiteX38" fmla="*/ 177641 w 177641"/>
                <a:gd name="connsiteY38" fmla="*/ 170307 h 239458"/>
                <a:gd name="connsiteX39" fmla="*/ 171164 w 177641"/>
                <a:gd name="connsiteY39" fmla="*/ 199549 h 239458"/>
                <a:gd name="connsiteX40" fmla="*/ 153734 w 177641"/>
                <a:gd name="connsiteY40" fmla="*/ 221171 h 239458"/>
                <a:gd name="connsiteX41" fmla="*/ 127825 w 177641"/>
                <a:gd name="connsiteY41" fmla="*/ 234791 h 239458"/>
                <a:gd name="connsiteX42" fmla="*/ 95441 w 177641"/>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641" h="239458">
                  <a:moveTo>
                    <a:pt x="95536" y="239268"/>
                  </a:moveTo>
                  <a:cubicBezTo>
                    <a:pt x="78867" y="239268"/>
                    <a:pt x="62008" y="236220"/>
                    <a:pt x="45053" y="230124"/>
                  </a:cubicBezTo>
                  <a:cubicBezTo>
                    <a:pt x="28099" y="224028"/>
                    <a:pt x="13049" y="215741"/>
                    <a:pt x="0" y="205359"/>
                  </a:cubicBezTo>
                  <a:lnTo>
                    <a:pt x="17431" y="180785"/>
                  </a:lnTo>
                  <a:cubicBezTo>
                    <a:pt x="29908"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542" y="162211"/>
                    <a:pt x="140494" y="158020"/>
                  </a:cubicBezTo>
                  <a:cubicBezTo>
                    <a:pt x="137350" y="153829"/>
                    <a:pt x="133160" y="150209"/>
                    <a:pt x="127730" y="147066"/>
                  </a:cubicBezTo>
                  <a:cubicBezTo>
                    <a:pt x="122396" y="143923"/>
                    <a:pt x="116205" y="141161"/>
                    <a:pt x="109157" y="138779"/>
                  </a:cubicBezTo>
                  <a:cubicBezTo>
                    <a:pt x="102203" y="136398"/>
                    <a:pt x="94964" y="134207"/>
                    <a:pt x="87535" y="132112"/>
                  </a:cubicBezTo>
                  <a:cubicBezTo>
                    <a:pt x="78581" y="129445"/>
                    <a:pt x="69628" y="126492"/>
                    <a:pt x="60484" y="123444"/>
                  </a:cubicBezTo>
                  <a:cubicBezTo>
                    <a:pt x="51435" y="120301"/>
                    <a:pt x="43244" y="116396"/>
                    <a:pt x="35909" y="111633"/>
                  </a:cubicBezTo>
                  <a:cubicBezTo>
                    <a:pt x="28575" y="106871"/>
                    <a:pt x="22670" y="100870"/>
                    <a:pt x="18098" y="93726"/>
                  </a:cubicBezTo>
                  <a:cubicBezTo>
                    <a:pt x="13525" y="86582"/>
                    <a:pt x="11144" y="77629"/>
                    <a:pt x="11144" y="66961"/>
                  </a:cubicBezTo>
                  <a:lnTo>
                    <a:pt x="11144" y="66008"/>
                  </a:lnTo>
                  <a:cubicBezTo>
                    <a:pt x="11144" y="56198"/>
                    <a:pt x="13049" y="47149"/>
                    <a:pt x="16954" y="39053"/>
                  </a:cubicBezTo>
                  <a:cubicBezTo>
                    <a:pt x="20860" y="30861"/>
                    <a:pt x="26289" y="23908"/>
                    <a:pt x="33242" y="18098"/>
                  </a:cubicBezTo>
                  <a:cubicBezTo>
                    <a:pt x="40196" y="12287"/>
                    <a:pt x="48578" y="7811"/>
                    <a:pt x="58293" y="4667"/>
                  </a:cubicBezTo>
                  <a:cubicBezTo>
                    <a:pt x="67913" y="1524"/>
                    <a:pt x="78486" y="0"/>
                    <a:pt x="89725" y="0"/>
                  </a:cubicBezTo>
                  <a:cubicBezTo>
                    <a:pt x="104013" y="0"/>
                    <a:pt x="118396" y="2286"/>
                    <a:pt x="133064" y="6953"/>
                  </a:cubicBezTo>
                  <a:cubicBezTo>
                    <a:pt x="147638" y="11621"/>
                    <a:pt x="160877" y="17717"/>
                    <a:pt x="172784" y="25527"/>
                  </a:cubicBezTo>
                  <a:lnTo>
                    <a:pt x="157163" y="51435"/>
                  </a:lnTo>
                  <a:cubicBezTo>
                    <a:pt x="146399" y="44577"/>
                    <a:pt x="135255" y="39148"/>
                    <a:pt x="123444" y="35147"/>
                  </a:cubicBezTo>
                  <a:cubicBezTo>
                    <a:pt x="111728" y="31147"/>
                    <a:pt x="100203" y="29146"/>
                    <a:pt x="88868" y="29146"/>
                  </a:cubicBezTo>
                  <a:cubicBezTo>
                    <a:pt x="75152" y="29146"/>
                    <a:pt x="64294" y="32385"/>
                    <a:pt x="56293" y="38767"/>
                  </a:cubicBezTo>
                  <a:cubicBezTo>
                    <a:pt x="48292" y="45149"/>
                    <a:pt x="44196" y="53150"/>
                    <a:pt x="44196" y="62675"/>
                  </a:cubicBezTo>
                  <a:lnTo>
                    <a:pt x="44196" y="63627"/>
                  </a:lnTo>
                  <a:cubicBezTo>
                    <a:pt x="44196" y="68961"/>
                    <a:pt x="45815" y="73628"/>
                    <a:pt x="49149" y="77724"/>
                  </a:cubicBezTo>
                  <a:cubicBezTo>
                    <a:pt x="52388" y="81725"/>
                    <a:pt x="56769" y="85249"/>
                    <a:pt x="62294" y="88202"/>
                  </a:cubicBezTo>
                  <a:cubicBezTo>
                    <a:pt x="67818" y="91154"/>
                    <a:pt x="74104" y="93821"/>
                    <a:pt x="81248" y="96203"/>
                  </a:cubicBezTo>
                  <a:cubicBezTo>
                    <a:pt x="88392" y="98584"/>
                    <a:pt x="95821" y="100965"/>
                    <a:pt x="103537" y="103346"/>
                  </a:cubicBezTo>
                  <a:cubicBezTo>
                    <a:pt x="112490" y="106013"/>
                    <a:pt x="121349" y="108966"/>
                    <a:pt x="130112" y="112300"/>
                  </a:cubicBezTo>
                  <a:cubicBezTo>
                    <a:pt x="138875" y="115538"/>
                    <a:pt x="146875" y="119729"/>
                    <a:pt x="154019" y="124778"/>
                  </a:cubicBezTo>
                  <a:cubicBezTo>
                    <a:pt x="161163" y="129826"/>
                    <a:pt x="166878" y="135922"/>
                    <a:pt x="171164" y="143066"/>
                  </a:cubicBezTo>
                  <a:cubicBezTo>
                    <a:pt x="175450" y="150209"/>
                    <a:pt x="177641" y="158972"/>
                    <a:pt x="177641" y="169450"/>
                  </a:cubicBezTo>
                  <a:lnTo>
                    <a:pt x="177641" y="170307"/>
                  </a:lnTo>
                  <a:cubicBezTo>
                    <a:pt x="177641" y="181356"/>
                    <a:pt x="175450" y="191071"/>
                    <a:pt x="171164" y="199549"/>
                  </a:cubicBezTo>
                  <a:cubicBezTo>
                    <a:pt x="166878" y="208026"/>
                    <a:pt x="161068" y="215265"/>
                    <a:pt x="153734" y="221171"/>
                  </a:cubicBezTo>
                  <a:cubicBezTo>
                    <a:pt x="146495" y="227171"/>
                    <a:pt x="137827" y="231648"/>
                    <a:pt x="127825" y="234791"/>
                  </a:cubicBezTo>
                  <a:cubicBezTo>
                    <a:pt x="117824" y="237935"/>
                    <a:pt x="107061" y="239459"/>
                    <a:pt x="95441" y="239459"/>
                  </a:cubicBezTo>
                  <a:close/>
                </a:path>
              </a:pathLst>
            </a:custGeom>
            <a:solidFill>
              <a:srgbClr val="44505E"/>
            </a:solidFill>
            <a:ln w="9525" cap="flat">
              <a:noFill/>
              <a:prstDash val="solid"/>
              <a:miter/>
            </a:ln>
          </p:spPr>
          <p:txBody>
            <a:bodyPr rtlCol="0" anchor="ctr"/>
            <a:lstStyle/>
            <a:p>
              <a:endParaRPr lang="pt-BR" noProof="0"/>
            </a:p>
          </p:txBody>
        </p:sp>
        <p:sp>
          <p:nvSpPr>
            <p:cNvPr id="28" name="Freeform: Shape 40">
              <a:extLst>
                <a:ext uri="{FF2B5EF4-FFF2-40B4-BE49-F238E27FC236}">
                  <a16:creationId xmlns:a16="http://schemas.microsoft.com/office/drawing/2014/main" id="{0838E92A-E1DF-C9ED-6E40-6A023D7ABBDA}"/>
                </a:ext>
              </a:extLst>
            </p:cNvPr>
            <p:cNvSpPr/>
            <p:nvPr/>
          </p:nvSpPr>
          <p:spPr>
            <a:xfrm>
              <a:off x="5752668" y="924028"/>
              <a:ext cx="58567" cy="77196"/>
            </a:xfrm>
            <a:custGeom>
              <a:avLst/>
              <a:gdLst>
                <a:gd name="connsiteX0" fmla="*/ 198596 w 232981"/>
                <a:gd name="connsiteY0" fmla="*/ 189357 h 307085"/>
                <a:gd name="connsiteX1" fmla="*/ 182785 w 232981"/>
                <a:gd name="connsiteY1" fmla="*/ 208978 h 307085"/>
                <a:gd name="connsiteX2" fmla="*/ 163354 w 232981"/>
                <a:gd name="connsiteY2" fmla="*/ 225552 h 307085"/>
                <a:gd name="connsiteX3" fmla="*/ 139446 w 232981"/>
                <a:gd name="connsiteY3" fmla="*/ 236696 h 307085"/>
                <a:gd name="connsiteX4" fmla="*/ 110204 w 232981"/>
                <a:gd name="connsiteY4" fmla="*/ 240697 h 307085"/>
                <a:gd name="connsiteX5" fmla="*/ 69628 w 232981"/>
                <a:gd name="connsiteY5" fmla="*/ 232696 h 307085"/>
                <a:gd name="connsiteX6" fmla="*/ 34385 w 232981"/>
                <a:gd name="connsiteY6" fmla="*/ 209264 h 307085"/>
                <a:gd name="connsiteX7" fmla="*/ 9335 w 232981"/>
                <a:gd name="connsiteY7" fmla="*/ 171736 h 307085"/>
                <a:gd name="connsiteX8" fmla="*/ 0 w 232981"/>
                <a:gd name="connsiteY8" fmla="*/ 121063 h 307085"/>
                <a:gd name="connsiteX9" fmla="*/ 0 w 232981"/>
                <a:gd name="connsiteY9" fmla="*/ 120205 h 307085"/>
                <a:gd name="connsiteX10" fmla="*/ 9335 w 232981"/>
                <a:gd name="connsiteY10" fmla="*/ 69723 h 307085"/>
                <a:gd name="connsiteX11" fmla="*/ 34385 w 232981"/>
                <a:gd name="connsiteY11" fmla="*/ 32004 h 307085"/>
                <a:gd name="connsiteX12" fmla="*/ 69628 w 232981"/>
                <a:gd name="connsiteY12" fmla="*/ 8287 h 307085"/>
                <a:gd name="connsiteX13" fmla="*/ 110204 w 232981"/>
                <a:gd name="connsiteY13" fmla="*/ 0 h 307085"/>
                <a:gd name="connsiteX14" fmla="*/ 139637 w 232981"/>
                <a:gd name="connsiteY14" fmla="*/ 4000 h 307085"/>
                <a:gd name="connsiteX15" fmla="*/ 163735 w 232981"/>
                <a:gd name="connsiteY15" fmla="*/ 14668 h 307085"/>
                <a:gd name="connsiteX16" fmla="*/ 183166 w 232981"/>
                <a:gd name="connsiteY16" fmla="*/ 30289 h 307085"/>
                <a:gd name="connsiteX17" fmla="*/ 198596 w 232981"/>
                <a:gd name="connsiteY17" fmla="*/ 49054 h 307085"/>
                <a:gd name="connsiteX18" fmla="*/ 198596 w 232981"/>
                <a:gd name="connsiteY18" fmla="*/ 4858 h 307085"/>
                <a:gd name="connsiteX19" fmla="*/ 232982 w 232981"/>
                <a:gd name="connsiteY19" fmla="*/ 4858 h 307085"/>
                <a:gd name="connsiteX20" fmla="*/ 232982 w 232981"/>
                <a:gd name="connsiteY20" fmla="*/ 307086 h 307085"/>
                <a:gd name="connsiteX21" fmla="*/ 198596 w 232981"/>
                <a:gd name="connsiteY21" fmla="*/ 307086 h 307085"/>
                <a:gd name="connsiteX22" fmla="*/ 198596 w 232981"/>
                <a:gd name="connsiteY22" fmla="*/ 189262 h 307085"/>
                <a:gd name="connsiteX23" fmla="*/ 116491 w 232981"/>
                <a:gd name="connsiteY23" fmla="*/ 209931 h 307085"/>
                <a:gd name="connsiteX24" fmla="*/ 147542 w 232981"/>
                <a:gd name="connsiteY24" fmla="*/ 203454 h 307085"/>
                <a:gd name="connsiteX25" fmla="*/ 174308 w 232981"/>
                <a:gd name="connsiteY25" fmla="*/ 185166 h 307085"/>
                <a:gd name="connsiteX26" fmla="*/ 193072 w 232981"/>
                <a:gd name="connsiteY26" fmla="*/ 157067 h 307085"/>
                <a:gd name="connsiteX27" fmla="*/ 200025 w 232981"/>
                <a:gd name="connsiteY27" fmla="*/ 120682 h 307085"/>
                <a:gd name="connsiteX28" fmla="*/ 200025 w 232981"/>
                <a:gd name="connsiteY28" fmla="*/ 119824 h 307085"/>
                <a:gd name="connsiteX29" fmla="*/ 193072 w 232981"/>
                <a:gd name="connsiteY29" fmla="*/ 83439 h 307085"/>
                <a:gd name="connsiteX30" fmla="*/ 174308 w 232981"/>
                <a:gd name="connsiteY30" fmla="*/ 55531 h 307085"/>
                <a:gd name="connsiteX31" fmla="*/ 147542 w 232981"/>
                <a:gd name="connsiteY31" fmla="*/ 37433 h 307085"/>
                <a:gd name="connsiteX32" fmla="*/ 116491 w 232981"/>
                <a:gd name="connsiteY32" fmla="*/ 30956 h 307085"/>
                <a:gd name="connsiteX33" fmla="*/ 84773 w 232981"/>
                <a:gd name="connsiteY33" fmla="*/ 36957 h 307085"/>
                <a:gd name="connsiteX34" fmla="*/ 59150 w 232981"/>
                <a:gd name="connsiteY34" fmla="*/ 54388 h 307085"/>
                <a:gd name="connsiteX35" fmla="*/ 41720 w 232981"/>
                <a:gd name="connsiteY35" fmla="*/ 82296 h 307085"/>
                <a:gd name="connsiteX36" fmla="*/ 35242 w 232981"/>
                <a:gd name="connsiteY36" fmla="*/ 119824 h 307085"/>
                <a:gd name="connsiteX37" fmla="*/ 35242 w 232981"/>
                <a:gd name="connsiteY37" fmla="*/ 120682 h 307085"/>
                <a:gd name="connsiteX38" fmla="*/ 41720 w 232981"/>
                <a:gd name="connsiteY38" fmla="*/ 157734 h 307085"/>
                <a:gd name="connsiteX39" fmla="*/ 59341 w 232981"/>
                <a:gd name="connsiteY39" fmla="*/ 185833 h 307085"/>
                <a:gd name="connsiteX40" fmla="*/ 85249 w 232981"/>
                <a:gd name="connsiteY40" fmla="*/ 203740 h 307085"/>
                <a:gd name="connsiteX41" fmla="*/ 116491 w 232981"/>
                <a:gd name="connsiteY41" fmla="*/ 210026 h 30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07085">
                  <a:moveTo>
                    <a:pt x="198596" y="189357"/>
                  </a:moveTo>
                  <a:cubicBezTo>
                    <a:pt x="193834" y="196215"/>
                    <a:pt x="188595" y="202787"/>
                    <a:pt x="182785" y="208978"/>
                  </a:cubicBezTo>
                  <a:cubicBezTo>
                    <a:pt x="176975" y="215265"/>
                    <a:pt x="170498" y="220789"/>
                    <a:pt x="163354" y="225552"/>
                  </a:cubicBezTo>
                  <a:cubicBezTo>
                    <a:pt x="156210" y="230314"/>
                    <a:pt x="148209" y="234029"/>
                    <a:pt x="139446" y="236696"/>
                  </a:cubicBezTo>
                  <a:cubicBezTo>
                    <a:pt x="130683" y="239363"/>
                    <a:pt x="120967" y="240697"/>
                    <a:pt x="110204" y="240697"/>
                  </a:cubicBezTo>
                  <a:cubicBezTo>
                    <a:pt x="96203" y="240697"/>
                    <a:pt x="82677" y="238030"/>
                    <a:pt x="69628" y="232696"/>
                  </a:cubicBezTo>
                  <a:cubicBezTo>
                    <a:pt x="56579" y="227362"/>
                    <a:pt x="44767" y="219551"/>
                    <a:pt x="34385" y="209264"/>
                  </a:cubicBezTo>
                  <a:cubicBezTo>
                    <a:pt x="24003" y="198977"/>
                    <a:pt x="15621" y="186499"/>
                    <a:pt x="9335" y="171736"/>
                  </a:cubicBezTo>
                  <a:cubicBezTo>
                    <a:pt x="3048" y="156972"/>
                    <a:pt x="0" y="140113"/>
                    <a:pt x="0" y="121063"/>
                  </a:cubicBezTo>
                  <a:lnTo>
                    <a:pt x="0" y="120205"/>
                  </a:lnTo>
                  <a:cubicBezTo>
                    <a:pt x="0" y="101441"/>
                    <a:pt x="3143" y="84677"/>
                    <a:pt x="9335" y="69723"/>
                  </a:cubicBezTo>
                  <a:cubicBezTo>
                    <a:pt x="15621" y="54864"/>
                    <a:pt x="23908" y="42291"/>
                    <a:pt x="34385" y="32004"/>
                  </a:cubicBezTo>
                  <a:cubicBezTo>
                    <a:pt x="44767" y="21717"/>
                    <a:pt x="56579" y="13811"/>
                    <a:pt x="69628" y="8287"/>
                  </a:cubicBezTo>
                  <a:cubicBezTo>
                    <a:pt x="82677" y="2762"/>
                    <a:pt x="96298" y="0"/>
                    <a:pt x="110204" y="0"/>
                  </a:cubicBezTo>
                  <a:cubicBezTo>
                    <a:pt x="120967" y="0"/>
                    <a:pt x="130778" y="1333"/>
                    <a:pt x="139637" y="4000"/>
                  </a:cubicBezTo>
                  <a:cubicBezTo>
                    <a:pt x="148590" y="6667"/>
                    <a:pt x="156591" y="10287"/>
                    <a:pt x="163735" y="14668"/>
                  </a:cubicBezTo>
                  <a:cubicBezTo>
                    <a:pt x="170879" y="19145"/>
                    <a:pt x="177356" y="24384"/>
                    <a:pt x="183166" y="30289"/>
                  </a:cubicBezTo>
                  <a:cubicBezTo>
                    <a:pt x="188976" y="36290"/>
                    <a:pt x="194120" y="42481"/>
                    <a:pt x="198596" y="49054"/>
                  </a:cubicBezTo>
                  <a:lnTo>
                    <a:pt x="198596" y="4858"/>
                  </a:lnTo>
                  <a:lnTo>
                    <a:pt x="232982" y="4858"/>
                  </a:lnTo>
                  <a:lnTo>
                    <a:pt x="232982" y="307086"/>
                  </a:lnTo>
                  <a:lnTo>
                    <a:pt x="198596" y="307086"/>
                  </a:lnTo>
                  <a:lnTo>
                    <a:pt x="198596" y="189262"/>
                  </a:lnTo>
                  <a:close/>
                  <a:moveTo>
                    <a:pt x="116491" y="209931"/>
                  </a:moveTo>
                  <a:cubicBezTo>
                    <a:pt x="127159" y="209931"/>
                    <a:pt x="137541" y="207740"/>
                    <a:pt x="147542" y="203454"/>
                  </a:cubicBezTo>
                  <a:cubicBezTo>
                    <a:pt x="157544" y="199168"/>
                    <a:pt x="166402" y="193072"/>
                    <a:pt x="174308" y="185166"/>
                  </a:cubicBezTo>
                  <a:cubicBezTo>
                    <a:pt x="182213" y="177260"/>
                    <a:pt x="188404" y="167926"/>
                    <a:pt x="193072" y="157067"/>
                  </a:cubicBezTo>
                  <a:cubicBezTo>
                    <a:pt x="197739" y="146209"/>
                    <a:pt x="200025" y="134112"/>
                    <a:pt x="200025" y="120682"/>
                  </a:cubicBezTo>
                  <a:lnTo>
                    <a:pt x="200025" y="119824"/>
                  </a:lnTo>
                  <a:cubicBezTo>
                    <a:pt x="200025" y="106394"/>
                    <a:pt x="197739" y="94297"/>
                    <a:pt x="193072" y="83439"/>
                  </a:cubicBezTo>
                  <a:cubicBezTo>
                    <a:pt x="188500" y="72580"/>
                    <a:pt x="182213" y="63246"/>
                    <a:pt x="174308" y="55531"/>
                  </a:cubicBezTo>
                  <a:cubicBezTo>
                    <a:pt x="166402" y="47815"/>
                    <a:pt x="157544" y="41815"/>
                    <a:pt x="147542" y="37433"/>
                  </a:cubicBezTo>
                  <a:cubicBezTo>
                    <a:pt x="137541" y="33147"/>
                    <a:pt x="127254" y="30956"/>
                    <a:pt x="116491" y="30956"/>
                  </a:cubicBezTo>
                  <a:cubicBezTo>
                    <a:pt x="105156" y="30956"/>
                    <a:pt x="94583" y="32956"/>
                    <a:pt x="84773" y="36957"/>
                  </a:cubicBezTo>
                  <a:cubicBezTo>
                    <a:pt x="74962" y="40957"/>
                    <a:pt x="66389" y="46767"/>
                    <a:pt x="59150" y="54388"/>
                  </a:cubicBezTo>
                  <a:cubicBezTo>
                    <a:pt x="51816" y="61913"/>
                    <a:pt x="46101" y="71247"/>
                    <a:pt x="41720" y="82296"/>
                  </a:cubicBezTo>
                  <a:cubicBezTo>
                    <a:pt x="37433" y="93250"/>
                    <a:pt x="35242" y="105823"/>
                    <a:pt x="35242" y="119824"/>
                  </a:cubicBezTo>
                  <a:lnTo>
                    <a:pt x="35242" y="120682"/>
                  </a:lnTo>
                  <a:cubicBezTo>
                    <a:pt x="35242" y="134398"/>
                    <a:pt x="37433" y="146780"/>
                    <a:pt x="41720" y="157734"/>
                  </a:cubicBezTo>
                  <a:cubicBezTo>
                    <a:pt x="46006" y="168783"/>
                    <a:pt x="51911" y="178117"/>
                    <a:pt x="59341" y="185833"/>
                  </a:cubicBezTo>
                  <a:cubicBezTo>
                    <a:pt x="66770" y="193548"/>
                    <a:pt x="75438" y="199549"/>
                    <a:pt x="85249" y="203740"/>
                  </a:cubicBezTo>
                  <a:cubicBezTo>
                    <a:pt x="95060" y="207931"/>
                    <a:pt x="105442" y="210026"/>
                    <a:pt x="116491" y="210026"/>
                  </a:cubicBezTo>
                  <a:close/>
                </a:path>
              </a:pathLst>
            </a:custGeom>
            <a:solidFill>
              <a:srgbClr val="44505E"/>
            </a:solidFill>
            <a:ln w="9525" cap="flat">
              <a:noFill/>
              <a:prstDash val="solid"/>
              <a:miter/>
            </a:ln>
          </p:spPr>
          <p:txBody>
            <a:bodyPr rtlCol="0" anchor="ctr"/>
            <a:lstStyle/>
            <a:p>
              <a:endParaRPr lang="pt-BR" noProof="0"/>
            </a:p>
          </p:txBody>
        </p:sp>
        <p:sp>
          <p:nvSpPr>
            <p:cNvPr id="29" name="Freeform: Shape 41">
              <a:extLst>
                <a:ext uri="{FF2B5EF4-FFF2-40B4-BE49-F238E27FC236}">
                  <a16:creationId xmlns:a16="http://schemas.microsoft.com/office/drawing/2014/main" id="{6ABC54C4-4F10-42F7-706E-CD026FD6D122}"/>
                </a:ext>
              </a:extLst>
            </p:cNvPr>
            <p:cNvSpPr/>
            <p:nvPr/>
          </p:nvSpPr>
          <p:spPr>
            <a:xfrm>
              <a:off x="5829624" y="925297"/>
              <a:ext cx="50618" cy="59238"/>
            </a:xfrm>
            <a:custGeom>
              <a:avLst/>
              <a:gdLst>
                <a:gd name="connsiteX0" fmla="*/ 88392 w 201358"/>
                <a:gd name="connsiteY0" fmla="*/ 235648 h 235648"/>
                <a:gd name="connsiteX1" fmla="*/ 51149 w 201358"/>
                <a:gd name="connsiteY1" fmla="*/ 228981 h 235648"/>
                <a:gd name="connsiteX2" fmla="*/ 23432 w 201358"/>
                <a:gd name="connsiteY2" fmla="*/ 210026 h 235648"/>
                <a:gd name="connsiteX3" fmla="*/ 6001 w 201358"/>
                <a:gd name="connsiteY3" fmla="*/ 180784 h 235648"/>
                <a:gd name="connsiteX4" fmla="*/ 0 w 201358"/>
                <a:gd name="connsiteY4" fmla="*/ 143256 h 235648"/>
                <a:gd name="connsiteX5" fmla="*/ 0 w 201358"/>
                <a:gd name="connsiteY5" fmla="*/ 0 h 235648"/>
                <a:gd name="connsiteX6" fmla="*/ 34385 w 201358"/>
                <a:gd name="connsiteY6" fmla="*/ 0 h 235648"/>
                <a:gd name="connsiteX7" fmla="*/ 34385 w 201358"/>
                <a:gd name="connsiteY7" fmla="*/ 134493 h 235648"/>
                <a:gd name="connsiteX8" fmla="*/ 50959 w 201358"/>
                <a:gd name="connsiteY8" fmla="*/ 185261 h 235648"/>
                <a:gd name="connsiteX9" fmla="*/ 98298 w 201358"/>
                <a:gd name="connsiteY9" fmla="*/ 203930 h 235648"/>
                <a:gd name="connsiteX10" fmla="*/ 125730 w 201358"/>
                <a:gd name="connsiteY10" fmla="*/ 198787 h 235648"/>
                <a:gd name="connsiteX11" fmla="*/ 147638 w 201358"/>
                <a:gd name="connsiteY11" fmla="*/ 184118 h 235648"/>
                <a:gd name="connsiteX12" fmla="*/ 162116 w 201358"/>
                <a:gd name="connsiteY12" fmla="*/ 161163 h 235648"/>
                <a:gd name="connsiteX13" fmla="*/ 167450 w 201358"/>
                <a:gd name="connsiteY13" fmla="*/ 131826 h 235648"/>
                <a:gd name="connsiteX14" fmla="*/ 167450 w 201358"/>
                <a:gd name="connsiteY14" fmla="*/ 0 h 235648"/>
                <a:gd name="connsiteX15" fmla="*/ 201359 w 201358"/>
                <a:gd name="connsiteY15" fmla="*/ 0 h 235648"/>
                <a:gd name="connsiteX16" fmla="*/ 201359 w 201358"/>
                <a:gd name="connsiteY16" fmla="*/ 230791 h 235648"/>
                <a:gd name="connsiteX17" fmla="*/ 167450 w 201358"/>
                <a:gd name="connsiteY17" fmla="*/ 230791 h 235648"/>
                <a:gd name="connsiteX18" fmla="*/ 167450 w 201358"/>
                <a:gd name="connsiteY18" fmla="*/ 190595 h 235648"/>
                <a:gd name="connsiteX19" fmla="*/ 137065 w 201358"/>
                <a:gd name="connsiteY19" fmla="*/ 222504 h 235648"/>
                <a:gd name="connsiteX20" fmla="*/ 88392 w 201358"/>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358" h="235648">
                  <a:moveTo>
                    <a:pt x="88392" y="235648"/>
                  </a:moveTo>
                  <a:cubicBezTo>
                    <a:pt x="74390" y="235648"/>
                    <a:pt x="62008" y="233363"/>
                    <a:pt x="51149" y="228981"/>
                  </a:cubicBezTo>
                  <a:cubicBezTo>
                    <a:pt x="40291" y="224504"/>
                    <a:pt x="31052" y="218218"/>
                    <a:pt x="23432"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959" y="185261"/>
                  </a:cubicBezTo>
                  <a:cubicBezTo>
                    <a:pt x="61913" y="197739"/>
                    <a:pt x="77724" y="203930"/>
                    <a:pt x="98298" y="203930"/>
                  </a:cubicBezTo>
                  <a:cubicBezTo>
                    <a:pt x="108109" y="203930"/>
                    <a:pt x="117253" y="202216"/>
                    <a:pt x="125730" y="198787"/>
                  </a:cubicBezTo>
                  <a:cubicBezTo>
                    <a:pt x="134207" y="195358"/>
                    <a:pt x="141446" y="190500"/>
                    <a:pt x="147638" y="184118"/>
                  </a:cubicBezTo>
                  <a:cubicBezTo>
                    <a:pt x="153734" y="177736"/>
                    <a:pt x="158591" y="170116"/>
                    <a:pt x="162116" y="161163"/>
                  </a:cubicBezTo>
                  <a:cubicBezTo>
                    <a:pt x="165735" y="152305"/>
                    <a:pt x="167450" y="142494"/>
                    <a:pt x="167450" y="131826"/>
                  </a:cubicBezTo>
                  <a:lnTo>
                    <a:pt x="167450" y="0"/>
                  </a:lnTo>
                  <a:lnTo>
                    <a:pt x="201359" y="0"/>
                  </a:lnTo>
                  <a:lnTo>
                    <a:pt x="201359" y="230791"/>
                  </a:lnTo>
                  <a:lnTo>
                    <a:pt x="167450" y="230791"/>
                  </a:lnTo>
                  <a:lnTo>
                    <a:pt x="167450" y="190595"/>
                  </a:lnTo>
                  <a:cubicBezTo>
                    <a:pt x="159734" y="203073"/>
                    <a:pt x="149543" y="213741"/>
                    <a:pt x="137065" y="222504"/>
                  </a:cubicBezTo>
                  <a:cubicBezTo>
                    <a:pt x="124587" y="231267"/>
                    <a:pt x="108395" y="235648"/>
                    <a:pt x="88392" y="235648"/>
                  </a:cubicBezTo>
                  <a:close/>
                </a:path>
              </a:pathLst>
            </a:custGeom>
            <a:solidFill>
              <a:srgbClr val="44505E"/>
            </a:solidFill>
            <a:ln w="9525" cap="flat">
              <a:noFill/>
              <a:prstDash val="solid"/>
              <a:miter/>
            </a:ln>
          </p:spPr>
          <p:txBody>
            <a:bodyPr rtlCol="0" anchor="ctr"/>
            <a:lstStyle/>
            <a:p>
              <a:endParaRPr lang="pt-BR" noProof="0"/>
            </a:p>
          </p:txBody>
        </p:sp>
        <p:sp>
          <p:nvSpPr>
            <p:cNvPr id="30" name="Freeform: Shape 42">
              <a:extLst>
                <a:ext uri="{FF2B5EF4-FFF2-40B4-BE49-F238E27FC236}">
                  <a16:creationId xmlns:a16="http://schemas.microsoft.com/office/drawing/2014/main" id="{5C1ABA3E-FDBA-7B3C-5646-1C84AAC80FAA}"/>
                </a:ext>
              </a:extLst>
            </p:cNvPr>
            <p:cNvSpPr/>
            <p:nvPr/>
          </p:nvSpPr>
          <p:spPr>
            <a:xfrm>
              <a:off x="5896069"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7059 w 218217"/>
                <a:gd name="connsiteY3" fmla="*/ 206026 h 241077"/>
                <a:gd name="connsiteX4" fmla="*/ 116110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7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0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356 w 218217"/>
                <a:gd name="connsiteY25" fmla="*/ 106299 h 241077"/>
                <a:gd name="connsiteX26" fmla="*/ 176689 w 218217"/>
                <a:gd name="connsiteY26" fmla="*/ 76771 h 241077"/>
                <a:gd name="connsiteX27" fmla="*/ 162211 w 218217"/>
                <a:gd name="connsiteY27" fmla="*/ 52101 h 241077"/>
                <a:gd name="connsiteX28" fmla="*/ 139922 w 218217"/>
                <a:gd name="connsiteY28" fmla="*/ 35242 h 241077"/>
                <a:gd name="connsiteX29" fmla="*/ 109823 w 218217"/>
                <a:gd name="connsiteY29" fmla="*/ 29051 h 241077"/>
                <a:gd name="connsiteX30" fmla="*/ 82105 w 218217"/>
                <a:gd name="connsiteY30" fmla="*/ 34766 h 241077"/>
                <a:gd name="connsiteX31" fmla="*/ 59341 w 218217"/>
                <a:gd name="connsiteY31" fmla="*/ 50959 h 241077"/>
                <a:gd name="connsiteX32" fmla="*/ 43053 w 218217"/>
                <a:gd name="connsiteY32" fmla="*/ 75628 h 241077"/>
                <a:gd name="connsiteX33" fmla="*/ 34766 w 218217"/>
                <a:gd name="connsiteY33" fmla="*/ 106204 h 241077"/>
                <a:gd name="connsiteX34" fmla="*/ 183356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819" y="202597"/>
                    <a:pt x="87059" y="206026"/>
                  </a:cubicBezTo>
                  <a:cubicBezTo>
                    <a:pt x="96298" y="209455"/>
                    <a:pt x="105918" y="211169"/>
                    <a:pt x="116110" y="211169"/>
                  </a:cubicBezTo>
                  <a:cubicBezTo>
                    <a:pt x="132207" y="211169"/>
                    <a:pt x="145923" y="208216"/>
                    <a:pt x="157353" y="202216"/>
                  </a:cubicBezTo>
                  <a:cubicBezTo>
                    <a:pt x="168783" y="196310"/>
                    <a:pt x="179261" y="188404"/>
                    <a:pt x="188786" y="178594"/>
                  </a:cubicBezTo>
                  <a:lnTo>
                    <a:pt x="210217" y="197834"/>
                  </a:lnTo>
                  <a:cubicBezTo>
                    <a:pt x="198596" y="210979"/>
                    <a:pt x="185356" y="221361"/>
                    <a:pt x="170497" y="229267"/>
                  </a:cubicBezTo>
                  <a:cubicBezTo>
                    <a:pt x="155638"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583" y="0"/>
                    <a:pt x="110680"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356" y="106299"/>
                  </a:moveTo>
                  <a:cubicBezTo>
                    <a:pt x="182499" y="95917"/>
                    <a:pt x="180213" y="86106"/>
                    <a:pt x="176689" y="76771"/>
                  </a:cubicBezTo>
                  <a:cubicBezTo>
                    <a:pt x="173069" y="67437"/>
                    <a:pt x="168307" y="59245"/>
                    <a:pt x="162211" y="52101"/>
                  </a:cubicBezTo>
                  <a:cubicBezTo>
                    <a:pt x="156115" y="44958"/>
                    <a:pt x="148685" y="39338"/>
                    <a:pt x="139922" y="35242"/>
                  </a:cubicBezTo>
                  <a:cubicBezTo>
                    <a:pt x="131159" y="31147"/>
                    <a:pt x="121063" y="29051"/>
                    <a:pt x="109823" y="29051"/>
                  </a:cubicBezTo>
                  <a:cubicBezTo>
                    <a:pt x="100013" y="29051"/>
                    <a:pt x="90773" y="30956"/>
                    <a:pt x="82105" y="34766"/>
                  </a:cubicBezTo>
                  <a:cubicBezTo>
                    <a:pt x="73438" y="38671"/>
                    <a:pt x="65913" y="44005"/>
                    <a:pt x="59341" y="50959"/>
                  </a:cubicBezTo>
                  <a:cubicBezTo>
                    <a:pt x="52769" y="57912"/>
                    <a:pt x="47339" y="66103"/>
                    <a:pt x="43053" y="75628"/>
                  </a:cubicBezTo>
                  <a:cubicBezTo>
                    <a:pt x="38767" y="85058"/>
                    <a:pt x="36004" y="95345"/>
                    <a:pt x="34766" y="106204"/>
                  </a:cubicBezTo>
                  <a:lnTo>
                    <a:pt x="183356" y="106204"/>
                  </a:lnTo>
                  <a:close/>
                </a:path>
              </a:pathLst>
            </a:custGeom>
            <a:solidFill>
              <a:srgbClr val="44505E"/>
            </a:solidFill>
            <a:ln w="9525" cap="flat">
              <a:noFill/>
              <a:prstDash val="solid"/>
              <a:miter/>
            </a:ln>
          </p:spPr>
          <p:txBody>
            <a:bodyPr rtlCol="0" anchor="ctr"/>
            <a:lstStyle/>
            <a:p>
              <a:endParaRPr lang="pt-BR" noProof="0"/>
            </a:p>
          </p:txBody>
        </p:sp>
        <p:sp>
          <p:nvSpPr>
            <p:cNvPr id="31" name="Freeform: Shape 43">
              <a:extLst>
                <a:ext uri="{FF2B5EF4-FFF2-40B4-BE49-F238E27FC236}">
                  <a16:creationId xmlns:a16="http://schemas.microsoft.com/office/drawing/2014/main" id="{07ED6E27-1A65-4607-17F1-6D92E8DDA4F2}"/>
                </a:ext>
              </a:extLst>
            </p:cNvPr>
            <p:cNvSpPr/>
            <p:nvPr/>
          </p:nvSpPr>
          <p:spPr>
            <a:xfrm>
              <a:off x="5994910" y="924268"/>
              <a:ext cx="44680" cy="60195"/>
            </a:xfrm>
            <a:custGeom>
              <a:avLst/>
              <a:gdLst>
                <a:gd name="connsiteX0" fmla="*/ 95536 w 177736"/>
                <a:gd name="connsiteY0" fmla="*/ 239268 h 239458"/>
                <a:gd name="connsiteX1" fmla="*/ 45053 w 177736"/>
                <a:gd name="connsiteY1" fmla="*/ 230124 h 239458"/>
                <a:gd name="connsiteX2" fmla="*/ 0 w 177736"/>
                <a:gd name="connsiteY2" fmla="*/ 205359 h 239458"/>
                <a:gd name="connsiteX3" fmla="*/ 17431 w 177736"/>
                <a:gd name="connsiteY3" fmla="*/ 180785 h 239458"/>
                <a:gd name="connsiteX4" fmla="*/ 56483 w 177736"/>
                <a:gd name="connsiteY4" fmla="*/ 202692 h 239458"/>
                <a:gd name="connsiteX5" fmla="*/ 97346 w 177736"/>
                <a:gd name="connsiteY5" fmla="*/ 210217 h 239458"/>
                <a:gd name="connsiteX6" fmla="*/ 131731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730 w 177736"/>
                <a:gd name="connsiteY10" fmla="*/ 147066 h 239458"/>
                <a:gd name="connsiteX11" fmla="*/ 109252 w 177736"/>
                <a:gd name="connsiteY11" fmla="*/ 138779 h 239458"/>
                <a:gd name="connsiteX12" fmla="*/ 87630 w 177736"/>
                <a:gd name="connsiteY12" fmla="*/ 132112 h 239458"/>
                <a:gd name="connsiteX13" fmla="*/ 60674 w 177736"/>
                <a:gd name="connsiteY13" fmla="*/ 123444 h 239458"/>
                <a:gd name="connsiteX14" fmla="*/ 36100 w 177736"/>
                <a:gd name="connsiteY14" fmla="*/ 111633 h 239458"/>
                <a:gd name="connsiteX15" fmla="*/ 18193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60 w 177736"/>
                <a:gd name="connsiteY22" fmla="*/ 6953 h 239458"/>
                <a:gd name="connsiteX23" fmla="*/ 172879 w 177736"/>
                <a:gd name="connsiteY23" fmla="*/ 25527 h 239458"/>
                <a:gd name="connsiteX24" fmla="*/ 157258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4 w 177736"/>
                <a:gd name="connsiteY32" fmla="*/ 96203 h 239458"/>
                <a:gd name="connsiteX33" fmla="*/ 103632 w 177736"/>
                <a:gd name="connsiteY33" fmla="*/ 103346 h 239458"/>
                <a:gd name="connsiteX34" fmla="*/ 130207 w 177736"/>
                <a:gd name="connsiteY34" fmla="*/ 112300 h 239458"/>
                <a:gd name="connsiteX35" fmla="*/ 154114 w 177736"/>
                <a:gd name="connsiteY35" fmla="*/ 124778 h 239458"/>
                <a:gd name="connsiteX36" fmla="*/ 171260 w 177736"/>
                <a:gd name="connsiteY36" fmla="*/ 143066 h 239458"/>
                <a:gd name="connsiteX37" fmla="*/ 177737 w 177736"/>
                <a:gd name="connsiteY37" fmla="*/ 169450 h 239458"/>
                <a:gd name="connsiteX38" fmla="*/ 177737 w 177736"/>
                <a:gd name="connsiteY38" fmla="*/ 170307 h 239458"/>
                <a:gd name="connsiteX39" fmla="*/ 171260 w 177736"/>
                <a:gd name="connsiteY39" fmla="*/ 199549 h 239458"/>
                <a:gd name="connsiteX40" fmla="*/ 153829 w 177736"/>
                <a:gd name="connsiteY40" fmla="*/ 221171 h 239458"/>
                <a:gd name="connsiteX41" fmla="*/ 127921 w 177736"/>
                <a:gd name="connsiteY41" fmla="*/ 234791 h 239458"/>
                <a:gd name="connsiteX42" fmla="*/ 95536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6" y="239268"/>
                  </a:moveTo>
                  <a:cubicBezTo>
                    <a:pt x="78867" y="239268"/>
                    <a:pt x="62008" y="236220"/>
                    <a:pt x="45053" y="230124"/>
                  </a:cubicBezTo>
                  <a:cubicBezTo>
                    <a:pt x="28099" y="224028"/>
                    <a:pt x="13049" y="215741"/>
                    <a:pt x="0" y="205359"/>
                  </a:cubicBezTo>
                  <a:lnTo>
                    <a:pt x="17431" y="180785"/>
                  </a:lnTo>
                  <a:cubicBezTo>
                    <a:pt x="29909"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637" y="162211"/>
                    <a:pt x="140494" y="158020"/>
                  </a:cubicBezTo>
                  <a:cubicBezTo>
                    <a:pt x="137351" y="153829"/>
                    <a:pt x="133160" y="150209"/>
                    <a:pt x="127730" y="147066"/>
                  </a:cubicBezTo>
                  <a:cubicBezTo>
                    <a:pt x="122396" y="143923"/>
                    <a:pt x="116205" y="141161"/>
                    <a:pt x="109252" y="138779"/>
                  </a:cubicBezTo>
                  <a:cubicBezTo>
                    <a:pt x="102299" y="136398"/>
                    <a:pt x="95060" y="134207"/>
                    <a:pt x="87630" y="132112"/>
                  </a:cubicBezTo>
                  <a:cubicBezTo>
                    <a:pt x="78677" y="129445"/>
                    <a:pt x="69723" y="126492"/>
                    <a:pt x="60674" y="123444"/>
                  </a:cubicBezTo>
                  <a:cubicBezTo>
                    <a:pt x="51626" y="120301"/>
                    <a:pt x="43434" y="116396"/>
                    <a:pt x="36100" y="111633"/>
                  </a:cubicBezTo>
                  <a:cubicBezTo>
                    <a:pt x="28766" y="106871"/>
                    <a:pt x="22860" y="100870"/>
                    <a:pt x="18193" y="93726"/>
                  </a:cubicBezTo>
                  <a:cubicBezTo>
                    <a:pt x="13621" y="86582"/>
                    <a:pt x="11239" y="77629"/>
                    <a:pt x="11239" y="66961"/>
                  </a:cubicBezTo>
                  <a:lnTo>
                    <a:pt x="11239" y="66008"/>
                  </a:lnTo>
                  <a:cubicBezTo>
                    <a:pt x="11239" y="56198"/>
                    <a:pt x="13145" y="47149"/>
                    <a:pt x="17050" y="39053"/>
                  </a:cubicBezTo>
                  <a:cubicBezTo>
                    <a:pt x="20860" y="30861"/>
                    <a:pt x="26289" y="23908"/>
                    <a:pt x="33338" y="18098"/>
                  </a:cubicBezTo>
                  <a:cubicBezTo>
                    <a:pt x="40291" y="12287"/>
                    <a:pt x="48673" y="7811"/>
                    <a:pt x="58388" y="4667"/>
                  </a:cubicBezTo>
                  <a:cubicBezTo>
                    <a:pt x="68009" y="1524"/>
                    <a:pt x="78581" y="0"/>
                    <a:pt x="89821" y="0"/>
                  </a:cubicBezTo>
                  <a:cubicBezTo>
                    <a:pt x="104108" y="0"/>
                    <a:pt x="118491" y="2286"/>
                    <a:pt x="133160" y="6953"/>
                  </a:cubicBezTo>
                  <a:cubicBezTo>
                    <a:pt x="147733" y="11621"/>
                    <a:pt x="160972" y="17717"/>
                    <a:pt x="172879" y="25527"/>
                  </a:cubicBezTo>
                  <a:lnTo>
                    <a:pt x="157258" y="51435"/>
                  </a:lnTo>
                  <a:cubicBezTo>
                    <a:pt x="146495" y="44577"/>
                    <a:pt x="135350" y="39148"/>
                    <a:pt x="123539" y="35147"/>
                  </a:cubicBezTo>
                  <a:cubicBezTo>
                    <a:pt x="111824" y="31147"/>
                    <a:pt x="100298" y="29146"/>
                    <a:pt x="88963" y="29146"/>
                  </a:cubicBezTo>
                  <a:cubicBezTo>
                    <a:pt x="75247" y="29146"/>
                    <a:pt x="64389" y="32385"/>
                    <a:pt x="56388" y="38767"/>
                  </a:cubicBezTo>
                  <a:cubicBezTo>
                    <a:pt x="48387" y="45149"/>
                    <a:pt x="44291" y="53150"/>
                    <a:pt x="44291" y="62675"/>
                  </a:cubicBezTo>
                  <a:lnTo>
                    <a:pt x="44291" y="63627"/>
                  </a:lnTo>
                  <a:cubicBezTo>
                    <a:pt x="44291" y="68961"/>
                    <a:pt x="45911" y="73628"/>
                    <a:pt x="49244" y="77724"/>
                  </a:cubicBezTo>
                  <a:cubicBezTo>
                    <a:pt x="52483" y="81725"/>
                    <a:pt x="56960" y="85249"/>
                    <a:pt x="62389" y="88202"/>
                  </a:cubicBezTo>
                  <a:cubicBezTo>
                    <a:pt x="67913" y="91154"/>
                    <a:pt x="74200" y="93821"/>
                    <a:pt x="81344" y="96203"/>
                  </a:cubicBezTo>
                  <a:cubicBezTo>
                    <a:pt x="88487" y="98584"/>
                    <a:pt x="95917" y="100965"/>
                    <a:pt x="103632" y="103346"/>
                  </a:cubicBezTo>
                  <a:cubicBezTo>
                    <a:pt x="112586" y="106013"/>
                    <a:pt x="121444" y="108966"/>
                    <a:pt x="130207" y="112300"/>
                  </a:cubicBezTo>
                  <a:cubicBezTo>
                    <a:pt x="138970" y="115538"/>
                    <a:pt x="146971" y="119729"/>
                    <a:pt x="154114" y="124778"/>
                  </a:cubicBezTo>
                  <a:cubicBezTo>
                    <a:pt x="161258" y="129826"/>
                    <a:pt x="166973" y="135922"/>
                    <a:pt x="171260" y="143066"/>
                  </a:cubicBezTo>
                  <a:cubicBezTo>
                    <a:pt x="175546" y="150209"/>
                    <a:pt x="177737" y="158972"/>
                    <a:pt x="177737" y="169450"/>
                  </a:cubicBezTo>
                  <a:lnTo>
                    <a:pt x="177737" y="170307"/>
                  </a:lnTo>
                  <a:cubicBezTo>
                    <a:pt x="177737" y="181356"/>
                    <a:pt x="175546" y="191071"/>
                    <a:pt x="171260" y="199549"/>
                  </a:cubicBezTo>
                  <a:cubicBezTo>
                    <a:pt x="166973" y="208026"/>
                    <a:pt x="161163" y="215265"/>
                    <a:pt x="153829" y="221171"/>
                  </a:cubicBezTo>
                  <a:cubicBezTo>
                    <a:pt x="146495" y="227171"/>
                    <a:pt x="137922" y="231648"/>
                    <a:pt x="127921" y="234791"/>
                  </a:cubicBezTo>
                  <a:cubicBezTo>
                    <a:pt x="117920" y="237935"/>
                    <a:pt x="107156" y="239459"/>
                    <a:pt x="95536" y="239459"/>
                  </a:cubicBezTo>
                  <a:close/>
                </a:path>
              </a:pathLst>
            </a:custGeom>
            <a:solidFill>
              <a:srgbClr val="44505E"/>
            </a:solidFill>
            <a:ln w="9525" cap="flat">
              <a:noFill/>
              <a:prstDash val="solid"/>
              <a:miter/>
            </a:ln>
          </p:spPr>
          <p:txBody>
            <a:bodyPr rtlCol="0" anchor="ctr"/>
            <a:lstStyle/>
            <a:p>
              <a:endParaRPr lang="pt-BR" noProof="0"/>
            </a:p>
          </p:txBody>
        </p:sp>
        <p:sp>
          <p:nvSpPr>
            <p:cNvPr id="32" name="Freeform: Shape 44">
              <a:extLst>
                <a:ext uri="{FF2B5EF4-FFF2-40B4-BE49-F238E27FC236}">
                  <a16:creationId xmlns:a16="http://schemas.microsoft.com/office/drawing/2014/main" id="{C4FDD46D-16CB-5075-82DC-AAD019300921}"/>
                </a:ext>
              </a:extLst>
            </p:cNvPr>
            <p:cNvSpPr/>
            <p:nvPr/>
          </p:nvSpPr>
          <p:spPr>
            <a:xfrm>
              <a:off x="605122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4 w 202977"/>
                <a:gd name="connsiteY30" fmla="*/ 174593 h 239267"/>
                <a:gd name="connsiteX31" fmla="*/ 169735 w 202977"/>
                <a:gd name="connsiteY31" fmla="*/ 149447 h 239267"/>
                <a:gd name="connsiteX32" fmla="*/ 169735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0" y="90964"/>
                    <a:pt x="98584" y="90964"/>
                  </a:cubicBezTo>
                  <a:cubicBezTo>
                    <a:pt x="113157" y="90964"/>
                    <a:pt x="126301"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1" y="33147"/>
                    <a:pt x="63436" y="36100"/>
                  </a:cubicBezTo>
                  <a:cubicBezTo>
                    <a:pt x="52292" y="39053"/>
                    <a:pt x="41338" y="43053"/>
                    <a:pt x="30671" y="48196"/>
                  </a:cubicBezTo>
                  <a:lnTo>
                    <a:pt x="20383" y="19907"/>
                  </a:lnTo>
                  <a:cubicBezTo>
                    <a:pt x="33147" y="13906"/>
                    <a:pt x="46101" y="9049"/>
                    <a:pt x="59246" y="5429"/>
                  </a:cubicBezTo>
                  <a:cubicBezTo>
                    <a:pt x="72295"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1" y="239173"/>
                  </a:cubicBezTo>
                  <a:close/>
                  <a:moveTo>
                    <a:pt x="93154" y="211169"/>
                  </a:moveTo>
                  <a:cubicBezTo>
                    <a:pt x="103822" y="211169"/>
                    <a:pt x="113728" y="209740"/>
                    <a:pt x="122967" y="206788"/>
                  </a:cubicBezTo>
                  <a:cubicBezTo>
                    <a:pt x="132207" y="203835"/>
                    <a:pt x="140208" y="199644"/>
                    <a:pt x="147256" y="194120"/>
                  </a:cubicBezTo>
                  <a:cubicBezTo>
                    <a:pt x="154209" y="188595"/>
                    <a:pt x="159734" y="182118"/>
                    <a:pt x="163734" y="174593"/>
                  </a:cubicBezTo>
                  <a:cubicBezTo>
                    <a:pt x="167735" y="167068"/>
                    <a:pt x="169735" y="158687"/>
                    <a:pt x="169735" y="149447"/>
                  </a:cubicBezTo>
                  <a:lnTo>
                    <a:pt x="169735" y="128111"/>
                  </a:lnTo>
                  <a:cubicBezTo>
                    <a:pt x="161163" y="125730"/>
                    <a:pt x="151352" y="123539"/>
                    <a:pt x="140398" y="121444"/>
                  </a:cubicBezTo>
                  <a:cubicBezTo>
                    <a:pt x="129445" y="119348"/>
                    <a:pt x="116872"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33" name="Freeform: Shape 45">
              <a:extLst>
                <a:ext uri="{FF2B5EF4-FFF2-40B4-BE49-F238E27FC236}">
                  <a16:creationId xmlns:a16="http://schemas.microsoft.com/office/drawing/2014/main" id="{E2F5C976-D3A4-EF80-F41C-73EB25B9E2EA}"/>
                </a:ext>
              </a:extLst>
            </p:cNvPr>
            <p:cNvSpPr/>
            <p:nvPr/>
          </p:nvSpPr>
          <p:spPr>
            <a:xfrm>
              <a:off x="6121359" y="901377"/>
              <a:ext cx="8644" cy="81913"/>
            </a:xfrm>
            <a:custGeom>
              <a:avLst/>
              <a:gdLst>
                <a:gd name="connsiteX0" fmla="*/ 0 w 34385"/>
                <a:gd name="connsiteY0" fmla="*/ 0 h 325850"/>
                <a:gd name="connsiteX1" fmla="*/ 34385 w 34385"/>
                <a:gd name="connsiteY1" fmla="*/ 0 h 325850"/>
                <a:gd name="connsiteX2" fmla="*/ 34385 w 34385"/>
                <a:gd name="connsiteY2" fmla="*/ 325850 h 325850"/>
                <a:gd name="connsiteX3" fmla="*/ 0 w 34385"/>
                <a:gd name="connsiteY3" fmla="*/ 325850 h 325850"/>
                <a:gd name="connsiteX4" fmla="*/ 0 w 34385"/>
                <a:gd name="connsiteY4" fmla="*/ 0 h 32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 h="325850">
                  <a:moveTo>
                    <a:pt x="0" y="0"/>
                  </a:moveTo>
                  <a:lnTo>
                    <a:pt x="34385" y="0"/>
                  </a:lnTo>
                  <a:lnTo>
                    <a:pt x="34385" y="325850"/>
                  </a:lnTo>
                  <a:lnTo>
                    <a:pt x="0" y="325850"/>
                  </a:lnTo>
                  <a:lnTo>
                    <a:pt x="0" y="0"/>
                  </a:lnTo>
                  <a:close/>
                </a:path>
              </a:pathLst>
            </a:custGeom>
            <a:solidFill>
              <a:srgbClr val="44505E"/>
            </a:solidFill>
            <a:ln w="9525" cap="flat">
              <a:noFill/>
              <a:prstDash val="solid"/>
              <a:miter/>
            </a:ln>
          </p:spPr>
          <p:txBody>
            <a:bodyPr rtlCol="0" anchor="ctr"/>
            <a:lstStyle/>
            <a:p>
              <a:endParaRPr lang="pt-BR" noProof="0"/>
            </a:p>
          </p:txBody>
        </p:sp>
        <p:sp>
          <p:nvSpPr>
            <p:cNvPr id="34" name="Freeform: Shape 46">
              <a:extLst>
                <a:ext uri="{FF2B5EF4-FFF2-40B4-BE49-F238E27FC236}">
                  <a16:creationId xmlns:a16="http://schemas.microsoft.com/office/drawing/2014/main" id="{674916C4-4D71-A81E-B90D-C7D1E470DAA2}"/>
                </a:ext>
              </a:extLst>
            </p:cNvPr>
            <p:cNvSpPr/>
            <p:nvPr/>
          </p:nvSpPr>
          <p:spPr>
            <a:xfrm>
              <a:off x="6144346" y="925273"/>
              <a:ext cx="58016" cy="58448"/>
            </a:xfrm>
            <a:custGeom>
              <a:avLst/>
              <a:gdLst>
                <a:gd name="connsiteX0" fmla="*/ 95 w 230790"/>
                <a:gd name="connsiteY0" fmla="*/ 0 h 232505"/>
                <a:gd name="connsiteX1" fmla="*/ 38005 w 230790"/>
                <a:gd name="connsiteY1" fmla="*/ 0 h 232505"/>
                <a:gd name="connsiteX2" fmla="*/ 115634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4"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35" name="Freeform: Shape 47">
              <a:extLst>
                <a:ext uri="{FF2B5EF4-FFF2-40B4-BE49-F238E27FC236}">
                  <a16:creationId xmlns:a16="http://schemas.microsoft.com/office/drawing/2014/main" id="{FF127BDB-62F9-7D2B-89EC-595DB75F9043}"/>
                </a:ext>
              </a:extLst>
            </p:cNvPr>
            <p:cNvSpPr/>
            <p:nvPr/>
          </p:nvSpPr>
          <p:spPr>
            <a:xfrm>
              <a:off x="621155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8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338 w 202977"/>
                <a:gd name="connsiteY36" fmla="*/ 164497 h 239267"/>
                <a:gd name="connsiteX37" fmla="*/ 35338 w 202977"/>
                <a:gd name="connsiteY37" fmla="*/ 165449 h 239267"/>
                <a:gd name="connsiteX38" fmla="*/ 40005 w 202977"/>
                <a:gd name="connsiteY38" fmla="*/ 184785 h 239267"/>
                <a:gd name="connsiteX39" fmla="*/ 52673 w 202977"/>
                <a:gd name="connsiteY39" fmla="*/ 199263 h 239267"/>
                <a:gd name="connsiteX40" fmla="*/ 71152 w 202977"/>
                <a:gd name="connsiteY40" fmla="*/ 208121 h 239267"/>
                <a:gd name="connsiteX41" fmla="*/ 93154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438" y="239268"/>
                    <a:pt x="64961"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1" y="90964"/>
                    <a:pt x="98584" y="90964"/>
                  </a:cubicBezTo>
                  <a:cubicBezTo>
                    <a:pt x="113157" y="90964"/>
                    <a:pt x="126302" y="91821"/>
                    <a:pt x="137160" y="93631"/>
                  </a:cubicBezTo>
                  <a:cubicBezTo>
                    <a:pt x="148019" y="95440"/>
                    <a:pt x="158687" y="97822"/>
                    <a:pt x="169069" y="100774"/>
                  </a:cubicBezTo>
                  <a:lnTo>
                    <a:pt x="169069" y="93726"/>
                  </a:lnTo>
                  <a:cubicBezTo>
                    <a:pt x="169069" y="73342"/>
                    <a:pt x="163068" y="57912"/>
                    <a:pt x="151162" y="47339"/>
                  </a:cubicBezTo>
                  <a:cubicBezTo>
                    <a:pt x="139255" y="36862"/>
                    <a:pt x="122491" y="31623"/>
                    <a:pt x="100679" y="31623"/>
                  </a:cubicBezTo>
                  <a:cubicBezTo>
                    <a:pt x="86963" y="31623"/>
                    <a:pt x="74581" y="33147"/>
                    <a:pt x="63437" y="36100"/>
                  </a:cubicBezTo>
                  <a:cubicBezTo>
                    <a:pt x="52292" y="39053"/>
                    <a:pt x="41338" y="43053"/>
                    <a:pt x="30671" y="48196"/>
                  </a:cubicBezTo>
                  <a:lnTo>
                    <a:pt x="20383" y="19907"/>
                  </a:lnTo>
                  <a:cubicBezTo>
                    <a:pt x="33147" y="13906"/>
                    <a:pt x="46101" y="9049"/>
                    <a:pt x="59246" y="5429"/>
                  </a:cubicBezTo>
                  <a:cubicBezTo>
                    <a:pt x="72390"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04" y="239173"/>
                    <a:pt x="86011" y="239173"/>
                  </a:cubicBezTo>
                  <a:close/>
                  <a:moveTo>
                    <a:pt x="93154" y="211169"/>
                  </a:moveTo>
                  <a:cubicBezTo>
                    <a:pt x="103822" y="211169"/>
                    <a:pt x="113824" y="209740"/>
                    <a:pt x="122968" y="206788"/>
                  </a:cubicBezTo>
                  <a:cubicBezTo>
                    <a:pt x="132112"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5" y="119348"/>
                    <a:pt x="116777" y="118300"/>
                    <a:pt x="102584" y="118300"/>
                  </a:cubicBezTo>
                  <a:cubicBezTo>
                    <a:pt x="81248" y="118300"/>
                    <a:pt x="64675" y="122491"/>
                    <a:pt x="52959" y="130969"/>
                  </a:cubicBezTo>
                  <a:cubicBezTo>
                    <a:pt x="41243" y="139446"/>
                    <a:pt x="35338" y="150590"/>
                    <a:pt x="35338" y="164497"/>
                  </a:cubicBezTo>
                  <a:lnTo>
                    <a:pt x="35338" y="165449"/>
                  </a:lnTo>
                  <a:cubicBezTo>
                    <a:pt x="35338" y="172498"/>
                    <a:pt x="36862" y="178975"/>
                    <a:pt x="40005" y="184785"/>
                  </a:cubicBezTo>
                  <a:cubicBezTo>
                    <a:pt x="43148" y="190500"/>
                    <a:pt x="47339" y="195358"/>
                    <a:pt x="52673" y="199263"/>
                  </a:cubicBezTo>
                  <a:cubicBezTo>
                    <a:pt x="58007" y="203073"/>
                    <a:pt x="64198" y="206026"/>
                    <a:pt x="71152" y="208121"/>
                  </a:cubicBezTo>
                  <a:cubicBezTo>
                    <a:pt x="78105" y="210217"/>
                    <a:pt x="85439" y="211169"/>
                    <a:pt x="93154" y="211169"/>
                  </a:cubicBezTo>
                  <a:close/>
                </a:path>
              </a:pathLst>
            </a:custGeom>
            <a:solidFill>
              <a:srgbClr val="44505E"/>
            </a:solidFill>
            <a:ln w="9525" cap="flat">
              <a:noFill/>
              <a:prstDash val="solid"/>
              <a:miter/>
            </a:ln>
          </p:spPr>
          <p:txBody>
            <a:bodyPr rtlCol="0" anchor="ctr"/>
            <a:lstStyle/>
            <a:p>
              <a:endParaRPr lang="pt-BR" noProof="0"/>
            </a:p>
          </p:txBody>
        </p:sp>
        <p:sp>
          <p:nvSpPr>
            <p:cNvPr id="36" name="Freeform: Shape 48">
              <a:extLst>
                <a:ext uri="{FF2B5EF4-FFF2-40B4-BE49-F238E27FC236}">
                  <a16:creationId xmlns:a16="http://schemas.microsoft.com/office/drawing/2014/main" id="{0DFB30C9-D547-6155-EF6F-06EC6AB1A57B}"/>
                </a:ext>
              </a:extLst>
            </p:cNvPr>
            <p:cNvSpPr/>
            <p:nvPr/>
          </p:nvSpPr>
          <p:spPr>
            <a:xfrm>
              <a:off x="6280899" y="923980"/>
              <a:ext cx="87995" cy="59238"/>
            </a:xfrm>
            <a:custGeom>
              <a:avLst/>
              <a:gdLst>
                <a:gd name="connsiteX0" fmla="*/ 0 w 350043"/>
                <a:gd name="connsiteY0" fmla="*/ 5144 h 235648"/>
                <a:gd name="connsiteX1" fmla="*/ 34385 w 350043"/>
                <a:gd name="connsiteY1" fmla="*/ 5144 h 235648"/>
                <a:gd name="connsiteX2" fmla="*/ 34385 w 350043"/>
                <a:gd name="connsiteY2" fmla="*/ 44005 h 235648"/>
                <a:gd name="connsiteX3" fmla="*/ 47149 w 350043"/>
                <a:gd name="connsiteY3" fmla="*/ 27432 h 235648"/>
                <a:gd name="connsiteX4" fmla="*/ 62960 w 350043"/>
                <a:gd name="connsiteY4" fmla="*/ 13335 h 235648"/>
                <a:gd name="connsiteX5" fmla="*/ 83058 w 350043"/>
                <a:gd name="connsiteY5" fmla="*/ 3715 h 235648"/>
                <a:gd name="connsiteX6" fmla="*/ 108966 w 350043"/>
                <a:gd name="connsiteY6" fmla="*/ 95 h 235648"/>
                <a:gd name="connsiteX7" fmla="*/ 155448 w 350043"/>
                <a:gd name="connsiteY7" fmla="*/ 13240 h 235648"/>
                <a:gd name="connsiteX8" fmla="*/ 183166 w 350043"/>
                <a:gd name="connsiteY8" fmla="*/ 46006 h 235648"/>
                <a:gd name="connsiteX9" fmla="*/ 197168 w 350043"/>
                <a:gd name="connsiteY9" fmla="*/ 28194 h 235648"/>
                <a:gd name="connsiteX10" fmla="*/ 214789 w 350043"/>
                <a:gd name="connsiteY10" fmla="*/ 13430 h 235648"/>
                <a:gd name="connsiteX11" fmla="*/ 236887 w 350043"/>
                <a:gd name="connsiteY11" fmla="*/ 3620 h 235648"/>
                <a:gd name="connsiteX12" fmla="*/ 264319 w 350043"/>
                <a:gd name="connsiteY12" fmla="*/ 0 h 235648"/>
                <a:gd name="connsiteX13" fmla="*/ 327279 w 350043"/>
                <a:gd name="connsiteY13" fmla="*/ 24765 h 235648"/>
                <a:gd name="connsiteX14" fmla="*/ 350044 w 350043"/>
                <a:gd name="connsiteY14" fmla="*/ 92773 h 235648"/>
                <a:gd name="connsiteX15" fmla="*/ 350044 w 350043"/>
                <a:gd name="connsiteY15" fmla="*/ 235648 h 235648"/>
                <a:gd name="connsiteX16" fmla="*/ 315659 w 350043"/>
                <a:gd name="connsiteY16" fmla="*/ 235648 h 235648"/>
                <a:gd name="connsiteX17" fmla="*/ 315659 w 350043"/>
                <a:gd name="connsiteY17" fmla="*/ 101155 h 235648"/>
                <a:gd name="connsiteX18" fmla="*/ 299847 w 350043"/>
                <a:gd name="connsiteY18" fmla="*/ 49721 h 235648"/>
                <a:gd name="connsiteX19" fmla="*/ 255937 w 350043"/>
                <a:gd name="connsiteY19" fmla="*/ 31718 h 235648"/>
                <a:gd name="connsiteX20" fmla="*/ 231362 w 350043"/>
                <a:gd name="connsiteY20" fmla="*/ 36386 h 235648"/>
                <a:gd name="connsiteX21" fmla="*/ 211074 w 350043"/>
                <a:gd name="connsiteY21" fmla="*/ 50197 h 235648"/>
                <a:gd name="connsiteX22" fmla="*/ 197263 w 350043"/>
                <a:gd name="connsiteY22" fmla="*/ 72676 h 235648"/>
                <a:gd name="connsiteX23" fmla="*/ 192119 w 350043"/>
                <a:gd name="connsiteY23" fmla="*/ 102965 h 235648"/>
                <a:gd name="connsiteX24" fmla="*/ 192119 w 350043"/>
                <a:gd name="connsiteY24" fmla="*/ 235648 h 235648"/>
                <a:gd name="connsiteX25" fmla="*/ 158210 w 350043"/>
                <a:gd name="connsiteY25" fmla="*/ 235648 h 235648"/>
                <a:gd name="connsiteX26" fmla="*/ 158210 w 350043"/>
                <a:gd name="connsiteY26" fmla="*/ 100298 h 235648"/>
                <a:gd name="connsiteX27" fmla="*/ 142399 w 350043"/>
                <a:gd name="connsiteY27" fmla="*/ 49721 h 235648"/>
                <a:gd name="connsiteX28" fmla="*/ 98870 w 350043"/>
                <a:gd name="connsiteY28" fmla="*/ 31718 h 235648"/>
                <a:gd name="connsiteX29" fmla="*/ 73438 w 350043"/>
                <a:gd name="connsiteY29" fmla="*/ 37052 h 235648"/>
                <a:gd name="connsiteX30" fmla="*/ 53150 w 350043"/>
                <a:gd name="connsiteY30" fmla="*/ 52197 h 235648"/>
                <a:gd name="connsiteX31" fmla="*/ 39529 w 350043"/>
                <a:gd name="connsiteY31" fmla="*/ 75152 h 235648"/>
                <a:gd name="connsiteX32" fmla="*/ 34576 w 350043"/>
                <a:gd name="connsiteY32" fmla="*/ 104299 h 235648"/>
                <a:gd name="connsiteX33" fmla="*/ 34576 w 350043"/>
                <a:gd name="connsiteY33" fmla="*/ 235648 h 235648"/>
                <a:gd name="connsiteX34" fmla="*/ 190 w 350043"/>
                <a:gd name="connsiteY34" fmla="*/ 235648 h 235648"/>
                <a:gd name="connsiteX35" fmla="*/ 190 w 350043"/>
                <a:gd name="connsiteY35" fmla="*/ 485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0043" h="235648">
                  <a:moveTo>
                    <a:pt x="0" y="5144"/>
                  </a:moveTo>
                  <a:lnTo>
                    <a:pt x="34385" y="5144"/>
                  </a:lnTo>
                  <a:lnTo>
                    <a:pt x="34385" y="44005"/>
                  </a:lnTo>
                  <a:cubicBezTo>
                    <a:pt x="38290" y="38386"/>
                    <a:pt x="42481" y="32861"/>
                    <a:pt x="47149" y="27432"/>
                  </a:cubicBezTo>
                  <a:cubicBezTo>
                    <a:pt x="51721" y="22098"/>
                    <a:pt x="57055" y="17431"/>
                    <a:pt x="62960" y="13335"/>
                  </a:cubicBezTo>
                  <a:cubicBezTo>
                    <a:pt x="68866" y="9335"/>
                    <a:pt x="75629" y="6096"/>
                    <a:pt x="83058" y="3715"/>
                  </a:cubicBezTo>
                  <a:cubicBezTo>
                    <a:pt x="90488" y="1334"/>
                    <a:pt x="99155" y="95"/>
                    <a:pt x="108966" y="95"/>
                  </a:cubicBezTo>
                  <a:cubicBezTo>
                    <a:pt x="127730" y="95"/>
                    <a:pt x="143161" y="4477"/>
                    <a:pt x="155448" y="13240"/>
                  </a:cubicBezTo>
                  <a:cubicBezTo>
                    <a:pt x="167640" y="22003"/>
                    <a:pt x="176879" y="32956"/>
                    <a:pt x="183166" y="46006"/>
                  </a:cubicBezTo>
                  <a:cubicBezTo>
                    <a:pt x="187357" y="39719"/>
                    <a:pt x="192024" y="33814"/>
                    <a:pt x="197168" y="28194"/>
                  </a:cubicBezTo>
                  <a:cubicBezTo>
                    <a:pt x="202406" y="22574"/>
                    <a:pt x="208217" y="17621"/>
                    <a:pt x="214789" y="13430"/>
                  </a:cubicBezTo>
                  <a:cubicBezTo>
                    <a:pt x="221361" y="9239"/>
                    <a:pt x="228695" y="6001"/>
                    <a:pt x="236887" y="3620"/>
                  </a:cubicBezTo>
                  <a:cubicBezTo>
                    <a:pt x="245078" y="1238"/>
                    <a:pt x="254222" y="0"/>
                    <a:pt x="264319" y="0"/>
                  </a:cubicBezTo>
                  <a:cubicBezTo>
                    <a:pt x="291084" y="0"/>
                    <a:pt x="312039" y="8287"/>
                    <a:pt x="327279" y="24765"/>
                  </a:cubicBezTo>
                  <a:cubicBezTo>
                    <a:pt x="342519" y="41243"/>
                    <a:pt x="350044" y="63913"/>
                    <a:pt x="350044" y="92773"/>
                  </a:cubicBezTo>
                  <a:lnTo>
                    <a:pt x="350044" y="235648"/>
                  </a:lnTo>
                  <a:lnTo>
                    <a:pt x="315659" y="235648"/>
                  </a:lnTo>
                  <a:lnTo>
                    <a:pt x="315659" y="101155"/>
                  </a:lnTo>
                  <a:cubicBezTo>
                    <a:pt x="315659" y="78867"/>
                    <a:pt x="310420" y="61722"/>
                    <a:pt x="299847" y="49721"/>
                  </a:cubicBezTo>
                  <a:cubicBezTo>
                    <a:pt x="289274" y="37719"/>
                    <a:pt x="274606" y="31718"/>
                    <a:pt x="255937" y="31718"/>
                  </a:cubicBezTo>
                  <a:cubicBezTo>
                    <a:pt x="247269" y="31718"/>
                    <a:pt x="239078" y="33242"/>
                    <a:pt x="231362" y="36386"/>
                  </a:cubicBezTo>
                  <a:cubicBezTo>
                    <a:pt x="223647" y="39529"/>
                    <a:pt x="216884" y="44101"/>
                    <a:pt x="211074" y="50197"/>
                  </a:cubicBezTo>
                  <a:cubicBezTo>
                    <a:pt x="205264" y="56293"/>
                    <a:pt x="200692" y="63818"/>
                    <a:pt x="197263" y="72676"/>
                  </a:cubicBezTo>
                  <a:cubicBezTo>
                    <a:pt x="193834" y="81629"/>
                    <a:pt x="192119" y="91726"/>
                    <a:pt x="192119" y="102965"/>
                  </a:cubicBezTo>
                  <a:lnTo>
                    <a:pt x="192119" y="235648"/>
                  </a:lnTo>
                  <a:lnTo>
                    <a:pt x="158210" y="235648"/>
                  </a:lnTo>
                  <a:lnTo>
                    <a:pt x="158210" y="100298"/>
                  </a:lnTo>
                  <a:cubicBezTo>
                    <a:pt x="158210" y="78677"/>
                    <a:pt x="152971" y="61817"/>
                    <a:pt x="142399" y="49721"/>
                  </a:cubicBezTo>
                  <a:cubicBezTo>
                    <a:pt x="131826" y="37719"/>
                    <a:pt x="117348" y="31718"/>
                    <a:pt x="98870" y="31718"/>
                  </a:cubicBezTo>
                  <a:cubicBezTo>
                    <a:pt x="89630" y="31718"/>
                    <a:pt x="81153" y="33528"/>
                    <a:pt x="73438" y="37052"/>
                  </a:cubicBezTo>
                  <a:cubicBezTo>
                    <a:pt x="65722" y="40672"/>
                    <a:pt x="58960" y="45720"/>
                    <a:pt x="53150" y="52197"/>
                  </a:cubicBezTo>
                  <a:cubicBezTo>
                    <a:pt x="47339" y="58769"/>
                    <a:pt x="42767" y="66389"/>
                    <a:pt x="39529" y="75152"/>
                  </a:cubicBezTo>
                  <a:cubicBezTo>
                    <a:pt x="36290" y="83915"/>
                    <a:pt x="34576" y="93631"/>
                    <a:pt x="34576" y="104299"/>
                  </a:cubicBezTo>
                  <a:lnTo>
                    <a:pt x="34576" y="235648"/>
                  </a:lnTo>
                  <a:lnTo>
                    <a:pt x="190" y="235648"/>
                  </a:lnTo>
                  <a:lnTo>
                    <a:pt x="190" y="4858"/>
                  </a:lnTo>
                  <a:close/>
                </a:path>
              </a:pathLst>
            </a:custGeom>
            <a:solidFill>
              <a:srgbClr val="44505E"/>
            </a:solidFill>
            <a:ln w="9525" cap="flat">
              <a:noFill/>
              <a:prstDash val="solid"/>
              <a:miter/>
            </a:ln>
          </p:spPr>
          <p:txBody>
            <a:bodyPr rtlCol="0" anchor="ctr"/>
            <a:lstStyle/>
            <a:p>
              <a:endParaRPr lang="pt-BR" noProof="0"/>
            </a:p>
          </p:txBody>
        </p:sp>
        <p:sp>
          <p:nvSpPr>
            <p:cNvPr id="37" name="Freeform: Shape 49">
              <a:extLst>
                <a:ext uri="{FF2B5EF4-FFF2-40B4-BE49-F238E27FC236}">
                  <a16:creationId xmlns:a16="http://schemas.microsoft.com/office/drawing/2014/main" id="{80F88796-2490-A285-DFE5-DB565A4BCDBA}"/>
                </a:ext>
              </a:extLst>
            </p:cNvPr>
            <p:cNvSpPr/>
            <p:nvPr/>
          </p:nvSpPr>
          <p:spPr>
            <a:xfrm>
              <a:off x="6415537" y="925273"/>
              <a:ext cx="58016" cy="58448"/>
            </a:xfrm>
            <a:custGeom>
              <a:avLst/>
              <a:gdLst>
                <a:gd name="connsiteX0" fmla="*/ 95 w 230790"/>
                <a:gd name="connsiteY0" fmla="*/ 0 h 232505"/>
                <a:gd name="connsiteX1" fmla="*/ 38005 w 230790"/>
                <a:gd name="connsiteY1" fmla="*/ 0 h 232505"/>
                <a:gd name="connsiteX2" fmla="*/ 115633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3"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38" name="Freeform: Shape 50">
              <a:extLst>
                <a:ext uri="{FF2B5EF4-FFF2-40B4-BE49-F238E27FC236}">
                  <a16:creationId xmlns:a16="http://schemas.microsoft.com/office/drawing/2014/main" id="{64C02229-AA25-FE76-E1A4-5FFE2E64BC68}"/>
                </a:ext>
              </a:extLst>
            </p:cNvPr>
            <p:cNvSpPr/>
            <p:nvPr/>
          </p:nvSpPr>
          <p:spPr>
            <a:xfrm>
              <a:off x="6487369"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286 w 39242"/>
                <a:gd name="connsiteY5" fmla="*/ 88392 h 319182"/>
                <a:gd name="connsiteX6" fmla="*/ 36671 w 39242"/>
                <a:gd name="connsiteY6" fmla="*/ 88392 h 319182"/>
                <a:gd name="connsiteX7" fmla="*/ 36671 w 39242"/>
                <a:gd name="connsiteY7" fmla="*/ 319183 h 319182"/>
                <a:gd name="connsiteX8" fmla="*/ 2286 w 39242"/>
                <a:gd name="connsiteY8" fmla="*/ 319183 h 319182"/>
                <a:gd name="connsiteX9" fmla="*/ 2286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286" y="88392"/>
                  </a:moveTo>
                  <a:lnTo>
                    <a:pt x="36671" y="88392"/>
                  </a:lnTo>
                  <a:lnTo>
                    <a:pt x="36671" y="319183"/>
                  </a:lnTo>
                  <a:lnTo>
                    <a:pt x="2286" y="319183"/>
                  </a:lnTo>
                  <a:lnTo>
                    <a:pt x="2286" y="88392"/>
                  </a:lnTo>
                  <a:close/>
                </a:path>
              </a:pathLst>
            </a:custGeom>
            <a:solidFill>
              <a:srgbClr val="44505E"/>
            </a:solidFill>
            <a:ln w="9525" cap="flat">
              <a:noFill/>
              <a:prstDash val="solid"/>
              <a:miter/>
            </a:ln>
          </p:spPr>
          <p:txBody>
            <a:bodyPr rtlCol="0" anchor="ctr"/>
            <a:lstStyle/>
            <a:p>
              <a:endParaRPr lang="pt-BR" noProof="0"/>
            </a:p>
          </p:txBody>
        </p:sp>
        <p:sp>
          <p:nvSpPr>
            <p:cNvPr id="39" name="Freeform: Shape 51">
              <a:extLst>
                <a:ext uri="{FF2B5EF4-FFF2-40B4-BE49-F238E27FC236}">
                  <a16:creationId xmlns:a16="http://schemas.microsoft.com/office/drawing/2014/main" id="{EC6518C1-D028-C4F6-756C-E5EEF1B5A165}"/>
                </a:ext>
              </a:extLst>
            </p:cNvPr>
            <p:cNvSpPr/>
            <p:nvPr/>
          </p:nvSpPr>
          <p:spPr>
            <a:xfrm>
              <a:off x="6513253" y="901353"/>
              <a:ext cx="58615" cy="83182"/>
            </a:xfrm>
            <a:custGeom>
              <a:avLst/>
              <a:gdLst>
                <a:gd name="connsiteX0" fmla="*/ 110394 w 233171"/>
                <a:gd name="connsiteY0" fmla="*/ 330898 h 330898"/>
                <a:gd name="connsiteX1" fmla="*/ 69723 w 233171"/>
                <a:gd name="connsiteY1" fmla="*/ 322897 h 330898"/>
                <a:gd name="connsiteX2" fmla="*/ 34480 w 233171"/>
                <a:gd name="connsiteY2" fmla="*/ 299466 h 330898"/>
                <a:gd name="connsiteX3" fmla="*/ 9430 w 233171"/>
                <a:gd name="connsiteY3" fmla="*/ 261938 h 330898"/>
                <a:gd name="connsiteX4" fmla="*/ 0 w 233171"/>
                <a:gd name="connsiteY4" fmla="*/ 211264 h 330898"/>
                <a:gd name="connsiteX5" fmla="*/ 0 w 233171"/>
                <a:gd name="connsiteY5" fmla="*/ 210407 h 330898"/>
                <a:gd name="connsiteX6" fmla="*/ 9430 w 233171"/>
                <a:gd name="connsiteY6" fmla="*/ 159925 h 330898"/>
                <a:gd name="connsiteX7" fmla="*/ 34480 w 233171"/>
                <a:gd name="connsiteY7" fmla="*/ 122206 h 330898"/>
                <a:gd name="connsiteX8" fmla="*/ 69723 w 233171"/>
                <a:gd name="connsiteY8" fmla="*/ 98488 h 330898"/>
                <a:gd name="connsiteX9" fmla="*/ 110394 w 233171"/>
                <a:gd name="connsiteY9" fmla="*/ 90202 h 330898"/>
                <a:gd name="connsiteX10" fmla="*/ 139827 w 233171"/>
                <a:gd name="connsiteY10" fmla="*/ 94202 h 330898"/>
                <a:gd name="connsiteX11" fmla="*/ 163925 w 233171"/>
                <a:gd name="connsiteY11" fmla="*/ 104870 h 330898"/>
                <a:gd name="connsiteX12" fmla="*/ 183356 w 233171"/>
                <a:gd name="connsiteY12" fmla="*/ 120491 h 330898"/>
                <a:gd name="connsiteX13" fmla="*/ 198787 w 233171"/>
                <a:gd name="connsiteY13" fmla="*/ 139255 h 330898"/>
                <a:gd name="connsiteX14" fmla="*/ 198787 w 233171"/>
                <a:gd name="connsiteY14" fmla="*/ 0 h 330898"/>
                <a:gd name="connsiteX15" fmla="*/ 233172 w 233171"/>
                <a:gd name="connsiteY15" fmla="*/ 0 h 330898"/>
                <a:gd name="connsiteX16" fmla="*/ 233172 w 233171"/>
                <a:gd name="connsiteY16" fmla="*/ 325850 h 330898"/>
                <a:gd name="connsiteX17" fmla="*/ 198787 w 233171"/>
                <a:gd name="connsiteY17" fmla="*/ 325850 h 330898"/>
                <a:gd name="connsiteX18" fmla="*/ 198787 w 233171"/>
                <a:gd name="connsiteY18" fmla="*/ 279463 h 330898"/>
                <a:gd name="connsiteX19" fmla="*/ 182975 w 233171"/>
                <a:gd name="connsiteY19" fmla="*/ 299085 h 330898"/>
                <a:gd name="connsiteX20" fmla="*/ 163544 w 233171"/>
                <a:gd name="connsiteY20" fmla="*/ 315658 h 330898"/>
                <a:gd name="connsiteX21" fmla="*/ 139636 w 233171"/>
                <a:gd name="connsiteY21" fmla="*/ 326803 h 330898"/>
                <a:gd name="connsiteX22" fmla="*/ 110394 w 233171"/>
                <a:gd name="connsiteY22" fmla="*/ 330803 h 330898"/>
                <a:gd name="connsiteX23" fmla="*/ 116681 w 233171"/>
                <a:gd name="connsiteY23" fmla="*/ 300133 h 330898"/>
                <a:gd name="connsiteX24" fmla="*/ 147733 w 233171"/>
                <a:gd name="connsiteY24" fmla="*/ 293656 h 330898"/>
                <a:gd name="connsiteX25" fmla="*/ 174498 w 233171"/>
                <a:gd name="connsiteY25" fmla="*/ 275368 h 330898"/>
                <a:gd name="connsiteX26" fmla="*/ 193262 w 233171"/>
                <a:gd name="connsiteY26" fmla="*/ 247269 h 330898"/>
                <a:gd name="connsiteX27" fmla="*/ 200216 w 233171"/>
                <a:gd name="connsiteY27" fmla="*/ 210883 h 330898"/>
                <a:gd name="connsiteX28" fmla="*/ 200216 w 233171"/>
                <a:gd name="connsiteY28" fmla="*/ 210026 h 330898"/>
                <a:gd name="connsiteX29" fmla="*/ 193262 w 233171"/>
                <a:gd name="connsiteY29" fmla="*/ 173641 h 330898"/>
                <a:gd name="connsiteX30" fmla="*/ 174498 w 233171"/>
                <a:gd name="connsiteY30" fmla="*/ 145732 h 330898"/>
                <a:gd name="connsiteX31" fmla="*/ 147733 w 233171"/>
                <a:gd name="connsiteY31" fmla="*/ 127635 h 330898"/>
                <a:gd name="connsiteX32" fmla="*/ 116681 w 233171"/>
                <a:gd name="connsiteY32" fmla="*/ 121158 h 330898"/>
                <a:gd name="connsiteX33" fmla="*/ 84963 w 233171"/>
                <a:gd name="connsiteY33" fmla="*/ 127159 h 330898"/>
                <a:gd name="connsiteX34" fmla="*/ 59341 w 233171"/>
                <a:gd name="connsiteY34" fmla="*/ 144589 h 330898"/>
                <a:gd name="connsiteX35" fmla="*/ 41910 w 233171"/>
                <a:gd name="connsiteY35" fmla="*/ 172498 h 330898"/>
                <a:gd name="connsiteX36" fmla="*/ 35433 w 233171"/>
                <a:gd name="connsiteY36" fmla="*/ 210026 h 330898"/>
                <a:gd name="connsiteX37" fmla="*/ 35433 w 233171"/>
                <a:gd name="connsiteY37" fmla="*/ 210883 h 330898"/>
                <a:gd name="connsiteX38" fmla="*/ 41910 w 233171"/>
                <a:gd name="connsiteY38" fmla="*/ 247936 h 330898"/>
                <a:gd name="connsiteX39" fmla="*/ 59531 w 233171"/>
                <a:gd name="connsiteY39" fmla="*/ 276034 h 330898"/>
                <a:gd name="connsiteX40" fmla="*/ 85439 w 233171"/>
                <a:gd name="connsiteY40" fmla="*/ 293941 h 330898"/>
                <a:gd name="connsiteX41" fmla="*/ 116681 w 23317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3171" h="330898">
                  <a:moveTo>
                    <a:pt x="110394" y="330898"/>
                  </a:moveTo>
                  <a:cubicBezTo>
                    <a:pt x="96393" y="330898"/>
                    <a:pt x="82868" y="328231"/>
                    <a:pt x="69723" y="322897"/>
                  </a:cubicBezTo>
                  <a:cubicBezTo>
                    <a:pt x="56674" y="317563"/>
                    <a:pt x="44863" y="309753"/>
                    <a:pt x="34480" y="299466"/>
                  </a:cubicBezTo>
                  <a:cubicBezTo>
                    <a:pt x="24003" y="289179"/>
                    <a:pt x="15716" y="276701"/>
                    <a:pt x="9430" y="261938"/>
                  </a:cubicBezTo>
                  <a:cubicBezTo>
                    <a:pt x="3143" y="247174"/>
                    <a:pt x="0" y="230314"/>
                    <a:pt x="0" y="211264"/>
                  </a:cubicBezTo>
                  <a:lnTo>
                    <a:pt x="0" y="210407"/>
                  </a:lnTo>
                  <a:cubicBezTo>
                    <a:pt x="0" y="191643"/>
                    <a:pt x="3143" y="174879"/>
                    <a:pt x="9430" y="159925"/>
                  </a:cubicBezTo>
                  <a:cubicBezTo>
                    <a:pt x="15716" y="145066"/>
                    <a:pt x="24003" y="132493"/>
                    <a:pt x="34480" y="122206"/>
                  </a:cubicBezTo>
                  <a:cubicBezTo>
                    <a:pt x="44863" y="111919"/>
                    <a:pt x="56674" y="104013"/>
                    <a:pt x="69723" y="98488"/>
                  </a:cubicBezTo>
                  <a:cubicBezTo>
                    <a:pt x="82868" y="92964"/>
                    <a:pt x="96393" y="90202"/>
                    <a:pt x="110394" y="90202"/>
                  </a:cubicBezTo>
                  <a:cubicBezTo>
                    <a:pt x="121158" y="90202"/>
                    <a:pt x="130969" y="91535"/>
                    <a:pt x="139827" y="94202"/>
                  </a:cubicBezTo>
                  <a:cubicBezTo>
                    <a:pt x="148780" y="96869"/>
                    <a:pt x="156782" y="100489"/>
                    <a:pt x="163925" y="104870"/>
                  </a:cubicBezTo>
                  <a:cubicBezTo>
                    <a:pt x="171069" y="109347"/>
                    <a:pt x="177546" y="114586"/>
                    <a:pt x="183356" y="120491"/>
                  </a:cubicBezTo>
                  <a:cubicBezTo>
                    <a:pt x="189166" y="126492"/>
                    <a:pt x="194310" y="132683"/>
                    <a:pt x="198787" y="139255"/>
                  </a:cubicBezTo>
                  <a:lnTo>
                    <a:pt x="198787" y="0"/>
                  </a:lnTo>
                  <a:lnTo>
                    <a:pt x="233172" y="0"/>
                  </a:lnTo>
                  <a:lnTo>
                    <a:pt x="233172" y="325850"/>
                  </a:lnTo>
                  <a:lnTo>
                    <a:pt x="198787" y="325850"/>
                  </a:lnTo>
                  <a:lnTo>
                    <a:pt x="198787" y="279463"/>
                  </a:lnTo>
                  <a:cubicBezTo>
                    <a:pt x="194024" y="286321"/>
                    <a:pt x="188786" y="292894"/>
                    <a:pt x="182975" y="299085"/>
                  </a:cubicBezTo>
                  <a:cubicBezTo>
                    <a:pt x="177165" y="305371"/>
                    <a:pt x="170688" y="310896"/>
                    <a:pt x="163544" y="315658"/>
                  </a:cubicBezTo>
                  <a:cubicBezTo>
                    <a:pt x="156400" y="320421"/>
                    <a:pt x="148494" y="324136"/>
                    <a:pt x="139636" y="326803"/>
                  </a:cubicBezTo>
                  <a:cubicBezTo>
                    <a:pt x="130873" y="329470"/>
                    <a:pt x="121158" y="330803"/>
                    <a:pt x="110394" y="330803"/>
                  </a:cubicBezTo>
                  <a:close/>
                  <a:moveTo>
                    <a:pt x="116681" y="300133"/>
                  </a:moveTo>
                  <a:cubicBezTo>
                    <a:pt x="127445" y="300133"/>
                    <a:pt x="137732" y="297942"/>
                    <a:pt x="147733" y="293656"/>
                  </a:cubicBezTo>
                  <a:cubicBezTo>
                    <a:pt x="157734" y="289369"/>
                    <a:pt x="166592" y="283273"/>
                    <a:pt x="174498" y="275368"/>
                  </a:cubicBezTo>
                  <a:cubicBezTo>
                    <a:pt x="182404" y="267462"/>
                    <a:pt x="188595" y="258127"/>
                    <a:pt x="193262" y="247269"/>
                  </a:cubicBezTo>
                  <a:cubicBezTo>
                    <a:pt x="197834" y="236410"/>
                    <a:pt x="200216" y="224314"/>
                    <a:pt x="200216" y="210883"/>
                  </a:cubicBezTo>
                  <a:lnTo>
                    <a:pt x="200216" y="210026"/>
                  </a:lnTo>
                  <a:cubicBezTo>
                    <a:pt x="200216" y="196596"/>
                    <a:pt x="197929" y="184499"/>
                    <a:pt x="193262" y="173641"/>
                  </a:cubicBezTo>
                  <a:cubicBezTo>
                    <a:pt x="188595" y="162782"/>
                    <a:pt x="182404" y="153448"/>
                    <a:pt x="174498" y="145732"/>
                  </a:cubicBezTo>
                  <a:cubicBezTo>
                    <a:pt x="166592" y="138017"/>
                    <a:pt x="157639" y="132016"/>
                    <a:pt x="147733" y="127635"/>
                  </a:cubicBezTo>
                  <a:cubicBezTo>
                    <a:pt x="137732" y="123349"/>
                    <a:pt x="127445" y="121158"/>
                    <a:pt x="116681" y="121158"/>
                  </a:cubicBezTo>
                  <a:cubicBezTo>
                    <a:pt x="105346" y="121158"/>
                    <a:pt x="94774" y="123158"/>
                    <a:pt x="84963" y="127159"/>
                  </a:cubicBezTo>
                  <a:cubicBezTo>
                    <a:pt x="75152" y="131159"/>
                    <a:pt x="66580" y="136969"/>
                    <a:pt x="59341" y="144589"/>
                  </a:cubicBezTo>
                  <a:cubicBezTo>
                    <a:pt x="52007" y="152114"/>
                    <a:pt x="46291" y="161449"/>
                    <a:pt x="41910" y="172498"/>
                  </a:cubicBezTo>
                  <a:cubicBezTo>
                    <a:pt x="37624" y="183451"/>
                    <a:pt x="35433" y="196024"/>
                    <a:pt x="35433" y="210026"/>
                  </a:cubicBezTo>
                  <a:lnTo>
                    <a:pt x="35433" y="210883"/>
                  </a:lnTo>
                  <a:cubicBezTo>
                    <a:pt x="35433" y="224599"/>
                    <a:pt x="37624" y="236982"/>
                    <a:pt x="41910" y="247936"/>
                  </a:cubicBezTo>
                  <a:cubicBezTo>
                    <a:pt x="46196" y="258984"/>
                    <a:pt x="52101" y="268319"/>
                    <a:pt x="59531" y="276034"/>
                  </a:cubicBezTo>
                  <a:cubicBezTo>
                    <a:pt x="66960" y="283750"/>
                    <a:pt x="75629" y="289750"/>
                    <a:pt x="85439" y="293941"/>
                  </a:cubicBezTo>
                  <a:cubicBezTo>
                    <a:pt x="95250" y="298132"/>
                    <a:pt x="105632" y="300228"/>
                    <a:pt x="116681" y="300228"/>
                  </a:cubicBezTo>
                  <a:close/>
                </a:path>
              </a:pathLst>
            </a:custGeom>
            <a:solidFill>
              <a:srgbClr val="44505E"/>
            </a:solidFill>
            <a:ln w="9525" cap="flat">
              <a:noFill/>
              <a:prstDash val="solid"/>
              <a:miter/>
            </a:ln>
          </p:spPr>
          <p:txBody>
            <a:bodyPr rtlCol="0" anchor="ctr"/>
            <a:lstStyle/>
            <a:p>
              <a:endParaRPr lang="pt-BR" noProof="0"/>
            </a:p>
          </p:txBody>
        </p:sp>
        <p:sp>
          <p:nvSpPr>
            <p:cNvPr id="40" name="Freeform: Shape 52">
              <a:extLst>
                <a:ext uri="{FF2B5EF4-FFF2-40B4-BE49-F238E27FC236}">
                  <a16:creationId xmlns:a16="http://schemas.microsoft.com/office/drawing/2014/main" id="{128C90E6-26EB-C54B-4730-A12B88660496}"/>
                </a:ext>
              </a:extLst>
            </p:cNvPr>
            <p:cNvSpPr/>
            <p:nvPr/>
          </p:nvSpPr>
          <p:spPr>
            <a:xfrm>
              <a:off x="6586762"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0 w 202977"/>
                <a:gd name="connsiteY16" fmla="*/ 48196 h 239267"/>
                <a:gd name="connsiteX17" fmla="*/ 20383 w 202977"/>
                <a:gd name="connsiteY17" fmla="*/ 19907 h 239267"/>
                <a:gd name="connsiteX18" fmla="*/ 59245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0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1"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675" y="92678"/>
                    <a:pt x="84011" y="90964"/>
                    <a:pt x="98584" y="90964"/>
                  </a:cubicBezTo>
                  <a:cubicBezTo>
                    <a:pt x="113157" y="90964"/>
                    <a:pt x="126302"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0" y="33147"/>
                    <a:pt x="63436" y="36100"/>
                  </a:cubicBezTo>
                  <a:cubicBezTo>
                    <a:pt x="52292" y="39053"/>
                    <a:pt x="41338" y="43053"/>
                    <a:pt x="30670" y="48196"/>
                  </a:cubicBezTo>
                  <a:lnTo>
                    <a:pt x="20383" y="19907"/>
                  </a:lnTo>
                  <a:cubicBezTo>
                    <a:pt x="33147" y="13906"/>
                    <a:pt x="46101" y="9049"/>
                    <a:pt x="59245" y="5429"/>
                  </a:cubicBezTo>
                  <a:cubicBezTo>
                    <a:pt x="72294" y="1810"/>
                    <a:pt x="87344" y="0"/>
                    <a:pt x="104299" y="0"/>
                  </a:cubicBezTo>
                  <a:cubicBezTo>
                    <a:pt x="137064" y="0"/>
                    <a:pt x="161925" y="8477"/>
                    <a:pt x="178879" y="25432"/>
                  </a:cubicBezTo>
                  <a:cubicBezTo>
                    <a:pt x="194976"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0" y="239173"/>
                  </a:cubicBezTo>
                  <a:close/>
                  <a:moveTo>
                    <a:pt x="93154" y="211169"/>
                  </a:moveTo>
                  <a:cubicBezTo>
                    <a:pt x="103822" y="211169"/>
                    <a:pt x="113729" y="209740"/>
                    <a:pt x="122967" y="206788"/>
                  </a:cubicBezTo>
                  <a:cubicBezTo>
                    <a:pt x="132207"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4" y="119348"/>
                    <a:pt x="116871"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41" name="Freeform: Shape 53">
              <a:extLst>
                <a:ext uri="{FF2B5EF4-FFF2-40B4-BE49-F238E27FC236}">
                  <a16:creationId xmlns:a16="http://schemas.microsoft.com/office/drawing/2014/main" id="{3E94D655-9AEB-F065-0F9C-3AE8833F9EAB}"/>
                </a:ext>
              </a:extLst>
            </p:cNvPr>
            <p:cNvSpPr/>
            <p:nvPr/>
          </p:nvSpPr>
          <p:spPr>
            <a:xfrm>
              <a:off x="6651291" y="924268"/>
              <a:ext cx="44680" cy="60195"/>
            </a:xfrm>
            <a:custGeom>
              <a:avLst/>
              <a:gdLst>
                <a:gd name="connsiteX0" fmla="*/ 95535 w 177736"/>
                <a:gd name="connsiteY0" fmla="*/ 239268 h 239458"/>
                <a:gd name="connsiteX1" fmla="*/ 45053 w 177736"/>
                <a:gd name="connsiteY1" fmla="*/ 230124 h 239458"/>
                <a:gd name="connsiteX2" fmla="*/ 0 w 177736"/>
                <a:gd name="connsiteY2" fmla="*/ 205359 h 239458"/>
                <a:gd name="connsiteX3" fmla="*/ 17430 w 177736"/>
                <a:gd name="connsiteY3" fmla="*/ 180785 h 239458"/>
                <a:gd name="connsiteX4" fmla="*/ 56483 w 177736"/>
                <a:gd name="connsiteY4" fmla="*/ 202692 h 239458"/>
                <a:gd name="connsiteX5" fmla="*/ 97345 w 177736"/>
                <a:gd name="connsiteY5" fmla="*/ 210217 h 239458"/>
                <a:gd name="connsiteX6" fmla="*/ 131730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825 w 177736"/>
                <a:gd name="connsiteY10" fmla="*/ 147066 h 239458"/>
                <a:gd name="connsiteX11" fmla="*/ 109251 w 177736"/>
                <a:gd name="connsiteY11" fmla="*/ 138779 h 239458"/>
                <a:gd name="connsiteX12" fmla="*/ 87630 w 177736"/>
                <a:gd name="connsiteY12" fmla="*/ 132112 h 239458"/>
                <a:gd name="connsiteX13" fmla="*/ 60579 w 177736"/>
                <a:gd name="connsiteY13" fmla="*/ 123444 h 239458"/>
                <a:gd name="connsiteX14" fmla="*/ 36004 w 177736"/>
                <a:gd name="connsiteY14" fmla="*/ 111633 h 239458"/>
                <a:gd name="connsiteX15" fmla="*/ 18192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59 w 177736"/>
                <a:gd name="connsiteY22" fmla="*/ 6953 h 239458"/>
                <a:gd name="connsiteX23" fmla="*/ 172878 w 177736"/>
                <a:gd name="connsiteY23" fmla="*/ 25527 h 239458"/>
                <a:gd name="connsiteX24" fmla="*/ 157257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3 w 177736"/>
                <a:gd name="connsiteY32" fmla="*/ 96203 h 239458"/>
                <a:gd name="connsiteX33" fmla="*/ 103631 w 177736"/>
                <a:gd name="connsiteY33" fmla="*/ 103346 h 239458"/>
                <a:gd name="connsiteX34" fmla="*/ 130207 w 177736"/>
                <a:gd name="connsiteY34" fmla="*/ 112300 h 239458"/>
                <a:gd name="connsiteX35" fmla="*/ 154114 w 177736"/>
                <a:gd name="connsiteY35" fmla="*/ 124778 h 239458"/>
                <a:gd name="connsiteX36" fmla="*/ 171259 w 177736"/>
                <a:gd name="connsiteY36" fmla="*/ 143066 h 239458"/>
                <a:gd name="connsiteX37" fmla="*/ 177736 w 177736"/>
                <a:gd name="connsiteY37" fmla="*/ 169450 h 239458"/>
                <a:gd name="connsiteX38" fmla="*/ 177736 w 177736"/>
                <a:gd name="connsiteY38" fmla="*/ 170307 h 239458"/>
                <a:gd name="connsiteX39" fmla="*/ 171259 w 177736"/>
                <a:gd name="connsiteY39" fmla="*/ 199549 h 239458"/>
                <a:gd name="connsiteX40" fmla="*/ 153828 w 177736"/>
                <a:gd name="connsiteY40" fmla="*/ 221171 h 239458"/>
                <a:gd name="connsiteX41" fmla="*/ 127921 w 177736"/>
                <a:gd name="connsiteY41" fmla="*/ 234791 h 239458"/>
                <a:gd name="connsiteX42" fmla="*/ 95535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5" y="239268"/>
                  </a:moveTo>
                  <a:cubicBezTo>
                    <a:pt x="78867" y="239268"/>
                    <a:pt x="62007" y="236220"/>
                    <a:pt x="45053" y="230124"/>
                  </a:cubicBezTo>
                  <a:cubicBezTo>
                    <a:pt x="28098" y="224028"/>
                    <a:pt x="13049" y="215741"/>
                    <a:pt x="0" y="205359"/>
                  </a:cubicBezTo>
                  <a:lnTo>
                    <a:pt x="17430" y="180785"/>
                  </a:lnTo>
                  <a:cubicBezTo>
                    <a:pt x="29908" y="190310"/>
                    <a:pt x="42957" y="197644"/>
                    <a:pt x="56483" y="202692"/>
                  </a:cubicBezTo>
                  <a:cubicBezTo>
                    <a:pt x="70009" y="207740"/>
                    <a:pt x="83629" y="210217"/>
                    <a:pt x="97345" y="210217"/>
                  </a:cubicBezTo>
                  <a:cubicBezTo>
                    <a:pt x="111061" y="210217"/>
                    <a:pt x="122777" y="206978"/>
                    <a:pt x="131730" y="200406"/>
                  </a:cubicBezTo>
                  <a:cubicBezTo>
                    <a:pt x="140684" y="193834"/>
                    <a:pt x="145161" y="184976"/>
                    <a:pt x="145161" y="173641"/>
                  </a:cubicBezTo>
                  <a:lnTo>
                    <a:pt x="145161" y="172784"/>
                  </a:lnTo>
                  <a:cubicBezTo>
                    <a:pt x="145161" y="167164"/>
                    <a:pt x="143541" y="162211"/>
                    <a:pt x="140494" y="158020"/>
                  </a:cubicBezTo>
                  <a:cubicBezTo>
                    <a:pt x="137350" y="153829"/>
                    <a:pt x="133159" y="150209"/>
                    <a:pt x="127825" y="147066"/>
                  </a:cubicBezTo>
                  <a:cubicBezTo>
                    <a:pt x="122491" y="143923"/>
                    <a:pt x="116300" y="141161"/>
                    <a:pt x="109251" y="138779"/>
                  </a:cubicBezTo>
                  <a:cubicBezTo>
                    <a:pt x="102298" y="136398"/>
                    <a:pt x="95059" y="134207"/>
                    <a:pt x="87630" y="132112"/>
                  </a:cubicBezTo>
                  <a:cubicBezTo>
                    <a:pt x="78676" y="129445"/>
                    <a:pt x="69722" y="126492"/>
                    <a:pt x="60579" y="123444"/>
                  </a:cubicBezTo>
                  <a:cubicBezTo>
                    <a:pt x="51530" y="120301"/>
                    <a:pt x="43339" y="116396"/>
                    <a:pt x="36004" y="111633"/>
                  </a:cubicBezTo>
                  <a:cubicBezTo>
                    <a:pt x="28670" y="106871"/>
                    <a:pt x="22764" y="100870"/>
                    <a:pt x="18192" y="93726"/>
                  </a:cubicBezTo>
                  <a:cubicBezTo>
                    <a:pt x="13525" y="86582"/>
                    <a:pt x="11239" y="77629"/>
                    <a:pt x="11239" y="66961"/>
                  </a:cubicBezTo>
                  <a:lnTo>
                    <a:pt x="11239" y="66008"/>
                  </a:lnTo>
                  <a:cubicBezTo>
                    <a:pt x="11239" y="56198"/>
                    <a:pt x="13144" y="47149"/>
                    <a:pt x="17050" y="39053"/>
                  </a:cubicBezTo>
                  <a:cubicBezTo>
                    <a:pt x="20955" y="30861"/>
                    <a:pt x="26384" y="23908"/>
                    <a:pt x="33338" y="18098"/>
                  </a:cubicBezTo>
                  <a:cubicBezTo>
                    <a:pt x="40291" y="12287"/>
                    <a:pt x="48673" y="7811"/>
                    <a:pt x="58388" y="4667"/>
                  </a:cubicBezTo>
                  <a:cubicBezTo>
                    <a:pt x="68008" y="1524"/>
                    <a:pt x="78581" y="0"/>
                    <a:pt x="89821" y="0"/>
                  </a:cubicBezTo>
                  <a:cubicBezTo>
                    <a:pt x="104108" y="0"/>
                    <a:pt x="118586" y="2286"/>
                    <a:pt x="133159" y="6953"/>
                  </a:cubicBezTo>
                  <a:cubicBezTo>
                    <a:pt x="147732" y="11621"/>
                    <a:pt x="160972" y="17717"/>
                    <a:pt x="172878" y="25527"/>
                  </a:cubicBezTo>
                  <a:lnTo>
                    <a:pt x="157257" y="51435"/>
                  </a:lnTo>
                  <a:cubicBezTo>
                    <a:pt x="146494" y="44577"/>
                    <a:pt x="135255" y="39148"/>
                    <a:pt x="123539" y="35147"/>
                  </a:cubicBezTo>
                  <a:cubicBezTo>
                    <a:pt x="111823" y="31147"/>
                    <a:pt x="100203" y="29146"/>
                    <a:pt x="88963" y="29146"/>
                  </a:cubicBezTo>
                  <a:cubicBezTo>
                    <a:pt x="75247" y="29146"/>
                    <a:pt x="64389" y="32385"/>
                    <a:pt x="56388" y="38767"/>
                  </a:cubicBezTo>
                  <a:cubicBezTo>
                    <a:pt x="48291" y="45149"/>
                    <a:pt x="44291" y="53150"/>
                    <a:pt x="44291" y="62675"/>
                  </a:cubicBezTo>
                  <a:lnTo>
                    <a:pt x="44291" y="63627"/>
                  </a:lnTo>
                  <a:cubicBezTo>
                    <a:pt x="44291" y="68961"/>
                    <a:pt x="45910" y="73628"/>
                    <a:pt x="49244" y="77724"/>
                  </a:cubicBezTo>
                  <a:cubicBezTo>
                    <a:pt x="52482" y="81725"/>
                    <a:pt x="56864" y="85249"/>
                    <a:pt x="62389" y="88202"/>
                  </a:cubicBezTo>
                  <a:cubicBezTo>
                    <a:pt x="67913" y="91154"/>
                    <a:pt x="74200" y="93821"/>
                    <a:pt x="81343" y="96203"/>
                  </a:cubicBezTo>
                  <a:cubicBezTo>
                    <a:pt x="88487" y="98584"/>
                    <a:pt x="95916" y="100965"/>
                    <a:pt x="103631" y="103346"/>
                  </a:cubicBezTo>
                  <a:cubicBezTo>
                    <a:pt x="112585" y="106013"/>
                    <a:pt x="121444" y="108966"/>
                    <a:pt x="130207" y="112300"/>
                  </a:cubicBezTo>
                  <a:cubicBezTo>
                    <a:pt x="138969" y="115538"/>
                    <a:pt x="146971" y="119729"/>
                    <a:pt x="154114" y="124778"/>
                  </a:cubicBezTo>
                  <a:cubicBezTo>
                    <a:pt x="161258" y="129826"/>
                    <a:pt x="166973" y="135922"/>
                    <a:pt x="171259" y="143066"/>
                  </a:cubicBezTo>
                  <a:cubicBezTo>
                    <a:pt x="175546" y="150209"/>
                    <a:pt x="177736" y="158972"/>
                    <a:pt x="177736" y="169450"/>
                  </a:cubicBezTo>
                  <a:lnTo>
                    <a:pt x="177736" y="170307"/>
                  </a:lnTo>
                  <a:cubicBezTo>
                    <a:pt x="177736" y="181356"/>
                    <a:pt x="175546" y="191071"/>
                    <a:pt x="171259" y="199549"/>
                  </a:cubicBezTo>
                  <a:cubicBezTo>
                    <a:pt x="166973" y="208026"/>
                    <a:pt x="161163" y="215265"/>
                    <a:pt x="153828" y="221171"/>
                  </a:cubicBezTo>
                  <a:cubicBezTo>
                    <a:pt x="146589" y="227171"/>
                    <a:pt x="137922" y="231648"/>
                    <a:pt x="127921" y="234791"/>
                  </a:cubicBezTo>
                  <a:cubicBezTo>
                    <a:pt x="117919" y="237935"/>
                    <a:pt x="107156" y="239459"/>
                    <a:pt x="95535" y="239459"/>
                  </a:cubicBezTo>
                  <a:close/>
                </a:path>
              </a:pathLst>
            </a:custGeom>
            <a:solidFill>
              <a:srgbClr val="44505E"/>
            </a:solidFill>
            <a:ln w="9525" cap="flat">
              <a:noFill/>
              <a:prstDash val="solid"/>
              <a:miter/>
            </a:ln>
          </p:spPr>
          <p:txBody>
            <a:bodyPr rtlCol="0" anchor="ctr"/>
            <a:lstStyle/>
            <a:p>
              <a:endParaRPr lang="pt-BR" noProof="0"/>
            </a:p>
          </p:txBody>
        </p:sp>
        <p:sp>
          <p:nvSpPr>
            <p:cNvPr id="42" name="Freeform: Shape 54">
              <a:extLst>
                <a:ext uri="{FF2B5EF4-FFF2-40B4-BE49-F238E27FC236}">
                  <a16:creationId xmlns:a16="http://schemas.microsoft.com/office/drawing/2014/main" id="{2AF1EC55-4251-5153-3710-A207B547E0F9}"/>
                </a:ext>
              </a:extLst>
            </p:cNvPr>
            <p:cNvSpPr/>
            <p:nvPr/>
          </p:nvSpPr>
          <p:spPr>
            <a:xfrm>
              <a:off x="5250320" y="846952"/>
              <a:ext cx="1459036" cy="16186"/>
            </a:xfrm>
            <a:custGeom>
              <a:avLst/>
              <a:gdLst>
                <a:gd name="connsiteX0" fmla="*/ 0 w 5804058"/>
                <a:gd name="connsiteY0" fmla="*/ 0 h 64388"/>
                <a:gd name="connsiteX1" fmla="*/ 5804059 w 5804058"/>
                <a:gd name="connsiteY1" fmla="*/ 0 h 64388"/>
                <a:gd name="connsiteX2" fmla="*/ 5804059 w 5804058"/>
                <a:gd name="connsiteY2" fmla="*/ 64389 h 64388"/>
                <a:gd name="connsiteX3" fmla="*/ 0 w 5804058"/>
                <a:gd name="connsiteY3" fmla="*/ 64389 h 64388"/>
              </a:gdLst>
              <a:ahLst/>
              <a:cxnLst>
                <a:cxn ang="0">
                  <a:pos x="connsiteX0" y="connsiteY0"/>
                </a:cxn>
                <a:cxn ang="0">
                  <a:pos x="connsiteX1" y="connsiteY1"/>
                </a:cxn>
                <a:cxn ang="0">
                  <a:pos x="connsiteX2" y="connsiteY2"/>
                </a:cxn>
                <a:cxn ang="0">
                  <a:pos x="connsiteX3" y="connsiteY3"/>
                </a:cxn>
              </a:cxnLst>
              <a:rect l="l" t="t" r="r" b="b"/>
              <a:pathLst>
                <a:path w="5804058" h="64388">
                  <a:moveTo>
                    <a:pt x="0" y="0"/>
                  </a:moveTo>
                  <a:lnTo>
                    <a:pt x="5804059" y="0"/>
                  </a:lnTo>
                  <a:lnTo>
                    <a:pt x="5804059" y="64389"/>
                  </a:lnTo>
                  <a:lnTo>
                    <a:pt x="0" y="64389"/>
                  </a:lnTo>
                  <a:close/>
                </a:path>
              </a:pathLst>
            </a:custGeom>
            <a:solidFill>
              <a:srgbClr val="44505E"/>
            </a:solidFill>
            <a:ln w="9525" cap="flat">
              <a:noFill/>
              <a:prstDash val="solid"/>
              <a:miter/>
            </a:ln>
          </p:spPr>
          <p:txBody>
            <a:bodyPr rtlCol="0" anchor="ctr"/>
            <a:lstStyle/>
            <a:p>
              <a:endParaRPr lang="pt-BR" noProof="0"/>
            </a:p>
          </p:txBody>
        </p:sp>
        <p:sp>
          <p:nvSpPr>
            <p:cNvPr id="43" name="Freeform: Shape 55">
              <a:extLst>
                <a:ext uri="{FF2B5EF4-FFF2-40B4-BE49-F238E27FC236}">
                  <a16:creationId xmlns:a16="http://schemas.microsoft.com/office/drawing/2014/main" id="{04E99BC9-1802-3C9D-E214-EA560D49C43B}"/>
                </a:ext>
              </a:extLst>
            </p:cNvPr>
            <p:cNvSpPr/>
            <p:nvPr/>
          </p:nvSpPr>
          <p:spPr>
            <a:xfrm>
              <a:off x="6902633" y="268821"/>
              <a:ext cx="273418" cy="601046"/>
            </a:xfrm>
            <a:custGeom>
              <a:avLst/>
              <a:gdLst>
                <a:gd name="connsiteX0" fmla="*/ 0 w 1087659"/>
                <a:gd name="connsiteY0" fmla="*/ 210979 h 2390965"/>
                <a:gd name="connsiteX1" fmla="*/ 125063 w 1087659"/>
                <a:gd name="connsiteY1" fmla="*/ 103442 h 2390965"/>
                <a:gd name="connsiteX2" fmla="*/ 250031 w 1087659"/>
                <a:gd name="connsiteY2" fmla="*/ 210979 h 2390965"/>
                <a:gd name="connsiteX3" fmla="*/ 250031 w 1087659"/>
                <a:gd name="connsiteY3" fmla="*/ 1922717 h 2390965"/>
                <a:gd name="connsiteX4" fmla="*/ 249841 w 1087659"/>
                <a:gd name="connsiteY4" fmla="*/ 1922717 h 2390965"/>
                <a:gd name="connsiteX5" fmla="*/ 249841 w 1087659"/>
                <a:gd name="connsiteY5" fmla="*/ 1925955 h 2390965"/>
                <a:gd name="connsiteX6" fmla="*/ 333756 w 1087659"/>
                <a:gd name="connsiteY6" fmla="*/ 2100263 h 2390965"/>
                <a:gd name="connsiteX7" fmla="*/ 335566 w 1087659"/>
                <a:gd name="connsiteY7" fmla="*/ 2101787 h 2390965"/>
                <a:gd name="connsiteX8" fmla="*/ 336042 w 1087659"/>
                <a:gd name="connsiteY8" fmla="*/ 2102168 h 2390965"/>
                <a:gd name="connsiteX9" fmla="*/ 543877 w 1087659"/>
                <a:gd name="connsiteY9" fmla="*/ 2175891 h 2390965"/>
                <a:gd name="connsiteX10" fmla="*/ 749998 w 1087659"/>
                <a:gd name="connsiteY10" fmla="*/ 2103692 h 2390965"/>
                <a:gd name="connsiteX11" fmla="*/ 751713 w 1087659"/>
                <a:gd name="connsiteY11" fmla="*/ 2102168 h 2390965"/>
                <a:gd name="connsiteX12" fmla="*/ 752189 w 1087659"/>
                <a:gd name="connsiteY12" fmla="*/ 2101787 h 2390965"/>
                <a:gd name="connsiteX13" fmla="*/ 837819 w 1087659"/>
                <a:gd name="connsiteY13" fmla="*/ 1922812 h 2390965"/>
                <a:gd name="connsiteX14" fmla="*/ 837819 w 1087659"/>
                <a:gd name="connsiteY14" fmla="*/ 107537 h 2390965"/>
                <a:gd name="connsiteX15" fmla="*/ 962787 w 1087659"/>
                <a:gd name="connsiteY15" fmla="*/ 0 h 2390965"/>
                <a:gd name="connsiteX16" fmla="*/ 1087660 w 1087659"/>
                <a:gd name="connsiteY16" fmla="*/ 107537 h 2390965"/>
                <a:gd name="connsiteX17" fmla="*/ 1087660 w 1087659"/>
                <a:gd name="connsiteY17" fmla="*/ 1922621 h 2390965"/>
                <a:gd name="connsiteX18" fmla="*/ 928307 w 1087659"/>
                <a:gd name="connsiteY18" fmla="*/ 2253234 h 2390965"/>
                <a:gd name="connsiteX19" fmla="*/ 928116 w 1087659"/>
                <a:gd name="connsiteY19" fmla="*/ 2253424 h 2390965"/>
                <a:gd name="connsiteX20" fmla="*/ 927830 w 1087659"/>
                <a:gd name="connsiteY20" fmla="*/ 2253710 h 2390965"/>
                <a:gd name="connsiteX21" fmla="*/ 927354 w 1087659"/>
                <a:gd name="connsiteY21" fmla="*/ 2254187 h 2390965"/>
                <a:gd name="connsiteX22" fmla="*/ 543783 w 1087659"/>
                <a:gd name="connsiteY22" fmla="*/ 2390966 h 2390965"/>
                <a:gd name="connsiteX23" fmla="*/ 159734 w 1087659"/>
                <a:gd name="connsiteY23" fmla="*/ 2253710 h 2390965"/>
                <a:gd name="connsiteX24" fmla="*/ 159734 w 1087659"/>
                <a:gd name="connsiteY24" fmla="*/ 2253424 h 2390965"/>
                <a:gd name="connsiteX25" fmla="*/ 159353 w 1087659"/>
                <a:gd name="connsiteY25" fmla="*/ 2253234 h 2390965"/>
                <a:gd name="connsiteX26" fmla="*/ 158877 w 1087659"/>
                <a:gd name="connsiteY26" fmla="*/ 2252948 h 2390965"/>
                <a:gd name="connsiteX27" fmla="*/ 0 w 1087659"/>
                <a:gd name="connsiteY27" fmla="*/ 1922621 h 2390965"/>
                <a:gd name="connsiteX28" fmla="*/ 0 w 1087659"/>
                <a:gd name="connsiteY28" fmla="*/ 1922621 h 2390965"/>
                <a:gd name="connsiteX29" fmla="*/ 0 w 1087659"/>
                <a:gd name="connsiteY29" fmla="*/ 210979 h 239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87659" h="2390965">
                  <a:moveTo>
                    <a:pt x="0" y="210979"/>
                  </a:moveTo>
                  <a:cubicBezTo>
                    <a:pt x="0" y="151638"/>
                    <a:pt x="56007" y="103442"/>
                    <a:pt x="125063" y="103442"/>
                  </a:cubicBezTo>
                  <a:cubicBezTo>
                    <a:pt x="194120" y="103442"/>
                    <a:pt x="250031" y="151638"/>
                    <a:pt x="250031" y="210979"/>
                  </a:cubicBezTo>
                  <a:lnTo>
                    <a:pt x="250031" y="1922717"/>
                  </a:lnTo>
                  <a:lnTo>
                    <a:pt x="249841" y="1922717"/>
                  </a:lnTo>
                  <a:lnTo>
                    <a:pt x="249841" y="1925955"/>
                  </a:lnTo>
                  <a:cubicBezTo>
                    <a:pt x="250793" y="1994059"/>
                    <a:pt x="282797" y="2055495"/>
                    <a:pt x="333756" y="2100263"/>
                  </a:cubicBezTo>
                  <a:lnTo>
                    <a:pt x="335566" y="2101787"/>
                  </a:lnTo>
                  <a:lnTo>
                    <a:pt x="336042" y="2102168"/>
                  </a:lnTo>
                  <a:cubicBezTo>
                    <a:pt x="388906" y="2147697"/>
                    <a:pt x="462343" y="2175891"/>
                    <a:pt x="543877" y="2175891"/>
                  </a:cubicBezTo>
                  <a:cubicBezTo>
                    <a:pt x="625411" y="2175891"/>
                    <a:pt x="697420" y="2148364"/>
                    <a:pt x="749998" y="2103692"/>
                  </a:cubicBezTo>
                  <a:lnTo>
                    <a:pt x="751713" y="2102168"/>
                  </a:lnTo>
                  <a:lnTo>
                    <a:pt x="752189" y="2101787"/>
                  </a:lnTo>
                  <a:cubicBezTo>
                    <a:pt x="805053" y="2056352"/>
                    <a:pt x="837819" y="1993011"/>
                    <a:pt x="837819" y="1922812"/>
                  </a:cubicBezTo>
                  <a:lnTo>
                    <a:pt x="837819" y="107537"/>
                  </a:lnTo>
                  <a:cubicBezTo>
                    <a:pt x="837819" y="48196"/>
                    <a:pt x="893731" y="0"/>
                    <a:pt x="962787" y="0"/>
                  </a:cubicBezTo>
                  <a:cubicBezTo>
                    <a:pt x="1031843" y="0"/>
                    <a:pt x="1087660" y="48196"/>
                    <a:pt x="1087660" y="107537"/>
                  </a:cubicBezTo>
                  <a:lnTo>
                    <a:pt x="1087660" y="1922621"/>
                  </a:lnTo>
                  <a:cubicBezTo>
                    <a:pt x="1087660" y="2051399"/>
                    <a:pt x="1026795" y="2168366"/>
                    <a:pt x="928307" y="2253234"/>
                  </a:cubicBezTo>
                  <a:lnTo>
                    <a:pt x="928116" y="2253424"/>
                  </a:lnTo>
                  <a:lnTo>
                    <a:pt x="927830" y="2253710"/>
                  </a:lnTo>
                  <a:lnTo>
                    <a:pt x="927354" y="2254187"/>
                  </a:lnTo>
                  <a:cubicBezTo>
                    <a:pt x="828770" y="2338673"/>
                    <a:pt x="693134" y="2390966"/>
                    <a:pt x="543783" y="2390966"/>
                  </a:cubicBezTo>
                  <a:cubicBezTo>
                    <a:pt x="394430" y="2390966"/>
                    <a:pt x="258413" y="2338483"/>
                    <a:pt x="159734" y="2253710"/>
                  </a:cubicBezTo>
                  <a:lnTo>
                    <a:pt x="159734" y="2253424"/>
                  </a:lnTo>
                  <a:cubicBezTo>
                    <a:pt x="159734" y="2253424"/>
                    <a:pt x="159353" y="2253234"/>
                    <a:pt x="159353" y="2253234"/>
                  </a:cubicBezTo>
                  <a:lnTo>
                    <a:pt x="158877" y="2252948"/>
                  </a:lnTo>
                  <a:cubicBezTo>
                    <a:pt x="60770" y="2167985"/>
                    <a:pt x="0" y="2051304"/>
                    <a:pt x="0" y="1922621"/>
                  </a:cubicBezTo>
                  <a:lnTo>
                    <a:pt x="0" y="1922621"/>
                  </a:lnTo>
                  <a:lnTo>
                    <a:pt x="0" y="210979"/>
                  </a:lnTo>
                  <a:close/>
                </a:path>
              </a:pathLst>
            </a:custGeom>
            <a:solidFill>
              <a:srgbClr val="8FC640"/>
            </a:solidFill>
            <a:ln w="9525" cap="flat">
              <a:noFill/>
              <a:prstDash val="solid"/>
              <a:miter/>
            </a:ln>
          </p:spPr>
          <p:txBody>
            <a:bodyPr rtlCol="0" anchor="ctr"/>
            <a:lstStyle/>
            <a:p>
              <a:endParaRPr lang="pt-BR" noProof="0"/>
            </a:p>
          </p:txBody>
        </p:sp>
        <p:sp>
          <p:nvSpPr>
            <p:cNvPr id="44" name="Freeform: Shape 56">
              <a:extLst>
                <a:ext uri="{FF2B5EF4-FFF2-40B4-BE49-F238E27FC236}">
                  <a16:creationId xmlns:a16="http://schemas.microsoft.com/office/drawing/2014/main" id="{06C42574-1EEA-7272-3BB5-60B6092DDDF4}"/>
                </a:ext>
              </a:extLst>
            </p:cNvPr>
            <p:cNvSpPr/>
            <p:nvPr/>
          </p:nvSpPr>
          <p:spPr>
            <a:xfrm>
              <a:off x="7013590" y="213965"/>
              <a:ext cx="54018" cy="562280"/>
            </a:xfrm>
            <a:custGeom>
              <a:avLst/>
              <a:gdLst>
                <a:gd name="connsiteX0" fmla="*/ 0 w 214883"/>
                <a:gd name="connsiteY0" fmla="*/ 107537 h 2236755"/>
                <a:gd name="connsiteX1" fmla="*/ 107537 w 214883"/>
                <a:gd name="connsiteY1" fmla="*/ 0 h 2236755"/>
                <a:gd name="connsiteX2" fmla="*/ 214884 w 214883"/>
                <a:gd name="connsiteY2" fmla="*/ 107537 h 2236755"/>
                <a:gd name="connsiteX3" fmla="*/ 214884 w 214883"/>
                <a:gd name="connsiteY3" fmla="*/ 2129219 h 2236755"/>
                <a:gd name="connsiteX4" fmla="*/ 107537 w 214883"/>
                <a:gd name="connsiteY4" fmla="*/ 2236756 h 2236755"/>
                <a:gd name="connsiteX5" fmla="*/ 0 w 214883"/>
                <a:gd name="connsiteY5" fmla="*/ 2129219 h 2236755"/>
                <a:gd name="connsiteX6" fmla="*/ 0 w 214883"/>
                <a:gd name="connsiteY6" fmla="*/ 107537 h 223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 h="2236755">
                  <a:moveTo>
                    <a:pt x="0" y="107537"/>
                  </a:moveTo>
                  <a:cubicBezTo>
                    <a:pt x="0" y="48197"/>
                    <a:pt x="48101" y="0"/>
                    <a:pt x="107537" y="0"/>
                  </a:cubicBezTo>
                  <a:cubicBezTo>
                    <a:pt x="166973" y="0"/>
                    <a:pt x="214884" y="48197"/>
                    <a:pt x="214884" y="107537"/>
                  </a:cubicBezTo>
                  <a:lnTo>
                    <a:pt x="214884" y="2129219"/>
                  </a:lnTo>
                  <a:cubicBezTo>
                    <a:pt x="214884" y="2188559"/>
                    <a:pt x="166782" y="2236756"/>
                    <a:pt x="107537" y="2236756"/>
                  </a:cubicBezTo>
                  <a:cubicBezTo>
                    <a:pt x="48291" y="2236756"/>
                    <a:pt x="0" y="2188559"/>
                    <a:pt x="0" y="2129219"/>
                  </a:cubicBezTo>
                  <a:lnTo>
                    <a:pt x="0" y="107537"/>
                  </a:lnTo>
                  <a:close/>
                </a:path>
              </a:pathLst>
            </a:custGeom>
            <a:solidFill>
              <a:srgbClr val="3698B0"/>
            </a:solidFill>
            <a:ln w="9525" cap="flat">
              <a:noFill/>
              <a:prstDash val="solid"/>
              <a:miter/>
            </a:ln>
          </p:spPr>
          <p:txBody>
            <a:bodyPr rtlCol="0" anchor="ctr"/>
            <a:lstStyle/>
            <a:p>
              <a:endParaRPr lang="pt-BR" noProof="0"/>
            </a:p>
          </p:txBody>
        </p:sp>
        <p:sp>
          <p:nvSpPr>
            <p:cNvPr id="45" name="Freeform: Shape 57">
              <a:extLst>
                <a:ext uri="{FF2B5EF4-FFF2-40B4-BE49-F238E27FC236}">
                  <a16:creationId xmlns:a16="http://schemas.microsoft.com/office/drawing/2014/main" id="{6563B259-4E10-8F99-AE3E-87B1A3834542}"/>
                </a:ext>
              </a:extLst>
            </p:cNvPr>
            <p:cNvSpPr/>
            <p:nvPr/>
          </p:nvSpPr>
          <p:spPr>
            <a:xfrm>
              <a:off x="6795770" y="332991"/>
              <a:ext cx="485994" cy="649437"/>
            </a:xfrm>
            <a:custGeom>
              <a:avLst/>
              <a:gdLst>
                <a:gd name="connsiteX0" fmla="*/ 1933290 w 1933289"/>
                <a:gd name="connsiteY0" fmla="*/ 138017 h 2583465"/>
                <a:gd name="connsiteX1" fmla="*/ 1933290 w 1933289"/>
                <a:gd name="connsiteY1" fmla="*/ 1734122 h 2583465"/>
                <a:gd name="connsiteX2" fmla="*/ 1796606 w 1933289"/>
                <a:gd name="connsiteY2" fmla="*/ 2229136 h 2583465"/>
                <a:gd name="connsiteX3" fmla="*/ 977742 w 1933289"/>
                <a:gd name="connsiteY3" fmla="*/ 2583466 h 2583465"/>
                <a:gd name="connsiteX4" fmla="*/ 955357 w 1933289"/>
                <a:gd name="connsiteY4" fmla="*/ 2583466 h 2583465"/>
                <a:gd name="connsiteX5" fmla="*/ 136589 w 1933289"/>
                <a:gd name="connsiteY5" fmla="*/ 2229136 h 2583465"/>
                <a:gd name="connsiteX6" fmla="*/ 0 w 1933289"/>
                <a:gd name="connsiteY6" fmla="*/ 1734122 h 2583465"/>
                <a:gd name="connsiteX7" fmla="*/ 0 w 1933289"/>
                <a:gd name="connsiteY7" fmla="*/ 794194 h 2583465"/>
                <a:gd name="connsiteX8" fmla="*/ 137827 w 1933289"/>
                <a:gd name="connsiteY8" fmla="*/ 656273 h 2583465"/>
                <a:gd name="connsiteX9" fmla="*/ 275463 w 1933289"/>
                <a:gd name="connsiteY9" fmla="*/ 794194 h 2583465"/>
                <a:gd name="connsiteX10" fmla="*/ 275463 w 1933289"/>
                <a:gd name="connsiteY10" fmla="*/ 1734122 h 2583465"/>
                <a:gd name="connsiteX11" fmla="*/ 354235 w 1933289"/>
                <a:gd name="connsiteY11" fmla="*/ 2059686 h 2583465"/>
                <a:gd name="connsiteX12" fmla="*/ 958215 w 1933289"/>
                <a:gd name="connsiteY12" fmla="*/ 2307527 h 2583465"/>
                <a:gd name="connsiteX13" fmla="*/ 974789 w 1933289"/>
                <a:gd name="connsiteY13" fmla="*/ 2307527 h 2583465"/>
                <a:gd name="connsiteX14" fmla="*/ 1578959 w 1933289"/>
                <a:gd name="connsiteY14" fmla="*/ 2059686 h 2583465"/>
                <a:gd name="connsiteX15" fmla="*/ 1657636 w 1933289"/>
                <a:gd name="connsiteY15" fmla="*/ 1734122 h 2583465"/>
                <a:gd name="connsiteX16" fmla="*/ 1657636 w 1933289"/>
                <a:gd name="connsiteY16" fmla="*/ 138017 h 2583465"/>
                <a:gd name="connsiteX17" fmla="*/ 1795463 w 1933289"/>
                <a:gd name="connsiteY17" fmla="*/ 0 h 2583465"/>
                <a:gd name="connsiteX18" fmla="*/ 1933290 w 1933289"/>
                <a:gd name="connsiteY18" fmla="*/ 138017 h 25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3289" h="2583465">
                  <a:moveTo>
                    <a:pt x="1933290" y="138017"/>
                  </a:moveTo>
                  <a:lnTo>
                    <a:pt x="1933290" y="1734122"/>
                  </a:lnTo>
                  <a:cubicBezTo>
                    <a:pt x="1933290" y="1870996"/>
                    <a:pt x="1919002" y="2071211"/>
                    <a:pt x="1796606" y="2229136"/>
                  </a:cubicBezTo>
                  <a:cubicBezTo>
                    <a:pt x="1634395" y="2438305"/>
                    <a:pt x="1432084" y="2578703"/>
                    <a:pt x="977742" y="2583466"/>
                  </a:cubicBezTo>
                  <a:lnTo>
                    <a:pt x="955357" y="2583466"/>
                  </a:lnTo>
                  <a:cubicBezTo>
                    <a:pt x="501015" y="2578703"/>
                    <a:pt x="298704" y="2438400"/>
                    <a:pt x="136589" y="2229136"/>
                  </a:cubicBezTo>
                  <a:cubicBezTo>
                    <a:pt x="14192" y="2071211"/>
                    <a:pt x="0" y="1870996"/>
                    <a:pt x="0" y="1734122"/>
                  </a:cubicBezTo>
                  <a:lnTo>
                    <a:pt x="0" y="794194"/>
                  </a:lnTo>
                  <a:cubicBezTo>
                    <a:pt x="0" y="718185"/>
                    <a:pt x="61436" y="656273"/>
                    <a:pt x="137827" y="656273"/>
                  </a:cubicBezTo>
                  <a:cubicBezTo>
                    <a:pt x="214217" y="656273"/>
                    <a:pt x="275463" y="718185"/>
                    <a:pt x="275463" y="794194"/>
                  </a:cubicBezTo>
                  <a:lnTo>
                    <a:pt x="275463" y="1734122"/>
                  </a:lnTo>
                  <a:cubicBezTo>
                    <a:pt x="275463" y="1887188"/>
                    <a:pt x="300324" y="1990630"/>
                    <a:pt x="354235" y="2059686"/>
                  </a:cubicBezTo>
                  <a:cubicBezTo>
                    <a:pt x="476250" y="2217611"/>
                    <a:pt x="609791" y="2304479"/>
                    <a:pt x="958215" y="2307527"/>
                  </a:cubicBezTo>
                  <a:lnTo>
                    <a:pt x="974789" y="2307527"/>
                  </a:lnTo>
                  <a:cubicBezTo>
                    <a:pt x="1323499" y="2304479"/>
                    <a:pt x="1456563" y="2217611"/>
                    <a:pt x="1578959" y="2059686"/>
                  </a:cubicBezTo>
                  <a:cubicBezTo>
                    <a:pt x="1632490" y="1990630"/>
                    <a:pt x="1657636" y="1887093"/>
                    <a:pt x="1657636" y="1734122"/>
                  </a:cubicBezTo>
                  <a:lnTo>
                    <a:pt x="1657636" y="138017"/>
                  </a:lnTo>
                  <a:cubicBezTo>
                    <a:pt x="1657636" y="61531"/>
                    <a:pt x="1719453" y="0"/>
                    <a:pt x="1795463" y="0"/>
                  </a:cubicBezTo>
                  <a:cubicBezTo>
                    <a:pt x="1871472" y="0"/>
                    <a:pt x="1933290" y="61531"/>
                    <a:pt x="1933290" y="138017"/>
                  </a:cubicBezTo>
                </a:path>
              </a:pathLst>
            </a:custGeom>
            <a:solidFill>
              <a:srgbClr val="49306E"/>
            </a:solidFill>
            <a:ln w="9525" cap="flat">
              <a:noFill/>
              <a:prstDash val="solid"/>
              <a:miter/>
            </a:ln>
          </p:spPr>
          <p:txBody>
            <a:bodyPr rtlCol="0" anchor="ctr"/>
            <a:lstStyle/>
            <a:p>
              <a:endParaRPr lang="pt-BR" noProof="0"/>
            </a:p>
          </p:txBody>
        </p:sp>
      </p:grpSp>
      <p:sp>
        <p:nvSpPr>
          <p:cNvPr id="46" name="Título 1">
            <a:extLst>
              <a:ext uri="{FF2B5EF4-FFF2-40B4-BE49-F238E27FC236}">
                <a16:creationId xmlns:a16="http://schemas.microsoft.com/office/drawing/2014/main" id="{BE6715FF-DF33-7382-3C21-EF3601425B44}"/>
              </a:ext>
            </a:extLst>
          </p:cNvPr>
          <p:cNvSpPr txBox="1">
            <a:spLocks/>
          </p:cNvSpPr>
          <p:nvPr/>
        </p:nvSpPr>
        <p:spPr>
          <a:xfrm>
            <a:off x="2157359" y="238418"/>
            <a:ext cx="10058400" cy="631231"/>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pt-BR" sz="3600" b="1">
                <a:solidFill>
                  <a:srgbClr val="3299B1"/>
                </a:solidFill>
                <a:latin typeface="Agency FB" panose="020B0503020202020204" pitchFamily="34" charset="0"/>
              </a:rPr>
              <a:t>Considerações</a:t>
            </a:r>
          </a:p>
        </p:txBody>
      </p:sp>
      <p:sp>
        <p:nvSpPr>
          <p:cNvPr id="47" name="Google Shape;97;p15">
            <a:extLst>
              <a:ext uri="{FF2B5EF4-FFF2-40B4-BE49-F238E27FC236}">
                <a16:creationId xmlns:a16="http://schemas.microsoft.com/office/drawing/2014/main" id="{A3F5A375-24EB-DCAB-7DAF-7676D89AECAC}"/>
              </a:ext>
            </a:extLst>
          </p:cNvPr>
          <p:cNvSpPr txBox="1">
            <a:spLocks/>
          </p:cNvSpPr>
          <p:nvPr/>
        </p:nvSpPr>
        <p:spPr>
          <a:xfrm>
            <a:off x="865903" y="1851751"/>
            <a:ext cx="10515719" cy="4351338"/>
          </a:xfrm>
          <a:prstGeom prst="rect">
            <a:avLst/>
          </a:prstGeom>
          <a:noFill/>
          <a:ln>
            <a:noFill/>
          </a:ln>
        </p:spPr>
        <p:txBody>
          <a:bodyPr spcFirstLastPara="1" wrap="square" lIns="91425" tIns="45700" rIns="91425" bIns="45700" anchor="t" anchorCtr="0">
            <a:normAutofit/>
          </a:bodyPr>
          <a:lstStyle>
            <a:defPPr>
              <a:defRPr lang="pt-BR"/>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215265" algn="just">
              <a:spcBef>
                <a:spcPts val="0"/>
              </a:spcBef>
              <a:buClr>
                <a:schemeClr val="dk1"/>
              </a:buClr>
              <a:buSzPct val="100000"/>
            </a:pPr>
            <a:r>
              <a:rPr lang="pt-BR" dirty="0">
                <a:ea typeface="Calibri"/>
                <a:cs typeface="Calibri"/>
              </a:rPr>
              <a:t>É uma “fotografia” da UTI.</a:t>
            </a:r>
            <a:endParaRPr lang="pt-BR" dirty="0"/>
          </a:p>
          <a:p>
            <a:pPr indent="-215265" algn="just">
              <a:spcBef>
                <a:spcPts val="0"/>
              </a:spcBef>
              <a:buClr>
                <a:srgbClr val="000000"/>
              </a:buClr>
              <a:buSzPct val="100000"/>
            </a:pPr>
            <a:endParaRPr lang="pt-BR" b="1" dirty="0"/>
          </a:p>
          <a:p>
            <a:pPr indent="-215265" algn="just">
              <a:spcBef>
                <a:spcPts val="0"/>
              </a:spcBef>
              <a:buClr>
                <a:srgbClr val="000000"/>
              </a:buClr>
              <a:buSzPct val="100000"/>
            </a:pPr>
            <a:endParaRPr lang="pt-BR" b="1" dirty="0"/>
          </a:p>
          <a:p>
            <a:pPr indent="-215265" algn="just">
              <a:spcBef>
                <a:spcPts val="0"/>
              </a:spcBef>
              <a:buClr>
                <a:srgbClr val="000000"/>
              </a:buClr>
              <a:buSzPct val="100000"/>
            </a:pPr>
            <a:r>
              <a:rPr lang="pt-BR" b="1" dirty="0"/>
              <a:t>Dispositivo-dia e paciente-dia: </a:t>
            </a:r>
            <a:r>
              <a:rPr lang="pt-BR" dirty="0"/>
              <a:t>somatório diário do número de pacientes em uso do dispositivo e dos pacientes internados. </a:t>
            </a:r>
            <a:endParaRPr lang="pt-BR" dirty="0">
              <a:ea typeface="Calibri"/>
              <a:cs typeface="Calibri"/>
            </a:endParaRPr>
          </a:p>
          <a:p>
            <a:pPr indent="-215265" algn="just">
              <a:spcBef>
                <a:spcPts val="0"/>
              </a:spcBef>
              <a:buClr>
                <a:srgbClr val="000000"/>
              </a:buClr>
              <a:buSzPct val="100000"/>
            </a:pPr>
            <a:endParaRPr lang="pt-BR" dirty="0"/>
          </a:p>
          <a:p>
            <a:pPr indent="-215265" algn="just">
              <a:spcBef>
                <a:spcPts val="0"/>
              </a:spcBef>
              <a:buClr>
                <a:srgbClr val="000000"/>
              </a:buClr>
              <a:buSzPct val="100000"/>
            </a:pPr>
            <a:endParaRPr lang="pt-BR" dirty="0"/>
          </a:p>
          <a:p>
            <a:pPr indent="-215265" algn="just">
              <a:spcBef>
                <a:spcPts val="0"/>
              </a:spcBef>
              <a:buClr>
                <a:srgbClr val="000000"/>
              </a:buClr>
              <a:buSzPct val="100000"/>
            </a:pPr>
            <a:r>
              <a:rPr lang="pt-BR" dirty="0"/>
              <a:t>É </a:t>
            </a:r>
            <a:r>
              <a:rPr lang="pt-BR" b="1" dirty="0"/>
              <a:t>IMPORTANTE </a:t>
            </a:r>
            <a:r>
              <a:rPr lang="pt-BR" dirty="0"/>
              <a:t>definir o horário da coleta dos dados e qual o método (equipe do setor, registro eletrônico, SCIH etc.)</a:t>
            </a:r>
            <a:endParaRPr lang="pt-BR" dirty="0">
              <a:ea typeface="Calibri"/>
              <a:cs typeface="Calibri"/>
            </a:endParaRPr>
          </a:p>
          <a:p>
            <a:pPr indent="-215265" algn="just">
              <a:buClr>
                <a:schemeClr val="dk1"/>
              </a:buClr>
              <a:buSzPct val="100000"/>
            </a:pPr>
            <a:endParaRPr lang="pt-BR" dirty="0"/>
          </a:p>
          <a:p>
            <a:pPr indent="-215265" algn="just">
              <a:buClr>
                <a:schemeClr val="dk1"/>
              </a:buClr>
              <a:buSzPct val="100000"/>
            </a:pPr>
            <a:endParaRPr lang="pt-BR" dirty="0"/>
          </a:p>
          <a:p>
            <a:pPr indent="-114300" algn="just">
              <a:buClr>
                <a:schemeClr val="dk1"/>
              </a:buClr>
              <a:buSzPct val="100000"/>
              <a:buFont typeface="Arial" panose="020B0604020202020204" pitchFamily="34" charset="0"/>
              <a:buNone/>
            </a:pPr>
            <a:endParaRPr lang="pt-BR" sz="1800" dirty="0">
              <a:latin typeface="Arial"/>
              <a:ea typeface="Arial"/>
              <a:cs typeface="Arial"/>
              <a:sym typeface="Arial"/>
            </a:endParaRPr>
          </a:p>
        </p:txBody>
      </p:sp>
    </p:spTree>
    <p:extLst>
      <p:ext uri="{BB962C8B-B14F-4D97-AF65-F5344CB8AC3E}">
        <p14:creationId xmlns:p14="http://schemas.microsoft.com/office/powerpoint/2010/main" val="12490302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1CFB12-EFC6-42E2-A58D-72678C045F6B}"/>
            </a:ext>
          </a:extLst>
        </p:cNvPr>
        <p:cNvGrpSpPr/>
        <p:nvPr/>
      </p:nvGrpSpPr>
      <p:grpSpPr>
        <a:xfrm>
          <a:off x="0" y="0"/>
          <a:ext cx="0" cy="0"/>
          <a:chOff x="0" y="0"/>
          <a:chExt cx="0" cy="0"/>
        </a:xfrm>
      </p:grpSpPr>
      <p:grpSp>
        <p:nvGrpSpPr>
          <p:cNvPr id="2" name="Group 12">
            <a:extLst>
              <a:ext uri="{FF2B5EF4-FFF2-40B4-BE49-F238E27FC236}">
                <a16:creationId xmlns:a16="http://schemas.microsoft.com/office/drawing/2014/main" id="{F011AE48-A41C-A7F3-F13D-4CCE4F2AA78C}"/>
              </a:ext>
            </a:extLst>
          </p:cNvPr>
          <p:cNvGrpSpPr/>
          <p:nvPr/>
        </p:nvGrpSpPr>
        <p:grpSpPr>
          <a:xfrm>
            <a:off x="304800" y="249455"/>
            <a:ext cx="1193800" cy="462985"/>
            <a:chOff x="5245100" y="211355"/>
            <a:chExt cx="2036664" cy="789869"/>
          </a:xfrm>
        </p:grpSpPr>
        <p:sp>
          <p:nvSpPr>
            <p:cNvPr id="3" name="Freeform: Shape 13">
              <a:extLst>
                <a:ext uri="{FF2B5EF4-FFF2-40B4-BE49-F238E27FC236}">
                  <a16:creationId xmlns:a16="http://schemas.microsoft.com/office/drawing/2014/main" id="{9F903D5B-1B9A-E50B-4A4A-58DC9B6234F7}"/>
                </a:ext>
              </a:extLst>
            </p:cNvPr>
            <p:cNvSpPr/>
            <p:nvPr/>
          </p:nvSpPr>
          <p:spPr>
            <a:xfrm>
              <a:off x="5245100" y="308520"/>
              <a:ext cx="247894" cy="322815"/>
            </a:xfrm>
            <a:custGeom>
              <a:avLst/>
              <a:gdLst>
                <a:gd name="connsiteX0" fmla="*/ 529590 w 986123"/>
                <a:gd name="connsiteY0" fmla="*/ 1284160 h 1284160"/>
                <a:gd name="connsiteX1" fmla="*/ 249650 w 986123"/>
                <a:gd name="connsiteY1" fmla="*/ 1235107 h 1284160"/>
                <a:gd name="connsiteX2" fmla="*/ 0 w 986123"/>
                <a:gd name="connsiteY2" fmla="*/ 1084421 h 1284160"/>
                <a:gd name="connsiteX3" fmla="*/ 162306 w 986123"/>
                <a:gd name="connsiteY3" fmla="*/ 890016 h 1284160"/>
                <a:gd name="connsiteX4" fmla="*/ 337947 w 986123"/>
                <a:gd name="connsiteY4" fmla="*/ 1000601 h 1284160"/>
                <a:gd name="connsiteX5" fmla="*/ 535019 w 986123"/>
                <a:gd name="connsiteY5" fmla="*/ 1041654 h 1284160"/>
                <a:gd name="connsiteX6" fmla="*/ 667893 w 986123"/>
                <a:gd name="connsiteY6" fmla="*/ 1010412 h 1284160"/>
                <a:gd name="connsiteX7" fmla="*/ 715137 w 986123"/>
                <a:gd name="connsiteY7" fmla="*/ 923925 h 1284160"/>
                <a:gd name="connsiteX8" fmla="*/ 715137 w 986123"/>
                <a:gd name="connsiteY8" fmla="*/ 920305 h 1284160"/>
                <a:gd name="connsiteX9" fmla="*/ 705326 w 986123"/>
                <a:gd name="connsiteY9" fmla="*/ 873062 h 1284160"/>
                <a:gd name="connsiteX10" fmla="*/ 667798 w 986123"/>
                <a:gd name="connsiteY10" fmla="*/ 834676 h 1284160"/>
                <a:gd name="connsiteX11" fmla="*/ 590931 w 986123"/>
                <a:gd name="connsiteY11" fmla="*/ 798957 h 1284160"/>
                <a:gd name="connsiteX12" fmla="*/ 463106 w 986123"/>
                <a:gd name="connsiteY12" fmla="*/ 761524 h 1284160"/>
                <a:gd name="connsiteX13" fmla="*/ 291465 w 986123"/>
                <a:gd name="connsiteY13" fmla="*/ 709803 h 1284160"/>
                <a:gd name="connsiteX14" fmla="*/ 160973 w 986123"/>
                <a:gd name="connsiteY14" fmla="*/ 639318 h 1284160"/>
                <a:gd name="connsiteX15" fmla="*/ 77819 w 986123"/>
                <a:gd name="connsiteY15" fmla="*/ 535019 h 1284160"/>
                <a:gd name="connsiteX16" fmla="*/ 48292 w 986123"/>
                <a:gd name="connsiteY16" fmla="*/ 379857 h 1284160"/>
                <a:gd name="connsiteX17" fmla="*/ 48292 w 986123"/>
                <a:gd name="connsiteY17" fmla="*/ 376238 h 1284160"/>
                <a:gd name="connsiteX18" fmla="*/ 80201 w 986123"/>
                <a:gd name="connsiteY18" fmla="*/ 222028 h 1284160"/>
                <a:gd name="connsiteX19" fmla="*/ 169640 w 986123"/>
                <a:gd name="connsiteY19" fmla="*/ 103441 h 1284160"/>
                <a:gd name="connsiteX20" fmla="*/ 307181 w 986123"/>
                <a:gd name="connsiteY20" fmla="*/ 26765 h 1284160"/>
                <a:gd name="connsiteX21" fmla="*/ 483394 w 986123"/>
                <a:gd name="connsiteY21" fmla="*/ 0 h 1284160"/>
                <a:gd name="connsiteX22" fmla="*/ 735711 w 986123"/>
                <a:gd name="connsiteY22" fmla="*/ 41053 h 1284160"/>
                <a:gd name="connsiteX23" fmla="*/ 946976 w 986123"/>
                <a:gd name="connsiteY23" fmla="*/ 158687 h 1284160"/>
                <a:gd name="connsiteX24" fmla="*/ 804291 w 986123"/>
                <a:gd name="connsiteY24" fmla="*/ 365569 h 1284160"/>
                <a:gd name="connsiteX25" fmla="*/ 640271 w 986123"/>
                <a:gd name="connsiteY25" fmla="*/ 275558 h 1284160"/>
                <a:gd name="connsiteX26" fmla="*/ 479774 w 986123"/>
                <a:gd name="connsiteY26" fmla="*/ 242602 h 1284160"/>
                <a:gd name="connsiteX27" fmla="*/ 359378 w 986123"/>
                <a:gd name="connsiteY27" fmla="*/ 273844 h 1284160"/>
                <a:gd name="connsiteX28" fmla="*/ 319278 w 986123"/>
                <a:gd name="connsiteY28" fmla="*/ 351377 h 1284160"/>
                <a:gd name="connsiteX29" fmla="*/ 319278 w 986123"/>
                <a:gd name="connsiteY29" fmla="*/ 354997 h 1284160"/>
                <a:gd name="connsiteX30" fmla="*/ 330899 w 986123"/>
                <a:gd name="connsiteY30" fmla="*/ 407575 h 1284160"/>
                <a:gd name="connsiteX31" fmla="*/ 372904 w 986123"/>
                <a:gd name="connsiteY31" fmla="*/ 447675 h 1284160"/>
                <a:gd name="connsiteX32" fmla="*/ 456057 w 986123"/>
                <a:gd name="connsiteY32" fmla="*/ 481489 h 1284160"/>
                <a:gd name="connsiteX33" fmla="*/ 589217 w 986123"/>
                <a:gd name="connsiteY33" fmla="*/ 518922 h 1284160"/>
                <a:gd name="connsiteX34" fmla="*/ 758190 w 986123"/>
                <a:gd name="connsiteY34" fmla="*/ 575120 h 1284160"/>
                <a:gd name="connsiteX35" fmla="*/ 883349 w 986123"/>
                <a:gd name="connsiteY35" fmla="*/ 649986 h 1284160"/>
                <a:gd name="connsiteX36" fmla="*/ 960215 w 986123"/>
                <a:gd name="connsiteY36" fmla="*/ 752570 h 1284160"/>
                <a:gd name="connsiteX37" fmla="*/ 986123 w 986123"/>
                <a:gd name="connsiteY37" fmla="*/ 893445 h 1284160"/>
                <a:gd name="connsiteX38" fmla="*/ 986123 w 986123"/>
                <a:gd name="connsiteY38" fmla="*/ 897064 h 1284160"/>
                <a:gd name="connsiteX39" fmla="*/ 952500 w 986123"/>
                <a:gd name="connsiteY39" fmla="*/ 1062038 h 1284160"/>
                <a:gd name="connsiteX40" fmla="*/ 858584 w 986123"/>
                <a:gd name="connsiteY40" fmla="*/ 1183291 h 1284160"/>
                <a:gd name="connsiteX41" fmla="*/ 714851 w 986123"/>
                <a:gd name="connsiteY41" fmla="*/ 1258157 h 1284160"/>
                <a:gd name="connsiteX42" fmla="*/ 529685 w 986123"/>
                <a:gd name="connsiteY42" fmla="*/ 1284065 h 128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6123" h="1284160">
                  <a:moveTo>
                    <a:pt x="529590" y="1284160"/>
                  </a:moveTo>
                  <a:cubicBezTo>
                    <a:pt x="434435" y="1284160"/>
                    <a:pt x="341186" y="1267777"/>
                    <a:pt x="249650" y="1235107"/>
                  </a:cubicBezTo>
                  <a:cubicBezTo>
                    <a:pt x="158115" y="1202436"/>
                    <a:pt x="74867" y="1152239"/>
                    <a:pt x="0" y="1084421"/>
                  </a:cubicBezTo>
                  <a:lnTo>
                    <a:pt x="162306" y="890016"/>
                  </a:lnTo>
                  <a:cubicBezTo>
                    <a:pt x="219361" y="936403"/>
                    <a:pt x="277844" y="973264"/>
                    <a:pt x="337947" y="1000601"/>
                  </a:cubicBezTo>
                  <a:cubicBezTo>
                    <a:pt x="397955" y="1027938"/>
                    <a:pt x="463677" y="1041654"/>
                    <a:pt x="535019" y="1041654"/>
                  </a:cubicBezTo>
                  <a:cubicBezTo>
                    <a:pt x="592074" y="1041654"/>
                    <a:pt x="636365" y="1031272"/>
                    <a:pt x="667893" y="1010412"/>
                  </a:cubicBezTo>
                  <a:cubicBezTo>
                    <a:pt x="699421" y="989647"/>
                    <a:pt x="715137" y="960787"/>
                    <a:pt x="715137" y="923925"/>
                  </a:cubicBezTo>
                  <a:lnTo>
                    <a:pt x="715137" y="920305"/>
                  </a:lnTo>
                  <a:cubicBezTo>
                    <a:pt x="715137" y="902494"/>
                    <a:pt x="711803" y="886777"/>
                    <a:pt x="705326" y="873062"/>
                  </a:cubicBezTo>
                  <a:cubicBezTo>
                    <a:pt x="698754" y="859441"/>
                    <a:pt x="686276" y="846582"/>
                    <a:pt x="667798" y="834676"/>
                  </a:cubicBezTo>
                  <a:cubicBezTo>
                    <a:pt x="649319" y="822770"/>
                    <a:pt x="623697" y="810863"/>
                    <a:pt x="590931" y="798957"/>
                  </a:cubicBezTo>
                  <a:cubicBezTo>
                    <a:pt x="558165" y="787146"/>
                    <a:pt x="515493" y="774573"/>
                    <a:pt x="463106" y="761524"/>
                  </a:cubicBezTo>
                  <a:cubicBezTo>
                    <a:pt x="399955" y="746093"/>
                    <a:pt x="342710" y="728853"/>
                    <a:pt x="291465" y="709803"/>
                  </a:cubicBezTo>
                  <a:cubicBezTo>
                    <a:pt x="240221" y="690753"/>
                    <a:pt x="196691" y="667322"/>
                    <a:pt x="160973" y="639318"/>
                  </a:cubicBezTo>
                  <a:cubicBezTo>
                    <a:pt x="125159" y="611410"/>
                    <a:pt x="97536" y="576644"/>
                    <a:pt x="77819" y="535019"/>
                  </a:cubicBezTo>
                  <a:cubicBezTo>
                    <a:pt x="58103" y="493395"/>
                    <a:pt x="48292" y="441674"/>
                    <a:pt x="48292" y="379857"/>
                  </a:cubicBezTo>
                  <a:lnTo>
                    <a:pt x="48292" y="376238"/>
                  </a:lnTo>
                  <a:cubicBezTo>
                    <a:pt x="48292" y="319183"/>
                    <a:pt x="58865" y="267748"/>
                    <a:pt x="80201" y="222028"/>
                  </a:cubicBezTo>
                  <a:cubicBezTo>
                    <a:pt x="101441" y="176308"/>
                    <a:pt x="131255" y="136779"/>
                    <a:pt x="169640" y="103441"/>
                  </a:cubicBezTo>
                  <a:cubicBezTo>
                    <a:pt x="208026" y="70199"/>
                    <a:pt x="253841" y="44577"/>
                    <a:pt x="307181" y="26765"/>
                  </a:cubicBezTo>
                  <a:cubicBezTo>
                    <a:pt x="360426" y="8953"/>
                    <a:pt x="419195" y="0"/>
                    <a:pt x="483394" y="0"/>
                  </a:cubicBezTo>
                  <a:cubicBezTo>
                    <a:pt x="574929" y="0"/>
                    <a:pt x="659035" y="13716"/>
                    <a:pt x="735711" y="41053"/>
                  </a:cubicBezTo>
                  <a:cubicBezTo>
                    <a:pt x="812387" y="68389"/>
                    <a:pt x="882777" y="107632"/>
                    <a:pt x="946976" y="158687"/>
                  </a:cubicBezTo>
                  <a:lnTo>
                    <a:pt x="804291" y="365569"/>
                  </a:lnTo>
                  <a:cubicBezTo>
                    <a:pt x="748379" y="327565"/>
                    <a:pt x="693706" y="297561"/>
                    <a:pt x="640271" y="275558"/>
                  </a:cubicBezTo>
                  <a:cubicBezTo>
                    <a:pt x="586740" y="253555"/>
                    <a:pt x="533305" y="242602"/>
                    <a:pt x="479774" y="242602"/>
                  </a:cubicBezTo>
                  <a:cubicBezTo>
                    <a:pt x="426244" y="242602"/>
                    <a:pt x="386144" y="252984"/>
                    <a:pt x="359378" y="273844"/>
                  </a:cubicBezTo>
                  <a:cubicBezTo>
                    <a:pt x="332613" y="294608"/>
                    <a:pt x="319278" y="320516"/>
                    <a:pt x="319278" y="351377"/>
                  </a:cubicBezTo>
                  <a:lnTo>
                    <a:pt x="319278" y="354997"/>
                  </a:lnTo>
                  <a:cubicBezTo>
                    <a:pt x="319278" y="375190"/>
                    <a:pt x="323183" y="392716"/>
                    <a:pt x="330899" y="407575"/>
                  </a:cubicBezTo>
                  <a:cubicBezTo>
                    <a:pt x="338614" y="422434"/>
                    <a:pt x="352616" y="435864"/>
                    <a:pt x="372904" y="447675"/>
                  </a:cubicBezTo>
                  <a:cubicBezTo>
                    <a:pt x="393192" y="459581"/>
                    <a:pt x="420910" y="470821"/>
                    <a:pt x="456057" y="481489"/>
                  </a:cubicBezTo>
                  <a:cubicBezTo>
                    <a:pt x="491204" y="492157"/>
                    <a:pt x="535591" y="504730"/>
                    <a:pt x="589217" y="518922"/>
                  </a:cubicBezTo>
                  <a:cubicBezTo>
                    <a:pt x="652367" y="535591"/>
                    <a:pt x="708660" y="554260"/>
                    <a:pt x="758190" y="575120"/>
                  </a:cubicBezTo>
                  <a:cubicBezTo>
                    <a:pt x="807625" y="595979"/>
                    <a:pt x="849344" y="620935"/>
                    <a:pt x="883349" y="649986"/>
                  </a:cubicBezTo>
                  <a:cubicBezTo>
                    <a:pt x="917353" y="679132"/>
                    <a:pt x="942975" y="713327"/>
                    <a:pt x="960215" y="752570"/>
                  </a:cubicBezTo>
                  <a:cubicBezTo>
                    <a:pt x="977456" y="791813"/>
                    <a:pt x="986123" y="838772"/>
                    <a:pt x="986123" y="893445"/>
                  </a:cubicBezTo>
                  <a:lnTo>
                    <a:pt x="986123" y="897064"/>
                  </a:lnTo>
                  <a:cubicBezTo>
                    <a:pt x="986123" y="958882"/>
                    <a:pt x="974884" y="1013841"/>
                    <a:pt x="952500" y="1062038"/>
                  </a:cubicBezTo>
                  <a:cubicBezTo>
                    <a:pt x="930021" y="1110139"/>
                    <a:pt x="898779" y="1150620"/>
                    <a:pt x="858584" y="1183291"/>
                  </a:cubicBezTo>
                  <a:cubicBezTo>
                    <a:pt x="818388" y="1216057"/>
                    <a:pt x="770477" y="1241012"/>
                    <a:pt x="714851" y="1258157"/>
                  </a:cubicBezTo>
                  <a:cubicBezTo>
                    <a:pt x="659130" y="1275398"/>
                    <a:pt x="597503" y="1284065"/>
                    <a:pt x="529685" y="1284065"/>
                  </a:cubicBezTo>
                  <a:close/>
                </a:path>
              </a:pathLst>
            </a:custGeom>
            <a:solidFill>
              <a:srgbClr val="44505E"/>
            </a:solidFill>
            <a:ln w="9525" cap="flat">
              <a:noFill/>
              <a:prstDash val="solid"/>
              <a:miter/>
            </a:ln>
          </p:spPr>
          <p:txBody>
            <a:bodyPr rtlCol="0" anchor="ctr"/>
            <a:lstStyle/>
            <a:p>
              <a:endParaRPr lang="pt-BR" noProof="0"/>
            </a:p>
          </p:txBody>
        </p:sp>
        <p:sp>
          <p:nvSpPr>
            <p:cNvPr id="4" name="Freeform: Shape 16">
              <a:extLst>
                <a:ext uri="{FF2B5EF4-FFF2-40B4-BE49-F238E27FC236}">
                  <a16:creationId xmlns:a16="http://schemas.microsoft.com/office/drawing/2014/main" id="{C5643EA2-85B2-174D-50FE-3DA5D5723CBC}"/>
                </a:ext>
              </a:extLst>
            </p:cNvPr>
            <p:cNvSpPr/>
            <p:nvPr/>
          </p:nvSpPr>
          <p:spPr>
            <a:xfrm>
              <a:off x="5492084" y="310867"/>
              <a:ext cx="332584" cy="315991"/>
            </a:xfrm>
            <a:custGeom>
              <a:avLst/>
              <a:gdLst>
                <a:gd name="connsiteX0" fmla="*/ 534924 w 1323022"/>
                <a:gd name="connsiteY0" fmla="*/ 0 h 1257014"/>
                <a:gd name="connsiteX1" fmla="*/ 788099 w 1323022"/>
                <a:gd name="connsiteY1" fmla="*/ 0 h 1257014"/>
                <a:gd name="connsiteX2" fmla="*/ 1323023 w 1323022"/>
                <a:gd name="connsiteY2" fmla="*/ 1257014 h 1257014"/>
                <a:gd name="connsiteX3" fmla="*/ 1035939 w 1323022"/>
                <a:gd name="connsiteY3" fmla="*/ 1257014 h 1257014"/>
                <a:gd name="connsiteX4" fmla="*/ 921829 w 1323022"/>
                <a:gd name="connsiteY4" fmla="*/ 977075 h 1257014"/>
                <a:gd name="connsiteX5" fmla="*/ 394049 w 1323022"/>
                <a:gd name="connsiteY5" fmla="*/ 977075 h 1257014"/>
                <a:gd name="connsiteX6" fmla="*/ 279940 w 1323022"/>
                <a:gd name="connsiteY6" fmla="*/ 1257014 h 1257014"/>
                <a:gd name="connsiteX7" fmla="*/ 0 w 1323022"/>
                <a:gd name="connsiteY7" fmla="*/ 1257014 h 1257014"/>
                <a:gd name="connsiteX8" fmla="*/ 534924 w 1323022"/>
                <a:gd name="connsiteY8" fmla="*/ 0 h 1257014"/>
                <a:gd name="connsiteX9" fmla="*/ 823817 w 1323022"/>
                <a:gd name="connsiteY9" fmla="*/ 734568 h 1257014"/>
                <a:gd name="connsiteX10" fmla="*/ 657987 w 1323022"/>
                <a:gd name="connsiteY10" fmla="*/ 329851 h 1257014"/>
                <a:gd name="connsiteX11" fmla="*/ 492157 w 1323022"/>
                <a:gd name="connsiteY11" fmla="*/ 734568 h 1257014"/>
                <a:gd name="connsiteX12" fmla="*/ 823817 w 1323022"/>
                <a:gd name="connsiteY12" fmla="*/ 734568 h 125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022" h="1257014">
                  <a:moveTo>
                    <a:pt x="534924" y="0"/>
                  </a:moveTo>
                  <a:lnTo>
                    <a:pt x="788099" y="0"/>
                  </a:lnTo>
                  <a:lnTo>
                    <a:pt x="1323023" y="1257014"/>
                  </a:lnTo>
                  <a:lnTo>
                    <a:pt x="1035939" y="1257014"/>
                  </a:lnTo>
                  <a:lnTo>
                    <a:pt x="921829" y="977075"/>
                  </a:lnTo>
                  <a:lnTo>
                    <a:pt x="394049" y="977075"/>
                  </a:lnTo>
                  <a:lnTo>
                    <a:pt x="279940" y="1257014"/>
                  </a:lnTo>
                  <a:lnTo>
                    <a:pt x="0" y="1257014"/>
                  </a:lnTo>
                  <a:lnTo>
                    <a:pt x="534924" y="0"/>
                  </a:lnTo>
                  <a:close/>
                  <a:moveTo>
                    <a:pt x="823817" y="734568"/>
                  </a:moveTo>
                  <a:lnTo>
                    <a:pt x="657987" y="329851"/>
                  </a:lnTo>
                  <a:lnTo>
                    <a:pt x="492157" y="734568"/>
                  </a:lnTo>
                  <a:lnTo>
                    <a:pt x="823817" y="734568"/>
                  </a:lnTo>
                  <a:close/>
                </a:path>
              </a:pathLst>
            </a:custGeom>
            <a:solidFill>
              <a:srgbClr val="44505E"/>
            </a:solidFill>
            <a:ln w="9525" cap="flat">
              <a:noFill/>
              <a:prstDash val="solid"/>
              <a:miter/>
            </a:ln>
          </p:spPr>
          <p:txBody>
            <a:bodyPr rtlCol="0" anchor="ctr"/>
            <a:lstStyle/>
            <a:p>
              <a:endParaRPr lang="pt-BR" noProof="0"/>
            </a:p>
          </p:txBody>
        </p:sp>
        <p:sp>
          <p:nvSpPr>
            <p:cNvPr id="5" name="Freeform: Shape 17">
              <a:extLst>
                <a:ext uri="{FF2B5EF4-FFF2-40B4-BE49-F238E27FC236}">
                  <a16:creationId xmlns:a16="http://schemas.microsoft.com/office/drawing/2014/main" id="{78D11BAB-B09B-BF6F-6F59-D9666B674218}"/>
                </a:ext>
              </a:extLst>
            </p:cNvPr>
            <p:cNvSpPr/>
            <p:nvPr/>
          </p:nvSpPr>
          <p:spPr>
            <a:xfrm>
              <a:off x="5834078" y="211355"/>
              <a:ext cx="273442" cy="420435"/>
            </a:xfrm>
            <a:custGeom>
              <a:avLst/>
              <a:gdLst>
                <a:gd name="connsiteX0" fmla="*/ 540258 w 1087754"/>
                <a:gd name="connsiteY0" fmla="*/ 1672495 h 1672494"/>
                <a:gd name="connsiteX1" fmla="*/ 144399 w 1087754"/>
                <a:gd name="connsiteY1" fmla="*/ 1533430 h 1672494"/>
                <a:gd name="connsiteX2" fmla="*/ 0 w 1087754"/>
                <a:gd name="connsiteY2" fmla="*/ 1117949 h 1672494"/>
                <a:gd name="connsiteX3" fmla="*/ 0 w 1087754"/>
                <a:gd name="connsiteY3" fmla="*/ 404717 h 1672494"/>
                <a:gd name="connsiteX4" fmla="*/ 274606 w 1087754"/>
                <a:gd name="connsiteY4" fmla="*/ 404717 h 1672494"/>
                <a:gd name="connsiteX5" fmla="*/ 274606 w 1087754"/>
                <a:gd name="connsiteY5" fmla="*/ 1110806 h 1672494"/>
                <a:gd name="connsiteX6" fmla="*/ 345948 w 1087754"/>
                <a:gd name="connsiteY6" fmla="*/ 1341692 h 1672494"/>
                <a:gd name="connsiteX7" fmla="*/ 543877 w 1087754"/>
                <a:gd name="connsiteY7" fmla="*/ 1419225 h 1672494"/>
                <a:gd name="connsiteX8" fmla="*/ 741807 w 1087754"/>
                <a:gd name="connsiteY8" fmla="*/ 1344359 h 1672494"/>
                <a:gd name="connsiteX9" fmla="*/ 813149 w 1087754"/>
                <a:gd name="connsiteY9" fmla="*/ 1119664 h 1672494"/>
                <a:gd name="connsiteX10" fmla="*/ 813149 w 1087754"/>
                <a:gd name="connsiteY10" fmla="*/ 404717 h 1672494"/>
                <a:gd name="connsiteX11" fmla="*/ 1087755 w 1087754"/>
                <a:gd name="connsiteY11" fmla="*/ 404717 h 1672494"/>
                <a:gd name="connsiteX12" fmla="*/ 1087755 w 1087754"/>
                <a:gd name="connsiteY12" fmla="*/ 1108996 h 1672494"/>
                <a:gd name="connsiteX13" fmla="*/ 1049369 w 1087754"/>
                <a:gd name="connsiteY13" fmla="*/ 1356836 h 1672494"/>
                <a:gd name="connsiteX14" fmla="*/ 939737 w 1087754"/>
                <a:gd name="connsiteY14" fmla="*/ 1532477 h 1672494"/>
                <a:gd name="connsiteX15" fmla="*/ 766763 w 1087754"/>
                <a:gd name="connsiteY15" fmla="*/ 1637729 h 1672494"/>
                <a:gd name="connsiteX16" fmla="*/ 540353 w 1087754"/>
                <a:gd name="connsiteY16" fmla="*/ 1672495 h 1672494"/>
                <a:gd name="connsiteX17" fmla="*/ 622268 w 1087754"/>
                <a:gd name="connsiteY17" fmla="*/ 0 h 1672494"/>
                <a:gd name="connsiteX18" fmla="*/ 855821 w 1087754"/>
                <a:gd name="connsiteY18" fmla="*/ 101632 h 1672494"/>
                <a:gd name="connsiteX19" fmla="*/ 627602 w 1087754"/>
                <a:gd name="connsiteY19" fmla="*/ 315563 h 1672494"/>
                <a:gd name="connsiteX20" fmla="*/ 420719 w 1087754"/>
                <a:gd name="connsiteY20" fmla="*/ 315563 h 1672494"/>
                <a:gd name="connsiteX21" fmla="*/ 622268 w 1087754"/>
                <a:gd name="connsiteY21" fmla="*/ 0 h 16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754" h="1672494">
                  <a:moveTo>
                    <a:pt x="540258" y="1672495"/>
                  </a:moveTo>
                  <a:cubicBezTo>
                    <a:pt x="372618" y="1672495"/>
                    <a:pt x="240697" y="1626108"/>
                    <a:pt x="144399" y="1533430"/>
                  </a:cubicBezTo>
                  <a:cubicBezTo>
                    <a:pt x="48101" y="1440752"/>
                    <a:pt x="0" y="1302258"/>
                    <a:pt x="0" y="1117949"/>
                  </a:cubicBezTo>
                  <a:lnTo>
                    <a:pt x="0" y="404717"/>
                  </a:lnTo>
                  <a:lnTo>
                    <a:pt x="274606" y="404717"/>
                  </a:lnTo>
                  <a:lnTo>
                    <a:pt x="274606" y="1110806"/>
                  </a:lnTo>
                  <a:cubicBezTo>
                    <a:pt x="274606" y="1213009"/>
                    <a:pt x="298418" y="1289971"/>
                    <a:pt x="345948" y="1341692"/>
                  </a:cubicBezTo>
                  <a:cubicBezTo>
                    <a:pt x="393478" y="1393412"/>
                    <a:pt x="459486" y="1419225"/>
                    <a:pt x="543877" y="1419225"/>
                  </a:cubicBezTo>
                  <a:cubicBezTo>
                    <a:pt x="628269" y="1419225"/>
                    <a:pt x="694277" y="1394270"/>
                    <a:pt x="741807" y="1344359"/>
                  </a:cubicBezTo>
                  <a:cubicBezTo>
                    <a:pt x="789337" y="1294448"/>
                    <a:pt x="813149" y="1219581"/>
                    <a:pt x="813149" y="1119664"/>
                  </a:cubicBezTo>
                  <a:lnTo>
                    <a:pt x="813149" y="404717"/>
                  </a:lnTo>
                  <a:lnTo>
                    <a:pt x="1087755" y="404717"/>
                  </a:lnTo>
                  <a:lnTo>
                    <a:pt x="1087755" y="1108996"/>
                  </a:lnTo>
                  <a:cubicBezTo>
                    <a:pt x="1087755" y="1204151"/>
                    <a:pt x="1074992" y="1286732"/>
                    <a:pt x="1049369" y="1356836"/>
                  </a:cubicBezTo>
                  <a:cubicBezTo>
                    <a:pt x="1023747" y="1426940"/>
                    <a:pt x="987266" y="1485519"/>
                    <a:pt x="939737" y="1532477"/>
                  </a:cubicBezTo>
                  <a:cubicBezTo>
                    <a:pt x="892207" y="1579436"/>
                    <a:pt x="834485" y="1614488"/>
                    <a:pt x="766763" y="1637729"/>
                  </a:cubicBezTo>
                  <a:cubicBezTo>
                    <a:pt x="699040" y="1660874"/>
                    <a:pt x="623507" y="1672495"/>
                    <a:pt x="540353" y="1672495"/>
                  </a:cubicBezTo>
                  <a:close/>
                  <a:moveTo>
                    <a:pt x="622268" y="0"/>
                  </a:moveTo>
                  <a:lnTo>
                    <a:pt x="855821" y="101632"/>
                  </a:lnTo>
                  <a:lnTo>
                    <a:pt x="627602" y="315563"/>
                  </a:lnTo>
                  <a:lnTo>
                    <a:pt x="420719" y="315563"/>
                  </a:lnTo>
                  <a:lnTo>
                    <a:pt x="622268" y="0"/>
                  </a:lnTo>
                  <a:close/>
                </a:path>
              </a:pathLst>
            </a:custGeom>
            <a:solidFill>
              <a:srgbClr val="44505E"/>
            </a:solidFill>
            <a:ln w="9525" cap="flat">
              <a:noFill/>
              <a:prstDash val="solid"/>
              <a:miter/>
            </a:ln>
          </p:spPr>
          <p:txBody>
            <a:bodyPr rtlCol="0" anchor="ctr"/>
            <a:lstStyle/>
            <a:p>
              <a:endParaRPr lang="pt-BR" noProof="0"/>
            </a:p>
          </p:txBody>
        </p:sp>
        <p:sp>
          <p:nvSpPr>
            <p:cNvPr id="6" name="Freeform: Shape 18">
              <a:extLst>
                <a:ext uri="{FF2B5EF4-FFF2-40B4-BE49-F238E27FC236}">
                  <a16:creationId xmlns:a16="http://schemas.microsoft.com/office/drawing/2014/main" id="{B3CE4A12-BD00-CAD3-1190-5F7D10859FFE}"/>
                </a:ext>
              </a:extLst>
            </p:cNvPr>
            <p:cNvSpPr/>
            <p:nvPr/>
          </p:nvSpPr>
          <p:spPr>
            <a:xfrm>
              <a:off x="6143795" y="313094"/>
              <a:ext cx="289101" cy="313764"/>
            </a:xfrm>
            <a:custGeom>
              <a:avLst/>
              <a:gdLst>
                <a:gd name="connsiteX0" fmla="*/ 0 w 1150048"/>
                <a:gd name="connsiteY0" fmla="*/ 0 h 1248155"/>
                <a:gd name="connsiteX1" fmla="*/ 486728 w 1150048"/>
                <a:gd name="connsiteY1" fmla="*/ 0 h 1248155"/>
                <a:gd name="connsiteX2" fmla="*/ 755047 w 1150048"/>
                <a:gd name="connsiteY2" fmla="*/ 47244 h 1248155"/>
                <a:gd name="connsiteX3" fmla="*/ 965454 w 1150048"/>
                <a:gd name="connsiteY3" fmla="*/ 178308 h 1248155"/>
                <a:gd name="connsiteX4" fmla="*/ 1101852 w 1150048"/>
                <a:gd name="connsiteY4" fmla="*/ 375380 h 1248155"/>
                <a:gd name="connsiteX5" fmla="*/ 1150049 w 1150048"/>
                <a:gd name="connsiteY5" fmla="*/ 620554 h 1248155"/>
                <a:gd name="connsiteX6" fmla="*/ 1150049 w 1150048"/>
                <a:gd name="connsiteY6" fmla="*/ 624173 h 1248155"/>
                <a:gd name="connsiteX7" fmla="*/ 1101852 w 1150048"/>
                <a:gd name="connsiteY7" fmla="*/ 870204 h 1248155"/>
                <a:gd name="connsiteX8" fmla="*/ 965454 w 1150048"/>
                <a:gd name="connsiteY8" fmla="*/ 1068134 h 1248155"/>
                <a:gd name="connsiteX9" fmla="*/ 755047 w 1150048"/>
                <a:gd name="connsiteY9" fmla="*/ 1200055 h 1248155"/>
                <a:gd name="connsiteX10" fmla="*/ 486728 w 1150048"/>
                <a:gd name="connsiteY10" fmla="*/ 1248156 h 1248155"/>
                <a:gd name="connsiteX11" fmla="*/ 0 w 1150048"/>
                <a:gd name="connsiteY11" fmla="*/ 1248156 h 1248155"/>
                <a:gd name="connsiteX12" fmla="*/ 0 w 1150048"/>
                <a:gd name="connsiteY12" fmla="*/ 0 h 1248155"/>
                <a:gd name="connsiteX13" fmla="*/ 486728 w 1150048"/>
                <a:gd name="connsiteY13" fmla="*/ 1000315 h 1248155"/>
                <a:gd name="connsiteX14" fmla="*/ 640080 w 1150048"/>
                <a:gd name="connsiteY14" fmla="*/ 973550 h 1248155"/>
                <a:gd name="connsiteX15" fmla="*/ 758667 w 1150048"/>
                <a:gd name="connsiteY15" fmla="*/ 896874 h 1248155"/>
                <a:gd name="connsiteX16" fmla="*/ 835343 w 1150048"/>
                <a:gd name="connsiteY16" fmla="*/ 779240 h 1248155"/>
                <a:gd name="connsiteX17" fmla="*/ 862965 w 1150048"/>
                <a:gd name="connsiteY17" fmla="*/ 627698 h 1248155"/>
                <a:gd name="connsiteX18" fmla="*/ 862965 w 1150048"/>
                <a:gd name="connsiteY18" fmla="*/ 624078 h 1248155"/>
                <a:gd name="connsiteX19" fmla="*/ 835343 w 1150048"/>
                <a:gd name="connsiteY19" fmla="*/ 472535 h 1248155"/>
                <a:gd name="connsiteX20" fmla="*/ 758667 w 1150048"/>
                <a:gd name="connsiteY20" fmla="*/ 353092 h 1248155"/>
                <a:gd name="connsiteX21" fmla="*/ 640080 w 1150048"/>
                <a:gd name="connsiteY21" fmla="*/ 275558 h 1248155"/>
                <a:gd name="connsiteX22" fmla="*/ 486728 w 1150048"/>
                <a:gd name="connsiteY22" fmla="*/ 247936 h 1248155"/>
                <a:gd name="connsiteX23" fmla="*/ 274511 w 1150048"/>
                <a:gd name="connsiteY23" fmla="*/ 247936 h 1248155"/>
                <a:gd name="connsiteX24" fmla="*/ 274511 w 1150048"/>
                <a:gd name="connsiteY24" fmla="*/ 1000411 h 1248155"/>
                <a:gd name="connsiteX25" fmla="*/ 486728 w 1150048"/>
                <a:gd name="connsiteY25" fmla="*/ 1000411 h 124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50048" h="1248155">
                  <a:moveTo>
                    <a:pt x="0" y="0"/>
                  </a:moveTo>
                  <a:lnTo>
                    <a:pt x="486728" y="0"/>
                  </a:lnTo>
                  <a:cubicBezTo>
                    <a:pt x="584168" y="0"/>
                    <a:pt x="673608" y="15811"/>
                    <a:pt x="755047" y="47244"/>
                  </a:cubicBezTo>
                  <a:cubicBezTo>
                    <a:pt x="836486" y="78772"/>
                    <a:pt x="906590" y="122396"/>
                    <a:pt x="965454" y="178308"/>
                  </a:cubicBezTo>
                  <a:cubicBezTo>
                    <a:pt x="1024319" y="234220"/>
                    <a:pt x="1069753" y="299847"/>
                    <a:pt x="1101852" y="375380"/>
                  </a:cubicBezTo>
                  <a:cubicBezTo>
                    <a:pt x="1133951" y="450914"/>
                    <a:pt x="1150049" y="532543"/>
                    <a:pt x="1150049" y="620554"/>
                  </a:cubicBezTo>
                  <a:lnTo>
                    <a:pt x="1150049" y="624173"/>
                  </a:lnTo>
                  <a:cubicBezTo>
                    <a:pt x="1150049" y="712184"/>
                    <a:pt x="1133951" y="794195"/>
                    <a:pt x="1101852" y="870204"/>
                  </a:cubicBezTo>
                  <a:cubicBezTo>
                    <a:pt x="1069753" y="946309"/>
                    <a:pt x="1024319" y="1012222"/>
                    <a:pt x="965454" y="1068134"/>
                  </a:cubicBezTo>
                  <a:cubicBezTo>
                    <a:pt x="906590" y="1124045"/>
                    <a:pt x="836486" y="1167956"/>
                    <a:pt x="755047" y="1200055"/>
                  </a:cubicBezTo>
                  <a:cubicBezTo>
                    <a:pt x="673608" y="1232154"/>
                    <a:pt x="584168" y="1248156"/>
                    <a:pt x="486728" y="1248156"/>
                  </a:cubicBezTo>
                  <a:lnTo>
                    <a:pt x="0" y="1248156"/>
                  </a:lnTo>
                  <a:lnTo>
                    <a:pt x="0" y="0"/>
                  </a:lnTo>
                  <a:close/>
                  <a:moveTo>
                    <a:pt x="486728" y="1000315"/>
                  </a:moveTo>
                  <a:cubicBezTo>
                    <a:pt x="542639" y="1000315"/>
                    <a:pt x="593693" y="991457"/>
                    <a:pt x="640080" y="973550"/>
                  </a:cubicBezTo>
                  <a:cubicBezTo>
                    <a:pt x="686467" y="955739"/>
                    <a:pt x="725900" y="930211"/>
                    <a:pt x="758667" y="896874"/>
                  </a:cubicBezTo>
                  <a:cubicBezTo>
                    <a:pt x="791337" y="863632"/>
                    <a:pt x="816864" y="824389"/>
                    <a:pt x="835343" y="779240"/>
                  </a:cubicBezTo>
                  <a:cubicBezTo>
                    <a:pt x="853726" y="734092"/>
                    <a:pt x="862965" y="683609"/>
                    <a:pt x="862965" y="627698"/>
                  </a:cubicBezTo>
                  <a:lnTo>
                    <a:pt x="862965" y="624078"/>
                  </a:lnTo>
                  <a:cubicBezTo>
                    <a:pt x="862965" y="569404"/>
                    <a:pt x="853726" y="518827"/>
                    <a:pt x="835343" y="472535"/>
                  </a:cubicBezTo>
                  <a:cubicBezTo>
                    <a:pt x="816864" y="426149"/>
                    <a:pt x="791337" y="386334"/>
                    <a:pt x="758667" y="353092"/>
                  </a:cubicBezTo>
                  <a:cubicBezTo>
                    <a:pt x="725996" y="319849"/>
                    <a:pt x="686467" y="293941"/>
                    <a:pt x="640080" y="275558"/>
                  </a:cubicBezTo>
                  <a:cubicBezTo>
                    <a:pt x="593693" y="257175"/>
                    <a:pt x="542639" y="247936"/>
                    <a:pt x="486728" y="247936"/>
                  </a:cubicBezTo>
                  <a:lnTo>
                    <a:pt x="274511" y="247936"/>
                  </a:lnTo>
                  <a:lnTo>
                    <a:pt x="274511" y="1000411"/>
                  </a:lnTo>
                  <a:lnTo>
                    <a:pt x="486728" y="1000411"/>
                  </a:lnTo>
                  <a:close/>
                </a:path>
              </a:pathLst>
            </a:custGeom>
            <a:solidFill>
              <a:srgbClr val="44505E"/>
            </a:solidFill>
            <a:ln w="9525" cap="flat">
              <a:noFill/>
              <a:prstDash val="solid"/>
              <a:miter/>
            </a:ln>
          </p:spPr>
          <p:txBody>
            <a:bodyPr rtlCol="0" anchor="ctr"/>
            <a:lstStyle/>
            <a:p>
              <a:endParaRPr lang="pt-BR" noProof="0"/>
            </a:p>
          </p:txBody>
        </p:sp>
        <p:sp>
          <p:nvSpPr>
            <p:cNvPr id="7" name="Freeform: Shape 19">
              <a:extLst>
                <a:ext uri="{FF2B5EF4-FFF2-40B4-BE49-F238E27FC236}">
                  <a16:creationId xmlns:a16="http://schemas.microsoft.com/office/drawing/2014/main" id="{3CDD100F-85EF-0B69-97A0-4EC46B0BB189}"/>
                </a:ext>
              </a:extLst>
            </p:cNvPr>
            <p:cNvSpPr/>
            <p:nvPr/>
          </p:nvSpPr>
          <p:spPr>
            <a:xfrm>
              <a:off x="6460217" y="313094"/>
              <a:ext cx="238459" cy="313788"/>
            </a:xfrm>
            <a:custGeom>
              <a:avLst/>
              <a:gdLst>
                <a:gd name="connsiteX0" fmla="*/ 95 w 948594"/>
                <a:gd name="connsiteY0" fmla="*/ 0 h 1248251"/>
                <a:gd name="connsiteX1" fmla="*/ 939737 w 948594"/>
                <a:gd name="connsiteY1" fmla="*/ 0 h 1248251"/>
                <a:gd name="connsiteX2" fmla="*/ 939737 w 948594"/>
                <a:gd name="connsiteY2" fmla="*/ 244316 h 1248251"/>
                <a:gd name="connsiteX3" fmla="*/ 271081 w 948594"/>
                <a:gd name="connsiteY3" fmla="*/ 244316 h 1248251"/>
                <a:gd name="connsiteX4" fmla="*/ 271081 w 948594"/>
                <a:gd name="connsiteY4" fmla="*/ 497491 h 1248251"/>
                <a:gd name="connsiteX5" fmla="*/ 859441 w 948594"/>
                <a:gd name="connsiteY5" fmla="*/ 497491 h 1248251"/>
                <a:gd name="connsiteX6" fmla="*/ 859441 w 948594"/>
                <a:gd name="connsiteY6" fmla="*/ 741807 h 1248251"/>
                <a:gd name="connsiteX7" fmla="*/ 271081 w 948594"/>
                <a:gd name="connsiteY7" fmla="*/ 741807 h 1248251"/>
                <a:gd name="connsiteX8" fmla="*/ 271081 w 948594"/>
                <a:gd name="connsiteY8" fmla="*/ 1003935 h 1248251"/>
                <a:gd name="connsiteX9" fmla="*/ 948595 w 948594"/>
                <a:gd name="connsiteY9" fmla="*/ 1003935 h 1248251"/>
                <a:gd name="connsiteX10" fmla="*/ 948595 w 948594"/>
                <a:gd name="connsiteY10" fmla="*/ 1248251 h 1248251"/>
                <a:gd name="connsiteX11" fmla="*/ 0 w 948594"/>
                <a:gd name="connsiteY11" fmla="*/ 1248251 h 1248251"/>
                <a:gd name="connsiteX12" fmla="*/ 0 w 948594"/>
                <a:gd name="connsiteY12" fmla="*/ 0 h 124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594" h="1248251">
                  <a:moveTo>
                    <a:pt x="95" y="0"/>
                  </a:moveTo>
                  <a:lnTo>
                    <a:pt x="939737" y="0"/>
                  </a:lnTo>
                  <a:lnTo>
                    <a:pt x="939737" y="244316"/>
                  </a:lnTo>
                  <a:lnTo>
                    <a:pt x="271081" y="244316"/>
                  </a:lnTo>
                  <a:lnTo>
                    <a:pt x="271081" y="497491"/>
                  </a:lnTo>
                  <a:lnTo>
                    <a:pt x="859441" y="497491"/>
                  </a:lnTo>
                  <a:lnTo>
                    <a:pt x="859441" y="741807"/>
                  </a:lnTo>
                  <a:lnTo>
                    <a:pt x="271081" y="741807"/>
                  </a:lnTo>
                  <a:lnTo>
                    <a:pt x="271081" y="1003935"/>
                  </a:lnTo>
                  <a:lnTo>
                    <a:pt x="948595" y="1003935"/>
                  </a:lnTo>
                  <a:lnTo>
                    <a:pt x="948595" y="1248251"/>
                  </a:lnTo>
                  <a:lnTo>
                    <a:pt x="0" y="1248251"/>
                  </a:lnTo>
                  <a:lnTo>
                    <a:pt x="0" y="0"/>
                  </a:lnTo>
                  <a:close/>
                </a:path>
              </a:pathLst>
            </a:custGeom>
            <a:solidFill>
              <a:srgbClr val="44505E"/>
            </a:solidFill>
            <a:ln w="9525" cap="flat">
              <a:noFill/>
              <a:prstDash val="solid"/>
              <a:miter/>
            </a:ln>
          </p:spPr>
          <p:txBody>
            <a:bodyPr rtlCol="0" anchor="ctr"/>
            <a:lstStyle/>
            <a:p>
              <a:endParaRPr lang="pt-BR" noProof="0"/>
            </a:p>
          </p:txBody>
        </p:sp>
        <p:sp>
          <p:nvSpPr>
            <p:cNvPr id="8" name="Freeform: Shape 20">
              <a:extLst>
                <a:ext uri="{FF2B5EF4-FFF2-40B4-BE49-F238E27FC236}">
                  <a16:creationId xmlns:a16="http://schemas.microsoft.com/office/drawing/2014/main" id="{EF6849EA-5EEC-5496-EA35-717E8B709756}"/>
                </a:ext>
              </a:extLst>
            </p:cNvPr>
            <p:cNvSpPr/>
            <p:nvPr/>
          </p:nvSpPr>
          <p:spPr>
            <a:xfrm>
              <a:off x="5253193" y="699983"/>
              <a:ext cx="90796" cy="97883"/>
            </a:xfrm>
            <a:custGeom>
              <a:avLst/>
              <a:gdLst>
                <a:gd name="connsiteX0" fmla="*/ 191548 w 361187"/>
                <a:gd name="connsiteY0" fmla="*/ 389382 h 389381"/>
                <a:gd name="connsiteX1" fmla="*/ 116300 w 361187"/>
                <a:gd name="connsiteY1" fmla="*/ 375285 h 389381"/>
                <a:gd name="connsiteX2" fmla="*/ 55531 w 361187"/>
                <a:gd name="connsiteY2" fmla="*/ 335756 h 389381"/>
                <a:gd name="connsiteX3" fmla="*/ 14859 w 361187"/>
                <a:gd name="connsiteY3" fmla="*/ 274606 h 389381"/>
                <a:gd name="connsiteX4" fmla="*/ 0 w 361187"/>
                <a:gd name="connsiteY4" fmla="*/ 195834 h 389381"/>
                <a:gd name="connsiteX5" fmla="*/ 0 w 361187"/>
                <a:gd name="connsiteY5" fmla="*/ 194405 h 389381"/>
                <a:gd name="connsiteX6" fmla="*/ 13430 w 361187"/>
                <a:gd name="connsiteY6" fmla="*/ 118777 h 389381"/>
                <a:gd name="connsiteX7" fmla="*/ 51245 w 361187"/>
                <a:gd name="connsiteY7" fmla="*/ 56959 h 389381"/>
                <a:gd name="connsiteX8" fmla="*/ 108871 w 361187"/>
                <a:gd name="connsiteY8" fmla="*/ 15240 h 389381"/>
                <a:gd name="connsiteX9" fmla="*/ 182404 w 361187"/>
                <a:gd name="connsiteY9" fmla="*/ 0 h 389381"/>
                <a:gd name="connsiteX10" fmla="*/ 260509 w 361187"/>
                <a:gd name="connsiteY10" fmla="*/ 16288 h 389381"/>
                <a:gd name="connsiteX11" fmla="*/ 316325 w 361187"/>
                <a:gd name="connsiteY11" fmla="*/ 60103 h 389381"/>
                <a:gd name="connsiteX12" fmla="*/ 349853 w 361187"/>
                <a:gd name="connsiteY12" fmla="*/ 124015 h 389381"/>
                <a:gd name="connsiteX13" fmla="*/ 361188 w 361187"/>
                <a:gd name="connsiteY13" fmla="*/ 200692 h 389381"/>
                <a:gd name="connsiteX14" fmla="*/ 360807 w 361187"/>
                <a:gd name="connsiteY14" fmla="*/ 212312 h 389381"/>
                <a:gd name="connsiteX15" fmla="*/ 359759 w 361187"/>
                <a:gd name="connsiteY15" fmla="*/ 224695 h 389381"/>
                <a:gd name="connsiteX16" fmla="*/ 85534 w 361187"/>
                <a:gd name="connsiteY16" fmla="*/ 224695 h 389381"/>
                <a:gd name="connsiteX17" fmla="*/ 121920 w 361187"/>
                <a:gd name="connsiteY17" fmla="*/ 294989 h 389381"/>
                <a:gd name="connsiteX18" fmla="*/ 192977 w 361187"/>
                <a:gd name="connsiteY18" fmla="*/ 319373 h 389381"/>
                <a:gd name="connsiteX19" fmla="*/ 248126 w 361187"/>
                <a:gd name="connsiteY19" fmla="*/ 308038 h 389381"/>
                <a:gd name="connsiteX20" fmla="*/ 294037 w 361187"/>
                <a:gd name="connsiteY20" fmla="*/ 274796 h 389381"/>
                <a:gd name="connsiteX21" fmla="*/ 344234 w 361187"/>
                <a:gd name="connsiteY21" fmla="*/ 319278 h 389381"/>
                <a:gd name="connsiteX22" fmla="*/ 280226 w 361187"/>
                <a:gd name="connsiteY22" fmla="*/ 370141 h 389381"/>
                <a:gd name="connsiteX23" fmla="*/ 191548 w 361187"/>
                <a:gd name="connsiteY23" fmla="*/ 389191 h 389381"/>
                <a:gd name="connsiteX24" fmla="*/ 276320 w 361187"/>
                <a:gd name="connsiteY24" fmla="*/ 168211 h 389381"/>
                <a:gd name="connsiteX25" fmla="*/ 267176 w 361187"/>
                <a:gd name="connsiteY25" fmla="*/ 129730 h 389381"/>
                <a:gd name="connsiteX26" fmla="*/ 248126 w 361187"/>
                <a:gd name="connsiteY26" fmla="*/ 98679 h 389381"/>
                <a:gd name="connsiteX27" fmla="*/ 219551 w 361187"/>
                <a:gd name="connsiteY27" fmla="*/ 77819 h 389381"/>
                <a:gd name="connsiteX28" fmla="*/ 181737 w 361187"/>
                <a:gd name="connsiteY28" fmla="*/ 70009 h 389381"/>
                <a:gd name="connsiteX29" fmla="*/ 116396 w 361187"/>
                <a:gd name="connsiteY29" fmla="*/ 97250 h 389381"/>
                <a:gd name="connsiteX30" fmla="*/ 84963 w 361187"/>
                <a:gd name="connsiteY30" fmla="*/ 168307 h 389381"/>
                <a:gd name="connsiteX31" fmla="*/ 276511 w 361187"/>
                <a:gd name="connsiteY31" fmla="*/ 168307 h 38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187" h="389381">
                  <a:moveTo>
                    <a:pt x="191548" y="389382"/>
                  </a:moveTo>
                  <a:cubicBezTo>
                    <a:pt x="164687" y="389382"/>
                    <a:pt x="139637" y="384715"/>
                    <a:pt x="116300" y="375285"/>
                  </a:cubicBezTo>
                  <a:cubicBezTo>
                    <a:pt x="92964" y="365855"/>
                    <a:pt x="72771" y="352711"/>
                    <a:pt x="55531" y="335756"/>
                  </a:cubicBezTo>
                  <a:cubicBezTo>
                    <a:pt x="38291" y="318802"/>
                    <a:pt x="24765" y="298418"/>
                    <a:pt x="14859" y="274606"/>
                  </a:cubicBezTo>
                  <a:cubicBezTo>
                    <a:pt x="4953" y="250793"/>
                    <a:pt x="0" y="224599"/>
                    <a:pt x="0" y="195834"/>
                  </a:cubicBezTo>
                  <a:lnTo>
                    <a:pt x="0" y="194405"/>
                  </a:lnTo>
                  <a:cubicBezTo>
                    <a:pt x="0" y="167545"/>
                    <a:pt x="4477" y="142399"/>
                    <a:pt x="13430" y="118777"/>
                  </a:cubicBezTo>
                  <a:cubicBezTo>
                    <a:pt x="22384" y="95250"/>
                    <a:pt x="34957" y="74581"/>
                    <a:pt x="51245" y="56959"/>
                  </a:cubicBezTo>
                  <a:cubicBezTo>
                    <a:pt x="67532" y="39338"/>
                    <a:pt x="86677" y="25432"/>
                    <a:pt x="108871" y="15240"/>
                  </a:cubicBezTo>
                  <a:cubicBezTo>
                    <a:pt x="131064" y="5143"/>
                    <a:pt x="155543" y="0"/>
                    <a:pt x="182404" y="0"/>
                  </a:cubicBezTo>
                  <a:cubicBezTo>
                    <a:pt x="212122" y="0"/>
                    <a:pt x="238125" y="5429"/>
                    <a:pt x="260509" y="16288"/>
                  </a:cubicBezTo>
                  <a:cubicBezTo>
                    <a:pt x="282893" y="27146"/>
                    <a:pt x="301466" y="41719"/>
                    <a:pt x="316325" y="60103"/>
                  </a:cubicBezTo>
                  <a:cubicBezTo>
                    <a:pt x="331184" y="78486"/>
                    <a:pt x="342329" y="99822"/>
                    <a:pt x="349853" y="124015"/>
                  </a:cubicBezTo>
                  <a:cubicBezTo>
                    <a:pt x="357378" y="148304"/>
                    <a:pt x="361188" y="173831"/>
                    <a:pt x="361188" y="200692"/>
                  </a:cubicBezTo>
                  <a:cubicBezTo>
                    <a:pt x="361188" y="204502"/>
                    <a:pt x="361093" y="208312"/>
                    <a:pt x="360807" y="212312"/>
                  </a:cubicBezTo>
                  <a:cubicBezTo>
                    <a:pt x="360521" y="216313"/>
                    <a:pt x="360236" y="220409"/>
                    <a:pt x="359759" y="224695"/>
                  </a:cubicBezTo>
                  <a:lnTo>
                    <a:pt x="85534" y="224695"/>
                  </a:lnTo>
                  <a:cubicBezTo>
                    <a:pt x="90202" y="255365"/>
                    <a:pt x="102394" y="278797"/>
                    <a:pt x="121920" y="294989"/>
                  </a:cubicBezTo>
                  <a:cubicBezTo>
                    <a:pt x="141446" y="311277"/>
                    <a:pt x="165164" y="319373"/>
                    <a:pt x="192977" y="319373"/>
                  </a:cubicBezTo>
                  <a:cubicBezTo>
                    <a:pt x="214217" y="319373"/>
                    <a:pt x="232505" y="315563"/>
                    <a:pt x="248126" y="308038"/>
                  </a:cubicBezTo>
                  <a:cubicBezTo>
                    <a:pt x="263652" y="300514"/>
                    <a:pt x="278987" y="289465"/>
                    <a:pt x="294037" y="274796"/>
                  </a:cubicBezTo>
                  <a:lnTo>
                    <a:pt x="344234" y="319278"/>
                  </a:lnTo>
                  <a:cubicBezTo>
                    <a:pt x="326327" y="340519"/>
                    <a:pt x="304991" y="357473"/>
                    <a:pt x="280226" y="370141"/>
                  </a:cubicBezTo>
                  <a:cubicBezTo>
                    <a:pt x="255461" y="382810"/>
                    <a:pt x="225933" y="389191"/>
                    <a:pt x="191548" y="389191"/>
                  </a:cubicBezTo>
                  <a:close/>
                  <a:moveTo>
                    <a:pt x="276320" y="168211"/>
                  </a:moveTo>
                  <a:cubicBezTo>
                    <a:pt x="274892" y="154591"/>
                    <a:pt x="271844" y="141732"/>
                    <a:pt x="267176" y="129730"/>
                  </a:cubicBezTo>
                  <a:cubicBezTo>
                    <a:pt x="262414" y="117729"/>
                    <a:pt x="256127" y="107347"/>
                    <a:pt x="248126" y="98679"/>
                  </a:cubicBezTo>
                  <a:cubicBezTo>
                    <a:pt x="240125" y="89916"/>
                    <a:pt x="230600" y="82963"/>
                    <a:pt x="219551" y="77819"/>
                  </a:cubicBezTo>
                  <a:cubicBezTo>
                    <a:pt x="208502" y="72676"/>
                    <a:pt x="195834" y="70009"/>
                    <a:pt x="181737" y="70009"/>
                  </a:cubicBezTo>
                  <a:cubicBezTo>
                    <a:pt x="155353" y="70009"/>
                    <a:pt x="133541" y="79057"/>
                    <a:pt x="116396" y="97250"/>
                  </a:cubicBezTo>
                  <a:cubicBezTo>
                    <a:pt x="99155" y="115348"/>
                    <a:pt x="88678" y="139065"/>
                    <a:pt x="84963" y="168307"/>
                  </a:cubicBezTo>
                  <a:lnTo>
                    <a:pt x="276511" y="168307"/>
                  </a:lnTo>
                  <a:close/>
                </a:path>
              </a:pathLst>
            </a:custGeom>
            <a:solidFill>
              <a:srgbClr val="44505E"/>
            </a:solidFill>
            <a:ln w="9525" cap="flat">
              <a:noFill/>
              <a:prstDash val="solid"/>
              <a:miter/>
            </a:ln>
          </p:spPr>
          <p:txBody>
            <a:bodyPr rtlCol="0" anchor="ctr"/>
            <a:lstStyle/>
            <a:p>
              <a:endParaRPr lang="pt-BR" noProof="0"/>
            </a:p>
          </p:txBody>
        </p:sp>
        <p:sp>
          <p:nvSpPr>
            <p:cNvPr id="9" name="Freeform: Shape 21">
              <a:extLst>
                <a:ext uri="{FF2B5EF4-FFF2-40B4-BE49-F238E27FC236}">
                  <a16:creationId xmlns:a16="http://schemas.microsoft.com/office/drawing/2014/main" id="{30C32A16-793F-38A5-97EC-06453AD072BB}"/>
                </a:ext>
              </a:extLst>
            </p:cNvPr>
            <p:cNvSpPr/>
            <p:nvPr/>
          </p:nvSpPr>
          <p:spPr>
            <a:xfrm>
              <a:off x="5365659"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5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8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3 w 568166"/>
                <a:gd name="connsiteY21" fmla="*/ 381000 h 381000"/>
                <a:gd name="connsiteX22" fmla="*/ 240983 w 568166"/>
                <a:gd name="connsiteY22" fmla="*/ 168783 h 381000"/>
                <a:gd name="connsiteX23" fmla="*/ 221266 w 568166"/>
                <a:gd name="connsiteY23" fmla="*/ 101822 h 381000"/>
                <a:gd name="connsiteX24" fmla="*/ 165640 w 568166"/>
                <a:gd name="connsiteY24" fmla="*/ 78581 h 381000"/>
                <a:gd name="connsiteX25" fmla="*/ 108014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70" y="48196"/>
                    <a:pt x="105918" y="40576"/>
                  </a:cubicBezTo>
                  <a:cubicBezTo>
                    <a:pt x="112967" y="32956"/>
                    <a:pt x="121063" y="26099"/>
                    <a:pt x="130207" y="19907"/>
                  </a:cubicBezTo>
                  <a:cubicBezTo>
                    <a:pt x="139351" y="13716"/>
                    <a:pt x="149733" y="8858"/>
                    <a:pt x="161163" y="5334"/>
                  </a:cubicBezTo>
                  <a:cubicBezTo>
                    <a:pt x="172688" y="1714"/>
                    <a:pt x="185452" y="0"/>
                    <a:pt x="199549" y="0"/>
                  </a:cubicBezTo>
                  <a:cubicBezTo>
                    <a:pt x="226314" y="0"/>
                    <a:pt x="248984" y="6096"/>
                    <a:pt x="267557" y="18193"/>
                  </a:cubicBezTo>
                  <a:cubicBezTo>
                    <a:pt x="286131" y="30289"/>
                    <a:pt x="300323" y="46387"/>
                    <a:pt x="310134" y="66294"/>
                  </a:cubicBezTo>
                  <a:cubicBezTo>
                    <a:pt x="325279" y="46387"/>
                    <a:pt x="343091" y="30289"/>
                    <a:pt x="363665" y="18193"/>
                  </a:cubicBezTo>
                  <a:cubicBezTo>
                    <a:pt x="384239" y="6096"/>
                    <a:pt x="408718" y="0"/>
                    <a:pt x="437007" y="0"/>
                  </a:cubicBezTo>
                  <a:cubicBezTo>
                    <a:pt x="478060"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8" y="78486"/>
                  </a:cubicBezTo>
                  <a:cubicBezTo>
                    <a:pt x="382810" y="78486"/>
                    <a:pt x="364141" y="86392"/>
                    <a:pt x="349377" y="102108"/>
                  </a:cubicBezTo>
                  <a:cubicBezTo>
                    <a:pt x="334613" y="117824"/>
                    <a:pt x="327184" y="140779"/>
                    <a:pt x="327184" y="170879"/>
                  </a:cubicBezTo>
                  <a:lnTo>
                    <a:pt x="327184" y="381000"/>
                  </a:lnTo>
                  <a:lnTo>
                    <a:pt x="240983" y="381000"/>
                  </a:lnTo>
                  <a:lnTo>
                    <a:pt x="240983" y="168783"/>
                  </a:lnTo>
                  <a:cubicBezTo>
                    <a:pt x="240983" y="139637"/>
                    <a:pt x="234410" y="117348"/>
                    <a:pt x="221266" y="101822"/>
                  </a:cubicBezTo>
                  <a:cubicBezTo>
                    <a:pt x="208121" y="86296"/>
                    <a:pt x="189643" y="78581"/>
                    <a:pt x="165640" y="78581"/>
                  </a:cubicBezTo>
                  <a:cubicBezTo>
                    <a:pt x="141637" y="78581"/>
                    <a:pt x="122492" y="86773"/>
                    <a:pt x="108014"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10" name="Freeform: Shape 22">
              <a:extLst>
                <a:ext uri="{FF2B5EF4-FFF2-40B4-BE49-F238E27FC236}">
                  <a16:creationId xmlns:a16="http://schemas.microsoft.com/office/drawing/2014/main" id="{092C1873-FA17-097E-131C-B6B2BF566976}"/>
                </a:ext>
              </a:extLst>
            </p:cNvPr>
            <p:cNvSpPr/>
            <p:nvPr/>
          </p:nvSpPr>
          <p:spPr>
            <a:xfrm>
              <a:off x="5587693" y="700007"/>
              <a:ext cx="84211" cy="95752"/>
            </a:xfrm>
            <a:custGeom>
              <a:avLst/>
              <a:gdLst>
                <a:gd name="connsiteX0" fmla="*/ 95 w 334994"/>
                <a:gd name="connsiteY0" fmla="*/ 7715 h 380904"/>
                <a:gd name="connsiteX1" fmla="*/ 86296 w 334994"/>
                <a:gd name="connsiteY1" fmla="*/ 7715 h 380904"/>
                <a:gd name="connsiteX2" fmla="*/ 86296 w 334994"/>
                <a:gd name="connsiteY2" fmla="*/ 66294 h 380904"/>
                <a:gd name="connsiteX3" fmla="*/ 106394 w 334994"/>
                <a:gd name="connsiteY3" fmla="*/ 40958 h 380904"/>
                <a:gd name="connsiteX4" fmla="*/ 131731 w 334994"/>
                <a:gd name="connsiteY4" fmla="*/ 19907 h 380904"/>
                <a:gd name="connsiteX5" fmla="*/ 163449 w 334994"/>
                <a:gd name="connsiteY5" fmla="*/ 5334 h 380904"/>
                <a:gd name="connsiteX6" fmla="*/ 202597 w 334994"/>
                <a:gd name="connsiteY6" fmla="*/ 0 h 380904"/>
                <a:gd name="connsiteX7" fmla="*/ 300514 w 334994"/>
                <a:gd name="connsiteY7" fmla="*/ 38862 h 380904"/>
                <a:gd name="connsiteX8" fmla="*/ 334994 w 334994"/>
                <a:gd name="connsiteY8" fmla="*/ 143446 h 380904"/>
                <a:gd name="connsiteX9" fmla="*/ 334994 w 334994"/>
                <a:gd name="connsiteY9" fmla="*/ 380905 h 380904"/>
                <a:gd name="connsiteX10" fmla="*/ 248793 w 334994"/>
                <a:gd name="connsiteY10" fmla="*/ 380905 h 380904"/>
                <a:gd name="connsiteX11" fmla="*/ 248793 w 334994"/>
                <a:gd name="connsiteY11" fmla="*/ 169450 h 380904"/>
                <a:gd name="connsiteX12" fmla="*/ 228124 w 334994"/>
                <a:gd name="connsiteY12" fmla="*/ 102108 h 380904"/>
                <a:gd name="connsiteX13" fmla="*/ 169640 w 334994"/>
                <a:gd name="connsiteY13" fmla="*/ 78486 h 380904"/>
                <a:gd name="connsiteX14" fmla="*/ 109347 w 334994"/>
                <a:gd name="connsiteY14" fmla="*/ 102775 h 380904"/>
                <a:gd name="connsiteX15" fmla="*/ 86201 w 334994"/>
                <a:gd name="connsiteY15" fmla="*/ 170783 h 380904"/>
                <a:gd name="connsiteX16" fmla="*/ 86201 w 334994"/>
                <a:gd name="connsiteY16" fmla="*/ 380905 h 380904"/>
                <a:gd name="connsiteX17" fmla="*/ 0 w 334994"/>
                <a:gd name="connsiteY17" fmla="*/ 380905 h 380904"/>
                <a:gd name="connsiteX18" fmla="*/ 0 w 334994"/>
                <a:gd name="connsiteY18" fmla="*/ 7810 h 38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94" h="380904">
                  <a:moveTo>
                    <a:pt x="95" y="7715"/>
                  </a:moveTo>
                  <a:lnTo>
                    <a:pt x="86296" y="7715"/>
                  </a:lnTo>
                  <a:lnTo>
                    <a:pt x="86296" y="66294"/>
                  </a:lnTo>
                  <a:cubicBezTo>
                    <a:pt x="92392" y="57245"/>
                    <a:pt x="99060" y="48863"/>
                    <a:pt x="106394" y="40958"/>
                  </a:cubicBezTo>
                  <a:cubicBezTo>
                    <a:pt x="113633" y="33147"/>
                    <a:pt x="122110" y="26099"/>
                    <a:pt x="131731" y="19907"/>
                  </a:cubicBezTo>
                  <a:cubicBezTo>
                    <a:pt x="141351" y="13716"/>
                    <a:pt x="151924" y="8858"/>
                    <a:pt x="163449" y="5334"/>
                  </a:cubicBezTo>
                  <a:cubicBezTo>
                    <a:pt x="174974" y="1714"/>
                    <a:pt x="188024" y="0"/>
                    <a:pt x="202597" y="0"/>
                  </a:cubicBezTo>
                  <a:cubicBezTo>
                    <a:pt x="244888" y="0"/>
                    <a:pt x="277559" y="12954"/>
                    <a:pt x="300514" y="38862"/>
                  </a:cubicBezTo>
                  <a:cubicBezTo>
                    <a:pt x="323564" y="64770"/>
                    <a:pt x="334994" y="99631"/>
                    <a:pt x="334994" y="143446"/>
                  </a:cubicBezTo>
                  <a:lnTo>
                    <a:pt x="334994" y="380905"/>
                  </a:lnTo>
                  <a:lnTo>
                    <a:pt x="248793" y="380905"/>
                  </a:lnTo>
                  <a:lnTo>
                    <a:pt x="248793" y="169450"/>
                  </a:lnTo>
                  <a:cubicBezTo>
                    <a:pt x="248793" y="140303"/>
                    <a:pt x="241935" y="117824"/>
                    <a:pt x="228124" y="102108"/>
                  </a:cubicBezTo>
                  <a:cubicBezTo>
                    <a:pt x="214313" y="86392"/>
                    <a:pt x="194881" y="78486"/>
                    <a:pt x="169640" y="78486"/>
                  </a:cubicBezTo>
                  <a:cubicBezTo>
                    <a:pt x="144399" y="78486"/>
                    <a:pt x="124777" y="86582"/>
                    <a:pt x="109347" y="102775"/>
                  </a:cubicBezTo>
                  <a:cubicBezTo>
                    <a:pt x="93917" y="118967"/>
                    <a:pt x="86201" y="141637"/>
                    <a:pt x="86201" y="170783"/>
                  </a:cubicBezTo>
                  <a:lnTo>
                    <a:pt x="86201" y="380905"/>
                  </a:lnTo>
                  <a:lnTo>
                    <a:pt x="0" y="380905"/>
                  </a:lnTo>
                  <a:lnTo>
                    <a:pt x="0" y="7810"/>
                  </a:lnTo>
                  <a:close/>
                </a:path>
              </a:pathLst>
            </a:custGeom>
            <a:solidFill>
              <a:srgbClr val="44505E"/>
            </a:solidFill>
            <a:ln w="9525" cap="flat">
              <a:noFill/>
              <a:prstDash val="solid"/>
              <a:miter/>
            </a:ln>
          </p:spPr>
          <p:txBody>
            <a:bodyPr rtlCol="0" anchor="ctr"/>
            <a:lstStyle/>
            <a:p>
              <a:endParaRPr lang="pt-BR" noProof="0"/>
            </a:p>
          </p:txBody>
        </p:sp>
        <p:sp>
          <p:nvSpPr>
            <p:cNvPr id="11" name="Freeform: Shape 23">
              <a:extLst>
                <a:ext uri="{FF2B5EF4-FFF2-40B4-BE49-F238E27FC236}">
                  <a16:creationId xmlns:a16="http://schemas.microsoft.com/office/drawing/2014/main" id="{786EFF6C-CD83-57E6-EAD1-1E6C2ABD404B}"/>
                </a:ext>
              </a:extLst>
            </p:cNvPr>
            <p:cNvSpPr/>
            <p:nvPr/>
          </p:nvSpPr>
          <p:spPr>
            <a:xfrm>
              <a:off x="5692712" y="699959"/>
              <a:ext cx="100015" cy="97908"/>
            </a:xfrm>
            <a:custGeom>
              <a:avLst/>
              <a:gdLst>
                <a:gd name="connsiteX0" fmla="*/ 197834 w 397859"/>
                <a:gd name="connsiteY0" fmla="*/ 389477 h 389477"/>
                <a:gd name="connsiteX1" fmla="*/ 119063 w 397859"/>
                <a:gd name="connsiteY1" fmla="*/ 374237 h 389477"/>
                <a:gd name="connsiteX2" fmla="*/ 56197 w 397859"/>
                <a:gd name="connsiteY2" fmla="*/ 332899 h 389477"/>
                <a:gd name="connsiteX3" fmla="*/ 14859 w 397859"/>
                <a:gd name="connsiteY3" fmla="*/ 271463 h 389477"/>
                <a:gd name="connsiteX4" fmla="*/ 0 w 397859"/>
                <a:gd name="connsiteY4" fmla="*/ 196501 h 389477"/>
                <a:gd name="connsiteX5" fmla="*/ 0 w 397859"/>
                <a:gd name="connsiteY5" fmla="*/ 195072 h 389477"/>
                <a:gd name="connsiteX6" fmla="*/ 15145 w 397859"/>
                <a:gd name="connsiteY6" fmla="*/ 119444 h 389477"/>
                <a:gd name="connsiteX7" fmla="*/ 56864 w 397859"/>
                <a:gd name="connsiteY7" fmla="*/ 57626 h 389477"/>
                <a:gd name="connsiteX8" fmla="*/ 119729 w 397859"/>
                <a:gd name="connsiteY8" fmla="*/ 15526 h 389477"/>
                <a:gd name="connsiteX9" fmla="*/ 199263 w 397859"/>
                <a:gd name="connsiteY9" fmla="*/ 0 h 389477"/>
                <a:gd name="connsiteX10" fmla="*/ 278797 w 397859"/>
                <a:gd name="connsiteY10" fmla="*/ 15240 h 389477"/>
                <a:gd name="connsiteX11" fmla="*/ 341662 w 397859"/>
                <a:gd name="connsiteY11" fmla="*/ 56959 h 389477"/>
                <a:gd name="connsiteX12" fmla="*/ 383000 w 397859"/>
                <a:gd name="connsiteY12" fmla="*/ 118396 h 389477"/>
                <a:gd name="connsiteX13" fmla="*/ 397859 w 397859"/>
                <a:gd name="connsiteY13" fmla="*/ 193643 h 389477"/>
                <a:gd name="connsiteX14" fmla="*/ 397859 w 397859"/>
                <a:gd name="connsiteY14" fmla="*/ 195072 h 389477"/>
                <a:gd name="connsiteX15" fmla="*/ 382619 w 397859"/>
                <a:gd name="connsiteY15" fmla="*/ 270034 h 389477"/>
                <a:gd name="connsiteX16" fmla="*/ 340900 w 397859"/>
                <a:gd name="connsiteY16" fmla="*/ 331851 h 389477"/>
                <a:gd name="connsiteX17" fmla="*/ 277654 w 397859"/>
                <a:gd name="connsiteY17" fmla="*/ 373856 h 389477"/>
                <a:gd name="connsiteX18" fmla="*/ 197834 w 397859"/>
                <a:gd name="connsiteY18" fmla="*/ 389382 h 389477"/>
                <a:gd name="connsiteX19" fmla="*/ 199263 w 397859"/>
                <a:gd name="connsiteY19" fmla="*/ 315278 h 389477"/>
                <a:gd name="connsiteX20" fmla="*/ 245935 w 397859"/>
                <a:gd name="connsiteY20" fmla="*/ 305753 h 389477"/>
                <a:gd name="connsiteX21" fmla="*/ 281368 w 397859"/>
                <a:gd name="connsiteY21" fmla="*/ 279940 h 389477"/>
                <a:gd name="connsiteX22" fmla="*/ 303847 w 397859"/>
                <a:gd name="connsiteY22" fmla="*/ 242125 h 389477"/>
                <a:gd name="connsiteX23" fmla="*/ 311563 w 397859"/>
                <a:gd name="connsiteY23" fmla="*/ 196501 h 389477"/>
                <a:gd name="connsiteX24" fmla="*/ 311563 w 397859"/>
                <a:gd name="connsiteY24" fmla="*/ 195072 h 389477"/>
                <a:gd name="connsiteX25" fmla="*/ 303181 w 397859"/>
                <a:gd name="connsiteY25" fmla="*/ 148400 h 389477"/>
                <a:gd name="connsiteX26" fmla="*/ 279654 w 397859"/>
                <a:gd name="connsiteY26" fmla="*/ 110204 h 389477"/>
                <a:gd name="connsiteX27" fmla="*/ 243840 w 397859"/>
                <a:gd name="connsiteY27" fmla="*/ 84392 h 389477"/>
                <a:gd name="connsiteX28" fmla="*/ 197834 w 397859"/>
                <a:gd name="connsiteY28" fmla="*/ 74867 h 389477"/>
                <a:gd name="connsiteX29" fmla="*/ 151829 w 397859"/>
                <a:gd name="connsiteY29" fmla="*/ 84392 h 389477"/>
                <a:gd name="connsiteX30" fmla="*/ 116396 w 397859"/>
                <a:gd name="connsiteY30" fmla="*/ 109823 h 389477"/>
                <a:gd name="connsiteX31" fmla="*/ 93917 w 397859"/>
                <a:gd name="connsiteY31" fmla="*/ 147638 h 389477"/>
                <a:gd name="connsiteX32" fmla="*/ 86201 w 397859"/>
                <a:gd name="connsiteY32" fmla="*/ 193548 h 389477"/>
                <a:gd name="connsiteX33" fmla="*/ 86201 w 397859"/>
                <a:gd name="connsiteY33" fmla="*/ 194977 h 389477"/>
                <a:gd name="connsiteX34" fmla="*/ 94583 w 397859"/>
                <a:gd name="connsiteY34" fmla="*/ 241268 h 389477"/>
                <a:gd name="connsiteX35" fmla="*/ 118110 w 397859"/>
                <a:gd name="connsiteY35" fmla="*/ 279463 h 389477"/>
                <a:gd name="connsiteX36" fmla="*/ 153924 w 397859"/>
                <a:gd name="connsiteY36" fmla="*/ 305562 h 389477"/>
                <a:gd name="connsiteX37" fmla="*/ 199263 w 397859"/>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859" h="389477">
                  <a:moveTo>
                    <a:pt x="197834" y="389477"/>
                  </a:moveTo>
                  <a:cubicBezTo>
                    <a:pt x="169545" y="389477"/>
                    <a:pt x="143351" y="384429"/>
                    <a:pt x="119063" y="374237"/>
                  </a:cubicBezTo>
                  <a:cubicBezTo>
                    <a:pt x="94774" y="364141"/>
                    <a:pt x="73819" y="350330"/>
                    <a:pt x="56197" y="332899"/>
                  </a:cubicBezTo>
                  <a:cubicBezTo>
                    <a:pt x="38481" y="315468"/>
                    <a:pt x="24765" y="294989"/>
                    <a:pt x="14859" y="271463"/>
                  </a:cubicBezTo>
                  <a:cubicBezTo>
                    <a:pt x="4953" y="247936"/>
                    <a:pt x="0" y="222980"/>
                    <a:pt x="0" y="196501"/>
                  </a:cubicBezTo>
                  <a:lnTo>
                    <a:pt x="0" y="195072"/>
                  </a:lnTo>
                  <a:cubicBezTo>
                    <a:pt x="0" y="168212"/>
                    <a:pt x="5048" y="143066"/>
                    <a:pt x="15145" y="119444"/>
                  </a:cubicBezTo>
                  <a:cubicBezTo>
                    <a:pt x="25241" y="95917"/>
                    <a:pt x="39148" y="75248"/>
                    <a:pt x="56864" y="57626"/>
                  </a:cubicBezTo>
                  <a:cubicBezTo>
                    <a:pt x="74581" y="39910"/>
                    <a:pt x="95536" y="25908"/>
                    <a:pt x="119729" y="15526"/>
                  </a:cubicBezTo>
                  <a:cubicBezTo>
                    <a:pt x="144018" y="5144"/>
                    <a:pt x="170497" y="0"/>
                    <a:pt x="199263" y="0"/>
                  </a:cubicBezTo>
                  <a:cubicBezTo>
                    <a:pt x="228029" y="0"/>
                    <a:pt x="254508" y="5048"/>
                    <a:pt x="278797" y="15240"/>
                  </a:cubicBezTo>
                  <a:cubicBezTo>
                    <a:pt x="303085" y="25337"/>
                    <a:pt x="324041" y="39243"/>
                    <a:pt x="341662" y="56959"/>
                  </a:cubicBezTo>
                  <a:cubicBezTo>
                    <a:pt x="359378" y="74676"/>
                    <a:pt x="373094" y="95155"/>
                    <a:pt x="383000" y="118396"/>
                  </a:cubicBezTo>
                  <a:cubicBezTo>
                    <a:pt x="392906" y="141732"/>
                    <a:pt x="397859" y="166783"/>
                    <a:pt x="397859" y="193643"/>
                  </a:cubicBezTo>
                  <a:lnTo>
                    <a:pt x="397859" y="195072"/>
                  </a:lnTo>
                  <a:cubicBezTo>
                    <a:pt x="397859" y="221456"/>
                    <a:pt x="392811" y="246412"/>
                    <a:pt x="382619" y="270034"/>
                  </a:cubicBezTo>
                  <a:cubicBezTo>
                    <a:pt x="372523" y="293561"/>
                    <a:pt x="358616" y="314230"/>
                    <a:pt x="340900" y="331851"/>
                  </a:cubicBezTo>
                  <a:cubicBezTo>
                    <a:pt x="323183" y="349472"/>
                    <a:pt x="302133" y="363569"/>
                    <a:pt x="277654" y="373856"/>
                  </a:cubicBezTo>
                  <a:cubicBezTo>
                    <a:pt x="253175" y="384238"/>
                    <a:pt x="226504" y="389382"/>
                    <a:pt x="197834" y="389382"/>
                  </a:cubicBezTo>
                  <a:close/>
                  <a:moveTo>
                    <a:pt x="199263" y="315278"/>
                  </a:moveTo>
                  <a:cubicBezTo>
                    <a:pt x="216598" y="315278"/>
                    <a:pt x="232124" y="312039"/>
                    <a:pt x="245935" y="305753"/>
                  </a:cubicBezTo>
                  <a:cubicBezTo>
                    <a:pt x="259747" y="299371"/>
                    <a:pt x="271558" y="290798"/>
                    <a:pt x="281368" y="279940"/>
                  </a:cubicBezTo>
                  <a:cubicBezTo>
                    <a:pt x="291179" y="269081"/>
                    <a:pt x="298704" y="256508"/>
                    <a:pt x="303847" y="242125"/>
                  </a:cubicBezTo>
                  <a:cubicBezTo>
                    <a:pt x="308991" y="227743"/>
                    <a:pt x="311563" y="212598"/>
                    <a:pt x="311563" y="196501"/>
                  </a:cubicBezTo>
                  <a:lnTo>
                    <a:pt x="311563" y="195072"/>
                  </a:lnTo>
                  <a:cubicBezTo>
                    <a:pt x="311563" y="178594"/>
                    <a:pt x="308800" y="163068"/>
                    <a:pt x="303181" y="148400"/>
                  </a:cubicBezTo>
                  <a:cubicBezTo>
                    <a:pt x="297561" y="133826"/>
                    <a:pt x="289750" y="121063"/>
                    <a:pt x="279654" y="110204"/>
                  </a:cubicBezTo>
                  <a:cubicBezTo>
                    <a:pt x="269558" y="99346"/>
                    <a:pt x="257651" y="90773"/>
                    <a:pt x="243840" y="84392"/>
                  </a:cubicBezTo>
                  <a:cubicBezTo>
                    <a:pt x="230029" y="78010"/>
                    <a:pt x="214693" y="74867"/>
                    <a:pt x="197834" y="74867"/>
                  </a:cubicBezTo>
                  <a:cubicBezTo>
                    <a:pt x="180975" y="74867"/>
                    <a:pt x="165640" y="78010"/>
                    <a:pt x="151829" y="84392"/>
                  </a:cubicBezTo>
                  <a:cubicBezTo>
                    <a:pt x="138017" y="90773"/>
                    <a:pt x="126206" y="99250"/>
                    <a:pt x="116396" y="109823"/>
                  </a:cubicBezTo>
                  <a:cubicBezTo>
                    <a:pt x="106585" y="120396"/>
                    <a:pt x="99060" y="133064"/>
                    <a:pt x="93917" y="147638"/>
                  </a:cubicBezTo>
                  <a:cubicBezTo>
                    <a:pt x="88773" y="162211"/>
                    <a:pt x="86201" y="177546"/>
                    <a:pt x="86201" y="193548"/>
                  </a:cubicBezTo>
                  <a:lnTo>
                    <a:pt x="86201" y="194977"/>
                  </a:lnTo>
                  <a:cubicBezTo>
                    <a:pt x="86201" y="211455"/>
                    <a:pt x="88963" y="226886"/>
                    <a:pt x="94583" y="241268"/>
                  </a:cubicBezTo>
                  <a:cubicBezTo>
                    <a:pt x="100203" y="255651"/>
                    <a:pt x="108013" y="268319"/>
                    <a:pt x="118110" y="279463"/>
                  </a:cubicBezTo>
                  <a:cubicBezTo>
                    <a:pt x="128206" y="290513"/>
                    <a:pt x="140113" y="299275"/>
                    <a:pt x="153924" y="305562"/>
                  </a:cubicBezTo>
                  <a:cubicBezTo>
                    <a:pt x="167735" y="311944"/>
                    <a:pt x="182880"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12" name="Freeform: Shape 24">
              <a:extLst>
                <a:ext uri="{FF2B5EF4-FFF2-40B4-BE49-F238E27FC236}">
                  <a16:creationId xmlns:a16="http://schemas.microsoft.com/office/drawing/2014/main" id="{8927887C-12EA-48E9-F669-30A545E1D248}"/>
                </a:ext>
              </a:extLst>
            </p:cNvPr>
            <p:cNvSpPr/>
            <p:nvPr/>
          </p:nvSpPr>
          <p:spPr>
            <a:xfrm>
              <a:off x="5806925"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2 w 296894"/>
                <a:gd name="connsiteY36" fmla="*/ 224980 h 386714"/>
                <a:gd name="connsiteX37" fmla="*/ 296894 w 296894"/>
                <a:gd name="connsiteY37" fmla="*/ 267938 h 386714"/>
                <a:gd name="connsiteX38" fmla="*/ 296894 w 296894"/>
                <a:gd name="connsiteY38" fmla="*/ 269367 h 386714"/>
                <a:gd name="connsiteX39" fmla="*/ 286322 w 296894"/>
                <a:gd name="connsiteY39" fmla="*/ 320897 h 386714"/>
                <a:gd name="connsiteX40" fmla="*/ 256984 w 296894"/>
                <a:gd name="connsiteY40" fmla="*/ 357188 h 386714"/>
                <a:gd name="connsiteX41" fmla="*/ 212789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8" y="298704"/>
                    <a:pt x="100013" y="306514"/>
                  </a:cubicBezTo>
                  <a:cubicBezTo>
                    <a:pt x="120967" y="314325"/>
                    <a:pt x="141161" y="318135"/>
                    <a:pt x="160401" y="318135"/>
                  </a:cubicBezTo>
                  <a:cubicBezTo>
                    <a:pt x="179642" y="318135"/>
                    <a:pt x="192976"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2" y="241078"/>
                    <a:pt x="176498" y="237553"/>
                    <a:pt x="166402" y="234220"/>
                  </a:cubicBezTo>
                  <a:cubicBezTo>
                    <a:pt x="156305" y="230886"/>
                    <a:pt x="145733" y="227647"/>
                    <a:pt x="134969" y="224314"/>
                  </a:cubicBezTo>
                  <a:cubicBezTo>
                    <a:pt x="121253" y="220599"/>
                    <a:pt x="107537" y="216122"/>
                    <a:pt x="93631" y="210884"/>
                  </a:cubicBezTo>
                  <a:cubicBezTo>
                    <a:pt x="79724" y="205740"/>
                    <a:pt x="67246" y="198977"/>
                    <a:pt x="56197" y="190786"/>
                  </a:cubicBezTo>
                  <a:cubicBezTo>
                    <a:pt x="45149" y="182594"/>
                    <a:pt x="36100" y="172307"/>
                    <a:pt x="28956" y="160115"/>
                  </a:cubicBezTo>
                  <a:cubicBezTo>
                    <a:pt x="21908"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5"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7" y="156210"/>
                    <a:pt x="180975" y="159448"/>
                  </a:cubicBezTo>
                  <a:cubicBezTo>
                    <a:pt x="194596" y="163639"/>
                    <a:pt x="208312" y="168592"/>
                    <a:pt x="222028" y="174212"/>
                  </a:cubicBezTo>
                  <a:cubicBezTo>
                    <a:pt x="235649" y="179832"/>
                    <a:pt x="248031" y="186785"/>
                    <a:pt x="259080" y="194977"/>
                  </a:cubicBezTo>
                  <a:cubicBezTo>
                    <a:pt x="270129" y="203168"/>
                    <a:pt x="279273" y="213169"/>
                    <a:pt x="286322" y="224980"/>
                  </a:cubicBezTo>
                  <a:cubicBezTo>
                    <a:pt x="293370" y="236696"/>
                    <a:pt x="296894" y="251079"/>
                    <a:pt x="296894" y="267938"/>
                  </a:cubicBezTo>
                  <a:lnTo>
                    <a:pt x="296894" y="269367"/>
                  </a:lnTo>
                  <a:cubicBezTo>
                    <a:pt x="296894" y="289084"/>
                    <a:pt x="293370" y="306229"/>
                    <a:pt x="286322" y="320897"/>
                  </a:cubicBezTo>
                  <a:cubicBezTo>
                    <a:pt x="279273" y="335470"/>
                    <a:pt x="269462" y="347567"/>
                    <a:pt x="256984" y="357188"/>
                  </a:cubicBezTo>
                  <a:cubicBezTo>
                    <a:pt x="244507" y="366808"/>
                    <a:pt x="229743" y="374142"/>
                    <a:pt x="212789"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13" name="Freeform: Shape 25">
              <a:extLst>
                <a:ext uri="{FF2B5EF4-FFF2-40B4-BE49-F238E27FC236}">
                  <a16:creationId xmlns:a16="http://schemas.microsoft.com/office/drawing/2014/main" id="{C6868085-BC0C-F871-178E-856B218E9769}"/>
                </a:ext>
              </a:extLst>
            </p:cNvPr>
            <p:cNvSpPr/>
            <p:nvPr/>
          </p:nvSpPr>
          <p:spPr>
            <a:xfrm>
              <a:off x="589573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6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160" y="318135"/>
                    <a:pt x="160401" y="318135"/>
                  </a:cubicBezTo>
                  <a:cubicBezTo>
                    <a:pt x="179641" y="318135"/>
                    <a:pt x="192976"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4"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792"/>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14" name="Freeform: Shape 26">
              <a:extLst>
                <a:ext uri="{FF2B5EF4-FFF2-40B4-BE49-F238E27FC236}">
                  <a16:creationId xmlns:a16="http://schemas.microsoft.com/office/drawing/2014/main" id="{C7A03EED-0F34-66C9-4385-0F859CB0E326}"/>
                </a:ext>
              </a:extLst>
            </p:cNvPr>
            <p:cNvSpPr/>
            <p:nvPr/>
          </p:nvSpPr>
          <p:spPr>
            <a:xfrm>
              <a:off x="5985812" y="700558"/>
              <a:ext cx="85097" cy="97141"/>
            </a:xfrm>
            <a:custGeom>
              <a:avLst/>
              <a:gdLst>
                <a:gd name="connsiteX0" fmla="*/ 253651 w 338518"/>
                <a:gd name="connsiteY0" fmla="*/ 378619 h 386429"/>
                <a:gd name="connsiteX1" fmla="*/ 253651 w 338518"/>
                <a:gd name="connsiteY1" fmla="*/ 332708 h 386429"/>
                <a:gd name="connsiteX2" fmla="*/ 204883 w 338518"/>
                <a:gd name="connsiteY2" fmla="*/ 370904 h 386429"/>
                <a:gd name="connsiteX3" fmla="*/ 132779 w 338518"/>
                <a:gd name="connsiteY3" fmla="*/ 386429 h 386429"/>
                <a:gd name="connsiteX4" fmla="*/ 81915 w 338518"/>
                <a:gd name="connsiteY4" fmla="*/ 379000 h 386429"/>
                <a:gd name="connsiteX5" fmla="*/ 39910 w 338518"/>
                <a:gd name="connsiteY5" fmla="*/ 357092 h 386429"/>
                <a:gd name="connsiteX6" fmla="*/ 10954 w 338518"/>
                <a:gd name="connsiteY6" fmla="*/ 321088 h 386429"/>
                <a:gd name="connsiteX7" fmla="*/ 0 w 338518"/>
                <a:gd name="connsiteY7" fmla="*/ 271272 h 386429"/>
                <a:gd name="connsiteX8" fmla="*/ 0 w 338518"/>
                <a:gd name="connsiteY8" fmla="*/ 269843 h 386429"/>
                <a:gd name="connsiteX9" fmla="*/ 11335 w 338518"/>
                <a:gd name="connsiteY9" fmla="*/ 215741 h 386429"/>
                <a:gd name="connsiteX10" fmla="*/ 42767 w 338518"/>
                <a:gd name="connsiteY10" fmla="*/ 177546 h 386429"/>
                <a:gd name="connsiteX11" fmla="*/ 90773 w 338518"/>
                <a:gd name="connsiteY11" fmla="*/ 154972 h 386429"/>
                <a:gd name="connsiteX12" fmla="*/ 151162 w 338518"/>
                <a:gd name="connsiteY12" fmla="*/ 147542 h 386429"/>
                <a:gd name="connsiteX13" fmla="*/ 208788 w 338518"/>
                <a:gd name="connsiteY13" fmla="*/ 151829 h 386429"/>
                <a:gd name="connsiteX14" fmla="*/ 254413 w 338518"/>
                <a:gd name="connsiteY14" fmla="*/ 163163 h 386429"/>
                <a:gd name="connsiteX15" fmla="*/ 254413 w 338518"/>
                <a:gd name="connsiteY15" fmla="*/ 156115 h 386429"/>
                <a:gd name="connsiteX16" fmla="*/ 230696 w 338518"/>
                <a:gd name="connsiteY16" fmla="*/ 96774 h 386429"/>
                <a:gd name="connsiteX17" fmla="*/ 162496 w 338518"/>
                <a:gd name="connsiteY17" fmla="*/ 76295 h 386429"/>
                <a:gd name="connsiteX18" fmla="*/ 106013 w 338518"/>
                <a:gd name="connsiteY18" fmla="*/ 82677 h 386429"/>
                <a:gd name="connsiteX19" fmla="*/ 55816 w 338518"/>
                <a:gd name="connsiteY19" fmla="*/ 99632 h 386429"/>
                <a:gd name="connsiteX20" fmla="*/ 32480 w 338518"/>
                <a:gd name="connsiteY20" fmla="*/ 31052 h 386429"/>
                <a:gd name="connsiteX21" fmla="*/ 96107 w 338518"/>
                <a:gd name="connsiteY21" fmla="*/ 8477 h 386429"/>
                <a:gd name="connsiteX22" fmla="*/ 174593 w 338518"/>
                <a:gd name="connsiteY22" fmla="*/ 0 h 386429"/>
                <a:gd name="connsiteX23" fmla="*/ 298228 w 338518"/>
                <a:gd name="connsiteY23" fmla="*/ 41338 h 386429"/>
                <a:gd name="connsiteX24" fmla="*/ 338519 w 338518"/>
                <a:gd name="connsiteY24" fmla="*/ 157544 h 386429"/>
                <a:gd name="connsiteX25" fmla="*/ 338519 w 338518"/>
                <a:gd name="connsiteY25" fmla="*/ 378714 h 386429"/>
                <a:gd name="connsiteX26" fmla="*/ 253746 w 338518"/>
                <a:gd name="connsiteY26" fmla="*/ 378714 h 386429"/>
                <a:gd name="connsiteX27" fmla="*/ 255746 w 338518"/>
                <a:gd name="connsiteY27" fmla="*/ 222409 h 386429"/>
                <a:gd name="connsiteX28" fmla="*/ 217265 w 338518"/>
                <a:gd name="connsiteY28" fmla="*/ 211836 h 386429"/>
                <a:gd name="connsiteX29" fmla="*/ 170307 w 338518"/>
                <a:gd name="connsiteY29" fmla="*/ 207550 h 386429"/>
                <a:gd name="connsiteX30" fmla="*/ 107442 w 338518"/>
                <a:gd name="connsiteY30" fmla="*/ 223075 h 386429"/>
                <a:gd name="connsiteX31" fmla="*/ 84868 w 338518"/>
                <a:gd name="connsiteY31" fmla="*/ 265462 h 386429"/>
                <a:gd name="connsiteX32" fmla="*/ 84868 w 338518"/>
                <a:gd name="connsiteY32" fmla="*/ 266891 h 386429"/>
                <a:gd name="connsiteX33" fmla="*/ 105728 w 338518"/>
                <a:gd name="connsiteY33" fmla="*/ 307848 h 386429"/>
                <a:gd name="connsiteX34" fmla="*/ 156972 w 338518"/>
                <a:gd name="connsiteY34" fmla="*/ 321945 h 386429"/>
                <a:gd name="connsiteX35" fmla="*/ 196215 w 338518"/>
                <a:gd name="connsiteY35" fmla="*/ 316325 h 386429"/>
                <a:gd name="connsiteX36" fmla="*/ 227647 w 338518"/>
                <a:gd name="connsiteY36" fmla="*/ 300419 h 386429"/>
                <a:gd name="connsiteX37" fmla="*/ 248507 w 338518"/>
                <a:gd name="connsiteY37" fmla="*/ 275654 h 386429"/>
                <a:gd name="connsiteX38" fmla="*/ 255937 w 338518"/>
                <a:gd name="connsiteY38" fmla="*/ 243459 h 386429"/>
                <a:gd name="connsiteX39" fmla="*/ 255937 w 338518"/>
                <a:gd name="connsiteY39" fmla="*/ 222218 h 3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8518" h="386429">
                  <a:moveTo>
                    <a:pt x="253651" y="378619"/>
                  </a:moveTo>
                  <a:lnTo>
                    <a:pt x="253651" y="332708"/>
                  </a:lnTo>
                  <a:cubicBezTo>
                    <a:pt x="240887" y="347758"/>
                    <a:pt x="224695" y="360521"/>
                    <a:pt x="204883" y="370904"/>
                  </a:cubicBezTo>
                  <a:cubicBezTo>
                    <a:pt x="185071" y="381286"/>
                    <a:pt x="161068" y="386429"/>
                    <a:pt x="132779" y="386429"/>
                  </a:cubicBezTo>
                  <a:cubicBezTo>
                    <a:pt x="114871" y="386429"/>
                    <a:pt x="97917" y="383953"/>
                    <a:pt x="81915" y="379000"/>
                  </a:cubicBezTo>
                  <a:cubicBezTo>
                    <a:pt x="65913" y="374047"/>
                    <a:pt x="51911" y="366713"/>
                    <a:pt x="39910" y="357092"/>
                  </a:cubicBezTo>
                  <a:cubicBezTo>
                    <a:pt x="27908" y="347472"/>
                    <a:pt x="18193" y="335471"/>
                    <a:pt x="10954" y="321088"/>
                  </a:cubicBezTo>
                  <a:cubicBezTo>
                    <a:pt x="3620" y="306705"/>
                    <a:pt x="0" y="290132"/>
                    <a:pt x="0" y="271272"/>
                  </a:cubicBezTo>
                  <a:lnTo>
                    <a:pt x="0" y="269843"/>
                  </a:lnTo>
                  <a:cubicBezTo>
                    <a:pt x="0" y="249079"/>
                    <a:pt x="3810" y="231077"/>
                    <a:pt x="11335" y="215741"/>
                  </a:cubicBezTo>
                  <a:cubicBezTo>
                    <a:pt x="18859" y="200406"/>
                    <a:pt x="29337" y="187738"/>
                    <a:pt x="42767" y="177546"/>
                  </a:cubicBezTo>
                  <a:cubicBezTo>
                    <a:pt x="56197" y="167450"/>
                    <a:pt x="72199" y="159925"/>
                    <a:pt x="90773" y="154972"/>
                  </a:cubicBezTo>
                  <a:cubicBezTo>
                    <a:pt x="109347" y="150019"/>
                    <a:pt x="129540" y="147542"/>
                    <a:pt x="151162" y="147542"/>
                  </a:cubicBezTo>
                  <a:cubicBezTo>
                    <a:pt x="172783" y="147542"/>
                    <a:pt x="192976" y="148971"/>
                    <a:pt x="208788" y="151829"/>
                  </a:cubicBezTo>
                  <a:cubicBezTo>
                    <a:pt x="224599" y="154686"/>
                    <a:pt x="239744" y="158401"/>
                    <a:pt x="254413" y="163163"/>
                  </a:cubicBezTo>
                  <a:lnTo>
                    <a:pt x="254413" y="156115"/>
                  </a:lnTo>
                  <a:cubicBezTo>
                    <a:pt x="254413" y="130207"/>
                    <a:pt x="246507" y="110395"/>
                    <a:pt x="230696" y="96774"/>
                  </a:cubicBezTo>
                  <a:cubicBezTo>
                    <a:pt x="214884" y="83153"/>
                    <a:pt x="192214" y="76295"/>
                    <a:pt x="162496" y="76295"/>
                  </a:cubicBezTo>
                  <a:cubicBezTo>
                    <a:pt x="141351" y="76295"/>
                    <a:pt x="122491" y="78391"/>
                    <a:pt x="106013" y="82677"/>
                  </a:cubicBezTo>
                  <a:cubicBezTo>
                    <a:pt x="89535" y="86963"/>
                    <a:pt x="72771" y="92583"/>
                    <a:pt x="55816" y="99632"/>
                  </a:cubicBezTo>
                  <a:lnTo>
                    <a:pt x="32480" y="31052"/>
                  </a:lnTo>
                  <a:cubicBezTo>
                    <a:pt x="53149" y="21622"/>
                    <a:pt x="74390" y="14097"/>
                    <a:pt x="96107" y="8477"/>
                  </a:cubicBezTo>
                  <a:cubicBezTo>
                    <a:pt x="117729" y="2858"/>
                    <a:pt x="143923" y="0"/>
                    <a:pt x="174593" y="0"/>
                  </a:cubicBezTo>
                  <a:cubicBezTo>
                    <a:pt x="230124" y="0"/>
                    <a:pt x="271367" y="13811"/>
                    <a:pt x="298228" y="41338"/>
                  </a:cubicBezTo>
                  <a:cubicBezTo>
                    <a:pt x="325088" y="68866"/>
                    <a:pt x="338519" y="107633"/>
                    <a:pt x="338519" y="157544"/>
                  </a:cubicBezTo>
                  <a:lnTo>
                    <a:pt x="338519" y="378714"/>
                  </a:lnTo>
                  <a:lnTo>
                    <a:pt x="253746" y="378714"/>
                  </a:lnTo>
                  <a:close/>
                  <a:moveTo>
                    <a:pt x="255746" y="222409"/>
                  </a:moveTo>
                  <a:cubicBezTo>
                    <a:pt x="244888" y="218123"/>
                    <a:pt x="232029" y="214598"/>
                    <a:pt x="217265" y="211836"/>
                  </a:cubicBezTo>
                  <a:cubicBezTo>
                    <a:pt x="202406" y="208979"/>
                    <a:pt x="186785" y="207550"/>
                    <a:pt x="170307" y="207550"/>
                  </a:cubicBezTo>
                  <a:cubicBezTo>
                    <a:pt x="143446" y="207550"/>
                    <a:pt x="122491" y="212693"/>
                    <a:pt x="107442" y="223075"/>
                  </a:cubicBezTo>
                  <a:cubicBezTo>
                    <a:pt x="92392" y="233458"/>
                    <a:pt x="84868" y="247555"/>
                    <a:pt x="84868" y="265462"/>
                  </a:cubicBezTo>
                  <a:lnTo>
                    <a:pt x="84868" y="266891"/>
                  </a:lnTo>
                  <a:cubicBezTo>
                    <a:pt x="84868" y="284798"/>
                    <a:pt x="91821" y="298418"/>
                    <a:pt x="105728" y="307848"/>
                  </a:cubicBezTo>
                  <a:cubicBezTo>
                    <a:pt x="119634" y="317278"/>
                    <a:pt x="136684" y="321945"/>
                    <a:pt x="156972" y="321945"/>
                  </a:cubicBezTo>
                  <a:cubicBezTo>
                    <a:pt x="171069" y="321945"/>
                    <a:pt x="184213" y="320040"/>
                    <a:pt x="196215" y="316325"/>
                  </a:cubicBezTo>
                  <a:cubicBezTo>
                    <a:pt x="208216" y="312515"/>
                    <a:pt x="218694" y="307277"/>
                    <a:pt x="227647" y="300419"/>
                  </a:cubicBezTo>
                  <a:cubicBezTo>
                    <a:pt x="236601" y="293561"/>
                    <a:pt x="243554" y="285369"/>
                    <a:pt x="248507" y="275654"/>
                  </a:cubicBezTo>
                  <a:cubicBezTo>
                    <a:pt x="253460" y="266033"/>
                    <a:pt x="255937" y="255270"/>
                    <a:pt x="255937" y="243459"/>
                  </a:cubicBezTo>
                  <a:lnTo>
                    <a:pt x="255937" y="222218"/>
                  </a:lnTo>
                  <a:close/>
                </a:path>
              </a:pathLst>
            </a:custGeom>
            <a:solidFill>
              <a:srgbClr val="44505E"/>
            </a:solidFill>
            <a:ln w="9525" cap="flat">
              <a:noFill/>
              <a:prstDash val="solid"/>
              <a:miter/>
            </a:ln>
          </p:spPr>
          <p:txBody>
            <a:bodyPr rtlCol="0" anchor="ctr"/>
            <a:lstStyle/>
            <a:p>
              <a:endParaRPr lang="pt-BR" noProof="0"/>
            </a:p>
          </p:txBody>
        </p:sp>
        <p:sp>
          <p:nvSpPr>
            <p:cNvPr id="15" name="Freeform: Shape 27">
              <a:extLst>
                <a:ext uri="{FF2B5EF4-FFF2-40B4-BE49-F238E27FC236}">
                  <a16:creationId xmlns:a16="http://schemas.microsoft.com/office/drawing/2014/main" id="{1DAF7BCF-AE7E-6174-4DE9-3172E2D1F159}"/>
                </a:ext>
              </a:extLst>
            </p:cNvPr>
            <p:cNvSpPr/>
            <p:nvPr/>
          </p:nvSpPr>
          <p:spPr>
            <a:xfrm>
              <a:off x="6088843" y="700318"/>
              <a:ext cx="74610" cy="97213"/>
            </a:xfrm>
            <a:custGeom>
              <a:avLst/>
              <a:gdLst>
                <a:gd name="connsiteX0" fmla="*/ 158305 w 296799"/>
                <a:gd name="connsiteY0" fmla="*/ 386715 h 386714"/>
                <a:gd name="connsiteX1" fmla="*/ 76676 w 296799"/>
                <a:gd name="connsiteY1" fmla="*/ 372427 h 386714"/>
                <a:gd name="connsiteX2" fmla="*/ 0 w 296799"/>
                <a:gd name="connsiteY2" fmla="*/ 330327 h 386714"/>
                <a:gd name="connsiteX3" fmla="*/ 38195 w 296799"/>
                <a:gd name="connsiteY3" fmla="*/ 272224 h 386714"/>
                <a:gd name="connsiteX4" fmla="*/ 100013 w 296799"/>
                <a:gd name="connsiteY4" fmla="*/ 306514 h 386714"/>
                <a:gd name="connsiteX5" fmla="*/ 160401 w 296799"/>
                <a:gd name="connsiteY5" fmla="*/ 318135 h 386714"/>
                <a:gd name="connsiteX6" fmla="*/ 203168 w 296799"/>
                <a:gd name="connsiteY6" fmla="*/ 307181 h 386714"/>
                <a:gd name="connsiteX7" fmla="*/ 218408 w 296799"/>
                <a:gd name="connsiteY7" fmla="*/ 277939 h 386714"/>
                <a:gd name="connsiteX8" fmla="*/ 218408 w 296799"/>
                <a:gd name="connsiteY8" fmla="*/ 276511 h 386714"/>
                <a:gd name="connsiteX9" fmla="*/ 211646 w 296799"/>
                <a:gd name="connsiteY9" fmla="*/ 258223 h 386714"/>
                <a:gd name="connsiteX10" fmla="*/ 193262 w 296799"/>
                <a:gd name="connsiteY10" fmla="*/ 244792 h 386714"/>
                <a:gd name="connsiteX11" fmla="*/ 166402 w 296799"/>
                <a:gd name="connsiteY11" fmla="*/ 234220 h 386714"/>
                <a:gd name="connsiteX12" fmla="*/ 134969 w 296799"/>
                <a:gd name="connsiteY12" fmla="*/ 224314 h 386714"/>
                <a:gd name="connsiteX13" fmla="*/ 93631 w 296799"/>
                <a:gd name="connsiteY13" fmla="*/ 210884 h 386714"/>
                <a:gd name="connsiteX14" fmla="*/ 56197 w 296799"/>
                <a:gd name="connsiteY14" fmla="*/ 190786 h 386714"/>
                <a:gd name="connsiteX15" fmla="*/ 28956 w 296799"/>
                <a:gd name="connsiteY15" fmla="*/ 160115 h 386714"/>
                <a:gd name="connsiteX16" fmla="*/ 18383 w 296799"/>
                <a:gd name="connsiteY16" fmla="*/ 114967 h 386714"/>
                <a:gd name="connsiteX17" fmla="*/ 18383 w 296799"/>
                <a:gd name="connsiteY17" fmla="*/ 113538 h 386714"/>
                <a:gd name="connsiteX18" fmla="*/ 28575 w 296799"/>
                <a:gd name="connsiteY18" fmla="*/ 66294 h 386714"/>
                <a:gd name="connsiteX19" fmla="*/ 56864 w 296799"/>
                <a:gd name="connsiteY19" fmla="*/ 30385 h 386714"/>
                <a:gd name="connsiteX20" fmla="*/ 99250 w 296799"/>
                <a:gd name="connsiteY20" fmla="*/ 7810 h 386714"/>
                <a:gd name="connsiteX21" fmla="*/ 151162 w 296799"/>
                <a:gd name="connsiteY21" fmla="*/ 0 h 386714"/>
                <a:gd name="connsiteX22" fmla="*/ 222504 w 296799"/>
                <a:gd name="connsiteY22" fmla="*/ 11430 h 386714"/>
                <a:gd name="connsiteX23" fmla="*/ 288227 w 296799"/>
                <a:gd name="connsiteY23" fmla="*/ 42863 h 386714"/>
                <a:gd name="connsiteX24" fmla="*/ 254317 w 296799"/>
                <a:gd name="connsiteY24" fmla="*/ 103918 h 386714"/>
                <a:gd name="connsiteX25" fmla="*/ 199930 w 296799"/>
                <a:gd name="connsiteY25" fmla="*/ 78105 h 386714"/>
                <a:gd name="connsiteX26" fmla="*/ 149066 w 296799"/>
                <a:gd name="connsiteY26" fmla="*/ 68580 h 386714"/>
                <a:gd name="connsiteX27" fmla="*/ 110585 w 296799"/>
                <a:gd name="connsiteY27" fmla="*/ 79153 h 386714"/>
                <a:gd name="connsiteX28" fmla="*/ 96774 w 296799"/>
                <a:gd name="connsiteY28" fmla="*/ 105918 h 386714"/>
                <a:gd name="connsiteX29" fmla="*/ 96774 w 296799"/>
                <a:gd name="connsiteY29" fmla="*/ 107347 h 386714"/>
                <a:gd name="connsiteX30" fmla="*/ 103822 w 296799"/>
                <a:gd name="connsiteY30" fmla="*/ 124587 h 386714"/>
                <a:gd name="connsiteX31" fmla="*/ 122587 w 296799"/>
                <a:gd name="connsiteY31" fmla="*/ 138017 h 386714"/>
                <a:gd name="connsiteX32" fmla="*/ 149447 w 296799"/>
                <a:gd name="connsiteY32" fmla="*/ 149257 h 386714"/>
                <a:gd name="connsiteX33" fmla="*/ 180880 w 296799"/>
                <a:gd name="connsiteY33" fmla="*/ 159448 h 386714"/>
                <a:gd name="connsiteX34" fmla="*/ 221837 w 296799"/>
                <a:gd name="connsiteY34" fmla="*/ 174212 h 386714"/>
                <a:gd name="connsiteX35" fmla="*/ 258985 w 296799"/>
                <a:gd name="connsiteY35" fmla="*/ 194977 h 386714"/>
                <a:gd name="connsiteX36" fmla="*/ 286226 w 296799"/>
                <a:gd name="connsiteY36" fmla="*/ 224980 h 386714"/>
                <a:gd name="connsiteX37" fmla="*/ 296799 w 296799"/>
                <a:gd name="connsiteY37" fmla="*/ 267938 h 386714"/>
                <a:gd name="connsiteX38" fmla="*/ 296799 w 296799"/>
                <a:gd name="connsiteY38" fmla="*/ 269367 h 386714"/>
                <a:gd name="connsiteX39" fmla="*/ 286226 w 296799"/>
                <a:gd name="connsiteY39" fmla="*/ 320897 h 386714"/>
                <a:gd name="connsiteX40" fmla="*/ 256889 w 296799"/>
                <a:gd name="connsiteY40" fmla="*/ 357188 h 386714"/>
                <a:gd name="connsiteX41" fmla="*/ 212693 w 296799"/>
                <a:gd name="connsiteY41" fmla="*/ 379095 h 386714"/>
                <a:gd name="connsiteX42" fmla="*/ 158305 w 296799"/>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799"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065" y="318135"/>
                    <a:pt x="160401" y="318135"/>
                  </a:cubicBezTo>
                  <a:cubicBezTo>
                    <a:pt x="179737" y="318135"/>
                    <a:pt x="193072"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828" y="227647"/>
                    <a:pt x="134969" y="224314"/>
                  </a:cubicBezTo>
                  <a:cubicBezTo>
                    <a:pt x="121348" y="220599"/>
                    <a:pt x="107537" y="216122"/>
                    <a:pt x="93631" y="210884"/>
                  </a:cubicBezTo>
                  <a:cubicBezTo>
                    <a:pt x="79724" y="205740"/>
                    <a:pt x="67246" y="198977"/>
                    <a:pt x="56197" y="190786"/>
                  </a:cubicBezTo>
                  <a:cubicBezTo>
                    <a:pt x="45148" y="182594"/>
                    <a:pt x="36004"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874" y="0"/>
                    <a:pt x="151162" y="0"/>
                  </a:cubicBezTo>
                  <a:cubicBezTo>
                    <a:pt x="174688" y="0"/>
                    <a:pt x="198501" y="3810"/>
                    <a:pt x="222504" y="11430"/>
                  </a:cubicBezTo>
                  <a:cubicBezTo>
                    <a:pt x="246507" y="19050"/>
                    <a:pt x="268414" y="29527"/>
                    <a:pt x="288227" y="42863"/>
                  </a:cubicBezTo>
                  <a:lnTo>
                    <a:pt x="254317"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774" y="95155"/>
                    <a:pt x="96774" y="105918"/>
                  </a:cubicBezTo>
                  <a:lnTo>
                    <a:pt x="96774" y="107347"/>
                  </a:lnTo>
                  <a:cubicBezTo>
                    <a:pt x="96774" y="113919"/>
                    <a:pt x="99155" y="119634"/>
                    <a:pt x="103822" y="124587"/>
                  </a:cubicBezTo>
                  <a:cubicBezTo>
                    <a:pt x="108490" y="129540"/>
                    <a:pt x="114776" y="134017"/>
                    <a:pt x="122587" y="138017"/>
                  </a:cubicBezTo>
                  <a:cubicBezTo>
                    <a:pt x="130397" y="142018"/>
                    <a:pt x="139351" y="145732"/>
                    <a:pt x="149447" y="149257"/>
                  </a:cubicBezTo>
                  <a:cubicBezTo>
                    <a:pt x="159544" y="152781"/>
                    <a:pt x="170021" y="156210"/>
                    <a:pt x="180880" y="159448"/>
                  </a:cubicBezTo>
                  <a:cubicBezTo>
                    <a:pt x="194500" y="163639"/>
                    <a:pt x="208216" y="168592"/>
                    <a:pt x="221837" y="174212"/>
                  </a:cubicBezTo>
                  <a:cubicBezTo>
                    <a:pt x="235458" y="179832"/>
                    <a:pt x="247840" y="186785"/>
                    <a:pt x="258985" y="194977"/>
                  </a:cubicBezTo>
                  <a:cubicBezTo>
                    <a:pt x="270034" y="203168"/>
                    <a:pt x="279178" y="213169"/>
                    <a:pt x="286226" y="224980"/>
                  </a:cubicBezTo>
                  <a:cubicBezTo>
                    <a:pt x="293275" y="236696"/>
                    <a:pt x="296799" y="251079"/>
                    <a:pt x="296799" y="267938"/>
                  </a:cubicBezTo>
                  <a:lnTo>
                    <a:pt x="296799" y="269367"/>
                  </a:lnTo>
                  <a:cubicBezTo>
                    <a:pt x="296799" y="289084"/>
                    <a:pt x="293275" y="306229"/>
                    <a:pt x="286226" y="320897"/>
                  </a:cubicBezTo>
                  <a:cubicBezTo>
                    <a:pt x="279178" y="335470"/>
                    <a:pt x="269367" y="347567"/>
                    <a:pt x="256889" y="357188"/>
                  </a:cubicBezTo>
                  <a:cubicBezTo>
                    <a:pt x="244412" y="366808"/>
                    <a:pt x="229648" y="374142"/>
                    <a:pt x="212693" y="379095"/>
                  </a:cubicBezTo>
                  <a:cubicBezTo>
                    <a:pt x="195739" y="384048"/>
                    <a:pt x="177641" y="386524"/>
                    <a:pt x="158305" y="386524"/>
                  </a:cubicBezTo>
                  <a:close/>
                </a:path>
              </a:pathLst>
            </a:custGeom>
            <a:solidFill>
              <a:srgbClr val="44505E"/>
            </a:solidFill>
            <a:ln w="9525" cap="flat">
              <a:noFill/>
              <a:prstDash val="solid"/>
              <a:miter/>
            </a:ln>
          </p:spPr>
          <p:txBody>
            <a:bodyPr rtlCol="0" anchor="ctr"/>
            <a:lstStyle/>
            <a:p>
              <a:endParaRPr lang="pt-BR" noProof="0"/>
            </a:p>
          </p:txBody>
        </p:sp>
        <p:sp>
          <p:nvSpPr>
            <p:cNvPr id="16" name="Freeform: Shape 28">
              <a:extLst>
                <a:ext uri="{FF2B5EF4-FFF2-40B4-BE49-F238E27FC236}">
                  <a16:creationId xmlns:a16="http://schemas.microsoft.com/office/drawing/2014/main" id="{9F29666A-3CF4-8070-B572-99A45AE30255}"/>
                </a:ext>
              </a:extLst>
            </p:cNvPr>
            <p:cNvSpPr/>
            <p:nvPr/>
          </p:nvSpPr>
          <p:spPr>
            <a:xfrm>
              <a:off x="6238590"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4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7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2 w 568166"/>
                <a:gd name="connsiteY21" fmla="*/ 381000 h 381000"/>
                <a:gd name="connsiteX22" fmla="*/ 240982 w 568166"/>
                <a:gd name="connsiteY22" fmla="*/ 168783 h 381000"/>
                <a:gd name="connsiteX23" fmla="*/ 221266 w 568166"/>
                <a:gd name="connsiteY23" fmla="*/ 101822 h 381000"/>
                <a:gd name="connsiteX24" fmla="*/ 165640 w 568166"/>
                <a:gd name="connsiteY24" fmla="*/ 78581 h 381000"/>
                <a:gd name="connsiteX25" fmla="*/ 108013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69" y="48196"/>
                    <a:pt x="105918" y="40576"/>
                  </a:cubicBezTo>
                  <a:cubicBezTo>
                    <a:pt x="112966" y="32956"/>
                    <a:pt x="121063" y="26099"/>
                    <a:pt x="130207" y="19907"/>
                  </a:cubicBezTo>
                  <a:cubicBezTo>
                    <a:pt x="139351" y="13716"/>
                    <a:pt x="149638" y="8858"/>
                    <a:pt x="161163" y="5334"/>
                  </a:cubicBezTo>
                  <a:cubicBezTo>
                    <a:pt x="172688" y="1714"/>
                    <a:pt x="185452" y="0"/>
                    <a:pt x="199549" y="0"/>
                  </a:cubicBezTo>
                  <a:cubicBezTo>
                    <a:pt x="226314" y="0"/>
                    <a:pt x="248983" y="6096"/>
                    <a:pt x="267557" y="18193"/>
                  </a:cubicBezTo>
                  <a:cubicBezTo>
                    <a:pt x="286131" y="30289"/>
                    <a:pt x="300323" y="46387"/>
                    <a:pt x="310134" y="66294"/>
                  </a:cubicBezTo>
                  <a:cubicBezTo>
                    <a:pt x="325279" y="46387"/>
                    <a:pt x="343090" y="30289"/>
                    <a:pt x="363664" y="18193"/>
                  </a:cubicBezTo>
                  <a:cubicBezTo>
                    <a:pt x="384238" y="6096"/>
                    <a:pt x="408718" y="0"/>
                    <a:pt x="437007" y="0"/>
                  </a:cubicBezTo>
                  <a:cubicBezTo>
                    <a:pt x="478155"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7" y="78486"/>
                  </a:cubicBezTo>
                  <a:cubicBezTo>
                    <a:pt x="382809" y="78486"/>
                    <a:pt x="364141" y="86392"/>
                    <a:pt x="349377" y="102108"/>
                  </a:cubicBezTo>
                  <a:cubicBezTo>
                    <a:pt x="334613" y="117824"/>
                    <a:pt x="327184" y="140779"/>
                    <a:pt x="327184" y="170879"/>
                  </a:cubicBezTo>
                  <a:lnTo>
                    <a:pt x="327184" y="381000"/>
                  </a:lnTo>
                  <a:lnTo>
                    <a:pt x="240982" y="381000"/>
                  </a:lnTo>
                  <a:lnTo>
                    <a:pt x="240982" y="168783"/>
                  </a:lnTo>
                  <a:cubicBezTo>
                    <a:pt x="240982" y="139637"/>
                    <a:pt x="234410" y="117348"/>
                    <a:pt x="221266" y="101822"/>
                  </a:cubicBezTo>
                  <a:cubicBezTo>
                    <a:pt x="208121" y="86296"/>
                    <a:pt x="189547" y="78581"/>
                    <a:pt x="165640" y="78581"/>
                  </a:cubicBezTo>
                  <a:cubicBezTo>
                    <a:pt x="141732" y="78581"/>
                    <a:pt x="122491" y="86773"/>
                    <a:pt x="108013"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17" name="Freeform: Shape 29">
              <a:extLst>
                <a:ext uri="{FF2B5EF4-FFF2-40B4-BE49-F238E27FC236}">
                  <a16:creationId xmlns:a16="http://schemas.microsoft.com/office/drawing/2014/main" id="{4CD31321-868B-C5B2-71D1-2F3935AEC88E}"/>
                </a:ext>
              </a:extLst>
            </p:cNvPr>
            <p:cNvSpPr/>
            <p:nvPr/>
          </p:nvSpPr>
          <p:spPr>
            <a:xfrm>
              <a:off x="6400979" y="664258"/>
              <a:ext cx="85097" cy="133441"/>
            </a:xfrm>
            <a:custGeom>
              <a:avLst/>
              <a:gdLst>
                <a:gd name="connsiteX0" fmla="*/ 253651 w 338518"/>
                <a:gd name="connsiteY0" fmla="*/ 523018 h 530828"/>
                <a:gd name="connsiteX1" fmla="*/ 253651 w 338518"/>
                <a:gd name="connsiteY1" fmla="*/ 477107 h 530828"/>
                <a:gd name="connsiteX2" fmla="*/ 204883 w 338518"/>
                <a:gd name="connsiteY2" fmla="*/ 515303 h 530828"/>
                <a:gd name="connsiteX3" fmla="*/ 132779 w 338518"/>
                <a:gd name="connsiteY3" fmla="*/ 530828 h 530828"/>
                <a:gd name="connsiteX4" fmla="*/ 81915 w 338518"/>
                <a:gd name="connsiteY4" fmla="*/ 523399 h 530828"/>
                <a:gd name="connsiteX5" fmla="*/ 39910 w 338518"/>
                <a:gd name="connsiteY5" fmla="*/ 501491 h 530828"/>
                <a:gd name="connsiteX6" fmla="*/ 10954 w 338518"/>
                <a:gd name="connsiteY6" fmla="*/ 465487 h 530828"/>
                <a:gd name="connsiteX7" fmla="*/ 0 w 338518"/>
                <a:gd name="connsiteY7" fmla="*/ 415671 h 530828"/>
                <a:gd name="connsiteX8" fmla="*/ 0 w 338518"/>
                <a:gd name="connsiteY8" fmla="*/ 414242 h 530828"/>
                <a:gd name="connsiteX9" fmla="*/ 11335 w 338518"/>
                <a:gd name="connsiteY9" fmla="*/ 360140 h 530828"/>
                <a:gd name="connsiteX10" fmla="*/ 42767 w 338518"/>
                <a:gd name="connsiteY10" fmla="*/ 321945 h 530828"/>
                <a:gd name="connsiteX11" fmla="*/ 90773 w 338518"/>
                <a:gd name="connsiteY11" fmla="*/ 299371 h 530828"/>
                <a:gd name="connsiteX12" fmla="*/ 151162 w 338518"/>
                <a:gd name="connsiteY12" fmla="*/ 291941 h 530828"/>
                <a:gd name="connsiteX13" fmla="*/ 208788 w 338518"/>
                <a:gd name="connsiteY13" fmla="*/ 296228 h 530828"/>
                <a:gd name="connsiteX14" fmla="*/ 254413 w 338518"/>
                <a:gd name="connsiteY14" fmla="*/ 307562 h 530828"/>
                <a:gd name="connsiteX15" fmla="*/ 254413 w 338518"/>
                <a:gd name="connsiteY15" fmla="*/ 300514 h 530828"/>
                <a:gd name="connsiteX16" fmla="*/ 230696 w 338518"/>
                <a:gd name="connsiteY16" fmla="*/ 241173 h 530828"/>
                <a:gd name="connsiteX17" fmla="*/ 162496 w 338518"/>
                <a:gd name="connsiteY17" fmla="*/ 220694 h 530828"/>
                <a:gd name="connsiteX18" fmla="*/ 106013 w 338518"/>
                <a:gd name="connsiteY18" fmla="*/ 227076 h 530828"/>
                <a:gd name="connsiteX19" fmla="*/ 55817 w 338518"/>
                <a:gd name="connsiteY19" fmla="*/ 244031 h 530828"/>
                <a:gd name="connsiteX20" fmla="*/ 32480 w 338518"/>
                <a:gd name="connsiteY20" fmla="*/ 175451 h 530828"/>
                <a:gd name="connsiteX21" fmla="*/ 96107 w 338518"/>
                <a:gd name="connsiteY21" fmla="*/ 152876 h 530828"/>
                <a:gd name="connsiteX22" fmla="*/ 174593 w 338518"/>
                <a:gd name="connsiteY22" fmla="*/ 144399 h 530828"/>
                <a:gd name="connsiteX23" fmla="*/ 298228 w 338518"/>
                <a:gd name="connsiteY23" fmla="*/ 185738 h 530828"/>
                <a:gd name="connsiteX24" fmla="*/ 338519 w 338518"/>
                <a:gd name="connsiteY24" fmla="*/ 301943 h 530828"/>
                <a:gd name="connsiteX25" fmla="*/ 338519 w 338518"/>
                <a:gd name="connsiteY25" fmla="*/ 523113 h 530828"/>
                <a:gd name="connsiteX26" fmla="*/ 253746 w 338518"/>
                <a:gd name="connsiteY26" fmla="*/ 523113 h 530828"/>
                <a:gd name="connsiteX27" fmla="*/ 45911 w 338518"/>
                <a:gd name="connsiteY27" fmla="*/ 95441 h 530828"/>
                <a:gd name="connsiteX28" fmla="*/ 75248 w 338518"/>
                <a:gd name="connsiteY28" fmla="*/ 29718 h 530828"/>
                <a:gd name="connsiteX29" fmla="*/ 125063 w 338518"/>
                <a:gd name="connsiteY29" fmla="*/ 7144 h 530828"/>
                <a:gd name="connsiteX30" fmla="*/ 154019 w 338518"/>
                <a:gd name="connsiteY30" fmla="*/ 11716 h 530828"/>
                <a:gd name="connsiteX31" fmla="*/ 181261 w 338518"/>
                <a:gd name="connsiteY31" fmla="*/ 21622 h 530828"/>
                <a:gd name="connsiteX32" fmla="*/ 205645 w 338518"/>
                <a:gd name="connsiteY32" fmla="*/ 31147 h 530828"/>
                <a:gd name="connsiteX33" fmla="*/ 226790 w 338518"/>
                <a:gd name="connsiteY33" fmla="*/ 35338 h 530828"/>
                <a:gd name="connsiteX34" fmla="*/ 250127 w 338518"/>
                <a:gd name="connsiteY34" fmla="*/ 26861 h 530828"/>
                <a:gd name="connsiteX35" fmla="*/ 265652 w 338518"/>
                <a:gd name="connsiteY35" fmla="*/ 0 h 530828"/>
                <a:gd name="connsiteX36" fmla="*/ 312991 w 338518"/>
                <a:gd name="connsiteY36" fmla="*/ 14859 h 530828"/>
                <a:gd name="connsiteX37" fmla="*/ 283655 w 338518"/>
                <a:gd name="connsiteY37" fmla="*/ 79820 h 530828"/>
                <a:gd name="connsiteX38" fmla="*/ 233839 w 338518"/>
                <a:gd name="connsiteY38" fmla="*/ 102394 h 530828"/>
                <a:gd name="connsiteX39" fmla="*/ 204883 w 338518"/>
                <a:gd name="connsiteY39" fmla="*/ 98203 h 530828"/>
                <a:gd name="connsiteX40" fmla="*/ 177641 w 338518"/>
                <a:gd name="connsiteY40" fmla="*/ 88678 h 530828"/>
                <a:gd name="connsiteX41" fmla="*/ 152876 w 338518"/>
                <a:gd name="connsiteY41" fmla="*/ 78772 h 530828"/>
                <a:gd name="connsiteX42" fmla="*/ 132017 w 338518"/>
                <a:gd name="connsiteY42" fmla="*/ 74200 h 530828"/>
                <a:gd name="connsiteX43" fmla="*/ 108680 w 338518"/>
                <a:gd name="connsiteY43" fmla="*/ 82677 h 530828"/>
                <a:gd name="connsiteX44" fmla="*/ 93154 w 338518"/>
                <a:gd name="connsiteY44" fmla="*/ 109538 h 530828"/>
                <a:gd name="connsiteX45" fmla="*/ 45815 w 338518"/>
                <a:gd name="connsiteY45" fmla="*/ 95441 h 530828"/>
                <a:gd name="connsiteX46" fmla="*/ 255842 w 338518"/>
                <a:gd name="connsiteY46" fmla="*/ 366808 h 530828"/>
                <a:gd name="connsiteX47" fmla="*/ 217361 w 338518"/>
                <a:gd name="connsiteY47" fmla="*/ 356235 h 530828"/>
                <a:gd name="connsiteX48" fmla="*/ 170402 w 338518"/>
                <a:gd name="connsiteY48" fmla="*/ 351949 h 530828"/>
                <a:gd name="connsiteX49" fmla="*/ 107537 w 338518"/>
                <a:gd name="connsiteY49" fmla="*/ 367475 h 530828"/>
                <a:gd name="connsiteX50" fmla="*/ 84963 w 338518"/>
                <a:gd name="connsiteY50" fmla="*/ 409861 h 530828"/>
                <a:gd name="connsiteX51" fmla="*/ 84963 w 338518"/>
                <a:gd name="connsiteY51" fmla="*/ 411290 h 530828"/>
                <a:gd name="connsiteX52" fmla="*/ 105823 w 338518"/>
                <a:gd name="connsiteY52" fmla="*/ 452247 h 530828"/>
                <a:gd name="connsiteX53" fmla="*/ 157067 w 338518"/>
                <a:gd name="connsiteY53" fmla="*/ 466344 h 530828"/>
                <a:gd name="connsiteX54" fmla="*/ 196310 w 338518"/>
                <a:gd name="connsiteY54" fmla="*/ 460724 h 530828"/>
                <a:gd name="connsiteX55" fmla="*/ 227743 w 338518"/>
                <a:gd name="connsiteY55" fmla="*/ 444818 h 530828"/>
                <a:gd name="connsiteX56" fmla="*/ 248603 w 338518"/>
                <a:gd name="connsiteY56" fmla="*/ 420053 h 530828"/>
                <a:gd name="connsiteX57" fmla="*/ 256032 w 338518"/>
                <a:gd name="connsiteY57" fmla="*/ 387858 h 530828"/>
                <a:gd name="connsiteX58" fmla="*/ 256032 w 338518"/>
                <a:gd name="connsiteY58" fmla="*/ 366617 h 5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8518" h="530828">
                  <a:moveTo>
                    <a:pt x="253651" y="523018"/>
                  </a:moveTo>
                  <a:lnTo>
                    <a:pt x="253651" y="477107"/>
                  </a:lnTo>
                  <a:cubicBezTo>
                    <a:pt x="240887" y="492157"/>
                    <a:pt x="224695" y="504920"/>
                    <a:pt x="204883" y="515303"/>
                  </a:cubicBezTo>
                  <a:cubicBezTo>
                    <a:pt x="185071" y="525685"/>
                    <a:pt x="161068" y="530828"/>
                    <a:pt x="132779" y="530828"/>
                  </a:cubicBezTo>
                  <a:cubicBezTo>
                    <a:pt x="114871" y="530828"/>
                    <a:pt x="97917" y="528352"/>
                    <a:pt x="81915" y="523399"/>
                  </a:cubicBezTo>
                  <a:cubicBezTo>
                    <a:pt x="65913" y="518446"/>
                    <a:pt x="51911" y="511112"/>
                    <a:pt x="39910" y="501491"/>
                  </a:cubicBezTo>
                  <a:cubicBezTo>
                    <a:pt x="27908" y="491871"/>
                    <a:pt x="18193" y="479870"/>
                    <a:pt x="10954" y="465487"/>
                  </a:cubicBezTo>
                  <a:cubicBezTo>
                    <a:pt x="3620" y="451104"/>
                    <a:pt x="0" y="434531"/>
                    <a:pt x="0" y="415671"/>
                  </a:cubicBezTo>
                  <a:lnTo>
                    <a:pt x="0" y="414242"/>
                  </a:lnTo>
                  <a:cubicBezTo>
                    <a:pt x="0" y="393478"/>
                    <a:pt x="3810" y="375476"/>
                    <a:pt x="11335" y="360140"/>
                  </a:cubicBezTo>
                  <a:cubicBezTo>
                    <a:pt x="18860" y="344805"/>
                    <a:pt x="29337" y="332137"/>
                    <a:pt x="42767" y="321945"/>
                  </a:cubicBezTo>
                  <a:cubicBezTo>
                    <a:pt x="56198" y="311849"/>
                    <a:pt x="72200" y="304324"/>
                    <a:pt x="90773" y="299371"/>
                  </a:cubicBezTo>
                  <a:cubicBezTo>
                    <a:pt x="109347" y="294418"/>
                    <a:pt x="129540" y="291941"/>
                    <a:pt x="151162" y="291941"/>
                  </a:cubicBezTo>
                  <a:cubicBezTo>
                    <a:pt x="172784" y="291941"/>
                    <a:pt x="192977" y="293370"/>
                    <a:pt x="208788" y="296228"/>
                  </a:cubicBezTo>
                  <a:cubicBezTo>
                    <a:pt x="224600" y="299085"/>
                    <a:pt x="239744" y="302800"/>
                    <a:pt x="254413" y="307562"/>
                  </a:cubicBezTo>
                  <a:lnTo>
                    <a:pt x="254413" y="300514"/>
                  </a:lnTo>
                  <a:cubicBezTo>
                    <a:pt x="254413" y="274606"/>
                    <a:pt x="246507" y="254794"/>
                    <a:pt x="230696" y="241173"/>
                  </a:cubicBezTo>
                  <a:cubicBezTo>
                    <a:pt x="214884" y="227552"/>
                    <a:pt x="192215" y="220694"/>
                    <a:pt x="162496" y="220694"/>
                  </a:cubicBezTo>
                  <a:cubicBezTo>
                    <a:pt x="141351" y="220694"/>
                    <a:pt x="122492" y="222790"/>
                    <a:pt x="106013" y="227076"/>
                  </a:cubicBezTo>
                  <a:cubicBezTo>
                    <a:pt x="89535" y="231362"/>
                    <a:pt x="72771" y="236982"/>
                    <a:pt x="55817" y="244031"/>
                  </a:cubicBezTo>
                  <a:lnTo>
                    <a:pt x="32480" y="175451"/>
                  </a:lnTo>
                  <a:cubicBezTo>
                    <a:pt x="53150" y="166021"/>
                    <a:pt x="74390" y="158496"/>
                    <a:pt x="96107" y="152876"/>
                  </a:cubicBezTo>
                  <a:cubicBezTo>
                    <a:pt x="117729" y="147257"/>
                    <a:pt x="143923" y="144399"/>
                    <a:pt x="174593" y="144399"/>
                  </a:cubicBezTo>
                  <a:cubicBezTo>
                    <a:pt x="230124" y="144399"/>
                    <a:pt x="271367" y="158210"/>
                    <a:pt x="298228" y="185738"/>
                  </a:cubicBezTo>
                  <a:cubicBezTo>
                    <a:pt x="325088" y="213265"/>
                    <a:pt x="338519" y="252032"/>
                    <a:pt x="338519" y="301943"/>
                  </a:cubicBezTo>
                  <a:lnTo>
                    <a:pt x="338519" y="523113"/>
                  </a:lnTo>
                  <a:lnTo>
                    <a:pt x="253746" y="523113"/>
                  </a:lnTo>
                  <a:close/>
                  <a:moveTo>
                    <a:pt x="45911" y="95441"/>
                  </a:moveTo>
                  <a:cubicBezTo>
                    <a:pt x="53912" y="66675"/>
                    <a:pt x="63722" y="44768"/>
                    <a:pt x="75248" y="29718"/>
                  </a:cubicBezTo>
                  <a:cubicBezTo>
                    <a:pt x="86773" y="14669"/>
                    <a:pt x="103442" y="7144"/>
                    <a:pt x="125063" y="7144"/>
                  </a:cubicBezTo>
                  <a:cubicBezTo>
                    <a:pt x="134969" y="7144"/>
                    <a:pt x="144590" y="8668"/>
                    <a:pt x="154019" y="11716"/>
                  </a:cubicBezTo>
                  <a:cubicBezTo>
                    <a:pt x="163449" y="14764"/>
                    <a:pt x="172498" y="18098"/>
                    <a:pt x="181261" y="21622"/>
                  </a:cubicBezTo>
                  <a:cubicBezTo>
                    <a:pt x="189929" y="25146"/>
                    <a:pt x="198120" y="28385"/>
                    <a:pt x="205645" y="31147"/>
                  </a:cubicBezTo>
                  <a:cubicBezTo>
                    <a:pt x="213170" y="34004"/>
                    <a:pt x="220218" y="35338"/>
                    <a:pt x="226790" y="35338"/>
                  </a:cubicBezTo>
                  <a:cubicBezTo>
                    <a:pt x="237173" y="35338"/>
                    <a:pt x="244888" y="32480"/>
                    <a:pt x="250127" y="26861"/>
                  </a:cubicBezTo>
                  <a:cubicBezTo>
                    <a:pt x="255270" y="21241"/>
                    <a:pt x="260509" y="12287"/>
                    <a:pt x="265652" y="0"/>
                  </a:cubicBezTo>
                  <a:lnTo>
                    <a:pt x="312991" y="14859"/>
                  </a:lnTo>
                  <a:cubicBezTo>
                    <a:pt x="304991" y="43148"/>
                    <a:pt x="295180" y="64770"/>
                    <a:pt x="283655" y="79820"/>
                  </a:cubicBezTo>
                  <a:cubicBezTo>
                    <a:pt x="272129" y="94869"/>
                    <a:pt x="255461" y="102394"/>
                    <a:pt x="233839" y="102394"/>
                  </a:cubicBezTo>
                  <a:cubicBezTo>
                    <a:pt x="223933" y="102394"/>
                    <a:pt x="214313" y="100965"/>
                    <a:pt x="204883" y="98203"/>
                  </a:cubicBezTo>
                  <a:cubicBezTo>
                    <a:pt x="195453" y="95345"/>
                    <a:pt x="186404" y="92202"/>
                    <a:pt x="177641" y="88678"/>
                  </a:cubicBezTo>
                  <a:cubicBezTo>
                    <a:pt x="168878" y="85154"/>
                    <a:pt x="160687" y="81820"/>
                    <a:pt x="152876" y="78772"/>
                  </a:cubicBezTo>
                  <a:cubicBezTo>
                    <a:pt x="145066" y="75724"/>
                    <a:pt x="138113" y="74200"/>
                    <a:pt x="132017" y="74200"/>
                  </a:cubicBezTo>
                  <a:cubicBezTo>
                    <a:pt x="121634" y="74200"/>
                    <a:pt x="113919" y="77057"/>
                    <a:pt x="108680" y="82677"/>
                  </a:cubicBezTo>
                  <a:cubicBezTo>
                    <a:pt x="103537" y="88297"/>
                    <a:pt x="98298" y="97250"/>
                    <a:pt x="93154" y="109538"/>
                  </a:cubicBezTo>
                  <a:lnTo>
                    <a:pt x="45815" y="95441"/>
                  </a:lnTo>
                  <a:close/>
                  <a:moveTo>
                    <a:pt x="255842" y="366808"/>
                  </a:moveTo>
                  <a:cubicBezTo>
                    <a:pt x="244983" y="362522"/>
                    <a:pt x="232124" y="358997"/>
                    <a:pt x="217361" y="356235"/>
                  </a:cubicBezTo>
                  <a:cubicBezTo>
                    <a:pt x="202502" y="353378"/>
                    <a:pt x="186880" y="351949"/>
                    <a:pt x="170402" y="351949"/>
                  </a:cubicBezTo>
                  <a:cubicBezTo>
                    <a:pt x="143542" y="351949"/>
                    <a:pt x="122587" y="357092"/>
                    <a:pt x="107537" y="367475"/>
                  </a:cubicBezTo>
                  <a:cubicBezTo>
                    <a:pt x="92488" y="377857"/>
                    <a:pt x="84963" y="391954"/>
                    <a:pt x="84963" y="409861"/>
                  </a:cubicBezTo>
                  <a:lnTo>
                    <a:pt x="84963" y="411290"/>
                  </a:lnTo>
                  <a:cubicBezTo>
                    <a:pt x="84963" y="429197"/>
                    <a:pt x="91916" y="442817"/>
                    <a:pt x="105823" y="452247"/>
                  </a:cubicBezTo>
                  <a:cubicBezTo>
                    <a:pt x="119729" y="461677"/>
                    <a:pt x="136779" y="466344"/>
                    <a:pt x="157067" y="466344"/>
                  </a:cubicBezTo>
                  <a:cubicBezTo>
                    <a:pt x="171164" y="466344"/>
                    <a:pt x="184309" y="464439"/>
                    <a:pt x="196310" y="460724"/>
                  </a:cubicBezTo>
                  <a:cubicBezTo>
                    <a:pt x="208312" y="456914"/>
                    <a:pt x="218789" y="451676"/>
                    <a:pt x="227743" y="444818"/>
                  </a:cubicBezTo>
                  <a:cubicBezTo>
                    <a:pt x="236696" y="437960"/>
                    <a:pt x="243650" y="429768"/>
                    <a:pt x="248603" y="420053"/>
                  </a:cubicBezTo>
                  <a:cubicBezTo>
                    <a:pt x="253555" y="410432"/>
                    <a:pt x="256032" y="399669"/>
                    <a:pt x="256032" y="387858"/>
                  </a:cubicBezTo>
                  <a:lnTo>
                    <a:pt x="256032" y="366617"/>
                  </a:lnTo>
                  <a:close/>
                </a:path>
              </a:pathLst>
            </a:custGeom>
            <a:solidFill>
              <a:srgbClr val="44505E"/>
            </a:solidFill>
            <a:ln w="9525" cap="flat">
              <a:noFill/>
              <a:prstDash val="solid"/>
              <a:miter/>
            </a:ln>
          </p:spPr>
          <p:txBody>
            <a:bodyPr rtlCol="0" anchor="ctr"/>
            <a:lstStyle/>
            <a:p>
              <a:endParaRPr lang="pt-BR" noProof="0"/>
            </a:p>
          </p:txBody>
        </p:sp>
        <p:sp>
          <p:nvSpPr>
            <p:cNvPr id="18" name="Freeform: Shape 30">
              <a:extLst>
                <a:ext uri="{FF2B5EF4-FFF2-40B4-BE49-F238E27FC236}">
                  <a16:creationId xmlns:a16="http://schemas.microsoft.com/office/drawing/2014/main" id="{0276034C-FF58-79EE-1E56-0B9E74DE8D35}"/>
                </a:ext>
              </a:extLst>
            </p:cNvPr>
            <p:cNvSpPr/>
            <p:nvPr/>
          </p:nvSpPr>
          <p:spPr>
            <a:xfrm>
              <a:off x="6506477" y="699959"/>
              <a:ext cx="100038" cy="97908"/>
            </a:xfrm>
            <a:custGeom>
              <a:avLst/>
              <a:gdLst>
                <a:gd name="connsiteX0" fmla="*/ 197834 w 397954"/>
                <a:gd name="connsiteY0" fmla="*/ 389477 h 389477"/>
                <a:gd name="connsiteX1" fmla="*/ 119063 w 397954"/>
                <a:gd name="connsiteY1" fmla="*/ 374237 h 389477"/>
                <a:gd name="connsiteX2" fmla="*/ 56198 w 397954"/>
                <a:gd name="connsiteY2" fmla="*/ 332899 h 389477"/>
                <a:gd name="connsiteX3" fmla="*/ 14859 w 397954"/>
                <a:gd name="connsiteY3" fmla="*/ 271463 h 389477"/>
                <a:gd name="connsiteX4" fmla="*/ 0 w 397954"/>
                <a:gd name="connsiteY4" fmla="*/ 196501 h 389477"/>
                <a:gd name="connsiteX5" fmla="*/ 0 w 397954"/>
                <a:gd name="connsiteY5" fmla="*/ 195072 h 389477"/>
                <a:gd name="connsiteX6" fmla="*/ 15240 w 397954"/>
                <a:gd name="connsiteY6" fmla="*/ 119444 h 389477"/>
                <a:gd name="connsiteX7" fmla="*/ 56960 w 397954"/>
                <a:gd name="connsiteY7" fmla="*/ 57626 h 389477"/>
                <a:gd name="connsiteX8" fmla="*/ 119825 w 397954"/>
                <a:gd name="connsiteY8" fmla="*/ 15526 h 389477"/>
                <a:gd name="connsiteX9" fmla="*/ 199358 w 397954"/>
                <a:gd name="connsiteY9" fmla="*/ 0 h 389477"/>
                <a:gd name="connsiteX10" fmla="*/ 278892 w 397954"/>
                <a:gd name="connsiteY10" fmla="*/ 15240 h 389477"/>
                <a:gd name="connsiteX11" fmla="*/ 341757 w 397954"/>
                <a:gd name="connsiteY11" fmla="*/ 56959 h 389477"/>
                <a:gd name="connsiteX12" fmla="*/ 383096 w 397954"/>
                <a:gd name="connsiteY12" fmla="*/ 118396 h 389477"/>
                <a:gd name="connsiteX13" fmla="*/ 397955 w 397954"/>
                <a:gd name="connsiteY13" fmla="*/ 193643 h 389477"/>
                <a:gd name="connsiteX14" fmla="*/ 397955 w 397954"/>
                <a:gd name="connsiteY14" fmla="*/ 195072 h 389477"/>
                <a:gd name="connsiteX15" fmla="*/ 382714 w 397954"/>
                <a:gd name="connsiteY15" fmla="*/ 270034 h 389477"/>
                <a:gd name="connsiteX16" fmla="*/ 340995 w 397954"/>
                <a:gd name="connsiteY16" fmla="*/ 331851 h 389477"/>
                <a:gd name="connsiteX17" fmla="*/ 277749 w 397954"/>
                <a:gd name="connsiteY17" fmla="*/ 373856 h 389477"/>
                <a:gd name="connsiteX18" fmla="*/ 197834 w 397954"/>
                <a:gd name="connsiteY18" fmla="*/ 389382 h 389477"/>
                <a:gd name="connsiteX19" fmla="*/ 199263 w 397954"/>
                <a:gd name="connsiteY19" fmla="*/ 315278 h 389477"/>
                <a:gd name="connsiteX20" fmla="*/ 245936 w 397954"/>
                <a:gd name="connsiteY20" fmla="*/ 305753 h 389477"/>
                <a:gd name="connsiteX21" fmla="*/ 281369 w 397954"/>
                <a:gd name="connsiteY21" fmla="*/ 279940 h 389477"/>
                <a:gd name="connsiteX22" fmla="*/ 303848 w 397954"/>
                <a:gd name="connsiteY22" fmla="*/ 242125 h 389477"/>
                <a:gd name="connsiteX23" fmla="*/ 311563 w 397954"/>
                <a:gd name="connsiteY23" fmla="*/ 196501 h 389477"/>
                <a:gd name="connsiteX24" fmla="*/ 311563 w 397954"/>
                <a:gd name="connsiteY24" fmla="*/ 195072 h 389477"/>
                <a:gd name="connsiteX25" fmla="*/ 303181 w 397954"/>
                <a:gd name="connsiteY25" fmla="*/ 148400 h 389477"/>
                <a:gd name="connsiteX26" fmla="*/ 279654 w 397954"/>
                <a:gd name="connsiteY26" fmla="*/ 110204 h 389477"/>
                <a:gd name="connsiteX27" fmla="*/ 243840 w 397954"/>
                <a:gd name="connsiteY27" fmla="*/ 84392 h 389477"/>
                <a:gd name="connsiteX28" fmla="*/ 197834 w 397954"/>
                <a:gd name="connsiteY28" fmla="*/ 74867 h 389477"/>
                <a:gd name="connsiteX29" fmla="*/ 151829 w 397954"/>
                <a:gd name="connsiteY29" fmla="*/ 84392 h 389477"/>
                <a:gd name="connsiteX30" fmla="*/ 116396 w 397954"/>
                <a:gd name="connsiteY30" fmla="*/ 109823 h 389477"/>
                <a:gd name="connsiteX31" fmla="*/ 93916 w 397954"/>
                <a:gd name="connsiteY31" fmla="*/ 147638 h 389477"/>
                <a:gd name="connsiteX32" fmla="*/ 86201 w 397954"/>
                <a:gd name="connsiteY32" fmla="*/ 193548 h 389477"/>
                <a:gd name="connsiteX33" fmla="*/ 86201 w 397954"/>
                <a:gd name="connsiteY33" fmla="*/ 194977 h 389477"/>
                <a:gd name="connsiteX34" fmla="*/ 94583 w 397954"/>
                <a:gd name="connsiteY34" fmla="*/ 241268 h 389477"/>
                <a:gd name="connsiteX35" fmla="*/ 118110 w 397954"/>
                <a:gd name="connsiteY35" fmla="*/ 279463 h 389477"/>
                <a:gd name="connsiteX36" fmla="*/ 153924 w 397954"/>
                <a:gd name="connsiteY36" fmla="*/ 305562 h 389477"/>
                <a:gd name="connsiteX37" fmla="*/ 199263 w 397954"/>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954" h="389477">
                  <a:moveTo>
                    <a:pt x="197834" y="389477"/>
                  </a:moveTo>
                  <a:cubicBezTo>
                    <a:pt x="169545" y="389477"/>
                    <a:pt x="143351" y="384429"/>
                    <a:pt x="119063" y="374237"/>
                  </a:cubicBezTo>
                  <a:cubicBezTo>
                    <a:pt x="94774" y="364141"/>
                    <a:pt x="73819" y="350330"/>
                    <a:pt x="56198" y="332899"/>
                  </a:cubicBezTo>
                  <a:cubicBezTo>
                    <a:pt x="38576" y="315468"/>
                    <a:pt x="24765" y="294989"/>
                    <a:pt x="14859" y="271463"/>
                  </a:cubicBezTo>
                  <a:cubicBezTo>
                    <a:pt x="4953" y="247936"/>
                    <a:pt x="0" y="222980"/>
                    <a:pt x="0" y="196501"/>
                  </a:cubicBezTo>
                  <a:lnTo>
                    <a:pt x="0" y="195072"/>
                  </a:lnTo>
                  <a:cubicBezTo>
                    <a:pt x="0" y="168212"/>
                    <a:pt x="5049" y="143066"/>
                    <a:pt x="15240" y="119444"/>
                  </a:cubicBezTo>
                  <a:cubicBezTo>
                    <a:pt x="25337" y="95917"/>
                    <a:pt x="39243" y="75248"/>
                    <a:pt x="56960" y="57626"/>
                  </a:cubicBezTo>
                  <a:cubicBezTo>
                    <a:pt x="74676" y="39910"/>
                    <a:pt x="95631" y="25908"/>
                    <a:pt x="119825" y="15526"/>
                  </a:cubicBezTo>
                  <a:cubicBezTo>
                    <a:pt x="144113" y="5144"/>
                    <a:pt x="170593" y="0"/>
                    <a:pt x="199358" y="0"/>
                  </a:cubicBezTo>
                  <a:cubicBezTo>
                    <a:pt x="228124" y="0"/>
                    <a:pt x="254604" y="5048"/>
                    <a:pt x="278892" y="15240"/>
                  </a:cubicBezTo>
                  <a:cubicBezTo>
                    <a:pt x="303181" y="25337"/>
                    <a:pt x="324136" y="39243"/>
                    <a:pt x="341757" y="56959"/>
                  </a:cubicBezTo>
                  <a:cubicBezTo>
                    <a:pt x="359379" y="74676"/>
                    <a:pt x="373189" y="95155"/>
                    <a:pt x="383096" y="118396"/>
                  </a:cubicBezTo>
                  <a:cubicBezTo>
                    <a:pt x="393002" y="141732"/>
                    <a:pt x="397955" y="166783"/>
                    <a:pt x="397955" y="193643"/>
                  </a:cubicBezTo>
                  <a:lnTo>
                    <a:pt x="397955" y="195072"/>
                  </a:lnTo>
                  <a:cubicBezTo>
                    <a:pt x="397955" y="221456"/>
                    <a:pt x="392906" y="246412"/>
                    <a:pt x="382714" y="270034"/>
                  </a:cubicBezTo>
                  <a:cubicBezTo>
                    <a:pt x="372618" y="293561"/>
                    <a:pt x="358712" y="314230"/>
                    <a:pt x="340995" y="331851"/>
                  </a:cubicBezTo>
                  <a:cubicBezTo>
                    <a:pt x="323279" y="349472"/>
                    <a:pt x="302229" y="363569"/>
                    <a:pt x="277749" y="373856"/>
                  </a:cubicBezTo>
                  <a:cubicBezTo>
                    <a:pt x="253270" y="384238"/>
                    <a:pt x="226600" y="389382"/>
                    <a:pt x="197834" y="389382"/>
                  </a:cubicBezTo>
                  <a:close/>
                  <a:moveTo>
                    <a:pt x="199263" y="315278"/>
                  </a:moveTo>
                  <a:cubicBezTo>
                    <a:pt x="216598" y="315278"/>
                    <a:pt x="232124" y="312039"/>
                    <a:pt x="245936" y="305753"/>
                  </a:cubicBezTo>
                  <a:cubicBezTo>
                    <a:pt x="259747" y="299371"/>
                    <a:pt x="271558" y="290798"/>
                    <a:pt x="281369" y="279940"/>
                  </a:cubicBezTo>
                  <a:cubicBezTo>
                    <a:pt x="291179" y="269081"/>
                    <a:pt x="298704" y="256508"/>
                    <a:pt x="303848" y="242125"/>
                  </a:cubicBezTo>
                  <a:cubicBezTo>
                    <a:pt x="308991" y="227743"/>
                    <a:pt x="311563" y="212598"/>
                    <a:pt x="311563" y="196501"/>
                  </a:cubicBezTo>
                  <a:lnTo>
                    <a:pt x="311563" y="195072"/>
                  </a:lnTo>
                  <a:cubicBezTo>
                    <a:pt x="311563" y="178594"/>
                    <a:pt x="308706" y="163068"/>
                    <a:pt x="303181" y="148400"/>
                  </a:cubicBezTo>
                  <a:cubicBezTo>
                    <a:pt x="297561" y="133826"/>
                    <a:pt x="289750" y="121063"/>
                    <a:pt x="279654" y="110204"/>
                  </a:cubicBezTo>
                  <a:cubicBezTo>
                    <a:pt x="269557" y="99346"/>
                    <a:pt x="257651" y="90773"/>
                    <a:pt x="243840" y="84392"/>
                  </a:cubicBezTo>
                  <a:cubicBezTo>
                    <a:pt x="230029" y="78010"/>
                    <a:pt x="214694" y="74867"/>
                    <a:pt x="197834" y="74867"/>
                  </a:cubicBezTo>
                  <a:cubicBezTo>
                    <a:pt x="180975" y="74867"/>
                    <a:pt x="165640" y="78010"/>
                    <a:pt x="151829" y="84392"/>
                  </a:cubicBezTo>
                  <a:cubicBezTo>
                    <a:pt x="138017" y="90773"/>
                    <a:pt x="126206" y="99250"/>
                    <a:pt x="116396" y="109823"/>
                  </a:cubicBezTo>
                  <a:cubicBezTo>
                    <a:pt x="106585" y="120396"/>
                    <a:pt x="99060" y="133064"/>
                    <a:pt x="93916" y="147638"/>
                  </a:cubicBezTo>
                  <a:cubicBezTo>
                    <a:pt x="88773" y="162211"/>
                    <a:pt x="86201" y="177546"/>
                    <a:pt x="86201" y="193548"/>
                  </a:cubicBezTo>
                  <a:lnTo>
                    <a:pt x="86201" y="194977"/>
                  </a:lnTo>
                  <a:cubicBezTo>
                    <a:pt x="86201" y="211455"/>
                    <a:pt x="89059" y="226886"/>
                    <a:pt x="94583" y="241268"/>
                  </a:cubicBezTo>
                  <a:cubicBezTo>
                    <a:pt x="100203" y="255651"/>
                    <a:pt x="108014" y="268319"/>
                    <a:pt x="118110" y="279463"/>
                  </a:cubicBezTo>
                  <a:cubicBezTo>
                    <a:pt x="128207" y="290608"/>
                    <a:pt x="140113" y="299275"/>
                    <a:pt x="153924" y="305562"/>
                  </a:cubicBezTo>
                  <a:cubicBezTo>
                    <a:pt x="167735" y="311944"/>
                    <a:pt x="182785"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19" name="Freeform: Shape 31">
              <a:extLst>
                <a:ext uri="{FF2B5EF4-FFF2-40B4-BE49-F238E27FC236}">
                  <a16:creationId xmlns:a16="http://schemas.microsoft.com/office/drawing/2014/main" id="{51E2703C-BCF8-366C-EC06-24B5A56395DE}"/>
                </a:ext>
              </a:extLst>
            </p:cNvPr>
            <p:cNvSpPr/>
            <p:nvPr/>
          </p:nvSpPr>
          <p:spPr>
            <a:xfrm>
              <a:off x="662071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1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7 w 296894"/>
                <a:gd name="connsiteY23" fmla="*/ 42863 h 386714"/>
                <a:gd name="connsiteX24" fmla="*/ 254318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7 w 296894"/>
                <a:gd name="connsiteY30" fmla="*/ 124587 h 386714"/>
                <a:gd name="connsiteX31" fmla="*/ 122682 w 296894"/>
                <a:gd name="connsiteY31" fmla="*/ 138017 h 386714"/>
                <a:gd name="connsiteX32" fmla="*/ 149543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6" y="348901"/>
                    <a:pt x="0" y="330327"/>
                  </a:cubicBezTo>
                  <a:lnTo>
                    <a:pt x="38195" y="272224"/>
                  </a:lnTo>
                  <a:cubicBezTo>
                    <a:pt x="58484" y="287274"/>
                    <a:pt x="79057" y="298704"/>
                    <a:pt x="100013" y="306514"/>
                  </a:cubicBezTo>
                  <a:cubicBezTo>
                    <a:pt x="120968" y="314325"/>
                    <a:pt x="141161" y="318135"/>
                    <a:pt x="160401" y="318135"/>
                  </a:cubicBezTo>
                  <a:cubicBezTo>
                    <a:pt x="179641" y="318135"/>
                    <a:pt x="192977"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1" y="241078"/>
                    <a:pt x="176498" y="237553"/>
                    <a:pt x="166401"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2" y="40195"/>
                    <a:pt x="56864" y="30385"/>
                  </a:cubicBezTo>
                  <a:cubicBezTo>
                    <a:pt x="68866" y="20479"/>
                    <a:pt x="82962" y="12954"/>
                    <a:pt x="99250" y="7810"/>
                  </a:cubicBezTo>
                  <a:cubicBezTo>
                    <a:pt x="115538" y="2667"/>
                    <a:pt x="132779" y="0"/>
                    <a:pt x="151162" y="0"/>
                  </a:cubicBezTo>
                  <a:cubicBezTo>
                    <a:pt x="174688" y="0"/>
                    <a:pt x="198501" y="3810"/>
                    <a:pt x="222504" y="11430"/>
                  </a:cubicBezTo>
                  <a:cubicBezTo>
                    <a:pt x="246507" y="19050"/>
                    <a:pt x="268414" y="29527"/>
                    <a:pt x="288227" y="42863"/>
                  </a:cubicBezTo>
                  <a:lnTo>
                    <a:pt x="254318"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7" y="124587"/>
                  </a:cubicBezTo>
                  <a:cubicBezTo>
                    <a:pt x="108585" y="129540"/>
                    <a:pt x="114871" y="134017"/>
                    <a:pt x="122682" y="138017"/>
                  </a:cubicBezTo>
                  <a:cubicBezTo>
                    <a:pt x="130493" y="142018"/>
                    <a:pt x="139351" y="145732"/>
                    <a:pt x="149543"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696"/>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0" name="Freeform: Shape 32">
              <a:extLst>
                <a:ext uri="{FF2B5EF4-FFF2-40B4-BE49-F238E27FC236}">
                  <a16:creationId xmlns:a16="http://schemas.microsoft.com/office/drawing/2014/main" id="{BCB02664-82BD-12F5-319E-122A8296B6C7}"/>
                </a:ext>
              </a:extLst>
            </p:cNvPr>
            <p:cNvSpPr/>
            <p:nvPr/>
          </p:nvSpPr>
          <p:spPr>
            <a:xfrm>
              <a:off x="526693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4 w 202977"/>
                <a:gd name="connsiteY17" fmla="*/ 19907 h 239267"/>
                <a:gd name="connsiteX18" fmla="*/ 59246 w 202977"/>
                <a:gd name="connsiteY18" fmla="*/ 5429 h 239267"/>
                <a:gd name="connsiteX19" fmla="*/ 104299 w 202977"/>
                <a:gd name="connsiteY19" fmla="*/ 0 h 239267"/>
                <a:gd name="connsiteX20" fmla="*/ 178880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5 w 202977"/>
                <a:gd name="connsiteY27" fmla="*/ 211169 h 239267"/>
                <a:gd name="connsiteX28" fmla="*/ 122968 w 202977"/>
                <a:gd name="connsiteY28" fmla="*/ 206788 h 239267"/>
                <a:gd name="connsiteX29" fmla="*/ 147257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9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9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3" y="99155"/>
                    <a:pt x="58674" y="95917"/>
                  </a:cubicBezTo>
                  <a:cubicBezTo>
                    <a:pt x="70771" y="92678"/>
                    <a:pt x="84011" y="90964"/>
                    <a:pt x="98584" y="90964"/>
                  </a:cubicBezTo>
                  <a:cubicBezTo>
                    <a:pt x="113157" y="90964"/>
                    <a:pt x="126301" y="91821"/>
                    <a:pt x="137160" y="93631"/>
                  </a:cubicBezTo>
                  <a:cubicBezTo>
                    <a:pt x="148019" y="95440"/>
                    <a:pt x="158687" y="97822"/>
                    <a:pt x="169069" y="100774"/>
                  </a:cubicBezTo>
                  <a:lnTo>
                    <a:pt x="169069" y="93726"/>
                  </a:lnTo>
                  <a:cubicBezTo>
                    <a:pt x="169069" y="73342"/>
                    <a:pt x="163068" y="57912"/>
                    <a:pt x="151162" y="47339"/>
                  </a:cubicBezTo>
                  <a:cubicBezTo>
                    <a:pt x="139256" y="36862"/>
                    <a:pt x="122492" y="31623"/>
                    <a:pt x="100679" y="31623"/>
                  </a:cubicBezTo>
                  <a:cubicBezTo>
                    <a:pt x="86963" y="31623"/>
                    <a:pt x="74581" y="33147"/>
                    <a:pt x="63437" y="36100"/>
                  </a:cubicBezTo>
                  <a:cubicBezTo>
                    <a:pt x="52292" y="39053"/>
                    <a:pt x="41339" y="43053"/>
                    <a:pt x="30671" y="48196"/>
                  </a:cubicBezTo>
                  <a:lnTo>
                    <a:pt x="20384" y="19907"/>
                  </a:lnTo>
                  <a:cubicBezTo>
                    <a:pt x="33147" y="13906"/>
                    <a:pt x="46101" y="9049"/>
                    <a:pt x="59246" y="5429"/>
                  </a:cubicBezTo>
                  <a:cubicBezTo>
                    <a:pt x="72295" y="1810"/>
                    <a:pt x="87344" y="0"/>
                    <a:pt x="104299" y="0"/>
                  </a:cubicBezTo>
                  <a:cubicBezTo>
                    <a:pt x="137065" y="0"/>
                    <a:pt x="161925" y="8477"/>
                    <a:pt x="178880"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99" y="239173"/>
                    <a:pt x="86011" y="239173"/>
                  </a:cubicBezTo>
                  <a:close/>
                  <a:moveTo>
                    <a:pt x="93155" y="211169"/>
                  </a:moveTo>
                  <a:cubicBezTo>
                    <a:pt x="103823" y="211169"/>
                    <a:pt x="113728" y="209740"/>
                    <a:pt x="122968" y="206788"/>
                  </a:cubicBezTo>
                  <a:cubicBezTo>
                    <a:pt x="132207" y="203835"/>
                    <a:pt x="140208" y="199644"/>
                    <a:pt x="147257"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9" y="121444"/>
                  </a:cubicBezTo>
                  <a:cubicBezTo>
                    <a:pt x="129445" y="119348"/>
                    <a:pt x="116776"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244" y="190500"/>
                    <a:pt x="47435" y="195358"/>
                    <a:pt x="52769" y="199263"/>
                  </a:cubicBezTo>
                  <a:cubicBezTo>
                    <a:pt x="58103" y="203073"/>
                    <a:pt x="64294" y="206026"/>
                    <a:pt x="71247" y="208121"/>
                  </a:cubicBezTo>
                  <a:cubicBezTo>
                    <a:pt x="78200" y="210217"/>
                    <a:pt x="85535"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21" name="Freeform: Shape 33">
              <a:extLst>
                <a:ext uri="{FF2B5EF4-FFF2-40B4-BE49-F238E27FC236}">
                  <a16:creationId xmlns:a16="http://schemas.microsoft.com/office/drawing/2014/main" id="{4ADDF72B-5502-3AC5-98FB-7FFA846812EA}"/>
                </a:ext>
              </a:extLst>
            </p:cNvPr>
            <p:cNvSpPr/>
            <p:nvPr/>
          </p:nvSpPr>
          <p:spPr>
            <a:xfrm>
              <a:off x="5331227"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9" y="303276"/>
                    <a:pt x="71438" y="300895"/>
                  </a:cubicBezTo>
                  <a:cubicBezTo>
                    <a:pt x="63437"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2"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22" name="Freeform: Shape 34">
              <a:extLst>
                <a:ext uri="{FF2B5EF4-FFF2-40B4-BE49-F238E27FC236}">
                  <a16:creationId xmlns:a16="http://schemas.microsoft.com/office/drawing/2014/main" id="{60BF871B-6CBF-FCCB-65A7-B104D50A75E8}"/>
                </a:ext>
              </a:extLst>
            </p:cNvPr>
            <p:cNvSpPr/>
            <p:nvPr/>
          </p:nvSpPr>
          <p:spPr>
            <a:xfrm>
              <a:off x="5381845"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191 w 39242"/>
                <a:gd name="connsiteY5" fmla="*/ 88392 h 319182"/>
                <a:gd name="connsiteX6" fmla="*/ 36576 w 39242"/>
                <a:gd name="connsiteY6" fmla="*/ 88392 h 319182"/>
                <a:gd name="connsiteX7" fmla="*/ 36576 w 39242"/>
                <a:gd name="connsiteY7" fmla="*/ 319183 h 319182"/>
                <a:gd name="connsiteX8" fmla="*/ 2191 w 39242"/>
                <a:gd name="connsiteY8" fmla="*/ 319183 h 319182"/>
                <a:gd name="connsiteX9" fmla="*/ 2191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191" y="88392"/>
                  </a:moveTo>
                  <a:lnTo>
                    <a:pt x="36576" y="88392"/>
                  </a:lnTo>
                  <a:lnTo>
                    <a:pt x="36576" y="319183"/>
                  </a:lnTo>
                  <a:lnTo>
                    <a:pt x="2191" y="319183"/>
                  </a:lnTo>
                  <a:lnTo>
                    <a:pt x="2191" y="88392"/>
                  </a:lnTo>
                  <a:close/>
                </a:path>
              </a:pathLst>
            </a:custGeom>
            <a:solidFill>
              <a:srgbClr val="44505E"/>
            </a:solidFill>
            <a:ln w="9525" cap="flat">
              <a:noFill/>
              <a:prstDash val="solid"/>
              <a:miter/>
            </a:ln>
          </p:spPr>
          <p:txBody>
            <a:bodyPr rtlCol="0" anchor="ctr"/>
            <a:lstStyle/>
            <a:p>
              <a:endParaRPr lang="pt-BR" noProof="0"/>
            </a:p>
          </p:txBody>
        </p:sp>
        <p:sp>
          <p:nvSpPr>
            <p:cNvPr id="23" name="Freeform: Shape 35">
              <a:extLst>
                <a:ext uri="{FF2B5EF4-FFF2-40B4-BE49-F238E27FC236}">
                  <a16:creationId xmlns:a16="http://schemas.microsoft.com/office/drawing/2014/main" id="{AAF46658-0C91-85B7-71E3-C603C10E4A0B}"/>
                </a:ext>
              </a:extLst>
            </p:cNvPr>
            <p:cNvSpPr/>
            <p:nvPr/>
          </p:nvSpPr>
          <p:spPr>
            <a:xfrm>
              <a:off x="5406076"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8" y="303276"/>
                    <a:pt x="71438" y="300895"/>
                  </a:cubicBezTo>
                  <a:cubicBezTo>
                    <a:pt x="63436"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1"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24" name="Freeform: Shape 36">
              <a:extLst>
                <a:ext uri="{FF2B5EF4-FFF2-40B4-BE49-F238E27FC236}">
                  <a16:creationId xmlns:a16="http://schemas.microsoft.com/office/drawing/2014/main" id="{183F133C-0460-7D9C-6C6D-A9F83327F70E}"/>
                </a:ext>
              </a:extLst>
            </p:cNvPr>
            <p:cNvSpPr/>
            <p:nvPr/>
          </p:nvSpPr>
          <p:spPr>
            <a:xfrm>
              <a:off x="5455545" y="925297"/>
              <a:ext cx="50594" cy="59238"/>
            </a:xfrm>
            <a:custGeom>
              <a:avLst/>
              <a:gdLst>
                <a:gd name="connsiteX0" fmla="*/ 88392 w 201263"/>
                <a:gd name="connsiteY0" fmla="*/ 235648 h 235648"/>
                <a:gd name="connsiteX1" fmla="*/ 51149 w 201263"/>
                <a:gd name="connsiteY1" fmla="*/ 228981 h 235648"/>
                <a:gd name="connsiteX2" fmla="*/ 23431 w 201263"/>
                <a:gd name="connsiteY2" fmla="*/ 210026 h 235648"/>
                <a:gd name="connsiteX3" fmla="*/ 6001 w 201263"/>
                <a:gd name="connsiteY3" fmla="*/ 180784 h 235648"/>
                <a:gd name="connsiteX4" fmla="*/ 0 w 201263"/>
                <a:gd name="connsiteY4" fmla="*/ 143256 h 235648"/>
                <a:gd name="connsiteX5" fmla="*/ 0 w 201263"/>
                <a:gd name="connsiteY5" fmla="*/ 0 h 235648"/>
                <a:gd name="connsiteX6" fmla="*/ 34385 w 201263"/>
                <a:gd name="connsiteY6" fmla="*/ 0 h 235648"/>
                <a:gd name="connsiteX7" fmla="*/ 34385 w 201263"/>
                <a:gd name="connsiteY7" fmla="*/ 134493 h 235648"/>
                <a:gd name="connsiteX8" fmla="*/ 50864 w 201263"/>
                <a:gd name="connsiteY8" fmla="*/ 185261 h 235648"/>
                <a:gd name="connsiteX9" fmla="*/ 98203 w 201263"/>
                <a:gd name="connsiteY9" fmla="*/ 203930 h 235648"/>
                <a:gd name="connsiteX10" fmla="*/ 125635 w 201263"/>
                <a:gd name="connsiteY10" fmla="*/ 198787 h 235648"/>
                <a:gd name="connsiteX11" fmla="*/ 147542 w 201263"/>
                <a:gd name="connsiteY11" fmla="*/ 184118 h 235648"/>
                <a:gd name="connsiteX12" fmla="*/ 162020 w 201263"/>
                <a:gd name="connsiteY12" fmla="*/ 161163 h 235648"/>
                <a:gd name="connsiteX13" fmla="*/ 167354 w 201263"/>
                <a:gd name="connsiteY13" fmla="*/ 131826 h 235648"/>
                <a:gd name="connsiteX14" fmla="*/ 167354 w 201263"/>
                <a:gd name="connsiteY14" fmla="*/ 0 h 235648"/>
                <a:gd name="connsiteX15" fmla="*/ 201263 w 201263"/>
                <a:gd name="connsiteY15" fmla="*/ 0 h 235648"/>
                <a:gd name="connsiteX16" fmla="*/ 201263 w 201263"/>
                <a:gd name="connsiteY16" fmla="*/ 230791 h 235648"/>
                <a:gd name="connsiteX17" fmla="*/ 167354 w 201263"/>
                <a:gd name="connsiteY17" fmla="*/ 230791 h 235648"/>
                <a:gd name="connsiteX18" fmla="*/ 167354 w 201263"/>
                <a:gd name="connsiteY18" fmla="*/ 190595 h 235648"/>
                <a:gd name="connsiteX19" fmla="*/ 136969 w 201263"/>
                <a:gd name="connsiteY19" fmla="*/ 222504 h 235648"/>
                <a:gd name="connsiteX20" fmla="*/ 88297 w 201263"/>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263" h="235648">
                  <a:moveTo>
                    <a:pt x="88392" y="235648"/>
                  </a:moveTo>
                  <a:cubicBezTo>
                    <a:pt x="74390" y="235648"/>
                    <a:pt x="62008" y="233363"/>
                    <a:pt x="51149" y="228981"/>
                  </a:cubicBezTo>
                  <a:cubicBezTo>
                    <a:pt x="40291" y="224504"/>
                    <a:pt x="31052" y="218218"/>
                    <a:pt x="23431"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864" y="185261"/>
                  </a:cubicBezTo>
                  <a:cubicBezTo>
                    <a:pt x="61913" y="197739"/>
                    <a:pt x="77629" y="203930"/>
                    <a:pt x="98203" y="203930"/>
                  </a:cubicBezTo>
                  <a:cubicBezTo>
                    <a:pt x="108014" y="203930"/>
                    <a:pt x="117158" y="202216"/>
                    <a:pt x="125635" y="198787"/>
                  </a:cubicBezTo>
                  <a:cubicBezTo>
                    <a:pt x="134112" y="195358"/>
                    <a:pt x="141351" y="190500"/>
                    <a:pt x="147542" y="184118"/>
                  </a:cubicBezTo>
                  <a:cubicBezTo>
                    <a:pt x="153638" y="177736"/>
                    <a:pt x="158496" y="170116"/>
                    <a:pt x="162020" y="161163"/>
                  </a:cubicBezTo>
                  <a:cubicBezTo>
                    <a:pt x="165640" y="152305"/>
                    <a:pt x="167354" y="142494"/>
                    <a:pt x="167354" y="131826"/>
                  </a:cubicBezTo>
                  <a:lnTo>
                    <a:pt x="167354" y="0"/>
                  </a:lnTo>
                  <a:lnTo>
                    <a:pt x="201263" y="0"/>
                  </a:lnTo>
                  <a:lnTo>
                    <a:pt x="201263" y="230791"/>
                  </a:lnTo>
                  <a:lnTo>
                    <a:pt x="167354" y="230791"/>
                  </a:lnTo>
                  <a:lnTo>
                    <a:pt x="167354" y="190595"/>
                  </a:lnTo>
                  <a:cubicBezTo>
                    <a:pt x="159639" y="203073"/>
                    <a:pt x="149447" y="213741"/>
                    <a:pt x="136969" y="222504"/>
                  </a:cubicBezTo>
                  <a:cubicBezTo>
                    <a:pt x="124492" y="231267"/>
                    <a:pt x="108299" y="235648"/>
                    <a:pt x="88297" y="235648"/>
                  </a:cubicBezTo>
                  <a:close/>
                </a:path>
              </a:pathLst>
            </a:custGeom>
            <a:solidFill>
              <a:srgbClr val="44505E"/>
            </a:solidFill>
            <a:ln w="9525" cap="flat">
              <a:noFill/>
              <a:prstDash val="solid"/>
              <a:miter/>
            </a:ln>
          </p:spPr>
          <p:txBody>
            <a:bodyPr rtlCol="0" anchor="ctr"/>
            <a:lstStyle/>
            <a:p>
              <a:endParaRPr lang="pt-BR" noProof="0"/>
            </a:p>
          </p:txBody>
        </p:sp>
        <p:sp>
          <p:nvSpPr>
            <p:cNvPr id="25" name="Freeform: Shape 37">
              <a:extLst>
                <a:ext uri="{FF2B5EF4-FFF2-40B4-BE49-F238E27FC236}">
                  <a16:creationId xmlns:a16="http://schemas.microsoft.com/office/drawing/2014/main" id="{BBD0673A-F2AB-3025-9DD8-3B8CC53DFB6C}"/>
                </a:ext>
              </a:extLst>
            </p:cNvPr>
            <p:cNvSpPr/>
            <p:nvPr/>
          </p:nvSpPr>
          <p:spPr>
            <a:xfrm>
              <a:off x="5522205" y="901353"/>
              <a:ext cx="58567" cy="83182"/>
            </a:xfrm>
            <a:custGeom>
              <a:avLst/>
              <a:gdLst>
                <a:gd name="connsiteX0" fmla="*/ 110204 w 232981"/>
                <a:gd name="connsiteY0" fmla="*/ 330898 h 330898"/>
                <a:gd name="connsiteX1" fmla="*/ 69628 w 232981"/>
                <a:gd name="connsiteY1" fmla="*/ 322897 h 330898"/>
                <a:gd name="connsiteX2" fmla="*/ 34385 w 232981"/>
                <a:gd name="connsiteY2" fmla="*/ 299466 h 330898"/>
                <a:gd name="connsiteX3" fmla="*/ 9334 w 232981"/>
                <a:gd name="connsiteY3" fmla="*/ 261938 h 330898"/>
                <a:gd name="connsiteX4" fmla="*/ 0 w 232981"/>
                <a:gd name="connsiteY4" fmla="*/ 211264 h 330898"/>
                <a:gd name="connsiteX5" fmla="*/ 0 w 232981"/>
                <a:gd name="connsiteY5" fmla="*/ 210407 h 330898"/>
                <a:gd name="connsiteX6" fmla="*/ 9334 w 232981"/>
                <a:gd name="connsiteY6" fmla="*/ 159925 h 330898"/>
                <a:gd name="connsiteX7" fmla="*/ 34385 w 232981"/>
                <a:gd name="connsiteY7" fmla="*/ 122206 h 330898"/>
                <a:gd name="connsiteX8" fmla="*/ 69628 w 232981"/>
                <a:gd name="connsiteY8" fmla="*/ 98488 h 330898"/>
                <a:gd name="connsiteX9" fmla="*/ 110204 w 232981"/>
                <a:gd name="connsiteY9" fmla="*/ 90202 h 330898"/>
                <a:gd name="connsiteX10" fmla="*/ 139636 w 232981"/>
                <a:gd name="connsiteY10" fmla="*/ 94202 h 330898"/>
                <a:gd name="connsiteX11" fmla="*/ 163735 w 232981"/>
                <a:gd name="connsiteY11" fmla="*/ 104870 h 330898"/>
                <a:gd name="connsiteX12" fmla="*/ 183166 w 232981"/>
                <a:gd name="connsiteY12" fmla="*/ 120491 h 330898"/>
                <a:gd name="connsiteX13" fmla="*/ 198596 w 232981"/>
                <a:gd name="connsiteY13" fmla="*/ 139255 h 330898"/>
                <a:gd name="connsiteX14" fmla="*/ 198596 w 232981"/>
                <a:gd name="connsiteY14" fmla="*/ 0 h 330898"/>
                <a:gd name="connsiteX15" fmla="*/ 232981 w 232981"/>
                <a:gd name="connsiteY15" fmla="*/ 0 h 330898"/>
                <a:gd name="connsiteX16" fmla="*/ 232981 w 232981"/>
                <a:gd name="connsiteY16" fmla="*/ 325850 h 330898"/>
                <a:gd name="connsiteX17" fmla="*/ 198596 w 232981"/>
                <a:gd name="connsiteY17" fmla="*/ 325850 h 330898"/>
                <a:gd name="connsiteX18" fmla="*/ 198596 w 232981"/>
                <a:gd name="connsiteY18" fmla="*/ 279463 h 330898"/>
                <a:gd name="connsiteX19" fmla="*/ 182785 w 232981"/>
                <a:gd name="connsiteY19" fmla="*/ 299085 h 330898"/>
                <a:gd name="connsiteX20" fmla="*/ 163354 w 232981"/>
                <a:gd name="connsiteY20" fmla="*/ 315658 h 330898"/>
                <a:gd name="connsiteX21" fmla="*/ 139446 w 232981"/>
                <a:gd name="connsiteY21" fmla="*/ 326803 h 330898"/>
                <a:gd name="connsiteX22" fmla="*/ 110204 w 232981"/>
                <a:gd name="connsiteY22" fmla="*/ 330803 h 330898"/>
                <a:gd name="connsiteX23" fmla="*/ 116491 w 232981"/>
                <a:gd name="connsiteY23" fmla="*/ 300133 h 330898"/>
                <a:gd name="connsiteX24" fmla="*/ 147542 w 232981"/>
                <a:gd name="connsiteY24" fmla="*/ 293656 h 330898"/>
                <a:gd name="connsiteX25" fmla="*/ 174307 w 232981"/>
                <a:gd name="connsiteY25" fmla="*/ 275368 h 330898"/>
                <a:gd name="connsiteX26" fmla="*/ 193072 w 232981"/>
                <a:gd name="connsiteY26" fmla="*/ 247269 h 330898"/>
                <a:gd name="connsiteX27" fmla="*/ 200025 w 232981"/>
                <a:gd name="connsiteY27" fmla="*/ 210883 h 330898"/>
                <a:gd name="connsiteX28" fmla="*/ 200025 w 232981"/>
                <a:gd name="connsiteY28" fmla="*/ 210026 h 330898"/>
                <a:gd name="connsiteX29" fmla="*/ 193072 w 232981"/>
                <a:gd name="connsiteY29" fmla="*/ 173641 h 330898"/>
                <a:gd name="connsiteX30" fmla="*/ 174307 w 232981"/>
                <a:gd name="connsiteY30" fmla="*/ 145732 h 330898"/>
                <a:gd name="connsiteX31" fmla="*/ 147542 w 232981"/>
                <a:gd name="connsiteY31" fmla="*/ 127635 h 330898"/>
                <a:gd name="connsiteX32" fmla="*/ 116491 w 232981"/>
                <a:gd name="connsiteY32" fmla="*/ 121158 h 330898"/>
                <a:gd name="connsiteX33" fmla="*/ 84772 w 232981"/>
                <a:gd name="connsiteY33" fmla="*/ 127159 h 330898"/>
                <a:gd name="connsiteX34" fmla="*/ 59150 w 232981"/>
                <a:gd name="connsiteY34" fmla="*/ 144589 h 330898"/>
                <a:gd name="connsiteX35" fmla="*/ 41719 w 232981"/>
                <a:gd name="connsiteY35" fmla="*/ 172498 h 330898"/>
                <a:gd name="connsiteX36" fmla="*/ 35242 w 232981"/>
                <a:gd name="connsiteY36" fmla="*/ 210026 h 330898"/>
                <a:gd name="connsiteX37" fmla="*/ 35242 w 232981"/>
                <a:gd name="connsiteY37" fmla="*/ 210883 h 330898"/>
                <a:gd name="connsiteX38" fmla="*/ 41719 w 232981"/>
                <a:gd name="connsiteY38" fmla="*/ 247936 h 330898"/>
                <a:gd name="connsiteX39" fmla="*/ 59341 w 232981"/>
                <a:gd name="connsiteY39" fmla="*/ 276034 h 330898"/>
                <a:gd name="connsiteX40" fmla="*/ 85249 w 232981"/>
                <a:gd name="connsiteY40" fmla="*/ 293941 h 330898"/>
                <a:gd name="connsiteX41" fmla="*/ 116491 w 23298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30898">
                  <a:moveTo>
                    <a:pt x="110204" y="330898"/>
                  </a:moveTo>
                  <a:cubicBezTo>
                    <a:pt x="96202" y="330898"/>
                    <a:pt x="82677" y="328231"/>
                    <a:pt x="69628" y="322897"/>
                  </a:cubicBezTo>
                  <a:cubicBezTo>
                    <a:pt x="56578" y="317563"/>
                    <a:pt x="44767" y="309753"/>
                    <a:pt x="34385" y="299466"/>
                  </a:cubicBezTo>
                  <a:cubicBezTo>
                    <a:pt x="24003" y="289179"/>
                    <a:pt x="15621" y="276701"/>
                    <a:pt x="9334" y="261938"/>
                  </a:cubicBezTo>
                  <a:cubicBezTo>
                    <a:pt x="3048" y="247174"/>
                    <a:pt x="0" y="230314"/>
                    <a:pt x="0" y="211264"/>
                  </a:cubicBezTo>
                  <a:lnTo>
                    <a:pt x="0" y="210407"/>
                  </a:lnTo>
                  <a:cubicBezTo>
                    <a:pt x="0" y="191643"/>
                    <a:pt x="3143" y="174879"/>
                    <a:pt x="9334" y="159925"/>
                  </a:cubicBezTo>
                  <a:cubicBezTo>
                    <a:pt x="15621" y="145066"/>
                    <a:pt x="23908" y="132493"/>
                    <a:pt x="34385" y="122206"/>
                  </a:cubicBezTo>
                  <a:cubicBezTo>
                    <a:pt x="44767" y="111919"/>
                    <a:pt x="56578" y="104013"/>
                    <a:pt x="69628" y="98488"/>
                  </a:cubicBezTo>
                  <a:cubicBezTo>
                    <a:pt x="82677" y="92964"/>
                    <a:pt x="96298" y="90202"/>
                    <a:pt x="110204" y="90202"/>
                  </a:cubicBezTo>
                  <a:cubicBezTo>
                    <a:pt x="120967" y="90202"/>
                    <a:pt x="130778" y="91535"/>
                    <a:pt x="139636" y="94202"/>
                  </a:cubicBezTo>
                  <a:cubicBezTo>
                    <a:pt x="148590" y="96869"/>
                    <a:pt x="156591" y="100489"/>
                    <a:pt x="163735" y="104870"/>
                  </a:cubicBezTo>
                  <a:cubicBezTo>
                    <a:pt x="170878" y="109347"/>
                    <a:pt x="177356" y="114586"/>
                    <a:pt x="183166" y="120491"/>
                  </a:cubicBezTo>
                  <a:cubicBezTo>
                    <a:pt x="188976" y="126492"/>
                    <a:pt x="194119" y="132683"/>
                    <a:pt x="198596" y="139255"/>
                  </a:cubicBezTo>
                  <a:lnTo>
                    <a:pt x="198596" y="0"/>
                  </a:lnTo>
                  <a:lnTo>
                    <a:pt x="232981" y="0"/>
                  </a:lnTo>
                  <a:lnTo>
                    <a:pt x="232981" y="325850"/>
                  </a:lnTo>
                  <a:lnTo>
                    <a:pt x="198596" y="325850"/>
                  </a:lnTo>
                  <a:lnTo>
                    <a:pt x="198596" y="279463"/>
                  </a:lnTo>
                  <a:cubicBezTo>
                    <a:pt x="193834" y="286321"/>
                    <a:pt x="188595" y="292894"/>
                    <a:pt x="182785" y="299085"/>
                  </a:cubicBezTo>
                  <a:cubicBezTo>
                    <a:pt x="176974" y="305371"/>
                    <a:pt x="170498" y="310896"/>
                    <a:pt x="163354" y="315658"/>
                  </a:cubicBezTo>
                  <a:cubicBezTo>
                    <a:pt x="156210" y="320421"/>
                    <a:pt x="148209" y="324136"/>
                    <a:pt x="139446" y="326803"/>
                  </a:cubicBezTo>
                  <a:cubicBezTo>
                    <a:pt x="130683" y="329470"/>
                    <a:pt x="120967" y="330803"/>
                    <a:pt x="110204" y="330803"/>
                  </a:cubicBezTo>
                  <a:close/>
                  <a:moveTo>
                    <a:pt x="116491" y="300133"/>
                  </a:moveTo>
                  <a:cubicBezTo>
                    <a:pt x="127159" y="300133"/>
                    <a:pt x="137541" y="297942"/>
                    <a:pt x="147542" y="293656"/>
                  </a:cubicBezTo>
                  <a:cubicBezTo>
                    <a:pt x="157544" y="289369"/>
                    <a:pt x="166402" y="283273"/>
                    <a:pt x="174307" y="275368"/>
                  </a:cubicBezTo>
                  <a:cubicBezTo>
                    <a:pt x="182213" y="267462"/>
                    <a:pt x="188404" y="258127"/>
                    <a:pt x="193072" y="247269"/>
                  </a:cubicBezTo>
                  <a:cubicBezTo>
                    <a:pt x="197644" y="236410"/>
                    <a:pt x="200025" y="224314"/>
                    <a:pt x="200025" y="210883"/>
                  </a:cubicBezTo>
                  <a:lnTo>
                    <a:pt x="200025" y="210026"/>
                  </a:lnTo>
                  <a:cubicBezTo>
                    <a:pt x="200025" y="196596"/>
                    <a:pt x="197739" y="184499"/>
                    <a:pt x="193072" y="173641"/>
                  </a:cubicBezTo>
                  <a:cubicBezTo>
                    <a:pt x="188500" y="162782"/>
                    <a:pt x="182213" y="153448"/>
                    <a:pt x="174307" y="145732"/>
                  </a:cubicBezTo>
                  <a:cubicBezTo>
                    <a:pt x="166402" y="138017"/>
                    <a:pt x="157448" y="132016"/>
                    <a:pt x="147542" y="127635"/>
                  </a:cubicBezTo>
                  <a:cubicBezTo>
                    <a:pt x="137541" y="123349"/>
                    <a:pt x="127254" y="121158"/>
                    <a:pt x="116491" y="121158"/>
                  </a:cubicBezTo>
                  <a:cubicBezTo>
                    <a:pt x="105156" y="121158"/>
                    <a:pt x="94583" y="123158"/>
                    <a:pt x="84772" y="127159"/>
                  </a:cubicBezTo>
                  <a:cubicBezTo>
                    <a:pt x="74962" y="131159"/>
                    <a:pt x="66389" y="136969"/>
                    <a:pt x="59150" y="144589"/>
                  </a:cubicBezTo>
                  <a:cubicBezTo>
                    <a:pt x="51816" y="152114"/>
                    <a:pt x="46101" y="161449"/>
                    <a:pt x="41719" y="172498"/>
                  </a:cubicBezTo>
                  <a:cubicBezTo>
                    <a:pt x="37433" y="183451"/>
                    <a:pt x="35242" y="196024"/>
                    <a:pt x="35242" y="210026"/>
                  </a:cubicBezTo>
                  <a:lnTo>
                    <a:pt x="35242" y="210883"/>
                  </a:lnTo>
                  <a:cubicBezTo>
                    <a:pt x="35242" y="224599"/>
                    <a:pt x="37433" y="236982"/>
                    <a:pt x="41719" y="247936"/>
                  </a:cubicBezTo>
                  <a:cubicBezTo>
                    <a:pt x="46006" y="258984"/>
                    <a:pt x="51911" y="268319"/>
                    <a:pt x="59341" y="276034"/>
                  </a:cubicBezTo>
                  <a:cubicBezTo>
                    <a:pt x="66770" y="283750"/>
                    <a:pt x="75438" y="289750"/>
                    <a:pt x="85249" y="293941"/>
                  </a:cubicBezTo>
                  <a:cubicBezTo>
                    <a:pt x="95059" y="298132"/>
                    <a:pt x="105442" y="300228"/>
                    <a:pt x="116491" y="300228"/>
                  </a:cubicBezTo>
                  <a:close/>
                </a:path>
              </a:pathLst>
            </a:custGeom>
            <a:solidFill>
              <a:srgbClr val="44505E"/>
            </a:solidFill>
            <a:ln w="9525" cap="flat">
              <a:noFill/>
              <a:prstDash val="solid"/>
              <a:miter/>
            </a:ln>
          </p:spPr>
          <p:txBody>
            <a:bodyPr rtlCol="0" anchor="ctr"/>
            <a:lstStyle/>
            <a:p>
              <a:endParaRPr lang="pt-BR" noProof="0"/>
            </a:p>
          </p:txBody>
        </p:sp>
        <p:sp>
          <p:nvSpPr>
            <p:cNvPr id="26" name="Freeform: Shape 38">
              <a:extLst>
                <a:ext uri="{FF2B5EF4-FFF2-40B4-BE49-F238E27FC236}">
                  <a16:creationId xmlns:a16="http://schemas.microsoft.com/office/drawing/2014/main" id="{C36D8B6F-125B-6B7A-7254-22CAE54D6B42}"/>
                </a:ext>
              </a:extLst>
            </p:cNvPr>
            <p:cNvSpPr/>
            <p:nvPr/>
          </p:nvSpPr>
          <p:spPr>
            <a:xfrm>
              <a:off x="5596504"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6963 w 218217"/>
                <a:gd name="connsiteY3" fmla="*/ 206026 h 241077"/>
                <a:gd name="connsiteX4" fmla="*/ 116015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8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1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452 w 218217"/>
                <a:gd name="connsiteY25" fmla="*/ 106299 h 241077"/>
                <a:gd name="connsiteX26" fmla="*/ 176784 w 218217"/>
                <a:gd name="connsiteY26" fmla="*/ 76771 h 241077"/>
                <a:gd name="connsiteX27" fmla="*/ 162306 w 218217"/>
                <a:gd name="connsiteY27" fmla="*/ 52101 h 241077"/>
                <a:gd name="connsiteX28" fmla="*/ 140018 w 218217"/>
                <a:gd name="connsiteY28" fmla="*/ 35242 h 241077"/>
                <a:gd name="connsiteX29" fmla="*/ 109919 w 218217"/>
                <a:gd name="connsiteY29" fmla="*/ 29051 h 241077"/>
                <a:gd name="connsiteX30" fmla="*/ 82201 w 218217"/>
                <a:gd name="connsiteY30" fmla="*/ 34766 h 241077"/>
                <a:gd name="connsiteX31" fmla="*/ 59436 w 218217"/>
                <a:gd name="connsiteY31" fmla="*/ 50959 h 241077"/>
                <a:gd name="connsiteX32" fmla="*/ 43148 w 218217"/>
                <a:gd name="connsiteY32" fmla="*/ 75628 h 241077"/>
                <a:gd name="connsiteX33" fmla="*/ 34862 w 218217"/>
                <a:gd name="connsiteY33" fmla="*/ 106204 h 241077"/>
                <a:gd name="connsiteX34" fmla="*/ 183547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724" y="202597"/>
                    <a:pt x="86963" y="206026"/>
                  </a:cubicBezTo>
                  <a:cubicBezTo>
                    <a:pt x="96203" y="209455"/>
                    <a:pt x="105823" y="211169"/>
                    <a:pt x="116015" y="211169"/>
                  </a:cubicBezTo>
                  <a:cubicBezTo>
                    <a:pt x="132112" y="211169"/>
                    <a:pt x="145828" y="208216"/>
                    <a:pt x="157353" y="202216"/>
                  </a:cubicBezTo>
                  <a:cubicBezTo>
                    <a:pt x="168783" y="196310"/>
                    <a:pt x="179261" y="188404"/>
                    <a:pt x="188786" y="178594"/>
                  </a:cubicBezTo>
                  <a:lnTo>
                    <a:pt x="210217" y="197834"/>
                  </a:lnTo>
                  <a:cubicBezTo>
                    <a:pt x="198596" y="210979"/>
                    <a:pt x="185357" y="221361"/>
                    <a:pt x="170498" y="229267"/>
                  </a:cubicBezTo>
                  <a:cubicBezTo>
                    <a:pt x="155639"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679" y="0"/>
                    <a:pt x="110681"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452" y="106299"/>
                  </a:moveTo>
                  <a:cubicBezTo>
                    <a:pt x="182594" y="95917"/>
                    <a:pt x="180308" y="86106"/>
                    <a:pt x="176784" y="76771"/>
                  </a:cubicBezTo>
                  <a:cubicBezTo>
                    <a:pt x="173165" y="67437"/>
                    <a:pt x="168402" y="59245"/>
                    <a:pt x="162306" y="52101"/>
                  </a:cubicBezTo>
                  <a:cubicBezTo>
                    <a:pt x="156210" y="44958"/>
                    <a:pt x="148781" y="39338"/>
                    <a:pt x="140018" y="35242"/>
                  </a:cubicBezTo>
                  <a:cubicBezTo>
                    <a:pt x="131254" y="31147"/>
                    <a:pt x="121158" y="29051"/>
                    <a:pt x="109919" y="29051"/>
                  </a:cubicBezTo>
                  <a:cubicBezTo>
                    <a:pt x="100108" y="29051"/>
                    <a:pt x="90869" y="30956"/>
                    <a:pt x="82201" y="34766"/>
                  </a:cubicBezTo>
                  <a:cubicBezTo>
                    <a:pt x="73533" y="38671"/>
                    <a:pt x="66008" y="44005"/>
                    <a:pt x="59436" y="50959"/>
                  </a:cubicBezTo>
                  <a:cubicBezTo>
                    <a:pt x="52864" y="57912"/>
                    <a:pt x="47435" y="66103"/>
                    <a:pt x="43148" y="75628"/>
                  </a:cubicBezTo>
                  <a:cubicBezTo>
                    <a:pt x="38862" y="85058"/>
                    <a:pt x="36100" y="95345"/>
                    <a:pt x="34862" y="106204"/>
                  </a:cubicBezTo>
                  <a:lnTo>
                    <a:pt x="183547" y="106204"/>
                  </a:lnTo>
                  <a:close/>
                </a:path>
              </a:pathLst>
            </a:custGeom>
            <a:solidFill>
              <a:srgbClr val="44505E"/>
            </a:solidFill>
            <a:ln w="9525" cap="flat">
              <a:noFill/>
              <a:prstDash val="solid"/>
              <a:miter/>
            </a:ln>
          </p:spPr>
          <p:txBody>
            <a:bodyPr rtlCol="0" anchor="ctr"/>
            <a:lstStyle/>
            <a:p>
              <a:endParaRPr lang="pt-BR" noProof="0"/>
            </a:p>
          </p:txBody>
        </p:sp>
        <p:sp>
          <p:nvSpPr>
            <p:cNvPr id="27" name="Freeform: Shape 39">
              <a:extLst>
                <a:ext uri="{FF2B5EF4-FFF2-40B4-BE49-F238E27FC236}">
                  <a16:creationId xmlns:a16="http://schemas.microsoft.com/office/drawing/2014/main" id="{E43CAB24-D604-2C18-4392-96F748DDC2F9}"/>
                </a:ext>
              </a:extLst>
            </p:cNvPr>
            <p:cNvSpPr/>
            <p:nvPr/>
          </p:nvSpPr>
          <p:spPr>
            <a:xfrm>
              <a:off x="5661680" y="924268"/>
              <a:ext cx="44656" cy="60195"/>
            </a:xfrm>
            <a:custGeom>
              <a:avLst/>
              <a:gdLst>
                <a:gd name="connsiteX0" fmla="*/ 95536 w 177641"/>
                <a:gd name="connsiteY0" fmla="*/ 239268 h 239458"/>
                <a:gd name="connsiteX1" fmla="*/ 45053 w 177641"/>
                <a:gd name="connsiteY1" fmla="*/ 230124 h 239458"/>
                <a:gd name="connsiteX2" fmla="*/ 0 w 177641"/>
                <a:gd name="connsiteY2" fmla="*/ 205359 h 239458"/>
                <a:gd name="connsiteX3" fmla="*/ 17431 w 177641"/>
                <a:gd name="connsiteY3" fmla="*/ 180785 h 239458"/>
                <a:gd name="connsiteX4" fmla="*/ 56483 w 177641"/>
                <a:gd name="connsiteY4" fmla="*/ 202692 h 239458"/>
                <a:gd name="connsiteX5" fmla="*/ 97346 w 177641"/>
                <a:gd name="connsiteY5" fmla="*/ 210217 h 239458"/>
                <a:gd name="connsiteX6" fmla="*/ 131731 w 177641"/>
                <a:gd name="connsiteY6" fmla="*/ 200406 h 239458"/>
                <a:gd name="connsiteX7" fmla="*/ 145161 w 177641"/>
                <a:gd name="connsiteY7" fmla="*/ 173641 h 239458"/>
                <a:gd name="connsiteX8" fmla="*/ 145161 w 177641"/>
                <a:gd name="connsiteY8" fmla="*/ 172784 h 239458"/>
                <a:gd name="connsiteX9" fmla="*/ 140494 w 177641"/>
                <a:gd name="connsiteY9" fmla="*/ 158020 h 239458"/>
                <a:gd name="connsiteX10" fmla="*/ 127730 w 177641"/>
                <a:gd name="connsiteY10" fmla="*/ 147066 h 239458"/>
                <a:gd name="connsiteX11" fmla="*/ 109157 w 177641"/>
                <a:gd name="connsiteY11" fmla="*/ 138779 h 239458"/>
                <a:gd name="connsiteX12" fmla="*/ 87535 w 177641"/>
                <a:gd name="connsiteY12" fmla="*/ 132112 h 239458"/>
                <a:gd name="connsiteX13" fmla="*/ 60484 w 177641"/>
                <a:gd name="connsiteY13" fmla="*/ 123444 h 239458"/>
                <a:gd name="connsiteX14" fmla="*/ 35909 w 177641"/>
                <a:gd name="connsiteY14" fmla="*/ 111633 h 239458"/>
                <a:gd name="connsiteX15" fmla="*/ 18098 w 177641"/>
                <a:gd name="connsiteY15" fmla="*/ 93726 h 239458"/>
                <a:gd name="connsiteX16" fmla="*/ 11144 w 177641"/>
                <a:gd name="connsiteY16" fmla="*/ 66961 h 239458"/>
                <a:gd name="connsiteX17" fmla="*/ 11144 w 177641"/>
                <a:gd name="connsiteY17" fmla="*/ 66008 h 239458"/>
                <a:gd name="connsiteX18" fmla="*/ 16954 w 177641"/>
                <a:gd name="connsiteY18" fmla="*/ 39053 h 239458"/>
                <a:gd name="connsiteX19" fmla="*/ 33242 w 177641"/>
                <a:gd name="connsiteY19" fmla="*/ 18098 h 239458"/>
                <a:gd name="connsiteX20" fmla="*/ 58293 w 177641"/>
                <a:gd name="connsiteY20" fmla="*/ 4667 h 239458"/>
                <a:gd name="connsiteX21" fmla="*/ 89725 w 177641"/>
                <a:gd name="connsiteY21" fmla="*/ 0 h 239458"/>
                <a:gd name="connsiteX22" fmla="*/ 133064 w 177641"/>
                <a:gd name="connsiteY22" fmla="*/ 6953 h 239458"/>
                <a:gd name="connsiteX23" fmla="*/ 172784 w 177641"/>
                <a:gd name="connsiteY23" fmla="*/ 25527 h 239458"/>
                <a:gd name="connsiteX24" fmla="*/ 157163 w 177641"/>
                <a:gd name="connsiteY24" fmla="*/ 51435 h 239458"/>
                <a:gd name="connsiteX25" fmla="*/ 123444 w 177641"/>
                <a:gd name="connsiteY25" fmla="*/ 35147 h 239458"/>
                <a:gd name="connsiteX26" fmla="*/ 88868 w 177641"/>
                <a:gd name="connsiteY26" fmla="*/ 29146 h 239458"/>
                <a:gd name="connsiteX27" fmla="*/ 56293 w 177641"/>
                <a:gd name="connsiteY27" fmla="*/ 38767 h 239458"/>
                <a:gd name="connsiteX28" fmla="*/ 44196 w 177641"/>
                <a:gd name="connsiteY28" fmla="*/ 62675 h 239458"/>
                <a:gd name="connsiteX29" fmla="*/ 44196 w 177641"/>
                <a:gd name="connsiteY29" fmla="*/ 63627 h 239458"/>
                <a:gd name="connsiteX30" fmla="*/ 49149 w 177641"/>
                <a:gd name="connsiteY30" fmla="*/ 77724 h 239458"/>
                <a:gd name="connsiteX31" fmla="*/ 62294 w 177641"/>
                <a:gd name="connsiteY31" fmla="*/ 88202 h 239458"/>
                <a:gd name="connsiteX32" fmla="*/ 81248 w 177641"/>
                <a:gd name="connsiteY32" fmla="*/ 96203 h 239458"/>
                <a:gd name="connsiteX33" fmla="*/ 103537 w 177641"/>
                <a:gd name="connsiteY33" fmla="*/ 103346 h 239458"/>
                <a:gd name="connsiteX34" fmla="*/ 130112 w 177641"/>
                <a:gd name="connsiteY34" fmla="*/ 112300 h 239458"/>
                <a:gd name="connsiteX35" fmla="*/ 154019 w 177641"/>
                <a:gd name="connsiteY35" fmla="*/ 124778 h 239458"/>
                <a:gd name="connsiteX36" fmla="*/ 171164 w 177641"/>
                <a:gd name="connsiteY36" fmla="*/ 143066 h 239458"/>
                <a:gd name="connsiteX37" fmla="*/ 177641 w 177641"/>
                <a:gd name="connsiteY37" fmla="*/ 169450 h 239458"/>
                <a:gd name="connsiteX38" fmla="*/ 177641 w 177641"/>
                <a:gd name="connsiteY38" fmla="*/ 170307 h 239458"/>
                <a:gd name="connsiteX39" fmla="*/ 171164 w 177641"/>
                <a:gd name="connsiteY39" fmla="*/ 199549 h 239458"/>
                <a:gd name="connsiteX40" fmla="*/ 153734 w 177641"/>
                <a:gd name="connsiteY40" fmla="*/ 221171 h 239458"/>
                <a:gd name="connsiteX41" fmla="*/ 127825 w 177641"/>
                <a:gd name="connsiteY41" fmla="*/ 234791 h 239458"/>
                <a:gd name="connsiteX42" fmla="*/ 95441 w 177641"/>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641" h="239458">
                  <a:moveTo>
                    <a:pt x="95536" y="239268"/>
                  </a:moveTo>
                  <a:cubicBezTo>
                    <a:pt x="78867" y="239268"/>
                    <a:pt x="62008" y="236220"/>
                    <a:pt x="45053" y="230124"/>
                  </a:cubicBezTo>
                  <a:cubicBezTo>
                    <a:pt x="28099" y="224028"/>
                    <a:pt x="13049" y="215741"/>
                    <a:pt x="0" y="205359"/>
                  </a:cubicBezTo>
                  <a:lnTo>
                    <a:pt x="17431" y="180785"/>
                  </a:lnTo>
                  <a:cubicBezTo>
                    <a:pt x="29908"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542" y="162211"/>
                    <a:pt x="140494" y="158020"/>
                  </a:cubicBezTo>
                  <a:cubicBezTo>
                    <a:pt x="137350" y="153829"/>
                    <a:pt x="133160" y="150209"/>
                    <a:pt x="127730" y="147066"/>
                  </a:cubicBezTo>
                  <a:cubicBezTo>
                    <a:pt x="122396" y="143923"/>
                    <a:pt x="116205" y="141161"/>
                    <a:pt x="109157" y="138779"/>
                  </a:cubicBezTo>
                  <a:cubicBezTo>
                    <a:pt x="102203" y="136398"/>
                    <a:pt x="94964" y="134207"/>
                    <a:pt x="87535" y="132112"/>
                  </a:cubicBezTo>
                  <a:cubicBezTo>
                    <a:pt x="78581" y="129445"/>
                    <a:pt x="69628" y="126492"/>
                    <a:pt x="60484" y="123444"/>
                  </a:cubicBezTo>
                  <a:cubicBezTo>
                    <a:pt x="51435" y="120301"/>
                    <a:pt x="43244" y="116396"/>
                    <a:pt x="35909" y="111633"/>
                  </a:cubicBezTo>
                  <a:cubicBezTo>
                    <a:pt x="28575" y="106871"/>
                    <a:pt x="22670" y="100870"/>
                    <a:pt x="18098" y="93726"/>
                  </a:cubicBezTo>
                  <a:cubicBezTo>
                    <a:pt x="13525" y="86582"/>
                    <a:pt x="11144" y="77629"/>
                    <a:pt x="11144" y="66961"/>
                  </a:cubicBezTo>
                  <a:lnTo>
                    <a:pt x="11144" y="66008"/>
                  </a:lnTo>
                  <a:cubicBezTo>
                    <a:pt x="11144" y="56198"/>
                    <a:pt x="13049" y="47149"/>
                    <a:pt x="16954" y="39053"/>
                  </a:cubicBezTo>
                  <a:cubicBezTo>
                    <a:pt x="20860" y="30861"/>
                    <a:pt x="26289" y="23908"/>
                    <a:pt x="33242" y="18098"/>
                  </a:cubicBezTo>
                  <a:cubicBezTo>
                    <a:pt x="40196" y="12287"/>
                    <a:pt x="48578" y="7811"/>
                    <a:pt x="58293" y="4667"/>
                  </a:cubicBezTo>
                  <a:cubicBezTo>
                    <a:pt x="67913" y="1524"/>
                    <a:pt x="78486" y="0"/>
                    <a:pt x="89725" y="0"/>
                  </a:cubicBezTo>
                  <a:cubicBezTo>
                    <a:pt x="104013" y="0"/>
                    <a:pt x="118396" y="2286"/>
                    <a:pt x="133064" y="6953"/>
                  </a:cubicBezTo>
                  <a:cubicBezTo>
                    <a:pt x="147638" y="11621"/>
                    <a:pt x="160877" y="17717"/>
                    <a:pt x="172784" y="25527"/>
                  </a:cubicBezTo>
                  <a:lnTo>
                    <a:pt x="157163" y="51435"/>
                  </a:lnTo>
                  <a:cubicBezTo>
                    <a:pt x="146399" y="44577"/>
                    <a:pt x="135255" y="39148"/>
                    <a:pt x="123444" y="35147"/>
                  </a:cubicBezTo>
                  <a:cubicBezTo>
                    <a:pt x="111728" y="31147"/>
                    <a:pt x="100203" y="29146"/>
                    <a:pt x="88868" y="29146"/>
                  </a:cubicBezTo>
                  <a:cubicBezTo>
                    <a:pt x="75152" y="29146"/>
                    <a:pt x="64294" y="32385"/>
                    <a:pt x="56293" y="38767"/>
                  </a:cubicBezTo>
                  <a:cubicBezTo>
                    <a:pt x="48292" y="45149"/>
                    <a:pt x="44196" y="53150"/>
                    <a:pt x="44196" y="62675"/>
                  </a:cubicBezTo>
                  <a:lnTo>
                    <a:pt x="44196" y="63627"/>
                  </a:lnTo>
                  <a:cubicBezTo>
                    <a:pt x="44196" y="68961"/>
                    <a:pt x="45815" y="73628"/>
                    <a:pt x="49149" y="77724"/>
                  </a:cubicBezTo>
                  <a:cubicBezTo>
                    <a:pt x="52388" y="81725"/>
                    <a:pt x="56769" y="85249"/>
                    <a:pt x="62294" y="88202"/>
                  </a:cubicBezTo>
                  <a:cubicBezTo>
                    <a:pt x="67818" y="91154"/>
                    <a:pt x="74104" y="93821"/>
                    <a:pt x="81248" y="96203"/>
                  </a:cubicBezTo>
                  <a:cubicBezTo>
                    <a:pt x="88392" y="98584"/>
                    <a:pt x="95821" y="100965"/>
                    <a:pt x="103537" y="103346"/>
                  </a:cubicBezTo>
                  <a:cubicBezTo>
                    <a:pt x="112490" y="106013"/>
                    <a:pt x="121349" y="108966"/>
                    <a:pt x="130112" y="112300"/>
                  </a:cubicBezTo>
                  <a:cubicBezTo>
                    <a:pt x="138875" y="115538"/>
                    <a:pt x="146875" y="119729"/>
                    <a:pt x="154019" y="124778"/>
                  </a:cubicBezTo>
                  <a:cubicBezTo>
                    <a:pt x="161163" y="129826"/>
                    <a:pt x="166878" y="135922"/>
                    <a:pt x="171164" y="143066"/>
                  </a:cubicBezTo>
                  <a:cubicBezTo>
                    <a:pt x="175450" y="150209"/>
                    <a:pt x="177641" y="158972"/>
                    <a:pt x="177641" y="169450"/>
                  </a:cubicBezTo>
                  <a:lnTo>
                    <a:pt x="177641" y="170307"/>
                  </a:lnTo>
                  <a:cubicBezTo>
                    <a:pt x="177641" y="181356"/>
                    <a:pt x="175450" y="191071"/>
                    <a:pt x="171164" y="199549"/>
                  </a:cubicBezTo>
                  <a:cubicBezTo>
                    <a:pt x="166878" y="208026"/>
                    <a:pt x="161068" y="215265"/>
                    <a:pt x="153734" y="221171"/>
                  </a:cubicBezTo>
                  <a:cubicBezTo>
                    <a:pt x="146495" y="227171"/>
                    <a:pt x="137827" y="231648"/>
                    <a:pt x="127825" y="234791"/>
                  </a:cubicBezTo>
                  <a:cubicBezTo>
                    <a:pt x="117824" y="237935"/>
                    <a:pt x="107061" y="239459"/>
                    <a:pt x="95441" y="239459"/>
                  </a:cubicBezTo>
                  <a:close/>
                </a:path>
              </a:pathLst>
            </a:custGeom>
            <a:solidFill>
              <a:srgbClr val="44505E"/>
            </a:solidFill>
            <a:ln w="9525" cap="flat">
              <a:noFill/>
              <a:prstDash val="solid"/>
              <a:miter/>
            </a:ln>
          </p:spPr>
          <p:txBody>
            <a:bodyPr rtlCol="0" anchor="ctr"/>
            <a:lstStyle/>
            <a:p>
              <a:endParaRPr lang="pt-BR" noProof="0"/>
            </a:p>
          </p:txBody>
        </p:sp>
        <p:sp>
          <p:nvSpPr>
            <p:cNvPr id="28" name="Freeform: Shape 40">
              <a:extLst>
                <a:ext uri="{FF2B5EF4-FFF2-40B4-BE49-F238E27FC236}">
                  <a16:creationId xmlns:a16="http://schemas.microsoft.com/office/drawing/2014/main" id="{AA580FDB-4715-C850-94B3-A32F19F8EB63}"/>
                </a:ext>
              </a:extLst>
            </p:cNvPr>
            <p:cNvSpPr/>
            <p:nvPr/>
          </p:nvSpPr>
          <p:spPr>
            <a:xfrm>
              <a:off x="5752668" y="924028"/>
              <a:ext cx="58567" cy="77196"/>
            </a:xfrm>
            <a:custGeom>
              <a:avLst/>
              <a:gdLst>
                <a:gd name="connsiteX0" fmla="*/ 198596 w 232981"/>
                <a:gd name="connsiteY0" fmla="*/ 189357 h 307085"/>
                <a:gd name="connsiteX1" fmla="*/ 182785 w 232981"/>
                <a:gd name="connsiteY1" fmla="*/ 208978 h 307085"/>
                <a:gd name="connsiteX2" fmla="*/ 163354 w 232981"/>
                <a:gd name="connsiteY2" fmla="*/ 225552 h 307085"/>
                <a:gd name="connsiteX3" fmla="*/ 139446 w 232981"/>
                <a:gd name="connsiteY3" fmla="*/ 236696 h 307085"/>
                <a:gd name="connsiteX4" fmla="*/ 110204 w 232981"/>
                <a:gd name="connsiteY4" fmla="*/ 240697 h 307085"/>
                <a:gd name="connsiteX5" fmla="*/ 69628 w 232981"/>
                <a:gd name="connsiteY5" fmla="*/ 232696 h 307085"/>
                <a:gd name="connsiteX6" fmla="*/ 34385 w 232981"/>
                <a:gd name="connsiteY6" fmla="*/ 209264 h 307085"/>
                <a:gd name="connsiteX7" fmla="*/ 9335 w 232981"/>
                <a:gd name="connsiteY7" fmla="*/ 171736 h 307085"/>
                <a:gd name="connsiteX8" fmla="*/ 0 w 232981"/>
                <a:gd name="connsiteY8" fmla="*/ 121063 h 307085"/>
                <a:gd name="connsiteX9" fmla="*/ 0 w 232981"/>
                <a:gd name="connsiteY9" fmla="*/ 120205 h 307085"/>
                <a:gd name="connsiteX10" fmla="*/ 9335 w 232981"/>
                <a:gd name="connsiteY10" fmla="*/ 69723 h 307085"/>
                <a:gd name="connsiteX11" fmla="*/ 34385 w 232981"/>
                <a:gd name="connsiteY11" fmla="*/ 32004 h 307085"/>
                <a:gd name="connsiteX12" fmla="*/ 69628 w 232981"/>
                <a:gd name="connsiteY12" fmla="*/ 8287 h 307085"/>
                <a:gd name="connsiteX13" fmla="*/ 110204 w 232981"/>
                <a:gd name="connsiteY13" fmla="*/ 0 h 307085"/>
                <a:gd name="connsiteX14" fmla="*/ 139637 w 232981"/>
                <a:gd name="connsiteY14" fmla="*/ 4000 h 307085"/>
                <a:gd name="connsiteX15" fmla="*/ 163735 w 232981"/>
                <a:gd name="connsiteY15" fmla="*/ 14668 h 307085"/>
                <a:gd name="connsiteX16" fmla="*/ 183166 w 232981"/>
                <a:gd name="connsiteY16" fmla="*/ 30289 h 307085"/>
                <a:gd name="connsiteX17" fmla="*/ 198596 w 232981"/>
                <a:gd name="connsiteY17" fmla="*/ 49054 h 307085"/>
                <a:gd name="connsiteX18" fmla="*/ 198596 w 232981"/>
                <a:gd name="connsiteY18" fmla="*/ 4858 h 307085"/>
                <a:gd name="connsiteX19" fmla="*/ 232982 w 232981"/>
                <a:gd name="connsiteY19" fmla="*/ 4858 h 307085"/>
                <a:gd name="connsiteX20" fmla="*/ 232982 w 232981"/>
                <a:gd name="connsiteY20" fmla="*/ 307086 h 307085"/>
                <a:gd name="connsiteX21" fmla="*/ 198596 w 232981"/>
                <a:gd name="connsiteY21" fmla="*/ 307086 h 307085"/>
                <a:gd name="connsiteX22" fmla="*/ 198596 w 232981"/>
                <a:gd name="connsiteY22" fmla="*/ 189262 h 307085"/>
                <a:gd name="connsiteX23" fmla="*/ 116491 w 232981"/>
                <a:gd name="connsiteY23" fmla="*/ 209931 h 307085"/>
                <a:gd name="connsiteX24" fmla="*/ 147542 w 232981"/>
                <a:gd name="connsiteY24" fmla="*/ 203454 h 307085"/>
                <a:gd name="connsiteX25" fmla="*/ 174308 w 232981"/>
                <a:gd name="connsiteY25" fmla="*/ 185166 h 307085"/>
                <a:gd name="connsiteX26" fmla="*/ 193072 w 232981"/>
                <a:gd name="connsiteY26" fmla="*/ 157067 h 307085"/>
                <a:gd name="connsiteX27" fmla="*/ 200025 w 232981"/>
                <a:gd name="connsiteY27" fmla="*/ 120682 h 307085"/>
                <a:gd name="connsiteX28" fmla="*/ 200025 w 232981"/>
                <a:gd name="connsiteY28" fmla="*/ 119824 h 307085"/>
                <a:gd name="connsiteX29" fmla="*/ 193072 w 232981"/>
                <a:gd name="connsiteY29" fmla="*/ 83439 h 307085"/>
                <a:gd name="connsiteX30" fmla="*/ 174308 w 232981"/>
                <a:gd name="connsiteY30" fmla="*/ 55531 h 307085"/>
                <a:gd name="connsiteX31" fmla="*/ 147542 w 232981"/>
                <a:gd name="connsiteY31" fmla="*/ 37433 h 307085"/>
                <a:gd name="connsiteX32" fmla="*/ 116491 w 232981"/>
                <a:gd name="connsiteY32" fmla="*/ 30956 h 307085"/>
                <a:gd name="connsiteX33" fmla="*/ 84773 w 232981"/>
                <a:gd name="connsiteY33" fmla="*/ 36957 h 307085"/>
                <a:gd name="connsiteX34" fmla="*/ 59150 w 232981"/>
                <a:gd name="connsiteY34" fmla="*/ 54388 h 307085"/>
                <a:gd name="connsiteX35" fmla="*/ 41720 w 232981"/>
                <a:gd name="connsiteY35" fmla="*/ 82296 h 307085"/>
                <a:gd name="connsiteX36" fmla="*/ 35242 w 232981"/>
                <a:gd name="connsiteY36" fmla="*/ 119824 h 307085"/>
                <a:gd name="connsiteX37" fmla="*/ 35242 w 232981"/>
                <a:gd name="connsiteY37" fmla="*/ 120682 h 307085"/>
                <a:gd name="connsiteX38" fmla="*/ 41720 w 232981"/>
                <a:gd name="connsiteY38" fmla="*/ 157734 h 307085"/>
                <a:gd name="connsiteX39" fmla="*/ 59341 w 232981"/>
                <a:gd name="connsiteY39" fmla="*/ 185833 h 307085"/>
                <a:gd name="connsiteX40" fmla="*/ 85249 w 232981"/>
                <a:gd name="connsiteY40" fmla="*/ 203740 h 307085"/>
                <a:gd name="connsiteX41" fmla="*/ 116491 w 232981"/>
                <a:gd name="connsiteY41" fmla="*/ 210026 h 30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07085">
                  <a:moveTo>
                    <a:pt x="198596" y="189357"/>
                  </a:moveTo>
                  <a:cubicBezTo>
                    <a:pt x="193834" y="196215"/>
                    <a:pt x="188595" y="202787"/>
                    <a:pt x="182785" y="208978"/>
                  </a:cubicBezTo>
                  <a:cubicBezTo>
                    <a:pt x="176975" y="215265"/>
                    <a:pt x="170498" y="220789"/>
                    <a:pt x="163354" y="225552"/>
                  </a:cubicBezTo>
                  <a:cubicBezTo>
                    <a:pt x="156210" y="230314"/>
                    <a:pt x="148209" y="234029"/>
                    <a:pt x="139446" y="236696"/>
                  </a:cubicBezTo>
                  <a:cubicBezTo>
                    <a:pt x="130683" y="239363"/>
                    <a:pt x="120967" y="240697"/>
                    <a:pt x="110204" y="240697"/>
                  </a:cubicBezTo>
                  <a:cubicBezTo>
                    <a:pt x="96203" y="240697"/>
                    <a:pt x="82677" y="238030"/>
                    <a:pt x="69628" y="232696"/>
                  </a:cubicBezTo>
                  <a:cubicBezTo>
                    <a:pt x="56579" y="227362"/>
                    <a:pt x="44767" y="219551"/>
                    <a:pt x="34385" y="209264"/>
                  </a:cubicBezTo>
                  <a:cubicBezTo>
                    <a:pt x="24003" y="198977"/>
                    <a:pt x="15621" y="186499"/>
                    <a:pt x="9335" y="171736"/>
                  </a:cubicBezTo>
                  <a:cubicBezTo>
                    <a:pt x="3048" y="156972"/>
                    <a:pt x="0" y="140113"/>
                    <a:pt x="0" y="121063"/>
                  </a:cubicBezTo>
                  <a:lnTo>
                    <a:pt x="0" y="120205"/>
                  </a:lnTo>
                  <a:cubicBezTo>
                    <a:pt x="0" y="101441"/>
                    <a:pt x="3143" y="84677"/>
                    <a:pt x="9335" y="69723"/>
                  </a:cubicBezTo>
                  <a:cubicBezTo>
                    <a:pt x="15621" y="54864"/>
                    <a:pt x="23908" y="42291"/>
                    <a:pt x="34385" y="32004"/>
                  </a:cubicBezTo>
                  <a:cubicBezTo>
                    <a:pt x="44767" y="21717"/>
                    <a:pt x="56579" y="13811"/>
                    <a:pt x="69628" y="8287"/>
                  </a:cubicBezTo>
                  <a:cubicBezTo>
                    <a:pt x="82677" y="2762"/>
                    <a:pt x="96298" y="0"/>
                    <a:pt x="110204" y="0"/>
                  </a:cubicBezTo>
                  <a:cubicBezTo>
                    <a:pt x="120967" y="0"/>
                    <a:pt x="130778" y="1333"/>
                    <a:pt x="139637" y="4000"/>
                  </a:cubicBezTo>
                  <a:cubicBezTo>
                    <a:pt x="148590" y="6667"/>
                    <a:pt x="156591" y="10287"/>
                    <a:pt x="163735" y="14668"/>
                  </a:cubicBezTo>
                  <a:cubicBezTo>
                    <a:pt x="170879" y="19145"/>
                    <a:pt x="177356" y="24384"/>
                    <a:pt x="183166" y="30289"/>
                  </a:cubicBezTo>
                  <a:cubicBezTo>
                    <a:pt x="188976" y="36290"/>
                    <a:pt x="194120" y="42481"/>
                    <a:pt x="198596" y="49054"/>
                  </a:cubicBezTo>
                  <a:lnTo>
                    <a:pt x="198596" y="4858"/>
                  </a:lnTo>
                  <a:lnTo>
                    <a:pt x="232982" y="4858"/>
                  </a:lnTo>
                  <a:lnTo>
                    <a:pt x="232982" y="307086"/>
                  </a:lnTo>
                  <a:lnTo>
                    <a:pt x="198596" y="307086"/>
                  </a:lnTo>
                  <a:lnTo>
                    <a:pt x="198596" y="189262"/>
                  </a:lnTo>
                  <a:close/>
                  <a:moveTo>
                    <a:pt x="116491" y="209931"/>
                  </a:moveTo>
                  <a:cubicBezTo>
                    <a:pt x="127159" y="209931"/>
                    <a:pt x="137541" y="207740"/>
                    <a:pt x="147542" y="203454"/>
                  </a:cubicBezTo>
                  <a:cubicBezTo>
                    <a:pt x="157544" y="199168"/>
                    <a:pt x="166402" y="193072"/>
                    <a:pt x="174308" y="185166"/>
                  </a:cubicBezTo>
                  <a:cubicBezTo>
                    <a:pt x="182213" y="177260"/>
                    <a:pt x="188404" y="167926"/>
                    <a:pt x="193072" y="157067"/>
                  </a:cubicBezTo>
                  <a:cubicBezTo>
                    <a:pt x="197739" y="146209"/>
                    <a:pt x="200025" y="134112"/>
                    <a:pt x="200025" y="120682"/>
                  </a:cubicBezTo>
                  <a:lnTo>
                    <a:pt x="200025" y="119824"/>
                  </a:lnTo>
                  <a:cubicBezTo>
                    <a:pt x="200025" y="106394"/>
                    <a:pt x="197739" y="94297"/>
                    <a:pt x="193072" y="83439"/>
                  </a:cubicBezTo>
                  <a:cubicBezTo>
                    <a:pt x="188500" y="72580"/>
                    <a:pt x="182213" y="63246"/>
                    <a:pt x="174308" y="55531"/>
                  </a:cubicBezTo>
                  <a:cubicBezTo>
                    <a:pt x="166402" y="47815"/>
                    <a:pt x="157544" y="41815"/>
                    <a:pt x="147542" y="37433"/>
                  </a:cubicBezTo>
                  <a:cubicBezTo>
                    <a:pt x="137541" y="33147"/>
                    <a:pt x="127254" y="30956"/>
                    <a:pt x="116491" y="30956"/>
                  </a:cubicBezTo>
                  <a:cubicBezTo>
                    <a:pt x="105156" y="30956"/>
                    <a:pt x="94583" y="32956"/>
                    <a:pt x="84773" y="36957"/>
                  </a:cubicBezTo>
                  <a:cubicBezTo>
                    <a:pt x="74962" y="40957"/>
                    <a:pt x="66389" y="46767"/>
                    <a:pt x="59150" y="54388"/>
                  </a:cubicBezTo>
                  <a:cubicBezTo>
                    <a:pt x="51816" y="61913"/>
                    <a:pt x="46101" y="71247"/>
                    <a:pt x="41720" y="82296"/>
                  </a:cubicBezTo>
                  <a:cubicBezTo>
                    <a:pt x="37433" y="93250"/>
                    <a:pt x="35242" y="105823"/>
                    <a:pt x="35242" y="119824"/>
                  </a:cubicBezTo>
                  <a:lnTo>
                    <a:pt x="35242" y="120682"/>
                  </a:lnTo>
                  <a:cubicBezTo>
                    <a:pt x="35242" y="134398"/>
                    <a:pt x="37433" y="146780"/>
                    <a:pt x="41720" y="157734"/>
                  </a:cubicBezTo>
                  <a:cubicBezTo>
                    <a:pt x="46006" y="168783"/>
                    <a:pt x="51911" y="178117"/>
                    <a:pt x="59341" y="185833"/>
                  </a:cubicBezTo>
                  <a:cubicBezTo>
                    <a:pt x="66770" y="193548"/>
                    <a:pt x="75438" y="199549"/>
                    <a:pt x="85249" y="203740"/>
                  </a:cubicBezTo>
                  <a:cubicBezTo>
                    <a:pt x="95060" y="207931"/>
                    <a:pt x="105442" y="210026"/>
                    <a:pt x="116491" y="210026"/>
                  </a:cubicBezTo>
                  <a:close/>
                </a:path>
              </a:pathLst>
            </a:custGeom>
            <a:solidFill>
              <a:srgbClr val="44505E"/>
            </a:solidFill>
            <a:ln w="9525" cap="flat">
              <a:noFill/>
              <a:prstDash val="solid"/>
              <a:miter/>
            </a:ln>
          </p:spPr>
          <p:txBody>
            <a:bodyPr rtlCol="0" anchor="ctr"/>
            <a:lstStyle/>
            <a:p>
              <a:endParaRPr lang="pt-BR" noProof="0"/>
            </a:p>
          </p:txBody>
        </p:sp>
        <p:sp>
          <p:nvSpPr>
            <p:cNvPr id="29" name="Freeform: Shape 41">
              <a:extLst>
                <a:ext uri="{FF2B5EF4-FFF2-40B4-BE49-F238E27FC236}">
                  <a16:creationId xmlns:a16="http://schemas.microsoft.com/office/drawing/2014/main" id="{8DF55A34-BFE2-6F0F-C314-83B208AF43F1}"/>
                </a:ext>
              </a:extLst>
            </p:cNvPr>
            <p:cNvSpPr/>
            <p:nvPr/>
          </p:nvSpPr>
          <p:spPr>
            <a:xfrm>
              <a:off x="5829624" y="925297"/>
              <a:ext cx="50618" cy="59238"/>
            </a:xfrm>
            <a:custGeom>
              <a:avLst/>
              <a:gdLst>
                <a:gd name="connsiteX0" fmla="*/ 88392 w 201358"/>
                <a:gd name="connsiteY0" fmla="*/ 235648 h 235648"/>
                <a:gd name="connsiteX1" fmla="*/ 51149 w 201358"/>
                <a:gd name="connsiteY1" fmla="*/ 228981 h 235648"/>
                <a:gd name="connsiteX2" fmla="*/ 23432 w 201358"/>
                <a:gd name="connsiteY2" fmla="*/ 210026 h 235648"/>
                <a:gd name="connsiteX3" fmla="*/ 6001 w 201358"/>
                <a:gd name="connsiteY3" fmla="*/ 180784 h 235648"/>
                <a:gd name="connsiteX4" fmla="*/ 0 w 201358"/>
                <a:gd name="connsiteY4" fmla="*/ 143256 h 235648"/>
                <a:gd name="connsiteX5" fmla="*/ 0 w 201358"/>
                <a:gd name="connsiteY5" fmla="*/ 0 h 235648"/>
                <a:gd name="connsiteX6" fmla="*/ 34385 w 201358"/>
                <a:gd name="connsiteY6" fmla="*/ 0 h 235648"/>
                <a:gd name="connsiteX7" fmla="*/ 34385 w 201358"/>
                <a:gd name="connsiteY7" fmla="*/ 134493 h 235648"/>
                <a:gd name="connsiteX8" fmla="*/ 50959 w 201358"/>
                <a:gd name="connsiteY8" fmla="*/ 185261 h 235648"/>
                <a:gd name="connsiteX9" fmla="*/ 98298 w 201358"/>
                <a:gd name="connsiteY9" fmla="*/ 203930 h 235648"/>
                <a:gd name="connsiteX10" fmla="*/ 125730 w 201358"/>
                <a:gd name="connsiteY10" fmla="*/ 198787 h 235648"/>
                <a:gd name="connsiteX11" fmla="*/ 147638 w 201358"/>
                <a:gd name="connsiteY11" fmla="*/ 184118 h 235648"/>
                <a:gd name="connsiteX12" fmla="*/ 162116 w 201358"/>
                <a:gd name="connsiteY12" fmla="*/ 161163 h 235648"/>
                <a:gd name="connsiteX13" fmla="*/ 167450 w 201358"/>
                <a:gd name="connsiteY13" fmla="*/ 131826 h 235648"/>
                <a:gd name="connsiteX14" fmla="*/ 167450 w 201358"/>
                <a:gd name="connsiteY14" fmla="*/ 0 h 235648"/>
                <a:gd name="connsiteX15" fmla="*/ 201359 w 201358"/>
                <a:gd name="connsiteY15" fmla="*/ 0 h 235648"/>
                <a:gd name="connsiteX16" fmla="*/ 201359 w 201358"/>
                <a:gd name="connsiteY16" fmla="*/ 230791 h 235648"/>
                <a:gd name="connsiteX17" fmla="*/ 167450 w 201358"/>
                <a:gd name="connsiteY17" fmla="*/ 230791 h 235648"/>
                <a:gd name="connsiteX18" fmla="*/ 167450 w 201358"/>
                <a:gd name="connsiteY18" fmla="*/ 190595 h 235648"/>
                <a:gd name="connsiteX19" fmla="*/ 137065 w 201358"/>
                <a:gd name="connsiteY19" fmla="*/ 222504 h 235648"/>
                <a:gd name="connsiteX20" fmla="*/ 88392 w 201358"/>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358" h="235648">
                  <a:moveTo>
                    <a:pt x="88392" y="235648"/>
                  </a:moveTo>
                  <a:cubicBezTo>
                    <a:pt x="74390" y="235648"/>
                    <a:pt x="62008" y="233363"/>
                    <a:pt x="51149" y="228981"/>
                  </a:cubicBezTo>
                  <a:cubicBezTo>
                    <a:pt x="40291" y="224504"/>
                    <a:pt x="31052" y="218218"/>
                    <a:pt x="23432"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959" y="185261"/>
                  </a:cubicBezTo>
                  <a:cubicBezTo>
                    <a:pt x="61913" y="197739"/>
                    <a:pt x="77724" y="203930"/>
                    <a:pt x="98298" y="203930"/>
                  </a:cubicBezTo>
                  <a:cubicBezTo>
                    <a:pt x="108109" y="203930"/>
                    <a:pt x="117253" y="202216"/>
                    <a:pt x="125730" y="198787"/>
                  </a:cubicBezTo>
                  <a:cubicBezTo>
                    <a:pt x="134207" y="195358"/>
                    <a:pt x="141446" y="190500"/>
                    <a:pt x="147638" y="184118"/>
                  </a:cubicBezTo>
                  <a:cubicBezTo>
                    <a:pt x="153734" y="177736"/>
                    <a:pt x="158591" y="170116"/>
                    <a:pt x="162116" y="161163"/>
                  </a:cubicBezTo>
                  <a:cubicBezTo>
                    <a:pt x="165735" y="152305"/>
                    <a:pt x="167450" y="142494"/>
                    <a:pt x="167450" y="131826"/>
                  </a:cubicBezTo>
                  <a:lnTo>
                    <a:pt x="167450" y="0"/>
                  </a:lnTo>
                  <a:lnTo>
                    <a:pt x="201359" y="0"/>
                  </a:lnTo>
                  <a:lnTo>
                    <a:pt x="201359" y="230791"/>
                  </a:lnTo>
                  <a:lnTo>
                    <a:pt x="167450" y="230791"/>
                  </a:lnTo>
                  <a:lnTo>
                    <a:pt x="167450" y="190595"/>
                  </a:lnTo>
                  <a:cubicBezTo>
                    <a:pt x="159734" y="203073"/>
                    <a:pt x="149543" y="213741"/>
                    <a:pt x="137065" y="222504"/>
                  </a:cubicBezTo>
                  <a:cubicBezTo>
                    <a:pt x="124587" y="231267"/>
                    <a:pt x="108395" y="235648"/>
                    <a:pt x="88392" y="235648"/>
                  </a:cubicBezTo>
                  <a:close/>
                </a:path>
              </a:pathLst>
            </a:custGeom>
            <a:solidFill>
              <a:srgbClr val="44505E"/>
            </a:solidFill>
            <a:ln w="9525" cap="flat">
              <a:noFill/>
              <a:prstDash val="solid"/>
              <a:miter/>
            </a:ln>
          </p:spPr>
          <p:txBody>
            <a:bodyPr rtlCol="0" anchor="ctr"/>
            <a:lstStyle/>
            <a:p>
              <a:endParaRPr lang="pt-BR" noProof="0"/>
            </a:p>
          </p:txBody>
        </p:sp>
        <p:sp>
          <p:nvSpPr>
            <p:cNvPr id="30" name="Freeform: Shape 42">
              <a:extLst>
                <a:ext uri="{FF2B5EF4-FFF2-40B4-BE49-F238E27FC236}">
                  <a16:creationId xmlns:a16="http://schemas.microsoft.com/office/drawing/2014/main" id="{CD175BBA-01E3-84D7-D076-145FBF03832E}"/>
                </a:ext>
              </a:extLst>
            </p:cNvPr>
            <p:cNvSpPr/>
            <p:nvPr/>
          </p:nvSpPr>
          <p:spPr>
            <a:xfrm>
              <a:off x="5896069"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7059 w 218217"/>
                <a:gd name="connsiteY3" fmla="*/ 206026 h 241077"/>
                <a:gd name="connsiteX4" fmla="*/ 116110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7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0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356 w 218217"/>
                <a:gd name="connsiteY25" fmla="*/ 106299 h 241077"/>
                <a:gd name="connsiteX26" fmla="*/ 176689 w 218217"/>
                <a:gd name="connsiteY26" fmla="*/ 76771 h 241077"/>
                <a:gd name="connsiteX27" fmla="*/ 162211 w 218217"/>
                <a:gd name="connsiteY27" fmla="*/ 52101 h 241077"/>
                <a:gd name="connsiteX28" fmla="*/ 139922 w 218217"/>
                <a:gd name="connsiteY28" fmla="*/ 35242 h 241077"/>
                <a:gd name="connsiteX29" fmla="*/ 109823 w 218217"/>
                <a:gd name="connsiteY29" fmla="*/ 29051 h 241077"/>
                <a:gd name="connsiteX30" fmla="*/ 82105 w 218217"/>
                <a:gd name="connsiteY30" fmla="*/ 34766 h 241077"/>
                <a:gd name="connsiteX31" fmla="*/ 59341 w 218217"/>
                <a:gd name="connsiteY31" fmla="*/ 50959 h 241077"/>
                <a:gd name="connsiteX32" fmla="*/ 43053 w 218217"/>
                <a:gd name="connsiteY32" fmla="*/ 75628 h 241077"/>
                <a:gd name="connsiteX33" fmla="*/ 34766 w 218217"/>
                <a:gd name="connsiteY33" fmla="*/ 106204 h 241077"/>
                <a:gd name="connsiteX34" fmla="*/ 183356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819" y="202597"/>
                    <a:pt x="87059" y="206026"/>
                  </a:cubicBezTo>
                  <a:cubicBezTo>
                    <a:pt x="96298" y="209455"/>
                    <a:pt x="105918" y="211169"/>
                    <a:pt x="116110" y="211169"/>
                  </a:cubicBezTo>
                  <a:cubicBezTo>
                    <a:pt x="132207" y="211169"/>
                    <a:pt x="145923" y="208216"/>
                    <a:pt x="157353" y="202216"/>
                  </a:cubicBezTo>
                  <a:cubicBezTo>
                    <a:pt x="168783" y="196310"/>
                    <a:pt x="179261" y="188404"/>
                    <a:pt x="188786" y="178594"/>
                  </a:cubicBezTo>
                  <a:lnTo>
                    <a:pt x="210217" y="197834"/>
                  </a:lnTo>
                  <a:cubicBezTo>
                    <a:pt x="198596" y="210979"/>
                    <a:pt x="185356" y="221361"/>
                    <a:pt x="170497" y="229267"/>
                  </a:cubicBezTo>
                  <a:cubicBezTo>
                    <a:pt x="155638"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583" y="0"/>
                    <a:pt x="110680"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356" y="106299"/>
                  </a:moveTo>
                  <a:cubicBezTo>
                    <a:pt x="182499" y="95917"/>
                    <a:pt x="180213" y="86106"/>
                    <a:pt x="176689" y="76771"/>
                  </a:cubicBezTo>
                  <a:cubicBezTo>
                    <a:pt x="173069" y="67437"/>
                    <a:pt x="168307" y="59245"/>
                    <a:pt x="162211" y="52101"/>
                  </a:cubicBezTo>
                  <a:cubicBezTo>
                    <a:pt x="156115" y="44958"/>
                    <a:pt x="148685" y="39338"/>
                    <a:pt x="139922" y="35242"/>
                  </a:cubicBezTo>
                  <a:cubicBezTo>
                    <a:pt x="131159" y="31147"/>
                    <a:pt x="121063" y="29051"/>
                    <a:pt x="109823" y="29051"/>
                  </a:cubicBezTo>
                  <a:cubicBezTo>
                    <a:pt x="100013" y="29051"/>
                    <a:pt x="90773" y="30956"/>
                    <a:pt x="82105" y="34766"/>
                  </a:cubicBezTo>
                  <a:cubicBezTo>
                    <a:pt x="73438" y="38671"/>
                    <a:pt x="65913" y="44005"/>
                    <a:pt x="59341" y="50959"/>
                  </a:cubicBezTo>
                  <a:cubicBezTo>
                    <a:pt x="52769" y="57912"/>
                    <a:pt x="47339" y="66103"/>
                    <a:pt x="43053" y="75628"/>
                  </a:cubicBezTo>
                  <a:cubicBezTo>
                    <a:pt x="38767" y="85058"/>
                    <a:pt x="36004" y="95345"/>
                    <a:pt x="34766" y="106204"/>
                  </a:cubicBezTo>
                  <a:lnTo>
                    <a:pt x="183356" y="106204"/>
                  </a:lnTo>
                  <a:close/>
                </a:path>
              </a:pathLst>
            </a:custGeom>
            <a:solidFill>
              <a:srgbClr val="44505E"/>
            </a:solidFill>
            <a:ln w="9525" cap="flat">
              <a:noFill/>
              <a:prstDash val="solid"/>
              <a:miter/>
            </a:ln>
          </p:spPr>
          <p:txBody>
            <a:bodyPr rtlCol="0" anchor="ctr"/>
            <a:lstStyle/>
            <a:p>
              <a:endParaRPr lang="pt-BR" noProof="0"/>
            </a:p>
          </p:txBody>
        </p:sp>
        <p:sp>
          <p:nvSpPr>
            <p:cNvPr id="31" name="Freeform: Shape 43">
              <a:extLst>
                <a:ext uri="{FF2B5EF4-FFF2-40B4-BE49-F238E27FC236}">
                  <a16:creationId xmlns:a16="http://schemas.microsoft.com/office/drawing/2014/main" id="{99966320-6FC6-4E19-CFE2-95A2EA225E0D}"/>
                </a:ext>
              </a:extLst>
            </p:cNvPr>
            <p:cNvSpPr/>
            <p:nvPr/>
          </p:nvSpPr>
          <p:spPr>
            <a:xfrm>
              <a:off x="5994910" y="924268"/>
              <a:ext cx="44680" cy="60195"/>
            </a:xfrm>
            <a:custGeom>
              <a:avLst/>
              <a:gdLst>
                <a:gd name="connsiteX0" fmla="*/ 95536 w 177736"/>
                <a:gd name="connsiteY0" fmla="*/ 239268 h 239458"/>
                <a:gd name="connsiteX1" fmla="*/ 45053 w 177736"/>
                <a:gd name="connsiteY1" fmla="*/ 230124 h 239458"/>
                <a:gd name="connsiteX2" fmla="*/ 0 w 177736"/>
                <a:gd name="connsiteY2" fmla="*/ 205359 h 239458"/>
                <a:gd name="connsiteX3" fmla="*/ 17431 w 177736"/>
                <a:gd name="connsiteY3" fmla="*/ 180785 h 239458"/>
                <a:gd name="connsiteX4" fmla="*/ 56483 w 177736"/>
                <a:gd name="connsiteY4" fmla="*/ 202692 h 239458"/>
                <a:gd name="connsiteX5" fmla="*/ 97346 w 177736"/>
                <a:gd name="connsiteY5" fmla="*/ 210217 h 239458"/>
                <a:gd name="connsiteX6" fmla="*/ 131731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730 w 177736"/>
                <a:gd name="connsiteY10" fmla="*/ 147066 h 239458"/>
                <a:gd name="connsiteX11" fmla="*/ 109252 w 177736"/>
                <a:gd name="connsiteY11" fmla="*/ 138779 h 239458"/>
                <a:gd name="connsiteX12" fmla="*/ 87630 w 177736"/>
                <a:gd name="connsiteY12" fmla="*/ 132112 h 239458"/>
                <a:gd name="connsiteX13" fmla="*/ 60674 w 177736"/>
                <a:gd name="connsiteY13" fmla="*/ 123444 h 239458"/>
                <a:gd name="connsiteX14" fmla="*/ 36100 w 177736"/>
                <a:gd name="connsiteY14" fmla="*/ 111633 h 239458"/>
                <a:gd name="connsiteX15" fmla="*/ 18193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60 w 177736"/>
                <a:gd name="connsiteY22" fmla="*/ 6953 h 239458"/>
                <a:gd name="connsiteX23" fmla="*/ 172879 w 177736"/>
                <a:gd name="connsiteY23" fmla="*/ 25527 h 239458"/>
                <a:gd name="connsiteX24" fmla="*/ 157258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4 w 177736"/>
                <a:gd name="connsiteY32" fmla="*/ 96203 h 239458"/>
                <a:gd name="connsiteX33" fmla="*/ 103632 w 177736"/>
                <a:gd name="connsiteY33" fmla="*/ 103346 h 239458"/>
                <a:gd name="connsiteX34" fmla="*/ 130207 w 177736"/>
                <a:gd name="connsiteY34" fmla="*/ 112300 h 239458"/>
                <a:gd name="connsiteX35" fmla="*/ 154114 w 177736"/>
                <a:gd name="connsiteY35" fmla="*/ 124778 h 239458"/>
                <a:gd name="connsiteX36" fmla="*/ 171260 w 177736"/>
                <a:gd name="connsiteY36" fmla="*/ 143066 h 239458"/>
                <a:gd name="connsiteX37" fmla="*/ 177737 w 177736"/>
                <a:gd name="connsiteY37" fmla="*/ 169450 h 239458"/>
                <a:gd name="connsiteX38" fmla="*/ 177737 w 177736"/>
                <a:gd name="connsiteY38" fmla="*/ 170307 h 239458"/>
                <a:gd name="connsiteX39" fmla="*/ 171260 w 177736"/>
                <a:gd name="connsiteY39" fmla="*/ 199549 h 239458"/>
                <a:gd name="connsiteX40" fmla="*/ 153829 w 177736"/>
                <a:gd name="connsiteY40" fmla="*/ 221171 h 239458"/>
                <a:gd name="connsiteX41" fmla="*/ 127921 w 177736"/>
                <a:gd name="connsiteY41" fmla="*/ 234791 h 239458"/>
                <a:gd name="connsiteX42" fmla="*/ 95536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6" y="239268"/>
                  </a:moveTo>
                  <a:cubicBezTo>
                    <a:pt x="78867" y="239268"/>
                    <a:pt x="62008" y="236220"/>
                    <a:pt x="45053" y="230124"/>
                  </a:cubicBezTo>
                  <a:cubicBezTo>
                    <a:pt x="28099" y="224028"/>
                    <a:pt x="13049" y="215741"/>
                    <a:pt x="0" y="205359"/>
                  </a:cubicBezTo>
                  <a:lnTo>
                    <a:pt x="17431" y="180785"/>
                  </a:lnTo>
                  <a:cubicBezTo>
                    <a:pt x="29909"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637" y="162211"/>
                    <a:pt x="140494" y="158020"/>
                  </a:cubicBezTo>
                  <a:cubicBezTo>
                    <a:pt x="137351" y="153829"/>
                    <a:pt x="133160" y="150209"/>
                    <a:pt x="127730" y="147066"/>
                  </a:cubicBezTo>
                  <a:cubicBezTo>
                    <a:pt x="122396" y="143923"/>
                    <a:pt x="116205" y="141161"/>
                    <a:pt x="109252" y="138779"/>
                  </a:cubicBezTo>
                  <a:cubicBezTo>
                    <a:pt x="102299" y="136398"/>
                    <a:pt x="95060" y="134207"/>
                    <a:pt x="87630" y="132112"/>
                  </a:cubicBezTo>
                  <a:cubicBezTo>
                    <a:pt x="78677" y="129445"/>
                    <a:pt x="69723" y="126492"/>
                    <a:pt x="60674" y="123444"/>
                  </a:cubicBezTo>
                  <a:cubicBezTo>
                    <a:pt x="51626" y="120301"/>
                    <a:pt x="43434" y="116396"/>
                    <a:pt x="36100" y="111633"/>
                  </a:cubicBezTo>
                  <a:cubicBezTo>
                    <a:pt x="28766" y="106871"/>
                    <a:pt x="22860" y="100870"/>
                    <a:pt x="18193" y="93726"/>
                  </a:cubicBezTo>
                  <a:cubicBezTo>
                    <a:pt x="13621" y="86582"/>
                    <a:pt x="11239" y="77629"/>
                    <a:pt x="11239" y="66961"/>
                  </a:cubicBezTo>
                  <a:lnTo>
                    <a:pt x="11239" y="66008"/>
                  </a:lnTo>
                  <a:cubicBezTo>
                    <a:pt x="11239" y="56198"/>
                    <a:pt x="13145" y="47149"/>
                    <a:pt x="17050" y="39053"/>
                  </a:cubicBezTo>
                  <a:cubicBezTo>
                    <a:pt x="20860" y="30861"/>
                    <a:pt x="26289" y="23908"/>
                    <a:pt x="33338" y="18098"/>
                  </a:cubicBezTo>
                  <a:cubicBezTo>
                    <a:pt x="40291" y="12287"/>
                    <a:pt x="48673" y="7811"/>
                    <a:pt x="58388" y="4667"/>
                  </a:cubicBezTo>
                  <a:cubicBezTo>
                    <a:pt x="68009" y="1524"/>
                    <a:pt x="78581" y="0"/>
                    <a:pt x="89821" y="0"/>
                  </a:cubicBezTo>
                  <a:cubicBezTo>
                    <a:pt x="104108" y="0"/>
                    <a:pt x="118491" y="2286"/>
                    <a:pt x="133160" y="6953"/>
                  </a:cubicBezTo>
                  <a:cubicBezTo>
                    <a:pt x="147733" y="11621"/>
                    <a:pt x="160972" y="17717"/>
                    <a:pt x="172879" y="25527"/>
                  </a:cubicBezTo>
                  <a:lnTo>
                    <a:pt x="157258" y="51435"/>
                  </a:lnTo>
                  <a:cubicBezTo>
                    <a:pt x="146495" y="44577"/>
                    <a:pt x="135350" y="39148"/>
                    <a:pt x="123539" y="35147"/>
                  </a:cubicBezTo>
                  <a:cubicBezTo>
                    <a:pt x="111824" y="31147"/>
                    <a:pt x="100298" y="29146"/>
                    <a:pt x="88963" y="29146"/>
                  </a:cubicBezTo>
                  <a:cubicBezTo>
                    <a:pt x="75247" y="29146"/>
                    <a:pt x="64389" y="32385"/>
                    <a:pt x="56388" y="38767"/>
                  </a:cubicBezTo>
                  <a:cubicBezTo>
                    <a:pt x="48387" y="45149"/>
                    <a:pt x="44291" y="53150"/>
                    <a:pt x="44291" y="62675"/>
                  </a:cubicBezTo>
                  <a:lnTo>
                    <a:pt x="44291" y="63627"/>
                  </a:lnTo>
                  <a:cubicBezTo>
                    <a:pt x="44291" y="68961"/>
                    <a:pt x="45911" y="73628"/>
                    <a:pt x="49244" y="77724"/>
                  </a:cubicBezTo>
                  <a:cubicBezTo>
                    <a:pt x="52483" y="81725"/>
                    <a:pt x="56960" y="85249"/>
                    <a:pt x="62389" y="88202"/>
                  </a:cubicBezTo>
                  <a:cubicBezTo>
                    <a:pt x="67913" y="91154"/>
                    <a:pt x="74200" y="93821"/>
                    <a:pt x="81344" y="96203"/>
                  </a:cubicBezTo>
                  <a:cubicBezTo>
                    <a:pt x="88487" y="98584"/>
                    <a:pt x="95917" y="100965"/>
                    <a:pt x="103632" y="103346"/>
                  </a:cubicBezTo>
                  <a:cubicBezTo>
                    <a:pt x="112586" y="106013"/>
                    <a:pt x="121444" y="108966"/>
                    <a:pt x="130207" y="112300"/>
                  </a:cubicBezTo>
                  <a:cubicBezTo>
                    <a:pt x="138970" y="115538"/>
                    <a:pt x="146971" y="119729"/>
                    <a:pt x="154114" y="124778"/>
                  </a:cubicBezTo>
                  <a:cubicBezTo>
                    <a:pt x="161258" y="129826"/>
                    <a:pt x="166973" y="135922"/>
                    <a:pt x="171260" y="143066"/>
                  </a:cubicBezTo>
                  <a:cubicBezTo>
                    <a:pt x="175546" y="150209"/>
                    <a:pt x="177737" y="158972"/>
                    <a:pt x="177737" y="169450"/>
                  </a:cubicBezTo>
                  <a:lnTo>
                    <a:pt x="177737" y="170307"/>
                  </a:lnTo>
                  <a:cubicBezTo>
                    <a:pt x="177737" y="181356"/>
                    <a:pt x="175546" y="191071"/>
                    <a:pt x="171260" y="199549"/>
                  </a:cubicBezTo>
                  <a:cubicBezTo>
                    <a:pt x="166973" y="208026"/>
                    <a:pt x="161163" y="215265"/>
                    <a:pt x="153829" y="221171"/>
                  </a:cubicBezTo>
                  <a:cubicBezTo>
                    <a:pt x="146495" y="227171"/>
                    <a:pt x="137922" y="231648"/>
                    <a:pt x="127921" y="234791"/>
                  </a:cubicBezTo>
                  <a:cubicBezTo>
                    <a:pt x="117920" y="237935"/>
                    <a:pt x="107156" y="239459"/>
                    <a:pt x="95536" y="239459"/>
                  </a:cubicBezTo>
                  <a:close/>
                </a:path>
              </a:pathLst>
            </a:custGeom>
            <a:solidFill>
              <a:srgbClr val="44505E"/>
            </a:solidFill>
            <a:ln w="9525" cap="flat">
              <a:noFill/>
              <a:prstDash val="solid"/>
              <a:miter/>
            </a:ln>
          </p:spPr>
          <p:txBody>
            <a:bodyPr rtlCol="0" anchor="ctr"/>
            <a:lstStyle/>
            <a:p>
              <a:endParaRPr lang="pt-BR" noProof="0"/>
            </a:p>
          </p:txBody>
        </p:sp>
        <p:sp>
          <p:nvSpPr>
            <p:cNvPr id="32" name="Freeform: Shape 44">
              <a:extLst>
                <a:ext uri="{FF2B5EF4-FFF2-40B4-BE49-F238E27FC236}">
                  <a16:creationId xmlns:a16="http://schemas.microsoft.com/office/drawing/2014/main" id="{FE055C87-81E5-BEB7-B864-A1ACC633FE57}"/>
                </a:ext>
              </a:extLst>
            </p:cNvPr>
            <p:cNvSpPr/>
            <p:nvPr/>
          </p:nvSpPr>
          <p:spPr>
            <a:xfrm>
              <a:off x="605122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4 w 202977"/>
                <a:gd name="connsiteY30" fmla="*/ 174593 h 239267"/>
                <a:gd name="connsiteX31" fmla="*/ 169735 w 202977"/>
                <a:gd name="connsiteY31" fmla="*/ 149447 h 239267"/>
                <a:gd name="connsiteX32" fmla="*/ 169735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0" y="90964"/>
                    <a:pt x="98584" y="90964"/>
                  </a:cubicBezTo>
                  <a:cubicBezTo>
                    <a:pt x="113157" y="90964"/>
                    <a:pt x="126301"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1" y="33147"/>
                    <a:pt x="63436" y="36100"/>
                  </a:cubicBezTo>
                  <a:cubicBezTo>
                    <a:pt x="52292" y="39053"/>
                    <a:pt x="41338" y="43053"/>
                    <a:pt x="30671" y="48196"/>
                  </a:cubicBezTo>
                  <a:lnTo>
                    <a:pt x="20383" y="19907"/>
                  </a:lnTo>
                  <a:cubicBezTo>
                    <a:pt x="33147" y="13906"/>
                    <a:pt x="46101" y="9049"/>
                    <a:pt x="59246" y="5429"/>
                  </a:cubicBezTo>
                  <a:cubicBezTo>
                    <a:pt x="72295"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1" y="239173"/>
                  </a:cubicBezTo>
                  <a:close/>
                  <a:moveTo>
                    <a:pt x="93154" y="211169"/>
                  </a:moveTo>
                  <a:cubicBezTo>
                    <a:pt x="103822" y="211169"/>
                    <a:pt x="113728" y="209740"/>
                    <a:pt x="122967" y="206788"/>
                  </a:cubicBezTo>
                  <a:cubicBezTo>
                    <a:pt x="132207" y="203835"/>
                    <a:pt x="140208" y="199644"/>
                    <a:pt x="147256" y="194120"/>
                  </a:cubicBezTo>
                  <a:cubicBezTo>
                    <a:pt x="154209" y="188595"/>
                    <a:pt x="159734" y="182118"/>
                    <a:pt x="163734" y="174593"/>
                  </a:cubicBezTo>
                  <a:cubicBezTo>
                    <a:pt x="167735" y="167068"/>
                    <a:pt x="169735" y="158687"/>
                    <a:pt x="169735" y="149447"/>
                  </a:cubicBezTo>
                  <a:lnTo>
                    <a:pt x="169735" y="128111"/>
                  </a:lnTo>
                  <a:cubicBezTo>
                    <a:pt x="161163" y="125730"/>
                    <a:pt x="151352" y="123539"/>
                    <a:pt x="140398" y="121444"/>
                  </a:cubicBezTo>
                  <a:cubicBezTo>
                    <a:pt x="129445" y="119348"/>
                    <a:pt x="116872"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33" name="Freeform: Shape 45">
              <a:extLst>
                <a:ext uri="{FF2B5EF4-FFF2-40B4-BE49-F238E27FC236}">
                  <a16:creationId xmlns:a16="http://schemas.microsoft.com/office/drawing/2014/main" id="{3AB8F5DE-27B2-4F41-1E49-128BD39D943D}"/>
                </a:ext>
              </a:extLst>
            </p:cNvPr>
            <p:cNvSpPr/>
            <p:nvPr/>
          </p:nvSpPr>
          <p:spPr>
            <a:xfrm>
              <a:off x="6121359" y="901377"/>
              <a:ext cx="8644" cy="81913"/>
            </a:xfrm>
            <a:custGeom>
              <a:avLst/>
              <a:gdLst>
                <a:gd name="connsiteX0" fmla="*/ 0 w 34385"/>
                <a:gd name="connsiteY0" fmla="*/ 0 h 325850"/>
                <a:gd name="connsiteX1" fmla="*/ 34385 w 34385"/>
                <a:gd name="connsiteY1" fmla="*/ 0 h 325850"/>
                <a:gd name="connsiteX2" fmla="*/ 34385 w 34385"/>
                <a:gd name="connsiteY2" fmla="*/ 325850 h 325850"/>
                <a:gd name="connsiteX3" fmla="*/ 0 w 34385"/>
                <a:gd name="connsiteY3" fmla="*/ 325850 h 325850"/>
                <a:gd name="connsiteX4" fmla="*/ 0 w 34385"/>
                <a:gd name="connsiteY4" fmla="*/ 0 h 32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 h="325850">
                  <a:moveTo>
                    <a:pt x="0" y="0"/>
                  </a:moveTo>
                  <a:lnTo>
                    <a:pt x="34385" y="0"/>
                  </a:lnTo>
                  <a:lnTo>
                    <a:pt x="34385" y="325850"/>
                  </a:lnTo>
                  <a:lnTo>
                    <a:pt x="0" y="325850"/>
                  </a:lnTo>
                  <a:lnTo>
                    <a:pt x="0" y="0"/>
                  </a:lnTo>
                  <a:close/>
                </a:path>
              </a:pathLst>
            </a:custGeom>
            <a:solidFill>
              <a:srgbClr val="44505E"/>
            </a:solidFill>
            <a:ln w="9525" cap="flat">
              <a:noFill/>
              <a:prstDash val="solid"/>
              <a:miter/>
            </a:ln>
          </p:spPr>
          <p:txBody>
            <a:bodyPr rtlCol="0" anchor="ctr"/>
            <a:lstStyle/>
            <a:p>
              <a:endParaRPr lang="pt-BR" noProof="0"/>
            </a:p>
          </p:txBody>
        </p:sp>
        <p:sp>
          <p:nvSpPr>
            <p:cNvPr id="34" name="Freeform: Shape 46">
              <a:extLst>
                <a:ext uri="{FF2B5EF4-FFF2-40B4-BE49-F238E27FC236}">
                  <a16:creationId xmlns:a16="http://schemas.microsoft.com/office/drawing/2014/main" id="{10CB7A1A-8129-331C-E890-D4DFCA5D662B}"/>
                </a:ext>
              </a:extLst>
            </p:cNvPr>
            <p:cNvSpPr/>
            <p:nvPr/>
          </p:nvSpPr>
          <p:spPr>
            <a:xfrm>
              <a:off x="6144346" y="925273"/>
              <a:ext cx="58016" cy="58448"/>
            </a:xfrm>
            <a:custGeom>
              <a:avLst/>
              <a:gdLst>
                <a:gd name="connsiteX0" fmla="*/ 95 w 230790"/>
                <a:gd name="connsiteY0" fmla="*/ 0 h 232505"/>
                <a:gd name="connsiteX1" fmla="*/ 38005 w 230790"/>
                <a:gd name="connsiteY1" fmla="*/ 0 h 232505"/>
                <a:gd name="connsiteX2" fmla="*/ 115634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4"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35" name="Freeform: Shape 47">
              <a:extLst>
                <a:ext uri="{FF2B5EF4-FFF2-40B4-BE49-F238E27FC236}">
                  <a16:creationId xmlns:a16="http://schemas.microsoft.com/office/drawing/2014/main" id="{984EF242-60F5-2150-6A32-7898F44BF421}"/>
                </a:ext>
              </a:extLst>
            </p:cNvPr>
            <p:cNvSpPr/>
            <p:nvPr/>
          </p:nvSpPr>
          <p:spPr>
            <a:xfrm>
              <a:off x="621155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8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338 w 202977"/>
                <a:gd name="connsiteY36" fmla="*/ 164497 h 239267"/>
                <a:gd name="connsiteX37" fmla="*/ 35338 w 202977"/>
                <a:gd name="connsiteY37" fmla="*/ 165449 h 239267"/>
                <a:gd name="connsiteX38" fmla="*/ 40005 w 202977"/>
                <a:gd name="connsiteY38" fmla="*/ 184785 h 239267"/>
                <a:gd name="connsiteX39" fmla="*/ 52673 w 202977"/>
                <a:gd name="connsiteY39" fmla="*/ 199263 h 239267"/>
                <a:gd name="connsiteX40" fmla="*/ 71152 w 202977"/>
                <a:gd name="connsiteY40" fmla="*/ 208121 h 239267"/>
                <a:gd name="connsiteX41" fmla="*/ 93154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438" y="239268"/>
                    <a:pt x="64961"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1" y="90964"/>
                    <a:pt x="98584" y="90964"/>
                  </a:cubicBezTo>
                  <a:cubicBezTo>
                    <a:pt x="113157" y="90964"/>
                    <a:pt x="126302" y="91821"/>
                    <a:pt x="137160" y="93631"/>
                  </a:cubicBezTo>
                  <a:cubicBezTo>
                    <a:pt x="148019" y="95440"/>
                    <a:pt x="158687" y="97822"/>
                    <a:pt x="169069" y="100774"/>
                  </a:cubicBezTo>
                  <a:lnTo>
                    <a:pt x="169069" y="93726"/>
                  </a:lnTo>
                  <a:cubicBezTo>
                    <a:pt x="169069" y="73342"/>
                    <a:pt x="163068" y="57912"/>
                    <a:pt x="151162" y="47339"/>
                  </a:cubicBezTo>
                  <a:cubicBezTo>
                    <a:pt x="139255" y="36862"/>
                    <a:pt x="122491" y="31623"/>
                    <a:pt x="100679" y="31623"/>
                  </a:cubicBezTo>
                  <a:cubicBezTo>
                    <a:pt x="86963" y="31623"/>
                    <a:pt x="74581" y="33147"/>
                    <a:pt x="63437" y="36100"/>
                  </a:cubicBezTo>
                  <a:cubicBezTo>
                    <a:pt x="52292" y="39053"/>
                    <a:pt x="41338" y="43053"/>
                    <a:pt x="30671" y="48196"/>
                  </a:cubicBezTo>
                  <a:lnTo>
                    <a:pt x="20383" y="19907"/>
                  </a:lnTo>
                  <a:cubicBezTo>
                    <a:pt x="33147" y="13906"/>
                    <a:pt x="46101" y="9049"/>
                    <a:pt x="59246" y="5429"/>
                  </a:cubicBezTo>
                  <a:cubicBezTo>
                    <a:pt x="72390"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04" y="239173"/>
                    <a:pt x="86011" y="239173"/>
                  </a:cubicBezTo>
                  <a:close/>
                  <a:moveTo>
                    <a:pt x="93154" y="211169"/>
                  </a:moveTo>
                  <a:cubicBezTo>
                    <a:pt x="103822" y="211169"/>
                    <a:pt x="113824" y="209740"/>
                    <a:pt x="122968" y="206788"/>
                  </a:cubicBezTo>
                  <a:cubicBezTo>
                    <a:pt x="132112"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5" y="119348"/>
                    <a:pt x="116777" y="118300"/>
                    <a:pt x="102584" y="118300"/>
                  </a:cubicBezTo>
                  <a:cubicBezTo>
                    <a:pt x="81248" y="118300"/>
                    <a:pt x="64675" y="122491"/>
                    <a:pt x="52959" y="130969"/>
                  </a:cubicBezTo>
                  <a:cubicBezTo>
                    <a:pt x="41243" y="139446"/>
                    <a:pt x="35338" y="150590"/>
                    <a:pt x="35338" y="164497"/>
                  </a:cubicBezTo>
                  <a:lnTo>
                    <a:pt x="35338" y="165449"/>
                  </a:lnTo>
                  <a:cubicBezTo>
                    <a:pt x="35338" y="172498"/>
                    <a:pt x="36862" y="178975"/>
                    <a:pt x="40005" y="184785"/>
                  </a:cubicBezTo>
                  <a:cubicBezTo>
                    <a:pt x="43148" y="190500"/>
                    <a:pt x="47339" y="195358"/>
                    <a:pt x="52673" y="199263"/>
                  </a:cubicBezTo>
                  <a:cubicBezTo>
                    <a:pt x="58007" y="203073"/>
                    <a:pt x="64198" y="206026"/>
                    <a:pt x="71152" y="208121"/>
                  </a:cubicBezTo>
                  <a:cubicBezTo>
                    <a:pt x="78105" y="210217"/>
                    <a:pt x="85439" y="211169"/>
                    <a:pt x="93154" y="211169"/>
                  </a:cubicBezTo>
                  <a:close/>
                </a:path>
              </a:pathLst>
            </a:custGeom>
            <a:solidFill>
              <a:srgbClr val="44505E"/>
            </a:solidFill>
            <a:ln w="9525" cap="flat">
              <a:noFill/>
              <a:prstDash val="solid"/>
              <a:miter/>
            </a:ln>
          </p:spPr>
          <p:txBody>
            <a:bodyPr rtlCol="0" anchor="ctr"/>
            <a:lstStyle/>
            <a:p>
              <a:endParaRPr lang="pt-BR" noProof="0"/>
            </a:p>
          </p:txBody>
        </p:sp>
        <p:sp>
          <p:nvSpPr>
            <p:cNvPr id="36" name="Freeform: Shape 48">
              <a:extLst>
                <a:ext uri="{FF2B5EF4-FFF2-40B4-BE49-F238E27FC236}">
                  <a16:creationId xmlns:a16="http://schemas.microsoft.com/office/drawing/2014/main" id="{903FABFE-0961-DE48-1CBA-4F4F0A49FCF3}"/>
                </a:ext>
              </a:extLst>
            </p:cNvPr>
            <p:cNvSpPr/>
            <p:nvPr/>
          </p:nvSpPr>
          <p:spPr>
            <a:xfrm>
              <a:off x="6280899" y="923980"/>
              <a:ext cx="87995" cy="59238"/>
            </a:xfrm>
            <a:custGeom>
              <a:avLst/>
              <a:gdLst>
                <a:gd name="connsiteX0" fmla="*/ 0 w 350043"/>
                <a:gd name="connsiteY0" fmla="*/ 5144 h 235648"/>
                <a:gd name="connsiteX1" fmla="*/ 34385 w 350043"/>
                <a:gd name="connsiteY1" fmla="*/ 5144 h 235648"/>
                <a:gd name="connsiteX2" fmla="*/ 34385 w 350043"/>
                <a:gd name="connsiteY2" fmla="*/ 44005 h 235648"/>
                <a:gd name="connsiteX3" fmla="*/ 47149 w 350043"/>
                <a:gd name="connsiteY3" fmla="*/ 27432 h 235648"/>
                <a:gd name="connsiteX4" fmla="*/ 62960 w 350043"/>
                <a:gd name="connsiteY4" fmla="*/ 13335 h 235648"/>
                <a:gd name="connsiteX5" fmla="*/ 83058 w 350043"/>
                <a:gd name="connsiteY5" fmla="*/ 3715 h 235648"/>
                <a:gd name="connsiteX6" fmla="*/ 108966 w 350043"/>
                <a:gd name="connsiteY6" fmla="*/ 95 h 235648"/>
                <a:gd name="connsiteX7" fmla="*/ 155448 w 350043"/>
                <a:gd name="connsiteY7" fmla="*/ 13240 h 235648"/>
                <a:gd name="connsiteX8" fmla="*/ 183166 w 350043"/>
                <a:gd name="connsiteY8" fmla="*/ 46006 h 235648"/>
                <a:gd name="connsiteX9" fmla="*/ 197168 w 350043"/>
                <a:gd name="connsiteY9" fmla="*/ 28194 h 235648"/>
                <a:gd name="connsiteX10" fmla="*/ 214789 w 350043"/>
                <a:gd name="connsiteY10" fmla="*/ 13430 h 235648"/>
                <a:gd name="connsiteX11" fmla="*/ 236887 w 350043"/>
                <a:gd name="connsiteY11" fmla="*/ 3620 h 235648"/>
                <a:gd name="connsiteX12" fmla="*/ 264319 w 350043"/>
                <a:gd name="connsiteY12" fmla="*/ 0 h 235648"/>
                <a:gd name="connsiteX13" fmla="*/ 327279 w 350043"/>
                <a:gd name="connsiteY13" fmla="*/ 24765 h 235648"/>
                <a:gd name="connsiteX14" fmla="*/ 350044 w 350043"/>
                <a:gd name="connsiteY14" fmla="*/ 92773 h 235648"/>
                <a:gd name="connsiteX15" fmla="*/ 350044 w 350043"/>
                <a:gd name="connsiteY15" fmla="*/ 235648 h 235648"/>
                <a:gd name="connsiteX16" fmla="*/ 315659 w 350043"/>
                <a:gd name="connsiteY16" fmla="*/ 235648 h 235648"/>
                <a:gd name="connsiteX17" fmla="*/ 315659 w 350043"/>
                <a:gd name="connsiteY17" fmla="*/ 101155 h 235648"/>
                <a:gd name="connsiteX18" fmla="*/ 299847 w 350043"/>
                <a:gd name="connsiteY18" fmla="*/ 49721 h 235648"/>
                <a:gd name="connsiteX19" fmla="*/ 255937 w 350043"/>
                <a:gd name="connsiteY19" fmla="*/ 31718 h 235648"/>
                <a:gd name="connsiteX20" fmla="*/ 231362 w 350043"/>
                <a:gd name="connsiteY20" fmla="*/ 36386 h 235648"/>
                <a:gd name="connsiteX21" fmla="*/ 211074 w 350043"/>
                <a:gd name="connsiteY21" fmla="*/ 50197 h 235648"/>
                <a:gd name="connsiteX22" fmla="*/ 197263 w 350043"/>
                <a:gd name="connsiteY22" fmla="*/ 72676 h 235648"/>
                <a:gd name="connsiteX23" fmla="*/ 192119 w 350043"/>
                <a:gd name="connsiteY23" fmla="*/ 102965 h 235648"/>
                <a:gd name="connsiteX24" fmla="*/ 192119 w 350043"/>
                <a:gd name="connsiteY24" fmla="*/ 235648 h 235648"/>
                <a:gd name="connsiteX25" fmla="*/ 158210 w 350043"/>
                <a:gd name="connsiteY25" fmla="*/ 235648 h 235648"/>
                <a:gd name="connsiteX26" fmla="*/ 158210 w 350043"/>
                <a:gd name="connsiteY26" fmla="*/ 100298 h 235648"/>
                <a:gd name="connsiteX27" fmla="*/ 142399 w 350043"/>
                <a:gd name="connsiteY27" fmla="*/ 49721 h 235648"/>
                <a:gd name="connsiteX28" fmla="*/ 98870 w 350043"/>
                <a:gd name="connsiteY28" fmla="*/ 31718 h 235648"/>
                <a:gd name="connsiteX29" fmla="*/ 73438 w 350043"/>
                <a:gd name="connsiteY29" fmla="*/ 37052 h 235648"/>
                <a:gd name="connsiteX30" fmla="*/ 53150 w 350043"/>
                <a:gd name="connsiteY30" fmla="*/ 52197 h 235648"/>
                <a:gd name="connsiteX31" fmla="*/ 39529 w 350043"/>
                <a:gd name="connsiteY31" fmla="*/ 75152 h 235648"/>
                <a:gd name="connsiteX32" fmla="*/ 34576 w 350043"/>
                <a:gd name="connsiteY32" fmla="*/ 104299 h 235648"/>
                <a:gd name="connsiteX33" fmla="*/ 34576 w 350043"/>
                <a:gd name="connsiteY33" fmla="*/ 235648 h 235648"/>
                <a:gd name="connsiteX34" fmla="*/ 190 w 350043"/>
                <a:gd name="connsiteY34" fmla="*/ 235648 h 235648"/>
                <a:gd name="connsiteX35" fmla="*/ 190 w 350043"/>
                <a:gd name="connsiteY35" fmla="*/ 485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0043" h="235648">
                  <a:moveTo>
                    <a:pt x="0" y="5144"/>
                  </a:moveTo>
                  <a:lnTo>
                    <a:pt x="34385" y="5144"/>
                  </a:lnTo>
                  <a:lnTo>
                    <a:pt x="34385" y="44005"/>
                  </a:lnTo>
                  <a:cubicBezTo>
                    <a:pt x="38290" y="38386"/>
                    <a:pt x="42481" y="32861"/>
                    <a:pt x="47149" y="27432"/>
                  </a:cubicBezTo>
                  <a:cubicBezTo>
                    <a:pt x="51721" y="22098"/>
                    <a:pt x="57055" y="17431"/>
                    <a:pt x="62960" y="13335"/>
                  </a:cubicBezTo>
                  <a:cubicBezTo>
                    <a:pt x="68866" y="9335"/>
                    <a:pt x="75629" y="6096"/>
                    <a:pt x="83058" y="3715"/>
                  </a:cubicBezTo>
                  <a:cubicBezTo>
                    <a:pt x="90488" y="1334"/>
                    <a:pt x="99155" y="95"/>
                    <a:pt x="108966" y="95"/>
                  </a:cubicBezTo>
                  <a:cubicBezTo>
                    <a:pt x="127730" y="95"/>
                    <a:pt x="143161" y="4477"/>
                    <a:pt x="155448" y="13240"/>
                  </a:cubicBezTo>
                  <a:cubicBezTo>
                    <a:pt x="167640" y="22003"/>
                    <a:pt x="176879" y="32956"/>
                    <a:pt x="183166" y="46006"/>
                  </a:cubicBezTo>
                  <a:cubicBezTo>
                    <a:pt x="187357" y="39719"/>
                    <a:pt x="192024" y="33814"/>
                    <a:pt x="197168" y="28194"/>
                  </a:cubicBezTo>
                  <a:cubicBezTo>
                    <a:pt x="202406" y="22574"/>
                    <a:pt x="208217" y="17621"/>
                    <a:pt x="214789" y="13430"/>
                  </a:cubicBezTo>
                  <a:cubicBezTo>
                    <a:pt x="221361" y="9239"/>
                    <a:pt x="228695" y="6001"/>
                    <a:pt x="236887" y="3620"/>
                  </a:cubicBezTo>
                  <a:cubicBezTo>
                    <a:pt x="245078" y="1238"/>
                    <a:pt x="254222" y="0"/>
                    <a:pt x="264319" y="0"/>
                  </a:cubicBezTo>
                  <a:cubicBezTo>
                    <a:pt x="291084" y="0"/>
                    <a:pt x="312039" y="8287"/>
                    <a:pt x="327279" y="24765"/>
                  </a:cubicBezTo>
                  <a:cubicBezTo>
                    <a:pt x="342519" y="41243"/>
                    <a:pt x="350044" y="63913"/>
                    <a:pt x="350044" y="92773"/>
                  </a:cubicBezTo>
                  <a:lnTo>
                    <a:pt x="350044" y="235648"/>
                  </a:lnTo>
                  <a:lnTo>
                    <a:pt x="315659" y="235648"/>
                  </a:lnTo>
                  <a:lnTo>
                    <a:pt x="315659" y="101155"/>
                  </a:lnTo>
                  <a:cubicBezTo>
                    <a:pt x="315659" y="78867"/>
                    <a:pt x="310420" y="61722"/>
                    <a:pt x="299847" y="49721"/>
                  </a:cubicBezTo>
                  <a:cubicBezTo>
                    <a:pt x="289274" y="37719"/>
                    <a:pt x="274606" y="31718"/>
                    <a:pt x="255937" y="31718"/>
                  </a:cubicBezTo>
                  <a:cubicBezTo>
                    <a:pt x="247269" y="31718"/>
                    <a:pt x="239078" y="33242"/>
                    <a:pt x="231362" y="36386"/>
                  </a:cubicBezTo>
                  <a:cubicBezTo>
                    <a:pt x="223647" y="39529"/>
                    <a:pt x="216884" y="44101"/>
                    <a:pt x="211074" y="50197"/>
                  </a:cubicBezTo>
                  <a:cubicBezTo>
                    <a:pt x="205264" y="56293"/>
                    <a:pt x="200692" y="63818"/>
                    <a:pt x="197263" y="72676"/>
                  </a:cubicBezTo>
                  <a:cubicBezTo>
                    <a:pt x="193834" y="81629"/>
                    <a:pt x="192119" y="91726"/>
                    <a:pt x="192119" y="102965"/>
                  </a:cubicBezTo>
                  <a:lnTo>
                    <a:pt x="192119" y="235648"/>
                  </a:lnTo>
                  <a:lnTo>
                    <a:pt x="158210" y="235648"/>
                  </a:lnTo>
                  <a:lnTo>
                    <a:pt x="158210" y="100298"/>
                  </a:lnTo>
                  <a:cubicBezTo>
                    <a:pt x="158210" y="78677"/>
                    <a:pt x="152971" y="61817"/>
                    <a:pt x="142399" y="49721"/>
                  </a:cubicBezTo>
                  <a:cubicBezTo>
                    <a:pt x="131826" y="37719"/>
                    <a:pt x="117348" y="31718"/>
                    <a:pt x="98870" y="31718"/>
                  </a:cubicBezTo>
                  <a:cubicBezTo>
                    <a:pt x="89630" y="31718"/>
                    <a:pt x="81153" y="33528"/>
                    <a:pt x="73438" y="37052"/>
                  </a:cubicBezTo>
                  <a:cubicBezTo>
                    <a:pt x="65722" y="40672"/>
                    <a:pt x="58960" y="45720"/>
                    <a:pt x="53150" y="52197"/>
                  </a:cubicBezTo>
                  <a:cubicBezTo>
                    <a:pt x="47339" y="58769"/>
                    <a:pt x="42767" y="66389"/>
                    <a:pt x="39529" y="75152"/>
                  </a:cubicBezTo>
                  <a:cubicBezTo>
                    <a:pt x="36290" y="83915"/>
                    <a:pt x="34576" y="93631"/>
                    <a:pt x="34576" y="104299"/>
                  </a:cubicBezTo>
                  <a:lnTo>
                    <a:pt x="34576" y="235648"/>
                  </a:lnTo>
                  <a:lnTo>
                    <a:pt x="190" y="235648"/>
                  </a:lnTo>
                  <a:lnTo>
                    <a:pt x="190" y="4858"/>
                  </a:lnTo>
                  <a:close/>
                </a:path>
              </a:pathLst>
            </a:custGeom>
            <a:solidFill>
              <a:srgbClr val="44505E"/>
            </a:solidFill>
            <a:ln w="9525" cap="flat">
              <a:noFill/>
              <a:prstDash val="solid"/>
              <a:miter/>
            </a:ln>
          </p:spPr>
          <p:txBody>
            <a:bodyPr rtlCol="0" anchor="ctr"/>
            <a:lstStyle/>
            <a:p>
              <a:endParaRPr lang="pt-BR" noProof="0"/>
            </a:p>
          </p:txBody>
        </p:sp>
        <p:sp>
          <p:nvSpPr>
            <p:cNvPr id="37" name="Freeform: Shape 49">
              <a:extLst>
                <a:ext uri="{FF2B5EF4-FFF2-40B4-BE49-F238E27FC236}">
                  <a16:creationId xmlns:a16="http://schemas.microsoft.com/office/drawing/2014/main" id="{26D25639-FFE3-9238-7D13-2A55ADD4E1D0}"/>
                </a:ext>
              </a:extLst>
            </p:cNvPr>
            <p:cNvSpPr/>
            <p:nvPr/>
          </p:nvSpPr>
          <p:spPr>
            <a:xfrm>
              <a:off x="6415537" y="925273"/>
              <a:ext cx="58016" cy="58448"/>
            </a:xfrm>
            <a:custGeom>
              <a:avLst/>
              <a:gdLst>
                <a:gd name="connsiteX0" fmla="*/ 95 w 230790"/>
                <a:gd name="connsiteY0" fmla="*/ 0 h 232505"/>
                <a:gd name="connsiteX1" fmla="*/ 38005 w 230790"/>
                <a:gd name="connsiteY1" fmla="*/ 0 h 232505"/>
                <a:gd name="connsiteX2" fmla="*/ 115633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3"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38" name="Freeform: Shape 50">
              <a:extLst>
                <a:ext uri="{FF2B5EF4-FFF2-40B4-BE49-F238E27FC236}">
                  <a16:creationId xmlns:a16="http://schemas.microsoft.com/office/drawing/2014/main" id="{666771A2-634D-B228-B70A-FFA683CC0623}"/>
                </a:ext>
              </a:extLst>
            </p:cNvPr>
            <p:cNvSpPr/>
            <p:nvPr/>
          </p:nvSpPr>
          <p:spPr>
            <a:xfrm>
              <a:off x="6487369"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286 w 39242"/>
                <a:gd name="connsiteY5" fmla="*/ 88392 h 319182"/>
                <a:gd name="connsiteX6" fmla="*/ 36671 w 39242"/>
                <a:gd name="connsiteY6" fmla="*/ 88392 h 319182"/>
                <a:gd name="connsiteX7" fmla="*/ 36671 w 39242"/>
                <a:gd name="connsiteY7" fmla="*/ 319183 h 319182"/>
                <a:gd name="connsiteX8" fmla="*/ 2286 w 39242"/>
                <a:gd name="connsiteY8" fmla="*/ 319183 h 319182"/>
                <a:gd name="connsiteX9" fmla="*/ 2286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286" y="88392"/>
                  </a:moveTo>
                  <a:lnTo>
                    <a:pt x="36671" y="88392"/>
                  </a:lnTo>
                  <a:lnTo>
                    <a:pt x="36671" y="319183"/>
                  </a:lnTo>
                  <a:lnTo>
                    <a:pt x="2286" y="319183"/>
                  </a:lnTo>
                  <a:lnTo>
                    <a:pt x="2286" y="88392"/>
                  </a:lnTo>
                  <a:close/>
                </a:path>
              </a:pathLst>
            </a:custGeom>
            <a:solidFill>
              <a:srgbClr val="44505E"/>
            </a:solidFill>
            <a:ln w="9525" cap="flat">
              <a:noFill/>
              <a:prstDash val="solid"/>
              <a:miter/>
            </a:ln>
          </p:spPr>
          <p:txBody>
            <a:bodyPr rtlCol="0" anchor="ctr"/>
            <a:lstStyle/>
            <a:p>
              <a:endParaRPr lang="pt-BR" noProof="0"/>
            </a:p>
          </p:txBody>
        </p:sp>
        <p:sp>
          <p:nvSpPr>
            <p:cNvPr id="39" name="Freeform: Shape 51">
              <a:extLst>
                <a:ext uri="{FF2B5EF4-FFF2-40B4-BE49-F238E27FC236}">
                  <a16:creationId xmlns:a16="http://schemas.microsoft.com/office/drawing/2014/main" id="{9AACB1DA-A9E2-7A39-5925-2894090C8719}"/>
                </a:ext>
              </a:extLst>
            </p:cNvPr>
            <p:cNvSpPr/>
            <p:nvPr/>
          </p:nvSpPr>
          <p:spPr>
            <a:xfrm>
              <a:off x="6513253" y="901353"/>
              <a:ext cx="58615" cy="83182"/>
            </a:xfrm>
            <a:custGeom>
              <a:avLst/>
              <a:gdLst>
                <a:gd name="connsiteX0" fmla="*/ 110394 w 233171"/>
                <a:gd name="connsiteY0" fmla="*/ 330898 h 330898"/>
                <a:gd name="connsiteX1" fmla="*/ 69723 w 233171"/>
                <a:gd name="connsiteY1" fmla="*/ 322897 h 330898"/>
                <a:gd name="connsiteX2" fmla="*/ 34480 w 233171"/>
                <a:gd name="connsiteY2" fmla="*/ 299466 h 330898"/>
                <a:gd name="connsiteX3" fmla="*/ 9430 w 233171"/>
                <a:gd name="connsiteY3" fmla="*/ 261938 h 330898"/>
                <a:gd name="connsiteX4" fmla="*/ 0 w 233171"/>
                <a:gd name="connsiteY4" fmla="*/ 211264 h 330898"/>
                <a:gd name="connsiteX5" fmla="*/ 0 w 233171"/>
                <a:gd name="connsiteY5" fmla="*/ 210407 h 330898"/>
                <a:gd name="connsiteX6" fmla="*/ 9430 w 233171"/>
                <a:gd name="connsiteY6" fmla="*/ 159925 h 330898"/>
                <a:gd name="connsiteX7" fmla="*/ 34480 w 233171"/>
                <a:gd name="connsiteY7" fmla="*/ 122206 h 330898"/>
                <a:gd name="connsiteX8" fmla="*/ 69723 w 233171"/>
                <a:gd name="connsiteY8" fmla="*/ 98488 h 330898"/>
                <a:gd name="connsiteX9" fmla="*/ 110394 w 233171"/>
                <a:gd name="connsiteY9" fmla="*/ 90202 h 330898"/>
                <a:gd name="connsiteX10" fmla="*/ 139827 w 233171"/>
                <a:gd name="connsiteY10" fmla="*/ 94202 h 330898"/>
                <a:gd name="connsiteX11" fmla="*/ 163925 w 233171"/>
                <a:gd name="connsiteY11" fmla="*/ 104870 h 330898"/>
                <a:gd name="connsiteX12" fmla="*/ 183356 w 233171"/>
                <a:gd name="connsiteY12" fmla="*/ 120491 h 330898"/>
                <a:gd name="connsiteX13" fmla="*/ 198787 w 233171"/>
                <a:gd name="connsiteY13" fmla="*/ 139255 h 330898"/>
                <a:gd name="connsiteX14" fmla="*/ 198787 w 233171"/>
                <a:gd name="connsiteY14" fmla="*/ 0 h 330898"/>
                <a:gd name="connsiteX15" fmla="*/ 233172 w 233171"/>
                <a:gd name="connsiteY15" fmla="*/ 0 h 330898"/>
                <a:gd name="connsiteX16" fmla="*/ 233172 w 233171"/>
                <a:gd name="connsiteY16" fmla="*/ 325850 h 330898"/>
                <a:gd name="connsiteX17" fmla="*/ 198787 w 233171"/>
                <a:gd name="connsiteY17" fmla="*/ 325850 h 330898"/>
                <a:gd name="connsiteX18" fmla="*/ 198787 w 233171"/>
                <a:gd name="connsiteY18" fmla="*/ 279463 h 330898"/>
                <a:gd name="connsiteX19" fmla="*/ 182975 w 233171"/>
                <a:gd name="connsiteY19" fmla="*/ 299085 h 330898"/>
                <a:gd name="connsiteX20" fmla="*/ 163544 w 233171"/>
                <a:gd name="connsiteY20" fmla="*/ 315658 h 330898"/>
                <a:gd name="connsiteX21" fmla="*/ 139636 w 233171"/>
                <a:gd name="connsiteY21" fmla="*/ 326803 h 330898"/>
                <a:gd name="connsiteX22" fmla="*/ 110394 w 233171"/>
                <a:gd name="connsiteY22" fmla="*/ 330803 h 330898"/>
                <a:gd name="connsiteX23" fmla="*/ 116681 w 233171"/>
                <a:gd name="connsiteY23" fmla="*/ 300133 h 330898"/>
                <a:gd name="connsiteX24" fmla="*/ 147733 w 233171"/>
                <a:gd name="connsiteY24" fmla="*/ 293656 h 330898"/>
                <a:gd name="connsiteX25" fmla="*/ 174498 w 233171"/>
                <a:gd name="connsiteY25" fmla="*/ 275368 h 330898"/>
                <a:gd name="connsiteX26" fmla="*/ 193262 w 233171"/>
                <a:gd name="connsiteY26" fmla="*/ 247269 h 330898"/>
                <a:gd name="connsiteX27" fmla="*/ 200216 w 233171"/>
                <a:gd name="connsiteY27" fmla="*/ 210883 h 330898"/>
                <a:gd name="connsiteX28" fmla="*/ 200216 w 233171"/>
                <a:gd name="connsiteY28" fmla="*/ 210026 h 330898"/>
                <a:gd name="connsiteX29" fmla="*/ 193262 w 233171"/>
                <a:gd name="connsiteY29" fmla="*/ 173641 h 330898"/>
                <a:gd name="connsiteX30" fmla="*/ 174498 w 233171"/>
                <a:gd name="connsiteY30" fmla="*/ 145732 h 330898"/>
                <a:gd name="connsiteX31" fmla="*/ 147733 w 233171"/>
                <a:gd name="connsiteY31" fmla="*/ 127635 h 330898"/>
                <a:gd name="connsiteX32" fmla="*/ 116681 w 233171"/>
                <a:gd name="connsiteY32" fmla="*/ 121158 h 330898"/>
                <a:gd name="connsiteX33" fmla="*/ 84963 w 233171"/>
                <a:gd name="connsiteY33" fmla="*/ 127159 h 330898"/>
                <a:gd name="connsiteX34" fmla="*/ 59341 w 233171"/>
                <a:gd name="connsiteY34" fmla="*/ 144589 h 330898"/>
                <a:gd name="connsiteX35" fmla="*/ 41910 w 233171"/>
                <a:gd name="connsiteY35" fmla="*/ 172498 h 330898"/>
                <a:gd name="connsiteX36" fmla="*/ 35433 w 233171"/>
                <a:gd name="connsiteY36" fmla="*/ 210026 h 330898"/>
                <a:gd name="connsiteX37" fmla="*/ 35433 w 233171"/>
                <a:gd name="connsiteY37" fmla="*/ 210883 h 330898"/>
                <a:gd name="connsiteX38" fmla="*/ 41910 w 233171"/>
                <a:gd name="connsiteY38" fmla="*/ 247936 h 330898"/>
                <a:gd name="connsiteX39" fmla="*/ 59531 w 233171"/>
                <a:gd name="connsiteY39" fmla="*/ 276034 h 330898"/>
                <a:gd name="connsiteX40" fmla="*/ 85439 w 233171"/>
                <a:gd name="connsiteY40" fmla="*/ 293941 h 330898"/>
                <a:gd name="connsiteX41" fmla="*/ 116681 w 23317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3171" h="330898">
                  <a:moveTo>
                    <a:pt x="110394" y="330898"/>
                  </a:moveTo>
                  <a:cubicBezTo>
                    <a:pt x="96393" y="330898"/>
                    <a:pt x="82868" y="328231"/>
                    <a:pt x="69723" y="322897"/>
                  </a:cubicBezTo>
                  <a:cubicBezTo>
                    <a:pt x="56674" y="317563"/>
                    <a:pt x="44863" y="309753"/>
                    <a:pt x="34480" y="299466"/>
                  </a:cubicBezTo>
                  <a:cubicBezTo>
                    <a:pt x="24003" y="289179"/>
                    <a:pt x="15716" y="276701"/>
                    <a:pt x="9430" y="261938"/>
                  </a:cubicBezTo>
                  <a:cubicBezTo>
                    <a:pt x="3143" y="247174"/>
                    <a:pt x="0" y="230314"/>
                    <a:pt x="0" y="211264"/>
                  </a:cubicBezTo>
                  <a:lnTo>
                    <a:pt x="0" y="210407"/>
                  </a:lnTo>
                  <a:cubicBezTo>
                    <a:pt x="0" y="191643"/>
                    <a:pt x="3143" y="174879"/>
                    <a:pt x="9430" y="159925"/>
                  </a:cubicBezTo>
                  <a:cubicBezTo>
                    <a:pt x="15716" y="145066"/>
                    <a:pt x="24003" y="132493"/>
                    <a:pt x="34480" y="122206"/>
                  </a:cubicBezTo>
                  <a:cubicBezTo>
                    <a:pt x="44863" y="111919"/>
                    <a:pt x="56674" y="104013"/>
                    <a:pt x="69723" y="98488"/>
                  </a:cubicBezTo>
                  <a:cubicBezTo>
                    <a:pt x="82868" y="92964"/>
                    <a:pt x="96393" y="90202"/>
                    <a:pt x="110394" y="90202"/>
                  </a:cubicBezTo>
                  <a:cubicBezTo>
                    <a:pt x="121158" y="90202"/>
                    <a:pt x="130969" y="91535"/>
                    <a:pt x="139827" y="94202"/>
                  </a:cubicBezTo>
                  <a:cubicBezTo>
                    <a:pt x="148780" y="96869"/>
                    <a:pt x="156782" y="100489"/>
                    <a:pt x="163925" y="104870"/>
                  </a:cubicBezTo>
                  <a:cubicBezTo>
                    <a:pt x="171069" y="109347"/>
                    <a:pt x="177546" y="114586"/>
                    <a:pt x="183356" y="120491"/>
                  </a:cubicBezTo>
                  <a:cubicBezTo>
                    <a:pt x="189166" y="126492"/>
                    <a:pt x="194310" y="132683"/>
                    <a:pt x="198787" y="139255"/>
                  </a:cubicBezTo>
                  <a:lnTo>
                    <a:pt x="198787" y="0"/>
                  </a:lnTo>
                  <a:lnTo>
                    <a:pt x="233172" y="0"/>
                  </a:lnTo>
                  <a:lnTo>
                    <a:pt x="233172" y="325850"/>
                  </a:lnTo>
                  <a:lnTo>
                    <a:pt x="198787" y="325850"/>
                  </a:lnTo>
                  <a:lnTo>
                    <a:pt x="198787" y="279463"/>
                  </a:lnTo>
                  <a:cubicBezTo>
                    <a:pt x="194024" y="286321"/>
                    <a:pt x="188786" y="292894"/>
                    <a:pt x="182975" y="299085"/>
                  </a:cubicBezTo>
                  <a:cubicBezTo>
                    <a:pt x="177165" y="305371"/>
                    <a:pt x="170688" y="310896"/>
                    <a:pt x="163544" y="315658"/>
                  </a:cubicBezTo>
                  <a:cubicBezTo>
                    <a:pt x="156400" y="320421"/>
                    <a:pt x="148494" y="324136"/>
                    <a:pt x="139636" y="326803"/>
                  </a:cubicBezTo>
                  <a:cubicBezTo>
                    <a:pt x="130873" y="329470"/>
                    <a:pt x="121158" y="330803"/>
                    <a:pt x="110394" y="330803"/>
                  </a:cubicBezTo>
                  <a:close/>
                  <a:moveTo>
                    <a:pt x="116681" y="300133"/>
                  </a:moveTo>
                  <a:cubicBezTo>
                    <a:pt x="127445" y="300133"/>
                    <a:pt x="137732" y="297942"/>
                    <a:pt x="147733" y="293656"/>
                  </a:cubicBezTo>
                  <a:cubicBezTo>
                    <a:pt x="157734" y="289369"/>
                    <a:pt x="166592" y="283273"/>
                    <a:pt x="174498" y="275368"/>
                  </a:cubicBezTo>
                  <a:cubicBezTo>
                    <a:pt x="182404" y="267462"/>
                    <a:pt x="188595" y="258127"/>
                    <a:pt x="193262" y="247269"/>
                  </a:cubicBezTo>
                  <a:cubicBezTo>
                    <a:pt x="197834" y="236410"/>
                    <a:pt x="200216" y="224314"/>
                    <a:pt x="200216" y="210883"/>
                  </a:cubicBezTo>
                  <a:lnTo>
                    <a:pt x="200216" y="210026"/>
                  </a:lnTo>
                  <a:cubicBezTo>
                    <a:pt x="200216" y="196596"/>
                    <a:pt x="197929" y="184499"/>
                    <a:pt x="193262" y="173641"/>
                  </a:cubicBezTo>
                  <a:cubicBezTo>
                    <a:pt x="188595" y="162782"/>
                    <a:pt x="182404" y="153448"/>
                    <a:pt x="174498" y="145732"/>
                  </a:cubicBezTo>
                  <a:cubicBezTo>
                    <a:pt x="166592" y="138017"/>
                    <a:pt x="157639" y="132016"/>
                    <a:pt x="147733" y="127635"/>
                  </a:cubicBezTo>
                  <a:cubicBezTo>
                    <a:pt x="137732" y="123349"/>
                    <a:pt x="127445" y="121158"/>
                    <a:pt x="116681" y="121158"/>
                  </a:cubicBezTo>
                  <a:cubicBezTo>
                    <a:pt x="105346" y="121158"/>
                    <a:pt x="94774" y="123158"/>
                    <a:pt x="84963" y="127159"/>
                  </a:cubicBezTo>
                  <a:cubicBezTo>
                    <a:pt x="75152" y="131159"/>
                    <a:pt x="66580" y="136969"/>
                    <a:pt x="59341" y="144589"/>
                  </a:cubicBezTo>
                  <a:cubicBezTo>
                    <a:pt x="52007" y="152114"/>
                    <a:pt x="46291" y="161449"/>
                    <a:pt x="41910" y="172498"/>
                  </a:cubicBezTo>
                  <a:cubicBezTo>
                    <a:pt x="37624" y="183451"/>
                    <a:pt x="35433" y="196024"/>
                    <a:pt x="35433" y="210026"/>
                  </a:cubicBezTo>
                  <a:lnTo>
                    <a:pt x="35433" y="210883"/>
                  </a:lnTo>
                  <a:cubicBezTo>
                    <a:pt x="35433" y="224599"/>
                    <a:pt x="37624" y="236982"/>
                    <a:pt x="41910" y="247936"/>
                  </a:cubicBezTo>
                  <a:cubicBezTo>
                    <a:pt x="46196" y="258984"/>
                    <a:pt x="52101" y="268319"/>
                    <a:pt x="59531" y="276034"/>
                  </a:cubicBezTo>
                  <a:cubicBezTo>
                    <a:pt x="66960" y="283750"/>
                    <a:pt x="75629" y="289750"/>
                    <a:pt x="85439" y="293941"/>
                  </a:cubicBezTo>
                  <a:cubicBezTo>
                    <a:pt x="95250" y="298132"/>
                    <a:pt x="105632" y="300228"/>
                    <a:pt x="116681" y="300228"/>
                  </a:cubicBezTo>
                  <a:close/>
                </a:path>
              </a:pathLst>
            </a:custGeom>
            <a:solidFill>
              <a:srgbClr val="44505E"/>
            </a:solidFill>
            <a:ln w="9525" cap="flat">
              <a:noFill/>
              <a:prstDash val="solid"/>
              <a:miter/>
            </a:ln>
          </p:spPr>
          <p:txBody>
            <a:bodyPr rtlCol="0" anchor="ctr"/>
            <a:lstStyle/>
            <a:p>
              <a:endParaRPr lang="pt-BR" noProof="0"/>
            </a:p>
          </p:txBody>
        </p:sp>
        <p:sp>
          <p:nvSpPr>
            <p:cNvPr id="40" name="Freeform: Shape 52">
              <a:extLst>
                <a:ext uri="{FF2B5EF4-FFF2-40B4-BE49-F238E27FC236}">
                  <a16:creationId xmlns:a16="http://schemas.microsoft.com/office/drawing/2014/main" id="{AA4108B7-D418-B3D1-3A06-08E9F0C2D3C5}"/>
                </a:ext>
              </a:extLst>
            </p:cNvPr>
            <p:cNvSpPr/>
            <p:nvPr/>
          </p:nvSpPr>
          <p:spPr>
            <a:xfrm>
              <a:off x="6586762"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0 w 202977"/>
                <a:gd name="connsiteY16" fmla="*/ 48196 h 239267"/>
                <a:gd name="connsiteX17" fmla="*/ 20383 w 202977"/>
                <a:gd name="connsiteY17" fmla="*/ 19907 h 239267"/>
                <a:gd name="connsiteX18" fmla="*/ 59245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0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1"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675" y="92678"/>
                    <a:pt x="84011" y="90964"/>
                    <a:pt x="98584" y="90964"/>
                  </a:cubicBezTo>
                  <a:cubicBezTo>
                    <a:pt x="113157" y="90964"/>
                    <a:pt x="126302"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0" y="33147"/>
                    <a:pt x="63436" y="36100"/>
                  </a:cubicBezTo>
                  <a:cubicBezTo>
                    <a:pt x="52292" y="39053"/>
                    <a:pt x="41338" y="43053"/>
                    <a:pt x="30670" y="48196"/>
                  </a:cubicBezTo>
                  <a:lnTo>
                    <a:pt x="20383" y="19907"/>
                  </a:lnTo>
                  <a:cubicBezTo>
                    <a:pt x="33147" y="13906"/>
                    <a:pt x="46101" y="9049"/>
                    <a:pt x="59245" y="5429"/>
                  </a:cubicBezTo>
                  <a:cubicBezTo>
                    <a:pt x="72294" y="1810"/>
                    <a:pt x="87344" y="0"/>
                    <a:pt x="104299" y="0"/>
                  </a:cubicBezTo>
                  <a:cubicBezTo>
                    <a:pt x="137064" y="0"/>
                    <a:pt x="161925" y="8477"/>
                    <a:pt x="178879" y="25432"/>
                  </a:cubicBezTo>
                  <a:cubicBezTo>
                    <a:pt x="194976"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0" y="239173"/>
                  </a:cubicBezTo>
                  <a:close/>
                  <a:moveTo>
                    <a:pt x="93154" y="211169"/>
                  </a:moveTo>
                  <a:cubicBezTo>
                    <a:pt x="103822" y="211169"/>
                    <a:pt x="113729" y="209740"/>
                    <a:pt x="122967" y="206788"/>
                  </a:cubicBezTo>
                  <a:cubicBezTo>
                    <a:pt x="132207"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4" y="119348"/>
                    <a:pt x="116871"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41" name="Freeform: Shape 53">
              <a:extLst>
                <a:ext uri="{FF2B5EF4-FFF2-40B4-BE49-F238E27FC236}">
                  <a16:creationId xmlns:a16="http://schemas.microsoft.com/office/drawing/2014/main" id="{E776F3E4-C433-2673-C720-0EF8BC87EC59}"/>
                </a:ext>
              </a:extLst>
            </p:cNvPr>
            <p:cNvSpPr/>
            <p:nvPr/>
          </p:nvSpPr>
          <p:spPr>
            <a:xfrm>
              <a:off x="6651291" y="924268"/>
              <a:ext cx="44680" cy="60195"/>
            </a:xfrm>
            <a:custGeom>
              <a:avLst/>
              <a:gdLst>
                <a:gd name="connsiteX0" fmla="*/ 95535 w 177736"/>
                <a:gd name="connsiteY0" fmla="*/ 239268 h 239458"/>
                <a:gd name="connsiteX1" fmla="*/ 45053 w 177736"/>
                <a:gd name="connsiteY1" fmla="*/ 230124 h 239458"/>
                <a:gd name="connsiteX2" fmla="*/ 0 w 177736"/>
                <a:gd name="connsiteY2" fmla="*/ 205359 h 239458"/>
                <a:gd name="connsiteX3" fmla="*/ 17430 w 177736"/>
                <a:gd name="connsiteY3" fmla="*/ 180785 h 239458"/>
                <a:gd name="connsiteX4" fmla="*/ 56483 w 177736"/>
                <a:gd name="connsiteY4" fmla="*/ 202692 h 239458"/>
                <a:gd name="connsiteX5" fmla="*/ 97345 w 177736"/>
                <a:gd name="connsiteY5" fmla="*/ 210217 h 239458"/>
                <a:gd name="connsiteX6" fmla="*/ 131730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825 w 177736"/>
                <a:gd name="connsiteY10" fmla="*/ 147066 h 239458"/>
                <a:gd name="connsiteX11" fmla="*/ 109251 w 177736"/>
                <a:gd name="connsiteY11" fmla="*/ 138779 h 239458"/>
                <a:gd name="connsiteX12" fmla="*/ 87630 w 177736"/>
                <a:gd name="connsiteY12" fmla="*/ 132112 h 239458"/>
                <a:gd name="connsiteX13" fmla="*/ 60579 w 177736"/>
                <a:gd name="connsiteY13" fmla="*/ 123444 h 239458"/>
                <a:gd name="connsiteX14" fmla="*/ 36004 w 177736"/>
                <a:gd name="connsiteY14" fmla="*/ 111633 h 239458"/>
                <a:gd name="connsiteX15" fmla="*/ 18192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59 w 177736"/>
                <a:gd name="connsiteY22" fmla="*/ 6953 h 239458"/>
                <a:gd name="connsiteX23" fmla="*/ 172878 w 177736"/>
                <a:gd name="connsiteY23" fmla="*/ 25527 h 239458"/>
                <a:gd name="connsiteX24" fmla="*/ 157257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3 w 177736"/>
                <a:gd name="connsiteY32" fmla="*/ 96203 h 239458"/>
                <a:gd name="connsiteX33" fmla="*/ 103631 w 177736"/>
                <a:gd name="connsiteY33" fmla="*/ 103346 h 239458"/>
                <a:gd name="connsiteX34" fmla="*/ 130207 w 177736"/>
                <a:gd name="connsiteY34" fmla="*/ 112300 h 239458"/>
                <a:gd name="connsiteX35" fmla="*/ 154114 w 177736"/>
                <a:gd name="connsiteY35" fmla="*/ 124778 h 239458"/>
                <a:gd name="connsiteX36" fmla="*/ 171259 w 177736"/>
                <a:gd name="connsiteY36" fmla="*/ 143066 h 239458"/>
                <a:gd name="connsiteX37" fmla="*/ 177736 w 177736"/>
                <a:gd name="connsiteY37" fmla="*/ 169450 h 239458"/>
                <a:gd name="connsiteX38" fmla="*/ 177736 w 177736"/>
                <a:gd name="connsiteY38" fmla="*/ 170307 h 239458"/>
                <a:gd name="connsiteX39" fmla="*/ 171259 w 177736"/>
                <a:gd name="connsiteY39" fmla="*/ 199549 h 239458"/>
                <a:gd name="connsiteX40" fmla="*/ 153828 w 177736"/>
                <a:gd name="connsiteY40" fmla="*/ 221171 h 239458"/>
                <a:gd name="connsiteX41" fmla="*/ 127921 w 177736"/>
                <a:gd name="connsiteY41" fmla="*/ 234791 h 239458"/>
                <a:gd name="connsiteX42" fmla="*/ 95535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5" y="239268"/>
                  </a:moveTo>
                  <a:cubicBezTo>
                    <a:pt x="78867" y="239268"/>
                    <a:pt x="62007" y="236220"/>
                    <a:pt x="45053" y="230124"/>
                  </a:cubicBezTo>
                  <a:cubicBezTo>
                    <a:pt x="28098" y="224028"/>
                    <a:pt x="13049" y="215741"/>
                    <a:pt x="0" y="205359"/>
                  </a:cubicBezTo>
                  <a:lnTo>
                    <a:pt x="17430" y="180785"/>
                  </a:lnTo>
                  <a:cubicBezTo>
                    <a:pt x="29908" y="190310"/>
                    <a:pt x="42957" y="197644"/>
                    <a:pt x="56483" y="202692"/>
                  </a:cubicBezTo>
                  <a:cubicBezTo>
                    <a:pt x="70009" y="207740"/>
                    <a:pt x="83629" y="210217"/>
                    <a:pt x="97345" y="210217"/>
                  </a:cubicBezTo>
                  <a:cubicBezTo>
                    <a:pt x="111061" y="210217"/>
                    <a:pt x="122777" y="206978"/>
                    <a:pt x="131730" y="200406"/>
                  </a:cubicBezTo>
                  <a:cubicBezTo>
                    <a:pt x="140684" y="193834"/>
                    <a:pt x="145161" y="184976"/>
                    <a:pt x="145161" y="173641"/>
                  </a:cubicBezTo>
                  <a:lnTo>
                    <a:pt x="145161" y="172784"/>
                  </a:lnTo>
                  <a:cubicBezTo>
                    <a:pt x="145161" y="167164"/>
                    <a:pt x="143541" y="162211"/>
                    <a:pt x="140494" y="158020"/>
                  </a:cubicBezTo>
                  <a:cubicBezTo>
                    <a:pt x="137350" y="153829"/>
                    <a:pt x="133159" y="150209"/>
                    <a:pt x="127825" y="147066"/>
                  </a:cubicBezTo>
                  <a:cubicBezTo>
                    <a:pt x="122491" y="143923"/>
                    <a:pt x="116300" y="141161"/>
                    <a:pt x="109251" y="138779"/>
                  </a:cubicBezTo>
                  <a:cubicBezTo>
                    <a:pt x="102298" y="136398"/>
                    <a:pt x="95059" y="134207"/>
                    <a:pt x="87630" y="132112"/>
                  </a:cubicBezTo>
                  <a:cubicBezTo>
                    <a:pt x="78676" y="129445"/>
                    <a:pt x="69722" y="126492"/>
                    <a:pt x="60579" y="123444"/>
                  </a:cubicBezTo>
                  <a:cubicBezTo>
                    <a:pt x="51530" y="120301"/>
                    <a:pt x="43339" y="116396"/>
                    <a:pt x="36004" y="111633"/>
                  </a:cubicBezTo>
                  <a:cubicBezTo>
                    <a:pt x="28670" y="106871"/>
                    <a:pt x="22764" y="100870"/>
                    <a:pt x="18192" y="93726"/>
                  </a:cubicBezTo>
                  <a:cubicBezTo>
                    <a:pt x="13525" y="86582"/>
                    <a:pt x="11239" y="77629"/>
                    <a:pt x="11239" y="66961"/>
                  </a:cubicBezTo>
                  <a:lnTo>
                    <a:pt x="11239" y="66008"/>
                  </a:lnTo>
                  <a:cubicBezTo>
                    <a:pt x="11239" y="56198"/>
                    <a:pt x="13144" y="47149"/>
                    <a:pt x="17050" y="39053"/>
                  </a:cubicBezTo>
                  <a:cubicBezTo>
                    <a:pt x="20955" y="30861"/>
                    <a:pt x="26384" y="23908"/>
                    <a:pt x="33338" y="18098"/>
                  </a:cubicBezTo>
                  <a:cubicBezTo>
                    <a:pt x="40291" y="12287"/>
                    <a:pt x="48673" y="7811"/>
                    <a:pt x="58388" y="4667"/>
                  </a:cubicBezTo>
                  <a:cubicBezTo>
                    <a:pt x="68008" y="1524"/>
                    <a:pt x="78581" y="0"/>
                    <a:pt x="89821" y="0"/>
                  </a:cubicBezTo>
                  <a:cubicBezTo>
                    <a:pt x="104108" y="0"/>
                    <a:pt x="118586" y="2286"/>
                    <a:pt x="133159" y="6953"/>
                  </a:cubicBezTo>
                  <a:cubicBezTo>
                    <a:pt x="147732" y="11621"/>
                    <a:pt x="160972" y="17717"/>
                    <a:pt x="172878" y="25527"/>
                  </a:cubicBezTo>
                  <a:lnTo>
                    <a:pt x="157257" y="51435"/>
                  </a:lnTo>
                  <a:cubicBezTo>
                    <a:pt x="146494" y="44577"/>
                    <a:pt x="135255" y="39148"/>
                    <a:pt x="123539" y="35147"/>
                  </a:cubicBezTo>
                  <a:cubicBezTo>
                    <a:pt x="111823" y="31147"/>
                    <a:pt x="100203" y="29146"/>
                    <a:pt x="88963" y="29146"/>
                  </a:cubicBezTo>
                  <a:cubicBezTo>
                    <a:pt x="75247" y="29146"/>
                    <a:pt x="64389" y="32385"/>
                    <a:pt x="56388" y="38767"/>
                  </a:cubicBezTo>
                  <a:cubicBezTo>
                    <a:pt x="48291" y="45149"/>
                    <a:pt x="44291" y="53150"/>
                    <a:pt x="44291" y="62675"/>
                  </a:cubicBezTo>
                  <a:lnTo>
                    <a:pt x="44291" y="63627"/>
                  </a:lnTo>
                  <a:cubicBezTo>
                    <a:pt x="44291" y="68961"/>
                    <a:pt x="45910" y="73628"/>
                    <a:pt x="49244" y="77724"/>
                  </a:cubicBezTo>
                  <a:cubicBezTo>
                    <a:pt x="52482" y="81725"/>
                    <a:pt x="56864" y="85249"/>
                    <a:pt x="62389" y="88202"/>
                  </a:cubicBezTo>
                  <a:cubicBezTo>
                    <a:pt x="67913" y="91154"/>
                    <a:pt x="74200" y="93821"/>
                    <a:pt x="81343" y="96203"/>
                  </a:cubicBezTo>
                  <a:cubicBezTo>
                    <a:pt x="88487" y="98584"/>
                    <a:pt x="95916" y="100965"/>
                    <a:pt x="103631" y="103346"/>
                  </a:cubicBezTo>
                  <a:cubicBezTo>
                    <a:pt x="112585" y="106013"/>
                    <a:pt x="121444" y="108966"/>
                    <a:pt x="130207" y="112300"/>
                  </a:cubicBezTo>
                  <a:cubicBezTo>
                    <a:pt x="138969" y="115538"/>
                    <a:pt x="146971" y="119729"/>
                    <a:pt x="154114" y="124778"/>
                  </a:cubicBezTo>
                  <a:cubicBezTo>
                    <a:pt x="161258" y="129826"/>
                    <a:pt x="166973" y="135922"/>
                    <a:pt x="171259" y="143066"/>
                  </a:cubicBezTo>
                  <a:cubicBezTo>
                    <a:pt x="175546" y="150209"/>
                    <a:pt x="177736" y="158972"/>
                    <a:pt x="177736" y="169450"/>
                  </a:cubicBezTo>
                  <a:lnTo>
                    <a:pt x="177736" y="170307"/>
                  </a:lnTo>
                  <a:cubicBezTo>
                    <a:pt x="177736" y="181356"/>
                    <a:pt x="175546" y="191071"/>
                    <a:pt x="171259" y="199549"/>
                  </a:cubicBezTo>
                  <a:cubicBezTo>
                    <a:pt x="166973" y="208026"/>
                    <a:pt x="161163" y="215265"/>
                    <a:pt x="153828" y="221171"/>
                  </a:cubicBezTo>
                  <a:cubicBezTo>
                    <a:pt x="146589" y="227171"/>
                    <a:pt x="137922" y="231648"/>
                    <a:pt x="127921" y="234791"/>
                  </a:cubicBezTo>
                  <a:cubicBezTo>
                    <a:pt x="117919" y="237935"/>
                    <a:pt x="107156" y="239459"/>
                    <a:pt x="95535" y="239459"/>
                  </a:cubicBezTo>
                  <a:close/>
                </a:path>
              </a:pathLst>
            </a:custGeom>
            <a:solidFill>
              <a:srgbClr val="44505E"/>
            </a:solidFill>
            <a:ln w="9525" cap="flat">
              <a:noFill/>
              <a:prstDash val="solid"/>
              <a:miter/>
            </a:ln>
          </p:spPr>
          <p:txBody>
            <a:bodyPr rtlCol="0" anchor="ctr"/>
            <a:lstStyle/>
            <a:p>
              <a:endParaRPr lang="pt-BR" noProof="0"/>
            </a:p>
          </p:txBody>
        </p:sp>
        <p:sp>
          <p:nvSpPr>
            <p:cNvPr id="42" name="Freeform: Shape 54">
              <a:extLst>
                <a:ext uri="{FF2B5EF4-FFF2-40B4-BE49-F238E27FC236}">
                  <a16:creationId xmlns:a16="http://schemas.microsoft.com/office/drawing/2014/main" id="{1BB7D9E6-0205-16E8-FA79-69FE089140E2}"/>
                </a:ext>
              </a:extLst>
            </p:cNvPr>
            <p:cNvSpPr/>
            <p:nvPr/>
          </p:nvSpPr>
          <p:spPr>
            <a:xfrm>
              <a:off x="5250320" y="846952"/>
              <a:ext cx="1459036" cy="16186"/>
            </a:xfrm>
            <a:custGeom>
              <a:avLst/>
              <a:gdLst>
                <a:gd name="connsiteX0" fmla="*/ 0 w 5804058"/>
                <a:gd name="connsiteY0" fmla="*/ 0 h 64388"/>
                <a:gd name="connsiteX1" fmla="*/ 5804059 w 5804058"/>
                <a:gd name="connsiteY1" fmla="*/ 0 h 64388"/>
                <a:gd name="connsiteX2" fmla="*/ 5804059 w 5804058"/>
                <a:gd name="connsiteY2" fmla="*/ 64389 h 64388"/>
                <a:gd name="connsiteX3" fmla="*/ 0 w 5804058"/>
                <a:gd name="connsiteY3" fmla="*/ 64389 h 64388"/>
              </a:gdLst>
              <a:ahLst/>
              <a:cxnLst>
                <a:cxn ang="0">
                  <a:pos x="connsiteX0" y="connsiteY0"/>
                </a:cxn>
                <a:cxn ang="0">
                  <a:pos x="connsiteX1" y="connsiteY1"/>
                </a:cxn>
                <a:cxn ang="0">
                  <a:pos x="connsiteX2" y="connsiteY2"/>
                </a:cxn>
                <a:cxn ang="0">
                  <a:pos x="connsiteX3" y="connsiteY3"/>
                </a:cxn>
              </a:cxnLst>
              <a:rect l="l" t="t" r="r" b="b"/>
              <a:pathLst>
                <a:path w="5804058" h="64388">
                  <a:moveTo>
                    <a:pt x="0" y="0"/>
                  </a:moveTo>
                  <a:lnTo>
                    <a:pt x="5804059" y="0"/>
                  </a:lnTo>
                  <a:lnTo>
                    <a:pt x="5804059" y="64389"/>
                  </a:lnTo>
                  <a:lnTo>
                    <a:pt x="0" y="64389"/>
                  </a:lnTo>
                  <a:close/>
                </a:path>
              </a:pathLst>
            </a:custGeom>
            <a:solidFill>
              <a:srgbClr val="44505E"/>
            </a:solidFill>
            <a:ln w="9525" cap="flat">
              <a:noFill/>
              <a:prstDash val="solid"/>
              <a:miter/>
            </a:ln>
          </p:spPr>
          <p:txBody>
            <a:bodyPr rtlCol="0" anchor="ctr"/>
            <a:lstStyle/>
            <a:p>
              <a:endParaRPr lang="pt-BR" noProof="0"/>
            </a:p>
          </p:txBody>
        </p:sp>
        <p:sp>
          <p:nvSpPr>
            <p:cNvPr id="43" name="Freeform: Shape 55">
              <a:extLst>
                <a:ext uri="{FF2B5EF4-FFF2-40B4-BE49-F238E27FC236}">
                  <a16:creationId xmlns:a16="http://schemas.microsoft.com/office/drawing/2014/main" id="{9C4060BA-DFED-B914-66CC-3A249C9D6F4E}"/>
                </a:ext>
              </a:extLst>
            </p:cNvPr>
            <p:cNvSpPr/>
            <p:nvPr/>
          </p:nvSpPr>
          <p:spPr>
            <a:xfrm>
              <a:off x="6902633" y="268821"/>
              <a:ext cx="273418" cy="601046"/>
            </a:xfrm>
            <a:custGeom>
              <a:avLst/>
              <a:gdLst>
                <a:gd name="connsiteX0" fmla="*/ 0 w 1087659"/>
                <a:gd name="connsiteY0" fmla="*/ 210979 h 2390965"/>
                <a:gd name="connsiteX1" fmla="*/ 125063 w 1087659"/>
                <a:gd name="connsiteY1" fmla="*/ 103442 h 2390965"/>
                <a:gd name="connsiteX2" fmla="*/ 250031 w 1087659"/>
                <a:gd name="connsiteY2" fmla="*/ 210979 h 2390965"/>
                <a:gd name="connsiteX3" fmla="*/ 250031 w 1087659"/>
                <a:gd name="connsiteY3" fmla="*/ 1922717 h 2390965"/>
                <a:gd name="connsiteX4" fmla="*/ 249841 w 1087659"/>
                <a:gd name="connsiteY4" fmla="*/ 1922717 h 2390965"/>
                <a:gd name="connsiteX5" fmla="*/ 249841 w 1087659"/>
                <a:gd name="connsiteY5" fmla="*/ 1925955 h 2390965"/>
                <a:gd name="connsiteX6" fmla="*/ 333756 w 1087659"/>
                <a:gd name="connsiteY6" fmla="*/ 2100263 h 2390965"/>
                <a:gd name="connsiteX7" fmla="*/ 335566 w 1087659"/>
                <a:gd name="connsiteY7" fmla="*/ 2101787 h 2390965"/>
                <a:gd name="connsiteX8" fmla="*/ 336042 w 1087659"/>
                <a:gd name="connsiteY8" fmla="*/ 2102168 h 2390965"/>
                <a:gd name="connsiteX9" fmla="*/ 543877 w 1087659"/>
                <a:gd name="connsiteY9" fmla="*/ 2175891 h 2390965"/>
                <a:gd name="connsiteX10" fmla="*/ 749998 w 1087659"/>
                <a:gd name="connsiteY10" fmla="*/ 2103692 h 2390965"/>
                <a:gd name="connsiteX11" fmla="*/ 751713 w 1087659"/>
                <a:gd name="connsiteY11" fmla="*/ 2102168 h 2390965"/>
                <a:gd name="connsiteX12" fmla="*/ 752189 w 1087659"/>
                <a:gd name="connsiteY12" fmla="*/ 2101787 h 2390965"/>
                <a:gd name="connsiteX13" fmla="*/ 837819 w 1087659"/>
                <a:gd name="connsiteY13" fmla="*/ 1922812 h 2390965"/>
                <a:gd name="connsiteX14" fmla="*/ 837819 w 1087659"/>
                <a:gd name="connsiteY14" fmla="*/ 107537 h 2390965"/>
                <a:gd name="connsiteX15" fmla="*/ 962787 w 1087659"/>
                <a:gd name="connsiteY15" fmla="*/ 0 h 2390965"/>
                <a:gd name="connsiteX16" fmla="*/ 1087660 w 1087659"/>
                <a:gd name="connsiteY16" fmla="*/ 107537 h 2390965"/>
                <a:gd name="connsiteX17" fmla="*/ 1087660 w 1087659"/>
                <a:gd name="connsiteY17" fmla="*/ 1922621 h 2390965"/>
                <a:gd name="connsiteX18" fmla="*/ 928307 w 1087659"/>
                <a:gd name="connsiteY18" fmla="*/ 2253234 h 2390965"/>
                <a:gd name="connsiteX19" fmla="*/ 928116 w 1087659"/>
                <a:gd name="connsiteY19" fmla="*/ 2253424 h 2390965"/>
                <a:gd name="connsiteX20" fmla="*/ 927830 w 1087659"/>
                <a:gd name="connsiteY20" fmla="*/ 2253710 h 2390965"/>
                <a:gd name="connsiteX21" fmla="*/ 927354 w 1087659"/>
                <a:gd name="connsiteY21" fmla="*/ 2254187 h 2390965"/>
                <a:gd name="connsiteX22" fmla="*/ 543783 w 1087659"/>
                <a:gd name="connsiteY22" fmla="*/ 2390966 h 2390965"/>
                <a:gd name="connsiteX23" fmla="*/ 159734 w 1087659"/>
                <a:gd name="connsiteY23" fmla="*/ 2253710 h 2390965"/>
                <a:gd name="connsiteX24" fmla="*/ 159734 w 1087659"/>
                <a:gd name="connsiteY24" fmla="*/ 2253424 h 2390965"/>
                <a:gd name="connsiteX25" fmla="*/ 159353 w 1087659"/>
                <a:gd name="connsiteY25" fmla="*/ 2253234 h 2390965"/>
                <a:gd name="connsiteX26" fmla="*/ 158877 w 1087659"/>
                <a:gd name="connsiteY26" fmla="*/ 2252948 h 2390965"/>
                <a:gd name="connsiteX27" fmla="*/ 0 w 1087659"/>
                <a:gd name="connsiteY27" fmla="*/ 1922621 h 2390965"/>
                <a:gd name="connsiteX28" fmla="*/ 0 w 1087659"/>
                <a:gd name="connsiteY28" fmla="*/ 1922621 h 2390965"/>
                <a:gd name="connsiteX29" fmla="*/ 0 w 1087659"/>
                <a:gd name="connsiteY29" fmla="*/ 210979 h 239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87659" h="2390965">
                  <a:moveTo>
                    <a:pt x="0" y="210979"/>
                  </a:moveTo>
                  <a:cubicBezTo>
                    <a:pt x="0" y="151638"/>
                    <a:pt x="56007" y="103442"/>
                    <a:pt x="125063" y="103442"/>
                  </a:cubicBezTo>
                  <a:cubicBezTo>
                    <a:pt x="194120" y="103442"/>
                    <a:pt x="250031" y="151638"/>
                    <a:pt x="250031" y="210979"/>
                  </a:cubicBezTo>
                  <a:lnTo>
                    <a:pt x="250031" y="1922717"/>
                  </a:lnTo>
                  <a:lnTo>
                    <a:pt x="249841" y="1922717"/>
                  </a:lnTo>
                  <a:lnTo>
                    <a:pt x="249841" y="1925955"/>
                  </a:lnTo>
                  <a:cubicBezTo>
                    <a:pt x="250793" y="1994059"/>
                    <a:pt x="282797" y="2055495"/>
                    <a:pt x="333756" y="2100263"/>
                  </a:cubicBezTo>
                  <a:lnTo>
                    <a:pt x="335566" y="2101787"/>
                  </a:lnTo>
                  <a:lnTo>
                    <a:pt x="336042" y="2102168"/>
                  </a:lnTo>
                  <a:cubicBezTo>
                    <a:pt x="388906" y="2147697"/>
                    <a:pt x="462343" y="2175891"/>
                    <a:pt x="543877" y="2175891"/>
                  </a:cubicBezTo>
                  <a:cubicBezTo>
                    <a:pt x="625411" y="2175891"/>
                    <a:pt x="697420" y="2148364"/>
                    <a:pt x="749998" y="2103692"/>
                  </a:cubicBezTo>
                  <a:lnTo>
                    <a:pt x="751713" y="2102168"/>
                  </a:lnTo>
                  <a:lnTo>
                    <a:pt x="752189" y="2101787"/>
                  </a:lnTo>
                  <a:cubicBezTo>
                    <a:pt x="805053" y="2056352"/>
                    <a:pt x="837819" y="1993011"/>
                    <a:pt x="837819" y="1922812"/>
                  </a:cubicBezTo>
                  <a:lnTo>
                    <a:pt x="837819" y="107537"/>
                  </a:lnTo>
                  <a:cubicBezTo>
                    <a:pt x="837819" y="48196"/>
                    <a:pt x="893731" y="0"/>
                    <a:pt x="962787" y="0"/>
                  </a:cubicBezTo>
                  <a:cubicBezTo>
                    <a:pt x="1031843" y="0"/>
                    <a:pt x="1087660" y="48196"/>
                    <a:pt x="1087660" y="107537"/>
                  </a:cubicBezTo>
                  <a:lnTo>
                    <a:pt x="1087660" y="1922621"/>
                  </a:lnTo>
                  <a:cubicBezTo>
                    <a:pt x="1087660" y="2051399"/>
                    <a:pt x="1026795" y="2168366"/>
                    <a:pt x="928307" y="2253234"/>
                  </a:cubicBezTo>
                  <a:lnTo>
                    <a:pt x="928116" y="2253424"/>
                  </a:lnTo>
                  <a:lnTo>
                    <a:pt x="927830" y="2253710"/>
                  </a:lnTo>
                  <a:lnTo>
                    <a:pt x="927354" y="2254187"/>
                  </a:lnTo>
                  <a:cubicBezTo>
                    <a:pt x="828770" y="2338673"/>
                    <a:pt x="693134" y="2390966"/>
                    <a:pt x="543783" y="2390966"/>
                  </a:cubicBezTo>
                  <a:cubicBezTo>
                    <a:pt x="394430" y="2390966"/>
                    <a:pt x="258413" y="2338483"/>
                    <a:pt x="159734" y="2253710"/>
                  </a:cubicBezTo>
                  <a:lnTo>
                    <a:pt x="159734" y="2253424"/>
                  </a:lnTo>
                  <a:cubicBezTo>
                    <a:pt x="159734" y="2253424"/>
                    <a:pt x="159353" y="2253234"/>
                    <a:pt x="159353" y="2253234"/>
                  </a:cubicBezTo>
                  <a:lnTo>
                    <a:pt x="158877" y="2252948"/>
                  </a:lnTo>
                  <a:cubicBezTo>
                    <a:pt x="60770" y="2167985"/>
                    <a:pt x="0" y="2051304"/>
                    <a:pt x="0" y="1922621"/>
                  </a:cubicBezTo>
                  <a:lnTo>
                    <a:pt x="0" y="1922621"/>
                  </a:lnTo>
                  <a:lnTo>
                    <a:pt x="0" y="210979"/>
                  </a:lnTo>
                  <a:close/>
                </a:path>
              </a:pathLst>
            </a:custGeom>
            <a:solidFill>
              <a:srgbClr val="8FC640"/>
            </a:solidFill>
            <a:ln w="9525" cap="flat">
              <a:noFill/>
              <a:prstDash val="solid"/>
              <a:miter/>
            </a:ln>
          </p:spPr>
          <p:txBody>
            <a:bodyPr rtlCol="0" anchor="ctr"/>
            <a:lstStyle/>
            <a:p>
              <a:endParaRPr lang="pt-BR" noProof="0"/>
            </a:p>
          </p:txBody>
        </p:sp>
        <p:sp>
          <p:nvSpPr>
            <p:cNvPr id="44" name="Freeform: Shape 56">
              <a:extLst>
                <a:ext uri="{FF2B5EF4-FFF2-40B4-BE49-F238E27FC236}">
                  <a16:creationId xmlns:a16="http://schemas.microsoft.com/office/drawing/2014/main" id="{F00091D7-1B18-416C-068F-573144BD7ABC}"/>
                </a:ext>
              </a:extLst>
            </p:cNvPr>
            <p:cNvSpPr/>
            <p:nvPr/>
          </p:nvSpPr>
          <p:spPr>
            <a:xfrm>
              <a:off x="7013590" y="213965"/>
              <a:ext cx="54018" cy="562280"/>
            </a:xfrm>
            <a:custGeom>
              <a:avLst/>
              <a:gdLst>
                <a:gd name="connsiteX0" fmla="*/ 0 w 214883"/>
                <a:gd name="connsiteY0" fmla="*/ 107537 h 2236755"/>
                <a:gd name="connsiteX1" fmla="*/ 107537 w 214883"/>
                <a:gd name="connsiteY1" fmla="*/ 0 h 2236755"/>
                <a:gd name="connsiteX2" fmla="*/ 214884 w 214883"/>
                <a:gd name="connsiteY2" fmla="*/ 107537 h 2236755"/>
                <a:gd name="connsiteX3" fmla="*/ 214884 w 214883"/>
                <a:gd name="connsiteY3" fmla="*/ 2129219 h 2236755"/>
                <a:gd name="connsiteX4" fmla="*/ 107537 w 214883"/>
                <a:gd name="connsiteY4" fmla="*/ 2236756 h 2236755"/>
                <a:gd name="connsiteX5" fmla="*/ 0 w 214883"/>
                <a:gd name="connsiteY5" fmla="*/ 2129219 h 2236755"/>
                <a:gd name="connsiteX6" fmla="*/ 0 w 214883"/>
                <a:gd name="connsiteY6" fmla="*/ 107537 h 223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 h="2236755">
                  <a:moveTo>
                    <a:pt x="0" y="107537"/>
                  </a:moveTo>
                  <a:cubicBezTo>
                    <a:pt x="0" y="48197"/>
                    <a:pt x="48101" y="0"/>
                    <a:pt x="107537" y="0"/>
                  </a:cubicBezTo>
                  <a:cubicBezTo>
                    <a:pt x="166973" y="0"/>
                    <a:pt x="214884" y="48197"/>
                    <a:pt x="214884" y="107537"/>
                  </a:cubicBezTo>
                  <a:lnTo>
                    <a:pt x="214884" y="2129219"/>
                  </a:lnTo>
                  <a:cubicBezTo>
                    <a:pt x="214884" y="2188559"/>
                    <a:pt x="166782" y="2236756"/>
                    <a:pt x="107537" y="2236756"/>
                  </a:cubicBezTo>
                  <a:cubicBezTo>
                    <a:pt x="48291" y="2236756"/>
                    <a:pt x="0" y="2188559"/>
                    <a:pt x="0" y="2129219"/>
                  </a:cubicBezTo>
                  <a:lnTo>
                    <a:pt x="0" y="107537"/>
                  </a:lnTo>
                  <a:close/>
                </a:path>
              </a:pathLst>
            </a:custGeom>
            <a:solidFill>
              <a:srgbClr val="3698B0"/>
            </a:solidFill>
            <a:ln w="9525" cap="flat">
              <a:noFill/>
              <a:prstDash val="solid"/>
              <a:miter/>
            </a:ln>
          </p:spPr>
          <p:txBody>
            <a:bodyPr rtlCol="0" anchor="ctr"/>
            <a:lstStyle/>
            <a:p>
              <a:endParaRPr lang="pt-BR" noProof="0"/>
            </a:p>
          </p:txBody>
        </p:sp>
        <p:sp>
          <p:nvSpPr>
            <p:cNvPr id="45" name="Freeform: Shape 57">
              <a:extLst>
                <a:ext uri="{FF2B5EF4-FFF2-40B4-BE49-F238E27FC236}">
                  <a16:creationId xmlns:a16="http://schemas.microsoft.com/office/drawing/2014/main" id="{42378226-96B5-04F1-637D-CCCFB7459B0E}"/>
                </a:ext>
              </a:extLst>
            </p:cNvPr>
            <p:cNvSpPr/>
            <p:nvPr/>
          </p:nvSpPr>
          <p:spPr>
            <a:xfrm>
              <a:off x="6795770" y="332991"/>
              <a:ext cx="485994" cy="649437"/>
            </a:xfrm>
            <a:custGeom>
              <a:avLst/>
              <a:gdLst>
                <a:gd name="connsiteX0" fmla="*/ 1933290 w 1933289"/>
                <a:gd name="connsiteY0" fmla="*/ 138017 h 2583465"/>
                <a:gd name="connsiteX1" fmla="*/ 1933290 w 1933289"/>
                <a:gd name="connsiteY1" fmla="*/ 1734122 h 2583465"/>
                <a:gd name="connsiteX2" fmla="*/ 1796606 w 1933289"/>
                <a:gd name="connsiteY2" fmla="*/ 2229136 h 2583465"/>
                <a:gd name="connsiteX3" fmla="*/ 977742 w 1933289"/>
                <a:gd name="connsiteY3" fmla="*/ 2583466 h 2583465"/>
                <a:gd name="connsiteX4" fmla="*/ 955357 w 1933289"/>
                <a:gd name="connsiteY4" fmla="*/ 2583466 h 2583465"/>
                <a:gd name="connsiteX5" fmla="*/ 136589 w 1933289"/>
                <a:gd name="connsiteY5" fmla="*/ 2229136 h 2583465"/>
                <a:gd name="connsiteX6" fmla="*/ 0 w 1933289"/>
                <a:gd name="connsiteY6" fmla="*/ 1734122 h 2583465"/>
                <a:gd name="connsiteX7" fmla="*/ 0 w 1933289"/>
                <a:gd name="connsiteY7" fmla="*/ 794194 h 2583465"/>
                <a:gd name="connsiteX8" fmla="*/ 137827 w 1933289"/>
                <a:gd name="connsiteY8" fmla="*/ 656273 h 2583465"/>
                <a:gd name="connsiteX9" fmla="*/ 275463 w 1933289"/>
                <a:gd name="connsiteY9" fmla="*/ 794194 h 2583465"/>
                <a:gd name="connsiteX10" fmla="*/ 275463 w 1933289"/>
                <a:gd name="connsiteY10" fmla="*/ 1734122 h 2583465"/>
                <a:gd name="connsiteX11" fmla="*/ 354235 w 1933289"/>
                <a:gd name="connsiteY11" fmla="*/ 2059686 h 2583465"/>
                <a:gd name="connsiteX12" fmla="*/ 958215 w 1933289"/>
                <a:gd name="connsiteY12" fmla="*/ 2307527 h 2583465"/>
                <a:gd name="connsiteX13" fmla="*/ 974789 w 1933289"/>
                <a:gd name="connsiteY13" fmla="*/ 2307527 h 2583465"/>
                <a:gd name="connsiteX14" fmla="*/ 1578959 w 1933289"/>
                <a:gd name="connsiteY14" fmla="*/ 2059686 h 2583465"/>
                <a:gd name="connsiteX15" fmla="*/ 1657636 w 1933289"/>
                <a:gd name="connsiteY15" fmla="*/ 1734122 h 2583465"/>
                <a:gd name="connsiteX16" fmla="*/ 1657636 w 1933289"/>
                <a:gd name="connsiteY16" fmla="*/ 138017 h 2583465"/>
                <a:gd name="connsiteX17" fmla="*/ 1795463 w 1933289"/>
                <a:gd name="connsiteY17" fmla="*/ 0 h 2583465"/>
                <a:gd name="connsiteX18" fmla="*/ 1933290 w 1933289"/>
                <a:gd name="connsiteY18" fmla="*/ 138017 h 25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3289" h="2583465">
                  <a:moveTo>
                    <a:pt x="1933290" y="138017"/>
                  </a:moveTo>
                  <a:lnTo>
                    <a:pt x="1933290" y="1734122"/>
                  </a:lnTo>
                  <a:cubicBezTo>
                    <a:pt x="1933290" y="1870996"/>
                    <a:pt x="1919002" y="2071211"/>
                    <a:pt x="1796606" y="2229136"/>
                  </a:cubicBezTo>
                  <a:cubicBezTo>
                    <a:pt x="1634395" y="2438305"/>
                    <a:pt x="1432084" y="2578703"/>
                    <a:pt x="977742" y="2583466"/>
                  </a:cubicBezTo>
                  <a:lnTo>
                    <a:pt x="955357" y="2583466"/>
                  </a:lnTo>
                  <a:cubicBezTo>
                    <a:pt x="501015" y="2578703"/>
                    <a:pt x="298704" y="2438400"/>
                    <a:pt x="136589" y="2229136"/>
                  </a:cubicBezTo>
                  <a:cubicBezTo>
                    <a:pt x="14192" y="2071211"/>
                    <a:pt x="0" y="1870996"/>
                    <a:pt x="0" y="1734122"/>
                  </a:cubicBezTo>
                  <a:lnTo>
                    <a:pt x="0" y="794194"/>
                  </a:lnTo>
                  <a:cubicBezTo>
                    <a:pt x="0" y="718185"/>
                    <a:pt x="61436" y="656273"/>
                    <a:pt x="137827" y="656273"/>
                  </a:cubicBezTo>
                  <a:cubicBezTo>
                    <a:pt x="214217" y="656273"/>
                    <a:pt x="275463" y="718185"/>
                    <a:pt x="275463" y="794194"/>
                  </a:cubicBezTo>
                  <a:lnTo>
                    <a:pt x="275463" y="1734122"/>
                  </a:lnTo>
                  <a:cubicBezTo>
                    <a:pt x="275463" y="1887188"/>
                    <a:pt x="300324" y="1990630"/>
                    <a:pt x="354235" y="2059686"/>
                  </a:cubicBezTo>
                  <a:cubicBezTo>
                    <a:pt x="476250" y="2217611"/>
                    <a:pt x="609791" y="2304479"/>
                    <a:pt x="958215" y="2307527"/>
                  </a:cubicBezTo>
                  <a:lnTo>
                    <a:pt x="974789" y="2307527"/>
                  </a:lnTo>
                  <a:cubicBezTo>
                    <a:pt x="1323499" y="2304479"/>
                    <a:pt x="1456563" y="2217611"/>
                    <a:pt x="1578959" y="2059686"/>
                  </a:cubicBezTo>
                  <a:cubicBezTo>
                    <a:pt x="1632490" y="1990630"/>
                    <a:pt x="1657636" y="1887093"/>
                    <a:pt x="1657636" y="1734122"/>
                  </a:cubicBezTo>
                  <a:lnTo>
                    <a:pt x="1657636" y="138017"/>
                  </a:lnTo>
                  <a:cubicBezTo>
                    <a:pt x="1657636" y="61531"/>
                    <a:pt x="1719453" y="0"/>
                    <a:pt x="1795463" y="0"/>
                  </a:cubicBezTo>
                  <a:cubicBezTo>
                    <a:pt x="1871472" y="0"/>
                    <a:pt x="1933290" y="61531"/>
                    <a:pt x="1933290" y="138017"/>
                  </a:cubicBezTo>
                </a:path>
              </a:pathLst>
            </a:custGeom>
            <a:solidFill>
              <a:srgbClr val="49306E"/>
            </a:solidFill>
            <a:ln w="9525" cap="flat">
              <a:noFill/>
              <a:prstDash val="solid"/>
              <a:miter/>
            </a:ln>
          </p:spPr>
          <p:txBody>
            <a:bodyPr rtlCol="0" anchor="ctr"/>
            <a:lstStyle/>
            <a:p>
              <a:endParaRPr lang="pt-BR" noProof="0"/>
            </a:p>
          </p:txBody>
        </p:sp>
      </p:grpSp>
      <p:sp>
        <p:nvSpPr>
          <p:cNvPr id="46" name="Título 1">
            <a:extLst>
              <a:ext uri="{FF2B5EF4-FFF2-40B4-BE49-F238E27FC236}">
                <a16:creationId xmlns:a16="http://schemas.microsoft.com/office/drawing/2014/main" id="{8EC88613-64B5-1806-B40A-4FC0AF47BEBF}"/>
              </a:ext>
            </a:extLst>
          </p:cNvPr>
          <p:cNvSpPr txBox="1">
            <a:spLocks/>
          </p:cNvSpPr>
          <p:nvPr/>
        </p:nvSpPr>
        <p:spPr>
          <a:xfrm>
            <a:off x="2157359" y="238418"/>
            <a:ext cx="10058400" cy="631231"/>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pt-BR" sz="3600" b="1">
                <a:solidFill>
                  <a:srgbClr val="3299B1"/>
                </a:solidFill>
                <a:latin typeface="Agency FB" panose="020B0503020202020204" pitchFamily="34" charset="0"/>
              </a:rPr>
              <a:t>Considerações</a:t>
            </a:r>
          </a:p>
        </p:txBody>
      </p:sp>
      <p:sp>
        <p:nvSpPr>
          <p:cNvPr id="47" name="Google Shape;97;p15">
            <a:extLst>
              <a:ext uri="{FF2B5EF4-FFF2-40B4-BE49-F238E27FC236}">
                <a16:creationId xmlns:a16="http://schemas.microsoft.com/office/drawing/2014/main" id="{A2D59826-17CD-2D11-E998-691592F34079}"/>
              </a:ext>
            </a:extLst>
          </p:cNvPr>
          <p:cNvSpPr txBox="1">
            <a:spLocks/>
          </p:cNvSpPr>
          <p:nvPr/>
        </p:nvSpPr>
        <p:spPr>
          <a:xfrm>
            <a:off x="313055" y="1814741"/>
            <a:ext cx="11561084" cy="4351338"/>
          </a:xfrm>
          <a:prstGeom prst="rect">
            <a:avLst/>
          </a:prstGeom>
          <a:noFill/>
          <a:ln>
            <a:noFill/>
          </a:ln>
        </p:spPr>
        <p:txBody>
          <a:bodyPr spcFirstLastPara="1" wrap="square" lIns="91425" tIns="45700" rIns="91425" bIns="45700" anchor="t" anchorCtr="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215265" algn="just">
              <a:spcBef>
                <a:spcPts val="0"/>
              </a:spcBef>
              <a:buClr>
                <a:schemeClr val="dk1"/>
              </a:buClr>
              <a:buSzPct val="100000"/>
            </a:pPr>
            <a:r>
              <a:rPr lang="pt-BR" b="1" dirty="0"/>
              <a:t>Alta e admissão de paciente no mesmo leito: </a:t>
            </a:r>
            <a:r>
              <a:rPr lang="pt-BR" dirty="0"/>
              <a:t>considerar 1 paciente-dia</a:t>
            </a:r>
            <a:endParaRPr lang="pt-BR" b="1" dirty="0"/>
          </a:p>
          <a:p>
            <a:pPr indent="-215265" algn="just">
              <a:spcBef>
                <a:spcPts val="0"/>
              </a:spcBef>
              <a:buClr>
                <a:schemeClr val="dk1"/>
              </a:buClr>
              <a:buSzPct val="100000"/>
            </a:pPr>
            <a:endParaRPr lang="pt-BR" b="1" dirty="0"/>
          </a:p>
          <a:p>
            <a:pPr indent="-215265" algn="just">
              <a:spcBef>
                <a:spcPts val="0"/>
              </a:spcBef>
              <a:buClr>
                <a:schemeClr val="dk1"/>
              </a:buClr>
              <a:buSzPct val="100000"/>
            </a:pPr>
            <a:r>
              <a:rPr lang="pt-BR" b="1" dirty="0"/>
              <a:t>Mais de um CVC: </a:t>
            </a:r>
            <a:r>
              <a:rPr lang="pt-BR" dirty="0"/>
              <a:t>considerar somente 1 CVC-dia, independentemente do tempo de inserção</a:t>
            </a:r>
          </a:p>
          <a:p>
            <a:pPr indent="-215265" algn="just">
              <a:spcBef>
                <a:spcPts val="0"/>
              </a:spcBef>
              <a:buClr>
                <a:schemeClr val="dk1"/>
              </a:buClr>
              <a:buSzPct val="100000"/>
            </a:pPr>
            <a:endParaRPr lang="pt-BR" dirty="0"/>
          </a:p>
          <a:p>
            <a:pPr indent="-215265" algn="just">
              <a:spcBef>
                <a:spcPts val="0"/>
              </a:spcBef>
              <a:buClr>
                <a:schemeClr val="dk1"/>
              </a:buClr>
              <a:buSzPct val="100000"/>
            </a:pPr>
            <a:r>
              <a:rPr lang="pt-BR" b="1" dirty="0"/>
              <a:t>PAI: </a:t>
            </a:r>
            <a:r>
              <a:rPr lang="pt-BR" dirty="0"/>
              <a:t>Não considerar como CVC-dia</a:t>
            </a:r>
            <a:endParaRPr lang="pt-BR" b="1" dirty="0"/>
          </a:p>
          <a:p>
            <a:pPr indent="-215265" algn="just">
              <a:spcBef>
                <a:spcPts val="0"/>
              </a:spcBef>
              <a:buClr>
                <a:schemeClr val="dk1"/>
              </a:buClr>
              <a:buSzPct val="100000"/>
            </a:pPr>
            <a:endParaRPr lang="pt-BR" dirty="0"/>
          </a:p>
          <a:p>
            <a:pPr indent="-215265" algn="just">
              <a:buClr>
                <a:schemeClr val="dk1"/>
              </a:buClr>
              <a:buSzPct val="100000"/>
            </a:pPr>
            <a:r>
              <a:rPr lang="pt-BR" b="1" dirty="0"/>
              <a:t>TQT em ar ambiente: </a:t>
            </a:r>
            <a:r>
              <a:rPr lang="pt-BR" dirty="0"/>
              <a:t>não contabilizar como </a:t>
            </a:r>
            <a:r>
              <a:rPr lang="pt-BR" dirty="0" err="1"/>
              <a:t>VM-dia</a:t>
            </a:r>
            <a:endParaRPr lang="pt-BR" dirty="0">
              <a:ea typeface="Calibri"/>
              <a:cs typeface="Calibri"/>
            </a:endParaRPr>
          </a:p>
          <a:p>
            <a:pPr indent="-215265" algn="just">
              <a:buClr>
                <a:schemeClr val="dk1"/>
              </a:buClr>
              <a:buSzPct val="100000"/>
            </a:pPr>
            <a:endParaRPr lang="pt-BR" b="1" dirty="0"/>
          </a:p>
          <a:p>
            <a:pPr indent="-215265" algn="just">
              <a:buClr>
                <a:schemeClr val="dk1"/>
              </a:buClr>
              <a:buSzPct val="100000"/>
            </a:pPr>
            <a:r>
              <a:rPr lang="pt-BR" b="1" dirty="0"/>
              <a:t>Nefrostomia, Duplo J, Cistostomia, Punção supra púbica: </a:t>
            </a:r>
            <a:r>
              <a:rPr lang="pt-BR" dirty="0"/>
              <a:t>Não contabilizar como CVD-dia </a:t>
            </a:r>
            <a:endParaRPr lang="pt-BR" sz="1800" dirty="0">
              <a:latin typeface="Arial"/>
              <a:ea typeface="Arial"/>
              <a:cs typeface="Arial"/>
              <a:sym typeface="Arial"/>
            </a:endParaRPr>
          </a:p>
        </p:txBody>
      </p:sp>
    </p:spTree>
    <p:extLst>
      <p:ext uri="{BB962C8B-B14F-4D97-AF65-F5344CB8AC3E}">
        <p14:creationId xmlns:p14="http://schemas.microsoft.com/office/powerpoint/2010/main" val="42872160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EDEE3E-CAB1-FA35-F2CC-DDD107FECF11}"/>
            </a:ext>
          </a:extLst>
        </p:cNvPr>
        <p:cNvGrpSpPr/>
        <p:nvPr/>
      </p:nvGrpSpPr>
      <p:grpSpPr>
        <a:xfrm>
          <a:off x="0" y="0"/>
          <a:ext cx="0" cy="0"/>
          <a:chOff x="0" y="0"/>
          <a:chExt cx="0" cy="0"/>
        </a:xfrm>
      </p:grpSpPr>
      <p:grpSp>
        <p:nvGrpSpPr>
          <p:cNvPr id="2" name="Group 12">
            <a:extLst>
              <a:ext uri="{FF2B5EF4-FFF2-40B4-BE49-F238E27FC236}">
                <a16:creationId xmlns:a16="http://schemas.microsoft.com/office/drawing/2014/main" id="{64730600-188E-DC69-B8CD-05854CE5BCE4}"/>
              </a:ext>
            </a:extLst>
          </p:cNvPr>
          <p:cNvGrpSpPr/>
          <p:nvPr/>
        </p:nvGrpSpPr>
        <p:grpSpPr>
          <a:xfrm>
            <a:off x="304800" y="249455"/>
            <a:ext cx="1193800" cy="462985"/>
            <a:chOff x="5245100" y="211355"/>
            <a:chExt cx="2036664" cy="789869"/>
          </a:xfrm>
        </p:grpSpPr>
        <p:sp>
          <p:nvSpPr>
            <p:cNvPr id="3" name="Freeform: Shape 13">
              <a:extLst>
                <a:ext uri="{FF2B5EF4-FFF2-40B4-BE49-F238E27FC236}">
                  <a16:creationId xmlns:a16="http://schemas.microsoft.com/office/drawing/2014/main" id="{BE613D61-BD14-66EB-896B-DA6CD29C7492}"/>
                </a:ext>
              </a:extLst>
            </p:cNvPr>
            <p:cNvSpPr/>
            <p:nvPr/>
          </p:nvSpPr>
          <p:spPr>
            <a:xfrm>
              <a:off x="5245100" y="308520"/>
              <a:ext cx="247894" cy="322815"/>
            </a:xfrm>
            <a:custGeom>
              <a:avLst/>
              <a:gdLst>
                <a:gd name="connsiteX0" fmla="*/ 529590 w 986123"/>
                <a:gd name="connsiteY0" fmla="*/ 1284160 h 1284160"/>
                <a:gd name="connsiteX1" fmla="*/ 249650 w 986123"/>
                <a:gd name="connsiteY1" fmla="*/ 1235107 h 1284160"/>
                <a:gd name="connsiteX2" fmla="*/ 0 w 986123"/>
                <a:gd name="connsiteY2" fmla="*/ 1084421 h 1284160"/>
                <a:gd name="connsiteX3" fmla="*/ 162306 w 986123"/>
                <a:gd name="connsiteY3" fmla="*/ 890016 h 1284160"/>
                <a:gd name="connsiteX4" fmla="*/ 337947 w 986123"/>
                <a:gd name="connsiteY4" fmla="*/ 1000601 h 1284160"/>
                <a:gd name="connsiteX5" fmla="*/ 535019 w 986123"/>
                <a:gd name="connsiteY5" fmla="*/ 1041654 h 1284160"/>
                <a:gd name="connsiteX6" fmla="*/ 667893 w 986123"/>
                <a:gd name="connsiteY6" fmla="*/ 1010412 h 1284160"/>
                <a:gd name="connsiteX7" fmla="*/ 715137 w 986123"/>
                <a:gd name="connsiteY7" fmla="*/ 923925 h 1284160"/>
                <a:gd name="connsiteX8" fmla="*/ 715137 w 986123"/>
                <a:gd name="connsiteY8" fmla="*/ 920305 h 1284160"/>
                <a:gd name="connsiteX9" fmla="*/ 705326 w 986123"/>
                <a:gd name="connsiteY9" fmla="*/ 873062 h 1284160"/>
                <a:gd name="connsiteX10" fmla="*/ 667798 w 986123"/>
                <a:gd name="connsiteY10" fmla="*/ 834676 h 1284160"/>
                <a:gd name="connsiteX11" fmla="*/ 590931 w 986123"/>
                <a:gd name="connsiteY11" fmla="*/ 798957 h 1284160"/>
                <a:gd name="connsiteX12" fmla="*/ 463106 w 986123"/>
                <a:gd name="connsiteY12" fmla="*/ 761524 h 1284160"/>
                <a:gd name="connsiteX13" fmla="*/ 291465 w 986123"/>
                <a:gd name="connsiteY13" fmla="*/ 709803 h 1284160"/>
                <a:gd name="connsiteX14" fmla="*/ 160973 w 986123"/>
                <a:gd name="connsiteY14" fmla="*/ 639318 h 1284160"/>
                <a:gd name="connsiteX15" fmla="*/ 77819 w 986123"/>
                <a:gd name="connsiteY15" fmla="*/ 535019 h 1284160"/>
                <a:gd name="connsiteX16" fmla="*/ 48292 w 986123"/>
                <a:gd name="connsiteY16" fmla="*/ 379857 h 1284160"/>
                <a:gd name="connsiteX17" fmla="*/ 48292 w 986123"/>
                <a:gd name="connsiteY17" fmla="*/ 376238 h 1284160"/>
                <a:gd name="connsiteX18" fmla="*/ 80201 w 986123"/>
                <a:gd name="connsiteY18" fmla="*/ 222028 h 1284160"/>
                <a:gd name="connsiteX19" fmla="*/ 169640 w 986123"/>
                <a:gd name="connsiteY19" fmla="*/ 103441 h 1284160"/>
                <a:gd name="connsiteX20" fmla="*/ 307181 w 986123"/>
                <a:gd name="connsiteY20" fmla="*/ 26765 h 1284160"/>
                <a:gd name="connsiteX21" fmla="*/ 483394 w 986123"/>
                <a:gd name="connsiteY21" fmla="*/ 0 h 1284160"/>
                <a:gd name="connsiteX22" fmla="*/ 735711 w 986123"/>
                <a:gd name="connsiteY22" fmla="*/ 41053 h 1284160"/>
                <a:gd name="connsiteX23" fmla="*/ 946976 w 986123"/>
                <a:gd name="connsiteY23" fmla="*/ 158687 h 1284160"/>
                <a:gd name="connsiteX24" fmla="*/ 804291 w 986123"/>
                <a:gd name="connsiteY24" fmla="*/ 365569 h 1284160"/>
                <a:gd name="connsiteX25" fmla="*/ 640271 w 986123"/>
                <a:gd name="connsiteY25" fmla="*/ 275558 h 1284160"/>
                <a:gd name="connsiteX26" fmla="*/ 479774 w 986123"/>
                <a:gd name="connsiteY26" fmla="*/ 242602 h 1284160"/>
                <a:gd name="connsiteX27" fmla="*/ 359378 w 986123"/>
                <a:gd name="connsiteY27" fmla="*/ 273844 h 1284160"/>
                <a:gd name="connsiteX28" fmla="*/ 319278 w 986123"/>
                <a:gd name="connsiteY28" fmla="*/ 351377 h 1284160"/>
                <a:gd name="connsiteX29" fmla="*/ 319278 w 986123"/>
                <a:gd name="connsiteY29" fmla="*/ 354997 h 1284160"/>
                <a:gd name="connsiteX30" fmla="*/ 330899 w 986123"/>
                <a:gd name="connsiteY30" fmla="*/ 407575 h 1284160"/>
                <a:gd name="connsiteX31" fmla="*/ 372904 w 986123"/>
                <a:gd name="connsiteY31" fmla="*/ 447675 h 1284160"/>
                <a:gd name="connsiteX32" fmla="*/ 456057 w 986123"/>
                <a:gd name="connsiteY32" fmla="*/ 481489 h 1284160"/>
                <a:gd name="connsiteX33" fmla="*/ 589217 w 986123"/>
                <a:gd name="connsiteY33" fmla="*/ 518922 h 1284160"/>
                <a:gd name="connsiteX34" fmla="*/ 758190 w 986123"/>
                <a:gd name="connsiteY34" fmla="*/ 575120 h 1284160"/>
                <a:gd name="connsiteX35" fmla="*/ 883349 w 986123"/>
                <a:gd name="connsiteY35" fmla="*/ 649986 h 1284160"/>
                <a:gd name="connsiteX36" fmla="*/ 960215 w 986123"/>
                <a:gd name="connsiteY36" fmla="*/ 752570 h 1284160"/>
                <a:gd name="connsiteX37" fmla="*/ 986123 w 986123"/>
                <a:gd name="connsiteY37" fmla="*/ 893445 h 1284160"/>
                <a:gd name="connsiteX38" fmla="*/ 986123 w 986123"/>
                <a:gd name="connsiteY38" fmla="*/ 897064 h 1284160"/>
                <a:gd name="connsiteX39" fmla="*/ 952500 w 986123"/>
                <a:gd name="connsiteY39" fmla="*/ 1062038 h 1284160"/>
                <a:gd name="connsiteX40" fmla="*/ 858584 w 986123"/>
                <a:gd name="connsiteY40" fmla="*/ 1183291 h 1284160"/>
                <a:gd name="connsiteX41" fmla="*/ 714851 w 986123"/>
                <a:gd name="connsiteY41" fmla="*/ 1258157 h 1284160"/>
                <a:gd name="connsiteX42" fmla="*/ 529685 w 986123"/>
                <a:gd name="connsiteY42" fmla="*/ 1284065 h 128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6123" h="1284160">
                  <a:moveTo>
                    <a:pt x="529590" y="1284160"/>
                  </a:moveTo>
                  <a:cubicBezTo>
                    <a:pt x="434435" y="1284160"/>
                    <a:pt x="341186" y="1267777"/>
                    <a:pt x="249650" y="1235107"/>
                  </a:cubicBezTo>
                  <a:cubicBezTo>
                    <a:pt x="158115" y="1202436"/>
                    <a:pt x="74867" y="1152239"/>
                    <a:pt x="0" y="1084421"/>
                  </a:cubicBezTo>
                  <a:lnTo>
                    <a:pt x="162306" y="890016"/>
                  </a:lnTo>
                  <a:cubicBezTo>
                    <a:pt x="219361" y="936403"/>
                    <a:pt x="277844" y="973264"/>
                    <a:pt x="337947" y="1000601"/>
                  </a:cubicBezTo>
                  <a:cubicBezTo>
                    <a:pt x="397955" y="1027938"/>
                    <a:pt x="463677" y="1041654"/>
                    <a:pt x="535019" y="1041654"/>
                  </a:cubicBezTo>
                  <a:cubicBezTo>
                    <a:pt x="592074" y="1041654"/>
                    <a:pt x="636365" y="1031272"/>
                    <a:pt x="667893" y="1010412"/>
                  </a:cubicBezTo>
                  <a:cubicBezTo>
                    <a:pt x="699421" y="989647"/>
                    <a:pt x="715137" y="960787"/>
                    <a:pt x="715137" y="923925"/>
                  </a:cubicBezTo>
                  <a:lnTo>
                    <a:pt x="715137" y="920305"/>
                  </a:lnTo>
                  <a:cubicBezTo>
                    <a:pt x="715137" y="902494"/>
                    <a:pt x="711803" y="886777"/>
                    <a:pt x="705326" y="873062"/>
                  </a:cubicBezTo>
                  <a:cubicBezTo>
                    <a:pt x="698754" y="859441"/>
                    <a:pt x="686276" y="846582"/>
                    <a:pt x="667798" y="834676"/>
                  </a:cubicBezTo>
                  <a:cubicBezTo>
                    <a:pt x="649319" y="822770"/>
                    <a:pt x="623697" y="810863"/>
                    <a:pt x="590931" y="798957"/>
                  </a:cubicBezTo>
                  <a:cubicBezTo>
                    <a:pt x="558165" y="787146"/>
                    <a:pt x="515493" y="774573"/>
                    <a:pt x="463106" y="761524"/>
                  </a:cubicBezTo>
                  <a:cubicBezTo>
                    <a:pt x="399955" y="746093"/>
                    <a:pt x="342710" y="728853"/>
                    <a:pt x="291465" y="709803"/>
                  </a:cubicBezTo>
                  <a:cubicBezTo>
                    <a:pt x="240221" y="690753"/>
                    <a:pt x="196691" y="667322"/>
                    <a:pt x="160973" y="639318"/>
                  </a:cubicBezTo>
                  <a:cubicBezTo>
                    <a:pt x="125159" y="611410"/>
                    <a:pt x="97536" y="576644"/>
                    <a:pt x="77819" y="535019"/>
                  </a:cubicBezTo>
                  <a:cubicBezTo>
                    <a:pt x="58103" y="493395"/>
                    <a:pt x="48292" y="441674"/>
                    <a:pt x="48292" y="379857"/>
                  </a:cubicBezTo>
                  <a:lnTo>
                    <a:pt x="48292" y="376238"/>
                  </a:lnTo>
                  <a:cubicBezTo>
                    <a:pt x="48292" y="319183"/>
                    <a:pt x="58865" y="267748"/>
                    <a:pt x="80201" y="222028"/>
                  </a:cubicBezTo>
                  <a:cubicBezTo>
                    <a:pt x="101441" y="176308"/>
                    <a:pt x="131255" y="136779"/>
                    <a:pt x="169640" y="103441"/>
                  </a:cubicBezTo>
                  <a:cubicBezTo>
                    <a:pt x="208026" y="70199"/>
                    <a:pt x="253841" y="44577"/>
                    <a:pt x="307181" y="26765"/>
                  </a:cubicBezTo>
                  <a:cubicBezTo>
                    <a:pt x="360426" y="8953"/>
                    <a:pt x="419195" y="0"/>
                    <a:pt x="483394" y="0"/>
                  </a:cubicBezTo>
                  <a:cubicBezTo>
                    <a:pt x="574929" y="0"/>
                    <a:pt x="659035" y="13716"/>
                    <a:pt x="735711" y="41053"/>
                  </a:cubicBezTo>
                  <a:cubicBezTo>
                    <a:pt x="812387" y="68389"/>
                    <a:pt x="882777" y="107632"/>
                    <a:pt x="946976" y="158687"/>
                  </a:cubicBezTo>
                  <a:lnTo>
                    <a:pt x="804291" y="365569"/>
                  </a:lnTo>
                  <a:cubicBezTo>
                    <a:pt x="748379" y="327565"/>
                    <a:pt x="693706" y="297561"/>
                    <a:pt x="640271" y="275558"/>
                  </a:cubicBezTo>
                  <a:cubicBezTo>
                    <a:pt x="586740" y="253555"/>
                    <a:pt x="533305" y="242602"/>
                    <a:pt x="479774" y="242602"/>
                  </a:cubicBezTo>
                  <a:cubicBezTo>
                    <a:pt x="426244" y="242602"/>
                    <a:pt x="386144" y="252984"/>
                    <a:pt x="359378" y="273844"/>
                  </a:cubicBezTo>
                  <a:cubicBezTo>
                    <a:pt x="332613" y="294608"/>
                    <a:pt x="319278" y="320516"/>
                    <a:pt x="319278" y="351377"/>
                  </a:cubicBezTo>
                  <a:lnTo>
                    <a:pt x="319278" y="354997"/>
                  </a:lnTo>
                  <a:cubicBezTo>
                    <a:pt x="319278" y="375190"/>
                    <a:pt x="323183" y="392716"/>
                    <a:pt x="330899" y="407575"/>
                  </a:cubicBezTo>
                  <a:cubicBezTo>
                    <a:pt x="338614" y="422434"/>
                    <a:pt x="352616" y="435864"/>
                    <a:pt x="372904" y="447675"/>
                  </a:cubicBezTo>
                  <a:cubicBezTo>
                    <a:pt x="393192" y="459581"/>
                    <a:pt x="420910" y="470821"/>
                    <a:pt x="456057" y="481489"/>
                  </a:cubicBezTo>
                  <a:cubicBezTo>
                    <a:pt x="491204" y="492157"/>
                    <a:pt x="535591" y="504730"/>
                    <a:pt x="589217" y="518922"/>
                  </a:cubicBezTo>
                  <a:cubicBezTo>
                    <a:pt x="652367" y="535591"/>
                    <a:pt x="708660" y="554260"/>
                    <a:pt x="758190" y="575120"/>
                  </a:cubicBezTo>
                  <a:cubicBezTo>
                    <a:pt x="807625" y="595979"/>
                    <a:pt x="849344" y="620935"/>
                    <a:pt x="883349" y="649986"/>
                  </a:cubicBezTo>
                  <a:cubicBezTo>
                    <a:pt x="917353" y="679132"/>
                    <a:pt x="942975" y="713327"/>
                    <a:pt x="960215" y="752570"/>
                  </a:cubicBezTo>
                  <a:cubicBezTo>
                    <a:pt x="977456" y="791813"/>
                    <a:pt x="986123" y="838772"/>
                    <a:pt x="986123" y="893445"/>
                  </a:cubicBezTo>
                  <a:lnTo>
                    <a:pt x="986123" y="897064"/>
                  </a:lnTo>
                  <a:cubicBezTo>
                    <a:pt x="986123" y="958882"/>
                    <a:pt x="974884" y="1013841"/>
                    <a:pt x="952500" y="1062038"/>
                  </a:cubicBezTo>
                  <a:cubicBezTo>
                    <a:pt x="930021" y="1110139"/>
                    <a:pt x="898779" y="1150620"/>
                    <a:pt x="858584" y="1183291"/>
                  </a:cubicBezTo>
                  <a:cubicBezTo>
                    <a:pt x="818388" y="1216057"/>
                    <a:pt x="770477" y="1241012"/>
                    <a:pt x="714851" y="1258157"/>
                  </a:cubicBezTo>
                  <a:cubicBezTo>
                    <a:pt x="659130" y="1275398"/>
                    <a:pt x="597503" y="1284065"/>
                    <a:pt x="529685" y="1284065"/>
                  </a:cubicBezTo>
                  <a:close/>
                </a:path>
              </a:pathLst>
            </a:custGeom>
            <a:solidFill>
              <a:srgbClr val="44505E"/>
            </a:solidFill>
            <a:ln w="9525" cap="flat">
              <a:noFill/>
              <a:prstDash val="solid"/>
              <a:miter/>
            </a:ln>
          </p:spPr>
          <p:txBody>
            <a:bodyPr rtlCol="0" anchor="ctr"/>
            <a:lstStyle/>
            <a:p>
              <a:endParaRPr lang="pt-BR" noProof="0"/>
            </a:p>
          </p:txBody>
        </p:sp>
        <p:sp>
          <p:nvSpPr>
            <p:cNvPr id="4" name="Freeform: Shape 16">
              <a:extLst>
                <a:ext uri="{FF2B5EF4-FFF2-40B4-BE49-F238E27FC236}">
                  <a16:creationId xmlns:a16="http://schemas.microsoft.com/office/drawing/2014/main" id="{CAF0F253-B226-2809-E89B-7044EC2C7C91}"/>
                </a:ext>
              </a:extLst>
            </p:cNvPr>
            <p:cNvSpPr/>
            <p:nvPr/>
          </p:nvSpPr>
          <p:spPr>
            <a:xfrm>
              <a:off x="5492084" y="310867"/>
              <a:ext cx="332584" cy="315991"/>
            </a:xfrm>
            <a:custGeom>
              <a:avLst/>
              <a:gdLst>
                <a:gd name="connsiteX0" fmla="*/ 534924 w 1323022"/>
                <a:gd name="connsiteY0" fmla="*/ 0 h 1257014"/>
                <a:gd name="connsiteX1" fmla="*/ 788099 w 1323022"/>
                <a:gd name="connsiteY1" fmla="*/ 0 h 1257014"/>
                <a:gd name="connsiteX2" fmla="*/ 1323023 w 1323022"/>
                <a:gd name="connsiteY2" fmla="*/ 1257014 h 1257014"/>
                <a:gd name="connsiteX3" fmla="*/ 1035939 w 1323022"/>
                <a:gd name="connsiteY3" fmla="*/ 1257014 h 1257014"/>
                <a:gd name="connsiteX4" fmla="*/ 921829 w 1323022"/>
                <a:gd name="connsiteY4" fmla="*/ 977075 h 1257014"/>
                <a:gd name="connsiteX5" fmla="*/ 394049 w 1323022"/>
                <a:gd name="connsiteY5" fmla="*/ 977075 h 1257014"/>
                <a:gd name="connsiteX6" fmla="*/ 279940 w 1323022"/>
                <a:gd name="connsiteY6" fmla="*/ 1257014 h 1257014"/>
                <a:gd name="connsiteX7" fmla="*/ 0 w 1323022"/>
                <a:gd name="connsiteY7" fmla="*/ 1257014 h 1257014"/>
                <a:gd name="connsiteX8" fmla="*/ 534924 w 1323022"/>
                <a:gd name="connsiteY8" fmla="*/ 0 h 1257014"/>
                <a:gd name="connsiteX9" fmla="*/ 823817 w 1323022"/>
                <a:gd name="connsiteY9" fmla="*/ 734568 h 1257014"/>
                <a:gd name="connsiteX10" fmla="*/ 657987 w 1323022"/>
                <a:gd name="connsiteY10" fmla="*/ 329851 h 1257014"/>
                <a:gd name="connsiteX11" fmla="*/ 492157 w 1323022"/>
                <a:gd name="connsiteY11" fmla="*/ 734568 h 1257014"/>
                <a:gd name="connsiteX12" fmla="*/ 823817 w 1323022"/>
                <a:gd name="connsiteY12" fmla="*/ 734568 h 125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022" h="1257014">
                  <a:moveTo>
                    <a:pt x="534924" y="0"/>
                  </a:moveTo>
                  <a:lnTo>
                    <a:pt x="788099" y="0"/>
                  </a:lnTo>
                  <a:lnTo>
                    <a:pt x="1323023" y="1257014"/>
                  </a:lnTo>
                  <a:lnTo>
                    <a:pt x="1035939" y="1257014"/>
                  </a:lnTo>
                  <a:lnTo>
                    <a:pt x="921829" y="977075"/>
                  </a:lnTo>
                  <a:lnTo>
                    <a:pt x="394049" y="977075"/>
                  </a:lnTo>
                  <a:lnTo>
                    <a:pt x="279940" y="1257014"/>
                  </a:lnTo>
                  <a:lnTo>
                    <a:pt x="0" y="1257014"/>
                  </a:lnTo>
                  <a:lnTo>
                    <a:pt x="534924" y="0"/>
                  </a:lnTo>
                  <a:close/>
                  <a:moveTo>
                    <a:pt x="823817" y="734568"/>
                  </a:moveTo>
                  <a:lnTo>
                    <a:pt x="657987" y="329851"/>
                  </a:lnTo>
                  <a:lnTo>
                    <a:pt x="492157" y="734568"/>
                  </a:lnTo>
                  <a:lnTo>
                    <a:pt x="823817" y="734568"/>
                  </a:lnTo>
                  <a:close/>
                </a:path>
              </a:pathLst>
            </a:custGeom>
            <a:solidFill>
              <a:srgbClr val="44505E"/>
            </a:solidFill>
            <a:ln w="9525" cap="flat">
              <a:noFill/>
              <a:prstDash val="solid"/>
              <a:miter/>
            </a:ln>
          </p:spPr>
          <p:txBody>
            <a:bodyPr rtlCol="0" anchor="ctr"/>
            <a:lstStyle/>
            <a:p>
              <a:endParaRPr lang="pt-BR" noProof="0"/>
            </a:p>
          </p:txBody>
        </p:sp>
        <p:sp>
          <p:nvSpPr>
            <p:cNvPr id="5" name="Freeform: Shape 17">
              <a:extLst>
                <a:ext uri="{FF2B5EF4-FFF2-40B4-BE49-F238E27FC236}">
                  <a16:creationId xmlns:a16="http://schemas.microsoft.com/office/drawing/2014/main" id="{152F1CD9-56FA-02B5-80D8-1407FAE636D3}"/>
                </a:ext>
              </a:extLst>
            </p:cNvPr>
            <p:cNvSpPr/>
            <p:nvPr/>
          </p:nvSpPr>
          <p:spPr>
            <a:xfrm>
              <a:off x="5834078" y="211355"/>
              <a:ext cx="273442" cy="420435"/>
            </a:xfrm>
            <a:custGeom>
              <a:avLst/>
              <a:gdLst>
                <a:gd name="connsiteX0" fmla="*/ 540258 w 1087754"/>
                <a:gd name="connsiteY0" fmla="*/ 1672495 h 1672494"/>
                <a:gd name="connsiteX1" fmla="*/ 144399 w 1087754"/>
                <a:gd name="connsiteY1" fmla="*/ 1533430 h 1672494"/>
                <a:gd name="connsiteX2" fmla="*/ 0 w 1087754"/>
                <a:gd name="connsiteY2" fmla="*/ 1117949 h 1672494"/>
                <a:gd name="connsiteX3" fmla="*/ 0 w 1087754"/>
                <a:gd name="connsiteY3" fmla="*/ 404717 h 1672494"/>
                <a:gd name="connsiteX4" fmla="*/ 274606 w 1087754"/>
                <a:gd name="connsiteY4" fmla="*/ 404717 h 1672494"/>
                <a:gd name="connsiteX5" fmla="*/ 274606 w 1087754"/>
                <a:gd name="connsiteY5" fmla="*/ 1110806 h 1672494"/>
                <a:gd name="connsiteX6" fmla="*/ 345948 w 1087754"/>
                <a:gd name="connsiteY6" fmla="*/ 1341692 h 1672494"/>
                <a:gd name="connsiteX7" fmla="*/ 543877 w 1087754"/>
                <a:gd name="connsiteY7" fmla="*/ 1419225 h 1672494"/>
                <a:gd name="connsiteX8" fmla="*/ 741807 w 1087754"/>
                <a:gd name="connsiteY8" fmla="*/ 1344359 h 1672494"/>
                <a:gd name="connsiteX9" fmla="*/ 813149 w 1087754"/>
                <a:gd name="connsiteY9" fmla="*/ 1119664 h 1672494"/>
                <a:gd name="connsiteX10" fmla="*/ 813149 w 1087754"/>
                <a:gd name="connsiteY10" fmla="*/ 404717 h 1672494"/>
                <a:gd name="connsiteX11" fmla="*/ 1087755 w 1087754"/>
                <a:gd name="connsiteY11" fmla="*/ 404717 h 1672494"/>
                <a:gd name="connsiteX12" fmla="*/ 1087755 w 1087754"/>
                <a:gd name="connsiteY12" fmla="*/ 1108996 h 1672494"/>
                <a:gd name="connsiteX13" fmla="*/ 1049369 w 1087754"/>
                <a:gd name="connsiteY13" fmla="*/ 1356836 h 1672494"/>
                <a:gd name="connsiteX14" fmla="*/ 939737 w 1087754"/>
                <a:gd name="connsiteY14" fmla="*/ 1532477 h 1672494"/>
                <a:gd name="connsiteX15" fmla="*/ 766763 w 1087754"/>
                <a:gd name="connsiteY15" fmla="*/ 1637729 h 1672494"/>
                <a:gd name="connsiteX16" fmla="*/ 540353 w 1087754"/>
                <a:gd name="connsiteY16" fmla="*/ 1672495 h 1672494"/>
                <a:gd name="connsiteX17" fmla="*/ 622268 w 1087754"/>
                <a:gd name="connsiteY17" fmla="*/ 0 h 1672494"/>
                <a:gd name="connsiteX18" fmla="*/ 855821 w 1087754"/>
                <a:gd name="connsiteY18" fmla="*/ 101632 h 1672494"/>
                <a:gd name="connsiteX19" fmla="*/ 627602 w 1087754"/>
                <a:gd name="connsiteY19" fmla="*/ 315563 h 1672494"/>
                <a:gd name="connsiteX20" fmla="*/ 420719 w 1087754"/>
                <a:gd name="connsiteY20" fmla="*/ 315563 h 1672494"/>
                <a:gd name="connsiteX21" fmla="*/ 622268 w 1087754"/>
                <a:gd name="connsiteY21" fmla="*/ 0 h 16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754" h="1672494">
                  <a:moveTo>
                    <a:pt x="540258" y="1672495"/>
                  </a:moveTo>
                  <a:cubicBezTo>
                    <a:pt x="372618" y="1672495"/>
                    <a:pt x="240697" y="1626108"/>
                    <a:pt x="144399" y="1533430"/>
                  </a:cubicBezTo>
                  <a:cubicBezTo>
                    <a:pt x="48101" y="1440752"/>
                    <a:pt x="0" y="1302258"/>
                    <a:pt x="0" y="1117949"/>
                  </a:cubicBezTo>
                  <a:lnTo>
                    <a:pt x="0" y="404717"/>
                  </a:lnTo>
                  <a:lnTo>
                    <a:pt x="274606" y="404717"/>
                  </a:lnTo>
                  <a:lnTo>
                    <a:pt x="274606" y="1110806"/>
                  </a:lnTo>
                  <a:cubicBezTo>
                    <a:pt x="274606" y="1213009"/>
                    <a:pt x="298418" y="1289971"/>
                    <a:pt x="345948" y="1341692"/>
                  </a:cubicBezTo>
                  <a:cubicBezTo>
                    <a:pt x="393478" y="1393412"/>
                    <a:pt x="459486" y="1419225"/>
                    <a:pt x="543877" y="1419225"/>
                  </a:cubicBezTo>
                  <a:cubicBezTo>
                    <a:pt x="628269" y="1419225"/>
                    <a:pt x="694277" y="1394270"/>
                    <a:pt x="741807" y="1344359"/>
                  </a:cubicBezTo>
                  <a:cubicBezTo>
                    <a:pt x="789337" y="1294448"/>
                    <a:pt x="813149" y="1219581"/>
                    <a:pt x="813149" y="1119664"/>
                  </a:cubicBezTo>
                  <a:lnTo>
                    <a:pt x="813149" y="404717"/>
                  </a:lnTo>
                  <a:lnTo>
                    <a:pt x="1087755" y="404717"/>
                  </a:lnTo>
                  <a:lnTo>
                    <a:pt x="1087755" y="1108996"/>
                  </a:lnTo>
                  <a:cubicBezTo>
                    <a:pt x="1087755" y="1204151"/>
                    <a:pt x="1074992" y="1286732"/>
                    <a:pt x="1049369" y="1356836"/>
                  </a:cubicBezTo>
                  <a:cubicBezTo>
                    <a:pt x="1023747" y="1426940"/>
                    <a:pt x="987266" y="1485519"/>
                    <a:pt x="939737" y="1532477"/>
                  </a:cubicBezTo>
                  <a:cubicBezTo>
                    <a:pt x="892207" y="1579436"/>
                    <a:pt x="834485" y="1614488"/>
                    <a:pt x="766763" y="1637729"/>
                  </a:cubicBezTo>
                  <a:cubicBezTo>
                    <a:pt x="699040" y="1660874"/>
                    <a:pt x="623507" y="1672495"/>
                    <a:pt x="540353" y="1672495"/>
                  </a:cubicBezTo>
                  <a:close/>
                  <a:moveTo>
                    <a:pt x="622268" y="0"/>
                  </a:moveTo>
                  <a:lnTo>
                    <a:pt x="855821" y="101632"/>
                  </a:lnTo>
                  <a:lnTo>
                    <a:pt x="627602" y="315563"/>
                  </a:lnTo>
                  <a:lnTo>
                    <a:pt x="420719" y="315563"/>
                  </a:lnTo>
                  <a:lnTo>
                    <a:pt x="622268" y="0"/>
                  </a:lnTo>
                  <a:close/>
                </a:path>
              </a:pathLst>
            </a:custGeom>
            <a:solidFill>
              <a:srgbClr val="44505E"/>
            </a:solidFill>
            <a:ln w="9525" cap="flat">
              <a:noFill/>
              <a:prstDash val="solid"/>
              <a:miter/>
            </a:ln>
          </p:spPr>
          <p:txBody>
            <a:bodyPr rtlCol="0" anchor="ctr"/>
            <a:lstStyle/>
            <a:p>
              <a:endParaRPr lang="pt-BR" noProof="0"/>
            </a:p>
          </p:txBody>
        </p:sp>
        <p:sp>
          <p:nvSpPr>
            <p:cNvPr id="6" name="Freeform: Shape 18">
              <a:extLst>
                <a:ext uri="{FF2B5EF4-FFF2-40B4-BE49-F238E27FC236}">
                  <a16:creationId xmlns:a16="http://schemas.microsoft.com/office/drawing/2014/main" id="{EFDE754C-08B5-2978-E415-3CD367B4350E}"/>
                </a:ext>
              </a:extLst>
            </p:cNvPr>
            <p:cNvSpPr/>
            <p:nvPr/>
          </p:nvSpPr>
          <p:spPr>
            <a:xfrm>
              <a:off x="6143795" y="313094"/>
              <a:ext cx="289101" cy="313764"/>
            </a:xfrm>
            <a:custGeom>
              <a:avLst/>
              <a:gdLst>
                <a:gd name="connsiteX0" fmla="*/ 0 w 1150048"/>
                <a:gd name="connsiteY0" fmla="*/ 0 h 1248155"/>
                <a:gd name="connsiteX1" fmla="*/ 486728 w 1150048"/>
                <a:gd name="connsiteY1" fmla="*/ 0 h 1248155"/>
                <a:gd name="connsiteX2" fmla="*/ 755047 w 1150048"/>
                <a:gd name="connsiteY2" fmla="*/ 47244 h 1248155"/>
                <a:gd name="connsiteX3" fmla="*/ 965454 w 1150048"/>
                <a:gd name="connsiteY3" fmla="*/ 178308 h 1248155"/>
                <a:gd name="connsiteX4" fmla="*/ 1101852 w 1150048"/>
                <a:gd name="connsiteY4" fmla="*/ 375380 h 1248155"/>
                <a:gd name="connsiteX5" fmla="*/ 1150049 w 1150048"/>
                <a:gd name="connsiteY5" fmla="*/ 620554 h 1248155"/>
                <a:gd name="connsiteX6" fmla="*/ 1150049 w 1150048"/>
                <a:gd name="connsiteY6" fmla="*/ 624173 h 1248155"/>
                <a:gd name="connsiteX7" fmla="*/ 1101852 w 1150048"/>
                <a:gd name="connsiteY7" fmla="*/ 870204 h 1248155"/>
                <a:gd name="connsiteX8" fmla="*/ 965454 w 1150048"/>
                <a:gd name="connsiteY8" fmla="*/ 1068134 h 1248155"/>
                <a:gd name="connsiteX9" fmla="*/ 755047 w 1150048"/>
                <a:gd name="connsiteY9" fmla="*/ 1200055 h 1248155"/>
                <a:gd name="connsiteX10" fmla="*/ 486728 w 1150048"/>
                <a:gd name="connsiteY10" fmla="*/ 1248156 h 1248155"/>
                <a:gd name="connsiteX11" fmla="*/ 0 w 1150048"/>
                <a:gd name="connsiteY11" fmla="*/ 1248156 h 1248155"/>
                <a:gd name="connsiteX12" fmla="*/ 0 w 1150048"/>
                <a:gd name="connsiteY12" fmla="*/ 0 h 1248155"/>
                <a:gd name="connsiteX13" fmla="*/ 486728 w 1150048"/>
                <a:gd name="connsiteY13" fmla="*/ 1000315 h 1248155"/>
                <a:gd name="connsiteX14" fmla="*/ 640080 w 1150048"/>
                <a:gd name="connsiteY14" fmla="*/ 973550 h 1248155"/>
                <a:gd name="connsiteX15" fmla="*/ 758667 w 1150048"/>
                <a:gd name="connsiteY15" fmla="*/ 896874 h 1248155"/>
                <a:gd name="connsiteX16" fmla="*/ 835343 w 1150048"/>
                <a:gd name="connsiteY16" fmla="*/ 779240 h 1248155"/>
                <a:gd name="connsiteX17" fmla="*/ 862965 w 1150048"/>
                <a:gd name="connsiteY17" fmla="*/ 627698 h 1248155"/>
                <a:gd name="connsiteX18" fmla="*/ 862965 w 1150048"/>
                <a:gd name="connsiteY18" fmla="*/ 624078 h 1248155"/>
                <a:gd name="connsiteX19" fmla="*/ 835343 w 1150048"/>
                <a:gd name="connsiteY19" fmla="*/ 472535 h 1248155"/>
                <a:gd name="connsiteX20" fmla="*/ 758667 w 1150048"/>
                <a:gd name="connsiteY20" fmla="*/ 353092 h 1248155"/>
                <a:gd name="connsiteX21" fmla="*/ 640080 w 1150048"/>
                <a:gd name="connsiteY21" fmla="*/ 275558 h 1248155"/>
                <a:gd name="connsiteX22" fmla="*/ 486728 w 1150048"/>
                <a:gd name="connsiteY22" fmla="*/ 247936 h 1248155"/>
                <a:gd name="connsiteX23" fmla="*/ 274511 w 1150048"/>
                <a:gd name="connsiteY23" fmla="*/ 247936 h 1248155"/>
                <a:gd name="connsiteX24" fmla="*/ 274511 w 1150048"/>
                <a:gd name="connsiteY24" fmla="*/ 1000411 h 1248155"/>
                <a:gd name="connsiteX25" fmla="*/ 486728 w 1150048"/>
                <a:gd name="connsiteY25" fmla="*/ 1000411 h 124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50048" h="1248155">
                  <a:moveTo>
                    <a:pt x="0" y="0"/>
                  </a:moveTo>
                  <a:lnTo>
                    <a:pt x="486728" y="0"/>
                  </a:lnTo>
                  <a:cubicBezTo>
                    <a:pt x="584168" y="0"/>
                    <a:pt x="673608" y="15811"/>
                    <a:pt x="755047" y="47244"/>
                  </a:cubicBezTo>
                  <a:cubicBezTo>
                    <a:pt x="836486" y="78772"/>
                    <a:pt x="906590" y="122396"/>
                    <a:pt x="965454" y="178308"/>
                  </a:cubicBezTo>
                  <a:cubicBezTo>
                    <a:pt x="1024319" y="234220"/>
                    <a:pt x="1069753" y="299847"/>
                    <a:pt x="1101852" y="375380"/>
                  </a:cubicBezTo>
                  <a:cubicBezTo>
                    <a:pt x="1133951" y="450914"/>
                    <a:pt x="1150049" y="532543"/>
                    <a:pt x="1150049" y="620554"/>
                  </a:cubicBezTo>
                  <a:lnTo>
                    <a:pt x="1150049" y="624173"/>
                  </a:lnTo>
                  <a:cubicBezTo>
                    <a:pt x="1150049" y="712184"/>
                    <a:pt x="1133951" y="794195"/>
                    <a:pt x="1101852" y="870204"/>
                  </a:cubicBezTo>
                  <a:cubicBezTo>
                    <a:pt x="1069753" y="946309"/>
                    <a:pt x="1024319" y="1012222"/>
                    <a:pt x="965454" y="1068134"/>
                  </a:cubicBezTo>
                  <a:cubicBezTo>
                    <a:pt x="906590" y="1124045"/>
                    <a:pt x="836486" y="1167956"/>
                    <a:pt x="755047" y="1200055"/>
                  </a:cubicBezTo>
                  <a:cubicBezTo>
                    <a:pt x="673608" y="1232154"/>
                    <a:pt x="584168" y="1248156"/>
                    <a:pt x="486728" y="1248156"/>
                  </a:cubicBezTo>
                  <a:lnTo>
                    <a:pt x="0" y="1248156"/>
                  </a:lnTo>
                  <a:lnTo>
                    <a:pt x="0" y="0"/>
                  </a:lnTo>
                  <a:close/>
                  <a:moveTo>
                    <a:pt x="486728" y="1000315"/>
                  </a:moveTo>
                  <a:cubicBezTo>
                    <a:pt x="542639" y="1000315"/>
                    <a:pt x="593693" y="991457"/>
                    <a:pt x="640080" y="973550"/>
                  </a:cubicBezTo>
                  <a:cubicBezTo>
                    <a:pt x="686467" y="955739"/>
                    <a:pt x="725900" y="930211"/>
                    <a:pt x="758667" y="896874"/>
                  </a:cubicBezTo>
                  <a:cubicBezTo>
                    <a:pt x="791337" y="863632"/>
                    <a:pt x="816864" y="824389"/>
                    <a:pt x="835343" y="779240"/>
                  </a:cubicBezTo>
                  <a:cubicBezTo>
                    <a:pt x="853726" y="734092"/>
                    <a:pt x="862965" y="683609"/>
                    <a:pt x="862965" y="627698"/>
                  </a:cubicBezTo>
                  <a:lnTo>
                    <a:pt x="862965" y="624078"/>
                  </a:lnTo>
                  <a:cubicBezTo>
                    <a:pt x="862965" y="569404"/>
                    <a:pt x="853726" y="518827"/>
                    <a:pt x="835343" y="472535"/>
                  </a:cubicBezTo>
                  <a:cubicBezTo>
                    <a:pt x="816864" y="426149"/>
                    <a:pt x="791337" y="386334"/>
                    <a:pt x="758667" y="353092"/>
                  </a:cubicBezTo>
                  <a:cubicBezTo>
                    <a:pt x="725996" y="319849"/>
                    <a:pt x="686467" y="293941"/>
                    <a:pt x="640080" y="275558"/>
                  </a:cubicBezTo>
                  <a:cubicBezTo>
                    <a:pt x="593693" y="257175"/>
                    <a:pt x="542639" y="247936"/>
                    <a:pt x="486728" y="247936"/>
                  </a:cubicBezTo>
                  <a:lnTo>
                    <a:pt x="274511" y="247936"/>
                  </a:lnTo>
                  <a:lnTo>
                    <a:pt x="274511" y="1000411"/>
                  </a:lnTo>
                  <a:lnTo>
                    <a:pt x="486728" y="1000411"/>
                  </a:lnTo>
                  <a:close/>
                </a:path>
              </a:pathLst>
            </a:custGeom>
            <a:solidFill>
              <a:srgbClr val="44505E"/>
            </a:solidFill>
            <a:ln w="9525" cap="flat">
              <a:noFill/>
              <a:prstDash val="solid"/>
              <a:miter/>
            </a:ln>
          </p:spPr>
          <p:txBody>
            <a:bodyPr rtlCol="0" anchor="ctr"/>
            <a:lstStyle/>
            <a:p>
              <a:endParaRPr lang="pt-BR" noProof="0"/>
            </a:p>
          </p:txBody>
        </p:sp>
        <p:sp>
          <p:nvSpPr>
            <p:cNvPr id="7" name="Freeform: Shape 19">
              <a:extLst>
                <a:ext uri="{FF2B5EF4-FFF2-40B4-BE49-F238E27FC236}">
                  <a16:creationId xmlns:a16="http://schemas.microsoft.com/office/drawing/2014/main" id="{ECBC0034-4648-0C0D-E936-922161C0152B}"/>
                </a:ext>
              </a:extLst>
            </p:cNvPr>
            <p:cNvSpPr/>
            <p:nvPr/>
          </p:nvSpPr>
          <p:spPr>
            <a:xfrm>
              <a:off x="6460217" y="313094"/>
              <a:ext cx="238459" cy="313788"/>
            </a:xfrm>
            <a:custGeom>
              <a:avLst/>
              <a:gdLst>
                <a:gd name="connsiteX0" fmla="*/ 95 w 948594"/>
                <a:gd name="connsiteY0" fmla="*/ 0 h 1248251"/>
                <a:gd name="connsiteX1" fmla="*/ 939737 w 948594"/>
                <a:gd name="connsiteY1" fmla="*/ 0 h 1248251"/>
                <a:gd name="connsiteX2" fmla="*/ 939737 w 948594"/>
                <a:gd name="connsiteY2" fmla="*/ 244316 h 1248251"/>
                <a:gd name="connsiteX3" fmla="*/ 271081 w 948594"/>
                <a:gd name="connsiteY3" fmla="*/ 244316 h 1248251"/>
                <a:gd name="connsiteX4" fmla="*/ 271081 w 948594"/>
                <a:gd name="connsiteY4" fmla="*/ 497491 h 1248251"/>
                <a:gd name="connsiteX5" fmla="*/ 859441 w 948594"/>
                <a:gd name="connsiteY5" fmla="*/ 497491 h 1248251"/>
                <a:gd name="connsiteX6" fmla="*/ 859441 w 948594"/>
                <a:gd name="connsiteY6" fmla="*/ 741807 h 1248251"/>
                <a:gd name="connsiteX7" fmla="*/ 271081 w 948594"/>
                <a:gd name="connsiteY7" fmla="*/ 741807 h 1248251"/>
                <a:gd name="connsiteX8" fmla="*/ 271081 w 948594"/>
                <a:gd name="connsiteY8" fmla="*/ 1003935 h 1248251"/>
                <a:gd name="connsiteX9" fmla="*/ 948595 w 948594"/>
                <a:gd name="connsiteY9" fmla="*/ 1003935 h 1248251"/>
                <a:gd name="connsiteX10" fmla="*/ 948595 w 948594"/>
                <a:gd name="connsiteY10" fmla="*/ 1248251 h 1248251"/>
                <a:gd name="connsiteX11" fmla="*/ 0 w 948594"/>
                <a:gd name="connsiteY11" fmla="*/ 1248251 h 1248251"/>
                <a:gd name="connsiteX12" fmla="*/ 0 w 948594"/>
                <a:gd name="connsiteY12" fmla="*/ 0 h 124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594" h="1248251">
                  <a:moveTo>
                    <a:pt x="95" y="0"/>
                  </a:moveTo>
                  <a:lnTo>
                    <a:pt x="939737" y="0"/>
                  </a:lnTo>
                  <a:lnTo>
                    <a:pt x="939737" y="244316"/>
                  </a:lnTo>
                  <a:lnTo>
                    <a:pt x="271081" y="244316"/>
                  </a:lnTo>
                  <a:lnTo>
                    <a:pt x="271081" y="497491"/>
                  </a:lnTo>
                  <a:lnTo>
                    <a:pt x="859441" y="497491"/>
                  </a:lnTo>
                  <a:lnTo>
                    <a:pt x="859441" y="741807"/>
                  </a:lnTo>
                  <a:lnTo>
                    <a:pt x="271081" y="741807"/>
                  </a:lnTo>
                  <a:lnTo>
                    <a:pt x="271081" y="1003935"/>
                  </a:lnTo>
                  <a:lnTo>
                    <a:pt x="948595" y="1003935"/>
                  </a:lnTo>
                  <a:lnTo>
                    <a:pt x="948595" y="1248251"/>
                  </a:lnTo>
                  <a:lnTo>
                    <a:pt x="0" y="1248251"/>
                  </a:lnTo>
                  <a:lnTo>
                    <a:pt x="0" y="0"/>
                  </a:lnTo>
                  <a:close/>
                </a:path>
              </a:pathLst>
            </a:custGeom>
            <a:solidFill>
              <a:srgbClr val="44505E"/>
            </a:solidFill>
            <a:ln w="9525" cap="flat">
              <a:noFill/>
              <a:prstDash val="solid"/>
              <a:miter/>
            </a:ln>
          </p:spPr>
          <p:txBody>
            <a:bodyPr rtlCol="0" anchor="ctr"/>
            <a:lstStyle/>
            <a:p>
              <a:endParaRPr lang="pt-BR" noProof="0"/>
            </a:p>
          </p:txBody>
        </p:sp>
        <p:sp>
          <p:nvSpPr>
            <p:cNvPr id="8" name="Freeform: Shape 20">
              <a:extLst>
                <a:ext uri="{FF2B5EF4-FFF2-40B4-BE49-F238E27FC236}">
                  <a16:creationId xmlns:a16="http://schemas.microsoft.com/office/drawing/2014/main" id="{83BE3D03-1237-7D74-41B1-1B6077DCED5E}"/>
                </a:ext>
              </a:extLst>
            </p:cNvPr>
            <p:cNvSpPr/>
            <p:nvPr/>
          </p:nvSpPr>
          <p:spPr>
            <a:xfrm>
              <a:off x="5253193" y="699983"/>
              <a:ext cx="90796" cy="97883"/>
            </a:xfrm>
            <a:custGeom>
              <a:avLst/>
              <a:gdLst>
                <a:gd name="connsiteX0" fmla="*/ 191548 w 361187"/>
                <a:gd name="connsiteY0" fmla="*/ 389382 h 389381"/>
                <a:gd name="connsiteX1" fmla="*/ 116300 w 361187"/>
                <a:gd name="connsiteY1" fmla="*/ 375285 h 389381"/>
                <a:gd name="connsiteX2" fmla="*/ 55531 w 361187"/>
                <a:gd name="connsiteY2" fmla="*/ 335756 h 389381"/>
                <a:gd name="connsiteX3" fmla="*/ 14859 w 361187"/>
                <a:gd name="connsiteY3" fmla="*/ 274606 h 389381"/>
                <a:gd name="connsiteX4" fmla="*/ 0 w 361187"/>
                <a:gd name="connsiteY4" fmla="*/ 195834 h 389381"/>
                <a:gd name="connsiteX5" fmla="*/ 0 w 361187"/>
                <a:gd name="connsiteY5" fmla="*/ 194405 h 389381"/>
                <a:gd name="connsiteX6" fmla="*/ 13430 w 361187"/>
                <a:gd name="connsiteY6" fmla="*/ 118777 h 389381"/>
                <a:gd name="connsiteX7" fmla="*/ 51245 w 361187"/>
                <a:gd name="connsiteY7" fmla="*/ 56959 h 389381"/>
                <a:gd name="connsiteX8" fmla="*/ 108871 w 361187"/>
                <a:gd name="connsiteY8" fmla="*/ 15240 h 389381"/>
                <a:gd name="connsiteX9" fmla="*/ 182404 w 361187"/>
                <a:gd name="connsiteY9" fmla="*/ 0 h 389381"/>
                <a:gd name="connsiteX10" fmla="*/ 260509 w 361187"/>
                <a:gd name="connsiteY10" fmla="*/ 16288 h 389381"/>
                <a:gd name="connsiteX11" fmla="*/ 316325 w 361187"/>
                <a:gd name="connsiteY11" fmla="*/ 60103 h 389381"/>
                <a:gd name="connsiteX12" fmla="*/ 349853 w 361187"/>
                <a:gd name="connsiteY12" fmla="*/ 124015 h 389381"/>
                <a:gd name="connsiteX13" fmla="*/ 361188 w 361187"/>
                <a:gd name="connsiteY13" fmla="*/ 200692 h 389381"/>
                <a:gd name="connsiteX14" fmla="*/ 360807 w 361187"/>
                <a:gd name="connsiteY14" fmla="*/ 212312 h 389381"/>
                <a:gd name="connsiteX15" fmla="*/ 359759 w 361187"/>
                <a:gd name="connsiteY15" fmla="*/ 224695 h 389381"/>
                <a:gd name="connsiteX16" fmla="*/ 85534 w 361187"/>
                <a:gd name="connsiteY16" fmla="*/ 224695 h 389381"/>
                <a:gd name="connsiteX17" fmla="*/ 121920 w 361187"/>
                <a:gd name="connsiteY17" fmla="*/ 294989 h 389381"/>
                <a:gd name="connsiteX18" fmla="*/ 192977 w 361187"/>
                <a:gd name="connsiteY18" fmla="*/ 319373 h 389381"/>
                <a:gd name="connsiteX19" fmla="*/ 248126 w 361187"/>
                <a:gd name="connsiteY19" fmla="*/ 308038 h 389381"/>
                <a:gd name="connsiteX20" fmla="*/ 294037 w 361187"/>
                <a:gd name="connsiteY20" fmla="*/ 274796 h 389381"/>
                <a:gd name="connsiteX21" fmla="*/ 344234 w 361187"/>
                <a:gd name="connsiteY21" fmla="*/ 319278 h 389381"/>
                <a:gd name="connsiteX22" fmla="*/ 280226 w 361187"/>
                <a:gd name="connsiteY22" fmla="*/ 370141 h 389381"/>
                <a:gd name="connsiteX23" fmla="*/ 191548 w 361187"/>
                <a:gd name="connsiteY23" fmla="*/ 389191 h 389381"/>
                <a:gd name="connsiteX24" fmla="*/ 276320 w 361187"/>
                <a:gd name="connsiteY24" fmla="*/ 168211 h 389381"/>
                <a:gd name="connsiteX25" fmla="*/ 267176 w 361187"/>
                <a:gd name="connsiteY25" fmla="*/ 129730 h 389381"/>
                <a:gd name="connsiteX26" fmla="*/ 248126 w 361187"/>
                <a:gd name="connsiteY26" fmla="*/ 98679 h 389381"/>
                <a:gd name="connsiteX27" fmla="*/ 219551 w 361187"/>
                <a:gd name="connsiteY27" fmla="*/ 77819 h 389381"/>
                <a:gd name="connsiteX28" fmla="*/ 181737 w 361187"/>
                <a:gd name="connsiteY28" fmla="*/ 70009 h 389381"/>
                <a:gd name="connsiteX29" fmla="*/ 116396 w 361187"/>
                <a:gd name="connsiteY29" fmla="*/ 97250 h 389381"/>
                <a:gd name="connsiteX30" fmla="*/ 84963 w 361187"/>
                <a:gd name="connsiteY30" fmla="*/ 168307 h 389381"/>
                <a:gd name="connsiteX31" fmla="*/ 276511 w 361187"/>
                <a:gd name="connsiteY31" fmla="*/ 168307 h 38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187" h="389381">
                  <a:moveTo>
                    <a:pt x="191548" y="389382"/>
                  </a:moveTo>
                  <a:cubicBezTo>
                    <a:pt x="164687" y="389382"/>
                    <a:pt x="139637" y="384715"/>
                    <a:pt x="116300" y="375285"/>
                  </a:cubicBezTo>
                  <a:cubicBezTo>
                    <a:pt x="92964" y="365855"/>
                    <a:pt x="72771" y="352711"/>
                    <a:pt x="55531" y="335756"/>
                  </a:cubicBezTo>
                  <a:cubicBezTo>
                    <a:pt x="38291" y="318802"/>
                    <a:pt x="24765" y="298418"/>
                    <a:pt x="14859" y="274606"/>
                  </a:cubicBezTo>
                  <a:cubicBezTo>
                    <a:pt x="4953" y="250793"/>
                    <a:pt x="0" y="224599"/>
                    <a:pt x="0" y="195834"/>
                  </a:cubicBezTo>
                  <a:lnTo>
                    <a:pt x="0" y="194405"/>
                  </a:lnTo>
                  <a:cubicBezTo>
                    <a:pt x="0" y="167545"/>
                    <a:pt x="4477" y="142399"/>
                    <a:pt x="13430" y="118777"/>
                  </a:cubicBezTo>
                  <a:cubicBezTo>
                    <a:pt x="22384" y="95250"/>
                    <a:pt x="34957" y="74581"/>
                    <a:pt x="51245" y="56959"/>
                  </a:cubicBezTo>
                  <a:cubicBezTo>
                    <a:pt x="67532" y="39338"/>
                    <a:pt x="86677" y="25432"/>
                    <a:pt x="108871" y="15240"/>
                  </a:cubicBezTo>
                  <a:cubicBezTo>
                    <a:pt x="131064" y="5143"/>
                    <a:pt x="155543" y="0"/>
                    <a:pt x="182404" y="0"/>
                  </a:cubicBezTo>
                  <a:cubicBezTo>
                    <a:pt x="212122" y="0"/>
                    <a:pt x="238125" y="5429"/>
                    <a:pt x="260509" y="16288"/>
                  </a:cubicBezTo>
                  <a:cubicBezTo>
                    <a:pt x="282893" y="27146"/>
                    <a:pt x="301466" y="41719"/>
                    <a:pt x="316325" y="60103"/>
                  </a:cubicBezTo>
                  <a:cubicBezTo>
                    <a:pt x="331184" y="78486"/>
                    <a:pt x="342329" y="99822"/>
                    <a:pt x="349853" y="124015"/>
                  </a:cubicBezTo>
                  <a:cubicBezTo>
                    <a:pt x="357378" y="148304"/>
                    <a:pt x="361188" y="173831"/>
                    <a:pt x="361188" y="200692"/>
                  </a:cubicBezTo>
                  <a:cubicBezTo>
                    <a:pt x="361188" y="204502"/>
                    <a:pt x="361093" y="208312"/>
                    <a:pt x="360807" y="212312"/>
                  </a:cubicBezTo>
                  <a:cubicBezTo>
                    <a:pt x="360521" y="216313"/>
                    <a:pt x="360236" y="220409"/>
                    <a:pt x="359759" y="224695"/>
                  </a:cubicBezTo>
                  <a:lnTo>
                    <a:pt x="85534" y="224695"/>
                  </a:lnTo>
                  <a:cubicBezTo>
                    <a:pt x="90202" y="255365"/>
                    <a:pt x="102394" y="278797"/>
                    <a:pt x="121920" y="294989"/>
                  </a:cubicBezTo>
                  <a:cubicBezTo>
                    <a:pt x="141446" y="311277"/>
                    <a:pt x="165164" y="319373"/>
                    <a:pt x="192977" y="319373"/>
                  </a:cubicBezTo>
                  <a:cubicBezTo>
                    <a:pt x="214217" y="319373"/>
                    <a:pt x="232505" y="315563"/>
                    <a:pt x="248126" y="308038"/>
                  </a:cubicBezTo>
                  <a:cubicBezTo>
                    <a:pt x="263652" y="300514"/>
                    <a:pt x="278987" y="289465"/>
                    <a:pt x="294037" y="274796"/>
                  </a:cubicBezTo>
                  <a:lnTo>
                    <a:pt x="344234" y="319278"/>
                  </a:lnTo>
                  <a:cubicBezTo>
                    <a:pt x="326327" y="340519"/>
                    <a:pt x="304991" y="357473"/>
                    <a:pt x="280226" y="370141"/>
                  </a:cubicBezTo>
                  <a:cubicBezTo>
                    <a:pt x="255461" y="382810"/>
                    <a:pt x="225933" y="389191"/>
                    <a:pt x="191548" y="389191"/>
                  </a:cubicBezTo>
                  <a:close/>
                  <a:moveTo>
                    <a:pt x="276320" y="168211"/>
                  </a:moveTo>
                  <a:cubicBezTo>
                    <a:pt x="274892" y="154591"/>
                    <a:pt x="271844" y="141732"/>
                    <a:pt x="267176" y="129730"/>
                  </a:cubicBezTo>
                  <a:cubicBezTo>
                    <a:pt x="262414" y="117729"/>
                    <a:pt x="256127" y="107347"/>
                    <a:pt x="248126" y="98679"/>
                  </a:cubicBezTo>
                  <a:cubicBezTo>
                    <a:pt x="240125" y="89916"/>
                    <a:pt x="230600" y="82963"/>
                    <a:pt x="219551" y="77819"/>
                  </a:cubicBezTo>
                  <a:cubicBezTo>
                    <a:pt x="208502" y="72676"/>
                    <a:pt x="195834" y="70009"/>
                    <a:pt x="181737" y="70009"/>
                  </a:cubicBezTo>
                  <a:cubicBezTo>
                    <a:pt x="155353" y="70009"/>
                    <a:pt x="133541" y="79057"/>
                    <a:pt x="116396" y="97250"/>
                  </a:cubicBezTo>
                  <a:cubicBezTo>
                    <a:pt x="99155" y="115348"/>
                    <a:pt x="88678" y="139065"/>
                    <a:pt x="84963" y="168307"/>
                  </a:cubicBezTo>
                  <a:lnTo>
                    <a:pt x="276511" y="168307"/>
                  </a:lnTo>
                  <a:close/>
                </a:path>
              </a:pathLst>
            </a:custGeom>
            <a:solidFill>
              <a:srgbClr val="44505E"/>
            </a:solidFill>
            <a:ln w="9525" cap="flat">
              <a:noFill/>
              <a:prstDash val="solid"/>
              <a:miter/>
            </a:ln>
          </p:spPr>
          <p:txBody>
            <a:bodyPr rtlCol="0" anchor="ctr"/>
            <a:lstStyle/>
            <a:p>
              <a:endParaRPr lang="pt-BR" noProof="0"/>
            </a:p>
          </p:txBody>
        </p:sp>
        <p:sp>
          <p:nvSpPr>
            <p:cNvPr id="9" name="Freeform: Shape 21">
              <a:extLst>
                <a:ext uri="{FF2B5EF4-FFF2-40B4-BE49-F238E27FC236}">
                  <a16:creationId xmlns:a16="http://schemas.microsoft.com/office/drawing/2014/main" id="{39DDE66E-7123-1F96-BFDC-8AE2AAEC83AA}"/>
                </a:ext>
              </a:extLst>
            </p:cNvPr>
            <p:cNvSpPr/>
            <p:nvPr/>
          </p:nvSpPr>
          <p:spPr>
            <a:xfrm>
              <a:off x="5365659"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5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8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3 w 568166"/>
                <a:gd name="connsiteY21" fmla="*/ 381000 h 381000"/>
                <a:gd name="connsiteX22" fmla="*/ 240983 w 568166"/>
                <a:gd name="connsiteY22" fmla="*/ 168783 h 381000"/>
                <a:gd name="connsiteX23" fmla="*/ 221266 w 568166"/>
                <a:gd name="connsiteY23" fmla="*/ 101822 h 381000"/>
                <a:gd name="connsiteX24" fmla="*/ 165640 w 568166"/>
                <a:gd name="connsiteY24" fmla="*/ 78581 h 381000"/>
                <a:gd name="connsiteX25" fmla="*/ 108014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70" y="48196"/>
                    <a:pt x="105918" y="40576"/>
                  </a:cubicBezTo>
                  <a:cubicBezTo>
                    <a:pt x="112967" y="32956"/>
                    <a:pt x="121063" y="26099"/>
                    <a:pt x="130207" y="19907"/>
                  </a:cubicBezTo>
                  <a:cubicBezTo>
                    <a:pt x="139351" y="13716"/>
                    <a:pt x="149733" y="8858"/>
                    <a:pt x="161163" y="5334"/>
                  </a:cubicBezTo>
                  <a:cubicBezTo>
                    <a:pt x="172688" y="1714"/>
                    <a:pt x="185452" y="0"/>
                    <a:pt x="199549" y="0"/>
                  </a:cubicBezTo>
                  <a:cubicBezTo>
                    <a:pt x="226314" y="0"/>
                    <a:pt x="248984" y="6096"/>
                    <a:pt x="267557" y="18193"/>
                  </a:cubicBezTo>
                  <a:cubicBezTo>
                    <a:pt x="286131" y="30289"/>
                    <a:pt x="300323" y="46387"/>
                    <a:pt x="310134" y="66294"/>
                  </a:cubicBezTo>
                  <a:cubicBezTo>
                    <a:pt x="325279" y="46387"/>
                    <a:pt x="343091" y="30289"/>
                    <a:pt x="363665" y="18193"/>
                  </a:cubicBezTo>
                  <a:cubicBezTo>
                    <a:pt x="384239" y="6096"/>
                    <a:pt x="408718" y="0"/>
                    <a:pt x="437007" y="0"/>
                  </a:cubicBezTo>
                  <a:cubicBezTo>
                    <a:pt x="478060"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8" y="78486"/>
                  </a:cubicBezTo>
                  <a:cubicBezTo>
                    <a:pt x="382810" y="78486"/>
                    <a:pt x="364141" y="86392"/>
                    <a:pt x="349377" y="102108"/>
                  </a:cubicBezTo>
                  <a:cubicBezTo>
                    <a:pt x="334613" y="117824"/>
                    <a:pt x="327184" y="140779"/>
                    <a:pt x="327184" y="170879"/>
                  </a:cubicBezTo>
                  <a:lnTo>
                    <a:pt x="327184" y="381000"/>
                  </a:lnTo>
                  <a:lnTo>
                    <a:pt x="240983" y="381000"/>
                  </a:lnTo>
                  <a:lnTo>
                    <a:pt x="240983" y="168783"/>
                  </a:lnTo>
                  <a:cubicBezTo>
                    <a:pt x="240983" y="139637"/>
                    <a:pt x="234410" y="117348"/>
                    <a:pt x="221266" y="101822"/>
                  </a:cubicBezTo>
                  <a:cubicBezTo>
                    <a:pt x="208121" y="86296"/>
                    <a:pt x="189643" y="78581"/>
                    <a:pt x="165640" y="78581"/>
                  </a:cubicBezTo>
                  <a:cubicBezTo>
                    <a:pt x="141637" y="78581"/>
                    <a:pt x="122492" y="86773"/>
                    <a:pt x="108014"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10" name="Freeform: Shape 22">
              <a:extLst>
                <a:ext uri="{FF2B5EF4-FFF2-40B4-BE49-F238E27FC236}">
                  <a16:creationId xmlns:a16="http://schemas.microsoft.com/office/drawing/2014/main" id="{66ED79F2-B512-1F9D-7F23-E4A46F30CF6B}"/>
                </a:ext>
              </a:extLst>
            </p:cNvPr>
            <p:cNvSpPr/>
            <p:nvPr/>
          </p:nvSpPr>
          <p:spPr>
            <a:xfrm>
              <a:off x="5587693" y="700007"/>
              <a:ext cx="84211" cy="95752"/>
            </a:xfrm>
            <a:custGeom>
              <a:avLst/>
              <a:gdLst>
                <a:gd name="connsiteX0" fmla="*/ 95 w 334994"/>
                <a:gd name="connsiteY0" fmla="*/ 7715 h 380904"/>
                <a:gd name="connsiteX1" fmla="*/ 86296 w 334994"/>
                <a:gd name="connsiteY1" fmla="*/ 7715 h 380904"/>
                <a:gd name="connsiteX2" fmla="*/ 86296 w 334994"/>
                <a:gd name="connsiteY2" fmla="*/ 66294 h 380904"/>
                <a:gd name="connsiteX3" fmla="*/ 106394 w 334994"/>
                <a:gd name="connsiteY3" fmla="*/ 40958 h 380904"/>
                <a:gd name="connsiteX4" fmla="*/ 131731 w 334994"/>
                <a:gd name="connsiteY4" fmla="*/ 19907 h 380904"/>
                <a:gd name="connsiteX5" fmla="*/ 163449 w 334994"/>
                <a:gd name="connsiteY5" fmla="*/ 5334 h 380904"/>
                <a:gd name="connsiteX6" fmla="*/ 202597 w 334994"/>
                <a:gd name="connsiteY6" fmla="*/ 0 h 380904"/>
                <a:gd name="connsiteX7" fmla="*/ 300514 w 334994"/>
                <a:gd name="connsiteY7" fmla="*/ 38862 h 380904"/>
                <a:gd name="connsiteX8" fmla="*/ 334994 w 334994"/>
                <a:gd name="connsiteY8" fmla="*/ 143446 h 380904"/>
                <a:gd name="connsiteX9" fmla="*/ 334994 w 334994"/>
                <a:gd name="connsiteY9" fmla="*/ 380905 h 380904"/>
                <a:gd name="connsiteX10" fmla="*/ 248793 w 334994"/>
                <a:gd name="connsiteY10" fmla="*/ 380905 h 380904"/>
                <a:gd name="connsiteX11" fmla="*/ 248793 w 334994"/>
                <a:gd name="connsiteY11" fmla="*/ 169450 h 380904"/>
                <a:gd name="connsiteX12" fmla="*/ 228124 w 334994"/>
                <a:gd name="connsiteY12" fmla="*/ 102108 h 380904"/>
                <a:gd name="connsiteX13" fmla="*/ 169640 w 334994"/>
                <a:gd name="connsiteY13" fmla="*/ 78486 h 380904"/>
                <a:gd name="connsiteX14" fmla="*/ 109347 w 334994"/>
                <a:gd name="connsiteY14" fmla="*/ 102775 h 380904"/>
                <a:gd name="connsiteX15" fmla="*/ 86201 w 334994"/>
                <a:gd name="connsiteY15" fmla="*/ 170783 h 380904"/>
                <a:gd name="connsiteX16" fmla="*/ 86201 w 334994"/>
                <a:gd name="connsiteY16" fmla="*/ 380905 h 380904"/>
                <a:gd name="connsiteX17" fmla="*/ 0 w 334994"/>
                <a:gd name="connsiteY17" fmla="*/ 380905 h 380904"/>
                <a:gd name="connsiteX18" fmla="*/ 0 w 334994"/>
                <a:gd name="connsiteY18" fmla="*/ 7810 h 38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94" h="380904">
                  <a:moveTo>
                    <a:pt x="95" y="7715"/>
                  </a:moveTo>
                  <a:lnTo>
                    <a:pt x="86296" y="7715"/>
                  </a:lnTo>
                  <a:lnTo>
                    <a:pt x="86296" y="66294"/>
                  </a:lnTo>
                  <a:cubicBezTo>
                    <a:pt x="92392" y="57245"/>
                    <a:pt x="99060" y="48863"/>
                    <a:pt x="106394" y="40958"/>
                  </a:cubicBezTo>
                  <a:cubicBezTo>
                    <a:pt x="113633" y="33147"/>
                    <a:pt x="122110" y="26099"/>
                    <a:pt x="131731" y="19907"/>
                  </a:cubicBezTo>
                  <a:cubicBezTo>
                    <a:pt x="141351" y="13716"/>
                    <a:pt x="151924" y="8858"/>
                    <a:pt x="163449" y="5334"/>
                  </a:cubicBezTo>
                  <a:cubicBezTo>
                    <a:pt x="174974" y="1714"/>
                    <a:pt x="188024" y="0"/>
                    <a:pt x="202597" y="0"/>
                  </a:cubicBezTo>
                  <a:cubicBezTo>
                    <a:pt x="244888" y="0"/>
                    <a:pt x="277559" y="12954"/>
                    <a:pt x="300514" y="38862"/>
                  </a:cubicBezTo>
                  <a:cubicBezTo>
                    <a:pt x="323564" y="64770"/>
                    <a:pt x="334994" y="99631"/>
                    <a:pt x="334994" y="143446"/>
                  </a:cubicBezTo>
                  <a:lnTo>
                    <a:pt x="334994" y="380905"/>
                  </a:lnTo>
                  <a:lnTo>
                    <a:pt x="248793" y="380905"/>
                  </a:lnTo>
                  <a:lnTo>
                    <a:pt x="248793" y="169450"/>
                  </a:lnTo>
                  <a:cubicBezTo>
                    <a:pt x="248793" y="140303"/>
                    <a:pt x="241935" y="117824"/>
                    <a:pt x="228124" y="102108"/>
                  </a:cubicBezTo>
                  <a:cubicBezTo>
                    <a:pt x="214313" y="86392"/>
                    <a:pt x="194881" y="78486"/>
                    <a:pt x="169640" y="78486"/>
                  </a:cubicBezTo>
                  <a:cubicBezTo>
                    <a:pt x="144399" y="78486"/>
                    <a:pt x="124777" y="86582"/>
                    <a:pt x="109347" y="102775"/>
                  </a:cubicBezTo>
                  <a:cubicBezTo>
                    <a:pt x="93917" y="118967"/>
                    <a:pt x="86201" y="141637"/>
                    <a:pt x="86201" y="170783"/>
                  </a:cubicBezTo>
                  <a:lnTo>
                    <a:pt x="86201" y="380905"/>
                  </a:lnTo>
                  <a:lnTo>
                    <a:pt x="0" y="380905"/>
                  </a:lnTo>
                  <a:lnTo>
                    <a:pt x="0" y="7810"/>
                  </a:lnTo>
                  <a:close/>
                </a:path>
              </a:pathLst>
            </a:custGeom>
            <a:solidFill>
              <a:srgbClr val="44505E"/>
            </a:solidFill>
            <a:ln w="9525" cap="flat">
              <a:noFill/>
              <a:prstDash val="solid"/>
              <a:miter/>
            </a:ln>
          </p:spPr>
          <p:txBody>
            <a:bodyPr rtlCol="0" anchor="ctr"/>
            <a:lstStyle/>
            <a:p>
              <a:endParaRPr lang="pt-BR" noProof="0"/>
            </a:p>
          </p:txBody>
        </p:sp>
        <p:sp>
          <p:nvSpPr>
            <p:cNvPr id="11" name="Freeform: Shape 23">
              <a:extLst>
                <a:ext uri="{FF2B5EF4-FFF2-40B4-BE49-F238E27FC236}">
                  <a16:creationId xmlns:a16="http://schemas.microsoft.com/office/drawing/2014/main" id="{DFD00299-DEA1-67EE-1876-FBAEF9F75041}"/>
                </a:ext>
              </a:extLst>
            </p:cNvPr>
            <p:cNvSpPr/>
            <p:nvPr/>
          </p:nvSpPr>
          <p:spPr>
            <a:xfrm>
              <a:off x="5692712" y="699959"/>
              <a:ext cx="100015" cy="97908"/>
            </a:xfrm>
            <a:custGeom>
              <a:avLst/>
              <a:gdLst>
                <a:gd name="connsiteX0" fmla="*/ 197834 w 397859"/>
                <a:gd name="connsiteY0" fmla="*/ 389477 h 389477"/>
                <a:gd name="connsiteX1" fmla="*/ 119063 w 397859"/>
                <a:gd name="connsiteY1" fmla="*/ 374237 h 389477"/>
                <a:gd name="connsiteX2" fmla="*/ 56197 w 397859"/>
                <a:gd name="connsiteY2" fmla="*/ 332899 h 389477"/>
                <a:gd name="connsiteX3" fmla="*/ 14859 w 397859"/>
                <a:gd name="connsiteY3" fmla="*/ 271463 h 389477"/>
                <a:gd name="connsiteX4" fmla="*/ 0 w 397859"/>
                <a:gd name="connsiteY4" fmla="*/ 196501 h 389477"/>
                <a:gd name="connsiteX5" fmla="*/ 0 w 397859"/>
                <a:gd name="connsiteY5" fmla="*/ 195072 h 389477"/>
                <a:gd name="connsiteX6" fmla="*/ 15145 w 397859"/>
                <a:gd name="connsiteY6" fmla="*/ 119444 h 389477"/>
                <a:gd name="connsiteX7" fmla="*/ 56864 w 397859"/>
                <a:gd name="connsiteY7" fmla="*/ 57626 h 389477"/>
                <a:gd name="connsiteX8" fmla="*/ 119729 w 397859"/>
                <a:gd name="connsiteY8" fmla="*/ 15526 h 389477"/>
                <a:gd name="connsiteX9" fmla="*/ 199263 w 397859"/>
                <a:gd name="connsiteY9" fmla="*/ 0 h 389477"/>
                <a:gd name="connsiteX10" fmla="*/ 278797 w 397859"/>
                <a:gd name="connsiteY10" fmla="*/ 15240 h 389477"/>
                <a:gd name="connsiteX11" fmla="*/ 341662 w 397859"/>
                <a:gd name="connsiteY11" fmla="*/ 56959 h 389477"/>
                <a:gd name="connsiteX12" fmla="*/ 383000 w 397859"/>
                <a:gd name="connsiteY12" fmla="*/ 118396 h 389477"/>
                <a:gd name="connsiteX13" fmla="*/ 397859 w 397859"/>
                <a:gd name="connsiteY13" fmla="*/ 193643 h 389477"/>
                <a:gd name="connsiteX14" fmla="*/ 397859 w 397859"/>
                <a:gd name="connsiteY14" fmla="*/ 195072 h 389477"/>
                <a:gd name="connsiteX15" fmla="*/ 382619 w 397859"/>
                <a:gd name="connsiteY15" fmla="*/ 270034 h 389477"/>
                <a:gd name="connsiteX16" fmla="*/ 340900 w 397859"/>
                <a:gd name="connsiteY16" fmla="*/ 331851 h 389477"/>
                <a:gd name="connsiteX17" fmla="*/ 277654 w 397859"/>
                <a:gd name="connsiteY17" fmla="*/ 373856 h 389477"/>
                <a:gd name="connsiteX18" fmla="*/ 197834 w 397859"/>
                <a:gd name="connsiteY18" fmla="*/ 389382 h 389477"/>
                <a:gd name="connsiteX19" fmla="*/ 199263 w 397859"/>
                <a:gd name="connsiteY19" fmla="*/ 315278 h 389477"/>
                <a:gd name="connsiteX20" fmla="*/ 245935 w 397859"/>
                <a:gd name="connsiteY20" fmla="*/ 305753 h 389477"/>
                <a:gd name="connsiteX21" fmla="*/ 281368 w 397859"/>
                <a:gd name="connsiteY21" fmla="*/ 279940 h 389477"/>
                <a:gd name="connsiteX22" fmla="*/ 303847 w 397859"/>
                <a:gd name="connsiteY22" fmla="*/ 242125 h 389477"/>
                <a:gd name="connsiteX23" fmla="*/ 311563 w 397859"/>
                <a:gd name="connsiteY23" fmla="*/ 196501 h 389477"/>
                <a:gd name="connsiteX24" fmla="*/ 311563 w 397859"/>
                <a:gd name="connsiteY24" fmla="*/ 195072 h 389477"/>
                <a:gd name="connsiteX25" fmla="*/ 303181 w 397859"/>
                <a:gd name="connsiteY25" fmla="*/ 148400 h 389477"/>
                <a:gd name="connsiteX26" fmla="*/ 279654 w 397859"/>
                <a:gd name="connsiteY26" fmla="*/ 110204 h 389477"/>
                <a:gd name="connsiteX27" fmla="*/ 243840 w 397859"/>
                <a:gd name="connsiteY27" fmla="*/ 84392 h 389477"/>
                <a:gd name="connsiteX28" fmla="*/ 197834 w 397859"/>
                <a:gd name="connsiteY28" fmla="*/ 74867 h 389477"/>
                <a:gd name="connsiteX29" fmla="*/ 151829 w 397859"/>
                <a:gd name="connsiteY29" fmla="*/ 84392 h 389477"/>
                <a:gd name="connsiteX30" fmla="*/ 116396 w 397859"/>
                <a:gd name="connsiteY30" fmla="*/ 109823 h 389477"/>
                <a:gd name="connsiteX31" fmla="*/ 93917 w 397859"/>
                <a:gd name="connsiteY31" fmla="*/ 147638 h 389477"/>
                <a:gd name="connsiteX32" fmla="*/ 86201 w 397859"/>
                <a:gd name="connsiteY32" fmla="*/ 193548 h 389477"/>
                <a:gd name="connsiteX33" fmla="*/ 86201 w 397859"/>
                <a:gd name="connsiteY33" fmla="*/ 194977 h 389477"/>
                <a:gd name="connsiteX34" fmla="*/ 94583 w 397859"/>
                <a:gd name="connsiteY34" fmla="*/ 241268 h 389477"/>
                <a:gd name="connsiteX35" fmla="*/ 118110 w 397859"/>
                <a:gd name="connsiteY35" fmla="*/ 279463 h 389477"/>
                <a:gd name="connsiteX36" fmla="*/ 153924 w 397859"/>
                <a:gd name="connsiteY36" fmla="*/ 305562 h 389477"/>
                <a:gd name="connsiteX37" fmla="*/ 199263 w 397859"/>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859" h="389477">
                  <a:moveTo>
                    <a:pt x="197834" y="389477"/>
                  </a:moveTo>
                  <a:cubicBezTo>
                    <a:pt x="169545" y="389477"/>
                    <a:pt x="143351" y="384429"/>
                    <a:pt x="119063" y="374237"/>
                  </a:cubicBezTo>
                  <a:cubicBezTo>
                    <a:pt x="94774" y="364141"/>
                    <a:pt x="73819" y="350330"/>
                    <a:pt x="56197" y="332899"/>
                  </a:cubicBezTo>
                  <a:cubicBezTo>
                    <a:pt x="38481" y="315468"/>
                    <a:pt x="24765" y="294989"/>
                    <a:pt x="14859" y="271463"/>
                  </a:cubicBezTo>
                  <a:cubicBezTo>
                    <a:pt x="4953" y="247936"/>
                    <a:pt x="0" y="222980"/>
                    <a:pt x="0" y="196501"/>
                  </a:cubicBezTo>
                  <a:lnTo>
                    <a:pt x="0" y="195072"/>
                  </a:lnTo>
                  <a:cubicBezTo>
                    <a:pt x="0" y="168212"/>
                    <a:pt x="5048" y="143066"/>
                    <a:pt x="15145" y="119444"/>
                  </a:cubicBezTo>
                  <a:cubicBezTo>
                    <a:pt x="25241" y="95917"/>
                    <a:pt x="39148" y="75248"/>
                    <a:pt x="56864" y="57626"/>
                  </a:cubicBezTo>
                  <a:cubicBezTo>
                    <a:pt x="74581" y="39910"/>
                    <a:pt x="95536" y="25908"/>
                    <a:pt x="119729" y="15526"/>
                  </a:cubicBezTo>
                  <a:cubicBezTo>
                    <a:pt x="144018" y="5144"/>
                    <a:pt x="170497" y="0"/>
                    <a:pt x="199263" y="0"/>
                  </a:cubicBezTo>
                  <a:cubicBezTo>
                    <a:pt x="228029" y="0"/>
                    <a:pt x="254508" y="5048"/>
                    <a:pt x="278797" y="15240"/>
                  </a:cubicBezTo>
                  <a:cubicBezTo>
                    <a:pt x="303085" y="25337"/>
                    <a:pt x="324041" y="39243"/>
                    <a:pt x="341662" y="56959"/>
                  </a:cubicBezTo>
                  <a:cubicBezTo>
                    <a:pt x="359378" y="74676"/>
                    <a:pt x="373094" y="95155"/>
                    <a:pt x="383000" y="118396"/>
                  </a:cubicBezTo>
                  <a:cubicBezTo>
                    <a:pt x="392906" y="141732"/>
                    <a:pt x="397859" y="166783"/>
                    <a:pt x="397859" y="193643"/>
                  </a:cubicBezTo>
                  <a:lnTo>
                    <a:pt x="397859" y="195072"/>
                  </a:lnTo>
                  <a:cubicBezTo>
                    <a:pt x="397859" y="221456"/>
                    <a:pt x="392811" y="246412"/>
                    <a:pt x="382619" y="270034"/>
                  </a:cubicBezTo>
                  <a:cubicBezTo>
                    <a:pt x="372523" y="293561"/>
                    <a:pt x="358616" y="314230"/>
                    <a:pt x="340900" y="331851"/>
                  </a:cubicBezTo>
                  <a:cubicBezTo>
                    <a:pt x="323183" y="349472"/>
                    <a:pt x="302133" y="363569"/>
                    <a:pt x="277654" y="373856"/>
                  </a:cubicBezTo>
                  <a:cubicBezTo>
                    <a:pt x="253175" y="384238"/>
                    <a:pt x="226504" y="389382"/>
                    <a:pt x="197834" y="389382"/>
                  </a:cubicBezTo>
                  <a:close/>
                  <a:moveTo>
                    <a:pt x="199263" y="315278"/>
                  </a:moveTo>
                  <a:cubicBezTo>
                    <a:pt x="216598" y="315278"/>
                    <a:pt x="232124" y="312039"/>
                    <a:pt x="245935" y="305753"/>
                  </a:cubicBezTo>
                  <a:cubicBezTo>
                    <a:pt x="259747" y="299371"/>
                    <a:pt x="271558" y="290798"/>
                    <a:pt x="281368" y="279940"/>
                  </a:cubicBezTo>
                  <a:cubicBezTo>
                    <a:pt x="291179" y="269081"/>
                    <a:pt x="298704" y="256508"/>
                    <a:pt x="303847" y="242125"/>
                  </a:cubicBezTo>
                  <a:cubicBezTo>
                    <a:pt x="308991" y="227743"/>
                    <a:pt x="311563" y="212598"/>
                    <a:pt x="311563" y="196501"/>
                  </a:cubicBezTo>
                  <a:lnTo>
                    <a:pt x="311563" y="195072"/>
                  </a:lnTo>
                  <a:cubicBezTo>
                    <a:pt x="311563" y="178594"/>
                    <a:pt x="308800" y="163068"/>
                    <a:pt x="303181" y="148400"/>
                  </a:cubicBezTo>
                  <a:cubicBezTo>
                    <a:pt x="297561" y="133826"/>
                    <a:pt x="289750" y="121063"/>
                    <a:pt x="279654" y="110204"/>
                  </a:cubicBezTo>
                  <a:cubicBezTo>
                    <a:pt x="269558" y="99346"/>
                    <a:pt x="257651" y="90773"/>
                    <a:pt x="243840" y="84392"/>
                  </a:cubicBezTo>
                  <a:cubicBezTo>
                    <a:pt x="230029" y="78010"/>
                    <a:pt x="214693" y="74867"/>
                    <a:pt x="197834" y="74867"/>
                  </a:cubicBezTo>
                  <a:cubicBezTo>
                    <a:pt x="180975" y="74867"/>
                    <a:pt x="165640" y="78010"/>
                    <a:pt x="151829" y="84392"/>
                  </a:cubicBezTo>
                  <a:cubicBezTo>
                    <a:pt x="138017" y="90773"/>
                    <a:pt x="126206" y="99250"/>
                    <a:pt x="116396" y="109823"/>
                  </a:cubicBezTo>
                  <a:cubicBezTo>
                    <a:pt x="106585" y="120396"/>
                    <a:pt x="99060" y="133064"/>
                    <a:pt x="93917" y="147638"/>
                  </a:cubicBezTo>
                  <a:cubicBezTo>
                    <a:pt x="88773" y="162211"/>
                    <a:pt x="86201" y="177546"/>
                    <a:pt x="86201" y="193548"/>
                  </a:cubicBezTo>
                  <a:lnTo>
                    <a:pt x="86201" y="194977"/>
                  </a:lnTo>
                  <a:cubicBezTo>
                    <a:pt x="86201" y="211455"/>
                    <a:pt x="88963" y="226886"/>
                    <a:pt x="94583" y="241268"/>
                  </a:cubicBezTo>
                  <a:cubicBezTo>
                    <a:pt x="100203" y="255651"/>
                    <a:pt x="108013" y="268319"/>
                    <a:pt x="118110" y="279463"/>
                  </a:cubicBezTo>
                  <a:cubicBezTo>
                    <a:pt x="128206" y="290513"/>
                    <a:pt x="140113" y="299275"/>
                    <a:pt x="153924" y="305562"/>
                  </a:cubicBezTo>
                  <a:cubicBezTo>
                    <a:pt x="167735" y="311944"/>
                    <a:pt x="182880"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12" name="Freeform: Shape 24">
              <a:extLst>
                <a:ext uri="{FF2B5EF4-FFF2-40B4-BE49-F238E27FC236}">
                  <a16:creationId xmlns:a16="http://schemas.microsoft.com/office/drawing/2014/main" id="{84C1A7F9-74E2-0E9D-D64E-E8E004980C92}"/>
                </a:ext>
              </a:extLst>
            </p:cNvPr>
            <p:cNvSpPr/>
            <p:nvPr/>
          </p:nvSpPr>
          <p:spPr>
            <a:xfrm>
              <a:off x="5806925"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2 w 296894"/>
                <a:gd name="connsiteY36" fmla="*/ 224980 h 386714"/>
                <a:gd name="connsiteX37" fmla="*/ 296894 w 296894"/>
                <a:gd name="connsiteY37" fmla="*/ 267938 h 386714"/>
                <a:gd name="connsiteX38" fmla="*/ 296894 w 296894"/>
                <a:gd name="connsiteY38" fmla="*/ 269367 h 386714"/>
                <a:gd name="connsiteX39" fmla="*/ 286322 w 296894"/>
                <a:gd name="connsiteY39" fmla="*/ 320897 h 386714"/>
                <a:gd name="connsiteX40" fmla="*/ 256984 w 296894"/>
                <a:gd name="connsiteY40" fmla="*/ 357188 h 386714"/>
                <a:gd name="connsiteX41" fmla="*/ 212789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8" y="298704"/>
                    <a:pt x="100013" y="306514"/>
                  </a:cubicBezTo>
                  <a:cubicBezTo>
                    <a:pt x="120967" y="314325"/>
                    <a:pt x="141161" y="318135"/>
                    <a:pt x="160401" y="318135"/>
                  </a:cubicBezTo>
                  <a:cubicBezTo>
                    <a:pt x="179642" y="318135"/>
                    <a:pt x="192976"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2" y="241078"/>
                    <a:pt x="176498" y="237553"/>
                    <a:pt x="166402" y="234220"/>
                  </a:cubicBezTo>
                  <a:cubicBezTo>
                    <a:pt x="156305" y="230886"/>
                    <a:pt x="145733" y="227647"/>
                    <a:pt x="134969" y="224314"/>
                  </a:cubicBezTo>
                  <a:cubicBezTo>
                    <a:pt x="121253" y="220599"/>
                    <a:pt x="107537" y="216122"/>
                    <a:pt x="93631" y="210884"/>
                  </a:cubicBezTo>
                  <a:cubicBezTo>
                    <a:pt x="79724" y="205740"/>
                    <a:pt x="67246" y="198977"/>
                    <a:pt x="56197" y="190786"/>
                  </a:cubicBezTo>
                  <a:cubicBezTo>
                    <a:pt x="45149" y="182594"/>
                    <a:pt x="36100" y="172307"/>
                    <a:pt x="28956" y="160115"/>
                  </a:cubicBezTo>
                  <a:cubicBezTo>
                    <a:pt x="21908"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5"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7" y="156210"/>
                    <a:pt x="180975" y="159448"/>
                  </a:cubicBezTo>
                  <a:cubicBezTo>
                    <a:pt x="194596" y="163639"/>
                    <a:pt x="208312" y="168592"/>
                    <a:pt x="222028" y="174212"/>
                  </a:cubicBezTo>
                  <a:cubicBezTo>
                    <a:pt x="235649" y="179832"/>
                    <a:pt x="248031" y="186785"/>
                    <a:pt x="259080" y="194977"/>
                  </a:cubicBezTo>
                  <a:cubicBezTo>
                    <a:pt x="270129" y="203168"/>
                    <a:pt x="279273" y="213169"/>
                    <a:pt x="286322" y="224980"/>
                  </a:cubicBezTo>
                  <a:cubicBezTo>
                    <a:pt x="293370" y="236696"/>
                    <a:pt x="296894" y="251079"/>
                    <a:pt x="296894" y="267938"/>
                  </a:cubicBezTo>
                  <a:lnTo>
                    <a:pt x="296894" y="269367"/>
                  </a:lnTo>
                  <a:cubicBezTo>
                    <a:pt x="296894" y="289084"/>
                    <a:pt x="293370" y="306229"/>
                    <a:pt x="286322" y="320897"/>
                  </a:cubicBezTo>
                  <a:cubicBezTo>
                    <a:pt x="279273" y="335470"/>
                    <a:pt x="269462" y="347567"/>
                    <a:pt x="256984" y="357188"/>
                  </a:cubicBezTo>
                  <a:cubicBezTo>
                    <a:pt x="244507" y="366808"/>
                    <a:pt x="229743" y="374142"/>
                    <a:pt x="212789"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13" name="Freeform: Shape 25">
              <a:extLst>
                <a:ext uri="{FF2B5EF4-FFF2-40B4-BE49-F238E27FC236}">
                  <a16:creationId xmlns:a16="http://schemas.microsoft.com/office/drawing/2014/main" id="{8A9C521B-2B97-5867-B59B-3131D3A28283}"/>
                </a:ext>
              </a:extLst>
            </p:cNvPr>
            <p:cNvSpPr/>
            <p:nvPr/>
          </p:nvSpPr>
          <p:spPr>
            <a:xfrm>
              <a:off x="589573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6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160" y="318135"/>
                    <a:pt x="160401" y="318135"/>
                  </a:cubicBezTo>
                  <a:cubicBezTo>
                    <a:pt x="179641" y="318135"/>
                    <a:pt x="192976"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4"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792"/>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14" name="Freeform: Shape 26">
              <a:extLst>
                <a:ext uri="{FF2B5EF4-FFF2-40B4-BE49-F238E27FC236}">
                  <a16:creationId xmlns:a16="http://schemas.microsoft.com/office/drawing/2014/main" id="{BFC9EAD0-C1F6-0650-761E-AADDFB232B07}"/>
                </a:ext>
              </a:extLst>
            </p:cNvPr>
            <p:cNvSpPr/>
            <p:nvPr/>
          </p:nvSpPr>
          <p:spPr>
            <a:xfrm>
              <a:off x="5985812" y="700558"/>
              <a:ext cx="85097" cy="97141"/>
            </a:xfrm>
            <a:custGeom>
              <a:avLst/>
              <a:gdLst>
                <a:gd name="connsiteX0" fmla="*/ 253651 w 338518"/>
                <a:gd name="connsiteY0" fmla="*/ 378619 h 386429"/>
                <a:gd name="connsiteX1" fmla="*/ 253651 w 338518"/>
                <a:gd name="connsiteY1" fmla="*/ 332708 h 386429"/>
                <a:gd name="connsiteX2" fmla="*/ 204883 w 338518"/>
                <a:gd name="connsiteY2" fmla="*/ 370904 h 386429"/>
                <a:gd name="connsiteX3" fmla="*/ 132779 w 338518"/>
                <a:gd name="connsiteY3" fmla="*/ 386429 h 386429"/>
                <a:gd name="connsiteX4" fmla="*/ 81915 w 338518"/>
                <a:gd name="connsiteY4" fmla="*/ 379000 h 386429"/>
                <a:gd name="connsiteX5" fmla="*/ 39910 w 338518"/>
                <a:gd name="connsiteY5" fmla="*/ 357092 h 386429"/>
                <a:gd name="connsiteX6" fmla="*/ 10954 w 338518"/>
                <a:gd name="connsiteY6" fmla="*/ 321088 h 386429"/>
                <a:gd name="connsiteX7" fmla="*/ 0 w 338518"/>
                <a:gd name="connsiteY7" fmla="*/ 271272 h 386429"/>
                <a:gd name="connsiteX8" fmla="*/ 0 w 338518"/>
                <a:gd name="connsiteY8" fmla="*/ 269843 h 386429"/>
                <a:gd name="connsiteX9" fmla="*/ 11335 w 338518"/>
                <a:gd name="connsiteY9" fmla="*/ 215741 h 386429"/>
                <a:gd name="connsiteX10" fmla="*/ 42767 w 338518"/>
                <a:gd name="connsiteY10" fmla="*/ 177546 h 386429"/>
                <a:gd name="connsiteX11" fmla="*/ 90773 w 338518"/>
                <a:gd name="connsiteY11" fmla="*/ 154972 h 386429"/>
                <a:gd name="connsiteX12" fmla="*/ 151162 w 338518"/>
                <a:gd name="connsiteY12" fmla="*/ 147542 h 386429"/>
                <a:gd name="connsiteX13" fmla="*/ 208788 w 338518"/>
                <a:gd name="connsiteY13" fmla="*/ 151829 h 386429"/>
                <a:gd name="connsiteX14" fmla="*/ 254413 w 338518"/>
                <a:gd name="connsiteY14" fmla="*/ 163163 h 386429"/>
                <a:gd name="connsiteX15" fmla="*/ 254413 w 338518"/>
                <a:gd name="connsiteY15" fmla="*/ 156115 h 386429"/>
                <a:gd name="connsiteX16" fmla="*/ 230696 w 338518"/>
                <a:gd name="connsiteY16" fmla="*/ 96774 h 386429"/>
                <a:gd name="connsiteX17" fmla="*/ 162496 w 338518"/>
                <a:gd name="connsiteY17" fmla="*/ 76295 h 386429"/>
                <a:gd name="connsiteX18" fmla="*/ 106013 w 338518"/>
                <a:gd name="connsiteY18" fmla="*/ 82677 h 386429"/>
                <a:gd name="connsiteX19" fmla="*/ 55816 w 338518"/>
                <a:gd name="connsiteY19" fmla="*/ 99632 h 386429"/>
                <a:gd name="connsiteX20" fmla="*/ 32480 w 338518"/>
                <a:gd name="connsiteY20" fmla="*/ 31052 h 386429"/>
                <a:gd name="connsiteX21" fmla="*/ 96107 w 338518"/>
                <a:gd name="connsiteY21" fmla="*/ 8477 h 386429"/>
                <a:gd name="connsiteX22" fmla="*/ 174593 w 338518"/>
                <a:gd name="connsiteY22" fmla="*/ 0 h 386429"/>
                <a:gd name="connsiteX23" fmla="*/ 298228 w 338518"/>
                <a:gd name="connsiteY23" fmla="*/ 41338 h 386429"/>
                <a:gd name="connsiteX24" fmla="*/ 338519 w 338518"/>
                <a:gd name="connsiteY24" fmla="*/ 157544 h 386429"/>
                <a:gd name="connsiteX25" fmla="*/ 338519 w 338518"/>
                <a:gd name="connsiteY25" fmla="*/ 378714 h 386429"/>
                <a:gd name="connsiteX26" fmla="*/ 253746 w 338518"/>
                <a:gd name="connsiteY26" fmla="*/ 378714 h 386429"/>
                <a:gd name="connsiteX27" fmla="*/ 255746 w 338518"/>
                <a:gd name="connsiteY27" fmla="*/ 222409 h 386429"/>
                <a:gd name="connsiteX28" fmla="*/ 217265 w 338518"/>
                <a:gd name="connsiteY28" fmla="*/ 211836 h 386429"/>
                <a:gd name="connsiteX29" fmla="*/ 170307 w 338518"/>
                <a:gd name="connsiteY29" fmla="*/ 207550 h 386429"/>
                <a:gd name="connsiteX30" fmla="*/ 107442 w 338518"/>
                <a:gd name="connsiteY30" fmla="*/ 223075 h 386429"/>
                <a:gd name="connsiteX31" fmla="*/ 84868 w 338518"/>
                <a:gd name="connsiteY31" fmla="*/ 265462 h 386429"/>
                <a:gd name="connsiteX32" fmla="*/ 84868 w 338518"/>
                <a:gd name="connsiteY32" fmla="*/ 266891 h 386429"/>
                <a:gd name="connsiteX33" fmla="*/ 105728 w 338518"/>
                <a:gd name="connsiteY33" fmla="*/ 307848 h 386429"/>
                <a:gd name="connsiteX34" fmla="*/ 156972 w 338518"/>
                <a:gd name="connsiteY34" fmla="*/ 321945 h 386429"/>
                <a:gd name="connsiteX35" fmla="*/ 196215 w 338518"/>
                <a:gd name="connsiteY35" fmla="*/ 316325 h 386429"/>
                <a:gd name="connsiteX36" fmla="*/ 227647 w 338518"/>
                <a:gd name="connsiteY36" fmla="*/ 300419 h 386429"/>
                <a:gd name="connsiteX37" fmla="*/ 248507 w 338518"/>
                <a:gd name="connsiteY37" fmla="*/ 275654 h 386429"/>
                <a:gd name="connsiteX38" fmla="*/ 255937 w 338518"/>
                <a:gd name="connsiteY38" fmla="*/ 243459 h 386429"/>
                <a:gd name="connsiteX39" fmla="*/ 255937 w 338518"/>
                <a:gd name="connsiteY39" fmla="*/ 222218 h 3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8518" h="386429">
                  <a:moveTo>
                    <a:pt x="253651" y="378619"/>
                  </a:moveTo>
                  <a:lnTo>
                    <a:pt x="253651" y="332708"/>
                  </a:lnTo>
                  <a:cubicBezTo>
                    <a:pt x="240887" y="347758"/>
                    <a:pt x="224695" y="360521"/>
                    <a:pt x="204883" y="370904"/>
                  </a:cubicBezTo>
                  <a:cubicBezTo>
                    <a:pt x="185071" y="381286"/>
                    <a:pt x="161068" y="386429"/>
                    <a:pt x="132779" y="386429"/>
                  </a:cubicBezTo>
                  <a:cubicBezTo>
                    <a:pt x="114871" y="386429"/>
                    <a:pt x="97917" y="383953"/>
                    <a:pt x="81915" y="379000"/>
                  </a:cubicBezTo>
                  <a:cubicBezTo>
                    <a:pt x="65913" y="374047"/>
                    <a:pt x="51911" y="366713"/>
                    <a:pt x="39910" y="357092"/>
                  </a:cubicBezTo>
                  <a:cubicBezTo>
                    <a:pt x="27908" y="347472"/>
                    <a:pt x="18193" y="335471"/>
                    <a:pt x="10954" y="321088"/>
                  </a:cubicBezTo>
                  <a:cubicBezTo>
                    <a:pt x="3620" y="306705"/>
                    <a:pt x="0" y="290132"/>
                    <a:pt x="0" y="271272"/>
                  </a:cubicBezTo>
                  <a:lnTo>
                    <a:pt x="0" y="269843"/>
                  </a:lnTo>
                  <a:cubicBezTo>
                    <a:pt x="0" y="249079"/>
                    <a:pt x="3810" y="231077"/>
                    <a:pt x="11335" y="215741"/>
                  </a:cubicBezTo>
                  <a:cubicBezTo>
                    <a:pt x="18859" y="200406"/>
                    <a:pt x="29337" y="187738"/>
                    <a:pt x="42767" y="177546"/>
                  </a:cubicBezTo>
                  <a:cubicBezTo>
                    <a:pt x="56197" y="167450"/>
                    <a:pt x="72199" y="159925"/>
                    <a:pt x="90773" y="154972"/>
                  </a:cubicBezTo>
                  <a:cubicBezTo>
                    <a:pt x="109347" y="150019"/>
                    <a:pt x="129540" y="147542"/>
                    <a:pt x="151162" y="147542"/>
                  </a:cubicBezTo>
                  <a:cubicBezTo>
                    <a:pt x="172783" y="147542"/>
                    <a:pt x="192976" y="148971"/>
                    <a:pt x="208788" y="151829"/>
                  </a:cubicBezTo>
                  <a:cubicBezTo>
                    <a:pt x="224599" y="154686"/>
                    <a:pt x="239744" y="158401"/>
                    <a:pt x="254413" y="163163"/>
                  </a:cubicBezTo>
                  <a:lnTo>
                    <a:pt x="254413" y="156115"/>
                  </a:lnTo>
                  <a:cubicBezTo>
                    <a:pt x="254413" y="130207"/>
                    <a:pt x="246507" y="110395"/>
                    <a:pt x="230696" y="96774"/>
                  </a:cubicBezTo>
                  <a:cubicBezTo>
                    <a:pt x="214884" y="83153"/>
                    <a:pt x="192214" y="76295"/>
                    <a:pt x="162496" y="76295"/>
                  </a:cubicBezTo>
                  <a:cubicBezTo>
                    <a:pt x="141351" y="76295"/>
                    <a:pt x="122491" y="78391"/>
                    <a:pt x="106013" y="82677"/>
                  </a:cubicBezTo>
                  <a:cubicBezTo>
                    <a:pt x="89535" y="86963"/>
                    <a:pt x="72771" y="92583"/>
                    <a:pt x="55816" y="99632"/>
                  </a:cubicBezTo>
                  <a:lnTo>
                    <a:pt x="32480" y="31052"/>
                  </a:lnTo>
                  <a:cubicBezTo>
                    <a:pt x="53149" y="21622"/>
                    <a:pt x="74390" y="14097"/>
                    <a:pt x="96107" y="8477"/>
                  </a:cubicBezTo>
                  <a:cubicBezTo>
                    <a:pt x="117729" y="2858"/>
                    <a:pt x="143923" y="0"/>
                    <a:pt x="174593" y="0"/>
                  </a:cubicBezTo>
                  <a:cubicBezTo>
                    <a:pt x="230124" y="0"/>
                    <a:pt x="271367" y="13811"/>
                    <a:pt x="298228" y="41338"/>
                  </a:cubicBezTo>
                  <a:cubicBezTo>
                    <a:pt x="325088" y="68866"/>
                    <a:pt x="338519" y="107633"/>
                    <a:pt x="338519" y="157544"/>
                  </a:cubicBezTo>
                  <a:lnTo>
                    <a:pt x="338519" y="378714"/>
                  </a:lnTo>
                  <a:lnTo>
                    <a:pt x="253746" y="378714"/>
                  </a:lnTo>
                  <a:close/>
                  <a:moveTo>
                    <a:pt x="255746" y="222409"/>
                  </a:moveTo>
                  <a:cubicBezTo>
                    <a:pt x="244888" y="218123"/>
                    <a:pt x="232029" y="214598"/>
                    <a:pt x="217265" y="211836"/>
                  </a:cubicBezTo>
                  <a:cubicBezTo>
                    <a:pt x="202406" y="208979"/>
                    <a:pt x="186785" y="207550"/>
                    <a:pt x="170307" y="207550"/>
                  </a:cubicBezTo>
                  <a:cubicBezTo>
                    <a:pt x="143446" y="207550"/>
                    <a:pt x="122491" y="212693"/>
                    <a:pt x="107442" y="223075"/>
                  </a:cubicBezTo>
                  <a:cubicBezTo>
                    <a:pt x="92392" y="233458"/>
                    <a:pt x="84868" y="247555"/>
                    <a:pt x="84868" y="265462"/>
                  </a:cubicBezTo>
                  <a:lnTo>
                    <a:pt x="84868" y="266891"/>
                  </a:lnTo>
                  <a:cubicBezTo>
                    <a:pt x="84868" y="284798"/>
                    <a:pt x="91821" y="298418"/>
                    <a:pt x="105728" y="307848"/>
                  </a:cubicBezTo>
                  <a:cubicBezTo>
                    <a:pt x="119634" y="317278"/>
                    <a:pt x="136684" y="321945"/>
                    <a:pt x="156972" y="321945"/>
                  </a:cubicBezTo>
                  <a:cubicBezTo>
                    <a:pt x="171069" y="321945"/>
                    <a:pt x="184213" y="320040"/>
                    <a:pt x="196215" y="316325"/>
                  </a:cubicBezTo>
                  <a:cubicBezTo>
                    <a:pt x="208216" y="312515"/>
                    <a:pt x="218694" y="307277"/>
                    <a:pt x="227647" y="300419"/>
                  </a:cubicBezTo>
                  <a:cubicBezTo>
                    <a:pt x="236601" y="293561"/>
                    <a:pt x="243554" y="285369"/>
                    <a:pt x="248507" y="275654"/>
                  </a:cubicBezTo>
                  <a:cubicBezTo>
                    <a:pt x="253460" y="266033"/>
                    <a:pt x="255937" y="255270"/>
                    <a:pt x="255937" y="243459"/>
                  </a:cubicBezTo>
                  <a:lnTo>
                    <a:pt x="255937" y="222218"/>
                  </a:lnTo>
                  <a:close/>
                </a:path>
              </a:pathLst>
            </a:custGeom>
            <a:solidFill>
              <a:srgbClr val="44505E"/>
            </a:solidFill>
            <a:ln w="9525" cap="flat">
              <a:noFill/>
              <a:prstDash val="solid"/>
              <a:miter/>
            </a:ln>
          </p:spPr>
          <p:txBody>
            <a:bodyPr rtlCol="0" anchor="ctr"/>
            <a:lstStyle/>
            <a:p>
              <a:endParaRPr lang="pt-BR" noProof="0"/>
            </a:p>
          </p:txBody>
        </p:sp>
        <p:sp>
          <p:nvSpPr>
            <p:cNvPr id="15" name="Freeform: Shape 27">
              <a:extLst>
                <a:ext uri="{FF2B5EF4-FFF2-40B4-BE49-F238E27FC236}">
                  <a16:creationId xmlns:a16="http://schemas.microsoft.com/office/drawing/2014/main" id="{76192D36-7F02-502F-7C12-C5FB9BC27E03}"/>
                </a:ext>
              </a:extLst>
            </p:cNvPr>
            <p:cNvSpPr/>
            <p:nvPr/>
          </p:nvSpPr>
          <p:spPr>
            <a:xfrm>
              <a:off x="6088843" y="700318"/>
              <a:ext cx="74610" cy="97213"/>
            </a:xfrm>
            <a:custGeom>
              <a:avLst/>
              <a:gdLst>
                <a:gd name="connsiteX0" fmla="*/ 158305 w 296799"/>
                <a:gd name="connsiteY0" fmla="*/ 386715 h 386714"/>
                <a:gd name="connsiteX1" fmla="*/ 76676 w 296799"/>
                <a:gd name="connsiteY1" fmla="*/ 372427 h 386714"/>
                <a:gd name="connsiteX2" fmla="*/ 0 w 296799"/>
                <a:gd name="connsiteY2" fmla="*/ 330327 h 386714"/>
                <a:gd name="connsiteX3" fmla="*/ 38195 w 296799"/>
                <a:gd name="connsiteY3" fmla="*/ 272224 h 386714"/>
                <a:gd name="connsiteX4" fmla="*/ 100013 w 296799"/>
                <a:gd name="connsiteY4" fmla="*/ 306514 h 386714"/>
                <a:gd name="connsiteX5" fmla="*/ 160401 w 296799"/>
                <a:gd name="connsiteY5" fmla="*/ 318135 h 386714"/>
                <a:gd name="connsiteX6" fmla="*/ 203168 w 296799"/>
                <a:gd name="connsiteY6" fmla="*/ 307181 h 386714"/>
                <a:gd name="connsiteX7" fmla="*/ 218408 w 296799"/>
                <a:gd name="connsiteY7" fmla="*/ 277939 h 386714"/>
                <a:gd name="connsiteX8" fmla="*/ 218408 w 296799"/>
                <a:gd name="connsiteY8" fmla="*/ 276511 h 386714"/>
                <a:gd name="connsiteX9" fmla="*/ 211646 w 296799"/>
                <a:gd name="connsiteY9" fmla="*/ 258223 h 386714"/>
                <a:gd name="connsiteX10" fmla="*/ 193262 w 296799"/>
                <a:gd name="connsiteY10" fmla="*/ 244792 h 386714"/>
                <a:gd name="connsiteX11" fmla="*/ 166402 w 296799"/>
                <a:gd name="connsiteY11" fmla="*/ 234220 h 386714"/>
                <a:gd name="connsiteX12" fmla="*/ 134969 w 296799"/>
                <a:gd name="connsiteY12" fmla="*/ 224314 h 386714"/>
                <a:gd name="connsiteX13" fmla="*/ 93631 w 296799"/>
                <a:gd name="connsiteY13" fmla="*/ 210884 h 386714"/>
                <a:gd name="connsiteX14" fmla="*/ 56197 w 296799"/>
                <a:gd name="connsiteY14" fmla="*/ 190786 h 386714"/>
                <a:gd name="connsiteX15" fmla="*/ 28956 w 296799"/>
                <a:gd name="connsiteY15" fmla="*/ 160115 h 386714"/>
                <a:gd name="connsiteX16" fmla="*/ 18383 w 296799"/>
                <a:gd name="connsiteY16" fmla="*/ 114967 h 386714"/>
                <a:gd name="connsiteX17" fmla="*/ 18383 w 296799"/>
                <a:gd name="connsiteY17" fmla="*/ 113538 h 386714"/>
                <a:gd name="connsiteX18" fmla="*/ 28575 w 296799"/>
                <a:gd name="connsiteY18" fmla="*/ 66294 h 386714"/>
                <a:gd name="connsiteX19" fmla="*/ 56864 w 296799"/>
                <a:gd name="connsiteY19" fmla="*/ 30385 h 386714"/>
                <a:gd name="connsiteX20" fmla="*/ 99250 w 296799"/>
                <a:gd name="connsiteY20" fmla="*/ 7810 h 386714"/>
                <a:gd name="connsiteX21" fmla="*/ 151162 w 296799"/>
                <a:gd name="connsiteY21" fmla="*/ 0 h 386714"/>
                <a:gd name="connsiteX22" fmla="*/ 222504 w 296799"/>
                <a:gd name="connsiteY22" fmla="*/ 11430 h 386714"/>
                <a:gd name="connsiteX23" fmla="*/ 288227 w 296799"/>
                <a:gd name="connsiteY23" fmla="*/ 42863 h 386714"/>
                <a:gd name="connsiteX24" fmla="*/ 254317 w 296799"/>
                <a:gd name="connsiteY24" fmla="*/ 103918 h 386714"/>
                <a:gd name="connsiteX25" fmla="*/ 199930 w 296799"/>
                <a:gd name="connsiteY25" fmla="*/ 78105 h 386714"/>
                <a:gd name="connsiteX26" fmla="*/ 149066 w 296799"/>
                <a:gd name="connsiteY26" fmla="*/ 68580 h 386714"/>
                <a:gd name="connsiteX27" fmla="*/ 110585 w 296799"/>
                <a:gd name="connsiteY27" fmla="*/ 79153 h 386714"/>
                <a:gd name="connsiteX28" fmla="*/ 96774 w 296799"/>
                <a:gd name="connsiteY28" fmla="*/ 105918 h 386714"/>
                <a:gd name="connsiteX29" fmla="*/ 96774 w 296799"/>
                <a:gd name="connsiteY29" fmla="*/ 107347 h 386714"/>
                <a:gd name="connsiteX30" fmla="*/ 103822 w 296799"/>
                <a:gd name="connsiteY30" fmla="*/ 124587 h 386714"/>
                <a:gd name="connsiteX31" fmla="*/ 122587 w 296799"/>
                <a:gd name="connsiteY31" fmla="*/ 138017 h 386714"/>
                <a:gd name="connsiteX32" fmla="*/ 149447 w 296799"/>
                <a:gd name="connsiteY32" fmla="*/ 149257 h 386714"/>
                <a:gd name="connsiteX33" fmla="*/ 180880 w 296799"/>
                <a:gd name="connsiteY33" fmla="*/ 159448 h 386714"/>
                <a:gd name="connsiteX34" fmla="*/ 221837 w 296799"/>
                <a:gd name="connsiteY34" fmla="*/ 174212 h 386714"/>
                <a:gd name="connsiteX35" fmla="*/ 258985 w 296799"/>
                <a:gd name="connsiteY35" fmla="*/ 194977 h 386714"/>
                <a:gd name="connsiteX36" fmla="*/ 286226 w 296799"/>
                <a:gd name="connsiteY36" fmla="*/ 224980 h 386714"/>
                <a:gd name="connsiteX37" fmla="*/ 296799 w 296799"/>
                <a:gd name="connsiteY37" fmla="*/ 267938 h 386714"/>
                <a:gd name="connsiteX38" fmla="*/ 296799 w 296799"/>
                <a:gd name="connsiteY38" fmla="*/ 269367 h 386714"/>
                <a:gd name="connsiteX39" fmla="*/ 286226 w 296799"/>
                <a:gd name="connsiteY39" fmla="*/ 320897 h 386714"/>
                <a:gd name="connsiteX40" fmla="*/ 256889 w 296799"/>
                <a:gd name="connsiteY40" fmla="*/ 357188 h 386714"/>
                <a:gd name="connsiteX41" fmla="*/ 212693 w 296799"/>
                <a:gd name="connsiteY41" fmla="*/ 379095 h 386714"/>
                <a:gd name="connsiteX42" fmla="*/ 158305 w 296799"/>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799"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065" y="318135"/>
                    <a:pt x="160401" y="318135"/>
                  </a:cubicBezTo>
                  <a:cubicBezTo>
                    <a:pt x="179737" y="318135"/>
                    <a:pt x="193072"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828" y="227647"/>
                    <a:pt x="134969" y="224314"/>
                  </a:cubicBezTo>
                  <a:cubicBezTo>
                    <a:pt x="121348" y="220599"/>
                    <a:pt x="107537" y="216122"/>
                    <a:pt x="93631" y="210884"/>
                  </a:cubicBezTo>
                  <a:cubicBezTo>
                    <a:pt x="79724" y="205740"/>
                    <a:pt x="67246" y="198977"/>
                    <a:pt x="56197" y="190786"/>
                  </a:cubicBezTo>
                  <a:cubicBezTo>
                    <a:pt x="45148" y="182594"/>
                    <a:pt x="36004"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874" y="0"/>
                    <a:pt x="151162" y="0"/>
                  </a:cubicBezTo>
                  <a:cubicBezTo>
                    <a:pt x="174688" y="0"/>
                    <a:pt x="198501" y="3810"/>
                    <a:pt x="222504" y="11430"/>
                  </a:cubicBezTo>
                  <a:cubicBezTo>
                    <a:pt x="246507" y="19050"/>
                    <a:pt x="268414" y="29527"/>
                    <a:pt x="288227" y="42863"/>
                  </a:cubicBezTo>
                  <a:lnTo>
                    <a:pt x="254317"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774" y="95155"/>
                    <a:pt x="96774" y="105918"/>
                  </a:cubicBezTo>
                  <a:lnTo>
                    <a:pt x="96774" y="107347"/>
                  </a:lnTo>
                  <a:cubicBezTo>
                    <a:pt x="96774" y="113919"/>
                    <a:pt x="99155" y="119634"/>
                    <a:pt x="103822" y="124587"/>
                  </a:cubicBezTo>
                  <a:cubicBezTo>
                    <a:pt x="108490" y="129540"/>
                    <a:pt x="114776" y="134017"/>
                    <a:pt x="122587" y="138017"/>
                  </a:cubicBezTo>
                  <a:cubicBezTo>
                    <a:pt x="130397" y="142018"/>
                    <a:pt x="139351" y="145732"/>
                    <a:pt x="149447" y="149257"/>
                  </a:cubicBezTo>
                  <a:cubicBezTo>
                    <a:pt x="159544" y="152781"/>
                    <a:pt x="170021" y="156210"/>
                    <a:pt x="180880" y="159448"/>
                  </a:cubicBezTo>
                  <a:cubicBezTo>
                    <a:pt x="194500" y="163639"/>
                    <a:pt x="208216" y="168592"/>
                    <a:pt x="221837" y="174212"/>
                  </a:cubicBezTo>
                  <a:cubicBezTo>
                    <a:pt x="235458" y="179832"/>
                    <a:pt x="247840" y="186785"/>
                    <a:pt x="258985" y="194977"/>
                  </a:cubicBezTo>
                  <a:cubicBezTo>
                    <a:pt x="270034" y="203168"/>
                    <a:pt x="279178" y="213169"/>
                    <a:pt x="286226" y="224980"/>
                  </a:cubicBezTo>
                  <a:cubicBezTo>
                    <a:pt x="293275" y="236696"/>
                    <a:pt x="296799" y="251079"/>
                    <a:pt x="296799" y="267938"/>
                  </a:cubicBezTo>
                  <a:lnTo>
                    <a:pt x="296799" y="269367"/>
                  </a:lnTo>
                  <a:cubicBezTo>
                    <a:pt x="296799" y="289084"/>
                    <a:pt x="293275" y="306229"/>
                    <a:pt x="286226" y="320897"/>
                  </a:cubicBezTo>
                  <a:cubicBezTo>
                    <a:pt x="279178" y="335470"/>
                    <a:pt x="269367" y="347567"/>
                    <a:pt x="256889" y="357188"/>
                  </a:cubicBezTo>
                  <a:cubicBezTo>
                    <a:pt x="244412" y="366808"/>
                    <a:pt x="229648" y="374142"/>
                    <a:pt x="212693" y="379095"/>
                  </a:cubicBezTo>
                  <a:cubicBezTo>
                    <a:pt x="195739" y="384048"/>
                    <a:pt x="177641" y="386524"/>
                    <a:pt x="158305" y="386524"/>
                  </a:cubicBezTo>
                  <a:close/>
                </a:path>
              </a:pathLst>
            </a:custGeom>
            <a:solidFill>
              <a:srgbClr val="44505E"/>
            </a:solidFill>
            <a:ln w="9525" cap="flat">
              <a:noFill/>
              <a:prstDash val="solid"/>
              <a:miter/>
            </a:ln>
          </p:spPr>
          <p:txBody>
            <a:bodyPr rtlCol="0" anchor="ctr"/>
            <a:lstStyle/>
            <a:p>
              <a:endParaRPr lang="pt-BR" noProof="0"/>
            </a:p>
          </p:txBody>
        </p:sp>
        <p:sp>
          <p:nvSpPr>
            <p:cNvPr id="16" name="Freeform: Shape 28">
              <a:extLst>
                <a:ext uri="{FF2B5EF4-FFF2-40B4-BE49-F238E27FC236}">
                  <a16:creationId xmlns:a16="http://schemas.microsoft.com/office/drawing/2014/main" id="{B39739D4-B5F5-E998-660C-D5F7CDD01D63}"/>
                </a:ext>
              </a:extLst>
            </p:cNvPr>
            <p:cNvSpPr/>
            <p:nvPr/>
          </p:nvSpPr>
          <p:spPr>
            <a:xfrm>
              <a:off x="6238590"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4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7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2 w 568166"/>
                <a:gd name="connsiteY21" fmla="*/ 381000 h 381000"/>
                <a:gd name="connsiteX22" fmla="*/ 240982 w 568166"/>
                <a:gd name="connsiteY22" fmla="*/ 168783 h 381000"/>
                <a:gd name="connsiteX23" fmla="*/ 221266 w 568166"/>
                <a:gd name="connsiteY23" fmla="*/ 101822 h 381000"/>
                <a:gd name="connsiteX24" fmla="*/ 165640 w 568166"/>
                <a:gd name="connsiteY24" fmla="*/ 78581 h 381000"/>
                <a:gd name="connsiteX25" fmla="*/ 108013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69" y="48196"/>
                    <a:pt x="105918" y="40576"/>
                  </a:cubicBezTo>
                  <a:cubicBezTo>
                    <a:pt x="112966" y="32956"/>
                    <a:pt x="121063" y="26099"/>
                    <a:pt x="130207" y="19907"/>
                  </a:cubicBezTo>
                  <a:cubicBezTo>
                    <a:pt x="139351" y="13716"/>
                    <a:pt x="149638" y="8858"/>
                    <a:pt x="161163" y="5334"/>
                  </a:cubicBezTo>
                  <a:cubicBezTo>
                    <a:pt x="172688" y="1714"/>
                    <a:pt x="185452" y="0"/>
                    <a:pt x="199549" y="0"/>
                  </a:cubicBezTo>
                  <a:cubicBezTo>
                    <a:pt x="226314" y="0"/>
                    <a:pt x="248983" y="6096"/>
                    <a:pt x="267557" y="18193"/>
                  </a:cubicBezTo>
                  <a:cubicBezTo>
                    <a:pt x="286131" y="30289"/>
                    <a:pt x="300323" y="46387"/>
                    <a:pt x="310134" y="66294"/>
                  </a:cubicBezTo>
                  <a:cubicBezTo>
                    <a:pt x="325279" y="46387"/>
                    <a:pt x="343090" y="30289"/>
                    <a:pt x="363664" y="18193"/>
                  </a:cubicBezTo>
                  <a:cubicBezTo>
                    <a:pt x="384238" y="6096"/>
                    <a:pt x="408718" y="0"/>
                    <a:pt x="437007" y="0"/>
                  </a:cubicBezTo>
                  <a:cubicBezTo>
                    <a:pt x="478155"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7" y="78486"/>
                  </a:cubicBezTo>
                  <a:cubicBezTo>
                    <a:pt x="382809" y="78486"/>
                    <a:pt x="364141" y="86392"/>
                    <a:pt x="349377" y="102108"/>
                  </a:cubicBezTo>
                  <a:cubicBezTo>
                    <a:pt x="334613" y="117824"/>
                    <a:pt x="327184" y="140779"/>
                    <a:pt x="327184" y="170879"/>
                  </a:cubicBezTo>
                  <a:lnTo>
                    <a:pt x="327184" y="381000"/>
                  </a:lnTo>
                  <a:lnTo>
                    <a:pt x="240982" y="381000"/>
                  </a:lnTo>
                  <a:lnTo>
                    <a:pt x="240982" y="168783"/>
                  </a:lnTo>
                  <a:cubicBezTo>
                    <a:pt x="240982" y="139637"/>
                    <a:pt x="234410" y="117348"/>
                    <a:pt x="221266" y="101822"/>
                  </a:cubicBezTo>
                  <a:cubicBezTo>
                    <a:pt x="208121" y="86296"/>
                    <a:pt x="189547" y="78581"/>
                    <a:pt x="165640" y="78581"/>
                  </a:cubicBezTo>
                  <a:cubicBezTo>
                    <a:pt x="141732" y="78581"/>
                    <a:pt x="122491" y="86773"/>
                    <a:pt x="108013"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noProof="0"/>
            </a:p>
          </p:txBody>
        </p:sp>
        <p:sp>
          <p:nvSpPr>
            <p:cNvPr id="17" name="Freeform: Shape 29">
              <a:extLst>
                <a:ext uri="{FF2B5EF4-FFF2-40B4-BE49-F238E27FC236}">
                  <a16:creationId xmlns:a16="http://schemas.microsoft.com/office/drawing/2014/main" id="{75008BE7-674B-C054-8DAE-E2C4C2FC7711}"/>
                </a:ext>
              </a:extLst>
            </p:cNvPr>
            <p:cNvSpPr/>
            <p:nvPr/>
          </p:nvSpPr>
          <p:spPr>
            <a:xfrm>
              <a:off x="6400979" y="664258"/>
              <a:ext cx="85097" cy="133441"/>
            </a:xfrm>
            <a:custGeom>
              <a:avLst/>
              <a:gdLst>
                <a:gd name="connsiteX0" fmla="*/ 253651 w 338518"/>
                <a:gd name="connsiteY0" fmla="*/ 523018 h 530828"/>
                <a:gd name="connsiteX1" fmla="*/ 253651 w 338518"/>
                <a:gd name="connsiteY1" fmla="*/ 477107 h 530828"/>
                <a:gd name="connsiteX2" fmla="*/ 204883 w 338518"/>
                <a:gd name="connsiteY2" fmla="*/ 515303 h 530828"/>
                <a:gd name="connsiteX3" fmla="*/ 132779 w 338518"/>
                <a:gd name="connsiteY3" fmla="*/ 530828 h 530828"/>
                <a:gd name="connsiteX4" fmla="*/ 81915 w 338518"/>
                <a:gd name="connsiteY4" fmla="*/ 523399 h 530828"/>
                <a:gd name="connsiteX5" fmla="*/ 39910 w 338518"/>
                <a:gd name="connsiteY5" fmla="*/ 501491 h 530828"/>
                <a:gd name="connsiteX6" fmla="*/ 10954 w 338518"/>
                <a:gd name="connsiteY6" fmla="*/ 465487 h 530828"/>
                <a:gd name="connsiteX7" fmla="*/ 0 w 338518"/>
                <a:gd name="connsiteY7" fmla="*/ 415671 h 530828"/>
                <a:gd name="connsiteX8" fmla="*/ 0 w 338518"/>
                <a:gd name="connsiteY8" fmla="*/ 414242 h 530828"/>
                <a:gd name="connsiteX9" fmla="*/ 11335 w 338518"/>
                <a:gd name="connsiteY9" fmla="*/ 360140 h 530828"/>
                <a:gd name="connsiteX10" fmla="*/ 42767 w 338518"/>
                <a:gd name="connsiteY10" fmla="*/ 321945 h 530828"/>
                <a:gd name="connsiteX11" fmla="*/ 90773 w 338518"/>
                <a:gd name="connsiteY11" fmla="*/ 299371 h 530828"/>
                <a:gd name="connsiteX12" fmla="*/ 151162 w 338518"/>
                <a:gd name="connsiteY12" fmla="*/ 291941 h 530828"/>
                <a:gd name="connsiteX13" fmla="*/ 208788 w 338518"/>
                <a:gd name="connsiteY13" fmla="*/ 296228 h 530828"/>
                <a:gd name="connsiteX14" fmla="*/ 254413 w 338518"/>
                <a:gd name="connsiteY14" fmla="*/ 307562 h 530828"/>
                <a:gd name="connsiteX15" fmla="*/ 254413 w 338518"/>
                <a:gd name="connsiteY15" fmla="*/ 300514 h 530828"/>
                <a:gd name="connsiteX16" fmla="*/ 230696 w 338518"/>
                <a:gd name="connsiteY16" fmla="*/ 241173 h 530828"/>
                <a:gd name="connsiteX17" fmla="*/ 162496 w 338518"/>
                <a:gd name="connsiteY17" fmla="*/ 220694 h 530828"/>
                <a:gd name="connsiteX18" fmla="*/ 106013 w 338518"/>
                <a:gd name="connsiteY18" fmla="*/ 227076 h 530828"/>
                <a:gd name="connsiteX19" fmla="*/ 55817 w 338518"/>
                <a:gd name="connsiteY19" fmla="*/ 244031 h 530828"/>
                <a:gd name="connsiteX20" fmla="*/ 32480 w 338518"/>
                <a:gd name="connsiteY20" fmla="*/ 175451 h 530828"/>
                <a:gd name="connsiteX21" fmla="*/ 96107 w 338518"/>
                <a:gd name="connsiteY21" fmla="*/ 152876 h 530828"/>
                <a:gd name="connsiteX22" fmla="*/ 174593 w 338518"/>
                <a:gd name="connsiteY22" fmla="*/ 144399 h 530828"/>
                <a:gd name="connsiteX23" fmla="*/ 298228 w 338518"/>
                <a:gd name="connsiteY23" fmla="*/ 185738 h 530828"/>
                <a:gd name="connsiteX24" fmla="*/ 338519 w 338518"/>
                <a:gd name="connsiteY24" fmla="*/ 301943 h 530828"/>
                <a:gd name="connsiteX25" fmla="*/ 338519 w 338518"/>
                <a:gd name="connsiteY25" fmla="*/ 523113 h 530828"/>
                <a:gd name="connsiteX26" fmla="*/ 253746 w 338518"/>
                <a:gd name="connsiteY26" fmla="*/ 523113 h 530828"/>
                <a:gd name="connsiteX27" fmla="*/ 45911 w 338518"/>
                <a:gd name="connsiteY27" fmla="*/ 95441 h 530828"/>
                <a:gd name="connsiteX28" fmla="*/ 75248 w 338518"/>
                <a:gd name="connsiteY28" fmla="*/ 29718 h 530828"/>
                <a:gd name="connsiteX29" fmla="*/ 125063 w 338518"/>
                <a:gd name="connsiteY29" fmla="*/ 7144 h 530828"/>
                <a:gd name="connsiteX30" fmla="*/ 154019 w 338518"/>
                <a:gd name="connsiteY30" fmla="*/ 11716 h 530828"/>
                <a:gd name="connsiteX31" fmla="*/ 181261 w 338518"/>
                <a:gd name="connsiteY31" fmla="*/ 21622 h 530828"/>
                <a:gd name="connsiteX32" fmla="*/ 205645 w 338518"/>
                <a:gd name="connsiteY32" fmla="*/ 31147 h 530828"/>
                <a:gd name="connsiteX33" fmla="*/ 226790 w 338518"/>
                <a:gd name="connsiteY33" fmla="*/ 35338 h 530828"/>
                <a:gd name="connsiteX34" fmla="*/ 250127 w 338518"/>
                <a:gd name="connsiteY34" fmla="*/ 26861 h 530828"/>
                <a:gd name="connsiteX35" fmla="*/ 265652 w 338518"/>
                <a:gd name="connsiteY35" fmla="*/ 0 h 530828"/>
                <a:gd name="connsiteX36" fmla="*/ 312991 w 338518"/>
                <a:gd name="connsiteY36" fmla="*/ 14859 h 530828"/>
                <a:gd name="connsiteX37" fmla="*/ 283655 w 338518"/>
                <a:gd name="connsiteY37" fmla="*/ 79820 h 530828"/>
                <a:gd name="connsiteX38" fmla="*/ 233839 w 338518"/>
                <a:gd name="connsiteY38" fmla="*/ 102394 h 530828"/>
                <a:gd name="connsiteX39" fmla="*/ 204883 w 338518"/>
                <a:gd name="connsiteY39" fmla="*/ 98203 h 530828"/>
                <a:gd name="connsiteX40" fmla="*/ 177641 w 338518"/>
                <a:gd name="connsiteY40" fmla="*/ 88678 h 530828"/>
                <a:gd name="connsiteX41" fmla="*/ 152876 w 338518"/>
                <a:gd name="connsiteY41" fmla="*/ 78772 h 530828"/>
                <a:gd name="connsiteX42" fmla="*/ 132017 w 338518"/>
                <a:gd name="connsiteY42" fmla="*/ 74200 h 530828"/>
                <a:gd name="connsiteX43" fmla="*/ 108680 w 338518"/>
                <a:gd name="connsiteY43" fmla="*/ 82677 h 530828"/>
                <a:gd name="connsiteX44" fmla="*/ 93154 w 338518"/>
                <a:gd name="connsiteY44" fmla="*/ 109538 h 530828"/>
                <a:gd name="connsiteX45" fmla="*/ 45815 w 338518"/>
                <a:gd name="connsiteY45" fmla="*/ 95441 h 530828"/>
                <a:gd name="connsiteX46" fmla="*/ 255842 w 338518"/>
                <a:gd name="connsiteY46" fmla="*/ 366808 h 530828"/>
                <a:gd name="connsiteX47" fmla="*/ 217361 w 338518"/>
                <a:gd name="connsiteY47" fmla="*/ 356235 h 530828"/>
                <a:gd name="connsiteX48" fmla="*/ 170402 w 338518"/>
                <a:gd name="connsiteY48" fmla="*/ 351949 h 530828"/>
                <a:gd name="connsiteX49" fmla="*/ 107537 w 338518"/>
                <a:gd name="connsiteY49" fmla="*/ 367475 h 530828"/>
                <a:gd name="connsiteX50" fmla="*/ 84963 w 338518"/>
                <a:gd name="connsiteY50" fmla="*/ 409861 h 530828"/>
                <a:gd name="connsiteX51" fmla="*/ 84963 w 338518"/>
                <a:gd name="connsiteY51" fmla="*/ 411290 h 530828"/>
                <a:gd name="connsiteX52" fmla="*/ 105823 w 338518"/>
                <a:gd name="connsiteY52" fmla="*/ 452247 h 530828"/>
                <a:gd name="connsiteX53" fmla="*/ 157067 w 338518"/>
                <a:gd name="connsiteY53" fmla="*/ 466344 h 530828"/>
                <a:gd name="connsiteX54" fmla="*/ 196310 w 338518"/>
                <a:gd name="connsiteY54" fmla="*/ 460724 h 530828"/>
                <a:gd name="connsiteX55" fmla="*/ 227743 w 338518"/>
                <a:gd name="connsiteY55" fmla="*/ 444818 h 530828"/>
                <a:gd name="connsiteX56" fmla="*/ 248603 w 338518"/>
                <a:gd name="connsiteY56" fmla="*/ 420053 h 530828"/>
                <a:gd name="connsiteX57" fmla="*/ 256032 w 338518"/>
                <a:gd name="connsiteY57" fmla="*/ 387858 h 530828"/>
                <a:gd name="connsiteX58" fmla="*/ 256032 w 338518"/>
                <a:gd name="connsiteY58" fmla="*/ 366617 h 5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8518" h="530828">
                  <a:moveTo>
                    <a:pt x="253651" y="523018"/>
                  </a:moveTo>
                  <a:lnTo>
                    <a:pt x="253651" y="477107"/>
                  </a:lnTo>
                  <a:cubicBezTo>
                    <a:pt x="240887" y="492157"/>
                    <a:pt x="224695" y="504920"/>
                    <a:pt x="204883" y="515303"/>
                  </a:cubicBezTo>
                  <a:cubicBezTo>
                    <a:pt x="185071" y="525685"/>
                    <a:pt x="161068" y="530828"/>
                    <a:pt x="132779" y="530828"/>
                  </a:cubicBezTo>
                  <a:cubicBezTo>
                    <a:pt x="114871" y="530828"/>
                    <a:pt x="97917" y="528352"/>
                    <a:pt x="81915" y="523399"/>
                  </a:cubicBezTo>
                  <a:cubicBezTo>
                    <a:pt x="65913" y="518446"/>
                    <a:pt x="51911" y="511112"/>
                    <a:pt x="39910" y="501491"/>
                  </a:cubicBezTo>
                  <a:cubicBezTo>
                    <a:pt x="27908" y="491871"/>
                    <a:pt x="18193" y="479870"/>
                    <a:pt x="10954" y="465487"/>
                  </a:cubicBezTo>
                  <a:cubicBezTo>
                    <a:pt x="3620" y="451104"/>
                    <a:pt x="0" y="434531"/>
                    <a:pt x="0" y="415671"/>
                  </a:cubicBezTo>
                  <a:lnTo>
                    <a:pt x="0" y="414242"/>
                  </a:lnTo>
                  <a:cubicBezTo>
                    <a:pt x="0" y="393478"/>
                    <a:pt x="3810" y="375476"/>
                    <a:pt x="11335" y="360140"/>
                  </a:cubicBezTo>
                  <a:cubicBezTo>
                    <a:pt x="18860" y="344805"/>
                    <a:pt x="29337" y="332137"/>
                    <a:pt x="42767" y="321945"/>
                  </a:cubicBezTo>
                  <a:cubicBezTo>
                    <a:pt x="56198" y="311849"/>
                    <a:pt x="72200" y="304324"/>
                    <a:pt x="90773" y="299371"/>
                  </a:cubicBezTo>
                  <a:cubicBezTo>
                    <a:pt x="109347" y="294418"/>
                    <a:pt x="129540" y="291941"/>
                    <a:pt x="151162" y="291941"/>
                  </a:cubicBezTo>
                  <a:cubicBezTo>
                    <a:pt x="172784" y="291941"/>
                    <a:pt x="192977" y="293370"/>
                    <a:pt x="208788" y="296228"/>
                  </a:cubicBezTo>
                  <a:cubicBezTo>
                    <a:pt x="224600" y="299085"/>
                    <a:pt x="239744" y="302800"/>
                    <a:pt x="254413" y="307562"/>
                  </a:cubicBezTo>
                  <a:lnTo>
                    <a:pt x="254413" y="300514"/>
                  </a:lnTo>
                  <a:cubicBezTo>
                    <a:pt x="254413" y="274606"/>
                    <a:pt x="246507" y="254794"/>
                    <a:pt x="230696" y="241173"/>
                  </a:cubicBezTo>
                  <a:cubicBezTo>
                    <a:pt x="214884" y="227552"/>
                    <a:pt x="192215" y="220694"/>
                    <a:pt x="162496" y="220694"/>
                  </a:cubicBezTo>
                  <a:cubicBezTo>
                    <a:pt x="141351" y="220694"/>
                    <a:pt x="122492" y="222790"/>
                    <a:pt x="106013" y="227076"/>
                  </a:cubicBezTo>
                  <a:cubicBezTo>
                    <a:pt x="89535" y="231362"/>
                    <a:pt x="72771" y="236982"/>
                    <a:pt x="55817" y="244031"/>
                  </a:cubicBezTo>
                  <a:lnTo>
                    <a:pt x="32480" y="175451"/>
                  </a:lnTo>
                  <a:cubicBezTo>
                    <a:pt x="53150" y="166021"/>
                    <a:pt x="74390" y="158496"/>
                    <a:pt x="96107" y="152876"/>
                  </a:cubicBezTo>
                  <a:cubicBezTo>
                    <a:pt x="117729" y="147257"/>
                    <a:pt x="143923" y="144399"/>
                    <a:pt x="174593" y="144399"/>
                  </a:cubicBezTo>
                  <a:cubicBezTo>
                    <a:pt x="230124" y="144399"/>
                    <a:pt x="271367" y="158210"/>
                    <a:pt x="298228" y="185738"/>
                  </a:cubicBezTo>
                  <a:cubicBezTo>
                    <a:pt x="325088" y="213265"/>
                    <a:pt x="338519" y="252032"/>
                    <a:pt x="338519" y="301943"/>
                  </a:cubicBezTo>
                  <a:lnTo>
                    <a:pt x="338519" y="523113"/>
                  </a:lnTo>
                  <a:lnTo>
                    <a:pt x="253746" y="523113"/>
                  </a:lnTo>
                  <a:close/>
                  <a:moveTo>
                    <a:pt x="45911" y="95441"/>
                  </a:moveTo>
                  <a:cubicBezTo>
                    <a:pt x="53912" y="66675"/>
                    <a:pt x="63722" y="44768"/>
                    <a:pt x="75248" y="29718"/>
                  </a:cubicBezTo>
                  <a:cubicBezTo>
                    <a:pt x="86773" y="14669"/>
                    <a:pt x="103442" y="7144"/>
                    <a:pt x="125063" y="7144"/>
                  </a:cubicBezTo>
                  <a:cubicBezTo>
                    <a:pt x="134969" y="7144"/>
                    <a:pt x="144590" y="8668"/>
                    <a:pt x="154019" y="11716"/>
                  </a:cubicBezTo>
                  <a:cubicBezTo>
                    <a:pt x="163449" y="14764"/>
                    <a:pt x="172498" y="18098"/>
                    <a:pt x="181261" y="21622"/>
                  </a:cubicBezTo>
                  <a:cubicBezTo>
                    <a:pt x="189929" y="25146"/>
                    <a:pt x="198120" y="28385"/>
                    <a:pt x="205645" y="31147"/>
                  </a:cubicBezTo>
                  <a:cubicBezTo>
                    <a:pt x="213170" y="34004"/>
                    <a:pt x="220218" y="35338"/>
                    <a:pt x="226790" y="35338"/>
                  </a:cubicBezTo>
                  <a:cubicBezTo>
                    <a:pt x="237173" y="35338"/>
                    <a:pt x="244888" y="32480"/>
                    <a:pt x="250127" y="26861"/>
                  </a:cubicBezTo>
                  <a:cubicBezTo>
                    <a:pt x="255270" y="21241"/>
                    <a:pt x="260509" y="12287"/>
                    <a:pt x="265652" y="0"/>
                  </a:cubicBezTo>
                  <a:lnTo>
                    <a:pt x="312991" y="14859"/>
                  </a:lnTo>
                  <a:cubicBezTo>
                    <a:pt x="304991" y="43148"/>
                    <a:pt x="295180" y="64770"/>
                    <a:pt x="283655" y="79820"/>
                  </a:cubicBezTo>
                  <a:cubicBezTo>
                    <a:pt x="272129" y="94869"/>
                    <a:pt x="255461" y="102394"/>
                    <a:pt x="233839" y="102394"/>
                  </a:cubicBezTo>
                  <a:cubicBezTo>
                    <a:pt x="223933" y="102394"/>
                    <a:pt x="214313" y="100965"/>
                    <a:pt x="204883" y="98203"/>
                  </a:cubicBezTo>
                  <a:cubicBezTo>
                    <a:pt x="195453" y="95345"/>
                    <a:pt x="186404" y="92202"/>
                    <a:pt x="177641" y="88678"/>
                  </a:cubicBezTo>
                  <a:cubicBezTo>
                    <a:pt x="168878" y="85154"/>
                    <a:pt x="160687" y="81820"/>
                    <a:pt x="152876" y="78772"/>
                  </a:cubicBezTo>
                  <a:cubicBezTo>
                    <a:pt x="145066" y="75724"/>
                    <a:pt x="138113" y="74200"/>
                    <a:pt x="132017" y="74200"/>
                  </a:cubicBezTo>
                  <a:cubicBezTo>
                    <a:pt x="121634" y="74200"/>
                    <a:pt x="113919" y="77057"/>
                    <a:pt x="108680" y="82677"/>
                  </a:cubicBezTo>
                  <a:cubicBezTo>
                    <a:pt x="103537" y="88297"/>
                    <a:pt x="98298" y="97250"/>
                    <a:pt x="93154" y="109538"/>
                  </a:cubicBezTo>
                  <a:lnTo>
                    <a:pt x="45815" y="95441"/>
                  </a:lnTo>
                  <a:close/>
                  <a:moveTo>
                    <a:pt x="255842" y="366808"/>
                  </a:moveTo>
                  <a:cubicBezTo>
                    <a:pt x="244983" y="362522"/>
                    <a:pt x="232124" y="358997"/>
                    <a:pt x="217361" y="356235"/>
                  </a:cubicBezTo>
                  <a:cubicBezTo>
                    <a:pt x="202502" y="353378"/>
                    <a:pt x="186880" y="351949"/>
                    <a:pt x="170402" y="351949"/>
                  </a:cubicBezTo>
                  <a:cubicBezTo>
                    <a:pt x="143542" y="351949"/>
                    <a:pt x="122587" y="357092"/>
                    <a:pt x="107537" y="367475"/>
                  </a:cubicBezTo>
                  <a:cubicBezTo>
                    <a:pt x="92488" y="377857"/>
                    <a:pt x="84963" y="391954"/>
                    <a:pt x="84963" y="409861"/>
                  </a:cubicBezTo>
                  <a:lnTo>
                    <a:pt x="84963" y="411290"/>
                  </a:lnTo>
                  <a:cubicBezTo>
                    <a:pt x="84963" y="429197"/>
                    <a:pt x="91916" y="442817"/>
                    <a:pt x="105823" y="452247"/>
                  </a:cubicBezTo>
                  <a:cubicBezTo>
                    <a:pt x="119729" y="461677"/>
                    <a:pt x="136779" y="466344"/>
                    <a:pt x="157067" y="466344"/>
                  </a:cubicBezTo>
                  <a:cubicBezTo>
                    <a:pt x="171164" y="466344"/>
                    <a:pt x="184309" y="464439"/>
                    <a:pt x="196310" y="460724"/>
                  </a:cubicBezTo>
                  <a:cubicBezTo>
                    <a:pt x="208312" y="456914"/>
                    <a:pt x="218789" y="451676"/>
                    <a:pt x="227743" y="444818"/>
                  </a:cubicBezTo>
                  <a:cubicBezTo>
                    <a:pt x="236696" y="437960"/>
                    <a:pt x="243650" y="429768"/>
                    <a:pt x="248603" y="420053"/>
                  </a:cubicBezTo>
                  <a:cubicBezTo>
                    <a:pt x="253555" y="410432"/>
                    <a:pt x="256032" y="399669"/>
                    <a:pt x="256032" y="387858"/>
                  </a:cubicBezTo>
                  <a:lnTo>
                    <a:pt x="256032" y="366617"/>
                  </a:lnTo>
                  <a:close/>
                </a:path>
              </a:pathLst>
            </a:custGeom>
            <a:solidFill>
              <a:srgbClr val="44505E"/>
            </a:solidFill>
            <a:ln w="9525" cap="flat">
              <a:noFill/>
              <a:prstDash val="solid"/>
              <a:miter/>
            </a:ln>
          </p:spPr>
          <p:txBody>
            <a:bodyPr rtlCol="0" anchor="ctr"/>
            <a:lstStyle/>
            <a:p>
              <a:endParaRPr lang="pt-BR" noProof="0"/>
            </a:p>
          </p:txBody>
        </p:sp>
        <p:sp>
          <p:nvSpPr>
            <p:cNvPr id="18" name="Freeform: Shape 30">
              <a:extLst>
                <a:ext uri="{FF2B5EF4-FFF2-40B4-BE49-F238E27FC236}">
                  <a16:creationId xmlns:a16="http://schemas.microsoft.com/office/drawing/2014/main" id="{B5746283-B8A3-C0C7-53B9-E34792B39DC9}"/>
                </a:ext>
              </a:extLst>
            </p:cNvPr>
            <p:cNvSpPr/>
            <p:nvPr/>
          </p:nvSpPr>
          <p:spPr>
            <a:xfrm>
              <a:off x="6506477" y="699959"/>
              <a:ext cx="100038" cy="97908"/>
            </a:xfrm>
            <a:custGeom>
              <a:avLst/>
              <a:gdLst>
                <a:gd name="connsiteX0" fmla="*/ 197834 w 397954"/>
                <a:gd name="connsiteY0" fmla="*/ 389477 h 389477"/>
                <a:gd name="connsiteX1" fmla="*/ 119063 w 397954"/>
                <a:gd name="connsiteY1" fmla="*/ 374237 h 389477"/>
                <a:gd name="connsiteX2" fmla="*/ 56198 w 397954"/>
                <a:gd name="connsiteY2" fmla="*/ 332899 h 389477"/>
                <a:gd name="connsiteX3" fmla="*/ 14859 w 397954"/>
                <a:gd name="connsiteY3" fmla="*/ 271463 h 389477"/>
                <a:gd name="connsiteX4" fmla="*/ 0 w 397954"/>
                <a:gd name="connsiteY4" fmla="*/ 196501 h 389477"/>
                <a:gd name="connsiteX5" fmla="*/ 0 w 397954"/>
                <a:gd name="connsiteY5" fmla="*/ 195072 h 389477"/>
                <a:gd name="connsiteX6" fmla="*/ 15240 w 397954"/>
                <a:gd name="connsiteY6" fmla="*/ 119444 h 389477"/>
                <a:gd name="connsiteX7" fmla="*/ 56960 w 397954"/>
                <a:gd name="connsiteY7" fmla="*/ 57626 h 389477"/>
                <a:gd name="connsiteX8" fmla="*/ 119825 w 397954"/>
                <a:gd name="connsiteY8" fmla="*/ 15526 h 389477"/>
                <a:gd name="connsiteX9" fmla="*/ 199358 w 397954"/>
                <a:gd name="connsiteY9" fmla="*/ 0 h 389477"/>
                <a:gd name="connsiteX10" fmla="*/ 278892 w 397954"/>
                <a:gd name="connsiteY10" fmla="*/ 15240 h 389477"/>
                <a:gd name="connsiteX11" fmla="*/ 341757 w 397954"/>
                <a:gd name="connsiteY11" fmla="*/ 56959 h 389477"/>
                <a:gd name="connsiteX12" fmla="*/ 383096 w 397954"/>
                <a:gd name="connsiteY12" fmla="*/ 118396 h 389477"/>
                <a:gd name="connsiteX13" fmla="*/ 397955 w 397954"/>
                <a:gd name="connsiteY13" fmla="*/ 193643 h 389477"/>
                <a:gd name="connsiteX14" fmla="*/ 397955 w 397954"/>
                <a:gd name="connsiteY14" fmla="*/ 195072 h 389477"/>
                <a:gd name="connsiteX15" fmla="*/ 382714 w 397954"/>
                <a:gd name="connsiteY15" fmla="*/ 270034 h 389477"/>
                <a:gd name="connsiteX16" fmla="*/ 340995 w 397954"/>
                <a:gd name="connsiteY16" fmla="*/ 331851 h 389477"/>
                <a:gd name="connsiteX17" fmla="*/ 277749 w 397954"/>
                <a:gd name="connsiteY17" fmla="*/ 373856 h 389477"/>
                <a:gd name="connsiteX18" fmla="*/ 197834 w 397954"/>
                <a:gd name="connsiteY18" fmla="*/ 389382 h 389477"/>
                <a:gd name="connsiteX19" fmla="*/ 199263 w 397954"/>
                <a:gd name="connsiteY19" fmla="*/ 315278 h 389477"/>
                <a:gd name="connsiteX20" fmla="*/ 245936 w 397954"/>
                <a:gd name="connsiteY20" fmla="*/ 305753 h 389477"/>
                <a:gd name="connsiteX21" fmla="*/ 281369 w 397954"/>
                <a:gd name="connsiteY21" fmla="*/ 279940 h 389477"/>
                <a:gd name="connsiteX22" fmla="*/ 303848 w 397954"/>
                <a:gd name="connsiteY22" fmla="*/ 242125 h 389477"/>
                <a:gd name="connsiteX23" fmla="*/ 311563 w 397954"/>
                <a:gd name="connsiteY23" fmla="*/ 196501 h 389477"/>
                <a:gd name="connsiteX24" fmla="*/ 311563 w 397954"/>
                <a:gd name="connsiteY24" fmla="*/ 195072 h 389477"/>
                <a:gd name="connsiteX25" fmla="*/ 303181 w 397954"/>
                <a:gd name="connsiteY25" fmla="*/ 148400 h 389477"/>
                <a:gd name="connsiteX26" fmla="*/ 279654 w 397954"/>
                <a:gd name="connsiteY26" fmla="*/ 110204 h 389477"/>
                <a:gd name="connsiteX27" fmla="*/ 243840 w 397954"/>
                <a:gd name="connsiteY27" fmla="*/ 84392 h 389477"/>
                <a:gd name="connsiteX28" fmla="*/ 197834 w 397954"/>
                <a:gd name="connsiteY28" fmla="*/ 74867 h 389477"/>
                <a:gd name="connsiteX29" fmla="*/ 151829 w 397954"/>
                <a:gd name="connsiteY29" fmla="*/ 84392 h 389477"/>
                <a:gd name="connsiteX30" fmla="*/ 116396 w 397954"/>
                <a:gd name="connsiteY30" fmla="*/ 109823 h 389477"/>
                <a:gd name="connsiteX31" fmla="*/ 93916 w 397954"/>
                <a:gd name="connsiteY31" fmla="*/ 147638 h 389477"/>
                <a:gd name="connsiteX32" fmla="*/ 86201 w 397954"/>
                <a:gd name="connsiteY32" fmla="*/ 193548 h 389477"/>
                <a:gd name="connsiteX33" fmla="*/ 86201 w 397954"/>
                <a:gd name="connsiteY33" fmla="*/ 194977 h 389477"/>
                <a:gd name="connsiteX34" fmla="*/ 94583 w 397954"/>
                <a:gd name="connsiteY34" fmla="*/ 241268 h 389477"/>
                <a:gd name="connsiteX35" fmla="*/ 118110 w 397954"/>
                <a:gd name="connsiteY35" fmla="*/ 279463 h 389477"/>
                <a:gd name="connsiteX36" fmla="*/ 153924 w 397954"/>
                <a:gd name="connsiteY36" fmla="*/ 305562 h 389477"/>
                <a:gd name="connsiteX37" fmla="*/ 199263 w 397954"/>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954" h="389477">
                  <a:moveTo>
                    <a:pt x="197834" y="389477"/>
                  </a:moveTo>
                  <a:cubicBezTo>
                    <a:pt x="169545" y="389477"/>
                    <a:pt x="143351" y="384429"/>
                    <a:pt x="119063" y="374237"/>
                  </a:cubicBezTo>
                  <a:cubicBezTo>
                    <a:pt x="94774" y="364141"/>
                    <a:pt x="73819" y="350330"/>
                    <a:pt x="56198" y="332899"/>
                  </a:cubicBezTo>
                  <a:cubicBezTo>
                    <a:pt x="38576" y="315468"/>
                    <a:pt x="24765" y="294989"/>
                    <a:pt x="14859" y="271463"/>
                  </a:cubicBezTo>
                  <a:cubicBezTo>
                    <a:pt x="4953" y="247936"/>
                    <a:pt x="0" y="222980"/>
                    <a:pt x="0" y="196501"/>
                  </a:cubicBezTo>
                  <a:lnTo>
                    <a:pt x="0" y="195072"/>
                  </a:lnTo>
                  <a:cubicBezTo>
                    <a:pt x="0" y="168212"/>
                    <a:pt x="5049" y="143066"/>
                    <a:pt x="15240" y="119444"/>
                  </a:cubicBezTo>
                  <a:cubicBezTo>
                    <a:pt x="25337" y="95917"/>
                    <a:pt x="39243" y="75248"/>
                    <a:pt x="56960" y="57626"/>
                  </a:cubicBezTo>
                  <a:cubicBezTo>
                    <a:pt x="74676" y="39910"/>
                    <a:pt x="95631" y="25908"/>
                    <a:pt x="119825" y="15526"/>
                  </a:cubicBezTo>
                  <a:cubicBezTo>
                    <a:pt x="144113" y="5144"/>
                    <a:pt x="170593" y="0"/>
                    <a:pt x="199358" y="0"/>
                  </a:cubicBezTo>
                  <a:cubicBezTo>
                    <a:pt x="228124" y="0"/>
                    <a:pt x="254604" y="5048"/>
                    <a:pt x="278892" y="15240"/>
                  </a:cubicBezTo>
                  <a:cubicBezTo>
                    <a:pt x="303181" y="25337"/>
                    <a:pt x="324136" y="39243"/>
                    <a:pt x="341757" y="56959"/>
                  </a:cubicBezTo>
                  <a:cubicBezTo>
                    <a:pt x="359379" y="74676"/>
                    <a:pt x="373189" y="95155"/>
                    <a:pt x="383096" y="118396"/>
                  </a:cubicBezTo>
                  <a:cubicBezTo>
                    <a:pt x="393002" y="141732"/>
                    <a:pt x="397955" y="166783"/>
                    <a:pt x="397955" y="193643"/>
                  </a:cubicBezTo>
                  <a:lnTo>
                    <a:pt x="397955" y="195072"/>
                  </a:lnTo>
                  <a:cubicBezTo>
                    <a:pt x="397955" y="221456"/>
                    <a:pt x="392906" y="246412"/>
                    <a:pt x="382714" y="270034"/>
                  </a:cubicBezTo>
                  <a:cubicBezTo>
                    <a:pt x="372618" y="293561"/>
                    <a:pt x="358712" y="314230"/>
                    <a:pt x="340995" y="331851"/>
                  </a:cubicBezTo>
                  <a:cubicBezTo>
                    <a:pt x="323279" y="349472"/>
                    <a:pt x="302229" y="363569"/>
                    <a:pt x="277749" y="373856"/>
                  </a:cubicBezTo>
                  <a:cubicBezTo>
                    <a:pt x="253270" y="384238"/>
                    <a:pt x="226600" y="389382"/>
                    <a:pt x="197834" y="389382"/>
                  </a:cubicBezTo>
                  <a:close/>
                  <a:moveTo>
                    <a:pt x="199263" y="315278"/>
                  </a:moveTo>
                  <a:cubicBezTo>
                    <a:pt x="216598" y="315278"/>
                    <a:pt x="232124" y="312039"/>
                    <a:pt x="245936" y="305753"/>
                  </a:cubicBezTo>
                  <a:cubicBezTo>
                    <a:pt x="259747" y="299371"/>
                    <a:pt x="271558" y="290798"/>
                    <a:pt x="281369" y="279940"/>
                  </a:cubicBezTo>
                  <a:cubicBezTo>
                    <a:pt x="291179" y="269081"/>
                    <a:pt x="298704" y="256508"/>
                    <a:pt x="303848" y="242125"/>
                  </a:cubicBezTo>
                  <a:cubicBezTo>
                    <a:pt x="308991" y="227743"/>
                    <a:pt x="311563" y="212598"/>
                    <a:pt x="311563" y="196501"/>
                  </a:cubicBezTo>
                  <a:lnTo>
                    <a:pt x="311563" y="195072"/>
                  </a:lnTo>
                  <a:cubicBezTo>
                    <a:pt x="311563" y="178594"/>
                    <a:pt x="308706" y="163068"/>
                    <a:pt x="303181" y="148400"/>
                  </a:cubicBezTo>
                  <a:cubicBezTo>
                    <a:pt x="297561" y="133826"/>
                    <a:pt x="289750" y="121063"/>
                    <a:pt x="279654" y="110204"/>
                  </a:cubicBezTo>
                  <a:cubicBezTo>
                    <a:pt x="269557" y="99346"/>
                    <a:pt x="257651" y="90773"/>
                    <a:pt x="243840" y="84392"/>
                  </a:cubicBezTo>
                  <a:cubicBezTo>
                    <a:pt x="230029" y="78010"/>
                    <a:pt x="214694" y="74867"/>
                    <a:pt x="197834" y="74867"/>
                  </a:cubicBezTo>
                  <a:cubicBezTo>
                    <a:pt x="180975" y="74867"/>
                    <a:pt x="165640" y="78010"/>
                    <a:pt x="151829" y="84392"/>
                  </a:cubicBezTo>
                  <a:cubicBezTo>
                    <a:pt x="138017" y="90773"/>
                    <a:pt x="126206" y="99250"/>
                    <a:pt x="116396" y="109823"/>
                  </a:cubicBezTo>
                  <a:cubicBezTo>
                    <a:pt x="106585" y="120396"/>
                    <a:pt x="99060" y="133064"/>
                    <a:pt x="93916" y="147638"/>
                  </a:cubicBezTo>
                  <a:cubicBezTo>
                    <a:pt x="88773" y="162211"/>
                    <a:pt x="86201" y="177546"/>
                    <a:pt x="86201" y="193548"/>
                  </a:cubicBezTo>
                  <a:lnTo>
                    <a:pt x="86201" y="194977"/>
                  </a:lnTo>
                  <a:cubicBezTo>
                    <a:pt x="86201" y="211455"/>
                    <a:pt x="89059" y="226886"/>
                    <a:pt x="94583" y="241268"/>
                  </a:cubicBezTo>
                  <a:cubicBezTo>
                    <a:pt x="100203" y="255651"/>
                    <a:pt x="108014" y="268319"/>
                    <a:pt x="118110" y="279463"/>
                  </a:cubicBezTo>
                  <a:cubicBezTo>
                    <a:pt x="128207" y="290608"/>
                    <a:pt x="140113" y="299275"/>
                    <a:pt x="153924" y="305562"/>
                  </a:cubicBezTo>
                  <a:cubicBezTo>
                    <a:pt x="167735" y="311944"/>
                    <a:pt x="182785" y="315087"/>
                    <a:pt x="199263" y="315087"/>
                  </a:cubicBezTo>
                  <a:close/>
                </a:path>
              </a:pathLst>
            </a:custGeom>
            <a:solidFill>
              <a:srgbClr val="44505E"/>
            </a:solidFill>
            <a:ln w="9525" cap="flat">
              <a:noFill/>
              <a:prstDash val="solid"/>
              <a:miter/>
            </a:ln>
          </p:spPr>
          <p:txBody>
            <a:bodyPr rtlCol="0" anchor="ctr"/>
            <a:lstStyle/>
            <a:p>
              <a:endParaRPr lang="pt-BR" noProof="0"/>
            </a:p>
          </p:txBody>
        </p:sp>
        <p:sp>
          <p:nvSpPr>
            <p:cNvPr id="19" name="Freeform: Shape 31">
              <a:extLst>
                <a:ext uri="{FF2B5EF4-FFF2-40B4-BE49-F238E27FC236}">
                  <a16:creationId xmlns:a16="http://schemas.microsoft.com/office/drawing/2014/main" id="{3E324426-C274-ABD5-E6CD-376F346802C3}"/>
                </a:ext>
              </a:extLst>
            </p:cNvPr>
            <p:cNvSpPr/>
            <p:nvPr/>
          </p:nvSpPr>
          <p:spPr>
            <a:xfrm>
              <a:off x="662071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1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7 w 296894"/>
                <a:gd name="connsiteY23" fmla="*/ 42863 h 386714"/>
                <a:gd name="connsiteX24" fmla="*/ 254318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7 w 296894"/>
                <a:gd name="connsiteY30" fmla="*/ 124587 h 386714"/>
                <a:gd name="connsiteX31" fmla="*/ 122682 w 296894"/>
                <a:gd name="connsiteY31" fmla="*/ 138017 h 386714"/>
                <a:gd name="connsiteX32" fmla="*/ 149543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6" y="348901"/>
                    <a:pt x="0" y="330327"/>
                  </a:cubicBezTo>
                  <a:lnTo>
                    <a:pt x="38195" y="272224"/>
                  </a:lnTo>
                  <a:cubicBezTo>
                    <a:pt x="58484" y="287274"/>
                    <a:pt x="79057" y="298704"/>
                    <a:pt x="100013" y="306514"/>
                  </a:cubicBezTo>
                  <a:cubicBezTo>
                    <a:pt x="120968" y="314325"/>
                    <a:pt x="141161" y="318135"/>
                    <a:pt x="160401" y="318135"/>
                  </a:cubicBezTo>
                  <a:cubicBezTo>
                    <a:pt x="179641" y="318135"/>
                    <a:pt x="192977"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1" y="241078"/>
                    <a:pt x="176498" y="237553"/>
                    <a:pt x="166401"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2" y="40195"/>
                    <a:pt x="56864" y="30385"/>
                  </a:cubicBezTo>
                  <a:cubicBezTo>
                    <a:pt x="68866" y="20479"/>
                    <a:pt x="82962" y="12954"/>
                    <a:pt x="99250" y="7810"/>
                  </a:cubicBezTo>
                  <a:cubicBezTo>
                    <a:pt x="115538" y="2667"/>
                    <a:pt x="132779" y="0"/>
                    <a:pt x="151162" y="0"/>
                  </a:cubicBezTo>
                  <a:cubicBezTo>
                    <a:pt x="174688" y="0"/>
                    <a:pt x="198501" y="3810"/>
                    <a:pt x="222504" y="11430"/>
                  </a:cubicBezTo>
                  <a:cubicBezTo>
                    <a:pt x="246507" y="19050"/>
                    <a:pt x="268414" y="29527"/>
                    <a:pt x="288227" y="42863"/>
                  </a:cubicBezTo>
                  <a:lnTo>
                    <a:pt x="254318"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7" y="124587"/>
                  </a:cubicBezTo>
                  <a:cubicBezTo>
                    <a:pt x="108585" y="129540"/>
                    <a:pt x="114871" y="134017"/>
                    <a:pt x="122682" y="138017"/>
                  </a:cubicBezTo>
                  <a:cubicBezTo>
                    <a:pt x="130493" y="142018"/>
                    <a:pt x="139351" y="145732"/>
                    <a:pt x="149543"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696"/>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noProof="0"/>
            </a:p>
          </p:txBody>
        </p:sp>
        <p:sp>
          <p:nvSpPr>
            <p:cNvPr id="20" name="Freeform: Shape 32">
              <a:extLst>
                <a:ext uri="{FF2B5EF4-FFF2-40B4-BE49-F238E27FC236}">
                  <a16:creationId xmlns:a16="http://schemas.microsoft.com/office/drawing/2014/main" id="{072B0756-2C11-2052-B7EB-B39EA1AD81A9}"/>
                </a:ext>
              </a:extLst>
            </p:cNvPr>
            <p:cNvSpPr/>
            <p:nvPr/>
          </p:nvSpPr>
          <p:spPr>
            <a:xfrm>
              <a:off x="526693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4 w 202977"/>
                <a:gd name="connsiteY17" fmla="*/ 19907 h 239267"/>
                <a:gd name="connsiteX18" fmla="*/ 59246 w 202977"/>
                <a:gd name="connsiteY18" fmla="*/ 5429 h 239267"/>
                <a:gd name="connsiteX19" fmla="*/ 104299 w 202977"/>
                <a:gd name="connsiteY19" fmla="*/ 0 h 239267"/>
                <a:gd name="connsiteX20" fmla="*/ 178880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5 w 202977"/>
                <a:gd name="connsiteY27" fmla="*/ 211169 h 239267"/>
                <a:gd name="connsiteX28" fmla="*/ 122968 w 202977"/>
                <a:gd name="connsiteY28" fmla="*/ 206788 h 239267"/>
                <a:gd name="connsiteX29" fmla="*/ 147257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9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9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3" y="99155"/>
                    <a:pt x="58674" y="95917"/>
                  </a:cubicBezTo>
                  <a:cubicBezTo>
                    <a:pt x="70771" y="92678"/>
                    <a:pt x="84011" y="90964"/>
                    <a:pt x="98584" y="90964"/>
                  </a:cubicBezTo>
                  <a:cubicBezTo>
                    <a:pt x="113157" y="90964"/>
                    <a:pt x="126301" y="91821"/>
                    <a:pt x="137160" y="93631"/>
                  </a:cubicBezTo>
                  <a:cubicBezTo>
                    <a:pt x="148019" y="95440"/>
                    <a:pt x="158687" y="97822"/>
                    <a:pt x="169069" y="100774"/>
                  </a:cubicBezTo>
                  <a:lnTo>
                    <a:pt x="169069" y="93726"/>
                  </a:lnTo>
                  <a:cubicBezTo>
                    <a:pt x="169069" y="73342"/>
                    <a:pt x="163068" y="57912"/>
                    <a:pt x="151162" y="47339"/>
                  </a:cubicBezTo>
                  <a:cubicBezTo>
                    <a:pt x="139256" y="36862"/>
                    <a:pt x="122492" y="31623"/>
                    <a:pt x="100679" y="31623"/>
                  </a:cubicBezTo>
                  <a:cubicBezTo>
                    <a:pt x="86963" y="31623"/>
                    <a:pt x="74581" y="33147"/>
                    <a:pt x="63437" y="36100"/>
                  </a:cubicBezTo>
                  <a:cubicBezTo>
                    <a:pt x="52292" y="39053"/>
                    <a:pt x="41339" y="43053"/>
                    <a:pt x="30671" y="48196"/>
                  </a:cubicBezTo>
                  <a:lnTo>
                    <a:pt x="20384" y="19907"/>
                  </a:lnTo>
                  <a:cubicBezTo>
                    <a:pt x="33147" y="13906"/>
                    <a:pt x="46101" y="9049"/>
                    <a:pt x="59246" y="5429"/>
                  </a:cubicBezTo>
                  <a:cubicBezTo>
                    <a:pt x="72295" y="1810"/>
                    <a:pt x="87344" y="0"/>
                    <a:pt x="104299" y="0"/>
                  </a:cubicBezTo>
                  <a:cubicBezTo>
                    <a:pt x="137065" y="0"/>
                    <a:pt x="161925" y="8477"/>
                    <a:pt x="178880"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99" y="239173"/>
                    <a:pt x="86011" y="239173"/>
                  </a:cubicBezTo>
                  <a:close/>
                  <a:moveTo>
                    <a:pt x="93155" y="211169"/>
                  </a:moveTo>
                  <a:cubicBezTo>
                    <a:pt x="103823" y="211169"/>
                    <a:pt x="113728" y="209740"/>
                    <a:pt x="122968" y="206788"/>
                  </a:cubicBezTo>
                  <a:cubicBezTo>
                    <a:pt x="132207" y="203835"/>
                    <a:pt x="140208" y="199644"/>
                    <a:pt x="147257"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9" y="121444"/>
                  </a:cubicBezTo>
                  <a:cubicBezTo>
                    <a:pt x="129445" y="119348"/>
                    <a:pt x="116776"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244" y="190500"/>
                    <a:pt x="47435" y="195358"/>
                    <a:pt x="52769" y="199263"/>
                  </a:cubicBezTo>
                  <a:cubicBezTo>
                    <a:pt x="58103" y="203073"/>
                    <a:pt x="64294" y="206026"/>
                    <a:pt x="71247" y="208121"/>
                  </a:cubicBezTo>
                  <a:cubicBezTo>
                    <a:pt x="78200" y="210217"/>
                    <a:pt x="85535"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21" name="Freeform: Shape 33">
              <a:extLst>
                <a:ext uri="{FF2B5EF4-FFF2-40B4-BE49-F238E27FC236}">
                  <a16:creationId xmlns:a16="http://schemas.microsoft.com/office/drawing/2014/main" id="{AF89A582-B4D2-CAE6-969C-4470D487F6B2}"/>
                </a:ext>
              </a:extLst>
            </p:cNvPr>
            <p:cNvSpPr/>
            <p:nvPr/>
          </p:nvSpPr>
          <p:spPr>
            <a:xfrm>
              <a:off x="5331227"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9" y="303276"/>
                    <a:pt x="71438" y="300895"/>
                  </a:cubicBezTo>
                  <a:cubicBezTo>
                    <a:pt x="63437"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2"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22" name="Freeform: Shape 34">
              <a:extLst>
                <a:ext uri="{FF2B5EF4-FFF2-40B4-BE49-F238E27FC236}">
                  <a16:creationId xmlns:a16="http://schemas.microsoft.com/office/drawing/2014/main" id="{D349E871-43C1-EED0-A0F1-0B8D77F66E80}"/>
                </a:ext>
              </a:extLst>
            </p:cNvPr>
            <p:cNvSpPr/>
            <p:nvPr/>
          </p:nvSpPr>
          <p:spPr>
            <a:xfrm>
              <a:off x="5381845"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191 w 39242"/>
                <a:gd name="connsiteY5" fmla="*/ 88392 h 319182"/>
                <a:gd name="connsiteX6" fmla="*/ 36576 w 39242"/>
                <a:gd name="connsiteY6" fmla="*/ 88392 h 319182"/>
                <a:gd name="connsiteX7" fmla="*/ 36576 w 39242"/>
                <a:gd name="connsiteY7" fmla="*/ 319183 h 319182"/>
                <a:gd name="connsiteX8" fmla="*/ 2191 w 39242"/>
                <a:gd name="connsiteY8" fmla="*/ 319183 h 319182"/>
                <a:gd name="connsiteX9" fmla="*/ 2191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191" y="88392"/>
                  </a:moveTo>
                  <a:lnTo>
                    <a:pt x="36576" y="88392"/>
                  </a:lnTo>
                  <a:lnTo>
                    <a:pt x="36576" y="319183"/>
                  </a:lnTo>
                  <a:lnTo>
                    <a:pt x="2191" y="319183"/>
                  </a:lnTo>
                  <a:lnTo>
                    <a:pt x="2191" y="88392"/>
                  </a:lnTo>
                  <a:close/>
                </a:path>
              </a:pathLst>
            </a:custGeom>
            <a:solidFill>
              <a:srgbClr val="44505E"/>
            </a:solidFill>
            <a:ln w="9525" cap="flat">
              <a:noFill/>
              <a:prstDash val="solid"/>
              <a:miter/>
            </a:ln>
          </p:spPr>
          <p:txBody>
            <a:bodyPr rtlCol="0" anchor="ctr"/>
            <a:lstStyle/>
            <a:p>
              <a:endParaRPr lang="pt-BR" noProof="0"/>
            </a:p>
          </p:txBody>
        </p:sp>
        <p:sp>
          <p:nvSpPr>
            <p:cNvPr id="23" name="Freeform: Shape 35">
              <a:extLst>
                <a:ext uri="{FF2B5EF4-FFF2-40B4-BE49-F238E27FC236}">
                  <a16:creationId xmlns:a16="http://schemas.microsoft.com/office/drawing/2014/main" id="{656D0826-FA08-121F-DCA5-77304AC4515C}"/>
                </a:ext>
              </a:extLst>
            </p:cNvPr>
            <p:cNvSpPr/>
            <p:nvPr/>
          </p:nvSpPr>
          <p:spPr>
            <a:xfrm>
              <a:off x="5406076"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8" y="303276"/>
                    <a:pt x="71438" y="300895"/>
                  </a:cubicBezTo>
                  <a:cubicBezTo>
                    <a:pt x="63436"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1"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noProof="0"/>
            </a:p>
          </p:txBody>
        </p:sp>
        <p:sp>
          <p:nvSpPr>
            <p:cNvPr id="24" name="Freeform: Shape 36">
              <a:extLst>
                <a:ext uri="{FF2B5EF4-FFF2-40B4-BE49-F238E27FC236}">
                  <a16:creationId xmlns:a16="http://schemas.microsoft.com/office/drawing/2014/main" id="{20F448BA-391E-A875-9DF8-69ACA4D95634}"/>
                </a:ext>
              </a:extLst>
            </p:cNvPr>
            <p:cNvSpPr/>
            <p:nvPr/>
          </p:nvSpPr>
          <p:spPr>
            <a:xfrm>
              <a:off x="5455545" y="925297"/>
              <a:ext cx="50594" cy="59238"/>
            </a:xfrm>
            <a:custGeom>
              <a:avLst/>
              <a:gdLst>
                <a:gd name="connsiteX0" fmla="*/ 88392 w 201263"/>
                <a:gd name="connsiteY0" fmla="*/ 235648 h 235648"/>
                <a:gd name="connsiteX1" fmla="*/ 51149 w 201263"/>
                <a:gd name="connsiteY1" fmla="*/ 228981 h 235648"/>
                <a:gd name="connsiteX2" fmla="*/ 23431 w 201263"/>
                <a:gd name="connsiteY2" fmla="*/ 210026 h 235648"/>
                <a:gd name="connsiteX3" fmla="*/ 6001 w 201263"/>
                <a:gd name="connsiteY3" fmla="*/ 180784 h 235648"/>
                <a:gd name="connsiteX4" fmla="*/ 0 w 201263"/>
                <a:gd name="connsiteY4" fmla="*/ 143256 h 235648"/>
                <a:gd name="connsiteX5" fmla="*/ 0 w 201263"/>
                <a:gd name="connsiteY5" fmla="*/ 0 h 235648"/>
                <a:gd name="connsiteX6" fmla="*/ 34385 w 201263"/>
                <a:gd name="connsiteY6" fmla="*/ 0 h 235648"/>
                <a:gd name="connsiteX7" fmla="*/ 34385 w 201263"/>
                <a:gd name="connsiteY7" fmla="*/ 134493 h 235648"/>
                <a:gd name="connsiteX8" fmla="*/ 50864 w 201263"/>
                <a:gd name="connsiteY8" fmla="*/ 185261 h 235648"/>
                <a:gd name="connsiteX9" fmla="*/ 98203 w 201263"/>
                <a:gd name="connsiteY9" fmla="*/ 203930 h 235648"/>
                <a:gd name="connsiteX10" fmla="*/ 125635 w 201263"/>
                <a:gd name="connsiteY10" fmla="*/ 198787 h 235648"/>
                <a:gd name="connsiteX11" fmla="*/ 147542 w 201263"/>
                <a:gd name="connsiteY11" fmla="*/ 184118 h 235648"/>
                <a:gd name="connsiteX12" fmla="*/ 162020 w 201263"/>
                <a:gd name="connsiteY12" fmla="*/ 161163 h 235648"/>
                <a:gd name="connsiteX13" fmla="*/ 167354 w 201263"/>
                <a:gd name="connsiteY13" fmla="*/ 131826 h 235648"/>
                <a:gd name="connsiteX14" fmla="*/ 167354 w 201263"/>
                <a:gd name="connsiteY14" fmla="*/ 0 h 235648"/>
                <a:gd name="connsiteX15" fmla="*/ 201263 w 201263"/>
                <a:gd name="connsiteY15" fmla="*/ 0 h 235648"/>
                <a:gd name="connsiteX16" fmla="*/ 201263 w 201263"/>
                <a:gd name="connsiteY16" fmla="*/ 230791 h 235648"/>
                <a:gd name="connsiteX17" fmla="*/ 167354 w 201263"/>
                <a:gd name="connsiteY17" fmla="*/ 230791 h 235648"/>
                <a:gd name="connsiteX18" fmla="*/ 167354 w 201263"/>
                <a:gd name="connsiteY18" fmla="*/ 190595 h 235648"/>
                <a:gd name="connsiteX19" fmla="*/ 136969 w 201263"/>
                <a:gd name="connsiteY19" fmla="*/ 222504 h 235648"/>
                <a:gd name="connsiteX20" fmla="*/ 88297 w 201263"/>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263" h="235648">
                  <a:moveTo>
                    <a:pt x="88392" y="235648"/>
                  </a:moveTo>
                  <a:cubicBezTo>
                    <a:pt x="74390" y="235648"/>
                    <a:pt x="62008" y="233363"/>
                    <a:pt x="51149" y="228981"/>
                  </a:cubicBezTo>
                  <a:cubicBezTo>
                    <a:pt x="40291" y="224504"/>
                    <a:pt x="31052" y="218218"/>
                    <a:pt x="23431"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864" y="185261"/>
                  </a:cubicBezTo>
                  <a:cubicBezTo>
                    <a:pt x="61913" y="197739"/>
                    <a:pt x="77629" y="203930"/>
                    <a:pt x="98203" y="203930"/>
                  </a:cubicBezTo>
                  <a:cubicBezTo>
                    <a:pt x="108014" y="203930"/>
                    <a:pt x="117158" y="202216"/>
                    <a:pt x="125635" y="198787"/>
                  </a:cubicBezTo>
                  <a:cubicBezTo>
                    <a:pt x="134112" y="195358"/>
                    <a:pt x="141351" y="190500"/>
                    <a:pt x="147542" y="184118"/>
                  </a:cubicBezTo>
                  <a:cubicBezTo>
                    <a:pt x="153638" y="177736"/>
                    <a:pt x="158496" y="170116"/>
                    <a:pt x="162020" y="161163"/>
                  </a:cubicBezTo>
                  <a:cubicBezTo>
                    <a:pt x="165640" y="152305"/>
                    <a:pt x="167354" y="142494"/>
                    <a:pt x="167354" y="131826"/>
                  </a:cubicBezTo>
                  <a:lnTo>
                    <a:pt x="167354" y="0"/>
                  </a:lnTo>
                  <a:lnTo>
                    <a:pt x="201263" y="0"/>
                  </a:lnTo>
                  <a:lnTo>
                    <a:pt x="201263" y="230791"/>
                  </a:lnTo>
                  <a:lnTo>
                    <a:pt x="167354" y="230791"/>
                  </a:lnTo>
                  <a:lnTo>
                    <a:pt x="167354" y="190595"/>
                  </a:lnTo>
                  <a:cubicBezTo>
                    <a:pt x="159639" y="203073"/>
                    <a:pt x="149447" y="213741"/>
                    <a:pt x="136969" y="222504"/>
                  </a:cubicBezTo>
                  <a:cubicBezTo>
                    <a:pt x="124492" y="231267"/>
                    <a:pt x="108299" y="235648"/>
                    <a:pt x="88297" y="235648"/>
                  </a:cubicBezTo>
                  <a:close/>
                </a:path>
              </a:pathLst>
            </a:custGeom>
            <a:solidFill>
              <a:srgbClr val="44505E"/>
            </a:solidFill>
            <a:ln w="9525" cap="flat">
              <a:noFill/>
              <a:prstDash val="solid"/>
              <a:miter/>
            </a:ln>
          </p:spPr>
          <p:txBody>
            <a:bodyPr rtlCol="0" anchor="ctr"/>
            <a:lstStyle/>
            <a:p>
              <a:endParaRPr lang="pt-BR" noProof="0"/>
            </a:p>
          </p:txBody>
        </p:sp>
        <p:sp>
          <p:nvSpPr>
            <p:cNvPr id="25" name="Freeform: Shape 37">
              <a:extLst>
                <a:ext uri="{FF2B5EF4-FFF2-40B4-BE49-F238E27FC236}">
                  <a16:creationId xmlns:a16="http://schemas.microsoft.com/office/drawing/2014/main" id="{2BC2289F-0DBC-43F1-A1D2-22D8BC667AD5}"/>
                </a:ext>
              </a:extLst>
            </p:cNvPr>
            <p:cNvSpPr/>
            <p:nvPr/>
          </p:nvSpPr>
          <p:spPr>
            <a:xfrm>
              <a:off x="5522205" y="901353"/>
              <a:ext cx="58567" cy="83182"/>
            </a:xfrm>
            <a:custGeom>
              <a:avLst/>
              <a:gdLst>
                <a:gd name="connsiteX0" fmla="*/ 110204 w 232981"/>
                <a:gd name="connsiteY0" fmla="*/ 330898 h 330898"/>
                <a:gd name="connsiteX1" fmla="*/ 69628 w 232981"/>
                <a:gd name="connsiteY1" fmla="*/ 322897 h 330898"/>
                <a:gd name="connsiteX2" fmla="*/ 34385 w 232981"/>
                <a:gd name="connsiteY2" fmla="*/ 299466 h 330898"/>
                <a:gd name="connsiteX3" fmla="*/ 9334 w 232981"/>
                <a:gd name="connsiteY3" fmla="*/ 261938 h 330898"/>
                <a:gd name="connsiteX4" fmla="*/ 0 w 232981"/>
                <a:gd name="connsiteY4" fmla="*/ 211264 h 330898"/>
                <a:gd name="connsiteX5" fmla="*/ 0 w 232981"/>
                <a:gd name="connsiteY5" fmla="*/ 210407 h 330898"/>
                <a:gd name="connsiteX6" fmla="*/ 9334 w 232981"/>
                <a:gd name="connsiteY6" fmla="*/ 159925 h 330898"/>
                <a:gd name="connsiteX7" fmla="*/ 34385 w 232981"/>
                <a:gd name="connsiteY7" fmla="*/ 122206 h 330898"/>
                <a:gd name="connsiteX8" fmla="*/ 69628 w 232981"/>
                <a:gd name="connsiteY8" fmla="*/ 98488 h 330898"/>
                <a:gd name="connsiteX9" fmla="*/ 110204 w 232981"/>
                <a:gd name="connsiteY9" fmla="*/ 90202 h 330898"/>
                <a:gd name="connsiteX10" fmla="*/ 139636 w 232981"/>
                <a:gd name="connsiteY10" fmla="*/ 94202 h 330898"/>
                <a:gd name="connsiteX11" fmla="*/ 163735 w 232981"/>
                <a:gd name="connsiteY11" fmla="*/ 104870 h 330898"/>
                <a:gd name="connsiteX12" fmla="*/ 183166 w 232981"/>
                <a:gd name="connsiteY12" fmla="*/ 120491 h 330898"/>
                <a:gd name="connsiteX13" fmla="*/ 198596 w 232981"/>
                <a:gd name="connsiteY13" fmla="*/ 139255 h 330898"/>
                <a:gd name="connsiteX14" fmla="*/ 198596 w 232981"/>
                <a:gd name="connsiteY14" fmla="*/ 0 h 330898"/>
                <a:gd name="connsiteX15" fmla="*/ 232981 w 232981"/>
                <a:gd name="connsiteY15" fmla="*/ 0 h 330898"/>
                <a:gd name="connsiteX16" fmla="*/ 232981 w 232981"/>
                <a:gd name="connsiteY16" fmla="*/ 325850 h 330898"/>
                <a:gd name="connsiteX17" fmla="*/ 198596 w 232981"/>
                <a:gd name="connsiteY17" fmla="*/ 325850 h 330898"/>
                <a:gd name="connsiteX18" fmla="*/ 198596 w 232981"/>
                <a:gd name="connsiteY18" fmla="*/ 279463 h 330898"/>
                <a:gd name="connsiteX19" fmla="*/ 182785 w 232981"/>
                <a:gd name="connsiteY19" fmla="*/ 299085 h 330898"/>
                <a:gd name="connsiteX20" fmla="*/ 163354 w 232981"/>
                <a:gd name="connsiteY20" fmla="*/ 315658 h 330898"/>
                <a:gd name="connsiteX21" fmla="*/ 139446 w 232981"/>
                <a:gd name="connsiteY21" fmla="*/ 326803 h 330898"/>
                <a:gd name="connsiteX22" fmla="*/ 110204 w 232981"/>
                <a:gd name="connsiteY22" fmla="*/ 330803 h 330898"/>
                <a:gd name="connsiteX23" fmla="*/ 116491 w 232981"/>
                <a:gd name="connsiteY23" fmla="*/ 300133 h 330898"/>
                <a:gd name="connsiteX24" fmla="*/ 147542 w 232981"/>
                <a:gd name="connsiteY24" fmla="*/ 293656 h 330898"/>
                <a:gd name="connsiteX25" fmla="*/ 174307 w 232981"/>
                <a:gd name="connsiteY25" fmla="*/ 275368 h 330898"/>
                <a:gd name="connsiteX26" fmla="*/ 193072 w 232981"/>
                <a:gd name="connsiteY26" fmla="*/ 247269 h 330898"/>
                <a:gd name="connsiteX27" fmla="*/ 200025 w 232981"/>
                <a:gd name="connsiteY27" fmla="*/ 210883 h 330898"/>
                <a:gd name="connsiteX28" fmla="*/ 200025 w 232981"/>
                <a:gd name="connsiteY28" fmla="*/ 210026 h 330898"/>
                <a:gd name="connsiteX29" fmla="*/ 193072 w 232981"/>
                <a:gd name="connsiteY29" fmla="*/ 173641 h 330898"/>
                <a:gd name="connsiteX30" fmla="*/ 174307 w 232981"/>
                <a:gd name="connsiteY30" fmla="*/ 145732 h 330898"/>
                <a:gd name="connsiteX31" fmla="*/ 147542 w 232981"/>
                <a:gd name="connsiteY31" fmla="*/ 127635 h 330898"/>
                <a:gd name="connsiteX32" fmla="*/ 116491 w 232981"/>
                <a:gd name="connsiteY32" fmla="*/ 121158 h 330898"/>
                <a:gd name="connsiteX33" fmla="*/ 84772 w 232981"/>
                <a:gd name="connsiteY33" fmla="*/ 127159 h 330898"/>
                <a:gd name="connsiteX34" fmla="*/ 59150 w 232981"/>
                <a:gd name="connsiteY34" fmla="*/ 144589 h 330898"/>
                <a:gd name="connsiteX35" fmla="*/ 41719 w 232981"/>
                <a:gd name="connsiteY35" fmla="*/ 172498 h 330898"/>
                <a:gd name="connsiteX36" fmla="*/ 35242 w 232981"/>
                <a:gd name="connsiteY36" fmla="*/ 210026 h 330898"/>
                <a:gd name="connsiteX37" fmla="*/ 35242 w 232981"/>
                <a:gd name="connsiteY37" fmla="*/ 210883 h 330898"/>
                <a:gd name="connsiteX38" fmla="*/ 41719 w 232981"/>
                <a:gd name="connsiteY38" fmla="*/ 247936 h 330898"/>
                <a:gd name="connsiteX39" fmla="*/ 59341 w 232981"/>
                <a:gd name="connsiteY39" fmla="*/ 276034 h 330898"/>
                <a:gd name="connsiteX40" fmla="*/ 85249 w 232981"/>
                <a:gd name="connsiteY40" fmla="*/ 293941 h 330898"/>
                <a:gd name="connsiteX41" fmla="*/ 116491 w 23298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30898">
                  <a:moveTo>
                    <a:pt x="110204" y="330898"/>
                  </a:moveTo>
                  <a:cubicBezTo>
                    <a:pt x="96202" y="330898"/>
                    <a:pt x="82677" y="328231"/>
                    <a:pt x="69628" y="322897"/>
                  </a:cubicBezTo>
                  <a:cubicBezTo>
                    <a:pt x="56578" y="317563"/>
                    <a:pt x="44767" y="309753"/>
                    <a:pt x="34385" y="299466"/>
                  </a:cubicBezTo>
                  <a:cubicBezTo>
                    <a:pt x="24003" y="289179"/>
                    <a:pt x="15621" y="276701"/>
                    <a:pt x="9334" y="261938"/>
                  </a:cubicBezTo>
                  <a:cubicBezTo>
                    <a:pt x="3048" y="247174"/>
                    <a:pt x="0" y="230314"/>
                    <a:pt x="0" y="211264"/>
                  </a:cubicBezTo>
                  <a:lnTo>
                    <a:pt x="0" y="210407"/>
                  </a:lnTo>
                  <a:cubicBezTo>
                    <a:pt x="0" y="191643"/>
                    <a:pt x="3143" y="174879"/>
                    <a:pt x="9334" y="159925"/>
                  </a:cubicBezTo>
                  <a:cubicBezTo>
                    <a:pt x="15621" y="145066"/>
                    <a:pt x="23908" y="132493"/>
                    <a:pt x="34385" y="122206"/>
                  </a:cubicBezTo>
                  <a:cubicBezTo>
                    <a:pt x="44767" y="111919"/>
                    <a:pt x="56578" y="104013"/>
                    <a:pt x="69628" y="98488"/>
                  </a:cubicBezTo>
                  <a:cubicBezTo>
                    <a:pt x="82677" y="92964"/>
                    <a:pt x="96298" y="90202"/>
                    <a:pt x="110204" y="90202"/>
                  </a:cubicBezTo>
                  <a:cubicBezTo>
                    <a:pt x="120967" y="90202"/>
                    <a:pt x="130778" y="91535"/>
                    <a:pt x="139636" y="94202"/>
                  </a:cubicBezTo>
                  <a:cubicBezTo>
                    <a:pt x="148590" y="96869"/>
                    <a:pt x="156591" y="100489"/>
                    <a:pt x="163735" y="104870"/>
                  </a:cubicBezTo>
                  <a:cubicBezTo>
                    <a:pt x="170878" y="109347"/>
                    <a:pt x="177356" y="114586"/>
                    <a:pt x="183166" y="120491"/>
                  </a:cubicBezTo>
                  <a:cubicBezTo>
                    <a:pt x="188976" y="126492"/>
                    <a:pt x="194119" y="132683"/>
                    <a:pt x="198596" y="139255"/>
                  </a:cubicBezTo>
                  <a:lnTo>
                    <a:pt x="198596" y="0"/>
                  </a:lnTo>
                  <a:lnTo>
                    <a:pt x="232981" y="0"/>
                  </a:lnTo>
                  <a:lnTo>
                    <a:pt x="232981" y="325850"/>
                  </a:lnTo>
                  <a:lnTo>
                    <a:pt x="198596" y="325850"/>
                  </a:lnTo>
                  <a:lnTo>
                    <a:pt x="198596" y="279463"/>
                  </a:lnTo>
                  <a:cubicBezTo>
                    <a:pt x="193834" y="286321"/>
                    <a:pt x="188595" y="292894"/>
                    <a:pt x="182785" y="299085"/>
                  </a:cubicBezTo>
                  <a:cubicBezTo>
                    <a:pt x="176974" y="305371"/>
                    <a:pt x="170498" y="310896"/>
                    <a:pt x="163354" y="315658"/>
                  </a:cubicBezTo>
                  <a:cubicBezTo>
                    <a:pt x="156210" y="320421"/>
                    <a:pt x="148209" y="324136"/>
                    <a:pt x="139446" y="326803"/>
                  </a:cubicBezTo>
                  <a:cubicBezTo>
                    <a:pt x="130683" y="329470"/>
                    <a:pt x="120967" y="330803"/>
                    <a:pt x="110204" y="330803"/>
                  </a:cubicBezTo>
                  <a:close/>
                  <a:moveTo>
                    <a:pt x="116491" y="300133"/>
                  </a:moveTo>
                  <a:cubicBezTo>
                    <a:pt x="127159" y="300133"/>
                    <a:pt x="137541" y="297942"/>
                    <a:pt x="147542" y="293656"/>
                  </a:cubicBezTo>
                  <a:cubicBezTo>
                    <a:pt x="157544" y="289369"/>
                    <a:pt x="166402" y="283273"/>
                    <a:pt x="174307" y="275368"/>
                  </a:cubicBezTo>
                  <a:cubicBezTo>
                    <a:pt x="182213" y="267462"/>
                    <a:pt x="188404" y="258127"/>
                    <a:pt x="193072" y="247269"/>
                  </a:cubicBezTo>
                  <a:cubicBezTo>
                    <a:pt x="197644" y="236410"/>
                    <a:pt x="200025" y="224314"/>
                    <a:pt x="200025" y="210883"/>
                  </a:cubicBezTo>
                  <a:lnTo>
                    <a:pt x="200025" y="210026"/>
                  </a:lnTo>
                  <a:cubicBezTo>
                    <a:pt x="200025" y="196596"/>
                    <a:pt x="197739" y="184499"/>
                    <a:pt x="193072" y="173641"/>
                  </a:cubicBezTo>
                  <a:cubicBezTo>
                    <a:pt x="188500" y="162782"/>
                    <a:pt x="182213" y="153448"/>
                    <a:pt x="174307" y="145732"/>
                  </a:cubicBezTo>
                  <a:cubicBezTo>
                    <a:pt x="166402" y="138017"/>
                    <a:pt x="157448" y="132016"/>
                    <a:pt x="147542" y="127635"/>
                  </a:cubicBezTo>
                  <a:cubicBezTo>
                    <a:pt x="137541" y="123349"/>
                    <a:pt x="127254" y="121158"/>
                    <a:pt x="116491" y="121158"/>
                  </a:cubicBezTo>
                  <a:cubicBezTo>
                    <a:pt x="105156" y="121158"/>
                    <a:pt x="94583" y="123158"/>
                    <a:pt x="84772" y="127159"/>
                  </a:cubicBezTo>
                  <a:cubicBezTo>
                    <a:pt x="74962" y="131159"/>
                    <a:pt x="66389" y="136969"/>
                    <a:pt x="59150" y="144589"/>
                  </a:cubicBezTo>
                  <a:cubicBezTo>
                    <a:pt x="51816" y="152114"/>
                    <a:pt x="46101" y="161449"/>
                    <a:pt x="41719" y="172498"/>
                  </a:cubicBezTo>
                  <a:cubicBezTo>
                    <a:pt x="37433" y="183451"/>
                    <a:pt x="35242" y="196024"/>
                    <a:pt x="35242" y="210026"/>
                  </a:cubicBezTo>
                  <a:lnTo>
                    <a:pt x="35242" y="210883"/>
                  </a:lnTo>
                  <a:cubicBezTo>
                    <a:pt x="35242" y="224599"/>
                    <a:pt x="37433" y="236982"/>
                    <a:pt x="41719" y="247936"/>
                  </a:cubicBezTo>
                  <a:cubicBezTo>
                    <a:pt x="46006" y="258984"/>
                    <a:pt x="51911" y="268319"/>
                    <a:pt x="59341" y="276034"/>
                  </a:cubicBezTo>
                  <a:cubicBezTo>
                    <a:pt x="66770" y="283750"/>
                    <a:pt x="75438" y="289750"/>
                    <a:pt x="85249" y="293941"/>
                  </a:cubicBezTo>
                  <a:cubicBezTo>
                    <a:pt x="95059" y="298132"/>
                    <a:pt x="105442" y="300228"/>
                    <a:pt x="116491" y="300228"/>
                  </a:cubicBezTo>
                  <a:close/>
                </a:path>
              </a:pathLst>
            </a:custGeom>
            <a:solidFill>
              <a:srgbClr val="44505E"/>
            </a:solidFill>
            <a:ln w="9525" cap="flat">
              <a:noFill/>
              <a:prstDash val="solid"/>
              <a:miter/>
            </a:ln>
          </p:spPr>
          <p:txBody>
            <a:bodyPr rtlCol="0" anchor="ctr"/>
            <a:lstStyle/>
            <a:p>
              <a:endParaRPr lang="pt-BR" noProof="0"/>
            </a:p>
          </p:txBody>
        </p:sp>
        <p:sp>
          <p:nvSpPr>
            <p:cNvPr id="26" name="Freeform: Shape 38">
              <a:extLst>
                <a:ext uri="{FF2B5EF4-FFF2-40B4-BE49-F238E27FC236}">
                  <a16:creationId xmlns:a16="http://schemas.microsoft.com/office/drawing/2014/main" id="{5874B245-42CB-9883-9C3E-BEDA63DA6F26}"/>
                </a:ext>
              </a:extLst>
            </p:cNvPr>
            <p:cNvSpPr/>
            <p:nvPr/>
          </p:nvSpPr>
          <p:spPr>
            <a:xfrm>
              <a:off x="5596504"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6963 w 218217"/>
                <a:gd name="connsiteY3" fmla="*/ 206026 h 241077"/>
                <a:gd name="connsiteX4" fmla="*/ 116015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8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1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452 w 218217"/>
                <a:gd name="connsiteY25" fmla="*/ 106299 h 241077"/>
                <a:gd name="connsiteX26" fmla="*/ 176784 w 218217"/>
                <a:gd name="connsiteY26" fmla="*/ 76771 h 241077"/>
                <a:gd name="connsiteX27" fmla="*/ 162306 w 218217"/>
                <a:gd name="connsiteY27" fmla="*/ 52101 h 241077"/>
                <a:gd name="connsiteX28" fmla="*/ 140018 w 218217"/>
                <a:gd name="connsiteY28" fmla="*/ 35242 h 241077"/>
                <a:gd name="connsiteX29" fmla="*/ 109919 w 218217"/>
                <a:gd name="connsiteY29" fmla="*/ 29051 h 241077"/>
                <a:gd name="connsiteX30" fmla="*/ 82201 w 218217"/>
                <a:gd name="connsiteY30" fmla="*/ 34766 h 241077"/>
                <a:gd name="connsiteX31" fmla="*/ 59436 w 218217"/>
                <a:gd name="connsiteY31" fmla="*/ 50959 h 241077"/>
                <a:gd name="connsiteX32" fmla="*/ 43148 w 218217"/>
                <a:gd name="connsiteY32" fmla="*/ 75628 h 241077"/>
                <a:gd name="connsiteX33" fmla="*/ 34862 w 218217"/>
                <a:gd name="connsiteY33" fmla="*/ 106204 h 241077"/>
                <a:gd name="connsiteX34" fmla="*/ 183547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724" y="202597"/>
                    <a:pt x="86963" y="206026"/>
                  </a:cubicBezTo>
                  <a:cubicBezTo>
                    <a:pt x="96203" y="209455"/>
                    <a:pt x="105823" y="211169"/>
                    <a:pt x="116015" y="211169"/>
                  </a:cubicBezTo>
                  <a:cubicBezTo>
                    <a:pt x="132112" y="211169"/>
                    <a:pt x="145828" y="208216"/>
                    <a:pt x="157353" y="202216"/>
                  </a:cubicBezTo>
                  <a:cubicBezTo>
                    <a:pt x="168783" y="196310"/>
                    <a:pt x="179261" y="188404"/>
                    <a:pt x="188786" y="178594"/>
                  </a:cubicBezTo>
                  <a:lnTo>
                    <a:pt x="210217" y="197834"/>
                  </a:lnTo>
                  <a:cubicBezTo>
                    <a:pt x="198596" y="210979"/>
                    <a:pt x="185357" y="221361"/>
                    <a:pt x="170498" y="229267"/>
                  </a:cubicBezTo>
                  <a:cubicBezTo>
                    <a:pt x="155639"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679" y="0"/>
                    <a:pt x="110681"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452" y="106299"/>
                  </a:moveTo>
                  <a:cubicBezTo>
                    <a:pt x="182594" y="95917"/>
                    <a:pt x="180308" y="86106"/>
                    <a:pt x="176784" y="76771"/>
                  </a:cubicBezTo>
                  <a:cubicBezTo>
                    <a:pt x="173165" y="67437"/>
                    <a:pt x="168402" y="59245"/>
                    <a:pt x="162306" y="52101"/>
                  </a:cubicBezTo>
                  <a:cubicBezTo>
                    <a:pt x="156210" y="44958"/>
                    <a:pt x="148781" y="39338"/>
                    <a:pt x="140018" y="35242"/>
                  </a:cubicBezTo>
                  <a:cubicBezTo>
                    <a:pt x="131254" y="31147"/>
                    <a:pt x="121158" y="29051"/>
                    <a:pt x="109919" y="29051"/>
                  </a:cubicBezTo>
                  <a:cubicBezTo>
                    <a:pt x="100108" y="29051"/>
                    <a:pt x="90869" y="30956"/>
                    <a:pt x="82201" y="34766"/>
                  </a:cubicBezTo>
                  <a:cubicBezTo>
                    <a:pt x="73533" y="38671"/>
                    <a:pt x="66008" y="44005"/>
                    <a:pt x="59436" y="50959"/>
                  </a:cubicBezTo>
                  <a:cubicBezTo>
                    <a:pt x="52864" y="57912"/>
                    <a:pt x="47435" y="66103"/>
                    <a:pt x="43148" y="75628"/>
                  </a:cubicBezTo>
                  <a:cubicBezTo>
                    <a:pt x="38862" y="85058"/>
                    <a:pt x="36100" y="95345"/>
                    <a:pt x="34862" y="106204"/>
                  </a:cubicBezTo>
                  <a:lnTo>
                    <a:pt x="183547" y="106204"/>
                  </a:lnTo>
                  <a:close/>
                </a:path>
              </a:pathLst>
            </a:custGeom>
            <a:solidFill>
              <a:srgbClr val="44505E"/>
            </a:solidFill>
            <a:ln w="9525" cap="flat">
              <a:noFill/>
              <a:prstDash val="solid"/>
              <a:miter/>
            </a:ln>
          </p:spPr>
          <p:txBody>
            <a:bodyPr rtlCol="0" anchor="ctr"/>
            <a:lstStyle/>
            <a:p>
              <a:endParaRPr lang="pt-BR" noProof="0"/>
            </a:p>
          </p:txBody>
        </p:sp>
        <p:sp>
          <p:nvSpPr>
            <p:cNvPr id="27" name="Freeform: Shape 39">
              <a:extLst>
                <a:ext uri="{FF2B5EF4-FFF2-40B4-BE49-F238E27FC236}">
                  <a16:creationId xmlns:a16="http://schemas.microsoft.com/office/drawing/2014/main" id="{124F51F0-A6BC-A7A0-213F-B25BBDDD8D89}"/>
                </a:ext>
              </a:extLst>
            </p:cNvPr>
            <p:cNvSpPr/>
            <p:nvPr/>
          </p:nvSpPr>
          <p:spPr>
            <a:xfrm>
              <a:off x="5661680" y="924268"/>
              <a:ext cx="44656" cy="60195"/>
            </a:xfrm>
            <a:custGeom>
              <a:avLst/>
              <a:gdLst>
                <a:gd name="connsiteX0" fmla="*/ 95536 w 177641"/>
                <a:gd name="connsiteY0" fmla="*/ 239268 h 239458"/>
                <a:gd name="connsiteX1" fmla="*/ 45053 w 177641"/>
                <a:gd name="connsiteY1" fmla="*/ 230124 h 239458"/>
                <a:gd name="connsiteX2" fmla="*/ 0 w 177641"/>
                <a:gd name="connsiteY2" fmla="*/ 205359 h 239458"/>
                <a:gd name="connsiteX3" fmla="*/ 17431 w 177641"/>
                <a:gd name="connsiteY3" fmla="*/ 180785 h 239458"/>
                <a:gd name="connsiteX4" fmla="*/ 56483 w 177641"/>
                <a:gd name="connsiteY4" fmla="*/ 202692 h 239458"/>
                <a:gd name="connsiteX5" fmla="*/ 97346 w 177641"/>
                <a:gd name="connsiteY5" fmla="*/ 210217 h 239458"/>
                <a:gd name="connsiteX6" fmla="*/ 131731 w 177641"/>
                <a:gd name="connsiteY6" fmla="*/ 200406 h 239458"/>
                <a:gd name="connsiteX7" fmla="*/ 145161 w 177641"/>
                <a:gd name="connsiteY7" fmla="*/ 173641 h 239458"/>
                <a:gd name="connsiteX8" fmla="*/ 145161 w 177641"/>
                <a:gd name="connsiteY8" fmla="*/ 172784 h 239458"/>
                <a:gd name="connsiteX9" fmla="*/ 140494 w 177641"/>
                <a:gd name="connsiteY9" fmla="*/ 158020 h 239458"/>
                <a:gd name="connsiteX10" fmla="*/ 127730 w 177641"/>
                <a:gd name="connsiteY10" fmla="*/ 147066 h 239458"/>
                <a:gd name="connsiteX11" fmla="*/ 109157 w 177641"/>
                <a:gd name="connsiteY11" fmla="*/ 138779 h 239458"/>
                <a:gd name="connsiteX12" fmla="*/ 87535 w 177641"/>
                <a:gd name="connsiteY12" fmla="*/ 132112 h 239458"/>
                <a:gd name="connsiteX13" fmla="*/ 60484 w 177641"/>
                <a:gd name="connsiteY13" fmla="*/ 123444 h 239458"/>
                <a:gd name="connsiteX14" fmla="*/ 35909 w 177641"/>
                <a:gd name="connsiteY14" fmla="*/ 111633 h 239458"/>
                <a:gd name="connsiteX15" fmla="*/ 18098 w 177641"/>
                <a:gd name="connsiteY15" fmla="*/ 93726 h 239458"/>
                <a:gd name="connsiteX16" fmla="*/ 11144 w 177641"/>
                <a:gd name="connsiteY16" fmla="*/ 66961 h 239458"/>
                <a:gd name="connsiteX17" fmla="*/ 11144 w 177641"/>
                <a:gd name="connsiteY17" fmla="*/ 66008 h 239458"/>
                <a:gd name="connsiteX18" fmla="*/ 16954 w 177641"/>
                <a:gd name="connsiteY18" fmla="*/ 39053 h 239458"/>
                <a:gd name="connsiteX19" fmla="*/ 33242 w 177641"/>
                <a:gd name="connsiteY19" fmla="*/ 18098 h 239458"/>
                <a:gd name="connsiteX20" fmla="*/ 58293 w 177641"/>
                <a:gd name="connsiteY20" fmla="*/ 4667 h 239458"/>
                <a:gd name="connsiteX21" fmla="*/ 89725 w 177641"/>
                <a:gd name="connsiteY21" fmla="*/ 0 h 239458"/>
                <a:gd name="connsiteX22" fmla="*/ 133064 w 177641"/>
                <a:gd name="connsiteY22" fmla="*/ 6953 h 239458"/>
                <a:gd name="connsiteX23" fmla="*/ 172784 w 177641"/>
                <a:gd name="connsiteY23" fmla="*/ 25527 h 239458"/>
                <a:gd name="connsiteX24" fmla="*/ 157163 w 177641"/>
                <a:gd name="connsiteY24" fmla="*/ 51435 h 239458"/>
                <a:gd name="connsiteX25" fmla="*/ 123444 w 177641"/>
                <a:gd name="connsiteY25" fmla="*/ 35147 h 239458"/>
                <a:gd name="connsiteX26" fmla="*/ 88868 w 177641"/>
                <a:gd name="connsiteY26" fmla="*/ 29146 h 239458"/>
                <a:gd name="connsiteX27" fmla="*/ 56293 w 177641"/>
                <a:gd name="connsiteY27" fmla="*/ 38767 h 239458"/>
                <a:gd name="connsiteX28" fmla="*/ 44196 w 177641"/>
                <a:gd name="connsiteY28" fmla="*/ 62675 h 239458"/>
                <a:gd name="connsiteX29" fmla="*/ 44196 w 177641"/>
                <a:gd name="connsiteY29" fmla="*/ 63627 h 239458"/>
                <a:gd name="connsiteX30" fmla="*/ 49149 w 177641"/>
                <a:gd name="connsiteY30" fmla="*/ 77724 h 239458"/>
                <a:gd name="connsiteX31" fmla="*/ 62294 w 177641"/>
                <a:gd name="connsiteY31" fmla="*/ 88202 h 239458"/>
                <a:gd name="connsiteX32" fmla="*/ 81248 w 177641"/>
                <a:gd name="connsiteY32" fmla="*/ 96203 h 239458"/>
                <a:gd name="connsiteX33" fmla="*/ 103537 w 177641"/>
                <a:gd name="connsiteY33" fmla="*/ 103346 h 239458"/>
                <a:gd name="connsiteX34" fmla="*/ 130112 w 177641"/>
                <a:gd name="connsiteY34" fmla="*/ 112300 h 239458"/>
                <a:gd name="connsiteX35" fmla="*/ 154019 w 177641"/>
                <a:gd name="connsiteY35" fmla="*/ 124778 h 239458"/>
                <a:gd name="connsiteX36" fmla="*/ 171164 w 177641"/>
                <a:gd name="connsiteY36" fmla="*/ 143066 h 239458"/>
                <a:gd name="connsiteX37" fmla="*/ 177641 w 177641"/>
                <a:gd name="connsiteY37" fmla="*/ 169450 h 239458"/>
                <a:gd name="connsiteX38" fmla="*/ 177641 w 177641"/>
                <a:gd name="connsiteY38" fmla="*/ 170307 h 239458"/>
                <a:gd name="connsiteX39" fmla="*/ 171164 w 177641"/>
                <a:gd name="connsiteY39" fmla="*/ 199549 h 239458"/>
                <a:gd name="connsiteX40" fmla="*/ 153734 w 177641"/>
                <a:gd name="connsiteY40" fmla="*/ 221171 h 239458"/>
                <a:gd name="connsiteX41" fmla="*/ 127825 w 177641"/>
                <a:gd name="connsiteY41" fmla="*/ 234791 h 239458"/>
                <a:gd name="connsiteX42" fmla="*/ 95441 w 177641"/>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641" h="239458">
                  <a:moveTo>
                    <a:pt x="95536" y="239268"/>
                  </a:moveTo>
                  <a:cubicBezTo>
                    <a:pt x="78867" y="239268"/>
                    <a:pt x="62008" y="236220"/>
                    <a:pt x="45053" y="230124"/>
                  </a:cubicBezTo>
                  <a:cubicBezTo>
                    <a:pt x="28099" y="224028"/>
                    <a:pt x="13049" y="215741"/>
                    <a:pt x="0" y="205359"/>
                  </a:cubicBezTo>
                  <a:lnTo>
                    <a:pt x="17431" y="180785"/>
                  </a:lnTo>
                  <a:cubicBezTo>
                    <a:pt x="29908"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542" y="162211"/>
                    <a:pt x="140494" y="158020"/>
                  </a:cubicBezTo>
                  <a:cubicBezTo>
                    <a:pt x="137350" y="153829"/>
                    <a:pt x="133160" y="150209"/>
                    <a:pt x="127730" y="147066"/>
                  </a:cubicBezTo>
                  <a:cubicBezTo>
                    <a:pt x="122396" y="143923"/>
                    <a:pt x="116205" y="141161"/>
                    <a:pt x="109157" y="138779"/>
                  </a:cubicBezTo>
                  <a:cubicBezTo>
                    <a:pt x="102203" y="136398"/>
                    <a:pt x="94964" y="134207"/>
                    <a:pt x="87535" y="132112"/>
                  </a:cubicBezTo>
                  <a:cubicBezTo>
                    <a:pt x="78581" y="129445"/>
                    <a:pt x="69628" y="126492"/>
                    <a:pt x="60484" y="123444"/>
                  </a:cubicBezTo>
                  <a:cubicBezTo>
                    <a:pt x="51435" y="120301"/>
                    <a:pt x="43244" y="116396"/>
                    <a:pt x="35909" y="111633"/>
                  </a:cubicBezTo>
                  <a:cubicBezTo>
                    <a:pt x="28575" y="106871"/>
                    <a:pt x="22670" y="100870"/>
                    <a:pt x="18098" y="93726"/>
                  </a:cubicBezTo>
                  <a:cubicBezTo>
                    <a:pt x="13525" y="86582"/>
                    <a:pt x="11144" y="77629"/>
                    <a:pt x="11144" y="66961"/>
                  </a:cubicBezTo>
                  <a:lnTo>
                    <a:pt x="11144" y="66008"/>
                  </a:lnTo>
                  <a:cubicBezTo>
                    <a:pt x="11144" y="56198"/>
                    <a:pt x="13049" y="47149"/>
                    <a:pt x="16954" y="39053"/>
                  </a:cubicBezTo>
                  <a:cubicBezTo>
                    <a:pt x="20860" y="30861"/>
                    <a:pt x="26289" y="23908"/>
                    <a:pt x="33242" y="18098"/>
                  </a:cubicBezTo>
                  <a:cubicBezTo>
                    <a:pt x="40196" y="12287"/>
                    <a:pt x="48578" y="7811"/>
                    <a:pt x="58293" y="4667"/>
                  </a:cubicBezTo>
                  <a:cubicBezTo>
                    <a:pt x="67913" y="1524"/>
                    <a:pt x="78486" y="0"/>
                    <a:pt x="89725" y="0"/>
                  </a:cubicBezTo>
                  <a:cubicBezTo>
                    <a:pt x="104013" y="0"/>
                    <a:pt x="118396" y="2286"/>
                    <a:pt x="133064" y="6953"/>
                  </a:cubicBezTo>
                  <a:cubicBezTo>
                    <a:pt x="147638" y="11621"/>
                    <a:pt x="160877" y="17717"/>
                    <a:pt x="172784" y="25527"/>
                  </a:cubicBezTo>
                  <a:lnTo>
                    <a:pt x="157163" y="51435"/>
                  </a:lnTo>
                  <a:cubicBezTo>
                    <a:pt x="146399" y="44577"/>
                    <a:pt x="135255" y="39148"/>
                    <a:pt x="123444" y="35147"/>
                  </a:cubicBezTo>
                  <a:cubicBezTo>
                    <a:pt x="111728" y="31147"/>
                    <a:pt x="100203" y="29146"/>
                    <a:pt x="88868" y="29146"/>
                  </a:cubicBezTo>
                  <a:cubicBezTo>
                    <a:pt x="75152" y="29146"/>
                    <a:pt x="64294" y="32385"/>
                    <a:pt x="56293" y="38767"/>
                  </a:cubicBezTo>
                  <a:cubicBezTo>
                    <a:pt x="48292" y="45149"/>
                    <a:pt x="44196" y="53150"/>
                    <a:pt x="44196" y="62675"/>
                  </a:cubicBezTo>
                  <a:lnTo>
                    <a:pt x="44196" y="63627"/>
                  </a:lnTo>
                  <a:cubicBezTo>
                    <a:pt x="44196" y="68961"/>
                    <a:pt x="45815" y="73628"/>
                    <a:pt x="49149" y="77724"/>
                  </a:cubicBezTo>
                  <a:cubicBezTo>
                    <a:pt x="52388" y="81725"/>
                    <a:pt x="56769" y="85249"/>
                    <a:pt x="62294" y="88202"/>
                  </a:cubicBezTo>
                  <a:cubicBezTo>
                    <a:pt x="67818" y="91154"/>
                    <a:pt x="74104" y="93821"/>
                    <a:pt x="81248" y="96203"/>
                  </a:cubicBezTo>
                  <a:cubicBezTo>
                    <a:pt x="88392" y="98584"/>
                    <a:pt x="95821" y="100965"/>
                    <a:pt x="103537" y="103346"/>
                  </a:cubicBezTo>
                  <a:cubicBezTo>
                    <a:pt x="112490" y="106013"/>
                    <a:pt x="121349" y="108966"/>
                    <a:pt x="130112" y="112300"/>
                  </a:cubicBezTo>
                  <a:cubicBezTo>
                    <a:pt x="138875" y="115538"/>
                    <a:pt x="146875" y="119729"/>
                    <a:pt x="154019" y="124778"/>
                  </a:cubicBezTo>
                  <a:cubicBezTo>
                    <a:pt x="161163" y="129826"/>
                    <a:pt x="166878" y="135922"/>
                    <a:pt x="171164" y="143066"/>
                  </a:cubicBezTo>
                  <a:cubicBezTo>
                    <a:pt x="175450" y="150209"/>
                    <a:pt x="177641" y="158972"/>
                    <a:pt x="177641" y="169450"/>
                  </a:cubicBezTo>
                  <a:lnTo>
                    <a:pt x="177641" y="170307"/>
                  </a:lnTo>
                  <a:cubicBezTo>
                    <a:pt x="177641" y="181356"/>
                    <a:pt x="175450" y="191071"/>
                    <a:pt x="171164" y="199549"/>
                  </a:cubicBezTo>
                  <a:cubicBezTo>
                    <a:pt x="166878" y="208026"/>
                    <a:pt x="161068" y="215265"/>
                    <a:pt x="153734" y="221171"/>
                  </a:cubicBezTo>
                  <a:cubicBezTo>
                    <a:pt x="146495" y="227171"/>
                    <a:pt x="137827" y="231648"/>
                    <a:pt x="127825" y="234791"/>
                  </a:cubicBezTo>
                  <a:cubicBezTo>
                    <a:pt x="117824" y="237935"/>
                    <a:pt x="107061" y="239459"/>
                    <a:pt x="95441" y="239459"/>
                  </a:cubicBezTo>
                  <a:close/>
                </a:path>
              </a:pathLst>
            </a:custGeom>
            <a:solidFill>
              <a:srgbClr val="44505E"/>
            </a:solidFill>
            <a:ln w="9525" cap="flat">
              <a:noFill/>
              <a:prstDash val="solid"/>
              <a:miter/>
            </a:ln>
          </p:spPr>
          <p:txBody>
            <a:bodyPr rtlCol="0" anchor="ctr"/>
            <a:lstStyle/>
            <a:p>
              <a:endParaRPr lang="pt-BR" noProof="0"/>
            </a:p>
          </p:txBody>
        </p:sp>
        <p:sp>
          <p:nvSpPr>
            <p:cNvPr id="28" name="Freeform: Shape 40">
              <a:extLst>
                <a:ext uri="{FF2B5EF4-FFF2-40B4-BE49-F238E27FC236}">
                  <a16:creationId xmlns:a16="http://schemas.microsoft.com/office/drawing/2014/main" id="{825AF767-278A-AB86-E195-429B8A174143}"/>
                </a:ext>
              </a:extLst>
            </p:cNvPr>
            <p:cNvSpPr/>
            <p:nvPr/>
          </p:nvSpPr>
          <p:spPr>
            <a:xfrm>
              <a:off x="5752668" y="924028"/>
              <a:ext cx="58567" cy="77196"/>
            </a:xfrm>
            <a:custGeom>
              <a:avLst/>
              <a:gdLst>
                <a:gd name="connsiteX0" fmla="*/ 198596 w 232981"/>
                <a:gd name="connsiteY0" fmla="*/ 189357 h 307085"/>
                <a:gd name="connsiteX1" fmla="*/ 182785 w 232981"/>
                <a:gd name="connsiteY1" fmla="*/ 208978 h 307085"/>
                <a:gd name="connsiteX2" fmla="*/ 163354 w 232981"/>
                <a:gd name="connsiteY2" fmla="*/ 225552 h 307085"/>
                <a:gd name="connsiteX3" fmla="*/ 139446 w 232981"/>
                <a:gd name="connsiteY3" fmla="*/ 236696 h 307085"/>
                <a:gd name="connsiteX4" fmla="*/ 110204 w 232981"/>
                <a:gd name="connsiteY4" fmla="*/ 240697 h 307085"/>
                <a:gd name="connsiteX5" fmla="*/ 69628 w 232981"/>
                <a:gd name="connsiteY5" fmla="*/ 232696 h 307085"/>
                <a:gd name="connsiteX6" fmla="*/ 34385 w 232981"/>
                <a:gd name="connsiteY6" fmla="*/ 209264 h 307085"/>
                <a:gd name="connsiteX7" fmla="*/ 9335 w 232981"/>
                <a:gd name="connsiteY7" fmla="*/ 171736 h 307085"/>
                <a:gd name="connsiteX8" fmla="*/ 0 w 232981"/>
                <a:gd name="connsiteY8" fmla="*/ 121063 h 307085"/>
                <a:gd name="connsiteX9" fmla="*/ 0 w 232981"/>
                <a:gd name="connsiteY9" fmla="*/ 120205 h 307085"/>
                <a:gd name="connsiteX10" fmla="*/ 9335 w 232981"/>
                <a:gd name="connsiteY10" fmla="*/ 69723 h 307085"/>
                <a:gd name="connsiteX11" fmla="*/ 34385 w 232981"/>
                <a:gd name="connsiteY11" fmla="*/ 32004 h 307085"/>
                <a:gd name="connsiteX12" fmla="*/ 69628 w 232981"/>
                <a:gd name="connsiteY12" fmla="*/ 8287 h 307085"/>
                <a:gd name="connsiteX13" fmla="*/ 110204 w 232981"/>
                <a:gd name="connsiteY13" fmla="*/ 0 h 307085"/>
                <a:gd name="connsiteX14" fmla="*/ 139637 w 232981"/>
                <a:gd name="connsiteY14" fmla="*/ 4000 h 307085"/>
                <a:gd name="connsiteX15" fmla="*/ 163735 w 232981"/>
                <a:gd name="connsiteY15" fmla="*/ 14668 h 307085"/>
                <a:gd name="connsiteX16" fmla="*/ 183166 w 232981"/>
                <a:gd name="connsiteY16" fmla="*/ 30289 h 307085"/>
                <a:gd name="connsiteX17" fmla="*/ 198596 w 232981"/>
                <a:gd name="connsiteY17" fmla="*/ 49054 h 307085"/>
                <a:gd name="connsiteX18" fmla="*/ 198596 w 232981"/>
                <a:gd name="connsiteY18" fmla="*/ 4858 h 307085"/>
                <a:gd name="connsiteX19" fmla="*/ 232982 w 232981"/>
                <a:gd name="connsiteY19" fmla="*/ 4858 h 307085"/>
                <a:gd name="connsiteX20" fmla="*/ 232982 w 232981"/>
                <a:gd name="connsiteY20" fmla="*/ 307086 h 307085"/>
                <a:gd name="connsiteX21" fmla="*/ 198596 w 232981"/>
                <a:gd name="connsiteY21" fmla="*/ 307086 h 307085"/>
                <a:gd name="connsiteX22" fmla="*/ 198596 w 232981"/>
                <a:gd name="connsiteY22" fmla="*/ 189262 h 307085"/>
                <a:gd name="connsiteX23" fmla="*/ 116491 w 232981"/>
                <a:gd name="connsiteY23" fmla="*/ 209931 h 307085"/>
                <a:gd name="connsiteX24" fmla="*/ 147542 w 232981"/>
                <a:gd name="connsiteY24" fmla="*/ 203454 h 307085"/>
                <a:gd name="connsiteX25" fmla="*/ 174308 w 232981"/>
                <a:gd name="connsiteY25" fmla="*/ 185166 h 307085"/>
                <a:gd name="connsiteX26" fmla="*/ 193072 w 232981"/>
                <a:gd name="connsiteY26" fmla="*/ 157067 h 307085"/>
                <a:gd name="connsiteX27" fmla="*/ 200025 w 232981"/>
                <a:gd name="connsiteY27" fmla="*/ 120682 h 307085"/>
                <a:gd name="connsiteX28" fmla="*/ 200025 w 232981"/>
                <a:gd name="connsiteY28" fmla="*/ 119824 h 307085"/>
                <a:gd name="connsiteX29" fmla="*/ 193072 w 232981"/>
                <a:gd name="connsiteY29" fmla="*/ 83439 h 307085"/>
                <a:gd name="connsiteX30" fmla="*/ 174308 w 232981"/>
                <a:gd name="connsiteY30" fmla="*/ 55531 h 307085"/>
                <a:gd name="connsiteX31" fmla="*/ 147542 w 232981"/>
                <a:gd name="connsiteY31" fmla="*/ 37433 h 307085"/>
                <a:gd name="connsiteX32" fmla="*/ 116491 w 232981"/>
                <a:gd name="connsiteY32" fmla="*/ 30956 h 307085"/>
                <a:gd name="connsiteX33" fmla="*/ 84773 w 232981"/>
                <a:gd name="connsiteY33" fmla="*/ 36957 h 307085"/>
                <a:gd name="connsiteX34" fmla="*/ 59150 w 232981"/>
                <a:gd name="connsiteY34" fmla="*/ 54388 h 307085"/>
                <a:gd name="connsiteX35" fmla="*/ 41720 w 232981"/>
                <a:gd name="connsiteY35" fmla="*/ 82296 h 307085"/>
                <a:gd name="connsiteX36" fmla="*/ 35242 w 232981"/>
                <a:gd name="connsiteY36" fmla="*/ 119824 h 307085"/>
                <a:gd name="connsiteX37" fmla="*/ 35242 w 232981"/>
                <a:gd name="connsiteY37" fmla="*/ 120682 h 307085"/>
                <a:gd name="connsiteX38" fmla="*/ 41720 w 232981"/>
                <a:gd name="connsiteY38" fmla="*/ 157734 h 307085"/>
                <a:gd name="connsiteX39" fmla="*/ 59341 w 232981"/>
                <a:gd name="connsiteY39" fmla="*/ 185833 h 307085"/>
                <a:gd name="connsiteX40" fmla="*/ 85249 w 232981"/>
                <a:gd name="connsiteY40" fmla="*/ 203740 h 307085"/>
                <a:gd name="connsiteX41" fmla="*/ 116491 w 232981"/>
                <a:gd name="connsiteY41" fmla="*/ 210026 h 30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07085">
                  <a:moveTo>
                    <a:pt x="198596" y="189357"/>
                  </a:moveTo>
                  <a:cubicBezTo>
                    <a:pt x="193834" y="196215"/>
                    <a:pt x="188595" y="202787"/>
                    <a:pt x="182785" y="208978"/>
                  </a:cubicBezTo>
                  <a:cubicBezTo>
                    <a:pt x="176975" y="215265"/>
                    <a:pt x="170498" y="220789"/>
                    <a:pt x="163354" y="225552"/>
                  </a:cubicBezTo>
                  <a:cubicBezTo>
                    <a:pt x="156210" y="230314"/>
                    <a:pt x="148209" y="234029"/>
                    <a:pt x="139446" y="236696"/>
                  </a:cubicBezTo>
                  <a:cubicBezTo>
                    <a:pt x="130683" y="239363"/>
                    <a:pt x="120967" y="240697"/>
                    <a:pt x="110204" y="240697"/>
                  </a:cubicBezTo>
                  <a:cubicBezTo>
                    <a:pt x="96203" y="240697"/>
                    <a:pt x="82677" y="238030"/>
                    <a:pt x="69628" y="232696"/>
                  </a:cubicBezTo>
                  <a:cubicBezTo>
                    <a:pt x="56579" y="227362"/>
                    <a:pt x="44767" y="219551"/>
                    <a:pt x="34385" y="209264"/>
                  </a:cubicBezTo>
                  <a:cubicBezTo>
                    <a:pt x="24003" y="198977"/>
                    <a:pt x="15621" y="186499"/>
                    <a:pt x="9335" y="171736"/>
                  </a:cubicBezTo>
                  <a:cubicBezTo>
                    <a:pt x="3048" y="156972"/>
                    <a:pt x="0" y="140113"/>
                    <a:pt x="0" y="121063"/>
                  </a:cubicBezTo>
                  <a:lnTo>
                    <a:pt x="0" y="120205"/>
                  </a:lnTo>
                  <a:cubicBezTo>
                    <a:pt x="0" y="101441"/>
                    <a:pt x="3143" y="84677"/>
                    <a:pt x="9335" y="69723"/>
                  </a:cubicBezTo>
                  <a:cubicBezTo>
                    <a:pt x="15621" y="54864"/>
                    <a:pt x="23908" y="42291"/>
                    <a:pt x="34385" y="32004"/>
                  </a:cubicBezTo>
                  <a:cubicBezTo>
                    <a:pt x="44767" y="21717"/>
                    <a:pt x="56579" y="13811"/>
                    <a:pt x="69628" y="8287"/>
                  </a:cubicBezTo>
                  <a:cubicBezTo>
                    <a:pt x="82677" y="2762"/>
                    <a:pt x="96298" y="0"/>
                    <a:pt x="110204" y="0"/>
                  </a:cubicBezTo>
                  <a:cubicBezTo>
                    <a:pt x="120967" y="0"/>
                    <a:pt x="130778" y="1333"/>
                    <a:pt x="139637" y="4000"/>
                  </a:cubicBezTo>
                  <a:cubicBezTo>
                    <a:pt x="148590" y="6667"/>
                    <a:pt x="156591" y="10287"/>
                    <a:pt x="163735" y="14668"/>
                  </a:cubicBezTo>
                  <a:cubicBezTo>
                    <a:pt x="170879" y="19145"/>
                    <a:pt x="177356" y="24384"/>
                    <a:pt x="183166" y="30289"/>
                  </a:cubicBezTo>
                  <a:cubicBezTo>
                    <a:pt x="188976" y="36290"/>
                    <a:pt x="194120" y="42481"/>
                    <a:pt x="198596" y="49054"/>
                  </a:cubicBezTo>
                  <a:lnTo>
                    <a:pt x="198596" y="4858"/>
                  </a:lnTo>
                  <a:lnTo>
                    <a:pt x="232982" y="4858"/>
                  </a:lnTo>
                  <a:lnTo>
                    <a:pt x="232982" y="307086"/>
                  </a:lnTo>
                  <a:lnTo>
                    <a:pt x="198596" y="307086"/>
                  </a:lnTo>
                  <a:lnTo>
                    <a:pt x="198596" y="189262"/>
                  </a:lnTo>
                  <a:close/>
                  <a:moveTo>
                    <a:pt x="116491" y="209931"/>
                  </a:moveTo>
                  <a:cubicBezTo>
                    <a:pt x="127159" y="209931"/>
                    <a:pt x="137541" y="207740"/>
                    <a:pt x="147542" y="203454"/>
                  </a:cubicBezTo>
                  <a:cubicBezTo>
                    <a:pt x="157544" y="199168"/>
                    <a:pt x="166402" y="193072"/>
                    <a:pt x="174308" y="185166"/>
                  </a:cubicBezTo>
                  <a:cubicBezTo>
                    <a:pt x="182213" y="177260"/>
                    <a:pt x="188404" y="167926"/>
                    <a:pt x="193072" y="157067"/>
                  </a:cubicBezTo>
                  <a:cubicBezTo>
                    <a:pt x="197739" y="146209"/>
                    <a:pt x="200025" y="134112"/>
                    <a:pt x="200025" y="120682"/>
                  </a:cubicBezTo>
                  <a:lnTo>
                    <a:pt x="200025" y="119824"/>
                  </a:lnTo>
                  <a:cubicBezTo>
                    <a:pt x="200025" y="106394"/>
                    <a:pt x="197739" y="94297"/>
                    <a:pt x="193072" y="83439"/>
                  </a:cubicBezTo>
                  <a:cubicBezTo>
                    <a:pt x="188500" y="72580"/>
                    <a:pt x="182213" y="63246"/>
                    <a:pt x="174308" y="55531"/>
                  </a:cubicBezTo>
                  <a:cubicBezTo>
                    <a:pt x="166402" y="47815"/>
                    <a:pt x="157544" y="41815"/>
                    <a:pt x="147542" y="37433"/>
                  </a:cubicBezTo>
                  <a:cubicBezTo>
                    <a:pt x="137541" y="33147"/>
                    <a:pt x="127254" y="30956"/>
                    <a:pt x="116491" y="30956"/>
                  </a:cubicBezTo>
                  <a:cubicBezTo>
                    <a:pt x="105156" y="30956"/>
                    <a:pt x="94583" y="32956"/>
                    <a:pt x="84773" y="36957"/>
                  </a:cubicBezTo>
                  <a:cubicBezTo>
                    <a:pt x="74962" y="40957"/>
                    <a:pt x="66389" y="46767"/>
                    <a:pt x="59150" y="54388"/>
                  </a:cubicBezTo>
                  <a:cubicBezTo>
                    <a:pt x="51816" y="61913"/>
                    <a:pt x="46101" y="71247"/>
                    <a:pt x="41720" y="82296"/>
                  </a:cubicBezTo>
                  <a:cubicBezTo>
                    <a:pt x="37433" y="93250"/>
                    <a:pt x="35242" y="105823"/>
                    <a:pt x="35242" y="119824"/>
                  </a:cubicBezTo>
                  <a:lnTo>
                    <a:pt x="35242" y="120682"/>
                  </a:lnTo>
                  <a:cubicBezTo>
                    <a:pt x="35242" y="134398"/>
                    <a:pt x="37433" y="146780"/>
                    <a:pt x="41720" y="157734"/>
                  </a:cubicBezTo>
                  <a:cubicBezTo>
                    <a:pt x="46006" y="168783"/>
                    <a:pt x="51911" y="178117"/>
                    <a:pt x="59341" y="185833"/>
                  </a:cubicBezTo>
                  <a:cubicBezTo>
                    <a:pt x="66770" y="193548"/>
                    <a:pt x="75438" y="199549"/>
                    <a:pt x="85249" y="203740"/>
                  </a:cubicBezTo>
                  <a:cubicBezTo>
                    <a:pt x="95060" y="207931"/>
                    <a:pt x="105442" y="210026"/>
                    <a:pt x="116491" y="210026"/>
                  </a:cubicBezTo>
                  <a:close/>
                </a:path>
              </a:pathLst>
            </a:custGeom>
            <a:solidFill>
              <a:srgbClr val="44505E"/>
            </a:solidFill>
            <a:ln w="9525" cap="flat">
              <a:noFill/>
              <a:prstDash val="solid"/>
              <a:miter/>
            </a:ln>
          </p:spPr>
          <p:txBody>
            <a:bodyPr rtlCol="0" anchor="ctr"/>
            <a:lstStyle/>
            <a:p>
              <a:endParaRPr lang="pt-BR" noProof="0"/>
            </a:p>
          </p:txBody>
        </p:sp>
        <p:sp>
          <p:nvSpPr>
            <p:cNvPr id="29" name="Freeform: Shape 41">
              <a:extLst>
                <a:ext uri="{FF2B5EF4-FFF2-40B4-BE49-F238E27FC236}">
                  <a16:creationId xmlns:a16="http://schemas.microsoft.com/office/drawing/2014/main" id="{C6BBD6DB-80B6-DC34-ABAA-806AA1B944A5}"/>
                </a:ext>
              </a:extLst>
            </p:cNvPr>
            <p:cNvSpPr/>
            <p:nvPr/>
          </p:nvSpPr>
          <p:spPr>
            <a:xfrm>
              <a:off x="5829624" y="925297"/>
              <a:ext cx="50618" cy="59238"/>
            </a:xfrm>
            <a:custGeom>
              <a:avLst/>
              <a:gdLst>
                <a:gd name="connsiteX0" fmla="*/ 88392 w 201358"/>
                <a:gd name="connsiteY0" fmla="*/ 235648 h 235648"/>
                <a:gd name="connsiteX1" fmla="*/ 51149 w 201358"/>
                <a:gd name="connsiteY1" fmla="*/ 228981 h 235648"/>
                <a:gd name="connsiteX2" fmla="*/ 23432 w 201358"/>
                <a:gd name="connsiteY2" fmla="*/ 210026 h 235648"/>
                <a:gd name="connsiteX3" fmla="*/ 6001 w 201358"/>
                <a:gd name="connsiteY3" fmla="*/ 180784 h 235648"/>
                <a:gd name="connsiteX4" fmla="*/ 0 w 201358"/>
                <a:gd name="connsiteY4" fmla="*/ 143256 h 235648"/>
                <a:gd name="connsiteX5" fmla="*/ 0 w 201358"/>
                <a:gd name="connsiteY5" fmla="*/ 0 h 235648"/>
                <a:gd name="connsiteX6" fmla="*/ 34385 w 201358"/>
                <a:gd name="connsiteY6" fmla="*/ 0 h 235648"/>
                <a:gd name="connsiteX7" fmla="*/ 34385 w 201358"/>
                <a:gd name="connsiteY7" fmla="*/ 134493 h 235648"/>
                <a:gd name="connsiteX8" fmla="*/ 50959 w 201358"/>
                <a:gd name="connsiteY8" fmla="*/ 185261 h 235648"/>
                <a:gd name="connsiteX9" fmla="*/ 98298 w 201358"/>
                <a:gd name="connsiteY9" fmla="*/ 203930 h 235648"/>
                <a:gd name="connsiteX10" fmla="*/ 125730 w 201358"/>
                <a:gd name="connsiteY10" fmla="*/ 198787 h 235648"/>
                <a:gd name="connsiteX11" fmla="*/ 147638 w 201358"/>
                <a:gd name="connsiteY11" fmla="*/ 184118 h 235648"/>
                <a:gd name="connsiteX12" fmla="*/ 162116 w 201358"/>
                <a:gd name="connsiteY12" fmla="*/ 161163 h 235648"/>
                <a:gd name="connsiteX13" fmla="*/ 167450 w 201358"/>
                <a:gd name="connsiteY13" fmla="*/ 131826 h 235648"/>
                <a:gd name="connsiteX14" fmla="*/ 167450 w 201358"/>
                <a:gd name="connsiteY14" fmla="*/ 0 h 235648"/>
                <a:gd name="connsiteX15" fmla="*/ 201359 w 201358"/>
                <a:gd name="connsiteY15" fmla="*/ 0 h 235648"/>
                <a:gd name="connsiteX16" fmla="*/ 201359 w 201358"/>
                <a:gd name="connsiteY16" fmla="*/ 230791 h 235648"/>
                <a:gd name="connsiteX17" fmla="*/ 167450 w 201358"/>
                <a:gd name="connsiteY17" fmla="*/ 230791 h 235648"/>
                <a:gd name="connsiteX18" fmla="*/ 167450 w 201358"/>
                <a:gd name="connsiteY18" fmla="*/ 190595 h 235648"/>
                <a:gd name="connsiteX19" fmla="*/ 137065 w 201358"/>
                <a:gd name="connsiteY19" fmla="*/ 222504 h 235648"/>
                <a:gd name="connsiteX20" fmla="*/ 88392 w 201358"/>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358" h="235648">
                  <a:moveTo>
                    <a:pt x="88392" y="235648"/>
                  </a:moveTo>
                  <a:cubicBezTo>
                    <a:pt x="74390" y="235648"/>
                    <a:pt x="62008" y="233363"/>
                    <a:pt x="51149" y="228981"/>
                  </a:cubicBezTo>
                  <a:cubicBezTo>
                    <a:pt x="40291" y="224504"/>
                    <a:pt x="31052" y="218218"/>
                    <a:pt x="23432"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959" y="185261"/>
                  </a:cubicBezTo>
                  <a:cubicBezTo>
                    <a:pt x="61913" y="197739"/>
                    <a:pt x="77724" y="203930"/>
                    <a:pt x="98298" y="203930"/>
                  </a:cubicBezTo>
                  <a:cubicBezTo>
                    <a:pt x="108109" y="203930"/>
                    <a:pt x="117253" y="202216"/>
                    <a:pt x="125730" y="198787"/>
                  </a:cubicBezTo>
                  <a:cubicBezTo>
                    <a:pt x="134207" y="195358"/>
                    <a:pt x="141446" y="190500"/>
                    <a:pt x="147638" y="184118"/>
                  </a:cubicBezTo>
                  <a:cubicBezTo>
                    <a:pt x="153734" y="177736"/>
                    <a:pt x="158591" y="170116"/>
                    <a:pt x="162116" y="161163"/>
                  </a:cubicBezTo>
                  <a:cubicBezTo>
                    <a:pt x="165735" y="152305"/>
                    <a:pt x="167450" y="142494"/>
                    <a:pt x="167450" y="131826"/>
                  </a:cubicBezTo>
                  <a:lnTo>
                    <a:pt x="167450" y="0"/>
                  </a:lnTo>
                  <a:lnTo>
                    <a:pt x="201359" y="0"/>
                  </a:lnTo>
                  <a:lnTo>
                    <a:pt x="201359" y="230791"/>
                  </a:lnTo>
                  <a:lnTo>
                    <a:pt x="167450" y="230791"/>
                  </a:lnTo>
                  <a:lnTo>
                    <a:pt x="167450" y="190595"/>
                  </a:lnTo>
                  <a:cubicBezTo>
                    <a:pt x="159734" y="203073"/>
                    <a:pt x="149543" y="213741"/>
                    <a:pt x="137065" y="222504"/>
                  </a:cubicBezTo>
                  <a:cubicBezTo>
                    <a:pt x="124587" y="231267"/>
                    <a:pt x="108395" y="235648"/>
                    <a:pt x="88392" y="235648"/>
                  </a:cubicBezTo>
                  <a:close/>
                </a:path>
              </a:pathLst>
            </a:custGeom>
            <a:solidFill>
              <a:srgbClr val="44505E"/>
            </a:solidFill>
            <a:ln w="9525" cap="flat">
              <a:noFill/>
              <a:prstDash val="solid"/>
              <a:miter/>
            </a:ln>
          </p:spPr>
          <p:txBody>
            <a:bodyPr rtlCol="0" anchor="ctr"/>
            <a:lstStyle/>
            <a:p>
              <a:endParaRPr lang="pt-BR" noProof="0"/>
            </a:p>
          </p:txBody>
        </p:sp>
        <p:sp>
          <p:nvSpPr>
            <p:cNvPr id="30" name="Freeform: Shape 42">
              <a:extLst>
                <a:ext uri="{FF2B5EF4-FFF2-40B4-BE49-F238E27FC236}">
                  <a16:creationId xmlns:a16="http://schemas.microsoft.com/office/drawing/2014/main" id="{3386F353-4C91-1D93-1F2E-89E28EE4901D}"/>
                </a:ext>
              </a:extLst>
            </p:cNvPr>
            <p:cNvSpPr/>
            <p:nvPr/>
          </p:nvSpPr>
          <p:spPr>
            <a:xfrm>
              <a:off x="5896069"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7059 w 218217"/>
                <a:gd name="connsiteY3" fmla="*/ 206026 h 241077"/>
                <a:gd name="connsiteX4" fmla="*/ 116110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7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0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356 w 218217"/>
                <a:gd name="connsiteY25" fmla="*/ 106299 h 241077"/>
                <a:gd name="connsiteX26" fmla="*/ 176689 w 218217"/>
                <a:gd name="connsiteY26" fmla="*/ 76771 h 241077"/>
                <a:gd name="connsiteX27" fmla="*/ 162211 w 218217"/>
                <a:gd name="connsiteY27" fmla="*/ 52101 h 241077"/>
                <a:gd name="connsiteX28" fmla="*/ 139922 w 218217"/>
                <a:gd name="connsiteY28" fmla="*/ 35242 h 241077"/>
                <a:gd name="connsiteX29" fmla="*/ 109823 w 218217"/>
                <a:gd name="connsiteY29" fmla="*/ 29051 h 241077"/>
                <a:gd name="connsiteX30" fmla="*/ 82105 w 218217"/>
                <a:gd name="connsiteY30" fmla="*/ 34766 h 241077"/>
                <a:gd name="connsiteX31" fmla="*/ 59341 w 218217"/>
                <a:gd name="connsiteY31" fmla="*/ 50959 h 241077"/>
                <a:gd name="connsiteX32" fmla="*/ 43053 w 218217"/>
                <a:gd name="connsiteY32" fmla="*/ 75628 h 241077"/>
                <a:gd name="connsiteX33" fmla="*/ 34766 w 218217"/>
                <a:gd name="connsiteY33" fmla="*/ 106204 h 241077"/>
                <a:gd name="connsiteX34" fmla="*/ 183356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819" y="202597"/>
                    <a:pt x="87059" y="206026"/>
                  </a:cubicBezTo>
                  <a:cubicBezTo>
                    <a:pt x="96298" y="209455"/>
                    <a:pt x="105918" y="211169"/>
                    <a:pt x="116110" y="211169"/>
                  </a:cubicBezTo>
                  <a:cubicBezTo>
                    <a:pt x="132207" y="211169"/>
                    <a:pt x="145923" y="208216"/>
                    <a:pt x="157353" y="202216"/>
                  </a:cubicBezTo>
                  <a:cubicBezTo>
                    <a:pt x="168783" y="196310"/>
                    <a:pt x="179261" y="188404"/>
                    <a:pt x="188786" y="178594"/>
                  </a:cubicBezTo>
                  <a:lnTo>
                    <a:pt x="210217" y="197834"/>
                  </a:lnTo>
                  <a:cubicBezTo>
                    <a:pt x="198596" y="210979"/>
                    <a:pt x="185356" y="221361"/>
                    <a:pt x="170497" y="229267"/>
                  </a:cubicBezTo>
                  <a:cubicBezTo>
                    <a:pt x="155638"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583" y="0"/>
                    <a:pt x="110680"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356" y="106299"/>
                  </a:moveTo>
                  <a:cubicBezTo>
                    <a:pt x="182499" y="95917"/>
                    <a:pt x="180213" y="86106"/>
                    <a:pt x="176689" y="76771"/>
                  </a:cubicBezTo>
                  <a:cubicBezTo>
                    <a:pt x="173069" y="67437"/>
                    <a:pt x="168307" y="59245"/>
                    <a:pt x="162211" y="52101"/>
                  </a:cubicBezTo>
                  <a:cubicBezTo>
                    <a:pt x="156115" y="44958"/>
                    <a:pt x="148685" y="39338"/>
                    <a:pt x="139922" y="35242"/>
                  </a:cubicBezTo>
                  <a:cubicBezTo>
                    <a:pt x="131159" y="31147"/>
                    <a:pt x="121063" y="29051"/>
                    <a:pt x="109823" y="29051"/>
                  </a:cubicBezTo>
                  <a:cubicBezTo>
                    <a:pt x="100013" y="29051"/>
                    <a:pt x="90773" y="30956"/>
                    <a:pt x="82105" y="34766"/>
                  </a:cubicBezTo>
                  <a:cubicBezTo>
                    <a:pt x="73438" y="38671"/>
                    <a:pt x="65913" y="44005"/>
                    <a:pt x="59341" y="50959"/>
                  </a:cubicBezTo>
                  <a:cubicBezTo>
                    <a:pt x="52769" y="57912"/>
                    <a:pt x="47339" y="66103"/>
                    <a:pt x="43053" y="75628"/>
                  </a:cubicBezTo>
                  <a:cubicBezTo>
                    <a:pt x="38767" y="85058"/>
                    <a:pt x="36004" y="95345"/>
                    <a:pt x="34766" y="106204"/>
                  </a:cubicBezTo>
                  <a:lnTo>
                    <a:pt x="183356" y="106204"/>
                  </a:lnTo>
                  <a:close/>
                </a:path>
              </a:pathLst>
            </a:custGeom>
            <a:solidFill>
              <a:srgbClr val="44505E"/>
            </a:solidFill>
            <a:ln w="9525" cap="flat">
              <a:noFill/>
              <a:prstDash val="solid"/>
              <a:miter/>
            </a:ln>
          </p:spPr>
          <p:txBody>
            <a:bodyPr rtlCol="0" anchor="ctr"/>
            <a:lstStyle/>
            <a:p>
              <a:endParaRPr lang="pt-BR" noProof="0"/>
            </a:p>
          </p:txBody>
        </p:sp>
        <p:sp>
          <p:nvSpPr>
            <p:cNvPr id="31" name="Freeform: Shape 43">
              <a:extLst>
                <a:ext uri="{FF2B5EF4-FFF2-40B4-BE49-F238E27FC236}">
                  <a16:creationId xmlns:a16="http://schemas.microsoft.com/office/drawing/2014/main" id="{01FBB012-40FC-007B-2D48-1E632E19B186}"/>
                </a:ext>
              </a:extLst>
            </p:cNvPr>
            <p:cNvSpPr/>
            <p:nvPr/>
          </p:nvSpPr>
          <p:spPr>
            <a:xfrm>
              <a:off x="5994910" y="924268"/>
              <a:ext cx="44680" cy="60195"/>
            </a:xfrm>
            <a:custGeom>
              <a:avLst/>
              <a:gdLst>
                <a:gd name="connsiteX0" fmla="*/ 95536 w 177736"/>
                <a:gd name="connsiteY0" fmla="*/ 239268 h 239458"/>
                <a:gd name="connsiteX1" fmla="*/ 45053 w 177736"/>
                <a:gd name="connsiteY1" fmla="*/ 230124 h 239458"/>
                <a:gd name="connsiteX2" fmla="*/ 0 w 177736"/>
                <a:gd name="connsiteY2" fmla="*/ 205359 h 239458"/>
                <a:gd name="connsiteX3" fmla="*/ 17431 w 177736"/>
                <a:gd name="connsiteY3" fmla="*/ 180785 h 239458"/>
                <a:gd name="connsiteX4" fmla="*/ 56483 w 177736"/>
                <a:gd name="connsiteY4" fmla="*/ 202692 h 239458"/>
                <a:gd name="connsiteX5" fmla="*/ 97346 w 177736"/>
                <a:gd name="connsiteY5" fmla="*/ 210217 h 239458"/>
                <a:gd name="connsiteX6" fmla="*/ 131731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730 w 177736"/>
                <a:gd name="connsiteY10" fmla="*/ 147066 h 239458"/>
                <a:gd name="connsiteX11" fmla="*/ 109252 w 177736"/>
                <a:gd name="connsiteY11" fmla="*/ 138779 h 239458"/>
                <a:gd name="connsiteX12" fmla="*/ 87630 w 177736"/>
                <a:gd name="connsiteY12" fmla="*/ 132112 h 239458"/>
                <a:gd name="connsiteX13" fmla="*/ 60674 w 177736"/>
                <a:gd name="connsiteY13" fmla="*/ 123444 h 239458"/>
                <a:gd name="connsiteX14" fmla="*/ 36100 w 177736"/>
                <a:gd name="connsiteY14" fmla="*/ 111633 h 239458"/>
                <a:gd name="connsiteX15" fmla="*/ 18193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60 w 177736"/>
                <a:gd name="connsiteY22" fmla="*/ 6953 h 239458"/>
                <a:gd name="connsiteX23" fmla="*/ 172879 w 177736"/>
                <a:gd name="connsiteY23" fmla="*/ 25527 h 239458"/>
                <a:gd name="connsiteX24" fmla="*/ 157258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4 w 177736"/>
                <a:gd name="connsiteY32" fmla="*/ 96203 h 239458"/>
                <a:gd name="connsiteX33" fmla="*/ 103632 w 177736"/>
                <a:gd name="connsiteY33" fmla="*/ 103346 h 239458"/>
                <a:gd name="connsiteX34" fmla="*/ 130207 w 177736"/>
                <a:gd name="connsiteY34" fmla="*/ 112300 h 239458"/>
                <a:gd name="connsiteX35" fmla="*/ 154114 w 177736"/>
                <a:gd name="connsiteY35" fmla="*/ 124778 h 239458"/>
                <a:gd name="connsiteX36" fmla="*/ 171260 w 177736"/>
                <a:gd name="connsiteY36" fmla="*/ 143066 h 239458"/>
                <a:gd name="connsiteX37" fmla="*/ 177737 w 177736"/>
                <a:gd name="connsiteY37" fmla="*/ 169450 h 239458"/>
                <a:gd name="connsiteX38" fmla="*/ 177737 w 177736"/>
                <a:gd name="connsiteY38" fmla="*/ 170307 h 239458"/>
                <a:gd name="connsiteX39" fmla="*/ 171260 w 177736"/>
                <a:gd name="connsiteY39" fmla="*/ 199549 h 239458"/>
                <a:gd name="connsiteX40" fmla="*/ 153829 w 177736"/>
                <a:gd name="connsiteY40" fmla="*/ 221171 h 239458"/>
                <a:gd name="connsiteX41" fmla="*/ 127921 w 177736"/>
                <a:gd name="connsiteY41" fmla="*/ 234791 h 239458"/>
                <a:gd name="connsiteX42" fmla="*/ 95536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6" y="239268"/>
                  </a:moveTo>
                  <a:cubicBezTo>
                    <a:pt x="78867" y="239268"/>
                    <a:pt x="62008" y="236220"/>
                    <a:pt x="45053" y="230124"/>
                  </a:cubicBezTo>
                  <a:cubicBezTo>
                    <a:pt x="28099" y="224028"/>
                    <a:pt x="13049" y="215741"/>
                    <a:pt x="0" y="205359"/>
                  </a:cubicBezTo>
                  <a:lnTo>
                    <a:pt x="17431" y="180785"/>
                  </a:lnTo>
                  <a:cubicBezTo>
                    <a:pt x="29909"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637" y="162211"/>
                    <a:pt x="140494" y="158020"/>
                  </a:cubicBezTo>
                  <a:cubicBezTo>
                    <a:pt x="137351" y="153829"/>
                    <a:pt x="133160" y="150209"/>
                    <a:pt x="127730" y="147066"/>
                  </a:cubicBezTo>
                  <a:cubicBezTo>
                    <a:pt x="122396" y="143923"/>
                    <a:pt x="116205" y="141161"/>
                    <a:pt x="109252" y="138779"/>
                  </a:cubicBezTo>
                  <a:cubicBezTo>
                    <a:pt x="102299" y="136398"/>
                    <a:pt x="95060" y="134207"/>
                    <a:pt x="87630" y="132112"/>
                  </a:cubicBezTo>
                  <a:cubicBezTo>
                    <a:pt x="78677" y="129445"/>
                    <a:pt x="69723" y="126492"/>
                    <a:pt x="60674" y="123444"/>
                  </a:cubicBezTo>
                  <a:cubicBezTo>
                    <a:pt x="51626" y="120301"/>
                    <a:pt x="43434" y="116396"/>
                    <a:pt x="36100" y="111633"/>
                  </a:cubicBezTo>
                  <a:cubicBezTo>
                    <a:pt x="28766" y="106871"/>
                    <a:pt x="22860" y="100870"/>
                    <a:pt x="18193" y="93726"/>
                  </a:cubicBezTo>
                  <a:cubicBezTo>
                    <a:pt x="13621" y="86582"/>
                    <a:pt x="11239" y="77629"/>
                    <a:pt x="11239" y="66961"/>
                  </a:cubicBezTo>
                  <a:lnTo>
                    <a:pt x="11239" y="66008"/>
                  </a:lnTo>
                  <a:cubicBezTo>
                    <a:pt x="11239" y="56198"/>
                    <a:pt x="13145" y="47149"/>
                    <a:pt x="17050" y="39053"/>
                  </a:cubicBezTo>
                  <a:cubicBezTo>
                    <a:pt x="20860" y="30861"/>
                    <a:pt x="26289" y="23908"/>
                    <a:pt x="33338" y="18098"/>
                  </a:cubicBezTo>
                  <a:cubicBezTo>
                    <a:pt x="40291" y="12287"/>
                    <a:pt x="48673" y="7811"/>
                    <a:pt x="58388" y="4667"/>
                  </a:cubicBezTo>
                  <a:cubicBezTo>
                    <a:pt x="68009" y="1524"/>
                    <a:pt x="78581" y="0"/>
                    <a:pt x="89821" y="0"/>
                  </a:cubicBezTo>
                  <a:cubicBezTo>
                    <a:pt x="104108" y="0"/>
                    <a:pt x="118491" y="2286"/>
                    <a:pt x="133160" y="6953"/>
                  </a:cubicBezTo>
                  <a:cubicBezTo>
                    <a:pt x="147733" y="11621"/>
                    <a:pt x="160972" y="17717"/>
                    <a:pt x="172879" y="25527"/>
                  </a:cubicBezTo>
                  <a:lnTo>
                    <a:pt x="157258" y="51435"/>
                  </a:lnTo>
                  <a:cubicBezTo>
                    <a:pt x="146495" y="44577"/>
                    <a:pt x="135350" y="39148"/>
                    <a:pt x="123539" y="35147"/>
                  </a:cubicBezTo>
                  <a:cubicBezTo>
                    <a:pt x="111824" y="31147"/>
                    <a:pt x="100298" y="29146"/>
                    <a:pt x="88963" y="29146"/>
                  </a:cubicBezTo>
                  <a:cubicBezTo>
                    <a:pt x="75247" y="29146"/>
                    <a:pt x="64389" y="32385"/>
                    <a:pt x="56388" y="38767"/>
                  </a:cubicBezTo>
                  <a:cubicBezTo>
                    <a:pt x="48387" y="45149"/>
                    <a:pt x="44291" y="53150"/>
                    <a:pt x="44291" y="62675"/>
                  </a:cubicBezTo>
                  <a:lnTo>
                    <a:pt x="44291" y="63627"/>
                  </a:lnTo>
                  <a:cubicBezTo>
                    <a:pt x="44291" y="68961"/>
                    <a:pt x="45911" y="73628"/>
                    <a:pt x="49244" y="77724"/>
                  </a:cubicBezTo>
                  <a:cubicBezTo>
                    <a:pt x="52483" y="81725"/>
                    <a:pt x="56960" y="85249"/>
                    <a:pt x="62389" y="88202"/>
                  </a:cubicBezTo>
                  <a:cubicBezTo>
                    <a:pt x="67913" y="91154"/>
                    <a:pt x="74200" y="93821"/>
                    <a:pt x="81344" y="96203"/>
                  </a:cubicBezTo>
                  <a:cubicBezTo>
                    <a:pt x="88487" y="98584"/>
                    <a:pt x="95917" y="100965"/>
                    <a:pt x="103632" y="103346"/>
                  </a:cubicBezTo>
                  <a:cubicBezTo>
                    <a:pt x="112586" y="106013"/>
                    <a:pt x="121444" y="108966"/>
                    <a:pt x="130207" y="112300"/>
                  </a:cubicBezTo>
                  <a:cubicBezTo>
                    <a:pt x="138970" y="115538"/>
                    <a:pt x="146971" y="119729"/>
                    <a:pt x="154114" y="124778"/>
                  </a:cubicBezTo>
                  <a:cubicBezTo>
                    <a:pt x="161258" y="129826"/>
                    <a:pt x="166973" y="135922"/>
                    <a:pt x="171260" y="143066"/>
                  </a:cubicBezTo>
                  <a:cubicBezTo>
                    <a:pt x="175546" y="150209"/>
                    <a:pt x="177737" y="158972"/>
                    <a:pt x="177737" y="169450"/>
                  </a:cubicBezTo>
                  <a:lnTo>
                    <a:pt x="177737" y="170307"/>
                  </a:lnTo>
                  <a:cubicBezTo>
                    <a:pt x="177737" y="181356"/>
                    <a:pt x="175546" y="191071"/>
                    <a:pt x="171260" y="199549"/>
                  </a:cubicBezTo>
                  <a:cubicBezTo>
                    <a:pt x="166973" y="208026"/>
                    <a:pt x="161163" y="215265"/>
                    <a:pt x="153829" y="221171"/>
                  </a:cubicBezTo>
                  <a:cubicBezTo>
                    <a:pt x="146495" y="227171"/>
                    <a:pt x="137922" y="231648"/>
                    <a:pt x="127921" y="234791"/>
                  </a:cubicBezTo>
                  <a:cubicBezTo>
                    <a:pt x="117920" y="237935"/>
                    <a:pt x="107156" y="239459"/>
                    <a:pt x="95536" y="239459"/>
                  </a:cubicBezTo>
                  <a:close/>
                </a:path>
              </a:pathLst>
            </a:custGeom>
            <a:solidFill>
              <a:srgbClr val="44505E"/>
            </a:solidFill>
            <a:ln w="9525" cap="flat">
              <a:noFill/>
              <a:prstDash val="solid"/>
              <a:miter/>
            </a:ln>
          </p:spPr>
          <p:txBody>
            <a:bodyPr rtlCol="0" anchor="ctr"/>
            <a:lstStyle/>
            <a:p>
              <a:endParaRPr lang="pt-BR" noProof="0"/>
            </a:p>
          </p:txBody>
        </p:sp>
        <p:sp>
          <p:nvSpPr>
            <p:cNvPr id="32" name="Freeform: Shape 44">
              <a:extLst>
                <a:ext uri="{FF2B5EF4-FFF2-40B4-BE49-F238E27FC236}">
                  <a16:creationId xmlns:a16="http://schemas.microsoft.com/office/drawing/2014/main" id="{68FEE473-7D6A-8AA5-C7B5-2A4293279FC6}"/>
                </a:ext>
              </a:extLst>
            </p:cNvPr>
            <p:cNvSpPr/>
            <p:nvPr/>
          </p:nvSpPr>
          <p:spPr>
            <a:xfrm>
              <a:off x="605122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4 w 202977"/>
                <a:gd name="connsiteY30" fmla="*/ 174593 h 239267"/>
                <a:gd name="connsiteX31" fmla="*/ 169735 w 202977"/>
                <a:gd name="connsiteY31" fmla="*/ 149447 h 239267"/>
                <a:gd name="connsiteX32" fmla="*/ 169735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0" y="90964"/>
                    <a:pt x="98584" y="90964"/>
                  </a:cubicBezTo>
                  <a:cubicBezTo>
                    <a:pt x="113157" y="90964"/>
                    <a:pt x="126301"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1" y="33147"/>
                    <a:pt x="63436" y="36100"/>
                  </a:cubicBezTo>
                  <a:cubicBezTo>
                    <a:pt x="52292" y="39053"/>
                    <a:pt x="41338" y="43053"/>
                    <a:pt x="30671" y="48196"/>
                  </a:cubicBezTo>
                  <a:lnTo>
                    <a:pt x="20383" y="19907"/>
                  </a:lnTo>
                  <a:cubicBezTo>
                    <a:pt x="33147" y="13906"/>
                    <a:pt x="46101" y="9049"/>
                    <a:pt x="59246" y="5429"/>
                  </a:cubicBezTo>
                  <a:cubicBezTo>
                    <a:pt x="72295"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1" y="239173"/>
                  </a:cubicBezTo>
                  <a:close/>
                  <a:moveTo>
                    <a:pt x="93154" y="211169"/>
                  </a:moveTo>
                  <a:cubicBezTo>
                    <a:pt x="103822" y="211169"/>
                    <a:pt x="113728" y="209740"/>
                    <a:pt x="122967" y="206788"/>
                  </a:cubicBezTo>
                  <a:cubicBezTo>
                    <a:pt x="132207" y="203835"/>
                    <a:pt x="140208" y="199644"/>
                    <a:pt x="147256" y="194120"/>
                  </a:cubicBezTo>
                  <a:cubicBezTo>
                    <a:pt x="154209" y="188595"/>
                    <a:pt x="159734" y="182118"/>
                    <a:pt x="163734" y="174593"/>
                  </a:cubicBezTo>
                  <a:cubicBezTo>
                    <a:pt x="167735" y="167068"/>
                    <a:pt x="169735" y="158687"/>
                    <a:pt x="169735" y="149447"/>
                  </a:cubicBezTo>
                  <a:lnTo>
                    <a:pt x="169735" y="128111"/>
                  </a:lnTo>
                  <a:cubicBezTo>
                    <a:pt x="161163" y="125730"/>
                    <a:pt x="151352" y="123539"/>
                    <a:pt x="140398" y="121444"/>
                  </a:cubicBezTo>
                  <a:cubicBezTo>
                    <a:pt x="129445" y="119348"/>
                    <a:pt x="116872"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33" name="Freeform: Shape 45">
              <a:extLst>
                <a:ext uri="{FF2B5EF4-FFF2-40B4-BE49-F238E27FC236}">
                  <a16:creationId xmlns:a16="http://schemas.microsoft.com/office/drawing/2014/main" id="{66C374DB-CDE2-2AB0-2969-AF500EAEAC4D}"/>
                </a:ext>
              </a:extLst>
            </p:cNvPr>
            <p:cNvSpPr/>
            <p:nvPr/>
          </p:nvSpPr>
          <p:spPr>
            <a:xfrm>
              <a:off x="6121359" y="901377"/>
              <a:ext cx="8644" cy="81913"/>
            </a:xfrm>
            <a:custGeom>
              <a:avLst/>
              <a:gdLst>
                <a:gd name="connsiteX0" fmla="*/ 0 w 34385"/>
                <a:gd name="connsiteY0" fmla="*/ 0 h 325850"/>
                <a:gd name="connsiteX1" fmla="*/ 34385 w 34385"/>
                <a:gd name="connsiteY1" fmla="*/ 0 h 325850"/>
                <a:gd name="connsiteX2" fmla="*/ 34385 w 34385"/>
                <a:gd name="connsiteY2" fmla="*/ 325850 h 325850"/>
                <a:gd name="connsiteX3" fmla="*/ 0 w 34385"/>
                <a:gd name="connsiteY3" fmla="*/ 325850 h 325850"/>
                <a:gd name="connsiteX4" fmla="*/ 0 w 34385"/>
                <a:gd name="connsiteY4" fmla="*/ 0 h 32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 h="325850">
                  <a:moveTo>
                    <a:pt x="0" y="0"/>
                  </a:moveTo>
                  <a:lnTo>
                    <a:pt x="34385" y="0"/>
                  </a:lnTo>
                  <a:lnTo>
                    <a:pt x="34385" y="325850"/>
                  </a:lnTo>
                  <a:lnTo>
                    <a:pt x="0" y="325850"/>
                  </a:lnTo>
                  <a:lnTo>
                    <a:pt x="0" y="0"/>
                  </a:lnTo>
                  <a:close/>
                </a:path>
              </a:pathLst>
            </a:custGeom>
            <a:solidFill>
              <a:srgbClr val="44505E"/>
            </a:solidFill>
            <a:ln w="9525" cap="flat">
              <a:noFill/>
              <a:prstDash val="solid"/>
              <a:miter/>
            </a:ln>
          </p:spPr>
          <p:txBody>
            <a:bodyPr rtlCol="0" anchor="ctr"/>
            <a:lstStyle/>
            <a:p>
              <a:endParaRPr lang="pt-BR" noProof="0"/>
            </a:p>
          </p:txBody>
        </p:sp>
        <p:sp>
          <p:nvSpPr>
            <p:cNvPr id="34" name="Freeform: Shape 46">
              <a:extLst>
                <a:ext uri="{FF2B5EF4-FFF2-40B4-BE49-F238E27FC236}">
                  <a16:creationId xmlns:a16="http://schemas.microsoft.com/office/drawing/2014/main" id="{67641892-87CC-E8AB-E245-559D71727B47}"/>
                </a:ext>
              </a:extLst>
            </p:cNvPr>
            <p:cNvSpPr/>
            <p:nvPr/>
          </p:nvSpPr>
          <p:spPr>
            <a:xfrm>
              <a:off x="6144346" y="925273"/>
              <a:ext cx="58016" cy="58448"/>
            </a:xfrm>
            <a:custGeom>
              <a:avLst/>
              <a:gdLst>
                <a:gd name="connsiteX0" fmla="*/ 95 w 230790"/>
                <a:gd name="connsiteY0" fmla="*/ 0 h 232505"/>
                <a:gd name="connsiteX1" fmla="*/ 38005 w 230790"/>
                <a:gd name="connsiteY1" fmla="*/ 0 h 232505"/>
                <a:gd name="connsiteX2" fmla="*/ 115634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4"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35" name="Freeform: Shape 47">
              <a:extLst>
                <a:ext uri="{FF2B5EF4-FFF2-40B4-BE49-F238E27FC236}">
                  <a16:creationId xmlns:a16="http://schemas.microsoft.com/office/drawing/2014/main" id="{E97CB99F-6ACE-F9D2-1EE6-E021ED5D014C}"/>
                </a:ext>
              </a:extLst>
            </p:cNvPr>
            <p:cNvSpPr/>
            <p:nvPr/>
          </p:nvSpPr>
          <p:spPr>
            <a:xfrm>
              <a:off x="621155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8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338 w 202977"/>
                <a:gd name="connsiteY36" fmla="*/ 164497 h 239267"/>
                <a:gd name="connsiteX37" fmla="*/ 35338 w 202977"/>
                <a:gd name="connsiteY37" fmla="*/ 165449 h 239267"/>
                <a:gd name="connsiteX38" fmla="*/ 40005 w 202977"/>
                <a:gd name="connsiteY38" fmla="*/ 184785 h 239267"/>
                <a:gd name="connsiteX39" fmla="*/ 52673 w 202977"/>
                <a:gd name="connsiteY39" fmla="*/ 199263 h 239267"/>
                <a:gd name="connsiteX40" fmla="*/ 71152 w 202977"/>
                <a:gd name="connsiteY40" fmla="*/ 208121 h 239267"/>
                <a:gd name="connsiteX41" fmla="*/ 93154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438" y="239268"/>
                    <a:pt x="64961"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1" y="90964"/>
                    <a:pt x="98584" y="90964"/>
                  </a:cubicBezTo>
                  <a:cubicBezTo>
                    <a:pt x="113157" y="90964"/>
                    <a:pt x="126302" y="91821"/>
                    <a:pt x="137160" y="93631"/>
                  </a:cubicBezTo>
                  <a:cubicBezTo>
                    <a:pt x="148019" y="95440"/>
                    <a:pt x="158687" y="97822"/>
                    <a:pt x="169069" y="100774"/>
                  </a:cubicBezTo>
                  <a:lnTo>
                    <a:pt x="169069" y="93726"/>
                  </a:lnTo>
                  <a:cubicBezTo>
                    <a:pt x="169069" y="73342"/>
                    <a:pt x="163068" y="57912"/>
                    <a:pt x="151162" y="47339"/>
                  </a:cubicBezTo>
                  <a:cubicBezTo>
                    <a:pt x="139255" y="36862"/>
                    <a:pt x="122491" y="31623"/>
                    <a:pt x="100679" y="31623"/>
                  </a:cubicBezTo>
                  <a:cubicBezTo>
                    <a:pt x="86963" y="31623"/>
                    <a:pt x="74581" y="33147"/>
                    <a:pt x="63437" y="36100"/>
                  </a:cubicBezTo>
                  <a:cubicBezTo>
                    <a:pt x="52292" y="39053"/>
                    <a:pt x="41338" y="43053"/>
                    <a:pt x="30671" y="48196"/>
                  </a:cubicBezTo>
                  <a:lnTo>
                    <a:pt x="20383" y="19907"/>
                  </a:lnTo>
                  <a:cubicBezTo>
                    <a:pt x="33147" y="13906"/>
                    <a:pt x="46101" y="9049"/>
                    <a:pt x="59246" y="5429"/>
                  </a:cubicBezTo>
                  <a:cubicBezTo>
                    <a:pt x="72390"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04" y="239173"/>
                    <a:pt x="86011" y="239173"/>
                  </a:cubicBezTo>
                  <a:close/>
                  <a:moveTo>
                    <a:pt x="93154" y="211169"/>
                  </a:moveTo>
                  <a:cubicBezTo>
                    <a:pt x="103822" y="211169"/>
                    <a:pt x="113824" y="209740"/>
                    <a:pt x="122968" y="206788"/>
                  </a:cubicBezTo>
                  <a:cubicBezTo>
                    <a:pt x="132112"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5" y="119348"/>
                    <a:pt x="116777" y="118300"/>
                    <a:pt x="102584" y="118300"/>
                  </a:cubicBezTo>
                  <a:cubicBezTo>
                    <a:pt x="81248" y="118300"/>
                    <a:pt x="64675" y="122491"/>
                    <a:pt x="52959" y="130969"/>
                  </a:cubicBezTo>
                  <a:cubicBezTo>
                    <a:pt x="41243" y="139446"/>
                    <a:pt x="35338" y="150590"/>
                    <a:pt x="35338" y="164497"/>
                  </a:cubicBezTo>
                  <a:lnTo>
                    <a:pt x="35338" y="165449"/>
                  </a:lnTo>
                  <a:cubicBezTo>
                    <a:pt x="35338" y="172498"/>
                    <a:pt x="36862" y="178975"/>
                    <a:pt x="40005" y="184785"/>
                  </a:cubicBezTo>
                  <a:cubicBezTo>
                    <a:pt x="43148" y="190500"/>
                    <a:pt x="47339" y="195358"/>
                    <a:pt x="52673" y="199263"/>
                  </a:cubicBezTo>
                  <a:cubicBezTo>
                    <a:pt x="58007" y="203073"/>
                    <a:pt x="64198" y="206026"/>
                    <a:pt x="71152" y="208121"/>
                  </a:cubicBezTo>
                  <a:cubicBezTo>
                    <a:pt x="78105" y="210217"/>
                    <a:pt x="85439" y="211169"/>
                    <a:pt x="93154" y="211169"/>
                  </a:cubicBezTo>
                  <a:close/>
                </a:path>
              </a:pathLst>
            </a:custGeom>
            <a:solidFill>
              <a:srgbClr val="44505E"/>
            </a:solidFill>
            <a:ln w="9525" cap="flat">
              <a:noFill/>
              <a:prstDash val="solid"/>
              <a:miter/>
            </a:ln>
          </p:spPr>
          <p:txBody>
            <a:bodyPr rtlCol="0" anchor="ctr"/>
            <a:lstStyle/>
            <a:p>
              <a:endParaRPr lang="pt-BR" noProof="0"/>
            </a:p>
          </p:txBody>
        </p:sp>
        <p:sp>
          <p:nvSpPr>
            <p:cNvPr id="36" name="Freeform: Shape 48">
              <a:extLst>
                <a:ext uri="{FF2B5EF4-FFF2-40B4-BE49-F238E27FC236}">
                  <a16:creationId xmlns:a16="http://schemas.microsoft.com/office/drawing/2014/main" id="{7BB81C8C-CABA-F6C6-3C3C-0D5162A61DB6}"/>
                </a:ext>
              </a:extLst>
            </p:cNvPr>
            <p:cNvSpPr/>
            <p:nvPr/>
          </p:nvSpPr>
          <p:spPr>
            <a:xfrm>
              <a:off x="6280899" y="923980"/>
              <a:ext cx="87995" cy="59238"/>
            </a:xfrm>
            <a:custGeom>
              <a:avLst/>
              <a:gdLst>
                <a:gd name="connsiteX0" fmla="*/ 0 w 350043"/>
                <a:gd name="connsiteY0" fmla="*/ 5144 h 235648"/>
                <a:gd name="connsiteX1" fmla="*/ 34385 w 350043"/>
                <a:gd name="connsiteY1" fmla="*/ 5144 h 235648"/>
                <a:gd name="connsiteX2" fmla="*/ 34385 w 350043"/>
                <a:gd name="connsiteY2" fmla="*/ 44005 h 235648"/>
                <a:gd name="connsiteX3" fmla="*/ 47149 w 350043"/>
                <a:gd name="connsiteY3" fmla="*/ 27432 h 235648"/>
                <a:gd name="connsiteX4" fmla="*/ 62960 w 350043"/>
                <a:gd name="connsiteY4" fmla="*/ 13335 h 235648"/>
                <a:gd name="connsiteX5" fmla="*/ 83058 w 350043"/>
                <a:gd name="connsiteY5" fmla="*/ 3715 h 235648"/>
                <a:gd name="connsiteX6" fmla="*/ 108966 w 350043"/>
                <a:gd name="connsiteY6" fmla="*/ 95 h 235648"/>
                <a:gd name="connsiteX7" fmla="*/ 155448 w 350043"/>
                <a:gd name="connsiteY7" fmla="*/ 13240 h 235648"/>
                <a:gd name="connsiteX8" fmla="*/ 183166 w 350043"/>
                <a:gd name="connsiteY8" fmla="*/ 46006 h 235648"/>
                <a:gd name="connsiteX9" fmla="*/ 197168 w 350043"/>
                <a:gd name="connsiteY9" fmla="*/ 28194 h 235648"/>
                <a:gd name="connsiteX10" fmla="*/ 214789 w 350043"/>
                <a:gd name="connsiteY10" fmla="*/ 13430 h 235648"/>
                <a:gd name="connsiteX11" fmla="*/ 236887 w 350043"/>
                <a:gd name="connsiteY11" fmla="*/ 3620 h 235648"/>
                <a:gd name="connsiteX12" fmla="*/ 264319 w 350043"/>
                <a:gd name="connsiteY12" fmla="*/ 0 h 235648"/>
                <a:gd name="connsiteX13" fmla="*/ 327279 w 350043"/>
                <a:gd name="connsiteY13" fmla="*/ 24765 h 235648"/>
                <a:gd name="connsiteX14" fmla="*/ 350044 w 350043"/>
                <a:gd name="connsiteY14" fmla="*/ 92773 h 235648"/>
                <a:gd name="connsiteX15" fmla="*/ 350044 w 350043"/>
                <a:gd name="connsiteY15" fmla="*/ 235648 h 235648"/>
                <a:gd name="connsiteX16" fmla="*/ 315659 w 350043"/>
                <a:gd name="connsiteY16" fmla="*/ 235648 h 235648"/>
                <a:gd name="connsiteX17" fmla="*/ 315659 w 350043"/>
                <a:gd name="connsiteY17" fmla="*/ 101155 h 235648"/>
                <a:gd name="connsiteX18" fmla="*/ 299847 w 350043"/>
                <a:gd name="connsiteY18" fmla="*/ 49721 h 235648"/>
                <a:gd name="connsiteX19" fmla="*/ 255937 w 350043"/>
                <a:gd name="connsiteY19" fmla="*/ 31718 h 235648"/>
                <a:gd name="connsiteX20" fmla="*/ 231362 w 350043"/>
                <a:gd name="connsiteY20" fmla="*/ 36386 h 235648"/>
                <a:gd name="connsiteX21" fmla="*/ 211074 w 350043"/>
                <a:gd name="connsiteY21" fmla="*/ 50197 h 235648"/>
                <a:gd name="connsiteX22" fmla="*/ 197263 w 350043"/>
                <a:gd name="connsiteY22" fmla="*/ 72676 h 235648"/>
                <a:gd name="connsiteX23" fmla="*/ 192119 w 350043"/>
                <a:gd name="connsiteY23" fmla="*/ 102965 h 235648"/>
                <a:gd name="connsiteX24" fmla="*/ 192119 w 350043"/>
                <a:gd name="connsiteY24" fmla="*/ 235648 h 235648"/>
                <a:gd name="connsiteX25" fmla="*/ 158210 w 350043"/>
                <a:gd name="connsiteY25" fmla="*/ 235648 h 235648"/>
                <a:gd name="connsiteX26" fmla="*/ 158210 w 350043"/>
                <a:gd name="connsiteY26" fmla="*/ 100298 h 235648"/>
                <a:gd name="connsiteX27" fmla="*/ 142399 w 350043"/>
                <a:gd name="connsiteY27" fmla="*/ 49721 h 235648"/>
                <a:gd name="connsiteX28" fmla="*/ 98870 w 350043"/>
                <a:gd name="connsiteY28" fmla="*/ 31718 h 235648"/>
                <a:gd name="connsiteX29" fmla="*/ 73438 w 350043"/>
                <a:gd name="connsiteY29" fmla="*/ 37052 h 235648"/>
                <a:gd name="connsiteX30" fmla="*/ 53150 w 350043"/>
                <a:gd name="connsiteY30" fmla="*/ 52197 h 235648"/>
                <a:gd name="connsiteX31" fmla="*/ 39529 w 350043"/>
                <a:gd name="connsiteY31" fmla="*/ 75152 h 235648"/>
                <a:gd name="connsiteX32" fmla="*/ 34576 w 350043"/>
                <a:gd name="connsiteY32" fmla="*/ 104299 h 235648"/>
                <a:gd name="connsiteX33" fmla="*/ 34576 w 350043"/>
                <a:gd name="connsiteY33" fmla="*/ 235648 h 235648"/>
                <a:gd name="connsiteX34" fmla="*/ 190 w 350043"/>
                <a:gd name="connsiteY34" fmla="*/ 235648 h 235648"/>
                <a:gd name="connsiteX35" fmla="*/ 190 w 350043"/>
                <a:gd name="connsiteY35" fmla="*/ 485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0043" h="235648">
                  <a:moveTo>
                    <a:pt x="0" y="5144"/>
                  </a:moveTo>
                  <a:lnTo>
                    <a:pt x="34385" y="5144"/>
                  </a:lnTo>
                  <a:lnTo>
                    <a:pt x="34385" y="44005"/>
                  </a:lnTo>
                  <a:cubicBezTo>
                    <a:pt x="38290" y="38386"/>
                    <a:pt x="42481" y="32861"/>
                    <a:pt x="47149" y="27432"/>
                  </a:cubicBezTo>
                  <a:cubicBezTo>
                    <a:pt x="51721" y="22098"/>
                    <a:pt x="57055" y="17431"/>
                    <a:pt x="62960" y="13335"/>
                  </a:cubicBezTo>
                  <a:cubicBezTo>
                    <a:pt x="68866" y="9335"/>
                    <a:pt x="75629" y="6096"/>
                    <a:pt x="83058" y="3715"/>
                  </a:cubicBezTo>
                  <a:cubicBezTo>
                    <a:pt x="90488" y="1334"/>
                    <a:pt x="99155" y="95"/>
                    <a:pt x="108966" y="95"/>
                  </a:cubicBezTo>
                  <a:cubicBezTo>
                    <a:pt x="127730" y="95"/>
                    <a:pt x="143161" y="4477"/>
                    <a:pt x="155448" y="13240"/>
                  </a:cubicBezTo>
                  <a:cubicBezTo>
                    <a:pt x="167640" y="22003"/>
                    <a:pt x="176879" y="32956"/>
                    <a:pt x="183166" y="46006"/>
                  </a:cubicBezTo>
                  <a:cubicBezTo>
                    <a:pt x="187357" y="39719"/>
                    <a:pt x="192024" y="33814"/>
                    <a:pt x="197168" y="28194"/>
                  </a:cubicBezTo>
                  <a:cubicBezTo>
                    <a:pt x="202406" y="22574"/>
                    <a:pt x="208217" y="17621"/>
                    <a:pt x="214789" y="13430"/>
                  </a:cubicBezTo>
                  <a:cubicBezTo>
                    <a:pt x="221361" y="9239"/>
                    <a:pt x="228695" y="6001"/>
                    <a:pt x="236887" y="3620"/>
                  </a:cubicBezTo>
                  <a:cubicBezTo>
                    <a:pt x="245078" y="1238"/>
                    <a:pt x="254222" y="0"/>
                    <a:pt x="264319" y="0"/>
                  </a:cubicBezTo>
                  <a:cubicBezTo>
                    <a:pt x="291084" y="0"/>
                    <a:pt x="312039" y="8287"/>
                    <a:pt x="327279" y="24765"/>
                  </a:cubicBezTo>
                  <a:cubicBezTo>
                    <a:pt x="342519" y="41243"/>
                    <a:pt x="350044" y="63913"/>
                    <a:pt x="350044" y="92773"/>
                  </a:cubicBezTo>
                  <a:lnTo>
                    <a:pt x="350044" y="235648"/>
                  </a:lnTo>
                  <a:lnTo>
                    <a:pt x="315659" y="235648"/>
                  </a:lnTo>
                  <a:lnTo>
                    <a:pt x="315659" y="101155"/>
                  </a:lnTo>
                  <a:cubicBezTo>
                    <a:pt x="315659" y="78867"/>
                    <a:pt x="310420" y="61722"/>
                    <a:pt x="299847" y="49721"/>
                  </a:cubicBezTo>
                  <a:cubicBezTo>
                    <a:pt x="289274" y="37719"/>
                    <a:pt x="274606" y="31718"/>
                    <a:pt x="255937" y="31718"/>
                  </a:cubicBezTo>
                  <a:cubicBezTo>
                    <a:pt x="247269" y="31718"/>
                    <a:pt x="239078" y="33242"/>
                    <a:pt x="231362" y="36386"/>
                  </a:cubicBezTo>
                  <a:cubicBezTo>
                    <a:pt x="223647" y="39529"/>
                    <a:pt x="216884" y="44101"/>
                    <a:pt x="211074" y="50197"/>
                  </a:cubicBezTo>
                  <a:cubicBezTo>
                    <a:pt x="205264" y="56293"/>
                    <a:pt x="200692" y="63818"/>
                    <a:pt x="197263" y="72676"/>
                  </a:cubicBezTo>
                  <a:cubicBezTo>
                    <a:pt x="193834" y="81629"/>
                    <a:pt x="192119" y="91726"/>
                    <a:pt x="192119" y="102965"/>
                  </a:cubicBezTo>
                  <a:lnTo>
                    <a:pt x="192119" y="235648"/>
                  </a:lnTo>
                  <a:lnTo>
                    <a:pt x="158210" y="235648"/>
                  </a:lnTo>
                  <a:lnTo>
                    <a:pt x="158210" y="100298"/>
                  </a:lnTo>
                  <a:cubicBezTo>
                    <a:pt x="158210" y="78677"/>
                    <a:pt x="152971" y="61817"/>
                    <a:pt x="142399" y="49721"/>
                  </a:cubicBezTo>
                  <a:cubicBezTo>
                    <a:pt x="131826" y="37719"/>
                    <a:pt x="117348" y="31718"/>
                    <a:pt x="98870" y="31718"/>
                  </a:cubicBezTo>
                  <a:cubicBezTo>
                    <a:pt x="89630" y="31718"/>
                    <a:pt x="81153" y="33528"/>
                    <a:pt x="73438" y="37052"/>
                  </a:cubicBezTo>
                  <a:cubicBezTo>
                    <a:pt x="65722" y="40672"/>
                    <a:pt x="58960" y="45720"/>
                    <a:pt x="53150" y="52197"/>
                  </a:cubicBezTo>
                  <a:cubicBezTo>
                    <a:pt x="47339" y="58769"/>
                    <a:pt x="42767" y="66389"/>
                    <a:pt x="39529" y="75152"/>
                  </a:cubicBezTo>
                  <a:cubicBezTo>
                    <a:pt x="36290" y="83915"/>
                    <a:pt x="34576" y="93631"/>
                    <a:pt x="34576" y="104299"/>
                  </a:cubicBezTo>
                  <a:lnTo>
                    <a:pt x="34576" y="235648"/>
                  </a:lnTo>
                  <a:lnTo>
                    <a:pt x="190" y="235648"/>
                  </a:lnTo>
                  <a:lnTo>
                    <a:pt x="190" y="4858"/>
                  </a:lnTo>
                  <a:close/>
                </a:path>
              </a:pathLst>
            </a:custGeom>
            <a:solidFill>
              <a:srgbClr val="44505E"/>
            </a:solidFill>
            <a:ln w="9525" cap="flat">
              <a:noFill/>
              <a:prstDash val="solid"/>
              <a:miter/>
            </a:ln>
          </p:spPr>
          <p:txBody>
            <a:bodyPr rtlCol="0" anchor="ctr"/>
            <a:lstStyle/>
            <a:p>
              <a:endParaRPr lang="pt-BR" noProof="0"/>
            </a:p>
          </p:txBody>
        </p:sp>
        <p:sp>
          <p:nvSpPr>
            <p:cNvPr id="37" name="Freeform: Shape 49">
              <a:extLst>
                <a:ext uri="{FF2B5EF4-FFF2-40B4-BE49-F238E27FC236}">
                  <a16:creationId xmlns:a16="http://schemas.microsoft.com/office/drawing/2014/main" id="{8D96FD4B-3D88-B097-35FA-7E0A73EDBE49}"/>
                </a:ext>
              </a:extLst>
            </p:cNvPr>
            <p:cNvSpPr/>
            <p:nvPr/>
          </p:nvSpPr>
          <p:spPr>
            <a:xfrm>
              <a:off x="6415537" y="925273"/>
              <a:ext cx="58016" cy="58448"/>
            </a:xfrm>
            <a:custGeom>
              <a:avLst/>
              <a:gdLst>
                <a:gd name="connsiteX0" fmla="*/ 95 w 230790"/>
                <a:gd name="connsiteY0" fmla="*/ 0 h 232505"/>
                <a:gd name="connsiteX1" fmla="*/ 38005 w 230790"/>
                <a:gd name="connsiteY1" fmla="*/ 0 h 232505"/>
                <a:gd name="connsiteX2" fmla="*/ 115633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3"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noProof="0"/>
            </a:p>
          </p:txBody>
        </p:sp>
        <p:sp>
          <p:nvSpPr>
            <p:cNvPr id="38" name="Freeform: Shape 50">
              <a:extLst>
                <a:ext uri="{FF2B5EF4-FFF2-40B4-BE49-F238E27FC236}">
                  <a16:creationId xmlns:a16="http://schemas.microsoft.com/office/drawing/2014/main" id="{B5065CCA-C7CA-F2AF-933A-2F7A70062B68}"/>
                </a:ext>
              </a:extLst>
            </p:cNvPr>
            <p:cNvSpPr/>
            <p:nvPr/>
          </p:nvSpPr>
          <p:spPr>
            <a:xfrm>
              <a:off x="6487369"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286 w 39242"/>
                <a:gd name="connsiteY5" fmla="*/ 88392 h 319182"/>
                <a:gd name="connsiteX6" fmla="*/ 36671 w 39242"/>
                <a:gd name="connsiteY6" fmla="*/ 88392 h 319182"/>
                <a:gd name="connsiteX7" fmla="*/ 36671 w 39242"/>
                <a:gd name="connsiteY7" fmla="*/ 319183 h 319182"/>
                <a:gd name="connsiteX8" fmla="*/ 2286 w 39242"/>
                <a:gd name="connsiteY8" fmla="*/ 319183 h 319182"/>
                <a:gd name="connsiteX9" fmla="*/ 2286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286" y="88392"/>
                  </a:moveTo>
                  <a:lnTo>
                    <a:pt x="36671" y="88392"/>
                  </a:lnTo>
                  <a:lnTo>
                    <a:pt x="36671" y="319183"/>
                  </a:lnTo>
                  <a:lnTo>
                    <a:pt x="2286" y="319183"/>
                  </a:lnTo>
                  <a:lnTo>
                    <a:pt x="2286" y="88392"/>
                  </a:lnTo>
                  <a:close/>
                </a:path>
              </a:pathLst>
            </a:custGeom>
            <a:solidFill>
              <a:srgbClr val="44505E"/>
            </a:solidFill>
            <a:ln w="9525" cap="flat">
              <a:noFill/>
              <a:prstDash val="solid"/>
              <a:miter/>
            </a:ln>
          </p:spPr>
          <p:txBody>
            <a:bodyPr rtlCol="0" anchor="ctr"/>
            <a:lstStyle/>
            <a:p>
              <a:endParaRPr lang="pt-BR" noProof="0"/>
            </a:p>
          </p:txBody>
        </p:sp>
        <p:sp>
          <p:nvSpPr>
            <p:cNvPr id="39" name="Freeform: Shape 51">
              <a:extLst>
                <a:ext uri="{FF2B5EF4-FFF2-40B4-BE49-F238E27FC236}">
                  <a16:creationId xmlns:a16="http://schemas.microsoft.com/office/drawing/2014/main" id="{5BD7CB9A-D1C0-2182-5768-A23BBB66BF14}"/>
                </a:ext>
              </a:extLst>
            </p:cNvPr>
            <p:cNvSpPr/>
            <p:nvPr/>
          </p:nvSpPr>
          <p:spPr>
            <a:xfrm>
              <a:off x="6513253" y="901353"/>
              <a:ext cx="58615" cy="83182"/>
            </a:xfrm>
            <a:custGeom>
              <a:avLst/>
              <a:gdLst>
                <a:gd name="connsiteX0" fmla="*/ 110394 w 233171"/>
                <a:gd name="connsiteY0" fmla="*/ 330898 h 330898"/>
                <a:gd name="connsiteX1" fmla="*/ 69723 w 233171"/>
                <a:gd name="connsiteY1" fmla="*/ 322897 h 330898"/>
                <a:gd name="connsiteX2" fmla="*/ 34480 w 233171"/>
                <a:gd name="connsiteY2" fmla="*/ 299466 h 330898"/>
                <a:gd name="connsiteX3" fmla="*/ 9430 w 233171"/>
                <a:gd name="connsiteY3" fmla="*/ 261938 h 330898"/>
                <a:gd name="connsiteX4" fmla="*/ 0 w 233171"/>
                <a:gd name="connsiteY4" fmla="*/ 211264 h 330898"/>
                <a:gd name="connsiteX5" fmla="*/ 0 w 233171"/>
                <a:gd name="connsiteY5" fmla="*/ 210407 h 330898"/>
                <a:gd name="connsiteX6" fmla="*/ 9430 w 233171"/>
                <a:gd name="connsiteY6" fmla="*/ 159925 h 330898"/>
                <a:gd name="connsiteX7" fmla="*/ 34480 w 233171"/>
                <a:gd name="connsiteY7" fmla="*/ 122206 h 330898"/>
                <a:gd name="connsiteX8" fmla="*/ 69723 w 233171"/>
                <a:gd name="connsiteY8" fmla="*/ 98488 h 330898"/>
                <a:gd name="connsiteX9" fmla="*/ 110394 w 233171"/>
                <a:gd name="connsiteY9" fmla="*/ 90202 h 330898"/>
                <a:gd name="connsiteX10" fmla="*/ 139827 w 233171"/>
                <a:gd name="connsiteY10" fmla="*/ 94202 h 330898"/>
                <a:gd name="connsiteX11" fmla="*/ 163925 w 233171"/>
                <a:gd name="connsiteY11" fmla="*/ 104870 h 330898"/>
                <a:gd name="connsiteX12" fmla="*/ 183356 w 233171"/>
                <a:gd name="connsiteY12" fmla="*/ 120491 h 330898"/>
                <a:gd name="connsiteX13" fmla="*/ 198787 w 233171"/>
                <a:gd name="connsiteY13" fmla="*/ 139255 h 330898"/>
                <a:gd name="connsiteX14" fmla="*/ 198787 w 233171"/>
                <a:gd name="connsiteY14" fmla="*/ 0 h 330898"/>
                <a:gd name="connsiteX15" fmla="*/ 233172 w 233171"/>
                <a:gd name="connsiteY15" fmla="*/ 0 h 330898"/>
                <a:gd name="connsiteX16" fmla="*/ 233172 w 233171"/>
                <a:gd name="connsiteY16" fmla="*/ 325850 h 330898"/>
                <a:gd name="connsiteX17" fmla="*/ 198787 w 233171"/>
                <a:gd name="connsiteY17" fmla="*/ 325850 h 330898"/>
                <a:gd name="connsiteX18" fmla="*/ 198787 w 233171"/>
                <a:gd name="connsiteY18" fmla="*/ 279463 h 330898"/>
                <a:gd name="connsiteX19" fmla="*/ 182975 w 233171"/>
                <a:gd name="connsiteY19" fmla="*/ 299085 h 330898"/>
                <a:gd name="connsiteX20" fmla="*/ 163544 w 233171"/>
                <a:gd name="connsiteY20" fmla="*/ 315658 h 330898"/>
                <a:gd name="connsiteX21" fmla="*/ 139636 w 233171"/>
                <a:gd name="connsiteY21" fmla="*/ 326803 h 330898"/>
                <a:gd name="connsiteX22" fmla="*/ 110394 w 233171"/>
                <a:gd name="connsiteY22" fmla="*/ 330803 h 330898"/>
                <a:gd name="connsiteX23" fmla="*/ 116681 w 233171"/>
                <a:gd name="connsiteY23" fmla="*/ 300133 h 330898"/>
                <a:gd name="connsiteX24" fmla="*/ 147733 w 233171"/>
                <a:gd name="connsiteY24" fmla="*/ 293656 h 330898"/>
                <a:gd name="connsiteX25" fmla="*/ 174498 w 233171"/>
                <a:gd name="connsiteY25" fmla="*/ 275368 h 330898"/>
                <a:gd name="connsiteX26" fmla="*/ 193262 w 233171"/>
                <a:gd name="connsiteY26" fmla="*/ 247269 h 330898"/>
                <a:gd name="connsiteX27" fmla="*/ 200216 w 233171"/>
                <a:gd name="connsiteY27" fmla="*/ 210883 h 330898"/>
                <a:gd name="connsiteX28" fmla="*/ 200216 w 233171"/>
                <a:gd name="connsiteY28" fmla="*/ 210026 h 330898"/>
                <a:gd name="connsiteX29" fmla="*/ 193262 w 233171"/>
                <a:gd name="connsiteY29" fmla="*/ 173641 h 330898"/>
                <a:gd name="connsiteX30" fmla="*/ 174498 w 233171"/>
                <a:gd name="connsiteY30" fmla="*/ 145732 h 330898"/>
                <a:gd name="connsiteX31" fmla="*/ 147733 w 233171"/>
                <a:gd name="connsiteY31" fmla="*/ 127635 h 330898"/>
                <a:gd name="connsiteX32" fmla="*/ 116681 w 233171"/>
                <a:gd name="connsiteY32" fmla="*/ 121158 h 330898"/>
                <a:gd name="connsiteX33" fmla="*/ 84963 w 233171"/>
                <a:gd name="connsiteY33" fmla="*/ 127159 h 330898"/>
                <a:gd name="connsiteX34" fmla="*/ 59341 w 233171"/>
                <a:gd name="connsiteY34" fmla="*/ 144589 h 330898"/>
                <a:gd name="connsiteX35" fmla="*/ 41910 w 233171"/>
                <a:gd name="connsiteY35" fmla="*/ 172498 h 330898"/>
                <a:gd name="connsiteX36" fmla="*/ 35433 w 233171"/>
                <a:gd name="connsiteY36" fmla="*/ 210026 h 330898"/>
                <a:gd name="connsiteX37" fmla="*/ 35433 w 233171"/>
                <a:gd name="connsiteY37" fmla="*/ 210883 h 330898"/>
                <a:gd name="connsiteX38" fmla="*/ 41910 w 233171"/>
                <a:gd name="connsiteY38" fmla="*/ 247936 h 330898"/>
                <a:gd name="connsiteX39" fmla="*/ 59531 w 233171"/>
                <a:gd name="connsiteY39" fmla="*/ 276034 h 330898"/>
                <a:gd name="connsiteX40" fmla="*/ 85439 w 233171"/>
                <a:gd name="connsiteY40" fmla="*/ 293941 h 330898"/>
                <a:gd name="connsiteX41" fmla="*/ 116681 w 23317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3171" h="330898">
                  <a:moveTo>
                    <a:pt x="110394" y="330898"/>
                  </a:moveTo>
                  <a:cubicBezTo>
                    <a:pt x="96393" y="330898"/>
                    <a:pt x="82868" y="328231"/>
                    <a:pt x="69723" y="322897"/>
                  </a:cubicBezTo>
                  <a:cubicBezTo>
                    <a:pt x="56674" y="317563"/>
                    <a:pt x="44863" y="309753"/>
                    <a:pt x="34480" y="299466"/>
                  </a:cubicBezTo>
                  <a:cubicBezTo>
                    <a:pt x="24003" y="289179"/>
                    <a:pt x="15716" y="276701"/>
                    <a:pt x="9430" y="261938"/>
                  </a:cubicBezTo>
                  <a:cubicBezTo>
                    <a:pt x="3143" y="247174"/>
                    <a:pt x="0" y="230314"/>
                    <a:pt x="0" y="211264"/>
                  </a:cubicBezTo>
                  <a:lnTo>
                    <a:pt x="0" y="210407"/>
                  </a:lnTo>
                  <a:cubicBezTo>
                    <a:pt x="0" y="191643"/>
                    <a:pt x="3143" y="174879"/>
                    <a:pt x="9430" y="159925"/>
                  </a:cubicBezTo>
                  <a:cubicBezTo>
                    <a:pt x="15716" y="145066"/>
                    <a:pt x="24003" y="132493"/>
                    <a:pt x="34480" y="122206"/>
                  </a:cubicBezTo>
                  <a:cubicBezTo>
                    <a:pt x="44863" y="111919"/>
                    <a:pt x="56674" y="104013"/>
                    <a:pt x="69723" y="98488"/>
                  </a:cubicBezTo>
                  <a:cubicBezTo>
                    <a:pt x="82868" y="92964"/>
                    <a:pt x="96393" y="90202"/>
                    <a:pt x="110394" y="90202"/>
                  </a:cubicBezTo>
                  <a:cubicBezTo>
                    <a:pt x="121158" y="90202"/>
                    <a:pt x="130969" y="91535"/>
                    <a:pt x="139827" y="94202"/>
                  </a:cubicBezTo>
                  <a:cubicBezTo>
                    <a:pt x="148780" y="96869"/>
                    <a:pt x="156782" y="100489"/>
                    <a:pt x="163925" y="104870"/>
                  </a:cubicBezTo>
                  <a:cubicBezTo>
                    <a:pt x="171069" y="109347"/>
                    <a:pt x="177546" y="114586"/>
                    <a:pt x="183356" y="120491"/>
                  </a:cubicBezTo>
                  <a:cubicBezTo>
                    <a:pt x="189166" y="126492"/>
                    <a:pt x="194310" y="132683"/>
                    <a:pt x="198787" y="139255"/>
                  </a:cubicBezTo>
                  <a:lnTo>
                    <a:pt x="198787" y="0"/>
                  </a:lnTo>
                  <a:lnTo>
                    <a:pt x="233172" y="0"/>
                  </a:lnTo>
                  <a:lnTo>
                    <a:pt x="233172" y="325850"/>
                  </a:lnTo>
                  <a:lnTo>
                    <a:pt x="198787" y="325850"/>
                  </a:lnTo>
                  <a:lnTo>
                    <a:pt x="198787" y="279463"/>
                  </a:lnTo>
                  <a:cubicBezTo>
                    <a:pt x="194024" y="286321"/>
                    <a:pt x="188786" y="292894"/>
                    <a:pt x="182975" y="299085"/>
                  </a:cubicBezTo>
                  <a:cubicBezTo>
                    <a:pt x="177165" y="305371"/>
                    <a:pt x="170688" y="310896"/>
                    <a:pt x="163544" y="315658"/>
                  </a:cubicBezTo>
                  <a:cubicBezTo>
                    <a:pt x="156400" y="320421"/>
                    <a:pt x="148494" y="324136"/>
                    <a:pt x="139636" y="326803"/>
                  </a:cubicBezTo>
                  <a:cubicBezTo>
                    <a:pt x="130873" y="329470"/>
                    <a:pt x="121158" y="330803"/>
                    <a:pt x="110394" y="330803"/>
                  </a:cubicBezTo>
                  <a:close/>
                  <a:moveTo>
                    <a:pt x="116681" y="300133"/>
                  </a:moveTo>
                  <a:cubicBezTo>
                    <a:pt x="127445" y="300133"/>
                    <a:pt x="137732" y="297942"/>
                    <a:pt x="147733" y="293656"/>
                  </a:cubicBezTo>
                  <a:cubicBezTo>
                    <a:pt x="157734" y="289369"/>
                    <a:pt x="166592" y="283273"/>
                    <a:pt x="174498" y="275368"/>
                  </a:cubicBezTo>
                  <a:cubicBezTo>
                    <a:pt x="182404" y="267462"/>
                    <a:pt x="188595" y="258127"/>
                    <a:pt x="193262" y="247269"/>
                  </a:cubicBezTo>
                  <a:cubicBezTo>
                    <a:pt x="197834" y="236410"/>
                    <a:pt x="200216" y="224314"/>
                    <a:pt x="200216" y="210883"/>
                  </a:cubicBezTo>
                  <a:lnTo>
                    <a:pt x="200216" y="210026"/>
                  </a:lnTo>
                  <a:cubicBezTo>
                    <a:pt x="200216" y="196596"/>
                    <a:pt x="197929" y="184499"/>
                    <a:pt x="193262" y="173641"/>
                  </a:cubicBezTo>
                  <a:cubicBezTo>
                    <a:pt x="188595" y="162782"/>
                    <a:pt x="182404" y="153448"/>
                    <a:pt x="174498" y="145732"/>
                  </a:cubicBezTo>
                  <a:cubicBezTo>
                    <a:pt x="166592" y="138017"/>
                    <a:pt x="157639" y="132016"/>
                    <a:pt x="147733" y="127635"/>
                  </a:cubicBezTo>
                  <a:cubicBezTo>
                    <a:pt x="137732" y="123349"/>
                    <a:pt x="127445" y="121158"/>
                    <a:pt x="116681" y="121158"/>
                  </a:cubicBezTo>
                  <a:cubicBezTo>
                    <a:pt x="105346" y="121158"/>
                    <a:pt x="94774" y="123158"/>
                    <a:pt x="84963" y="127159"/>
                  </a:cubicBezTo>
                  <a:cubicBezTo>
                    <a:pt x="75152" y="131159"/>
                    <a:pt x="66580" y="136969"/>
                    <a:pt x="59341" y="144589"/>
                  </a:cubicBezTo>
                  <a:cubicBezTo>
                    <a:pt x="52007" y="152114"/>
                    <a:pt x="46291" y="161449"/>
                    <a:pt x="41910" y="172498"/>
                  </a:cubicBezTo>
                  <a:cubicBezTo>
                    <a:pt x="37624" y="183451"/>
                    <a:pt x="35433" y="196024"/>
                    <a:pt x="35433" y="210026"/>
                  </a:cubicBezTo>
                  <a:lnTo>
                    <a:pt x="35433" y="210883"/>
                  </a:lnTo>
                  <a:cubicBezTo>
                    <a:pt x="35433" y="224599"/>
                    <a:pt x="37624" y="236982"/>
                    <a:pt x="41910" y="247936"/>
                  </a:cubicBezTo>
                  <a:cubicBezTo>
                    <a:pt x="46196" y="258984"/>
                    <a:pt x="52101" y="268319"/>
                    <a:pt x="59531" y="276034"/>
                  </a:cubicBezTo>
                  <a:cubicBezTo>
                    <a:pt x="66960" y="283750"/>
                    <a:pt x="75629" y="289750"/>
                    <a:pt x="85439" y="293941"/>
                  </a:cubicBezTo>
                  <a:cubicBezTo>
                    <a:pt x="95250" y="298132"/>
                    <a:pt x="105632" y="300228"/>
                    <a:pt x="116681" y="300228"/>
                  </a:cubicBezTo>
                  <a:close/>
                </a:path>
              </a:pathLst>
            </a:custGeom>
            <a:solidFill>
              <a:srgbClr val="44505E"/>
            </a:solidFill>
            <a:ln w="9525" cap="flat">
              <a:noFill/>
              <a:prstDash val="solid"/>
              <a:miter/>
            </a:ln>
          </p:spPr>
          <p:txBody>
            <a:bodyPr rtlCol="0" anchor="ctr"/>
            <a:lstStyle/>
            <a:p>
              <a:endParaRPr lang="pt-BR" noProof="0"/>
            </a:p>
          </p:txBody>
        </p:sp>
        <p:sp>
          <p:nvSpPr>
            <p:cNvPr id="40" name="Freeform: Shape 52">
              <a:extLst>
                <a:ext uri="{FF2B5EF4-FFF2-40B4-BE49-F238E27FC236}">
                  <a16:creationId xmlns:a16="http://schemas.microsoft.com/office/drawing/2014/main" id="{2CE61777-5C77-5143-816C-6635527A8214}"/>
                </a:ext>
              </a:extLst>
            </p:cNvPr>
            <p:cNvSpPr/>
            <p:nvPr/>
          </p:nvSpPr>
          <p:spPr>
            <a:xfrm>
              <a:off x="6586762"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0 w 202977"/>
                <a:gd name="connsiteY16" fmla="*/ 48196 h 239267"/>
                <a:gd name="connsiteX17" fmla="*/ 20383 w 202977"/>
                <a:gd name="connsiteY17" fmla="*/ 19907 h 239267"/>
                <a:gd name="connsiteX18" fmla="*/ 59245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0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1"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675" y="92678"/>
                    <a:pt x="84011" y="90964"/>
                    <a:pt x="98584" y="90964"/>
                  </a:cubicBezTo>
                  <a:cubicBezTo>
                    <a:pt x="113157" y="90964"/>
                    <a:pt x="126302"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0" y="33147"/>
                    <a:pt x="63436" y="36100"/>
                  </a:cubicBezTo>
                  <a:cubicBezTo>
                    <a:pt x="52292" y="39053"/>
                    <a:pt x="41338" y="43053"/>
                    <a:pt x="30670" y="48196"/>
                  </a:cubicBezTo>
                  <a:lnTo>
                    <a:pt x="20383" y="19907"/>
                  </a:lnTo>
                  <a:cubicBezTo>
                    <a:pt x="33147" y="13906"/>
                    <a:pt x="46101" y="9049"/>
                    <a:pt x="59245" y="5429"/>
                  </a:cubicBezTo>
                  <a:cubicBezTo>
                    <a:pt x="72294" y="1810"/>
                    <a:pt x="87344" y="0"/>
                    <a:pt x="104299" y="0"/>
                  </a:cubicBezTo>
                  <a:cubicBezTo>
                    <a:pt x="137064" y="0"/>
                    <a:pt x="161925" y="8477"/>
                    <a:pt x="178879" y="25432"/>
                  </a:cubicBezTo>
                  <a:cubicBezTo>
                    <a:pt x="194976"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0" y="239173"/>
                  </a:cubicBezTo>
                  <a:close/>
                  <a:moveTo>
                    <a:pt x="93154" y="211169"/>
                  </a:moveTo>
                  <a:cubicBezTo>
                    <a:pt x="103822" y="211169"/>
                    <a:pt x="113729" y="209740"/>
                    <a:pt x="122967" y="206788"/>
                  </a:cubicBezTo>
                  <a:cubicBezTo>
                    <a:pt x="132207"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4" y="119348"/>
                    <a:pt x="116871"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noProof="0"/>
            </a:p>
          </p:txBody>
        </p:sp>
        <p:sp>
          <p:nvSpPr>
            <p:cNvPr id="41" name="Freeform: Shape 53">
              <a:extLst>
                <a:ext uri="{FF2B5EF4-FFF2-40B4-BE49-F238E27FC236}">
                  <a16:creationId xmlns:a16="http://schemas.microsoft.com/office/drawing/2014/main" id="{6E8C9AFD-5BED-B42A-620C-B76925481E6A}"/>
                </a:ext>
              </a:extLst>
            </p:cNvPr>
            <p:cNvSpPr/>
            <p:nvPr/>
          </p:nvSpPr>
          <p:spPr>
            <a:xfrm>
              <a:off x="6651291" y="924268"/>
              <a:ext cx="44680" cy="60195"/>
            </a:xfrm>
            <a:custGeom>
              <a:avLst/>
              <a:gdLst>
                <a:gd name="connsiteX0" fmla="*/ 95535 w 177736"/>
                <a:gd name="connsiteY0" fmla="*/ 239268 h 239458"/>
                <a:gd name="connsiteX1" fmla="*/ 45053 w 177736"/>
                <a:gd name="connsiteY1" fmla="*/ 230124 h 239458"/>
                <a:gd name="connsiteX2" fmla="*/ 0 w 177736"/>
                <a:gd name="connsiteY2" fmla="*/ 205359 h 239458"/>
                <a:gd name="connsiteX3" fmla="*/ 17430 w 177736"/>
                <a:gd name="connsiteY3" fmla="*/ 180785 h 239458"/>
                <a:gd name="connsiteX4" fmla="*/ 56483 w 177736"/>
                <a:gd name="connsiteY4" fmla="*/ 202692 h 239458"/>
                <a:gd name="connsiteX5" fmla="*/ 97345 w 177736"/>
                <a:gd name="connsiteY5" fmla="*/ 210217 h 239458"/>
                <a:gd name="connsiteX6" fmla="*/ 131730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825 w 177736"/>
                <a:gd name="connsiteY10" fmla="*/ 147066 h 239458"/>
                <a:gd name="connsiteX11" fmla="*/ 109251 w 177736"/>
                <a:gd name="connsiteY11" fmla="*/ 138779 h 239458"/>
                <a:gd name="connsiteX12" fmla="*/ 87630 w 177736"/>
                <a:gd name="connsiteY12" fmla="*/ 132112 h 239458"/>
                <a:gd name="connsiteX13" fmla="*/ 60579 w 177736"/>
                <a:gd name="connsiteY13" fmla="*/ 123444 h 239458"/>
                <a:gd name="connsiteX14" fmla="*/ 36004 w 177736"/>
                <a:gd name="connsiteY14" fmla="*/ 111633 h 239458"/>
                <a:gd name="connsiteX15" fmla="*/ 18192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59 w 177736"/>
                <a:gd name="connsiteY22" fmla="*/ 6953 h 239458"/>
                <a:gd name="connsiteX23" fmla="*/ 172878 w 177736"/>
                <a:gd name="connsiteY23" fmla="*/ 25527 h 239458"/>
                <a:gd name="connsiteX24" fmla="*/ 157257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3 w 177736"/>
                <a:gd name="connsiteY32" fmla="*/ 96203 h 239458"/>
                <a:gd name="connsiteX33" fmla="*/ 103631 w 177736"/>
                <a:gd name="connsiteY33" fmla="*/ 103346 h 239458"/>
                <a:gd name="connsiteX34" fmla="*/ 130207 w 177736"/>
                <a:gd name="connsiteY34" fmla="*/ 112300 h 239458"/>
                <a:gd name="connsiteX35" fmla="*/ 154114 w 177736"/>
                <a:gd name="connsiteY35" fmla="*/ 124778 h 239458"/>
                <a:gd name="connsiteX36" fmla="*/ 171259 w 177736"/>
                <a:gd name="connsiteY36" fmla="*/ 143066 h 239458"/>
                <a:gd name="connsiteX37" fmla="*/ 177736 w 177736"/>
                <a:gd name="connsiteY37" fmla="*/ 169450 h 239458"/>
                <a:gd name="connsiteX38" fmla="*/ 177736 w 177736"/>
                <a:gd name="connsiteY38" fmla="*/ 170307 h 239458"/>
                <a:gd name="connsiteX39" fmla="*/ 171259 w 177736"/>
                <a:gd name="connsiteY39" fmla="*/ 199549 h 239458"/>
                <a:gd name="connsiteX40" fmla="*/ 153828 w 177736"/>
                <a:gd name="connsiteY40" fmla="*/ 221171 h 239458"/>
                <a:gd name="connsiteX41" fmla="*/ 127921 w 177736"/>
                <a:gd name="connsiteY41" fmla="*/ 234791 h 239458"/>
                <a:gd name="connsiteX42" fmla="*/ 95535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5" y="239268"/>
                  </a:moveTo>
                  <a:cubicBezTo>
                    <a:pt x="78867" y="239268"/>
                    <a:pt x="62007" y="236220"/>
                    <a:pt x="45053" y="230124"/>
                  </a:cubicBezTo>
                  <a:cubicBezTo>
                    <a:pt x="28098" y="224028"/>
                    <a:pt x="13049" y="215741"/>
                    <a:pt x="0" y="205359"/>
                  </a:cubicBezTo>
                  <a:lnTo>
                    <a:pt x="17430" y="180785"/>
                  </a:lnTo>
                  <a:cubicBezTo>
                    <a:pt x="29908" y="190310"/>
                    <a:pt x="42957" y="197644"/>
                    <a:pt x="56483" y="202692"/>
                  </a:cubicBezTo>
                  <a:cubicBezTo>
                    <a:pt x="70009" y="207740"/>
                    <a:pt x="83629" y="210217"/>
                    <a:pt x="97345" y="210217"/>
                  </a:cubicBezTo>
                  <a:cubicBezTo>
                    <a:pt x="111061" y="210217"/>
                    <a:pt x="122777" y="206978"/>
                    <a:pt x="131730" y="200406"/>
                  </a:cubicBezTo>
                  <a:cubicBezTo>
                    <a:pt x="140684" y="193834"/>
                    <a:pt x="145161" y="184976"/>
                    <a:pt x="145161" y="173641"/>
                  </a:cubicBezTo>
                  <a:lnTo>
                    <a:pt x="145161" y="172784"/>
                  </a:lnTo>
                  <a:cubicBezTo>
                    <a:pt x="145161" y="167164"/>
                    <a:pt x="143541" y="162211"/>
                    <a:pt x="140494" y="158020"/>
                  </a:cubicBezTo>
                  <a:cubicBezTo>
                    <a:pt x="137350" y="153829"/>
                    <a:pt x="133159" y="150209"/>
                    <a:pt x="127825" y="147066"/>
                  </a:cubicBezTo>
                  <a:cubicBezTo>
                    <a:pt x="122491" y="143923"/>
                    <a:pt x="116300" y="141161"/>
                    <a:pt x="109251" y="138779"/>
                  </a:cubicBezTo>
                  <a:cubicBezTo>
                    <a:pt x="102298" y="136398"/>
                    <a:pt x="95059" y="134207"/>
                    <a:pt x="87630" y="132112"/>
                  </a:cubicBezTo>
                  <a:cubicBezTo>
                    <a:pt x="78676" y="129445"/>
                    <a:pt x="69722" y="126492"/>
                    <a:pt x="60579" y="123444"/>
                  </a:cubicBezTo>
                  <a:cubicBezTo>
                    <a:pt x="51530" y="120301"/>
                    <a:pt x="43339" y="116396"/>
                    <a:pt x="36004" y="111633"/>
                  </a:cubicBezTo>
                  <a:cubicBezTo>
                    <a:pt x="28670" y="106871"/>
                    <a:pt x="22764" y="100870"/>
                    <a:pt x="18192" y="93726"/>
                  </a:cubicBezTo>
                  <a:cubicBezTo>
                    <a:pt x="13525" y="86582"/>
                    <a:pt x="11239" y="77629"/>
                    <a:pt x="11239" y="66961"/>
                  </a:cubicBezTo>
                  <a:lnTo>
                    <a:pt x="11239" y="66008"/>
                  </a:lnTo>
                  <a:cubicBezTo>
                    <a:pt x="11239" y="56198"/>
                    <a:pt x="13144" y="47149"/>
                    <a:pt x="17050" y="39053"/>
                  </a:cubicBezTo>
                  <a:cubicBezTo>
                    <a:pt x="20955" y="30861"/>
                    <a:pt x="26384" y="23908"/>
                    <a:pt x="33338" y="18098"/>
                  </a:cubicBezTo>
                  <a:cubicBezTo>
                    <a:pt x="40291" y="12287"/>
                    <a:pt x="48673" y="7811"/>
                    <a:pt x="58388" y="4667"/>
                  </a:cubicBezTo>
                  <a:cubicBezTo>
                    <a:pt x="68008" y="1524"/>
                    <a:pt x="78581" y="0"/>
                    <a:pt x="89821" y="0"/>
                  </a:cubicBezTo>
                  <a:cubicBezTo>
                    <a:pt x="104108" y="0"/>
                    <a:pt x="118586" y="2286"/>
                    <a:pt x="133159" y="6953"/>
                  </a:cubicBezTo>
                  <a:cubicBezTo>
                    <a:pt x="147732" y="11621"/>
                    <a:pt x="160972" y="17717"/>
                    <a:pt x="172878" y="25527"/>
                  </a:cubicBezTo>
                  <a:lnTo>
                    <a:pt x="157257" y="51435"/>
                  </a:lnTo>
                  <a:cubicBezTo>
                    <a:pt x="146494" y="44577"/>
                    <a:pt x="135255" y="39148"/>
                    <a:pt x="123539" y="35147"/>
                  </a:cubicBezTo>
                  <a:cubicBezTo>
                    <a:pt x="111823" y="31147"/>
                    <a:pt x="100203" y="29146"/>
                    <a:pt x="88963" y="29146"/>
                  </a:cubicBezTo>
                  <a:cubicBezTo>
                    <a:pt x="75247" y="29146"/>
                    <a:pt x="64389" y="32385"/>
                    <a:pt x="56388" y="38767"/>
                  </a:cubicBezTo>
                  <a:cubicBezTo>
                    <a:pt x="48291" y="45149"/>
                    <a:pt x="44291" y="53150"/>
                    <a:pt x="44291" y="62675"/>
                  </a:cubicBezTo>
                  <a:lnTo>
                    <a:pt x="44291" y="63627"/>
                  </a:lnTo>
                  <a:cubicBezTo>
                    <a:pt x="44291" y="68961"/>
                    <a:pt x="45910" y="73628"/>
                    <a:pt x="49244" y="77724"/>
                  </a:cubicBezTo>
                  <a:cubicBezTo>
                    <a:pt x="52482" y="81725"/>
                    <a:pt x="56864" y="85249"/>
                    <a:pt x="62389" y="88202"/>
                  </a:cubicBezTo>
                  <a:cubicBezTo>
                    <a:pt x="67913" y="91154"/>
                    <a:pt x="74200" y="93821"/>
                    <a:pt x="81343" y="96203"/>
                  </a:cubicBezTo>
                  <a:cubicBezTo>
                    <a:pt x="88487" y="98584"/>
                    <a:pt x="95916" y="100965"/>
                    <a:pt x="103631" y="103346"/>
                  </a:cubicBezTo>
                  <a:cubicBezTo>
                    <a:pt x="112585" y="106013"/>
                    <a:pt x="121444" y="108966"/>
                    <a:pt x="130207" y="112300"/>
                  </a:cubicBezTo>
                  <a:cubicBezTo>
                    <a:pt x="138969" y="115538"/>
                    <a:pt x="146971" y="119729"/>
                    <a:pt x="154114" y="124778"/>
                  </a:cubicBezTo>
                  <a:cubicBezTo>
                    <a:pt x="161258" y="129826"/>
                    <a:pt x="166973" y="135922"/>
                    <a:pt x="171259" y="143066"/>
                  </a:cubicBezTo>
                  <a:cubicBezTo>
                    <a:pt x="175546" y="150209"/>
                    <a:pt x="177736" y="158972"/>
                    <a:pt x="177736" y="169450"/>
                  </a:cubicBezTo>
                  <a:lnTo>
                    <a:pt x="177736" y="170307"/>
                  </a:lnTo>
                  <a:cubicBezTo>
                    <a:pt x="177736" y="181356"/>
                    <a:pt x="175546" y="191071"/>
                    <a:pt x="171259" y="199549"/>
                  </a:cubicBezTo>
                  <a:cubicBezTo>
                    <a:pt x="166973" y="208026"/>
                    <a:pt x="161163" y="215265"/>
                    <a:pt x="153828" y="221171"/>
                  </a:cubicBezTo>
                  <a:cubicBezTo>
                    <a:pt x="146589" y="227171"/>
                    <a:pt x="137922" y="231648"/>
                    <a:pt x="127921" y="234791"/>
                  </a:cubicBezTo>
                  <a:cubicBezTo>
                    <a:pt x="117919" y="237935"/>
                    <a:pt x="107156" y="239459"/>
                    <a:pt x="95535" y="239459"/>
                  </a:cubicBezTo>
                  <a:close/>
                </a:path>
              </a:pathLst>
            </a:custGeom>
            <a:solidFill>
              <a:srgbClr val="44505E"/>
            </a:solidFill>
            <a:ln w="9525" cap="flat">
              <a:noFill/>
              <a:prstDash val="solid"/>
              <a:miter/>
            </a:ln>
          </p:spPr>
          <p:txBody>
            <a:bodyPr rtlCol="0" anchor="ctr"/>
            <a:lstStyle/>
            <a:p>
              <a:endParaRPr lang="pt-BR" noProof="0"/>
            </a:p>
          </p:txBody>
        </p:sp>
        <p:sp>
          <p:nvSpPr>
            <p:cNvPr id="42" name="Freeform: Shape 54">
              <a:extLst>
                <a:ext uri="{FF2B5EF4-FFF2-40B4-BE49-F238E27FC236}">
                  <a16:creationId xmlns:a16="http://schemas.microsoft.com/office/drawing/2014/main" id="{5EC6CB73-942E-DF9D-93BB-CB60A2A11FF1}"/>
                </a:ext>
              </a:extLst>
            </p:cNvPr>
            <p:cNvSpPr/>
            <p:nvPr/>
          </p:nvSpPr>
          <p:spPr>
            <a:xfrm>
              <a:off x="5250320" y="846952"/>
              <a:ext cx="1459036" cy="16186"/>
            </a:xfrm>
            <a:custGeom>
              <a:avLst/>
              <a:gdLst>
                <a:gd name="connsiteX0" fmla="*/ 0 w 5804058"/>
                <a:gd name="connsiteY0" fmla="*/ 0 h 64388"/>
                <a:gd name="connsiteX1" fmla="*/ 5804059 w 5804058"/>
                <a:gd name="connsiteY1" fmla="*/ 0 h 64388"/>
                <a:gd name="connsiteX2" fmla="*/ 5804059 w 5804058"/>
                <a:gd name="connsiteY2" fmla="*/ 64389 h 64388"/>
                <a:gd name="connsiteX3" fmla="*/ 0 w 5804058"/>
                <a:gd name="connsiteY3" fmla="*/ 64389 h 64388"/>
              </a:gdLst>
              <a:ahLst/>
              <a:cxnLst>
                <a:cxn ang="0">
                  <a:pos x="connsiteX0" y="connsiteY0"/>
                </a:cxn>
                <a:cxn ang="0">
                  <a:pos x="connsiteX1" y="connsiteY1"/>
                </a:cxn>
                <a:cxn ang="0">
                  <a:pos x="connsiteX2" y="connsiteY2"/>
                </a:cxn>
                <a:cxn ang="0">
                  <a:pos x="connsiteX3" y="connsiteY3"/>
                </a:cxn>
              </a:cxnLst>
              <a:rect l="l" t="t" r="r" b="b"/>
              <a:pathLst>
                <a:path w="5804058" h="64388">
                  <a:moveTo>
                    <a:pt x="0" y="0"/>
                  </a:moveTo>
                  <a:lnTo>
                    <a:pt x="5804059" y="0"/>
                  </a:lnTo>
                  <a:lnTo>
                    <a:pt x="5804059" y="64389"/>
                  </a:lnTo>
                  <a:lnTo>
                    <a:pt x="0" y="64389"/>
                  </a:lnTo>
                  <a:close/>
                </a:path>
              </a:pathLst>
            </a:custGeom>
            <a:solidFill>
              <a:srgbClr val="44505E"/>
            </a:solidFill>
            <a:ln w="9525" cap="flat">
              <a:noFill/>
              <a:prstDash val="solid"/>
              <a:miter/>
            </a:ln>
          </p:spPr>
          <p:txBody>
            <a:bodyPr rtlCol="0" anchor="ctr"/>
            <a:lstStyle/>
            <a:p>
              <a:endParaRPr lang="pt-BR" noProof="0"/>
            </a:p>
          </p:txBody>
        </p:sp>
        <p:sp>
          <p:nvSpPr>
            <p:cNvPr id="43" name="Freeform: Shape 55">
              <a:extLst>
                <a:ext uri="{FF2B5EF4-FFF2-40B4-BE49-F238E27FC236}">
                  <a16:creationId xmlns:a16="http://schemas.microsoft.com/office/drawing/2014/main" id="{29F4A552-9AF6-ED32-1E1F-95720673AA61}"/>
                </a:ext>
              </a:extLst>
            </p:cNvPr>
            <p:cNvSpPr/>
            <p:nvPr/>
          </p:nvSpPr>
          <p:spPr>
            <a:xfrm>
              <a:off x="6902633" y="268821"/>
              <a:ext cx="273418" cy="601046"/>
            </a:xfrm>
            <a:custGeom>
              <a:avLst/>
              <a:gdLst>
                <a:gd name="connsiteX0" fmla="*/ 0 w 1087659"/>
                <a:gd name="connsiteY0" fmla="*/ 210979 h 2390965"/>
                <a:gd name="connsiteX1" fmla="*/ 125063 w 1087659"/>
                <a:gd name="connsiteY1" fmla="*/ 103442 h 2390965"/>
                <a:gd name="connsiteX2" fmla="*/ 250031 w 1087659"/>
                <a:gd name="connsiteY2" fmla="*/ 210979 h 2390965"/>
                <a:gd name="connsiteX3" fmla="*/ 250031 w 1087659"/>
                <a:gd name="connsiteY3" fmla="*/ 1922717 h 2390965"/>
                <a:gd name="connsiteX4" fmla="*/ 249841 w 1087659"/>
                <a:gd name="connsiteY4" fmla="*/ 1922717 h 2390965"/>
                <a:gd name="connsiteX5" fmla="*/ 249841 w 1087659"/>
                <a:gd name="connsiteY5" fmla="*/ 1925955 h 2390965"/>
                <a:gd name="connsiteX6" fmla="*/ 333756 w 1087659"/>
                <a:gd name="connsiteY6" fmla="*/ 2100263 h 2390965"/>
                <a:gd name="connsiteX7" fmla="*/ 335566 w 1087659"/>
                <a:gd name="connsiteY7" fmla="*/ 2101787 h 2390965"/>
                <a:gd name="connsiteX8" fmla="*/ 336042 w 1087659"/>
                <a:gd name="connsiteY8" fmla="*/ 2102168 h 2390965"/>
                <a:gd name="connsiteX9" fmla="*/ 543877 w 1087659"/>
                <a:gd name="connsiteY9" fmla="*/ 2175891 h 2390965"/>
                <a:gd name="connsiteX10" fmla="*/ 749998 w 1087659"/>
                <a:gd name="connsiteY10" fmla="*/ 2103692 h 2390965"/>
                <a:gd name="connsiteX11" fmla="*/ 751713 w 1087659"/>
                <a:gd name="connsiteY11" fmla="*/ 2102168 h 2390965"/>
                <a:gd name="connsiteX12" fmla="*/ 752189 w 1087659"/>
                <a:gd name="connsiteY12" fmla="*/ 2101787 h 2390965"/>
                <a:gd name="connsiteX13" fmla="*/ 837819 w 1087659"/>
                <a:gd name="connsiteY13" fmla="*/ 1922812 h 2390965"/>
                <a:gd name="connsiteX14" fmla="*/ 837819 w 1087659"/>
                <a:gd name="connsiteY14" fmla="*/ 107537 h 2390965"/>
                <a:gd name="connsiteX15" fmla="*/ 962787 w 1087659"/>
                <a:gd name="connsiteY15" fmla="*/ 0 h 2390965"/>
                <a:gd name="connsiteX16" fmla="*/ 1087660 w 1087659"/>
                <a:gd name="connsiteY16" fmla="*/ 107537 h 2390965"/>
                <a:gd name="connsiteX17" fmla="*/ 1087660 w 1087659"/>
                <a:gd name="connsiteY17" fmla="*/ 1922621 h 2390965"/>
                <a:gd name="connsiteX18" fmla="*/ 928307 w 1087659"/>
                <a:gd name="connsiteY18" fmla="*/ 2253234 h 2390965"/>
                <a:gd name="connsiteX19" fmla="*/ 928116 w 1087659"/>
                <a:gd name="connsiteY19" fmla="*/ 2253424 h 2390965"/>
                <a:gd name="connsiteX20" fmla="*/ 927830 w 1087659"/>
                <a:gd name="connsiteY20" fmla="*/ 2253710 h 2390965"/>
                <a:gd name="connsiteX21" fmla="*/ 927354 w 1087659"/>
                <a:gd name="connsiteY21" fmla="*/ 2254187 h 2390965"/>
                <a:gd name="connsiteX22" fmla="*/ 543783 w 1087659"/>
                <a:gd name="connsiteY22" fmla="*/ 2390966 h 2390965"/>
                <a:gd name="connsiteX23" fmla="*/ 159734 w 1087659"/>
                <a:gd name="connsiteY23" fmla="*/ 2253710 h 2390965"/>
                <a:gd name="connsiteX24" fmla="*/ 159734 w 1087659"/>
                <a:gd name="connsiteY24" fmla="*/ 2253424 h 2390965"/>
                <a:gd name="connsiteX25" fmla="*/ 159353 w 1087659"/>
                <a:gd name="connsiteY25" fmla="*/ 2253234 h 2390965"/>
                <a:gd name="connsiteX26" fmla="*/ 158877 w 1087659"/>
                <a:gd name="connsiteY26" fmla="*/ 2252948 h 2390965"/>
                <a:gd name="connsiteX27" fmla="*/ 0 w 1087659"/>
                <a:gd name="connsiteY27" fmla="*/ 1922621 h 2390965"/>
                <a:gd name="connsiteX28" fmla="*/ 0 w 1087659"/>
                <a:gd name="connsiteY28" fmla="*/ 1922621 h 2390965"/>
                <a:gd name="connsiteX29" fmla="*/ 0 w 1087659"/>
                <a:gd name="connsiteY29" fmla="*/ 210979 h 239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87659" h="2390965">
                  <a:moveTo>
                    <a:pt x="0" y="210979"/>
                  </a:moveTo>
                  <a:cubicBezTo>
                    <a:pt x="0" y="151638"/>
                    <a:pt x="56007" y="103442"/>
                    <a:pt x="125063" y="103442"/>
                  </a:cubicBezTo>
                  <a:cubicBezTo>
                    <a:pt x="194120" y="103442"/>
                    <a:pt x="250031" y="151638"/>
                    <a:pt x="250031" y="210979"/>
                  </a:cubicBezTo>
                  <a:lnTo>
                    <a:pt x="250031" y="1922717"/>
                  </a:lnTo>
                  <a:lnTo>
                    <a:pt x="249841" y="1922717"/>
                  </a:lnTo>
                  <a:lnTo>
                    <a:pt x="249841" y="1925955"/>
                  </a:lnTo>
                  <a:cubicBezTo>
                    <a:pt x="250793" y="1994059"/>
                    <a:pt x="282797" y="2055495"/>
                    <a:pt x="333756" y="2100263"/>
                  </a:cubicBezTo>
                  <a:lnTo>
                    <a:pt x="335566" y="2101787"/>
                  </a:lnTo>
                  <a:lnTo>
                    <a:pt x="336042" y="2102168"/>
                  </a:lnTo>
                  <a:cubicBezTo>
                    <a:pt x="388906" y="2147697"/>
                    <a:pt x="462343" y="2175891"/>
                    <a:pt x="543877" y="2175891"/>
                  </a:cubicBezTo>
                  <a:cubicBezTo>
                    <a:pt x="625411" y="2175891"/>
                    <a:pt x="697420" y="2148364"/>
                    <a:pt x="749998" y="2103692"/>
                  </a:cubicBezTo>
                  <a:lnTo>
                    <a:pt x="751713" y="2102168"/>
                  </a:lnTo>
                  <a:lnTo>
                    <a:pt x="752189" y="2101787"/>
                  </a:lnTo>
                  <a:cubicBezTo>
                    <a:pt x="805053" y="2056352"/>
                    <a:pt x="837819" y="1993011"/>
                    <a:pt x="837819" y="1922812"/>
                  </a:cubicBezTo>
                  <a:lnTo>
                    <a:pt x="837819" y="107537"/>
                  </a:lnTo>
                  <a:cubicBezTo>
                    <a:pt x="837819" y="48196"/>
                    <a:pt x="893731" y="0"/>
                    <a:pt x="962787" y="0"/>
                  </a:cubicBezTo>
                  <a:cubicBezTo>
                    <a:pt x="1031843" y="0"/>
                    <a:pt x="1087660" y="48196"/>
                    <a:pt x="1087660" y="107537"/>
                  </a:cubicBezTo>
                  <a:lnTo>
                    <a:pt x="1087660" y="1922621"/>
                  </a:lnTo>
                  <a:cubicBezTo>
                    <a:pt x="1087660" y="2051399"/>
                    <a:pt x="1026795" y="2168366"/>
                    <a:pt x="928307" y="2253234"/>
                  </a:cubicBezTo>
                  <a:lnTo>
                    <a:pt x="928116" y="2253424"/>
                  </a:lnTo>
                  <a:lnTo>
                    <a:pt x="927830" y="2253710"/>
                  </a:lnTo>
                  <a:lnTo>
                    <a:pt x="927354" y="2254187"/>
                  </a:lnTo>
                  <a:cubicBezTo>
                    <a:pt x="828770" y="2338673"/>
                    <a:pt x="693134" y="2390966"/>
                    <a:pt x="543783" y="2390966"/>
                  </a:cubicBezTo>
                  <a:cubicBezTo>
                    <a:pt x="394430" y="2390966"/>
                    <a:pt x="258413" y="2338483"/>
                    <a:pt x="159734" y="2253710"/>
                  </a:cubicBezTo>
                  <a:lnTo>
                    <a:pt x="159734" y="2253424"/>
                  </a:lnTo>
                  <a:cubicBezTo>
                    <a:pt x="159734" y="2253424"/>
                    <a:pt x="159353" y="2253234"/>
                    <a:pt x="159353" y="2253234"/>
                  </a:cubicBezTo>
                  <a:lnTo>
                    <a:pt x="158877" y="2252948"/>
                  </a:lnTo>
                  <a:cubicBezTo>
                    <a:pt x="60770" y="2167985"/>
                    <a:pt x="0" y="2051304"/>
                    <a:pt x="0" y="1922621"/>
                  </a:cubicBezTo>
                  <a:lnTo>
                    <a:pt x="0" y="1922621"/>
                  </a:lnTo>
                  <a:lnTo>
                    <a:pt x="0" y="210979"/>
                  </a:lnTo>
                  <a:close/>
                </a:path>
              </a:pathLst>
            </a:custGeom>
            <a:solidFill>
              <a:srgbClr val="8FC640"/>
            </a:solidFill>
            <a:ln w="9525" cap="flat">
              <a:noFill/>
              <a:prstDash val="solid"/>
              <a:miter/>
            </a:ln>
          </p:spPr>
          <p:txBody>
            <a:bodyPr rtlCol="0" anchor="ctr"/>
            <a:lstStyle/>
            <a:p>
              <a:endParaRPr lang="pt-BR" noProof="0"/>
            </a:p>
          </p:txBody>
        </p:sp>
        <p:sp>
          <p:nvSpPr>
            <p:cNvPr id="44" name="Freeform: Shape 56">
              <a:extLst>
                <a:ext uri="{FF2B5EF4-FFF2-40B4-BE49-F238E27FC236}">
                  <a16:creationId xmlns:a16="http://schemas.microsoft.com/office/drawing/2014/main" id="{33109F9D-5A2F-591D-AF75-D57D5090DED8}"/>
                </a:ext>
              </a:extLst>
            </p:cNvPr>
            <p:cNvSpPr/>
            <p:nvPr/>
          </p:nvSpPr>
          <p:spPr>
            <a:xfrm>
              <a:off x="7013590" y="213965"/>
              <a:ext cx="54018" cy="562280"/>
            </a:xfrm>
            <a:custGeom>
              <a:avLst/>
              <a:gdLst>
                <a:gd name="connsiteX0" fmla="*/ 0 w 214883"/>
                <a:gd name="connsiteY0" fmla="*/ 107537 h 2236755"/>
                <a:gd name="connsiteX1" fmla="*/ 107537 w 214883"/>
                <a:gd name="connsiteY1" fmla="*/ 0 h 2236755"/>
                <a:gd name="connsiteX2" fmla="*/ 214884 w 214883"/>
                <a:gd name="connsiteY2" fmla="*/ 107537 h 2236755"/>
                <a:gd name="connsiteX3" fmla="*/ 214884 w 214883"/>
                <a:gd name="connsiteY3" fmla="*/ 2129219 h 2236755"/>
                <a:gd name="connsiteX4" fmla="*/ 107537 w 214883"/>
                <a:gd name="connsiteY4" fmla="*/ 2236756 h 2236755"/>
                <a:gd name="connsiteX5" fmla="*/ 0 w 214883"/>
                <a:gd name="connsiteY5" fmla="*/ 2129219 h 2236755"/>
                <a:gd name="connsiteX6" fmla="*/ 0 w 214883"/>
                <a:gd name="connsiteY6" fmla="*/ 107537 h 223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 h="2236755">
                  <a:moveTo>
                    <a:pt x="0" y="107537"/>
                  </a:moveTo>
                  <a:cubicBezTo>
                    <a:pt x="0" y="48197"/>
                    <a:pt x="48101" y="0"/>
                    <a:pt x="107537" y="0"/>
                  </a:cubicBezTo>
                  <a:cubicBezTo>
                    <a:pt x="166973" y="0"/>
                    <a:pt x="214884" y="48197"/>
                    <a:pt x="214884" y="107537"/>
                  </a:cubicBezTo>
                  <a:lnTo>
                    <a:pt x="214884" y="2129219"/>
                  </a:lnTo>
                  <a:cubicBezTo>
                    <a:pt x="214884" y="2188559"/>
                    <a:pt x="166782" y="2236756"/>
                    <a:pt x="107537" y="2236756"/>
                  </a:cubicBezTo>
                  <a:cubicBezTo>
                    <a:pt x="48291" y="2236756"/>
                    <a:pt x="0" y="2188559"/>
                    <a:pt x="0" y="2129219"/>
                  </a:cubicBezTo>
                  <a:lnTo>
                    <a:pt x="0" y="107537"/>
                  </a:lnTo>
                  <a:close/>
                </a:path>
              </a:pathLst>
            </a:custGeom>
            <a:solidFill>
              <a:srgbClr val="3698B0"/>
            </a:solidFill>
            <a:ln w="9525" cap="flat">
              <a:noFill/>
              <a:prstDash val="solid"/>
              <a:miter/>
            </a:ln>
          </p:spPr>
          <p:txBody>
            <a:bodyPr rtlCol="0" anchor="ctr"/>
            <a:lstStyle/>
            <a:p>
              <a:endParaRPr lang="pt-BR" noProof="0"/>
            </a:p>
          </p:txBody>
        </p:sp>
        <p:sp>
          <p:nvSpPr>
            <p:cNvPr id="45" name="Freeform: Shape 57">
              <a:extLst>
                <a:ext uri="{FF2B5EF4-FFF2-40B4-BE49-F238E27FC236}">
                  <a16:creationId xmlns:a16="http://schemas.microsoft.com/office/drawing/2014/main" id="{9D2D564B-CE2E-8061-C085-AB85F5F3EEB4}"/>
                </a:ext>
              </a:extLst>
            </p:cNvPr>
            <p:cNvSpPr/>
            <p:nvPr/>
          </p:nvSpPr>
          <p:spPr>
            <a:xfrm>
              <a:off x="6795770" y="332991"/>
              <a:ext cx="485994" cy="649437"/>
            </a:xfrm>
            <a:custGeom>
              <a:avLst/>
              <a:gdLst>
                <a:gd name="connsiteX0" fmla="*/ 1933290 w 1933289"/>
                <a:gd name="connsiteY0" fmla="*/ 138017 h 2583465"/>
                <a:gd name="connsiteX1" fmla="*/ 1933290 w 1933289"/>
                <a:gd name="connsiteY1" fmla="*/ 1734122 h 2583465"/>
                <a:gd name="connsiteX2" fmla="*/ 1796606 w 1933289"/>
                <a:gd name="connsiteY2" fmla="*/ 2229136 h 2583465"/>
                <a:gd name="connsiteX3" fmla="*/ 977742 w 1933289"/>
                <a:gd name="connsiteY3" fmla="*/ 2583466 h 2583465"/>
                <a:gd name="connsiteX4" fmla="*/ 955357 w 1933289"/>
                <a:gd name="connsiteY4" fmla="*/ 2583466 h 2583465"/>
                <a:gd name="connsiteX5" fmla="*/ 136589 w 1933289"/>
                <a:gd name="connsiteY5" fmla="*/ 2229136 h 2583465"/>
                <a:gd name="connsiteX6" fmla="*/ 0 w 1933289"/>
                <a:gd name="connsiteY6" fmla="*/ 1734122 h 2583465"/>
                <a:gd name="connsiteX7" fmla="*/ 0 w 1933289"/>
                <a:gd name="connsiteY7" fmla="*/ 794194 h 2583465"/>
                <a:gd name="connsiteX8" fmla="*/ 137827 w 1933289"/>
                <a:gd name="connsiteY8" fmla="*/ 656273 h 2583465"/>
                <a:gd name="connsiteX9" fmla="*/ 275463 w 1933289"/>
                <a:gd name="connsiteY9" fmla="*/ 794194 h 2583465"/>
                <a:gd name="connsiteX10" fmla="*/ 275463 w 1933289"/>
                <a:gd name="connsiteY10" fmla="*/ 1734122 h 2583465"/>
                <a:gd name="connsiteX11" fmla="*/ 354235 w 1933289"/>
                <a:gd name="connsiteY11" fmla="*/ 2059686 h 2583465"/>
                <a:gd name="connsiteX12" fmla="*/ 958215 w 1933289"/>
                <a:gd name="connsiteY12" fmla="*/ 2307527 h 2583465"/>
                <a:gd name="connsiteX13" fmla="*/ 974789 w 1933289"/>
                <a:gd name="connsiteY13" fmla="*/ 2307527 h 2583465"/>
                <a:gd name="connsiteX14" fmla="*/ 1578959 w 1933289"/>
                <a:gd name="connsiteY14" fmla="*/ 2059686 h 2583465"/>
                <a:gd name="connsiteX15" fmla="*/ 1657636 w 1933289"/>
                <a:gd name="connsiteY15" fmla="*/ 1734122 h 2583465"/>
                <a:gd name="connsiteX16" fmla="*/ 1657636 w 1933289"/>
                <a:gd name="connsiteY16" fmla="*/ 138017 h 2583465"/>
                <a:gd name="connsiteX17" fmla="*/ 1795463 w 1933289"/>
                <a:gd name="connsiteY17" fmla="*/ 0 h 2583465"/>
                <a:gd name="connsiteX18" fmla="*/ 1933290 w 1933289"/>
                <a:gd name="connsiteY18" fmla="*/ 138017 h 25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3289" h="2583465">
                  <a:moveTo>
                    <a:pt x="1933290" y="138017"/>
                  </a:moveTo>
                  <a:lnTo>
                    <a:pt x="1933290" y="1734122"/>
                  </a:lnTo>
                  <a:cubicBezTo>
                    <a:pt x="1933290" y="1870996"/>
                    <a:pt x="1919002" y="2071211"/>
                    <a:pt x="1796606" y="2229136"/>
                  </a:cubicBezTo>
                  <a:cubicBezTo>
                    <a:pt x="1634395" y="2438305"/>
                    <a:pt x="1432084" y="2578703"/>
                    <a:pt x="977742" y="2583466"/>
                  </a:cubicBezTo>
                  <a:lnTo>
                    <a:pt x="955357" y="2583466"/>
                  </a:lnTo>
                  <a:cubicBezTo>
                    <a:pt x="501015" y="2578703"/>
                    <a:pt x="298704" y="2438400"/>
                    <a:pt x="136589" y="2229136"/>
                  </a:cubicBezTo>
                  <a:cubicBezTo>
                    <a:pt x="14192" y="2071211"/>
                    <a:pt x="0" y="1870996"/>
                    <a:pt x="0" y="1734122"/>
                  </a:cubicBezTo>
                  <a:lnTo>
                    <a:pt x="0" y="794194"/>
                  </a:lnTo>
                  <a:cubicBezTo>
                    <a:pt x="0" y="718185"/>
                    <a:pt x="61436" y="656273"/>
                    <a:pt x="137827" y="656273"/>
                  </a:cubicBezTo>
                  <a:cubicBezTo>
                    <a:pt x="214217" y="656273"/>
                    <a:pt x="275463" y="718185"/>
                    <a:pt x="275463" y="794194"/>
                  </a:cubicBezTo>
                  <a:lnTo>
                    <a:pt x="275463" y="1734122"/>
                  </a:lnTo>
                  <a:cubicBezTo>
                    <a:pt x="275463" y="1887188"/>
                    <a:pt x="300324" y="1990630"/>
                    <a:pt x="354235" y="2059686"/>
                  </a:cubicBezTo>
                  <a:cubicBezTo>
                    <a:pt x="476250" y="2217611"/>
                    <a:pt x="609791" y="2304479"/>
                    <a:pt x="958215" y="2307527"/>
                  </a:cubicBezTo>
                  <a:lnTo>
                    <a:pt x="974789" y="2307527"/>
                  </a:lnTo>
                  <a:cubicBezTo>
                    <a:pt x="1323499" y="2304479"/>
                    <a:pt x="1456563" y="2217611"/>
                    <a:pt x="1578959" y="2059686"/>
                  </a:cubicBezTo>
                  <a:cubicBezTo>
                    <a:pt x="1632490" y="1990630"/>
                    <a:pt x="1657636" y="1887093"/>
                    <a:pt x="1657636" y="1734122"/>
                  </a:cubicBezTo>
                  <a:lnTo>
                    <a:pt x="1657636" y="138017"/>
                  </a:lnTo>
                  <a:cubicBezTo>
                    <a:pt x="1657636" y="61531"/>
                    <a:pt x="1719453" y="0"/>
                    <a:pt x="1795463" y="0"/>
                  </a:cubicBezTo>
                  <a:cubicBezTo>
                    <a:pt x="1871472" y="0"/>
                    <a:pt x="1933290" y="61531"/>
                    <a:pt x="1933290" y="138017"/>
                  </a:cubicBezTo>
                </a:path>
              </a:pathLst>
            </a:custGeom>
            <a:solidFill>
              <a:srgbClr val="49306E"/>
            </a:solidFill>
            <a:ln w="9525" cap="flat">
              <a:noFill/>
              <a:prstDash val="solid"/>
              <a:miter/>
            </a:ln>
          </p:spPr>
          <p:txBody>
            <a:bodyPr rtlCol="0" anchor="ctr"/>
            <a:lstStyle/>
            <a:p>
              <a:endParaRPr lang="pt-BR" noProof="0"/>
            </a:p>
          </p:txBody>
        </p:sp>
      </p:grpSp>
      <p:sp>
        <p:nvSpPr>
          <p:cNvPr id="46" name="Título 1">
            <a:extLst>
              <a:ext uri="{FF2B5EF4-FFF2-40B4-BE49-F238E27FC236}">
                <a16:creationId xmlns:a16="http://schemas.microsoft.com/office/drawing/2014/main" id="{B8711068-EE52-B2B3-CEAB-F70937127670}"/>
              </a:ext>
            </a:extLst>
          </p:cNvPr>
          <p:cNvSpPr txBox="1">
            <a:spLocks/>
          </p:cNvSpPr>
          <p:nvPr/>
        </p:nvSpPr>
        <p:spPr>
          <a:xfrm>
            <a:off x="2157359" y="238418"/>
            <a:ext cx="10058400" cy="631231"/>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pt-BR" sz="3600" b="1">
                <a:solidFill>
                  <a:srgbClr val="3299B1"/>
                </a:solidFill>
                <a:latin typeface="Agency FB" panose="020B0503020202020204" pitchFamily="34" charset="0"/>
              </a:rPr>
              <a:t>Considerações</a:t>
            </a:r>
          </a:p>
        </p:txBody>
      </p:sp>
      <p:sp>
        <p:nvSpPr>
          <p:cNvPr id="47" name="Google Shape;97;p15">
            <a:extLst>
              <a:ext uri="{FF2B5EF4-FFF2-40B4-BE49-F238E27FC236}">
                <a16:creationId xmlns:a16="http://schemas.microsoft.com/office/drawing/2014/main" id="{4A1979DB-FE9C-6E58-0FBB-20585BBE762B}"/>
              </a:ext>
            </a:extLst>
          </p:cNvPr>
          <p:cNvSpPr txBox="1">
            <a:spLocks/>
          </p:cNvSpPr>
          <p:nvPr/>
        </p:nvSpPr>
        <p:spPr>
          <a:xfrm>
            <a:off x="313055" y="1814741"/>
            <a:ext cx="11561084" cy="4351338"/>
          </a:xfrm>
          <a:prstGeom prst="rect">
            <a:avLst/>
          </a:prstGeom>
          <a:noFill/>
          <a:ln>
            <a:noFill/>
          </a:ln>
        </p:spPr>
        <p:txBody>
          <a:bodyPr spcFirstLastPara="1" wrap="square" lIns="91425" tIns="45700" rIns="91425" bIns="45700" anchor="t" anchorCtr="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215265" algn="just">
              <a:spcBef>
                <a:spcPts val="0"/>
              </a:spcBef>
              <a:buClr>
                <a:schemeClr val="dk1"/>
              </a:buClr>
              <a:buSzPct val="100000"/>
            </a:pPr>
            <a:r>
              <a:rPr lang="pt-BR" b="1" dirty="0"/>
              <a:t>Paciente realiza hemodiálise no leito da UTI, mas internado em outra unidade: </a:t>
            </a:r>
            <a:r>
              <a:rPr lang="pt-BR" dirty="0"/>
              <a:t>não considerar como </a:t>
            </a:r>
            <a:r>
              <a:rPr lang="pt-BR" dirty="0" err="1"/>
              <a:t>pac</a:t>
            </a:r>
            <a:r>
              <a:rPr lang="pt-BR" dirty="0"/>
              <a:t>-dia e CVC-dia da UTI.</a:t>
            </a:r>
          </a:p>
          <a:p>
            <a:pPr indent="-215265" algn="just">
              <a:spcBef>
                <a:spcPts val="0"/>
              </a:spcBef>
              <a:buClr>
                <a:schemeClr val="dk1"/>
              </a:buClr>
              <a:buSzPct val="100000"/>
            </a:pPr>
            <a:endParaRPr lang="pt-BR" dirty="0"/>
          </a:p>
          <a:p>
            <a:pPr indent="-215265" algn="just">
              <a:spcBef>
                <a:spcPts val="0"/>
              </a:spcBef>
              <a:buClr>
                <a:schemeClr val="dk1"/>
              </a:buClr>
              <a:buSzPct val="100000"/>
            </a:pPr>
            <a:endParaRPr lang="pt-BR" b="1" dirty="0"/>
          </a:p>
          <a:p>
            <a:pPr indent="-215265" algn="just">
              <a:spcBef>
                <a:spcPts val="0"/>
              </a:spcBef>
              <a:buClr>
                <a:schemeClr val="dk1"/>
              </a:buClr>
              <a:buSzPct val="100000"/>
            </a:pPr>
            <a:r>
              <a:rPr lang="pt-BR" b="1" dirty="0"/>
              <a:t>Paciente da UTI realiza HD em outro setor: </a:t>
            </a:r>
            <a:r>
              <a:rPr lang="pt-BR" dirty="0"/>
              <a:t>considerar como </a:t>
            </a:r>
            <a:r>
              <a:rPr lang="pt-BR" dirty="0" err="1"/>
              <a:t>pac-dia</a:t>
            </a:r>
            <a:r>
              <a:rPr lang="pt-BR" dirty="0"/>
              <a:t> e CVC-dia da UTI.</a:t>
            </a:r>
            <a:endParaRPr lang="pt-BR" dirty="0">
              <a:ea typeface="Calibri"/>
              <a:cs typeface="Calibri"/>
            </a:endParaRPr>
          </a:p>
          <a:p>
            <a:pPr marL="13335" indent="0" algn="just">
              <a:spcBef>
                <a:spcPts val="0"/>
              </a:spcBef>
              <a:buClr>
                <a:schemeClr val="dk1"/>
              </a:buClr>
              <a:buSzPct val="100000"/>
              <a:buNone/>
            </a:pPr>
            <a:endParaRPr lang="pt-BR" dirty="0"/>
          </a:p>
        </p:txBody>
      </p:sp>
    </p:spTree>
    <p:extLst>
      <p:ext uri="{BB962C8B-B14F-4D97-AF65-F5344CB8AC3E}">
        <p14:creationId xmlns:p14="http://schemas.microsoft.com/office/powerpoint/2010/main" val="15289141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o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lcf76f155ced4ddcb4097134ff3c332f xmlns="7595665d-dcec-4a93-a94d-ada035ade8e0">
      <Terms xmlns="http://schemas.microsoft.com/office/infopath/2007/PartnerControls"/>
    </lcf76f155ced4ddcb4097134ff3c332f>
    <_ip_UnifiedCompliancePolicyProperties xmlns="http://schemas.microsoft.com/sharepoint/v3" xsi:nil="true"/>
    <TaxCatchAll xmlns="ba8db9e7-06ab-4fc3-8870-ae78930b596c"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o" ma:contentTypeID="0x010100DA25395DAD2818478FB24D5BA0BD8325" ma:contentTypeVersion="21" ma:contentTypeDescription="Crie um novo documento." ma:contentTypeScope="" ma:versionID="77a0d37213da7813333b2f6d6af18e22">
  <xsd:schema xmlns:xsd="http://www.w3.org/2001/XMLSchema" xmlns:xs="http://www.w3.org/2001/XMLSchema" xmlns:p="http://schemas.microsoft.com/office/2006/metadata/properties" xmlns:ns1="http://schemas.microsoft.com/sharepoint/v3" xmlns:ns2="7595665d-dcec-4a93-a94d-ada035ade8e0" xmlns:ns3="ba8db9e7-06ab-4fc3-8870-ae78930b596c" targetNamespace="http://schemas.microsoft.com/office/2006/metadata/properties" ma:root="true" ma:fieldsID="e17f5f95506a603a9ac0a417c5bd9c59" ns1:_="" ns2:_="" ns3:_="">
    <xsd:import namespace="http://schemas.microsoft.com/sharepoint/v3"/>
    <xsd:import namespace="7595665d-dcec-4a93-a94d-ada035ade8e0"/>
    <xsd:import namespace="ba8db9e7-06ab-4fc3-8870-ae78930b596c"/>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LengthInSeconds" minOccurs="0"/>
                <xsd:element ref="ns2:MediaServiceAutoTags" minOccurs="0"/>
                <xsd:element ref="ns2:MediaServiceOCR" minOccurs="0"/>
                <xsd:element ref="ns2:MediaServiceGenerationTime" minOccurs="0"/>
                <xsd:element ref="ns2:MediaServiceEventHashCode" minOccurs="0"/>
                <xsd:element ref="ns2:MediaServiceLocation" minOccurs="0"/>
                <xsd:element ref="ns2:MediaServiceAutoKeyPoints" minOccurs="0"/>
                <xsd:element ref="ns2:MediaServiceKeyPoints" minOccurs="0"/>
                <xsd:element ref="ns1:_ip_UnifiedCompliancePolicyProperties" minOccurs="0"/>
                <xsd:element ref="ns1:_ip_UnifiedCompliancePolicyUIAction" minOccurs="0"/>
                <xsd:element ref="ns2:lcf76f155ced4ddcb4097134ff3c332f" minOccurs="0"/>
                <xsd:element ref="ns3:TaxCatchAll"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Propriedades da Política de Conformidade Unificada" ma:hidden="true" ma:internalName="_ip_UnifiedCompliancePolicyProperties">
      <xsd:simpleType>
        <xsd:restriction base="dms:Note"/>
      </xsd:simpleType>
    </xsd:element>
    <xsd:element name="_ip_UnifiedCompliancePolicyUIAction" ma:index="22" nillable="true" ma:displayName="Ação de Interface do Usuário da Política de Conformidade Unificada"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595665d-dcec-4a93-a94d-ada035ade8e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lcf76f155ced4ddcb4097134ff3c332f" ma:index="24" nillable="true" ma:taxonomy="true" ma:internalName="lcf76f155ced4ddcb4097134ff3c332f" ma:taxonomyFieldName="MediaServiceImageTags" ma:displayName="Marcações de imagem" ma:readOnly="false" ma:fieldId="{5cf76f15-5ced-4ddc-b409-7134ff3c332f}" ma:taxonomyMulti="true" ma:sspId="af7ba5c7-e7e8-46ad-a5c3-76d2e405b1ef"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element name="MediaServiceSearchProperties" ma:index="27" nillable="true" ma:displayName="MediaServiceSearchProperties" ma:hidden="true" ma:internalName="MediaServiceSearchProperties" ma:readOnly="true">
      <xsd:simpleType>
        <xsd:restriction base="dms:Note"/>
      </xsd:simpleType>
    </xsd:element>
    <xsd:element name="MediaServiceBillingMetadata" ma:index="28"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a8db9e7-06ab-4fc3-8870-ae78930b596c" elementFormDefault="qualified">
    <xsd:import namespace="http://schemas.microsoft.com/office/2006/documentManagement/types"/>
    <xsd:import namespace="http://schemas.microsoft.com/office/infopath/2007/PartnerControls"/>
    <xsd:element name="SharedWithUsers" ma:index="10" nillable="true" ma:displayName="Compartilhado com"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Detalhes de Compartilhado Com" ma:internalName="SharedWithDetails" ma:readOnly="true">
      <xsd:simpleType>
        <xsd:restriction base="dms:Note">
          <xsd:maxLength value="255"/>
        </xsd:restriction>
      </xsd:simpleType>
    </xsd:element>
    <xsd:element name="TaxCatchAll" ma:index="25" nillable="true" ma:displayName="Taxonomy Catch All Column" ma:hidden="true" ma:list="{16b67270-77c6-4e53-9086-b260307a8d5e}" ma:internalName="TaxCatchAll" ma:showField="CatchAllData" ma:web="ba8db9e7-06ab-4fc3-8870-ae78930b596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ú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5E857E1-12BF-47AC-9847-B8998F58A496}">
  <ds:schemaRefs>
    <ds:schemaRef ds:uri="7595665d-dcec-4a93-a94d-ada035ade8e0"/>
    <ds:schemaRef ds:uri="ba8db9e7-06ab-4fc3-8870-ae78930b596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8F10671D-0BE6-4262-99FE-A0A0CC2CB40D}">
  <ds:schemaRefs>
    <ds:schemaRef ds:uri="7595665d-dcec-4a93-a94d-ada035ade8e0"/>
    <ds:schemaRef ds:uri="ba8db9e7-06ab-4fc3-8870-ae78930b596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5D644CAE-B33A-4BFB-AEB5-CD643D65B5A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83</TotalTime>
  <Words>1272</Words>
  <Application>Microsoft Office PowerPoint</Application>
  <PresentationFormat>Widescreen</PresentationFormat>
  <Paragraphs>604</Paragraphs>
  <Slides>49</Slides>
  <Notes>32</Notes>
  <HiddenSlides>1</HiddenSlides>
  <MMClips>0</MMClips>
  <ScaleCrop>false</ScaleCrop>
  <HeadingPairs>
    <vt:vector size="8" baseType="variant">
      <vt:variant>
        <vt:lpstr>Fontes usadas</vt:lpstr>
      </vt:variant>
      <vt:variant>
        <vt:i4>7</vt:i4>
      </vt:variant>
      <vt:variant>
        <vt:lpstr>Tema</vt:lpstr>
      </vt:variant>
      <vt:variant>
        <vt:i4>2</vt:i4>
      </vt:variant>
      <vt:variant>
        <vt:lpstr>Servidores OLE inseridos</vt:lpstr>
      </vt:variant>
      <vt:variant>
        <vt:i4>1</vt:i4>
      </vt:variant>
      <vt:variant>
        <vt:lpstr>Títulos de slides</vt:lpstr>
      </vt:variant>
      <vt:variant>
        <vt:i4>49</vt:i4>
      </vt:variant>
    </vt:vector>
  </HeadingPairs>
  <TitlesOfParts>
    <vt:vector size="59" baseType="lpstr">
      <vt:lpstr>Agency FB</vt:lpstr>
      <vt:lpstr>Aptos</vt:lpstr>
      <vt:lpstr>Aptos Display</vt:lpstr>
      <vt:lpstr>Arial</vt:lpstr>
      <vt:lpstr>Calibri</vt:lpstr>
      <vt:lpstr>Century Gothic</vt:lpstr>
      <vt:lpstr>Wingdings</vt:lpstr>
      <vt:lpstr>Tema do Office</vt:lpstr>
      <vt:lpstr>1_Tema do Office</vt:lpstr>
      <vt:lpstr>think-cell Slide</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Caso 1 - ADULTO</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Caso 2 - ADULTO</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Caso 3 - Adulto</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ção do PowerPoint</dc:title>
  <dc:creator>Julia Silva</dc:creator>
  <cp:lastModifiedBy>Grupo AV</cp:lastModifiedBy>
  <cp:revision>9</cp:revision>
  <dcterms:created xsi:type="dcterms:W3CDTF">2026-02-05T15:54:42Z</dcterms:created>
  <dcterms:modified xsi:type="dcterms:W3CDTF">2026-03-30T20:21: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A25395DAD2818478FB24D5BA0BD8325</vt:lpwstr>
  </property>
  <property fmtid="{D5CDD505-2E9C-101B-9397-08002B2CF9AE}" pid="3" name="MediaServiceImageTags">
    <vt:lpwstr/>
  </property>
</Properties>
</file>